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3.xml" ContentType="application/vnd.openxmlformats-officedocument.theme+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5.xml" ContentType="application/vnd.openxmlformats-officedocument.theme+xml"/>
  <Override PartName="/ppt/tags/tag2.xml" ContentType="application/vnd.openxmlformats-officedocument.presentationml.tags+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theme/theme6.xml" ContentType="application/vnd.openxmlformats-officedocument.theme+xml"/>
  <Override PartName="/ppt/tags/tag3.xml" ContentType="application/vnd.openxmlformats-officedocument.presentationml.tags+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theme/theme7.xml" ContentType="application/vnd.openxmlformats-officedocument.theme+xml"/>
  <Override PartName="/ppt/tags/tag4.xml" ContentType="application/vnd.openxmlformats-officedocument.presentationml.tags+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theme/theme8.xml" ContentType="application/vnd.openxmlformats-officedocument.theme+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theme/theme9.xml" ContentType="application/vnd.openxmlformats-officedocument.theme+xml"/>
  <Override PartName="/ppt/tags/tag5.xml" ContentType="application/vnd.openxmlformats-officedocument.presentationml.tags+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theme/theme10.xml" ContentType="application/vnd.openxmlformats-officedocument.theme+xml"/>
  <Override PartName="/ppt/tags/tag6.xml" ContentType="application/vnd.openxmlformats-officedocument.presentationml.tags+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theme/theme11.xml" ContentType="application/vnd.openxmlformats-officedocument.theme+xml"/>
  <Override PartName="/ppt/tags/tag7.xml" ContentType="application/vnd.openxmlformats-officedocument.presentationml.tags+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theme/theme12.xml" ContentType="application/vnd.openxmlformats-officedocument.theme+xml"/>
  <Override PartName="/ppt/tags/tag8.xml" ContentType="application/vnd.openxmlformats-officedocument.presentationml.tags+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theme/theme13.xml" ContentType="application/vnd.openxmlformats-officedocument.theme+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theme/theme14.xml" ContentType="application/vnd.openxmlformats-officedocument.theme+xml"/>
  <Override PartName="/ppt/tags/tag9.xml" ContentType="application/vnd.openxmlformats-officedocument.presentationml.tags+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theme/theme15.xml" ContentType="application/vnd.openxmlformats-officedocument.theme+xml"/>
  <Override PartName="/ppt/tags/tag10.xml" ContentType="application/vnd.openxmlformats-officedocument.presentationml.tags+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theme/theme16.xml" ContentType="application/vnd.openxmlformats-officedocument.theme+xml"/>
  <Override PartName="/ppt/tags/tag11.xml" ContentType="application/vnd.openxmlformats-officedocument.presentationml.tags+xml"/>
  <Override PartName="/ppt/theme/theme1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charts/chart2.xml" ContentType="application/vnd.openxmlformats-officedocument.drawingml.chart+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omments/comment1.xml" ContentType="application/vnd.openxmlformats-officedocument.presentationml.comment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12.xml" ContentType="application/vnd.openxmlformats-officedocument.presentationml.tags+xml"/>
  <Override PartName="/ppt/notesSlides/notesSlide19.xml" ContentType="application/vnd.openxmlformats-officedocument.presentationml.notesSlide+xml"/>
  <Override PartName="/ppt/tags/tag13.xml" ContentType="application/vnd.openxmlformats-officedocument.presentationml.tags+xml"/>
  <Override PartName="/ppt/notesSlides/notesSlide20.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16.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05" r:id="rId5"/>
    <p:sldMasterId id="2147483739" r:id="rId6"/>
    <p:sldMasterId id="2147483852" r:id="rId7"/>
    <p:sldMasterId id="2147483873" r:id="rId8"/>
    <p:sldMasterId id="2147483899" r:id="rId9"/>
    <p:sldMasterId id="2147483993" r:id="rId10"/>
    <p:sldMasterId id="2147484040" r:id="rId11"/>
    <p:sldMasterId id="2147484053" r:id="rId12"/>
    <p:sldMasterId id="2147484074" r:id="rId13"/>
    <p:sldMasterId id="2147484097" r:id="rId14"/>
    <p:sldMasterId id="2147484118" r:id="rId15"/>
    <p:sldMasterId id="2147484144" r:id="rId16"/>
    <p:sldMasterId id="2147484192" r:id="rId17"/>
    <p:sldMasterId id="2147484215" r:id="rId18"/>
    <p:sldMasterId id="2147484263" r:id="rId19"/>
  </p:sldMasterIdLst>
  <p:notesMasterIdLst>
    <p:notesMasterId r:id="rId78"/>
  </p:notesMasterIdLst>
  <p:sldIdLst>
    <p:sldId id="256" r:id="rId20"/>
    <p:sldId id="921" r:id="rId21"/>
    <p:sldId id="5962" r:id="rId22"/>
    <p:sldId id="283" r:id="rId23"/>
    <p:sldId id="5963" r:id="rId24"/>
    <p:sldId id="2379" r:id="rId25"/>
    <p:sldId id="1042" r:id="rId26"/>
    <p:sldId id="2380" r:id="rId27"/>
    <p:sldId id="267" r:id="rId28"/>
    <p:sldId id="5956" r:id="rId29"/>
    <p:sldId id="5960" r:id="rId30"/>
    <p:sldId id="266" r:id="rId31"/>
    <p:sldId id="2038" r:id="rId32"/>
    <p:sldId id="5964" r:id="rId33"/>
    <p:sldId id="5965" r:id="rId34"/>
    <p:sldId id="264" r:id="rId35"/>
    <p:sldId id="260" r:id="rId36"/>
    <p:sldId id="5966" r:id="rId37"/>
    <p:sldId id="3315" r:id="rId38"/>
    <p:sldId id="581" r:id="rId39"/>
    <p:sldId id="324" r:id="rId40"/>
    <p:sldId id="3308" r:id="rId41"/>
    <p:sldId id="568" r:id="rId42"/>
    <p:sldId id="569" r:id="rId43"/>
    <p:sldId id="300" r:id="rId44"/>
    <p:sldId id="661" r:id="rId45"/>
    <p:sldId id="320" r:id="rId46"/>
    <p:sldId id="307" r:id="rId47"/>
    <p:sldId id="318" r:id="rId48"/>
    <p:sldId id="321" r:id="rId49"/>
    <p:sldId id="329" r:id="rId50"/>
    <p:sldId id="552" r:id="rId51"/>
    <p:sldId id="587" r:id="rId52"/>
    <p:sldId id="601" r:id="rId53"/>
    <p:sldId id="263" r:id="rId54"/>
    <p:sldId id="3314" r:id="rId55"/>
    <p:sldId id="265" r:id="rId56"/>
    <p:sldId id="302" r:id="rId57"/>
    <p:sldId id="3312" r:id="rId58"/>
    <p:sldId id="3311" r:id="rId59"/>
    <p:sldId id="323" r:id="rId60"/>
    <p:sldId id="2147481035" r:id="rId61"/>
    <p:sldId id="2147479273" r:id="rId62"/>
    <p:sldId id="2147479102" r:id="rId63"/>
    <p:sldId id="2147479275" r:id="rId64"/>
    <p:sldId id="293" r:id="rId65"/>
    <p:sldId id="2147479276" r:id="rId66"/>
    <p:sldId id="2147479044" r:id="rId67"/>
    <p:sldId id="2147474404" r:id="rId68"/>
    <p:sldId id="2147479215" r:id="rId69"/>
    <p:sldId id="2147481044" r:id="rId70"/>
    <p:sldId id="2147479274" r:id="rId71"/>
    <p:sldId id="2147479263" r:id="rId72"/>
    <p:sldId id="2147481041" r:id="rId73"/>
    <p:sldId id="2147481042" r:id="rId74"/>
    <p:sldId id="2147481043" r:id="rId75"/>
    <p:sldId id="2147481045" r:id="rId76"/>
    <p:sldId id="342" r:id="rId7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Net-PC" initials="N" lastIdx="2"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7CB"/>
    <a:srgbClr val="008ECE"/>
    <a:srgbClr val="FF6600"/>
    <a:srgbClr val="FF9933"/>
    <a:srgbClr val="256193"/>
    <a:srgbClr val="3CBE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86B5289-0CCC-46C4-8979-05CB77FAC97F}" v="1" dt="2024-05-03T16:14:29.93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8" d="100"/>
          <a:sy n="108" d="100"/>
        </p:scale>
        <p:origin x="678" y="102"/>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7.xml"/><Relationship Id="rId39" Type="http://schemas.openxmlformats.org/officeDocument/2006/relationships/slide" Target="slides/slide20.xml"/><Relationship Id="rId21" Type="http://schemas.openxmlformats.org/officeDocument/2006/relationships/slide" Target="slides/slide2.xml"/><Relationship Id="rId34" Type="http://schemas.openxmlformats.org/officeDocument/2006/relationships/slide" Target="slides/slide15.xml"/><Relationship Id="rId42" Type="http://schemas.openxmlformats.org/officeDocument/2006/relationships/slide" Target="slides/slide23.xml"/><Relationship Id="rId47" Type="http://schemas.openxmlformats.org/officeDocument/2006/relationships/slide" Target="slides/slide28.xml"/><Relationship Id="rId50" Type="http://schemas.openxmlformats.org/officeDocument/2006/relationships/slide" Target="slides/slide31.xml"/><Relationship Id="rId55" Type="http://schemas.openxmlformats.org/officeDocument/2006/relationships/slide" Target="slides/slide36.xml"/><Relationship Id="rId63" Type="http://schemas.openxmlformats.org/officeDocument/2006/relationships/slide" Target="slides/slide44.xml"/><Relationship Id="rId68" Type="http://schemas.openxmlformats.org/officeDocument/2006/relationships/slide" Target="slides/slide49.xml"/><Relationship Id="rId76" Type="http://schemas.openxmlformats.org/officeDocument/2006/relationships/slide" Target="slides/slide57.xml"/><Relationship Id="rId84" Type="http://schemas.microsoft.com/office/2015/10/relationships/revisionInfo" Target="revisionInfo.xml"/><Relationship Id="rId7" Type="http://schemas.openxmlformats.org/officeDocument/2006/relationships/slideMaster" Target="slideMasters/slideMaster4.xml"/><Relationship Id="rId71" Type="http://schemas.openxmlformats.org/officeDocument/2006/relationships/slide" Target="slides/slide52.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10.xml"/><Relationship Id="rId11" Type="http://schemas.openxmlformats.org/officeDocument/2006/relationships/slideMaster" Target="slideMasters/slideMaster8.xml"/><Relationship Id="rId24" Type="http://schemas.openxmlformats.org/officeDocument/2006/relationships/slide" Target="slides/slide5.xml"/><Relationship Id="rId32" Type="http://schemas.openxmlformats.org/officeDocument/2006/relationships/slide" Target="slides/slide13.xml"/><Relationship Id="rId37" Type="http://schemas.openxmlformats.org/officeDocument/2006/relationships/slide" Target="slides/slide18.xml"/><Relationship Id="rId40" Type="http://schemas.openxmlformats.org/officeDocument/2006/relationships/slide" Target="slides/slide21.xml"/><Relationship Id="rId45" Type="http://schemas.openxmlformats.org/officeDocument/2006/relationships/slide" Target="slides/slide26.xml"/><Relationship Id="rId53" Type="http://schemas.openxmlformats.org/officeDocument/2006/relationships/slide" Target="slides/slide34.xml"/><Relationship Id="rId58" Type="http://schemas.openxmlformats.org/officeDocument/2006/relationships/slide" Target="slides/slide39.xml"/><Relationship Id="rId66" Type="http://schemas.openxmlformats.org/officeDocument/2006/relationships/slide" Target="slides/slide47.xml"/><Relationship Id="rId74" Type="http://schemas.openxmlformats.org/officeDocument/2006/relationships/slide" Target="slides/slide55.xml"/><Relationship Id="rId79" Type="http://schemas.openxmlformats.org/officeDocument/2006/relationships/commentAuthors" Target="commentAuthors.xml"/><Relationship Id="rId5" Type="http://schemas.openxmlformats.org/officeDocument/2006/relationships/slideMaster" Target="slideMasters/slideMaster2.xml"/><Relationship Id="rId61" Type="http://schemas.openxmlformats.org/officeDocument/2006/relationships/slide" Target="slides/slide42.xml"/><Relationship Id="rId82" Type="http://schemas.openxmlformats.org/officeDocument/2006/relationships/theme" Target="theme/theme1.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 Target="slides/slide12.xml"/><Relationship Id="rId44" Type="http://schemas.openxmlformats.org/officeDocument/2006/relationships/slide" Target="slides/slide25.xml"/><Relationship Id="rId52" Type="http://schemas.openxmlformats.org/officeDocument/2006/relationships/slide" Target="slides/slide33.xml"/><Relationship Id="rId60" Type="http://schemas.openxmlformats.org/officeDocument/2006/relationships/slide" Target="slides/slide41.xml"/><Relationship Id="rId65" Type="http://schemas.openxmlformats.org/officeDocument/2006/relationships/slide" Target="slides/slide46.xml"/><Relationship Id="rId73" Type="http://schemas.openxmlformats.org/officeDocument/2006/relationships/slide" Target="slides/slide54.xml"/><Relationship Id="rId78" Type="http://schemas.openxmlformats.org/officeDocument/2006/relationships/notesMaster" Target="notesMasters/notesMaster1.xml"/><Relationship Id="rId8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3.xml"/><Relationship Id="rId27" Type="http://schemas.openxmlformats.org/officeDocument/2006/relationships/slide" Target="slides/slide8.xml"/><Relationship Id="rId30" Type="http://schemas.openxmlformats.org/officeDocument/2006/relationships/slide" Target="slides/slide11.xml"/><Relationship Id="rId35" Type="http://schemas.openxmlformats.org/officeDocument/2006/relationships/slide" Target="slides/slide16.xml"/><Relationship Id="rId43" Type="http://schemas.openxmlformats.org/officeDocument/2006/relationships/slide" Target="slides/slide24.xml"/><Relationship Id="rId48" Type="http://schemas.openxmlformats.org/officeDocument/2006/relationships/slide" Target="slides/slide29.xml"/><Relationship Id="rId56" Type="http://schemas.openxmlformats.org/officeDocument/2006/relationships/slide" Target="slides/slide37.xml"/><Relationship Id="rId64" Type="http://schemas.openxmlformats.org/officeDocument/2006/relationships/slide" Target="slides/slide45.xml"/><Relationship Id="rId69" Type="http://schemas.openxmlformats.org/officeDocument/2006/relationships/slide" Target="slides/slide50.xml"/><Relationship Id="rId77" Type="http://schemas.openxmlformats.org/officeDocument/2006/relationships/slide" Target="slides/slide58.xml"/><Relationship Id="rId8" Type="http://schemas.openxmlformats.org/officeDocument/2006/relationships/slideMaster" Target="slideMasters/slideMaster5.xml"/><Relationship Id="rId51" Type="http://schemas.openxmlformats.org/officeDocument/2006/relationships/slide" Target="slides/slide32.xml"/><Relationship Id="rId72" Type="http://schemas.openxmlformats.org/officeDocument/2006/relationships/slide" Target="slides/slide53.xml"/><Relationship Id="rId80"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6.xml"/><Relationship Id="rId33" Type="http://schemas.openxmlformats.org/officeDocument/2006/relationships/slide" Target="slides/slide14.xml"/><Relationship Id="rId38" Type="http://schemas.openxmlformats.org/officeDocument/2006/relationships/slide" Target="slides/slide19.xml"/><Relationship Id="rId46" Type="http://schemas.openxmlformats.org/officeDocument/2006/relationships/slide" Target="slides/slide27.xml"/><Relationship Id="rId59" Type="http://schemas.openxmlformats.org/officeDocument/2006/relationships/slide" Target="slides/slide40.xml"/><Relationship Id="rId67" Type="http://schemas.openxmlformats.org/officeDocument/2006/relationships/slide" Target="slides/slide48.xml"/><Relationship Id="rId20" Type="http://schemas.openxmlformats.org/officeDocument/2006/relationships/slide" Target="slides/slide1.xml"/><Relationship Id="rId41" Type="http://schemas.openxmlformats.org/officeDocument/2006/relationships/slide" Target="slides/slide22.xml"/><Relationship Id="rId54" Type="http://schemas.openxmlformats.org/officeDocument/2006/relationships/slide" Target="slides/slide35.xml"/><Relationship Id="rId62" Type="http://schemas.openxmlformats.org/officeDocument/2006/relationships/slide" Target="slides/slide43.xml"/><Relationship Id="rId70" Type="http://schemas.openxmlformats.org/officeDocument/2006/relationships/slide" Target="slides/slide51.xml"/><Relationship Id="rId75" Type="http://schemas.openxmlformats.org/officeDocument/2006/relationships/slide" Target="slides/slide56.xml"/><Relationship Id="rId83"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4.xml"/><Relationship Id="rId28" Type="http://schemas.openxmlformats.org/officeDocument/2006/relationships/slide" Target="slides/slide9.xml"/><Relationship Id="rId36" Type="http://schemas.openxmlformats.org/officeDocument/2006/relationships/slide" Target="slides/slide17.xml"/><Relationship Id="rId49" Type="http://schemas.openxmlformats.org/officeDocument/2006/relationships/slide" Target="slides/slide30.xml"/><Relationship Id="rId57" Type="http://schemas.openxmlformats.org/officeDocument/2006/relationships/slide" Target="slides/slide38.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Animal bite victim annualy </c:v>
                </c:pt>
              </c:strCache>
            </c:strRef>
          </c:tx>
          <c:spPr>
            <a:gradFill>
              <a:gsLst>
                <a:gs pos="0">
                  <a:schemeClr val="accent1">
                    <a:lumMod val="40000"/>
                    <a:lumOff val="60000"/>
                  </a:schemeClr>
                </a:gs>
                <a:gs pos="90000">
                  <a:schemeClr val="accent1"/>
                </a:gs>
              </a:gsLst>
              <a:lin ang="5400000" scaled="0"/>
            </a:gradFill>
            <a:ln>
              <a:gradFill>
                <a:gsLst>
                  <a:gs pos="0">
                    <a:schemeClr val="accent1"/>
                  </a:gs>
                  <a:gs pos="100000">
                    <a:schemeClr val="accent1">
                      <a:lumMod val="75000"/>
                    </a:schemeClr>
                  </a:gs>
                </a:gsLst>
                <a:lin ang="5400000" scaled="1"/>
              </a:gradFill>
            </a:ln>
            <a:effectLst>
              <a:outerShdw blurRad="76200" dist="25400" dir="2700000" algn="tl" rotWithShape="0">
                <a:schemeClr val="accent1">
                  <a:lumMod val="50000"/>
                  <a:alpha val="30000"/>
                </a:schemeClr>
              </a:outerShdw>
            </a:effectLst>
          </c:spPr>
          <c:invertIfNegative val="0"/>
          <c:dLbls>
            <c:dLbl>
              <c:idx val="9"/>
              <c:dLblPos val="outEnd"/>
              <c:showLegendKey val="0"/>
              <c:showVal val="1"/>
              <c:showCatName val="0"/>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0-9A34-1E4A-8C00-5CE2F2568C5E}"/>
                </c:ext>
              </c:extLst>
            </c:dLbl>
            <c:spPr>
              <a:noFill/>
              <a:ln>
                <a:noFill/>
              </a:ln>
              <a:effectLst/>
            </c:spPr>
            <c:txPr>
              <a:bodyPr rot="0" spcFirstLastPara="0" vertOverflow="ellipsis" vert="horz" wrap="square" lIns="38100" tIns="19050" rIns="38100" bIns="19050" anchor="ctr" anchorCtr="1"/>
              <a:lstStyle/>
              <a:p>
                <a:pPr>
                  <a:defRPr lang="en-US"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6</c:f>
              <c:numCache>
                <c:formatCode>General</c:formatCode>
                <c:ptCount val="15"/>
                <c:pt idx="0">
                  <c:v>2009</c:v>
                </c:pt>
                <c:pt idx="1">
                  <c:v>2010</c:v>
                </c:pt>
                <c:pt idx="2">
                  <c:v>2011</c:v>
                </c:pt>
                <c:pt idx="3">
                  <c:v>2012</c:v>
                </c:pt>
                <c:pt idx="4">
                  <c:v>2013</c:v>
                </c:pt>
                <c:pt idx="5">
                  <c:v>2014</c:v>
                </c:pt>
                <c:pt idx="6">
                  <c:v>2015</c:v>
                </c:pt>
                <c:pt idx="7">
                  <c:v>2016</c:v>
                </c:pt>
                <c:pt idx="8">
                  <c:v>2017</c:v>
                </c:pt>
                <c:pt idx="9">
                  <c:v>2018</c:v>
                </c:pt>
                <c:pt idx="10">
                  <c:v>2019</c:v>
                </c:pt>
                <c:pt idx="11">
                  <c:v>2020</c:v>
                </c:pt>
                <c:pt idx="12">
                  <c:v>2021</c:v>
                </c:pt>
                <c:pt idx="13">
                  <c:v>2022</c:v>
                </c:pt>
                <c:pt idx="14">
                  <c:v>2023</c:v>
                </c:pt>
              </c:numCache>
            </c:numRef>
          </c:cat>
          <c:val>
            <c:numRef>
              <c:f>Sheet1!$B$2:$B$16</c:f>
              <c:numCache>
                <c:formatCode>General</c:formatCode>
                <c:ptCount val="15"/>
                <c:pt idx="0">
                  <c:v>243</c:v>
                </c:pt>
                <c:pt idx="1">
                  <c:v>922</c:v>
                </c:pt>
                <c:pt idx="2">
                  <c:v>1151</c:v>
                </c:pt>
                <c:pt idx="3">
                  <c:v>1789</c:v>
                </c:pt>
                <c:pt idx="4">
                  <c:v>2414</c:v>
                </c:pt>
                <c:pt idx="5">
                  <c:v>2983</c:v>
                </c:pt>
                <c:pt idx="6">
                  <c:v>3840</c:v>
                </c:pt>
                <c:pt idx="7">
                  <c:v>4101</c:v>
                </c:pt>
                <c:pt idx="8">
                  <c:v>4998</c:v>
                </c:pt>
                <c:pt idx="9">
                  <c:v>5640</c:v>
                </c:pt>
                <c:pt idx="10">
                  <c:v>6727</c:v>
                </c:pt>
                <c:pt idx="11">
                  <c:v>7384</c:v>
                </c:pt>
                <c:pt idx="12">
                  <c:v>9066</c:v>
                </c:pt>
                <c:pt idx="13">
                  <c:v>10404</c:v>
                </c:pt>
                <c:pt idx="14">
                  <c:v>13280</c:v>
                </c:pt>
              </c:numCache>
            </c:numRef>
          </c:val>
          <c:extLst>
            <c:ext xmlns:c16="http://schemas.microsoft.com/office/drawing/2014/chart" uri="{C3380CC4-5D6E-409C-BE32-E72D297353CC}">
              <c16:uniqueId val="{00000001-9A34-1E4A-8C00-5CE2F2568C5E}"/>
            </c:ext>
          </c:extLst>
        </c:ser>
        <c:dLbls>
          <c:showLegendKey val="0"/>
          <c:showVal val="1"/>
          <c:showCatName val="0"/>
          <c:showSerName val="0"/>
          <c:showPercent val="0"/>
          <c:showBubbleSize val="0"/>
        </c:dLbls>
        <c:gapWidth val="246"/>
        <c:overlap val="-28"/>
        <c:axId val="2142399752"/>
        <c:axId val="2109700104"/>
      </c:barChart>
      <c:catAx>
        <c:axId val="21423997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0" vertOverflow="ellipsis" vert="horz" wrap="square" anchor="ctr" anchorCtr="1"/>
          <a:lstStyle/>
          <a:p>
            <a:pPr>
              <a:defRPr lang="en-US" sz="1600" b="0" i="0" u="none" strike="noStrike" kern="1200" baseline="0">
                <a:solidFill>
                  <a:schemeClr val="tx1">
                    <a:lumMod val="65000"/>
                    <a:lumOff val="35000"/>
                  </a:schemeClr>
                </a:solidFill>
                <a:latin typeface="+mn-lt"/>
                <a:ea typeface="+mn-ea"/>
                <a:cs typeface="+mn-cs"/>
              </a:defRPr>
            </a:pPr>
            <a:endParaRPr lang="en-US"/>
          </a:p>
        </c:txPr>
        <c:crossAx val="2109700104"/>
        <c:crosses val="autoZero"/>
        <c:auto val="0"/>
        <c:lblAlgn val="ctr"/>
        <c:lblOffset val="100"/>
        <c:noMultiLvlLbl val="0"/>
      </c:catAx>
      <c:valAx>
        <c:axId val="2109700104"/>
        <c:scaling>
          <c:orientation val="minMax"/>
        </c:scaling>
        <c:delete val="0"/>
        <c:axPos val="l"/>
        <c:majorGridlines>
          <c:spPr>
            <a:ln w="9525" cap="flat" cmpd="sng" algn="ctr">
              <a:solidFill>
                <a:schemeClr val="lt1">
                  <a:lumMod val="90200"/>
                </a:schemeClr>
              </a:solidFill>
              <a:round/>
            </a:ln>
            <a:effectLst/>
          </c:spPr>
        </c:majorGridlines>
        <c:numFmt formatCode="General" sourceLinked="1"/>
        <c:majorTickMark val="none"/>
        <c:minorTickMark val="none"/>
        <c:tickLblPos val="nextTo"/>
        <c:spPr>
          <a:noFill/>
          <a:ln>
            <a:noFill/>
          </a:ln>
          <a:effectLst/>
        </c:spPr>
        <c:txPr>
          <a:bodyPr rot="-60000000" spcFirstLastPara="0" vertOverflow="ellipsis" vert="horz" wrap="square" anchor="ctr" anchorCtr="1"/>
          <a:lstStyle/>
          <a:p>
            <a:pPr>
              <a:defRPr lang="en-US" sz="1600" b="0" i="0" u="none" strike="noStrike" kern="1200" baseline="0">
                <a:solidFill>
                  <a:schemeClr val="tx1">
                    <a:lumMod val="65000"/>
                    <a:lumOff val="35000"/>
                  </a:schemeClr>
                </a:solidFill>
                <a:latin typeface="+mn-lt"/>
                <a:ea typeface="+mn-ea"/>
                <a:cs typeface="+mn-cs"/>
              </a:defRPr>
            </a:pPr>
            <a:endParaRPr lang="en-US"/>
          </a:p>
        </c:txPr>
        <c:crossAx val="2142399752"/>
        <c:crosses val="autoZero"/>
        <c:crossBetween val="between"/>
      </c:valAx>
      <c:spPr>
        <a:noFill/>
        <a:ln>
          <a:noFill/>
        </a:ln>
        <a:effectLst/>
      </c:spPr>
    </c:plotArea>
    <c:legend>
      <c:legendPos val="b"/>
      <c:legendEntry>
        <c:idx val="0"/>
        <c:txPr>
          <a:bodyPr rot="0" spcFirstLastPara="0" vertOverflow="ellipsis" vert="horz" wrap="square" anchor="ctr" anchorCtr="1"/>
          <a:lstStyle/>
          <a:p>
            <a:pPr>
              <a:defRPr lang="en-US" sz="1600" b="0" i="0" u="none" strike="noStrike" kern="1200" baseline="0">
                <a:solidFill>
                  <a:schemeClr val="tx1">
                    <a:lumMod val="65000"/>
                    <a:lumOff val="35000"/>
                  </a:schemeClr>
                </a:solidFill>
                <a:latin typeface="+mn-lt"/>
                <a:ea typeface="+mn-ea"/>
                <a:cs typeface="+mn-cs"/>
              </a:defRPr>
            </a:pPr>
            <a:endParaRPr lang="en-US"/>
          </a:p>
        </c:txPr>
      </c:legendEntry>
      <c:overlay val="0"/>
      <c:spPr>
        <a:noFill/>
        <a:ln>
          <a:noFill/>
        </a:ln>
        <a:effectLst/>
      </c:spPr>
      <c:txPr>
        <a:bodyPr rot="0" spcFirstLastPara="0" vertOverflow="ellipsis" vert="horz" wrap="square" anchor="ctr" anchorCtr="1"/>
        <a:lstStyle/>
        <a:p>
          <a:pPr>
            <a:defRPr lang="en-US"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lang="en-US" sz="1600"/>
      </a:pPr>
      <a:endParaRPr lang="en-US"/>
    </a:p>
  </c:txPr>
  <c:externalData r:id="rId3">
    <c:autoUpdate val="0"/>
  </c:externalData>
  <c:userShapes r:id="rId4"/>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dPt>
            <c:idx val="0"/>
            <c:bubble3D val="0"/>
            <c:spPr>
              <a:gradFill>
                <a:gsLst>
                  <a:gs pos="0">
                    <a:srgbClr val="D850D2"/>
                  </a:gs>
                  <a:gs pos="100000">
                    <a:srgbClr val="57257D"/>
                  </a:gs>
                </a:gsLst>
                <a:lin ang="5400000" scaled="1"/>
              </a:gra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1-A81D-6043-88BD-AE58C16E41F5}"/>
              </c:ext>
            </c:extLst>
          </c:dPt>
          <c:dPt>
            <c:idx val="1"/>
            <c:bubble3D val="0"/>
            <c:spPr>
              <a:gradFill>
                <a:gsLst>
                  <a:gs pos="0">
                    <a:srgbClr val="002060"/>
                  </a:gs>
                  <a:gs pos="100000">
                    <a:srgbClr val="00B0F0"/>
                  </a:gs>
                </a:gsLst>
                <a:lin ang="5400000" scaled="1"/>
              </a:gradFill>
              <a:ln>
                <a:solidFill>
                  <a:schemeClr val="accent1"/>
                </a:solid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3-A81D-6043-88BD-AE58C16E41F5}"/>
              </c:ext>
            </c:extLst>
          </c:dPt>
          <c:dPt>
            <c:idx val="2"/>
            <c:bubble3D val="0"/>
            <c:spPr>
              <a:solidFill>
                <a:schemeClr val="accent3"/>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5-A81D-6043-88BD-AE58C16E41F5}"/>
              </c:ext>
            </c:extLst>
          </c:dPt>
          <c:dPt>
            <c:idx val="3"/>
            <c:bubble3D val="0"/>
            <c:spPr>
              <a:solidFill>
                <a:schemeClr val="accent4"/>
              </a:solidFill>
              <a:ln>
                <a:noFill/>
              </a:ln>
              <a:effectLst/>
              <a:scene3d>
                <a:camera prst="orthographicFront"/>
                <a:lightRig rig="brightRoom" dir="t"/>
              </a:scene3d>
              <a:sp3d prstMaterial="flat">
                <a:bevelT w="50800" h="101600" prst="angle"/>
                <a:contourClr>
                  <a:srgbClr val="000000"/>
                </a:contourClr>
              </a:sp3d>
            </c:spPr>
            <c:extLst>
              <c:ext xmlns:c16="http://schemas.microsoft.com/office/drawing/2014/chart" uri="{C3380CC4-5D6E-409C-BE32-E72D297353CC}">
                <c16:uniqueId val="{00000007-A81D-6043-88BD-AE58C16E41F5}"/>
              </c:ext>
            </c:extLst>
          </c:dPt>
          <c:dLbls>
            <c:dLbl>
              <c:idx val="0"/>
              <c:layout>
                <c:manualLayout>
                  <c:x val="-0.108028615440819"/>
                  <c:y val="-0.190094977674583"/>
                </c:manualLayout>
              </c:layout>
              <c:dLblPos val="bestFi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1-A81D-6043-88BD-AE58C16E41F5}"/>
                </c:ext>
              </c:extLst>
            </c:dLbl>
            <c:spPr>
              <a:noFill/>
              <a:ln>
                <a:noFill/>
              </a:ln>
              <a:effectLst/>
            </c:spPr>
            <c:txPr>
              <a:bodyPr rot="0" spcFirstLastPara="1" vertOverflow="ellipsis" vert="horz" wrap="square" lIns="38100" tIns="19050" rIns="38100" bIns="19050" anchor="ctr" anchorCtr="1">
                <a:spAutoFit/>
              </a:bodyPr>
              <a:lstStyle/>
              <a:p>
                <a:pPr>
                  <a:defRPr lang="en-US" sz="1800" b="0" i="0" u="none" strike="noStrike" kern="1200" baseline="0">
                    <a:solidFill>
                      <a:schemeClr val="tx1"/>
                    </a:solidFill>
                    <a:latin typeface="Century Gothic" panose="020B0502020202020204" pitchFamily="34" charset="0"/>
                    <a:ea typeface="+mn-ea"/>
                    <a:cs typeface="+mn-cs"/>
                  </a:defRPr>
                </a:pPr>
                <a:endParaRPr lang="en-US"/>
              </a:p>
            </c:txPr>
            <c:dLblPos val="inEnd"/>
            <c:showLegendKey val="0"/>
            <c:showVal val="0"/>
            <c:showCatName val="0"/>
            <c:showSerName val="0"/>
            <c:showPercent val="1"/>
            <c:showBubbleSize val="0"/>
            <c:showLeaderLines val="1"/>
            <c:leaderLines>
              <c:spPr>
                <a:ln w="9525" cap="flat" cmpd="sng" algn="ctr">
                  <a:solidFill>
                    <a:schemeClr val="tx1">
                      <a:lumMod val="35000"/>
                      <a:lumOff val="65000"/>
                    </a:schemeClr>
                  </a:solidFill>
                  <a:prstDash val="solid"/>
                  <a:round/>
                </a:ln>
                <a:effectLst/>
              </c:spPr>
            </c:leaderLines>
            <c:extLst>
              <c:ext xmlns:c15="http://schemas.microsoft.com/office/drawing/2012/chart" uri="{CE6537A1-D6FC-4f65-9D91-7224C49458BB}"/>
            </c:extLst>
          </c:dLbls>
          <c:cat>
            <c:strRef>
              <c:f>Sheet1!$A$2:$A$5</c:f>
              <c:strCache>
                <c:ptCount val="2"/>
                <c:pt idx="0">
                  <c:v>Dog Bites</c:v>
                </c:pt>
                <c:pt idx="1">
                  <c:v>Other animal</c:v>
                </c:pt>
              </c:strCache>
            </c:strRef>
          </c:cat>
          <c:val>
            <c:numRef>
              <c:f>Sheet1!$B$2:$B$5</c:f>
              <c:numCache>
                <c:formatCode>0%</c:formatCode>
                <c:ptCount val="4"/>
                <c:pt idx="0">
                  <c:v>0.92</c:v>
                </c:pt>
                <c:pt idx="1">
                  <c:v>7.0000000000000007E-2</c:v>
                </c:pt>
              </c:numCache>
            </c:numRef>
          </c:val>
          <c:extLst>
            <c:ext xmlns:c16="http://schemas.microsoft.com/office/drawing/2014/chart" uri="{C3380CC4-5D6E-409C-BE32-E72D297353CC}">
              <c16:uniqueId val="{00000008-A81D-6043-88BD-AE58C16E41F5}"/>
            </c:ext>
          </c:extLst>
        </c:ser>
        <c:dLbls>
          <c:showLegendKey val="0"/>
          <c:showVal val="0"/>
          <c:showCatName val="0"/>
          <c:showSerName val="0"/>
          <c:showPercent val="1"/>
          <c:showBubbleSize val="0"/>
          <c:showLeaderLines val="1"/>
        </c:dLbls>
        <c:firstSliceAng val="0"/>
      </c:pieChart>
      <c:spPr>
        <a:noFill/>
        <a:ln>
          <a:noFill/>
        </a:ln>
        <a:effectLst/>
      </c:spPr>
    </c:plotArea>
    <c:legend>
      <c:legendPos val="t"/>
      <c:legendEntry>
        <c:idx val="2"/>
        <c:delete val="1"/>
      </c:legendEntry>
      <c:legendEntry>
        <c:idx val="3"/>
        <c:delete val="1"/>
      </c:legendEntry>
      <c:overlay val="0"/>
      <c:spPr>
        <a:noFill/>
        <a:ln>
          <a:noFill/>
        </a:ln>
        <a:effectLst/>
      </c:spPr>
      <c:txPr>
        <a:bodyPr rot="0" spcFirstLastPara="1" vertOverflow="ellipsis" vert="horz" wrap="square" anchor="ctr" anchorCtr="1"/>
        <a:lstStyle/>
        <a:p>
          <a:pPr>
            <a:defRPr lang="en-US" sz="1195" b="0" i="0" u="none" strike="noStrike" kern="1200" baseline="0">
              <a:solidFill>
                <a:schemeClr val="tx1">
                  <a:lumMod val="65000"/>
                  <a:lumOff val="35000"/>
                </a:schemeClr>
              </a:solidFill>
              <a:latin typeface="Century Gothic" panose="020B0502020202020204" pitchFamily="34" charset="0"/>
              <a:ea typeface="+mn-ea"/>
              <a:cs typeface="+mn-cs"/>
            </a:defRPr>
          </a:pPr>
          <a:endParaRPr lang="en-US"/>
        </a:p>
      </c:txPr>
    </c:legend>
    <c:plotVisOnly val="1"/>
    <c:dispBlanksAs val="gap"/>
    <c:showDLblsOverMax val="0"/>
  </c:chart>
  <c:spPr>
    <a:noFill/>
    <a:ln>
      <a:noFill/>
    </a:ln>
    <a:effectLst/>
  </c:spPr>
  <c:txPr>
    <a:bodyPr/>
    <a:lstStyle/>
    <a:p>
      <a:pPr>
        <a:defRPr lang="en-US"/>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acrossLinear" id="2">
  <a:schemeClr val="accent1"/>
  <a:schemeClr val="accent2"/>
  <a:schemeClr val="accent3"/>
  <a:schemeClr val="accent4"/>
  <a:schemeClr val="accent5"/>
  <a:schemeClr val="accent6"/>
</cs:colorStyle>
</file>

<file path=ppt/charts/style1.xml><?xml version="1.0" encoding="utf-8"?>
<cs:chartStyle xmlns:cs="http://schemas.microsoft.com/office/drawing/2012/chartStyle" xmlns:a="http://schemas.openxmlformats.org/drawingml/2006/main" id="10004">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10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000" kern="12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styleClr val="auto"/>
    </cs:effectRef>
    <cs:fontRef idx="minor">
      <a:schemeClr val="dk1"/>
    </cs:fontRef>
    <cs:spPr>
      <a:gradFill>
        <a:gsLst>
          <a:gs pos="0">
            <a:schemeClr val="phClr">
              <a:lumMod val="40000"/>
              <a:lumOff val="60000"/>
            </a:schemeClr>
          </a:gs>
          <a:gs pos="90000">
            <a:schemeClr val="phClr"/>
          </a:gs>
        </a:gsLst>
        <a:lin ang="5400000" scaled="0"/>
      </a:gradFill>
      <a:ln>
        <a:gradFill>
          <a:gsLst>
            <a:gs pos="0">
              <a:schemeClr val="phClr"/>
            </a:gs>
            <a:gs pos="100000">
              <a:schemeClr val="phClr">
                <a:lumMod val="75000"/>
              </a:schemeClr>
            </a:gs>
          </a:gsLst>
          <a:lin ang="5400000" scaled="1"/>
        </a:gradFill>
      </a:ln>
      <a:effectLst>
        <a:outerShdw blurRad="76200" dist="25400" dir="2700000" algn="tl" rotWithShape="0">
          <a:schemeClr val="phClr">
            <a:lumMod val="50000"/>
            <a:alpha val="30000"/>
          </a:schemeClr>
        </a:outerShdw>
      </a:effectLst>
    </cs:spPr>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lt1">
            <a:lumMod val="902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75000"/>
        <a:lumOff val="25000"/>
      </a:schemeClr>
    </cs:fontRef>
    <cs:defRPr sz="1400" b="1" kern="120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omments/comment1.xml><?xml version="1.0" encoding="utf-8"?>
<p:cmLst xmlns:a="http://schemas.openxmlformats.org/drawingml/2006/main" xmlns:r="http://schemas.openxmlformats.org/officeDocument/2006/relationships" xmlns:p="http://schemas.openxmlformats.org/presentationml/2006/main">
  <p:cm authorId="1" dt="2020-09-17T17:22:12.467" idx="2">
    <p:pos x="10" y="10"/>
    <p:text>two versions</p:text>
    <p:extLst>
      <p:ext uri="{C676402C-5697-4E1C-873F-D02D1690AC5C}">
        <p15:threadingInfo xmlns:p15="http://schemas.microsoft.com/office/powerpoint/2012/main" timeZoneBias="-300"/>
      </p:ext>
    </p:extLst>
  </p:cm>
</p:cmLst>
</file>

<file path=ppt/diagrams/_rels/data1.xml.rels><?xml version="1.0" encoding="UTF-8" standalone="yes"?>
<Relationships xmlns="http://schemas.openxmlformats.org/package/2006/relationships"><Relationship Id="rId8" Type="http://schemas.openxmlformats.org/officeDocument/2006/relationships/image" Target="../media/image187.svg"/><Relationship Id="rId3" Type="http://schemas.openxmlformats.org/officeDocument/2006/relationships/image" Target="../media/image182.png"/><Relationship Id="rId7" Type="http://schemas.openxmlformats.org/officeDocument/2006/relationships/image" Target="../media/image186.png"/><Relationship Id="rId2" Type="http://schemas.openxmlformats.org/officeDocument/2006/relationships/image" Target="../media/image181.svg"/><Relationship Id="rId1" Type="http://schemas.openxmlformats.org/officeDocument/2006/relationships/image" Target="../media/image180.png"/><Relationship Id="rId6" Type="http://schemas.openxmlformats.org/officeDocument/2006/relationships/image" Target="../media/image185.svg"/><Relationship Id="rId5" Type="http://schemas.openxmlformats.org/officeDocument/2006/relationships/image" Target="../media/image184.png"/><Relationship Id="rId4" Type="http://schemas.openxmlformats.org/officeDocument/2006/relationships/image" Target="../media/image183.svg"/></Relationships>
</file>

<file path=ppt/diagrams/_rels/drawing1.xml.rels><?xml version="1.0" encoding="UTF-8" standalone="yes"?>
<Relationships xmlns="http://schemas.openxmlformats.org/package/2006/relationships"><Relationship Id="rId8" Type="http://schemas.openxmlformats.org/officeDocument/2006/relationships/image" Target="../media/image187.svg"/><Relationship Id="rId3" Type="http://schemas.openxmlformats.org/officeDocument/2006/relationships/image" Target="../media/image182.png"/><Relationship Id="rId7" Type="http://schemas.openxmlformats.org/officeDocument/2006/relationships/image" Target="../media/image186.png"/><Relationship Id="rId2" Type="http://schemas.openxmlformats.org/officeDocument/2006/relationships/image" Target="../media/image181.svg"/><Relationship Id="rId1" Type="http://schemas.openxmlformats.org/officeDocument/2006/relationships/image" Target="../media/image180.png"/><Relationship Id="rId6" Type="http://schemas.openxmlformats.org/officeDocument/2006/relationships/image" Target="../media/image185.svg"/><Relationship Id="rId5" Type="http://schemas.openxmlformats.org/officeDocument/2006/relationships/image" Target="../media/image184.png"/><Relationship Id="rId4" Type="http://schemas.openxmlformats.org/officeDocument/2006/relationships/image" Target="../media/image183.sv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0BEBC21-F333-444E-A11E-D51C3D4F8415}" type="doc">
      <dgm:prSet loTypeId="urn:microsoft.com/office/officeart/2018/2/layout/IconVerticalSolidList" loCatId="icon" qsTypeId="urn:microsoft.com/office/officeart/2005/8/quickstyle/simple1" qsCatId="simple" csTypeId="urn:microsoft.com/office/officeart/2005/8/colors/accent1_2" csCatId="accent1" phldr="1"/>
      <dgm:spPr/>
      <dgm:t>
        <a:bodyPr/>
        <a:lstStyle/>
        <a:p>
          <a:endParaRPr lang="en-US"/>
        </a:p>
      </dgm:t>
    </dgm:pt>
    <dgm:pt modelId="{870AC6ED-42BB-4516-9CDE-E8D110A53B7D}">
      <dgm:prSet/>
      <dgm:spPr/>
      <dgm:t>
        <a:bodyPr/>
        <a:lstStyle/>
        <a:p>
          <a:r>
            <a:rPr lang="en-US" dirty="0"/>
            <a:t>Program will be launched on </a:t>
          </a:r>
          <a:r>
            <a:rPr lang="en-US" b="1" dirty="0"/>
            <a:t>12</a:t>
          </a:r>
          <a:r>
            <a:rPr lang="en-US" b="1" baseline="30000" dirty="0"/>
            <a:t>th</a:t>
          </a:r>
          <a:r>
            <a:rPr lang="en-US" b="1" dirty="0"/>
            <a:t> June 2024</a:t>
          </a:r>
        </a:p>
      </dgm:t>
    </dgm:pt>
    <dgm:pt modelId="{386771F0-88BF-4DBF-BE89-9A3FFF88EF12}" type="parTrans" cxnId="{46866523-20B2-4A8B-881B-883556F87215}">
      <dgm:prSet/>
      <dgm:spPr/>
      <dgm:t>
        <a:bodyPr/>
        <a:lstStyle/>
        <a:p>
          <a:endParaRPr lang="en-US"/>
        </a:p>
      </dgm:t>
    </dgm:pt>
    <dgm:pt modelId="{11F9DD4E-2B32-4DC2-B6C1-7E40F94C76E9}" type="sibTrans" cxnId="{46866523-20B2-4A8B-881B-883556F87215}">
      <dgm:prSet/>
      <dgm:spPr/>
      <dgm:t>
        <a:bodyPr/>
        <a:lstStyle/>
        <a:p>
          <a:endParaRPr lang="en-US"/>
        </a:p>
      </dgm:t>
    </dgm:pt>
    <dgm:pt modelId="{8B73BAA7-69C0-4045-BDD5-1AEF393BF170}">
      <dgm:prSet/>
      <dgm:spPr/>
      <dgm:t>
        <a:bodyPr/>
        <a:lstStyle/>
        <a:p>
          <a:r>
            <a:rPr lang="en-US" dirty="0"/>
            <a:t>1</a:t>
          </a:r>
          <a:r>
            <a:rPr lang="en-US" baseline="30000" dirty="0"/>
            <a:t>st</a:t>
          </a:r>
          <a:r>
            <a:rPr lang="en-US" dirty="0"/>
            <a:t> opportunity for countries to apply by </a:t>
          </a:r>
          <a:r>
            <a:rPr lang="en-US" b="1" dirty="0"/>
            <a:t>15</a:t>
          </a:r>
          <a:r>
            <a:rPr lang="en-US" b="1" baseline="30000" dirty="0"/>
            <a:t>th </a:t>
          </a:r>
          <a:r>
            <a:rPr lang="en-US" b="1" dirty="0"/>
            <a:t>July </a:t>
          </a:r>
          <a:r>
            <a:rPr lang="en-US" dirty="0"/>
            <a:t>then by </a:t>
          </a:r>
          <a:r>
            <a:rPr lang="en-US" b="1" dirty="0"/>
            <a:t>23</a:t>
          </a:r>
          <a:r>
            <a:rPr lang="en-US" b="1" baseline="30000" dirty="0"/>
            <a:t>rd</a:t>
          </a:r>
          <a:r>
            <a:rPr lang="en-US" b="1" dirty="0"/>
            <a:t> September </a:t>
          </a:r>
        </a:p>
      </dgm:t>
    </dgm:pt>
    <dgm:pt modelId="{F9C889BB-E5AF-448A-9973-AD19148E5539}" type="parTrans" cxnId="{BA74C5A8-05F7-4DC4-83FF-3907C9AA0649}">
      <dgm:prSet/>
      <dgm:spPr/>
      <dgm:t>
        <a:bodyPr/>
        <a:lstStyle/>
        <a:p>
          <a:endParaRPr lang="en-US"/>
        </a:p>
      </dgm:t>
    </dgm:pt>
    <dgm:pt modelId="{8A02E9EE-C05D-42FB-ADE0-3B4CEDF2E66D}" type="sibTrans" cxnId="{BA74C5A8-05F7-4DC4-83FF-3907C9AA0649}">
      <dgm:prSet/>
      <dgm:spPr/>
      <dgm:t>
        <a:bodyPr/>
        <a:lstStyle/>
        <a:p>
          <a:endParaRPr lang="en-US"/>
        </a:p>
      </dgm:t>
    </dgm:pt>
    <dgm:pt modelId="{16EC9BFB-EB03-4017-B62A-95217F47ADE0}">
      <dgm:prSet/>
      <dgm:spPr/>
      <dgm:t>
        <a:bodyPr/>
        <a:lstStyle/>
        <a:p>
          <a:r>
            <a:rPr lang="en-US"/>
            <a:t>In subsequent years 3 times through IRC windows</a:t>
          </a:r>
        </a:p>
      </dgm:t>
    </dgm:pt>
    <dgm:pt modelId="{3CCC8E41-8921-4A7A-8388-435652C7F0CB}" type="parTrans" cxnId="{DE8963C4-AE49-481F-AF08-501B53F213F8}">
      <dgm:prSet/>
      <dgm:spPr/>
      <dgm:t>
        <a:bodyPr/>
        <a:lstStyle/>
        <a:p>
          <a:endParaRPr lang="en-US"/>
        </a:p>
      </dgm:t>
    </dgm:pt>
    <dgm:pt modelId="{EE1B2150-A5A2-45E0-A7F8-FDF648C6044F}" type="sibTrans" cxnId="{DE8963C4-AE49-481F-AF08-501B53F213F8}">
      <dgm:prSet/>
      <dgm:spPr/>
      <dgm:t>
        <a:bodyPr/>
        <a:lstStyle/>
        <a:p>
          <a:endParaRPr lang="en-US"/>
        </a:p>
      </dgm:t>
    </dgm:pt>
    <dgm:pt modelId="{0CA8D27F-63DB-4025-8BAA-E10DD31F8DB6}">
      <dgm:prSet/>
      <dgm:spPr/>
      <dgm:t>
        <a:bodyPr/>
        <a:lstStyle/>
        <a:p>
          <a:r>
            <a:rPr lang="en-US"/>
            <a:t>Gavi will provide TA (consultants) to support the development of the applications if needed</a:t>
          </a:r>
        </a:p>
      </dgm:t>
    </dgm:pt>
    <dgm:pt modelId="{BAC31C9E-8F7E-4EC2-BD8B-9C24D31DEF05}" type="parTrans" cxnId="{EAA261DE-FAEC-4E00-A124-15DBE067457B}">
      <dgm:prSet/>
      <dgm:spPr/>
      <dgm:t>
        <a:bodyPr/>
        <a:lstStyle/>
        <a:p>
          <a:endParaRPr lang="en-US"/>
        </a:p>
      </dgm:t>
    </dgm:pt>
    <dgm:pt modelId="{5AF8A2EE-5A18-4D70-9420-ADA1C142B932}" type="sibTrans" cxnId="{EAA261DE-FAEC-4E00-A124-15DBE067457B}">
      <dgm:prSet/>
      <dgm:spPr/>
      <dgm:t>
        <a:bodyPr/>
        <a:lstStyle/>
        <a:p>
          <a:endParaRPr lang="en-US"/>
        </a:p>
      </dgm:t>
    </dgm:pt>
    <dgm:pt modelId="{7C195C38-60C9-427D-A9E3-1C824F93E362}" type="pres">
      <dgm:prSet presAssocID="{10BEBC21-F333-444E-A11E-D51C3D4F8415}" presName="root" presStyleCnt="0">
        <dgm:presLayoutVars>
          <dgm:dir/>
          <dgm:resizeHandles val="exact"/>
        </dgm:presLayoutVars>
      </dgm:prSet>
      <dgm:spPr/>
    </dgm:pt>
    <dgm:pt modelId="{4F669714-42DF-446E-907C-5FF6960C4287}" type="pres">
      <dgm:prSet presAssocID="{870AC6ED-42BB-4516-9CDE-E8D110A53B7D}" presName="compNode" presStyleCnt="0"/>
      <dgm:spPr/>
    </dgm:pt>
    <dgm:pt modelId="{0844EF26-44D0-40D6-AC4E-EE73F7626992}" type="pres">
      <dgm:prSet presAssocID="{870AC6ED-42BB-4516-9CDE-E8D110A53B7D}" presName="bgRect" presStyleLbl="bgShp" presStyleIdx="0" presStyleCnt="4"/>
      <dgm:spPr/>
    </dgm:pt>
    <dgm:pt modelId="{6DC41382-7AB9-4CA9-9B93-C9AD3AF22FDF}" type="pres">
      <dgm:prSet presAssocID="{870AC6ED-42BB-4516-9CDE-E8D110A53B7D}"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Rocket"/>
        </a:ext>
      </dgm:extLst>
    </dgm:pt>
    <dgm:pt modelId="{F341FCF0-88B0-437D-BD4C-80174ACFE8B9}" type="pres">
      <dgm:prSet presAssocID="{870AC6ED-42BB-4516-9CDE-E8D110A53B7D}" presName="spaceRect" presStyleCnt="0"/>
      <dgm:spPr/>
    </dgm:pt>
    <dgm:pt modelId="{B6C2BD30-CF0A-41BE-A2AA-7FA096559BAD}" type="pres">
      <dgm:prSet presAssocID="{870AC6ED-42BB-4516-9CDE-E8D110A53B7D}" presName="parTx" presStyleLbl="revTx" presStyleIdx="0" presStyleCnt="4">
        <dgm:presLayoutVars>
          <dgm:chMax val="0"/>
          <dgm:chPref val="0"/>
        </dgm:presLayoutVars>
      </dgm:prSet>
      <dgm:spPr/>
    </dgm:pt>
    <dgm:pt modelId="{FBE372A0-ACEE-4558-AF18-8CFABDF04797}" type="pres">
      <dgm:prSet presAssocID="{11F9DD4E-2B32-4DC2-B6C1-7E40F94C76E9}" presName="sibTrans" presStyleCnt="0"/>
      <dgm:spPr/>
    </dgm:pt>
    <dgm:pt modelId="{19D77233-2FFC-4555-A40F-68FE52F15BD1}" type="pres">
      <dgm:prSet presAssocID="{8B73BAA7-69C0-4045-BDD5-1AEF393BF170}" presName="compNode" presStyleCnt="0"/>
      <dgm:spPr/>
    </dgm:pt>
    <dgm:pt modelId="{D9F6A2B8-C324-4396-BA7B-B77B5965C525}" type="pres">
      <dgm:prSet presAssocID="{8B73BAA7-69C0-4045-BDD5-1AEF393BF170}" presName="bgRect" presStyleLbl="bgShp" presStyleIdx="1" presStyleCnt="4"/>
      <dgm:spPr/>
    </dgm:pt>
    <dgm:pt modelId="{D0BA1492-D0AA-4DB1-A7EC-DB5021EF0165}" type="pres">
      <dgm:prSet presAssocID="{8B73BAA7-69C0-4045-BDD5-1AEF393BF170}"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Earth Globe Europe-Africa"/>
        </a:ext>
      </dgm:extLst>
    </dgm:pt>
    <dgm:pt modelId="{A696D1AE-5D2A-4C66-A13A-12A7AD020906}" type="pres">
      <dgm:prSet presAssocID="{8B73BAA7-69C0-4045-BDD5-1AEF393BF170}" presName="spaceRect" presStyleCnt="0"/>
      <dgm:spPr/>
    </dgm:pt>
    <dgm:pt modelId="{C1B00187-BCB4-4786-94B3-E399C220E32E}" type="pres">
      <dgm:prSet presAssocID="{8B73BAA7-69C0-4045-BDD5-1AEF393BF170}" presName="parTx" presStyleLbl="revTx" presStyleIdx="1" presStyleCnt="4">
        <dgm:presLayoutVars>
          <dgm:chMax val="0"/>
          <dgm:chPref val="0"/>
        </dgm:presLayoutVars>
      </dgm:prSet>
      <dgm:spPr/>
    </dgm:pt>
    <dgm:pt modelId="{ED2DD0A6-F214-480E-ACD6-9E6D73735135}" type="pres">
      <dgm:prSet presAssocID="{8A02E9EE-C05D-42FB-ADE0-3B4CEDF2E66D}" presName="sibTrans" presStyleCnt="0"/>
      <dgm:spPr/>
    </dgm:pt>
    <dgm:pt modelId="{042203EF-B9DB-4F0D-90AD-2C15F90E2E9A}" type="pres">
      <dgm:prSet presAssocID="{16EC9BFB-EB03-4017-B62A-95217F47ADE0}" presName="compNode" presStyleCnt="0"/>
      <dgm:spPr/>
    </dgm:pt>
    <dgm:pt modelId="{839F885C-963A-4D7D-93FF-146B65BCEDF3}" type="pres">
      <dgm:prSet presAssocID="{16EC9BFB-EB03-4017-B62A-95217F47ADE0}" presName="bgRect" presStyleLbl="bgShp" presStyleIdx="2" presStyleCnt="4"/>
      <dgm:spPr/>
    </dgm:pt>
    <dgm:pt modelId="{B5EA2197-6F29-4A26-B254-885F41D4442D}" type="pres">
      <dgm:prSet presAssocID="{16EC9BFB-EB03-4017-B62A-95217F47ADE0}"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Stopwatch"/>
        </a:ext>
      </dgm:extLst>
    </dgm:pt>
    <dgm:pt modelId="{088DB657-3EDA-435E-92B3-710E7981EF54}" type="pres">
      <dgm:prSet presAssocID="{16EC9BFB-EB03-4017-B62A-95217F47ADE0}" presName="spaceRect" presStyleCnt="0"/>
      <dgm:spPr/>
    </dgm:pt>
    <dgm:pt modelId="{563C3B8A-5321-4F13-93DF-417784CD720D}" type="pres">
      <dgm:prSet presAssocID="{16EC9BFB-EB03-4017-B62A-95217F47ADE0}" presName="parTx" presStyleLbl="revTx" presStyleIdx="2" presStyleCnt="4">
        <dgm:presLayoutVars>
          <dgm:chMax val="0"/>
          <dgm:chPref val="0"/>
        </dgm:presLayoutVars>
      </dgm:prSet>
      <dgm:spPr/>
    </dgm:pt>
    <dgm:pt modelId="{905D2C4C-B3FC-4256-818D-F32DF0E450AD}" type="pres">
      <dgm:prSet presAssocID="{EE1B2150-A5A2-45E0-A7F8-FDF648C6044F}" presName="sibTrans" presStyleCnt="0"/>
      <dgm:spPr/>
    </dgm:pt>
    <dgm:pt modelId="{5B438C45-3DEC-4223-AF67-5A49DFEA22DC}" type="pres">
      <dgm:prSet presAssocID="{0CA8D27F-63DB-4025-8BAA-E10DD31F8DB6}" presName="compNode" presStyleCnt="0"/>
      <dgm:spPr/>
    </dgm:pt>
    <dgm:pt modelId="{A7964458-AE76-4C03-9337-F03354DB2CF6}" type="pres">
      <dgm:prSet presAssocID="{0CA8D27F-63DB-4025-8BAA-E10DD31F8DB6}" presName="bgRect" presStyleLbl="bgShp" presStyleIdx="3" presStyleCnt="4"/>
      <dgm:spPr/>
    </dgm:pt>
    <dgm:pt modelId="{FB91E11A-8967-4A07-BD34-CDC7D0F0EBC7}" type="pres">
      <dgm:prSet presAssocID="{0CA8D27F-63DB-4025-8BAA-E10DD31F8DB6}"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Taco"/>
        </a:ext>
      </dgm:extLst>
    </dgm:pt>
    <dgm:pt modelId="{E8E66DB3-B957-4629-9CFB-9899301CE5F4}" type="pres">
      <dgm:prSet presAssocID="{0CA8D27F-63DB-4025-8BAA-E10DD31F8DB6}" presName="spaceRect" presStyleCnt="0"/>
      <dgm:spPr/>
    </dgm:pt>
    <dgm:pt modelId="{8E103AFC-EFED-4296-9AFE-B5F9160F795C}" type="pres">
      <dgm:prSet presAssocID="{0CA8D27F-63DB-4025-8BAA-E10DD31F8DB6}" presName="parTx" presStyleLbl="revTx" presStyleIdx="3" presStyleCnt="4">
        <dgm:presLayoutVars>
          <dgm:chMax val="0"/>
          <dgm:chPref val="0"/>
        </dgm:presLayoutVars>
      </dgm:prSet>
      <dgm:spPr/>
    </dgm:pt>
  </dgm:ptLst>
  <dgm:cxnLst>
    <dgm:cxn modelId="{15206105-DB35-482A-8771-67E6F331EA04}" type="presOf" srcId="{0CA8D27F-63DB-4025-8BAA-E10DD31F8DB6}" destId="{8E103AFC-EFED-4296-9AFE-B5F9160F795C}" srcOrd="0" destOrd="0" presId="urn:microsoft.com/office/officeart/2018/2/layout/IconVerticalSolidList"/>
    <dgm:cxn modelId="{46866523-20B2-4A8B-881B-883556F87215}" srcId="{10BEBC21-F333-444E-A11E-D51C3D4F8415}" destId="{870AC6ED-42BB-4516-9CDE-E8D110A53B7D}" srcOrd="0" destOrd="0" parTransId="{386771F0-88BF-4DBF-BE89-9A3FFF88EF12}" sibTransId="{11F9DD4E-2B32-4DC2-B6C1-7E40F94C76E9}"/>
    <dgm:cxn modelId="{6A88A853-A3FB-479B-AB82-322A8C8367BD}" type="presOf" srcId="{8B73BAA7-69C0-4045-BDD5-1AEF393BF170}" destId="{C1B00187-BCB4-4786-94B3-E399C220E32E}" srcOrd="0" destOrd="0" presId="urn:microsoft.com/office/officeart/2018/2/layout/IconVerticalSolidList"/>
    <dgm:cxn modelId="{BA74C5A8-05F7-4DC4-83FF-3907C9AA0649}" srcId="{10BEBC21-F333-444E-A11E-D51C3D4F8415}" destId="{8B73BAA7-69C0-4045-BDD5-1AEF393BF170}" srcOrd="1" destOrd="0" parTransId="{F9C889BB-E5AF-448A-9973-AD19148E5539}" sibTransId="{8A02E9EE-C05D-42FB-ADE0-3B4CEDF2E66D}"/>
    <dgm:cxn modelId="{A38854A9-FE4E-4195-8BD6-6532339D9015}" type="presOf" srcId="{10BEBC21-F333-444E-A11E-D51C3D4F8415}" destId="{7C195C38-60C9-427D-A9E3-1C824F93E362}" srcOrd="0" destOrd="0" presId="urn:microsoft.com/office/officeart/2018/2/layout/IconVerticalSolidList"/>
    <dgm:cxn modelId="{DE8963C4-AE49-481F-AF08-501B53F213F8}" srcId="{10BEBC21-F333-444E-A11E-D51C3D4F8415}" destId="{16EC9BFB-EB03-4017-B62A-95217F47ADE0}" srcOrd="2" destOrd="0" parTransId="{3CCC8E41-8921-4A7A-8388-435652C7F0CB}" sibTransId="{EE1B2150-A5A2-45E0-A7F8-FDF648C6044F}"/>
    <dgm:cxn modelId="{E6CD4ED9-8338-46C5-B3EC-C2597212E187}" type="presOf" srcId="{16EC9BFB-EB03-4017-B62A-95217F47ADE0}" destId="{563C3B8A-5321-4F13-93DF-417784CD720D}" srcOrd="0" destOrd="0" presId="urn:microsoft.com/office/officeart/2018/2/layout/IconVerticalSolidList"/>
    <dgm:cxn modelId="{EAA261DE-FAEC-4E00-A124-15DBE067457B}" srcId="{10BEBC21-F333-444E-A11E-D51C3D4F8415}" destId="{0CA8D27F-63DB-4025-8BAA-E10DD31F8DB6}" srcOrd="3" destOrd="0" parTransId="{BAC31C9E-8F7E-4EC2-BD8B-9C24D31DEF05}" sibTransId="{5AF8A2EE-5A18-4D70-9420-ADA1C142B932}"/>
    <dgm:cxn modelId="{0FAACBF7-82CC-4EDE-B8CF-1B2AF750D3CD}" type="presOf" srcId="{870AC6ED-42BB-4516-9CDE-E8D110A53B7D}" destId="{B6C2BD30-CF0A-41BE-A2AA-7FA096559BAD}" srcOrd="0" destOrd="0" presId="urn:microsoft.com/office/officeart/2018/2/layout/IconVerticalSolidList"/>
    <dgm:cxn modelId="{EDC1B215-3D1D-404B-8384-BB4CC68D9DE9}" type="presParOf" srcId="{7C195C38-60C9-427D-A9E3-1C824F93E362}" destId="{4F669714-42DF-446E-907C-5FF6960C4287}" srcOrd="0" destOrd="0" presId="urn:microsoft.com/office/officeart/2018/2/layout/IconVerticalSolidList"/>
    <dgm:cxn modelId="{8B0B57E3-56C5-414F-8045-A48D40BB90E6}" type="presParOf" srcId="{4F669714-42DF-446E-907C-5FF6960C4287}" destId="{0844EF26-44D0-40D6-AC4E-EE73F7626992}" srcOrd="0" destOrd="0" presId="urn:microsoft.com/office/officeart/2018/2/layout/IconVerticalSolidList"/>
    <dgm:cxn modelId="{2D4306C4-8769-42B3-A492-51BC3E10C7D5}" type="presParOf" srcId="{4F669714-42DF-446E-907C-5FF6960C4287}" destId="{6DC41382-7AB9-4CA9-9B93-C9AD3AF22FDF}" srcOrd="1" destOrd="0" presId="urn:microsoft.com/office/officeart/2018/2/layout/IconVerticalSolidList"/>
    <dgm:cxn modelId="{CD46ED49-2552-4FA6-9B5A-A17045E29E77}" type="presParOf" srcId="{4F669714-42DF-446E-907C-5FF6960C4287}" destId="{F341FCF0-88B0-437D-BD4C-80174ACFE8B9}" srcOrd="2" destOrd="0" presId="urn:microsoft.com/office/officeart/2018/2/layout/IconVerticalSolidList"/>
    <dgm:cxn modelId="{9B4E54C4-AC87-41D4-9337-C5CBBD660303}" type="presParOf" srcId="{4F669714-42DF-446E-907C-5FF6960C4287}" destId="{B6C2BD30-CF0A-41BE-A2AA-7FA096559BAD}" srcOrd="3" destOrd="0" presId="urn:microsoft.com/office/officeart/2018/2/layout/IconVerticalSolidList"/>
    <dgm:cxn modelId="{5B25C9C4-142A-4235-A4C3-5803F35AE49E}" type="presParOf" srcId="{7C195C38-60C9-427D-A9E3-1C824F93E362}" destId="{FBE372A0-ACEE-4558-AF18-8CFABDF04797}" srcOrd="1" destOrd="0" presId="urn:microsoft.com/office/officeart/2018/2/layout/IconVerticalSolidList"/>
    <dgm:cxn modelId="{340EC7F8-788F-4646-91D7-1B5E77625AAC}" type="presParOf" srcId="{7C195C38-60C9-427D-A9E3-1C824F93E362}" destId="{19D77233-2FFC-4555-A40F-68FE52F15BD1}" srcOrd="2" destOrd="0" presId="urn:microsoft.com/office/officeart/2018/2/layout/IconVerticalSolidList"/>
    <dgm:cxn modelId="{03109644-468B-42EC-B218-42B31581608A}" type="presParOf" srcId="{19D77233-2FFC-4555-A40F-68FE52F15BD1}" destId="{D9F6A2B8-C324-4396-BA7B-B77B5965C525}" srcOrd="0" destOrd="0" presId="urn:microsoft.com/office/officeart/2018/2/layout/IconVerticalSolidList"/>
    <dgm:cxn modelId="{C1355F0D-8453-412A-A3A5-76CADA0EE683}" type="presParOf" srcId="{19D77233-2FFC-4555-A40F-68FE52F15BD1}" destId="{D0BA1492-D0AA-4DB1-A7EC-DB5021EF0165}" srcOrd="1" destOrd="0" presId="urn:microsoft.com/office/officeart/2018/2/layout/IconVerticalSolidList"/>
    <dgm:cxn modelId="{9EFC340C-A12F-400C-8BAF-C156B5ADBB4F}" type="presParOf" srcId="{19D77233-2FFC-4555-A40F-68FE52F15BD1}" destId="{A696D1AE-5D2A-4C66-A13A-12A7AD020906}" srcOrd="2" destOrd="0" presId="urn:microsoft.com/office/officeart/2018/2/layout/IconVerticalSolidList"/>
    <dgm:cxn modelId="{5C4A21B4-9654-47BA-8DF1-B40D85217D2A}" type="presParOf" srcId="{19D77233-2FFC-4555-A40F-68FE52F15BD1}" destId="{C1B00187-BCB4-4786-94B3-E399C220E32E}" srcOrd="3" destOrd="0" presId="urn:microsoft.com/office/officeart/2018/2/layout/IconVerticalSolidList"/>
    <dgm:cxn modelId="{B778611F-9F87-443A-93D0-5B0778CDEEC2}" type="presParOf" srcId="{7C195C38-60C9-427D-A9E3-1C824F93E362}" destId="{ED2DD0A6-F214-480E-ACD6-9E6D73735135}" srcOrd="3" destOrd="0" presId="urn:microsoft.com/office/officeart/2018/2/layout/IconVerticalSolidList"/>
    <dgm:cxn modelId="{940076A8-DC39-48FF-A19C-6C0E73E37B31}" type="presParOf" srcId="{7C195C38-60C9-427D-A9E3-1C824F93E362}" destId="{042203EF-B9DB-4F0D-90AD-2C15F90E2E9A}" srcOrd="4" destOrd="0" presId="urn:microsoft.com/office/officeart/2018/2/layout/IconVerticalSolidList"/>
    <dgm:cxn modelId="{A02D0A75-A52A-4556-A923-74A98D8EE472}" type="presParOf" srcId="{042203EF-B9DB-4F0D-90AD-2C15F90E2E9A}" destId="{839F885C-963A-4D7D-93FF-146B65BCEDF3}" srcOrd="0" destOrd="0" presId="urn:microsoft.com/office/officeart/2018/2/layout/IconVerticalSolidList"/>
    <dgm:cxn modelId="{94369724-8C4B-4E52-9ED4-AB3A4F60DE1D}" type="presParOf" srcId="{042203EF-B9DB-4F0D-90AD-2C15F90E2E9A}" destId="{B5EA2197-6F29-4A26-B254-885F41D4442D}" srcOrd="1" destOrd="0" presId="urn:microsoft.com/office/officeart/2018/2/layout/IconVerticalSolidList"/>
    <dgm:cxn modelId="{7B6E8FFF-53A5-4B32-90D7-356BF90D2198}" type="presParOf" srcId="{042203EF-B9DB-4F0D-90AD-2C15F90E2E9A}" destId="{088DB657-3EDA-435E-92B3-710E7981EF54}" srcOrd="2" destOrd="0" presId="urn:microsoft.com/office/officeart/2018/2/layout/IconVerticalSolidList"/>
    <dgm:cxn modelId="{6D38662C-F414-44DA-A851-5527BB279173}" type="presParOf" srcId="{042203EF-B9DB-4F0D-90AD-2C15F90E2E9A}" destId="{563C3B8A-5321-4F13-93DF-417784CD720D}" srcOrd="3" destOrd="0" presId="urn:microsoft.com/office/officeart/2018/2/layout/IconVerticalSolidList"/>
    <dgm:cxn modelId="{94989C26-BABC-4A63-8D8B-3EDDFB8DC005}" type="presParOf" srcId="{7C195C38-60C9-427D-A9E3-1C824F93E362}" destId="{905D2C4C-B3FC-4256-818D-F32DF0E450AD}" srcOrd="5" destOrd="0" presId="urn:microsoft.com/office/officeart/2018/2/layout/IconVerticalSolidList"/>
    <dgm:cxn modelId="{83B0612C-25BE-4D6B-8710-1488658412C9}" type="presParOf" srcId="{7C195C38-60C9-427D-A9E3-1C824F93E362}" destId="{5B438C45-3DEC-4223-AF67-5A49DFEA22DC}" srcOrd="6" destOrd="0" presId="urn:microsoft.com/office/officeart/2018/2/layout/IconVerticalSolidList"/>
    <dgm:cxn modelId="{6D9BF6E4-642D-41A2-93C2-0CF577E6991B}" type="presParOf" srcId="{5B438C45-3DEC-4223-AF67-5A49DFEA22DC}" destId="{A7964458-AE76-4C03-9337-F03354DB2CF6}" srcOrd="0" destOrd="0" presId="urn:microsoft.com/office/officeart/2018/2/layout/IconVerticalSolidList"/>
    <dgm:cxn modelId="{D89044DB-6B8D-4147-B88C-31BAE968AAAC}" type="presParOf" srcId="{5B438C45-3DEC-4223-AF67-5A49DFEA22DC}" destId="{FB91E11A-8967-4A07-BD34-CDC7D0F0EBC7}" srcOrd="1" destOrd="0" presId="urn:microsoft.com/office/officeart/2018/2/layout/IconVerticalSolidList"/>
    <dgm:cxn modelId="{CE4D01B6-2E57-4A8F-98C9-C3259555CA37}" type="presParOf" srcId="{5B438C45-3DEC-4223-AF67-5A49DFEA22DC}" destId="{E8E66DB3-B957-4629-9CFB-9899301CE5F4}" srcOrd="2" destOrd="0" presId="urn:microsoft.com/office/officeart/2018/2/layout/IconVerticalSolidList"/>
    <dgm:cxn modelId="{3D58D7AF-AC59-4F6C-A2B9-A877C452605E}" type="presParOf" srcId="{5B438C45-3DEC-4223-AF67-5A49DFEA22DC}" destId="{8E103AFC-EFED-4296-9AFE-B5F9160F795C}"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844EF26-44D0-40D6-AC4E-EE73F7626992}">
      <dsp:nvSpPr>
        <dsp:cNvPr id="0" name=""/>
        <dsp:cNvSpPr/>
      </dsp:nvSpPr>
      <dsp:spPr>
        <a:xfrm>
          <a:off x="0" y="1986"/>
          <a:ext cx="11147994" cy="1006737"/>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DC41382-7AB9-4CA9-9B93-C9AD3AF22FDF}">
      <dsp:nvSpPr>
        <dsp:cNvPr id="0" name=""/>
        <dsp:cNvSpPr/>
      </dsp:nvSpPr>
      <dsp:spPr>
        <a:xfrm>
          <a:off x="304537" y="228502"/>
          <a:ext cx="553705" cy="553705"/>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B6C2BD30-CF0A-41BE-A2AA-7FA096559BAD}">
      <dsp:nvSpPr>
        <dsp:cNvPr id="0" name=""/>
        <dsp:cNvSpPr/>
      </dsp:nvSpPr>
      <dsp:spPr>
        <a:xfrm>
          <a:off x="1162781" y="1986"/>
          <a:ext cx="9985212" cy="10067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546" tIns="106546" rIns="106546" bIns="106546" numCol="1" spcCol="1270" anchor="ctr" anchorCtr="0">
          <a:noAutofit/>
        </a:bodyPr>
        <a:lstStyle/>
        <a:p>
          <a:pPr marL="0" lvl="0" indent="0" algn="l" defTabSz="977900">
            <a:lnSpc>
              <a:spcPct val="90000"/>
            </a:lnSpc>
            <a:spcBef>
              <a:spcPct val="0"/>
            </a:spcBef>
            <a:spcAft>
              <a:spcPct val="35000"/>
            </a:spcAft>
            <a:buNone/>
          </a:pPr>
          <a:r>
            <a:rPr lang="en-US" sz="2200" kern="1200" dirty="0"/>
            <a:t>Program will be launched on </a:t>
          </a:r>
          <a:r>
            <a:rPr lang="en-US" sz="2200" b="1" kern="1200" dirty="0"/>
            <a:t>12</a:t>
          </a:r>
          <a:r>
            <a:rPr lang="en-US" sz="2200" b="1" kern="1200" baseline="30000" dirty="0"/>
            <a:t>th</a:t>
          </a:r>
          <a:r>
            <a:rPr lang="en-US" sz="2200" b="1" kern="1200" dirty="0"/>
            <a:t> June 2024</a:t>
          </a:r>
        </a:p>
      </dsp:txBody>
      <dsp:txXfrm>
        <a:off x="1162781" y="1986"/>
        <a:ext cx="9985212" cy="1006737"/>
      </dsp:txXfrm>
    </dsp:sp>
    <dsp:sp modelId="{D9F6A2B8-C324-4396-BA7B-B77B5965C525}">
      <dsp:nvSpPr>
        <dsp:cNvPr id="0" name=""/>
        <dsp:cNvSpPr/>
      </dsp:nvSpPr>
      <dsp:spPr>
        <a:xfrm>
          <a:off x="0" y="1260407"/>
          <a:ext cx="11147994" cy="1006737"/>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0BA1492-D0AA-4DB1-A7EC-DB5021EF0165}">
      <dsp:nvSpPr>
        <dsp:cNvPr id="0" name=""/>
        <dsp:cNvSpPr/>
      </dsp:nvSpPr>
      <dsp:spPr>
        <a:xfrm>
          <a:off x="304537" y="1486923"/>
          <a:ext cx="553705" cy="553705"/>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C1B00187-BCB4-4786-94B3-E399C220E32E}">
      <dsp:nvSpPr>
        <dsp:cNvPr id="0" name=""/>
        <dsp:cNvSpPr/>
      </dsp:nvSpPr>
      <dsp:spPr>
        <a:xfrm>
          <a:off x="1162781" y="1260407"/>
          <a:ext cx="9985212" cy="10067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546" tIns="106546" rIns="106546" bIns="106546" numCol="1" spcCol="1270" anchor="ctr" anchorCtr="0">
          <a:noAutofit/>
        </a:bodyPr>
        <a:lstStyle/>
        <a:p>
          <a:pPr marL="0" lvl="0" indent="0" algn="l" defTabSz="977900">
            <a:lnSpc>
              <a:spcPct val="90000"/>
            </a:lnSpc>
            <a:spcBef>
              <a:spcPct val="0"/>
            </a:spcBef>
            <a:spcAft>
              <a:spcPct val="35000"/>
            </a:spcAft>
            <a:buNone/>
          </a:pPr>
          <a:r>
            <a:rPr lang="en-US" sz="2200" kern="1200" dirty="0"/>
            <a:t>1</a:t>
          </a:r>
          <a:r>
            <a:rPr lang="en-US" sz="2200" kern="1200" baseline="30000" dirty="0"/>
            <a:t>st</a:t>
          </a:r>
          <a:r>
            <a:rPr lang="en-US" sz="2200" kern="1200" dirty="0"/>
            <a:t> opportunity for countries to apply by </a:t>
          </a:r>
          <a:r>
            <a:rPr lang="en-US" sz="2200" b="1" kern="1200" dirty="0"/>
            <a:t>15</a:t>
          </a:r>
          <a:r>
            <a:rPr lang="en-US" sz="2200" b="1" kern="1200" baseline="30000" dirty="0"/>
            <a:t>th </a:t>
          </a:r>
          <a:r>
            <a:rPr lang="en-US" sz="2200" b="1" kern="1200" dirty="0"/>
            <a:t>July </a:t>
          </a:r>
          <a:r>
            <a:rPr lang="en-US" sz="2200" kern="1200" dirty="0"/>
            <a:t>then by </a:t>
          </a:r>
          <a:r>
            <a:rPr lang="en-US" sz="2200" b="1" kern="1200" dirty="0"/>
            <a:t>23</a:t>
          </a:r>
          <a:r>
            <a:rPr lang="en-US" sz="2200" b="1" kern="1200" baseline="30000" dirty="0"/>
            <a:t>rd</a:t>
          </a:r>
          <a:r>
            <a:rPr lang="en-US" sz="2200" b="1" kern="1200" dirty="0"/>
            <a:t> September </a:t>
          </a:r>
        </a:p>
      </dsp:txBody>
      <dsp:txXfrm>
        <a:off x="1162781" y="1260407"/>
        <a:ext cx="9985212" cy="1006737"/>
      </dsp:txXfrm>
    </dsp:sp>
    <dsp:sp modelId="{839F885C-963A-4D7D-93FF-146B65BCEDF3}">
      <dsp:nvSpPr>
        <dsp:cNvPr id="0" name=""/>
        <dsp:cNvSpPr/>
      </dsp:nvSpPr>
      <dsp:spPr>
        <a:xfrm>
          <a:off x="0" y="2518829"/>
          <a:ext cx="11147994" cy="1006737"/>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5EA2197-6F29-4A26-B254-885F41D4442D}">
      <dsp:nvSpPr>
        <dsp:cNvPr id="0" name=""/>
        <dsp:cNvSpPr/>
      </dsp:nvSpPr>
      <dsp:spPr>
        <a:xfrm>
          <a:off x="304537" y="2745344"/>
          <a:ext cx="553705" cy="553705"/>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563C3B8A-5321-4F13-93DF-417784CD720D}">
      <dsp:nvSpPr>
        <dsp:cNvPr id="0" name=""/>
        <dsp:cNvSpPr/>
      </dsp:nvSpPr>
      <dsp:spPr>
        <a:xfrm>
          <a:off x="1162781" y="2518829"/>
          <a:ext cx="9985212" cy="10067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546" tIns="106546" rIns="106546" bIns="106546" numCol="1" spcCol="1270" anchor="ctr" anchorCtr="0">
          <a:noAutofit/>
        </a:bodyPr>
        <a:lstStyle/>
        <a:p>
          <a:pPr marL="0" lvl="0" indent="0" algn="l" defTabSz="977900">
            <a:lnSpc>
              <a:spcPct val="90000"/>
            </a:lnSpc>
            <a:spcBef>
              <a:spcPct val="0"/>
            </a:spcBef>
            <a:spcAft>
              <a:spcPct val="35000"/>
            </a:spcAft>
            <a:buNone/>
          </a:pPr>
          <a:r>
            <a:rPr lang="en-US" sz="2200" kern="1200"/>
            <a:t>In subsequent years 3 times through IRC windows</a:t>
          </a:r>
        </a:p>
      </dsp:txBody>
      <dsp:txXfrm>
        <a:off x="1162781" y="2518829"/>
        <a:ext cx="9985212" cy="1006737"/>
      </dsp:txXfrm>
    </dsp:sp>
    <dsp:sp modelId="{A7964458-AE76-4C03-9337-F03354DB2CF6}">
      <dsp:nvSpPr>
        <dsp:cNvPr id="0" name=""/>
        <dsp:cNvSpPr/>
      </dsp:nvSpPr>
      <dsp:spPr>
        <a:xfrm>
          <a:off x="0" y="3777250"/>
          <a:ext cx="11147994" cy="1006737"/>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B91E11A-8967-4A07-BD34-CDC7D0F0EBC7}">
      <dsp:nvSpPr>
        <dsp:cNvPr id="0" name=""/>
        <dsp:cNvSpPr/>
      </dsp:nvSpPr>
      <dsp:spPr>
        <a:xfrm>
          <a:off x="304537" y="4003766"/>
          <a:ext cx="553705" cy="553705"/>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8E103AFC-EFED-4296-9AFE-B5F9160F795C}">
      <dsp:nvSpPr>
        <dsp:cNvPr id="0" name=""/>
        <dsp:cNvSpPr/>
      </dsp:nvSpPr>
      <dsp:spPr>
        <a:xfrm>
          <a:off x="1162781" y="3777250"/>
          <a:ext cx="9985212" cy="10067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6546" tIns="106546" rIns="106546" bIns="106546" numCol="1" spcCol="1270" anchor="ctr" anchorCtr="0">
          <a:noAutofit/>
        </a:bodyPr>
        <a:lstStyle/>
        <a:p>
          <a:pPr marL="0" lvl="0" indent="0" algn="l" defTabSz="977900">
            <a:lnSpc>
              <a:spcPct val="90000"/>
            </a:lnSpc>
            <a:spcBef>
              <a:spcPct val="0"/>
            </a:spcBef>
            <a:spcAft>
              <a:spcPct val="35000"/>
            </a:spcAft>
            <a:buNone/>
          </a:pPr>
          <a:r>
            <a:rPr lang="en-US" sz="2200" kern="1200"/>
            <a:t>Gavi will provide TA (consultants) to support the development of the applications if needed</a:t>
          </a:r>
        </a:p>
      </dsp:txBody>
      <dsp:txXfrm>
        <a:off x="1162781" y="3777250"/>
        <a:ext cx="9985212" cy="1006737"/>
      </dsp:txXfrm>
    </dsp:sp>
  </dsp:spTree>
</dsp:drawing>
</file>

<file path=ppt/diagrams/layout1.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90008</cdr:x>
      <cdr:y>0.32038</cdr:y>
    </cdr:from>
    <cdr:to>
      <cdr:x>0.93682</cdr:x>
      <cdr:y>0.7821</cdr:y>
    </cdr:to>
    <cdr:sp macro="" textlink="">
      <cdr:nvSpPr>
        <cdr:cNvPr id="2" name="Rectangles 1"/>
        <cdr:cNvSpPr/>
      </cdr:nvSpPr>
      <cdr:spPr>
        <a:xfrm xmlns:a="http://schemas.openxmlformats.org/drawingml/2006/main">
          <a:off x="9464899" y="1394092"/>
          <a:ext cx="386366" cy="2009105"/>
        </a:xfrm>
        <a:prstGeom xmlns:a="http://schemas.openxmlformats.org/drawingml/2006/main" prst="rect">
          <a:avLst/>
        </a:prstGeom>
      </cdr:spPr>
      <cdr:txBody>
        <a:bodyPr xmlns:a="http://schemas.openxmlformats.org/drawingml/2006/main" vertOverflow="clip" vert="horz" wrap="square" lIns="45720" tIns="45720" rIns="45720" bIns="45720" rtlCol="0" anchor="t" anchorCtr="0">
          <a:normAutofit/>
        </a:bodyPr>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89763</cdr:x>
      <cdr:y>0.32334</cdr:y>
    </cdr:from>
    <cdr:to>
      <cdr:x>0.93682</cdr:x>
      <cdr:y>0.71699</cdr:y>
    </cdr:to>
    <cdr:sp macro="" textlink="">
      <cdr:nvSpPr>
        <cdr:cNvPr id="3" name="Rectangles 2"/>
        <cdr:cNvSpPr/>
      </cdr:nvSpPr>
      <cdr:spPr>
        <a:xfrm xmlns:a="http://schemas.openxmlformats.org/drawingml/2006/main">
          <a:off x="9439142" y="1406972"/>
          <a:ext cx="412124" cy="1712890"/>
        </a:xfrm>
        <a:prstGeom xmlns:a="http://schemas.openxmlformats.org/drawingml/2006/main" prst="rect">
          <a:avLst/>
        </a:prstGeom>
      </cdr:spPr>
      <cdr:txBody>
        <a:bodyPr xmlns:a="http://schemas.openxmlformats.org/drawingml/2006/main" vertOverflow="clip" vert="horz" wrap="square" lIns="45720" tIns="45720" rIns="45720" bIns="45720" rtlCol="0" anchor="t" anchorCtr="0">
          <a:normAutofit/>
        </a:bodyPr>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89886</cdr:x>
      <cdr:y>0.35886</cdr:y>
    </cdr:from>
    <cdr:to>
      <cdr:x>0.93927</cdr:x>
      <cdr:y>0.71403</cdr:y>
    </cdr:to>
    <cdr:sp macro="" textlink="">
      <cdr:nvSpPr>
        <cdr:cNvPr id="4" name="Rectangles 3"/>
        <cdr:cNvSpPr/>
      </cdr:nvSpPr>
      <cdr:spPr>
        <a:xfrm xmlns:a="http://schemas.openxmlformats.org/drawingml/2006/main">
          <a:off x="9452020" y="1561519"/>
          <a:ext cx="425003" cy="1545464"/>
        </a:xfrm>
        <a:prstGeom xmlns:a="http://schemas.openxmlformats.org/drawingml/2006/main" prst="rect">
          <a:avLst/>
        </a:prstGeom>
      </cdr:spPr>
      <cdr:txBody>
        <a:bodyPr xmlns:a="http://schemas.openxmlformats.org/drawingml/2006/main" vertOverflow="clip" vert="horz" wrap="square" lIns="45720" tIns="45720" rIns="45720" bIns="45720" rtlCol="0" anchor="t" anchorCtr="0">
          <a:normAutofit/>
        </a:bodyPr>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90131</cdr:x>
      <cdr:y>0.35886</cdr:y>
    </cdr:from>
    <cdr:to>
      <cdr:x>0.93682</cdr:x>
      <cdr:y>0.71403</cdr:y>
    </cdr:to>
    <cdr:sp macro="" textlink="">
      <cdr:nvSpPr>
        <cdr:cNvPr id="5" name="Rectangles 4"/>
        <cdr:cNvSpPr/>
      </cdr:nvSpPr>
      <cdr:spPr>
        <a:xfrm xmlns:a="http://schemas.openxmlformats.org/drawingml/2006/main">
          <a:off x="9477777" y="1561519"/>
          <a:ext cx="373488" cy="1545464"/>
        </a:xfrm>
        <a:prstGeom xmlns:a="http://schemas.openxmlformats.org/drawingml/2006/main" prst="rect">
          <a:avLst/>
        </a:prstGeom>
      </cdr:spPr>
      <cdr:txBody>
        <a:bodyPr xmlns:a="http://schemas.openxmlformats.org/drawingml/2006/main" vertOverflow="clip" vert="horz" wrap="square" lIns="45720" tIns="45720" rIns="45720" bIns="45720" rtlCol="0" anchor="t" anchorCtr="0">
          <a:normAutofit/>
        </a:bodyPr>
        <a:lstStyle xmlns:a="http://schemas.openxmlformats.org/drawingml/2006/main"/>
        <a:p xmlns:a="http://schemas.openxmlformats.org/drawingml/2006/main">
          <a:endParaRPr lang="en-US" sz="1100" dirty="0"/>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1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9CCA44B-3FC2-4ECE-8486-36BB2A3145D4}" type="datetimeFigureOut">
              <a:rPr lang="en-AU" smtClean="0"/>
              <a:t>9/12/2024</a:t>
            </a:fld>
            <a:endParaRPr lang="en-AU"/>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D3EF4AF-EABF-4C9C-A36B-440C9EC9E49F}" type="slidenum">
              <a:rPr lang="en-AU" smtClean="0"/>
              <a:t>‹#›</a:t>
            </a:fld>
            <a:endParaRPr lang="en-AU"/>
          </a:p>
        </p:txBody>
      </p:sp>
    </p:spTree>
    <p:extLst>
      <p:ext uri="{BB962C8B-B14F-4D97-AF65-F5344CB8AC3E}">
        <p14:creationId xmlns:p14="http://schemas.microsoft.com/office/powerpoint/2010/main" val="70314430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a:latin typeface="Arial" panose="020B0604020202020204" pitchFamily="34" charset="0"/>
                <a:cs typeface="Arial" panose="020B0604020202020204" pitchFamily="34" charset="0"/>
              </a:rPr>
              <a:t>Highly cost-effective ($33/DALY averted)</a:t>
            </a:r>
          </a:p>
          <a:p>
            <a:pPr marL="0" marR="0" indent="0" algn="l" defTabSz="457200" rtl="0" eaLnBrk="1" fontAlgn="auto" latinLnBrk="0" hangingPunct="1">
              <a:lnSpc>
                <a:spcPct val="100000"/>
              </a:lnSpc>
              <a:spcBef>
                <a:spcPts val="0"/>
              </a:spcBef>
              <a:spcAft>
                <a:spcPts val="0"/>
              </a:spcAft>
              <a:buClrTx/>
              <a:buSzTx/>
              <a:buFontTx/>
              <a:buNone/>
              <a:tabLst/>
              <a:defRPr/>
            </a:pPr>
            <a:endParaRPr lang="en-GB" sz="1200" kern="1200">
              <a:solidFill>
                <a:schemeClr val="tx1"/>
              </a:solidFill>
              <a:effectLst/>
              <a:latin typeface="+mn-lt"/>
              <a:ea typeface="+mn-ea"/>
              <a:cs typeface="+mn-cs"/>
            </a:endParaRPr>
          </a:p>
          <a:p>
            <a:r>
              <a:rPr lang="en-GB"/>
              <a:t>Fragmented approach to tackle rabies in various countries – </a:t>
            </a:r>
            <a:r>
              <a:rPr lang="en-GB" b="1" i="1">
                <a:solidFill>
                  <a:srgbClr val="002060"/>
                </a:solidFill>
              </a:rPr>
              <a:t>some successes</a:t>
            </a:r>
          </a:p>
          <a:p>
            <a:r>
              <a:rPr lang="en-GB"/>
              <a:t>Joint collaboration by the </a:t>
            </a:r>
            <a:r>
              <a:rPr lang="en-GB" b="1" i="1">
                <a:solidFill>
                  <a:srgbClr val="002060"/>
                </a:solidFill>
              </a:rPr>
              <a:t>Tripartite</a:t>
            </a:r>
            <a:r>
              <a:rPr lang="en-GB">
                <a:solidFill>
                  <a:srgbClr val="002060"/>
                </a:solidFill>
              </a:rPr>
              <a:t> </a:t>
            </a:r>
            <a:r>
              <a:rPr lang="en-GB"/>
              <a:t>(WHO, OIE, FAO) and GARC</a:t>
            </a:r>
          </a:p>
          <a:p>
            <a:r>
              <a:rPr lang="en-GB"/>
              <a:t>OIE dog </a:t>
            </a:r>
            <a:r>
              <a:rPr lang="en-GB" b="1" i="1">
                <a:solidFill>
                  <a:srgbClr val="002060"/>
                </a:solidFill>
              </a:rPr>
              <a:t>vaccine bank </a:t>
            </a:r>
            <a:r>
              <a:rPr lang="en-GB"/>
              <a:t>with WHO piggybacking tender  </a:t>
            </a:r>
          </a:p>
          <a:p>
            <a:r>
              <a:rPr lang="en-GB" b="1" i="1">
                <a:solidFill>
                  <a:srgbClr val="002060"/>
                </a:solidFill>
              </a:rPr>
              <a:t>Rabies Global Conference</a:t>
            </a:r>
            <a:r>
              <a:rPr lang="en-GB"/>
              <a:t>, December 2015 </a:t>
            </a:r>
          </a:p>
          <a:p>
            <a:r>
              <a:rPr lang="en-GB" b="1" i="1">
                <a:solidFill>
                  <a:srgbClr val="002060"/>
                </a:solidFill>
              </a:rPr>
              <a:t>Global Strategic Framework </a:t>
            </a:r>
            <a:r>
              <a:rPr lang="en-GB"/>
              <a:t>for the elimination of dog-mediated human rabies</a:t>
            </a:r>
          </a:p>
          <a:p>
            <a:r>
              <a:rPr lang="en-GB"/>
              <a:t>Participants call for a </a:t>
            </a:r>
            <a:r>
              <a:rPr lang="en-GB" b="1" i="1">
                <a:solidFill>
                  <a:srgbClr val="002060"/>
                </a:solidFill>
              </a:rPr>
              <a:t>Global Business Plan </a:t>
            </a:r>
            <a:r>
              <a:rPr lang="en-GB"/>
              <a:t>building upon current work</a:t>
            </a:r>
          </a:p>
          <a:p>
            <a:endParaRPr lang="en-US"/>
          </a:p>
          <a:p>
            <a:endParaRPr lang="en-US"/>
          </a:p>
          <a:p>
            <a:endParaRPr lang="en-US"/>
          </a:p>
          <a:p>
            <a:pPr marL="0" marR="0" lvl="0" indent="0" algn="l" defTabSz="457200" rtl="0" eaLnBrk="1" fontAlgn="auto" latinLnBrk="0" hangingPunct="1">
              <a:lnSpc>
                <a:spcPct val="100000"/>
              </a:lnSpc>
              <a:spcBef>
                <a:spcPts val="0"/>
              </a:spcBef>
              <a:spcAft>
                <a:spcPts val="0"/>
              </a:spcAft>
              <a:buClrTx/>
              <a:buSzTx/>
              <a:buFontTx/>
              <a:buNone/>
              <a:tabLst/>
              <a:defRPr/>
            </a:pPr>
            <a:r>
              <a:rPr lang="en-US" sz="1200" b="1">
                <a:cs typeface="Arial"/>
              </a:rPr>
              <a:t>100 x more rabies deaths than officially reported in Tanzania</a:t>
            </a: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1">
              <a:cs typeface="Arial"/>
            </a:endParaRPr>
          </a:p>
          <a:p>
            <a:r>
              <a:rPr lang="en-US" sz="1200" kern="1200">
                <a:solidFill>
                  <a:schemeClr val="tx1"/>
                </a:solidFill>
                <a:effectLst/>
                <a:latin typeface="+mn-lt"/>
                <a:ea typeface="+mn-ea"/>
                <a:cs typeface="+mn-cs"/>
              </a:rPr>
              <a:t>In richer countries, shown here with high HDI, almost everybody bitten receives PEP…..</a:t>
            </a:r>
          </a:p>
          <a:p>
            <a:endParaRPr lang="en-GB"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In contrast, we see that in poorer nations, there is much lower probability of receiving PEP </a:t>
            </a:r>
            <a:endParaRPr lang="en-GB"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It is not just a disease of poorer nations, but of the poor within these nations. </a:t>
            </a:r>
            <a:endParaRPr lang="en-GB" sz="1200" kern="1200">
              <a:solidFill>
                <a:schemeClr val="tx1"/>
              </a:solidFill>
              <a:effectLst/>
              <a:latin typeface="+mn-lt"/>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b="1">
              <a:cs typeface="Arial"/>
            </a:endParaRPr>
          </a:p>
          <a:p>
            <a:endParaRPr lang="en-US"/>
          </a:p>
        </p:txBody>
      </p:sp>
      <p:sp>
        <p:nvSpPr>
          <p:cNvPr id="4" name="Slide Number Placeholder 3"/>
          <p:cNvSpPr>
            <a:spLocks noGrp="1"/>
          </p:cNvSpPr>
          <p:nvPr>
            <p:ph type="sldNum" sz="quarter" idx="10"/>
          </p:nvPr>
        </p:nvSpPr>
        <p:spPr/>
        <p:txBody>
          <a:bodyPr/>
          <a:lstStyle/>
          <a:p>
            <a:fld id="{216DC98D-BFAC-8D4F-A4C7-7E098F178747}" type="slidenum">
              <a:rPr lang="en-US" smtClean="0"/>
              <a:t>2</a:t>
            </a:fld>
            <a:endParaRPr lang="en-US"/>
          </a:p>
        </p:txBody>
      </p:sp>
    </p:spTree>
    <p:extLst>
      <p:ext uri="{BB962C8B-B14F-4D97-AF65-F5344CB8AC3E}">
        <p14:creationId xmlns:p14="http://schemas.microsoft.com/office/powerpoint/2010/main" val="313287140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8E3768A-924A-403E-845B-51F688D8713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2159242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8E3768A-924A-403E-845B-51F688D8713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212213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8E3768A-924A-403E-845B-51F688D8713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6579128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8E3768A-924A-403E-845B-51F688D8713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33188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8E3768A-924A-403E-845B-51F688D8713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0002983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PK" dirty="0"/>
          </a:p>
        </p:txBody>
      </p:sp>
      <p:sp>
        <p:nvSpPr>
          <p:cNvPr id="4" name="Slide Number Placeholder 3"/>
          <p:cNvSpPr>
            <a:spLocks noGrp="1"/>
          </p:cNvSpPr>
          <p:nvPr>
            <p:ph type="sldNum"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0000000-1234-1234-1234-123412341234}" type="slidenum">
              <a:rPr kumimoji="0" lang="en-US" sz="1200" b="0" i="0" u="none" strike="noStrike" kern="1200" cap="none" spc="0" normalizeH="0" baseline="0" noProof="0" smtClean="0">
                <a:ln>
                  <a:noFill/>
                </a:ln>
                <a:solidFill>
                  <a:prstClr val="black"/>
                </a:solidFill>
                <a:effectLst/>
                <a:uLnTx/>
                <a:uFillTx/>
                <a:latin typeface="Calibri"/>
                <a:ea typeface="Calibri"/>
                <a:cs typeface="Calibri"/>
                <a:sym typeface="Calibri"/>
              </a:rPr>
              <a:pPr marL="0" marR="0" lvl="0" indent="0" algn="r" defTabSz="4572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282613073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8E3768A-924A-403E-845B-51F688D8713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4072297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3F99CAB-32DA-4C05-A065-87CFB806B6D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8837527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5B49A3-D38C-2F4A-9EF6-13EF087A7D7F}"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5790225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000000"/>
                </a:solidFill>
                <a:effectLst/>
                <a:latin typeface="Frutiger Roman"/>
              </a:rPr>
              <a:t>Gavi, the Vaccine Alliance is a </a:t>
            </a:r>
            <a:r>
              <a:rPr lang="en-US" b="1" i="0">
                <a:solidFill>
                  <a:srgbClr val="000000"/>
                </a:solidFill>
                <a:effectLst/>
                <a:latin typeface="Frutiger Roman"/>
              </a:rPr>
              <a:t>public-private partnership </a:t>
            </a:r>
            <a:r>
              <a:rPr lang="en-US" b="0" i="0">
                <a:solidFill>
                  <a:srgbClr val="000000"/>
                </a:solidFill>
                <a:effectLst/>
                <a:latin typeface="Frutiger Roman"/>
              </a:rPr>
              <a:t>that helps vaccinate half the world’s children against some of the world’s deadliest diseases. The Vaccine Alliance brings together developing country and donor </a:t>
            </a:r>
            <a:r>
              <a:rPr lang="en-US" b="1" i="0">
                <a:solidFill>
                  <a:srgbClr val="000000"/>
                </a:solidFill>
                <a:effectLst/>
                <a:latin typeface="Frutiger Roman"/>
              </a:rPr>
              <a:t>governments</a:t>
            </a:r>
            <a:r>
              <a:rPr lang="en-US" b="0" i="0">
                <a:solidFill>
                  <a:srgbClr val="000000"/>
                </a:solidFill>
                <a:effectLst/>
                <a:latin typeface="Frutiger Roman"/>
              </a:rPr>
              <a:t>, the </a:t>
            </a:r>
            <a:r>
              <a:rPr lang="en-US" b="1" i="0">
                <a:solidFill>
                  <a:srgbClr val="000000"/>
                </a:solidFill>
                <a:effectLst/>
                <a:latin typeface="Frutiger Roman"/>
              </a:rPr>
              <a:t>World Health Organization</a:t>
            </a:r>
            <a:r>
              <a:rPr lang="en-US" b="0" i="0">
                <a:solidFill>
                  <a:srgbClr val="000000"/>
                </a:solidFill>
                <a:effectLst/>
                <a:latin typeface="Frutiger Roman"/>
              </a:rPr>
              <a:t>, </a:t>
            </a:r>
            <a:r>
              <a:rPr lang="en-US" b="1" i="0">
                <a:solidFill>
                  <a:srgbClr val="000000"/>
                </a:solidFill>
                <a:effectLst/>
                <a:latin typeface="Frutiger Roman"/>
              </a:rPr>
              <a:t>UNICEF</a:t>
            </a:r>
            <a:r>
              <a:rPr lang="en-US" b="0" i="0">
                <a:solidFill>
                  <a:srgbClr val="000000"/>
                </a:solidFill>
                <a:effectLst/>
                <a:latin typeface="Frutiger Roman"/>
              </a:rPr>
              <a:t>, the </a:t>
            </a:r>
            <a:r>
              <a:rPr lang="en-US" b="1" i="0">
                <a:solidFill>
                  <a:srgbClr val="000000"/>
                </a:solidFill>
                <a:effectLst/>
                <a:latin typeface="Frutiger Roman"/>
              </a:rPr>
              <a:t>World Bank</a:t>
            </a:r>
            <a:r>
              <a:rPr lang="en-US" b="0" i="0">
                <a:solidFill>
                  <a:srgbClr val="000000"/>
                </a:solidFill>
                <a:effectLst/>
                <a:latin typeface="Frutiger Roman"/>
              </a:rPr>
              <a:t>, the </a:t>
            </a:r>
            <a:r>
              <a:rPr lang="en-US" b="1" i="0">
                <a:solidFill>
                  <a:srgbClr val="000000"/>
                </a:solidFill>
                <a:effectLst/>
                <a:latin typeface="Frutiger Roman"/>
              </a:rPr>
              <a:t>vaccine industry</a:t>
            </a:r>
            <a:r>
              <a:rPr lang="en-US" b="0" i="0">
                <a:solidFill>
                  <a:srgbClr val="000000"/>
                </a:solidFill>
                <a:effectLst/>
                <a:latin typeface="Frutiger Roman"/>
              </a:rPr>
              <a:t>, </a:t>
            </a:r>
            <a:r>
              <a:rPr lang="en-US" b="1" i="0">
                <a:solidFill>
                  <a:srgbClr val="000000"/>
                </a:solidFill>
                <a:effectLst/>
                <a:latin typeface="Frutiger Roman"/>
              </a:rPr>
              <a:t>technical agencies</a:t>
            </a:r>
            <a:r>
              <a:rPr lang="en-US" b="0" i="0">
                <a:solidFill>
                  <a:srgbClr val="000000"/>
                </a:solidFill>
                <a:effectLst/>
                <a:latin typeface="Frutiger Roman"/>
              </a:rPr>
              <a:t>, </a:t>
            </a:r>
            <a:r>
              <a:rPr lang="en-US" b="1" i="0">
                <a:solidFill>
                  <a:srgbClr val="000000"/>
                </a:solidFill>
                <a:effectLst/>
                <a:latin typeface="Frutiger Roman"/>
              </a:rPr>
              <a:t>civil society</a:t>
            </a:r>
            <a:r>
              <a:rPr lang="en-US" b="0" i="0">
                <a:solidFill>
                  <a:srgbClr val="000000"/>
                </a:solidFill>
                <a:effectLst/>
                <a:latin typeface="Frutiger Roman"/>
              </a:rPr>
              <a:t>, the </a:t>
            </a:r>
            <a:r>
              <a:rPr lang="en-US" b="1" i="0">
                <a:solidFill>
                  <a:srgbClr val="000000"/>
                </a:solidFill>
                <a:effectLst/>
                <a:latin typeface="Frutiger Roman"/>
              </a:rPr>
              <a:t>Bill &amp; Melinda Gates Foundation </a:t>
            </a:r>
            <a:r>
              <a:rPr lang="en-US" b="0" i="0">
                <a:solidFill>
                  <a:srgbClr val="000000"/>
                </a:solidFill>
                <a:effectLst/>
                <a:latin typeface="Frutiger Roman"/>
              </a:rPr>
              <a:t>and other private sector partners.</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b="0" i="0">
              <a:solidFill>
                <a:srgbClr val="000000"/>
              </a:solidFill>
              <a:effectLst/>
              <a:latin typeface="Frutiger Roman"/>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000000"/>
                </a:solidFill>
                <a:effectLst/>
                <a:latin typeface="Frutiger Roman"/>
              </a:rPr>
              <a:t>Gavi’s impact draws on the strengths of its core partners, the World Health Organization, UNICEF, the World Bank and the Bill &amp; Melinda Gates Foundation, and plays a critical role in strengthening primary health care (PHC), bringing us closer to the Sustainable Development Goal (SDG) of Universal Health Coverage (UHC), ensuring that no one is left behind.</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b="0" i="0">
              <a:solidFill>
                <a:srgbClr val="000000"/>
              </a:solidFill>
              <a:effectLst/>
              <a:latin typeface="Frutiger Roman"/>
            </a:endParaRPr>
          </a:p>
          <a:p>
            <a:pPr marL="171450" indent="-171450" algn="l">
              <a:buFont typeface="Arial" panose="020B0604020202020204" pitchFamily="34" charset="0"/>
              <a:buChar char="•"/>
            </a:pPr>
            <a:r>
              <a:rPr lang="en-US" b="0" i="0">
                <a:solidFill>
                  <a:srgbClr val="000000"/>
                </a:solidFill>
                <a:effectLst/>
                <a:latin typeface="Frutiger Roman"/>
              </a:rPr>
              <a:t>Gavi now vaccinates almost half of the world’s children, giving it tremendous power to negotiate vaccines at prices that are affordable for the poorest countries and to remove the commercial risks that previously kept manufacturers from serving them.</a:t>
            </a:r>
          </a:p>
          <a:p>
            <a:pPr algn="l"/>
            <a:endParaRPr lang="en-US" b="0" i="0">
              <a:solidFill>
                <a:srgbClr val="000000"/>
              </a:solidFill>
              <a:effectLst/>
              <a:latin typeface="Frutiger Roman"/>
            </a:endParaRPr>
          </a:p>
          <a:p>
            <a:pPr marL="628650" lvl="1" indent="-171450" algn="l">
              <a:buFont typeface="Arial" panose="020B0604020202020204" pitchFamily="34" charset="0"/>
              <a:buChar char="•"/>
            </a:pPr>
            <a:r>
              <a:rPr lang="en-US" b="0" i="0">
                <a:solidFill>
                  <a:srgbClr val="000000"/>
                </a:solidFill>
                <a:effectLst/>
                <a:latin typeface="Frutiger Roman"/>
              </a:rPr>
              <a:t>Because of these market shaping efforts, the cost of fully </a:t>
            </a:r>
            <a:r>
              <a:rPr lang="en-US" b="0" i="0" err="1">
                <a:solidFill>
                  <a:srgbClr val="000000"/>
                </a:solidFill>
                <a:effectLst/>
                <a:latin typeface="Frutiger Roman"/>
              </a:rPr>
              <a:t>immunising</a:t>
            </a:r>
            <a:r>
              <a:rPr lang="en-US" b="0" i="0">
                <a:solidFill>
                  <a:srgbClr val="000000"/>
                </a:solidFill>
                <a:effectLst/>
                <a:latin typeface="Frutiger Roman"/>
              </a:rPr>
              <a:t> a child against 11 antigens now costs about US$ 28 in Gavi-supported countries, compared with approximately US$ 1,300 in the United States of America. The number of manufacturers supplying prequalified Gavi-supported vaccines has also grown, from 5 in 2001 to 18 in 2021 (with more than half based in Africa, Asia and Latin America).</a:t>
            </a:r>
          </a:p>
          <a:p>
            <a:pPr marL="171450" indent="-171450" algn="l">
              <a:buFont typeface="Arial" panose="020B0604020202020204" pitchFamily="34" charset="0"/>
              <a:buChar char="•"/>
            </a:pPr>
            <a:endParaRPr lang="en-US" b="0" i="0">
              <a:solidFill>
                <a:srgbClr val="000000"/>
              </a:solidFill>
              <a:effectLst/>
              <a:latin typeface="Frutiger Roman"/>
            </a:endParaRPr>
          </a:p>
          <a:p>
            <a:pPr marL="171450" indent="-171450" algn="l">
              <a:buFont typeface="Arial" panose="020B0604020202020204" pitchFamily="34" charset="0"/>
              <a:buChar char="•"/>
            </a:pPr>
            <a:r>
              <a:rPr lang="en-US" b="0" i="0">
                <a:solidFill>
                  <a:srgbClr val="000000"/>
                </a:solidFill>
                <a:effectLst/>
                <a:latin typeface="Frutiger Roman"/>
              </a:rPr>
              <a:t>Gavi shares the cost that implementing countries pay for vaccines, which has resulted in more than 561 vaccine introductions and campaigns, dramatically boosting immunisation against virulent diseases.</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b="0" i="0">
              <a:solidFill>
                <a:srgbClr val="000000"/>
              </a:solidFill>
              <a:effectLst/>
              <a:latin typeface="Frutiger Roman"/>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a:solidFill>
                  <a:srgbClr val="000000"/>
                </a:solidFill>
                <a:effectLst/>
                <a:latin typeface="Frutiger Roman"/>
              </a:rPr>
              <a:t>By the end of 2019, 16 countries had transitioned out of Gavi support and are fully financing all vaccine programmes introduced with Gavi support.</a:t>
            </a:r>
          </a:p>
          <a:p>
            <a:pPr marL="171450" marR="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5B49A3-D38C-2F4A-9EF6-13EF087A7D7F}"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2419643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H">
                <a:solidFill>
                  <a:srgbClr val="FF0000"/>
                </a:solidFill>
              </a:rPr>
              <a:t>To </a:t>
            </a:r>
            <a:r>
              <a:rPr lang="fr-CH" err="1">
                <a:solidFill>
                  <a:srgbClr val="FF0000"/>
                </a:solidFill>
              </a:rPr>
              <a:t>prevent</a:t>
            </a:r>
            <a:r>
              <a:rPr lang="fr-CH">
                <a:solidFill>
                  <a:srgbClr val="FF0000"/>
                </a:solidFill>
              </a:rPr>
              <a:t> and control </a:t>
            </a:r>
            <a:r>
              <a:rPr lang="fr-CH" err="1">
                <a:solidFill>
                  <a:srgbClr val="FF0000"/>
                </a:solidFill>
              </a:rPr>
              <a:t>rabies</a:t>
            </a:r>
            <a:r>
              <a:rPr lang="fr-CH">
                <a:solidFill>
                  <a:srgbClr val="FF0000"/>
                </a:solidFill>
              </a:rPr>
              <a:t>, </a:t>
            </a:r>
            <a:r>
              <a:rPr lang="fr-CH" err="1">
                <a:solidFill>
                  <a:srgbClr val="FF0000"/>
                </a:solidFill>
              </a:rPr>
              <a:t>applying</a:t>
            </a:r>
            <a:r>
              <a:rPr lang="fr-CH">
                <a:solidFill>
                  <a:srgbClr val="FF0000"/>
                </a:solidFill>
              </a:rPr>
              <a:t> a </a:t>
            </a:r>
            <a:r>
              <a:rPr lang="fr-CH"/>
              <a:t>One Health </a:t>
            </a:r>
            <a:r>
              <a:rPr lang="fr-CH" err="1"/>
              <a:t>approach</a:t>
            </a:r>
            <a:r>
              <a:rPr lang="fr-CH"/>
              <a:t> </a:t>
            </a:r>
            <a:r>
              <a:rPr lang="fr-CH" err="1"/>
              <a:t>is</a:t>
            </a:r>
            <a:r>
              <a:rPr lang="fr-CH"/>
              <a:t> essential. </a:t>
            </a:r>
          </a:p>
          <a:p>
            <a:pPr algn="l"/>
            <a:endParaRPr lang="en-US" sz="1200" b="0" i="0" u="none" strike="noStrike" baseline="0">
              <a:solidFill>
                <a:srgbClr val="000000"/>
              </a:solidFill>
              <a:effectLst/>
              <a:latin typeface="Arial" panose="020B0604020202020204" pitchFamily="34" charset="0"/>
            </a:endParaRPr>
          </a:p>
          <a:p>
            <a:pPr algn="l"/>
            <a:r>
              <a:rPr lang="en-US" sz="1200" b="0" i="0" u="none" strike="noStrike" baseline="0">
                <a:solidFill>
                  <a:srgbClr val="000000"/>
                </a:solidFill>
                <a:effectLst/>
                <a:latin typeface="Arial" panose="020B0604020202020204" pitchFamily="34" charset="0"/>
              </a:rPr>
              <a:t>To successfully disrupt the rabies transmission cycle it is important to </a:t>
            </a:r>
            <a:endParaRPr lang="en-US" sz="1200" b="0" i="0" u="none" strike="noStrike" baseline="0">
              <a:solidFill>
                <a:srgbClr val="000000"/>
              </a:solidFill>
              <a:latin typeface="Arial" panose="020B0604020202020204" pitchFamily="34" charset="0"/>
            </a:endParaRPr>
          </a:p>
          <a:p>
            <a:pPr marL="171450" indent="-171450">
              <a:buFont typeface="Arial" panose="020B0604020202020204" pitchFamily="34" charset="0"/>
              <a:buChar char="•"/>
            </a:pPr>
            <a:r>
              <a:rPr lang="en-US" sz="1200" b="0" i="0" u="none" strike="noStrike" baseline="0">
                <a:solidFill>
                  <a:srgbClr val="000000"/>
                </a:solidFill>
                <a:latin typeface="Arial" panose="020B0604020202020204" pitchFamily="34" charset="0"/>
              </a:rPr>
              <a:t>Expand the access to rabies post-exposure prophylaxis – ensuring available, affordable and accessible PEP</a:t>
            </a:r>
          </a:p>
          <a:p>
            <a:pPr marL="171450" indent="-171450">
              <a:buFont typeface="Arial" panose="020B0604020202020204" pitchFamily="34" charset="0"/>
              <a:buChar char="•"/>
            </a:pPr>
            <a:r>
              <a:rPr lang="en-US" sz="1200" b="0" i="0" u="none" strike="noStrike" baseline="0">
                <a:solidFill>
                  <a:srgbClr val="000000"/>
                </a:solidFill>
                <a:latin typeface="Arial" panose="020B0604020202020204" pitchFamily="34" charset="0"/>
              </a:rPr>
              <a:t>Implement mass dog vaccination to tackle the disease at its sourc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baseline="0">
                <a:solidFill>
                  <a:srgbClr val="000000"/>
                </a:solidFill>
                <a:latin typeface="Arial" panose="020B0604020202020204" pitchFamily="34" charset="0"/>
              </a:rPr>
              <a:t>to build awareness of rabies and actively involving communities including </a:t>
            </a:r>
            <a:r>
              <a:rPr lang="fr-CH" sz="1200" b="0" i="0" u="none" strike="noStrike" baseline="0" err="1">
                <a:solidFill>
                  <a:schemeClr val="dk1"/>
                </a:solidFill>
                <a:latin typeface="Calibri"/>
                <a:cs typeface="Calibri"/>
                <a:sym typeface="Calibri"/>
              </a:rPr>
              <a:t>e</a:t>
            </a:r>
            <a:r>
              <a:rPr lang="fr-CH" sz="1200" b="0" i="0" u="none" strike="noStrike" err="1">
                <a:solidFill>
                  <a:schemeClr val="dk1"/>
                </a:solidFill>
                <a:latin typeface="Calibri"/>
                <a:ea typeface="Calibri"/>
                <a:cs typeface="Calibri"/>
                <a:sym typeface="Calibri"/>
              </a:rPr>
              <a:t>ducation</a:t>
            </a:r>
            <a:r>
              <a:rPr lang="fr-CH" sz="1200" b="0" i="0" u="none" strike="noStrike">
                <a:solidFill>
                  <a:schemeClr val="dk1"/>
                </a:solidFill>
                <a:latin typeface="Calibri"/>
                <a:ea typeface="Calibri"/>
                <a:cs typeface="Calibri"/>
                <a:sym typeface="Calibri"/>
              </a:rPr>
              <a:t> on </a:t>
            </a:r>
            <a:r>
              <a:rPr lang="fr-CH" sz="1200" b="0" i="0" u="none" strike="noStrike">
                <a:solidFill>
                  <a:srgbClr val="FFFF00"/>
                </a:solidFill>
                <a:latin typeface="Calibri"/>
                <a:ea typeface="Calibri"/>
                <a:cs typeface="Calibri"/>
                <a:sym typeface="Calibri"/>
              </a:rPr>
              <a:t>dog </a:t>
            </a:r>
            <a:r>
              <a:rPr lang="fr-CH" sz="1200" b="0" i="0" u="none" strike="noStrike" err="1">
                <a:solidFill>
                  <a:srgbClr val="FFFF00"/>
                </a:solidFill>
                <a:latin typeface="Calibri"/>
                <a:ea typeface="Calibri"/>
                <a:cs typeface="Calibri"/>
                <a:sym typeface="Calibri"/>
              </a:rPr>
              <a:t>behaviour</a:t>
            </a:r>
            <a:r>
              <a:rPr lang="fr-CH" sz="1200" b="0" i="0" u="none" strike="noStrike">
                <a:solidFill>
                  <a:srgbClr val="FFFF00"/>
                </a:solidFill>
                <a:latin typeface="Calibri"/>
                <a:ea typeface="Calibri"/>
                <a:cs typeface="Calibri"/>
                <a:sym typeface="Calibri"/>
              </a:rPr>
              <a:t> and bite </a:t>
            </a:r>
            <a:r>
              <a:rPr lang="fr-CH" sz="1200" b="0" i="0" u="none" strike="noStrike" err="1">
                <a:solidFill>
                  <a:srgbClr val="FFFF00"/>
                </a:solidFill>
                <a:latin typeface="Calibri"/>
                <a:ea typeface="Calibri"/>
                <a:cs typeface="Calibri"/>
                <a:sym typeface="Calibri"/>
              </a:rPr>
              <a:t>prevention</a:t>
            </a:r>
            <a:r>
              <a:rPr lang="fr-CH" sz="1200" b="0" i="0" u="none" strike="noStrike">
                <a:solidFill>
                  <a:srgbClr val="FFFF00"/>
                </a:solidFill>
                <a:latin typeface="Calibri"/>
                <a:ea typeface="Calibri"/>
                <a:cs typeface="Calibri"/>
                <a:sym typeface="Calibri"/>
              </a:rPr>
              <a:t>, </a:t>
            </a:r>
            <a:r>
              <a:rPr lang="fr-CH" sz="1200" b="0" i="0" u="none" strike="noStrike" err="1">
                <a:solidFill>
                  <a:srgbClr val="FFFF00"/>
                </a:solidFill>
                <a:latin typeface="Calibri"/>
                <a:ea typeface="Calibri"/>
                <a:cs typeface="Calibri"/>
                <a:sym typeface="Calibri"/>
              </a:rPr>
              <a:t>respsonsible</a:t>
            </a:r>
            <a:r>
              <a:rPr lang="fr-CH" sz="1200" b="0" i="0" u="none" strike="noStrike">
                <a:solidFill>
                  <a:srgbClr val="FFFF00"/>
                </a:solidFill>
                <a:latin typeface="Calibri"/>
                <a:ea typeface="Calibri"/>
                <a:cs typeface="Calibri"/>
                <a:sym typeface="Calibri"/>
              </a:rPr>
              <a:t> pet </a:t>
            </a:r>
            <a:r>
              <a:rPr lang="fr-CH" sz="1200" b="0" i="0" u="none" strike="noStrike" err="1">
                <a:solidFill>
                  <a:srgbClr val="FFFF00"/>
                </a:solidFill>
                <a:latin typeface="Calibri"/>
                <a:ea typeface="Calibri"/>
                <a:cs typeface="Calibri"/>
                <a:sym typeface="Calibri"/>
              </a:rPr>
              <a:t>ownership</a:t>
            </a:r>
            <a:r>
              <a:rPr lang="fr-CH" sz="1200" b="0" i="0" u="none" strike="noStrike">
                <a:solidFill>
                  <a:srgbClr val="FFFF00"/>
                </a:solidFill>
                <a:latin typeface="Calibri"/>
                <a:ea typeface="Calibri"/>
                <a:cs typeface="Calibri"/>
                <a:sym typeface="Calibri"/>
              </a:rPr>
              <a:t>, </a:t>
            </a:r>
            <a:r>
              <a:rPr lang="fr-CH" sz="1200" b="0" i="0" u="none" strike="noStrike" err="1">
                <a:solidFill>
                  <a:srgbClr val="FFFF00"/>
                </a:solidFill>
                <a:latin typeface="Calibri"/>
                <a:ea typeface="Calibri"/>
                <a:cs typeface="Calibri"/>
                <a:sym typeface="Calibri"/>
              </a:rPr>
              <a:t>measures</a:t>
            </a:r>
            <a:r>
              <a:rPr lang="fr-CH" sz="1200" b="0" i="0" u="none" strike="noStrike">
                <a:solidFill>
                  <a:srgbClr val="FFFF00"/>
                </a:solidFill>
                <a:latin typeface="Calibri"/>
                <a:ea typeface="Calibri"/>
                <a:cs typeface="Calibri"/>
                <a:sym typeface="Calibri"/>
              </a:rPr>
              <a:t> to </a:t>
            </a:r>
            <a:r>
              <a:rPr lang="fr-CH" sz="1200" b="0" i="0" u="none" strike="noStrike" err="1">
                <a:solidFill>
                  <a:srgbClr val="FFFF00"/>
                </a:solidFill>
                <a:latin typeface="Calibri"/>
                <a:ea typeface="Calibri"/>
                <a:cs typeface="Calibri"/>
                <a:sym typeface="Calibri"/>
              </a:rPr>
              <a:t>be</a:t>
            </a:r>
            <a:r>
              <a:rPr lang="fr-CH" sz="1200" b="0" i="0" u="none" strike="noStrike">
                <a:solidFill>
                  <a:srgbClr val="FFFF00"/>
                </a:solidFill>
                <a:latin typeface="Calibri"/>
                <a:ea typeface="Calibri"/>
                <a:cs typeface="Calibri"/>
                <a:sym typeface="Calibri"/>
              </a:rPr>
              <a:t> </a:t>
            </a:r>
            <a:r>
              <a:rPr lang="fr-CH" sz="1200" b="0" i="0" u="none" strike="noStrike" err="1">
                <a:solidFill>
                  <a:srgbClr val="FFFF00"/>
                </a:solidFill>
                <a:latin typeface="Calibri"/>
                <a:ea typeface="Calibri"/>
                <a:cs typeface="Calibri"/>
                <a:sym typeface="Calibri"/>
              </a:rPr>
              <a:t>taken</a:t>
            </a:r>
            <a:r>
              <a:rPr lang="fr-CH" sz="1200" b="0" i="0" u="none" strike="noStrike">
                <a:solidFill>
                  <a:srgbClr val="FFFF00"/>
                </a:solidFill>
                <a:latin typeface="Calibri"/>
                <a:ea typeface="Calibri"/>
                <a:cs typeface="Calibri"/>
                <a:sym typeface="Calibri"/>
              </a:rPr>
              <a:t> </a:t>
            </a:r>
            <a:r>
              <a:rPr lang="fr-CH" sz="1200" b="0" i="0" u="none" strike="noStrike" err="1">
                <a:solidFill>
                  <a:srgbClr val="FFFF00"/>
                </a:solidFill>
                <a:latin typeface="Calibri"/>
                <a:ea typeface="Calibri"/>
                <a:cs typeface="Calibri"/>
                <a:sym typeface="Calibri"/>
              </a:rPr>
              <a:t>after</a:t>
            </a:r>
            <a:r>
              <a:rPr lang="fr-CH" sz="1200" b="0" i="0" u="none" strike="noStrike">
                <a:solidFill>
                  <a:srgbClr val="FFFF00"/>
                </a:solidFill>
                <a:latin typeface="Calibri"/>
                <a:ea typeface="Calibri"/>
                <a:cs typeface="Calibri"/>
                <a:sym typeface="Calibri"/>
              </a:rPr>
              <a:t> a bite…</a:t>
            </a:r>
            <a:endParaRPr lang="en-US" sz="1200" b="0" i="0" u="none" strike="noStrike" baseline="0">
              <a:solidFill>
                <a:srgbClr val="000000"/>
              </a:solidFill>
              <a:latin typeface="Arial" panose="020B0604020202020204" pitchFamily="34" charset="0"/>
            </a:endParaRPr>
          </a:p>
          <a:p>
            <a:endParaRPr lang="en-GB"/>
          </a:p>
        </p:txBody>
      </p:sp>
      <p:sp>
        <p:nvSpPr>
          <p:cNvPr id="4" name="Slide Number Placeholder 3"/>
          <p:cNvSpPr>
            <a:spLocks noGrp="1"/>
          </p:cNvSpPr>
          <p:nvPr>
            <p:ph type="sldNum" sz="quarter" idx="5"/>
          </p:nvPr>
        </p:nvSpPr>
        <p:spPr/>
        <p:txBody>
          <a:bodyPr/>
          <a:lstStyle/>
          <a:p>
            <a:fld id="{2D82004C-378C-4089-90A3-59BF2F64760F}" type="slidenum">
              <a:rPr lang="de-DE" smtClean="0"/>
              <a:t>5</a:t>
            </a:fld>
            <a:endParaRPr lang="de-DE"/>
          </a:p>
        </p:txBody>
      </p:sp>
    </p:spTree>
    <p:extLst>
      <p:ext uri="{BB962C8B-B14F-4D97-AF65-F5344CB8AC3E}">
        <p14:creationId xmlns:p14="http://schemas.microsoft.com/office/powerpoint/2010/main" val="280232108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Gavi offers </a:t>
            </a:r>
            <a:r>
              <a:rPr lang="en-GB" b="1" dirty="0"/>
              <a:t>three types of support to countries:</a:t>
            </a:r>
          </a:p>
          <a:p>
            <a:endParaRPr lang="en-GB" dirty="0"/>
          </a:p>
          <a:p>
            <a:pPr marL="171450" indent="-171450">
              <a:buFontTx/>
              <a:buChar char="-"/>
            </a:pPr>
            <a:r>
              <a:rPr lang="en-GB" b="1" baseline="0" dirty="0"/>
              <a:t>Vaccine </a:t>
            </a:r>
            <a:r>
              <a:rPr lang="en-GB" b="0" baseline="0" dirty="0"/>
              <a:t>support</a:t>
            </a:r>
          </a:p>
          <a:p>
            <a:pPr marL="171450" indent="-171450">
              <a:buFontTx/>
              <a:buChar char="-"/>
            </a:pPr>
            <a:r>
              <a:rPr lang="en-GB" b="1" dirty="0"/>
              <a:t>Health system</a:t>
            </a:r>
            <a:r>
              <a:rPr lang="en-GB" b="1" baseline="0" dirty="0"/>
              <a:t> strengthening </a:t>
            </a:r>
            <a:r>
              <a:rPr lang="en-GB" baseline="0" dirty="0"/>
              <a:t>support</a:t>
            </a:r>
          </a:p>
          <a:p>
            <a:pPr marL="171450" indent="-171450">
              <a:buFontTx/>
              <a:buChar char="-"/>
            </a:pPr>
            <a:r>
              <a:rPr lang="en-GB" b="1" baseline="0" dirty="0"/>
              <a:t>Technical assistance</a:t>
            </a:r>
            <a:r>
              <a:rPr lang="en-GB" baseline="0" dirty="0"/>
              <a:t> provided through the partners’ engagement framework (PEF) – called targeted country assistance (TCA)</a:t>
            </a:r>
          </a:p>
          <a:p>
            <a:endParaRPr lang="en-GB" baseline="0" dirty="0"/>
          </a:p>
          <a:p>
            <a:endParaRPr lang="en-GB" sz="1200" kern="1200" baseline="0" dirty="0">
              <a:solidFill>
                <a:schemeClr val="tx1"/>
              </a:solidFill>
              <a:effectLst/>
              <a:latin typeface="+mn-lt"/>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lang="en-US" sz="1800" dirty="0">
                <a:effectLst/>
                <a:latin typeface="Segoe UI" panose="020B0502040204020203" pitchFamily="34" charset="0"/>
              </a:rPr>
              <a:t>The designations employed and the presentation of these materials do not imply the expression of any opinion whatsoever on the part of Gavi concerning the legal status of any country, territory or area or of its authorities, or concerning the delimitation of its frontiers or boundaries. Lines on the map represent approximate border lines for which there may not yet be full agreement. This map is continually being updated as information is processed. </a:t>
            </a:r>
            <a:endParaRPr lang="en-US" sz="1800" dirty="0">
              <a:effectLst/>
              <a:latin typeface="Arial" panose="020B0604020202020204" pitchFamily="34" charset="0"/>
            </a:endParaRPr>
          </a:p>
          <a:p>
            <a:endParaRPr lang="en-GB" baseline="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4742BCD-442D-974F-8DEA-37197BEC98C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8186476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5B49A3-D38C-2F4A-9EF6-13EF087A7D7F}"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7780397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5B49A3-D38C-2F4A-9EF6-13EF087A7D7F}"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807932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5B49A3-D38C-2F4A-9EF6-13EF087A7D7F}"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33255094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5B49A3-D38C-2F4A-9EF6-13EF087A7D7F}"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18230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D3EF4AF-EABF-4C9C-A36B-440C9EC9E49F}" type="slidenum">
              <a:rPr lang="en-AU" smtClean="0"/>
              <a:t>7</a:t>
            </a:fld>
            <a:endParaRPr lang="en-AU"/>
          </a:p>
        </p:txBody>
      </p:sp>
    </p:spTree>
    <p:extLst>
      <p:ext uri="{BB962C8B-B14F-4D97-AF65-F5344CB8AC3E}">
        <p14:creationId xmlns:p14="http://schemas.microsoft.com/office/powerpoint/2010/main" val="37030538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26"/>
        <p:cNvGrpSpPr/>
        <p:nvPr/>
      </p:nvGrpSpPr>
      <p:grpSpPr>
        <a:xfrm>
          <a:off x="0" y="0"/>
          <a:ext cx="0" cy="0"/>
          <a:chOff x="0" y="0"/>
          <a:chExt cx="0" cy="0"/>
        </a:xfrm>
      </p:grpSpPr>
      <p:sp>
        <p:nvSpPr>
          <p:cNvPr id="327" name="Google Shape;327;p1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28" name="Google Shape;328;p1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200"/>
              <a:buFont typeface="Calibri"/>
              <a:buNone/>
            </a:pPr>
            <a:endParaRPr/>
          </a:p>
        </p:txBody>
      </p:sp>
      <p:sp>
        <p:nvSpPr>
          <p:cNvPr id="329" name="Google Shape;329;p1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GB"/>
              <a:t>9</a:t>
            </a:fld>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67"/>
        <p:cNvGrpSpPr/>
        <p:nvPr/>
      </p:nvGrpSpPr>
      <p:grpSpPr>
        <a:xfrm>
          <a:off x="0" y="0"/>
          <a:ext cx="0" cy="0"/>
          <a:chOff x="0" y="0"/>
          <a:chExt cx="0" cy="0"/>
        </a:xfrm>
      </p:grpSpPr>
      <p:sp>
        <p:nvSpPr>
          <p:cNvPr id="368" name="Google Shape;368;p1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69" name="Google Shape;369;p15: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latin typeface="Arial"/>
              <a:ea typeface="Arial"/>
              <a:cs typeface="Arial"/>
              <a:sym typeface="Arial"/>
            </a:endParaRPr>
          </a:p>
        </p:txBody>
      </p:sp>
      <p:sp>
        <p:nvSpPr>
          <p:cNvPr id="370" name="Google Shape;370;p15: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Calibri"/>
              <a:buNone/>
            </a:pPr>
            <a:fld id="{00000000-1234-1234-1234-123412341234}" type="slidenum">
              <a:rPr lang="en-GB" sz="1200" b="0" i="0" u="none" strike="noStrike" cap="none">
                <a:solidFill>
                  <a:srgbClr val="000000"/>
                </a:solidFill>
                <a:latin typeface="Calibri"/>
                <a:ea typeface="Calibri"/>
                <a:cs typeface="Calibri"/>
                <a:sym typeface="Calibri"/>
              </a:rPr>
              <a:t>10</a:t>
            </a:fld>
            <a:endParaRPr sz="1200" b="0" i="0" u="none" strike="noStrike" cap="none">
              <a:solidFill>
                <a:srgbClr val="000000"/>
              </a:solidFill>
              <a:latin typeface="Calibri"/>
              <a:ea typeface="Calibri"/>
              <a:cs typeface="Calibri"/>
              <a:sym typeface="Calibri"/>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10"/>
        <p:cNvGrpSpPr/>
        <p:nvPr/>
      </p:nvGrpSpPr>
      <p:grpSpPr>
        <a:xfrm>
          <a:off x="0" y="0"/>
          <a:ext cx="0" cy="0"/>
          <a:chOff x="0" y="0"/>
          <a:chExt cx="0" cy="0"/>
        </a:xfrm>
      </p:grpSpPr>
      <p:sp>
        <p:nvSpPr>
          <p:cNvPr id="311" name="Google Shape;311;p1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12" name="Google Shape;312;p11: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200"/>
              <a:buFont typeface="Calibri"/>
              <a:buNone/>
            </a:pPr>
            <a:endParaRPr/>
          </a:p>
        </p:txBody>
      </p:sp>
      <p:sp>
        <p:nvSpPr>
          <p:cNvPr id="313" name="Google Shape;313;p11: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GB"/>
              <a:t>11</a:t>
            </a:fld>
            <a:endParaRPr/>
          </a:p>
        </p:txBody>
      </p:sp>
    </p:spTree>
    <p:extLst>
      <p:ext uri="{BB962C8B-B14F-4D97-AF65-F5344CB8AC3E}">
        <p14:creationId xmlns:p14="http://schemas.microsoft.com/office/powerpoint/2010/main" val="15899447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10"/>
        <p:cNvGrpSpPr/>
        <p:nvPr/>
      </p:nvGrpSpPr>
      <p:grpSpPr>
        <a:xfrm>
          <a:off x="0" y="0"/>
          <a:ext cx="0" cy="0"/>
          <a:chOff x="0" y="0"/>
          <a:chExt cx="0" cy="0"/>
        </a:xfrm>
      </p:grpSpPr>
      <p:sp>
        <p:nvSpPr>
          <p:cNvPr id="311" name="Google Shape;311;p1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12" name="Google Shape;312;p11: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200"/>
              <a:buFont typeface="Calibri"/>
              <a:buNone/>
            </a:pPr>
            <a:endParaRPr/>
          </a:p>
        </p:txBody>
      </p:sp>
      <p:sp>
        <p:nvSpPr>
          <p:cNvPr id="313" name="Google Shape;313;p11: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GB"/>
              <a:t>12</a:t>
            </a:fld>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8E3768A-924A-403E-845B-51F688D8713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5758596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8E3768A-924A-403E-845B-51F688D8713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3548179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5.xml"/><Relationship Id="rId5" Type="http://schemas.openxmlformats.org/officeDocument/2006/relationships/image" Target="../media/image33.png"/><Relationship Id="rId4" Type="http://schemas.openxmlformats.org/officeDocument/2006/relationships/image" Target="../media/image32.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jpeg"/><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36.sv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23.png"/><Relationship Id="rId1" Type="http://schemas.openxmlformats.org/officeDocument/2006/relationships/slideMaster" Target="../slideMasters/slideMaster5.xml"/><Relationship Id="rId4" Type="http://schemas.openxmlformats.org/officeDocument/2006/relationships/image" Target="../media/image38.svg"/></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3.jpeg"/><Relationship Id="rId7" Type="http://schemas.openxmlformats.org/officeDocument/2006/relationships/image" Target="../media/image7.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40.svg"/><Relationship Id="rId7" Type="http://schemas.openxmlformats.org/officeDocument/2006/relationships/image" Target="../media/image42.svg"/><Relationship Id="rId2" Type="http://schemas.openxmlformats.org/officeDocument/2006/relationships/image" Target="../media/image9.png"/><Relationship Id="rId1" Type="http://schemas.openxmlformats.org/officeDocument/2006/relationships/slideMaster" Target="../slideMasters/slideMaster6.xml"/><Relationship Id="rId6" Type="http://schemas.openxmlformats.org/officeDocument/2006/relationships/image" Target="../media/image13.png"/><Relationship Id="rId11" Type="http://schemas.openxmlformats.org/officeDocument/2006/relationships/image" Target="../media/image44.svg"/><Relationship Id="rId5" Type="http://schemas.openxmlformats.org/officeDocument/2006/relationships/image" Target="../media/image41.svg"/><Relationship Id="rId10" Type="http://schemas.openxmlformats.org/officeDocument/2006/relationships/image" Target="../media/image17.png"/><Relationship Id="rId4" Type="http://schemas.openxmlformats.org/officeDocument/2006/relationships/image" Target="../media/image11.png"/><Relationship Id="rId9" Type="http://schemas.openxmlformats.org/officeDocument/2006/relationships/image" Target="../media/image43.svg"/></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45.svg"/><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45.svg"/><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40.svg"/><Relationship Id="rId7" Type="http://schemas.openxmlformats.org/officeDocument/2006/relationships/image" Target="../media/image42.svg"/><Relationship Id="rId2" Type="http://schemas.openxmlformats.org/officeDocument/2006/relationships/image" Target="../media/image9.png"/><Relationship Id="rId1" Type="http://schemas.openxmlformats.org/officeDocument/2006/relationships/slideMaster" Target="../slideMasters/slideMaster6.xml"/><Relationship Id="rId6" Type="http://schemas.openxmlformats.org/officeDocument/2006/relationships/image" Target="../media/image13.png"/><Relationship Id="rId11" Type="http://schemas.openxmlformats.org/officeDocument/2006/relationships/image" Target="../media/image44.svg"/><Relationship Id="rId5" Type="http://schemas.openxmlformats.org/officeDocument/2006/relationships/image" Target="../media/image41.svg"/><Relationship Id="rId10" Type="http://schemas.openxmlformats.org/officeDocument/2006/relationships/image" Target="../media/image17.png"/><Relationship Id="rId4" Type="http://schemas.openxmlformats.org/officeDocument/2006/relationships/image" Target="../media/image11.png"/><Relationship Id="rId9" Type="http://schemas.openxmlformats.org/officeDocument/2006/relationships/image" Target="../media/image43.svg"/></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45.svg"/><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45.svg"/><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45.svg"/><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92.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95.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21.png"/><Relationship Id="rId1" Type="http://schemas.openxmlformats.org/officeDocument/2006/relationships/slideMaster" Target="../slideMasters/slideMaster6.xml"/></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3.png"/><Relationship Id="rId1" Type="http://schemas.openxmlformats.org/officeDocument/2006/relationships/slideMaster" Target="../slideMasters/slideMaster6.xml"/><Relationship Id="rId4" Type="http://schemas.openxmlformats.org/officeDocument/2006/relationships/image" Target="../media/image46.svg"/></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23.png"/><Relationship Id="rId1" Type="http://schemas.openxmlformats.org/officeDocument/2006/relationships/slideMaster" Target="../slideMasters/slideMaster6.xml"/><Relationship Id="rId4" Type="http://schemas.openxmlformats.org/officeDocument/2006/relationships/image" Target="../media/image38.svg"/></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45.svg"/><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209.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23.png"/><Relationship Id="rId1" Type="http://schemas.openxmlformats.org/officeDocument/2006/relationships/slideMaster" Target="../slideMasters/slideMaster6.xml"/><Relationship Id="rId4" Type="http://schemas.openxmlformats.org/officeDocument/2006/relationships/image" Target="../media/image38.sv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3" Type="http://schemas.openxmlformats.org/officeDocument/2006/relationships/image" Target="../media/image48.svg"/><Relationship Id="rId2" Type="http://schemas.openxmlformats.org/officeDocument/2006/relationships/image" Target="../media/image47.png"/><Relationship Id="rId1" Type="http://schemas.openxmlformats.org/officeDocument/2006/relationships/slideMaster" Target="../slideMasters/slideMaster6.xml"/></Relationships>
</file>

<file path=ppt/slideLayouts/_rels/slideLayout211.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212.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213.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217.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218.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221.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222.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223.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224.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225.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227.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40.svg"/><Relationship Id="rId7" Type="http://schemas.openxmlformats.org/officeDocument/2006/relationships/image" Target="../media/image42.svg"/><Relationship Id="rId2" Type="http://schemas.openxmlformats.org/officeDocument/2006/relationships/image" Target="../media/image9.png"/><Relationship Id="rId1" Type="http://schemas.openxmlformats.org/officeDocument/2006/relationships/slideMaster" Target="../slideMasters/slideMaster7.xml"/><Relationship Id="rId6" Type="http://schemas.openxmlformats.org/officeDocument/2006/relationships/image" Target="../media/image13.png"/><Relationship Id="rId11" Type="http://schemas.openxmlformats.org/officeDocument/2006/relationships/image" Target="../media/image44.svg"/><Relationship Id="rId5" Type="http://schemas.openxmlformats.org/officeDocument/2006/relationships/image" Target="../media/image41.svg"/><Relationship Id="rId10" Type="http://schemas.openxmlformats.org/officeDocument/2006/relationships/image" Target="../media/image17.png"/><Relationship Id="rId4" Type="http://schemas.openxmlformats.org/officeDocument/2006/relationships/image" Target="../media/image11.png"/><Relationship Id="rId9" Type="http://schemas.openxmlformats.org/officeDocument/2006/relationships/image" Target="../media/image43.svg"/></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231.xml.rels><?xml version="1.0" encoding="UTF-8" standalone="yes"?>
<Relationships xmlns="http://schemas.openxmlformats.org/package/2006/relationships"><Relationship Id="rId3" Type="http://schemas.openxmlformats.org/officeDocument/2006/relationships/image" Target="../media/image45.svg"/><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45.svg"/><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45.svg"/><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237.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251.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252.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253.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254.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255.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25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3.png"/><Relationship Id="rId1" Type="http://schemas.openxmlformats.org/officeDocument/2006/relationships/slideMaster" Target="../slideMasters/slideMaster7.xml"/><Relationship Id="rId4" Type="http://schemas.openxmlformats.org/officeDocument/2006/relationships/image" Target="../media/image46.svg"/></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9.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23.png"/><Relationship Id="rId1" Type="http://schemas.openxmlformats.org/officeDocument/2006/relationships/slideMaster" Target="../slideMasters/slideMaster9.xml"/><Relationship Id="rId4" Type="http://schemas.openxmlformats.org/officeDocument/2006/relationships/image" Target="../media/image38.svg"/></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23.png"/><Relationship Id="rId1" Type="http://schemas.openxmlformats.org/officeDocument/2006/relationships/slideMaster" Target="../slideMasters/slideMaster9.xml"/><Relationship Id="rId4" Type="http://schemas.openxmlformats.org/officeDocument/2006/relationships/image" Target="../media/image38.svg"/></Relationships>
</file>

<file path=ppt/slideLayouts/_rels/slideLayout271.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9.xml"/><Relationship Id="rId5" Type="http://schemas.microsoft.com/office/2007/relationships/hdphoto" Target="../media/hdphoto1.wdp"/><Relationship Id="rId4" Type="http://schemas.openxmlformats.org/officeDocument/2006/relationships/image" Target="../media/image50.png"/></Relationships>
</file>

<file path=ppt/slideLayouts/_rels/slideLayout272.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23.png"/><Relationship Id="rId1" Type="http://schemas.openxmlformats.org/officeDocument/2006/relationships/slideMaster" Target="../slideMasters/slideMaster9.xml"/><Relationship Id="rId4" Type="http://schemas.openxmlformats.org/officeDocument/2006/relationships/image" Target="../media/image51.svg"/></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51.svg"/><Relationship Id="rId2" Type="http://schemas.openxmlformats.org/officeDocument/2006/relationships/image" Target="../media/image47.png"/><Relationship Id="rId1" Type="http://schemas.openxmlformats.org/officeDocument/2006/relationships/slideMaster" Target="../slideMasters/slideMaster9.xml"/></Relationships>
</file>

<file path=ppt/slideLayouts/_rels/slideLayout274.xml.rels><?xml version="1.0" encoding="UTF-8" standalone="yes"?>
<Relationships xmlns="http://schemas.openxmlformats.org/package/2006/relationships"><Relationship Id="rId3" Type="http://schemas.openxmlformats.org/officeDocument/2006/relationships/image" Target="../media/image51.svg"/><Relationship Id="rId2" Type="http://schemas.openxmlformats.org/officeDocument/2006/relationships/image" Target="../media/image47.png"/><Relationship Id="rId1" Type="http://schemas.openxmlformats.org/officeDocument/2006/relationships/slideMaster" Target="../slideMasters/slideMaster9.xml"/></Relationships>
</file>

<file path=ppt/slideLayouts/_rels/slideLayout275.xml.rels><?xml version="1.0" encoding="UTF-8" standalone="yes"?>
<Relationships xmlns="http://schemas.openxmlformats.org/package/2006/relationships"><Relationship Id="rId3" Type="http://schemas.openxmlformats.org/officeDocument/2006/relationships/image" Target="../media/image51.svg"/><Relationship Id="rId2" Type="http://schemas.openxmlformats.org/officeDocument/2006/relationships/image" Target="../media/image47.png"/><Relationship Id="rId1" Type="http://schemas.openxmlformats.org/officeDocument/2006/relationships/slideMaster" Target="../slideMasters/slideMaster9.xml"/></Relationships>
</file>

<file path=ppt/slideLayouts/_rels/slideLayout276.xml.rels><?xml version="1.0" encoding="UTF-8" standalone="yes"?>
<Relationships xmlns="http://schemas.openxmlformats.org/package/2006/relationships"><Relationship Id="rId3" Type="http://schemas.openxmlformats.org/officeDocument/2006/relationships/image" Target="../media/image51.svg"/><Relationship Id="rId2" Type="http://schemas.openxmlformats.org/officeDocument/2006/relationships/image" Target="../media/image47.png"/><Relationship Id="rId1" Type="http://schemas.openxmlformats.org/officeDocument/2006/relationships/slideMaster" Target="../slideMasters/slideMaster9.xml"/></Relationships>
</file>

<file path=ppt/slideLayouts/_rels/slideLayout277.xml.rels><?xml version="1.0" encoding="UTF-8" standalone="yes"?>
<Relationships xmlns="http://schemas.openxmlformats.org/package/2006/relationships"><Relationship Id="rId3" Type="http://schemas.openxmlformats.org/officeDocument/2006/relationships/image" Target="../media/image51.svg"/><Relationship Id="rId2" Type="http://schemas.openxmlformats.org/officeDocument/2006/relationships/image" Target="../media/image47.png"/><Relationship Id="rId1" Type="http://schemas.openxmlformats.org/officeDocument/2006/relationships/slideMaster" Target="../slideMasters/slideMaster9.xml"/></Relationships>
</file>

<file path=ppt/slideLayouts/_rels/slideLayout278.xml.rels><?xml version="1.0" encoding="UTF-8" standalone="yes"?>
<Relationships xmlns="http://schemas.openxmlformats.org/package/2006/relationships"><Relationship Id="rId3" Type="http://schemas.openxmlformats.org/officeDocument/2006/relationships/image" Target="../media/image51.svg"/><Relationship Id="rId2" Type="http://schemas.openxmlformats.org/officeDocument/2006/relationships/image" Target="../media/image47.png"/><Relationship Id="rId1" Type="http://schemas.openxmlformats.org/officeDocument/2006/relationships/slideMaster" Target="../slideMasters/slideMaster9.xml"/></Relationships>
</file>

<file path=ppt/slideLayouts/_rels/slideLayout279.xml.rels><?xml version="1.0" encoding="UTF-8" standalone="yes"?>
<Relationships xmlns="http://schemas.openxmlformats.org/package/2006/relationships"><Relationship Id="rId3" Type="http://schemas.openxmlformats.org/officeDocument/2006/relationships/image" Target="../media/image51.svg"/><Relationship Id="rId2" Type="http://schemas.openxmlformats.org/officeDocument/2006/relationships/image" Target="../media/image47.png"/><Relationship Id="rId1" Type="http://schemas.openxmlformats.org/officeDocument/2006/relationships/slideMaster" Target="../slideMasters/slideMaster9.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280.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9.xml"/></Relationships>
</file>

<file path=ppt/slideLayouts/_rels/slideLayout281.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9.xml"/></Relationships>
</file>

<file path=ppt/slideLayouts/_rels/slideLayout282.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9.xml"/></Relationships>
</file>

<file path=ppt/slideLayouts/_rels/slideLayout283.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9.xml"/></Relationships>
</file>

<file path=ppt/slideLayouts/_rels/slideLayout284.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9.xml"/></Relationships>
</file>

<file path=ppt/slideLayouts/_rels/slideLayout285.xml.rels><?xml version="1.0" encoding="UTF-8" standalone="yes"?>
<Relationships xmlns="http://schemas.openxmlformats.org/package/2006/relationships"><Relationship Id="rId3" Type="http://schemas.openxmlformats.org/officeDocument/2006/relationships/image" Target="../media/image38.svg"/><Relationship Id="rId2" Type="http://schemas.openxmlformats.org/officeDocument/2006/relationships/image" Target="../media/image37.png"/><Relationship Id="rId1" Type="http://schemas.openxmlformats.org/officeDocument/2006/relationships/slideMaster" Target="../slideMasters/slideMaster9.xml"/></Relationships>
</file>

<file path=ppt/slideLayouts/_rels/slideLayout28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23.png"/><Relationship Id="rId1" Type="http://schemas.openxmlformats.org/officeDocument/2006/relationships/slideMaster" Target="../slideMasters/slideMaster9.xml"/><Relationship Id="rId4" Type="http://schemas.openxmlformats.org/officeDocument/2006/relationships/image" Target="../media/image38.svg"/></Relationships>
</file>

<file path=ppt/slideLayouts/_rels/slideLayout28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23.png"/><Relationship Id="rId1" Type="http://schemas.openxmlformats.org/officeDocument/2006/relationships/slideMaster" Target="../slideMasters/slideMaster9.xml"/><Relationship Id="rId4" Type="http://schemas.openxmlformats.org/officeDocument/2006/relationships/image" Target="../media/image38.svg"/></Relationships>
</file>

<file path=ppt/slideLayouts/_rels/slideLayout288.xml.rels><?xml version="1.0" encoding="UTF-8" standalone="yes"?>
<Relationships xmlns="http://schemas.openxmlformats.org/package/2006/relationships"><Relationship Id="rId3" Type="http://schemas.openxmlformats.org/officeDocument/2006/relationships/image" Target="../media/image53.svg"/><Relationship Id="rId2" Type="http://schemas.openxmlformats.org/officeDocument/2006/relationships/image" Target="../media/image52.png"/><Relationship Id="rId1" Type="http://schemas.openxmlformats.org/officeDocument/2006/relationships/slideMaster" Target="../slideMasters/slideMaster9.xml"/></Relationships>
</file>

<file path=ppt/slideLayouts/_rels/slideLayout289.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23.png"/><Relationship Id="rId1" Type="http://schemas.openxmlformats.org/officeDocument/2006/relationships/slideMaster" Target="../slideMasters/slideMaster10.xml"/><Relationship Id="rId4" Type="http://schemas.openxmlformats.org/officeDocument/2006/relationships/image" Target="../media/image54.sv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290.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23.png"/><Relationship Id="rId1" Type="http://schemas.openxmlformats.org/officeDocument/2006/relationships/slideMaster" Target="../slideMasters/slideMaster10.xml"/><Relationship Id="rId4" Type="http://schemas.openxmlformats.org/officeDocument/2006/relationships/image" Target="../media/image54.svg"/></Relationships>
</file>

<file path=ppt/slideLayouts/_rels/slideLayout291.xml.rels><?xml version="1.0" encoding="UTF-8" standalone="yes"?>
<Relationships xmlns="http://schemas.openxmlformats.org/package/2006/relationships"><Relationship Id="rId3" Type="http://schemas.openxmlformats.org/officeDocument/2006/relationships/image" Target="../media/image54.svg"/><Relationship Id="rId2" Type="http://schemas.openxmlformats.org/officeDocument/2006/relationships/image" Target="../media/image37.png"/><Relationship Id="rId1" Type="http://schemas.openxmlformats.org/officeDocument/2006/relationships/slideMaster" Target="../slideMasters/slideMaster10.xml"/><Relationship Id="rId5" Type="http://schemas.microsoft.com/office/2007/relationships/hdphoto" Target="../media/hdphoto1.wdp"/><Relationship Id="rId4" Type="http://schemas.openxmlformats.org/officeDocument/2006/relationships/image" Target="../media/image50.png"/></Relationships>
</file>

<file path=ppt/slideLayouts/_rels/slideLayout292.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23.png"/><Relationship Id="rId1" Type="http://schemas.openxmlformats.org/officeDocument/2006/relationships/slideMaster" Target="../slideMasters/slideMaster10.xml"/><Relationship Id="rId4" Type="http://schemas.openxmlformats.org/officeDocument/2006/relationships/image" Target="../media/image51.svg"/></Relationships>
</file>

<file path=ppt/slideLayouts/_rels/slideLayout293.xml.rels><?xml version="1.0" encoding="UTF-8" standalone="yes"?>
<Relationships xmlns="http://schemas.openxmlformats.org/package/2006/relationships"><Relationship Id="rId3" Type="http://schemas.openxmlformats.org/officeDocument/2006/relationships/image" Target="../media/image48.svg"/><Relationship Id="rId2" Type="http://schemas.openxmlformats.org/officeDocument/2006/relationships/image" Target="../media/image47.png"/><Relationship Id="rId1" Type="http://schemas.openxmlformats.org/officeDocument/2006/relationships/slideMaster" Target="../slideMasters/slideMaster10.xml"/></Relationships>
</file>

<file path=ppt/slideLayouts/_rels/slideLayout294.xml.rels><?xml version="1.0" encoding="UTF-8" standalone="yes"?>
<Relationships xmlns="http://schemas.openxmlformats.org/package/2006/relationships"><Relationship Id="rId3" Type="http://schemas.openxmlformats.org/officeDocument/2006/relationships/image" Target="../media/image48.svg"/><Relationship Id="rId2" Type="http://schemas.openxmlformats.org/officeDocument/2006/relationships/image" Target="../media/image47.png"/><Relationship Id="rId1" Type="http://schemas.openxmlformats.org/officeDocument/2006/relationships/slideMaster" Target="../slideMasters/slideMaster10.xml"/></Relationships>
</file>

<file path=ppt/slideLayouts/_rels/slideLayout295.xml.rels><?xml version="1.0" encoding="UTF-8" standalone="yes"?>
<Relationships xmlns="http://schemas.openxmlformats.org/package/2006/relationships"><Relationship Id="rId3" Type="http://schemas.openxmlformats.org/officeDocument/2006/relationships/image" Target="../media/image48.svg"/><Relationship Id="rId2" Type="http://schemas.openxmlformats.org/officeDocument/2006/relationships/image" Target="../media/image47.png"/><Relationship Id="rId1" Type="http://schemas.openxmlformats.org/officeDocument/2006/relationships/slideMaster" Target="../slideMasters/slideMaster10.xml"/></Relationships>
</file>

<file path=ppt/slideLayouts/_rels/slideLayout296.xml.rels><?xml version="1.0" encoding="UTF-8" standalone="yes"?>
<Relationships xmlns="http://schemas.openxmlformats.org/package/2006/relationships"><Relationship Id="rId3" Type="http://schemas.openxmlformats.org/officeDocument/2006/relationships/image" Target="../media/image48.svg"/><Relationship Id="rId2" Type="http://schemas.openxmlformats.org/officeDocument/2006/relationships/image" Target="../media/image47.png"/><Relationship Id="rId1" Type="http://schemas.openxmlformats.org/officeDocument/2006/relationships/slideMaster" Target="../slideMasters/slideMaster10.xml"/></Relationships>
</file>

<file path=ppt/slideLayouts/_rels/slideLayout297.xml.rels><?xml version="1.0" encoding="UTF-8" standalone="yes"?>
<Relationships xmlns="http://schemas.openxmlformats.org/package/2006/relationships"><Relationship Id="rId3" Type="http://schemas.openxmlformats.org/officeDocument/2006/relationships/image" Target="../media/image48.svg"/><Relationship Id="rId2" Type="http://schemas.openxmlformats.org/officeDocument/2006/relationships/image" Target="../media/image47.png"/><Relationship Id="rId1" Type="http://schemas.openxmlformats.org/officeDocument/2006/relationships/slideMaster" Target="../slideMasters/slideMaster10.xml"/></Relationships>
</file>

<file path=ppt/slideLayouts/_rels/slideLayout298.xml.rels><?xml version="1.0" encoding="UTF-8" standalone="yes"?>
<Relationships xmlns="http://schemas.openxmlformats.org/package/2006/relationships"><Relationship Id="rId3" Type="http://schemas.openxmlformats.org/officeDocument/2006/relationships/image" Target="../media/image48.svg"/><Relationship Id="rId2" Type="http://schemas.openxmlformats.org/officeDocument/2006/relationships/image" Target="../media/image47.png"/><Relationship Id="rId1" Type="http://schemas.openxmlformats.org/officeDocument/2006/relationships/slideMaster" Target="../slideMasters/slideMaster10.xml"/></Relationships>
</file>

<file path=ppt/slideLayouts/_rels/slideLayout299.xml.rels><?xml version="1.0" encoding="UTF-8" standalone="yes"?>
<Relationships xmlns="http://schemas.openxmlformats.org/package/2006/relationships"><Relationship Id="rId3" Type="http://schemas.openxmlformats.org/officeDocument/2006/relationships/image" Target="../media/image48.svg"/><Relationship Id="rId2" Type="http://schemas.openxmlformats.org/officeDocument/2006/relationships/image" Target="../media/image47.png"/><Relationship Id="rId1" Type="http://schemas.openxmlformats.org/officeDocument/2006/relationships/slideMaster" Target="../slideMasters/slideMaster10.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300.xml.rels><?xml version="1.0" encoding="UTF-8" standalone="yes"?>
<Relationships xmlns="http://schemas.openxmlformats.org/package/2006/relationships"><Relationship Id="rId3" Type="http://schemas.openxmlformats.org/officeDocument/2006/relationships/image" Target="../media/image54.svg"/><Relationship Id="rId2" Type="http://schemas.openxmlformats.org/officeDocument/2006/relationships/image" Target="../media/image37.png"/><Relationship Id="rId1" Type="http://schemas.openxmlformats.org/officeDocument/2006/relationships/slideMaster" Target="../slideMasters/slideMaster10.xml"/></Relationships>
</file>

<file path=ppt/slideLayouts/_rels/slideLayout301.xml.rels><?xml version="1.0" encoding="UTF-8" standalone="yes"?>
<Relationships xmlns="http://schemas.openxmlformats.org/package/2006/relationships"><Relationship Id="rId3" Type="http://schemas.openxmlformats.org/officeDocument/2006/relationships/image" Target="../media/image54.svg"/><Relationship Id="rId2" Type="http://schemas.openxmlformats.org/officeDocument/2006/relationships/image" Target="../media/image37.png"/><Relationship Id="rId1" Type="http://schemas.openxmlformats.org/officeDocument/2006/relationships/slideMaster" Target="../slideMasters/slideMaster10.xml"/></Relationships>
</file>

<file path=ppt/slideLayouts/_rels/slideLayout302.xml.rels><?xml version="1.0" encoding="UTF-8" standalone="yes"?>
<Relationships xmlns="http://schemas.openxmlformats.org/package/2006/relationships"><Relationship Id="rId3" Type="http://schemas.openxmlformats.org/officeDocument/2006/relationships/image" Target="../media/image54.svg"/><Relationship Id="rId2" Type="http://schemas.openxmlformats.org/officeDocument/2006/relationships/image" Target="../media/image37.png"/><Relationship Id="rId1" Type="http://schemas.openxmlformats.org/officeDocument/2006/relationships/slideMaster" Target="../slideMasters/slideMaster10.xml"/></Relationships>
</file>

<file path=ppt/slideLayouts/_rels/slideLayout303.xml.rels><?xml version="1.0" encoding="UTF-8" standalone="yes"?>
<Relationships xmlns="http://schemas.openxmlformats.org/package/2006/relationships"><Relationship Id="rId3" Type="http://schemas.openxmlformats.org/officeDocument/2006/relationships/image" Target="../media/image54.svg"/><Relationship Id="rId2" Type="http://schemas.openxmlformats.org/officeDocument/2006/relationships/image" Target="../media/image37.png"/><Relationship Id="rId1" Type="http://schemas.openxmlformats.org/officeDocument/2006/relationships/slideMaster" Target="../slideMasters/slideMaster10.xml"/></Relationships>
</file>

<file path=ppt/slideLayouts/_rels/slideLayout304.xml.rels><?xml version="1.0" encoding="UTF-8" standalone="yes"?>
<Relationships xmlns="http://schemas.openxmlformats.org/package/2006/relationships"><Relationship Id="rId3" Type="http://schemas.openxmlformats.org/officeDocument/2006/relationships/image" Target="../media/image54.svg"/><Relationship Id="rId2" Type="http://schemas.openxmlformats.org/officeDocument/2006/relationships/image" Target="../media/image37.png"/><Relationship Id="rId1" Type="http://schemas.openxmlformats.org/officeDocument/2006/relationships/slideMaster" Target="../slideMasters/slideMaster10.xml"/></Relationships>
</file>

<file path=ppt/slideLayouts/_rels/slideLayout305.xml.rels><?xml version="1.0" encoding="UTF-8" standalone="yes"?>
<Relationships xmlns="http://schemas.openxmlformats.org/package/2006/relationships"><Relationship Id="rId3" Type="http://schemas.openxmlformats.org/officeDocument/2006/relationships/image" Target="../media/image54.svg"/><Relationship Id="rId2" Type="http://schemas.openxmlformats.org/officeDocument/2006/relationships/image" Target="../media/image37.png"/><Relationship Id="rId1" Type="http://schemas.openxmlformats.org/officeDocument/2006/relationships/slideMaster" Target="../slideMasters/slideMaster10.xml"/></Relationships>
</file>

<file path=ppt/slideLayouts/_rels/slideLayout30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23.png"/><Relationship Id="rId1" Type="http://schemas.openxmlformats.org/officeDocument/2006/relationships/slideMaster" Target="../slideMasters/slideMaster10.xml"/><Relationship Id="rId4" Type="http://schemas.openxmlformats.org/officeDocument/2006/relationships/image" Target="../media/image54.svg"/></Relationships>
</file>

<file path=ppt/slideLayouts/_rels/slideLayout30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23.png"/><Relationship Id="rId1" Type="http://schemas.openxmlformats.org/officeDocument/2006/relationships/slideMaster" Target="../slideMasters/slideMaster10.xml"/><Relationship Id="rId4" Type="http://schemas.openxmlformats.org/officeDocument/2006/relationships/image" Target="../media/image54.svg"/></Relationships>
</file>

<file path=ppt/slideLayouts/_rels/slideLayout308.xml.rels><?xml version="1.0" encoding="UTF-8" standalone="yes"?>
<Relationships xmlns="http://schemas.openxmlformats.org/package/2006/relationships"><Relationship Id="rId3" Type="http://schemas.openxmlformats.org/officeDocument/2006/relationships/image" Target="../media/image55.svg"/><Relationship Id="rId2" Type="http://schemas.openxmlformats.org/officeDocument/2006/relationships/image" Target="../media/image52.png"/><Relationship Id="rId1" Type="http://schemas.openxmlformats.org/officeDocument/2006/relationships/slideMaster" Target="../slideMasters/slideMaster10.xml"/></Relationships>
</file>

<file path=ppt/slideLayouts/_rels/slideLayout309.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10.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Master" Target="../slideMasters/slideMaster11.xml"/></Relationships>
</file>

<file path=ppt/slideLayouts/_rels/slideLayout31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8.png"/><Relationship Id="rId1" Type="http://schemas.openxmlformats.org/officeDocument/2006/relationships/slideMaster" Target="../slideMasters/slideMaster11.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1.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11.xml"/><Relationship Id="rId5" Type="http://schemas.openxmlformats.org/officeDocument/2006/relationships/image" Target="../media/image33.png"/><Relationship Id="rId4" Type="http://schemas.openxmlformats.org/officeDocument/2006/relationships/image" Target="../media/image32.png"/></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2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jpeg"/><Relationship Id="rId1" Type="http://schemas.openxmlformats.org/officeDocument/2006/relationships/slideMaster" Target="../slideMasters/slideMaster11.xml"/></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Master" Target="../slideMasters/slideMaster12.xml"/></Relationships>
</file>

<file path=ppt/slideLayouts/_rels/slideLayout33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8.png"/><Relationship Id="rId1" Type="http://schemas.openxmlformats.org/officeDocument/2006/relationships/slideMaster" Target="../slideMasters/slideMaster12.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2.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12.xml"/><Relationship Id="rId5" Type="http://schemas.openxmlformats.org/officeDocument/2006/relationships/image" Target="../media/image33.png"/><Relationship Id="rId4" Type="http://schemas.openxmlformats.org/officeDocument/2006/relationships/image" Target="../media/image32.png"/></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jpeg"/><Relationship Id="rId1" Type="http://schemas.openxmlformats.org/officeDocument/2006/relationships/slideMaster" Target="../slideMasters/slideMaster12.xml"/></Relationships>
</file>

<file path=ppt/slideLayouts/_rels/slideLayout34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1.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12.xml"/></Relationships>
</file>

<file path=ppt/slideLayouts/_rels/slideLayout352.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12.xml"/></Relationships>
</file>

<file path=ppt/slideLayouts/_rels/slideLayout353.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12.xml"/></Relationships>
</file>

<file path=ppt/slideLayouts/_rels/slideLayout354.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12.xml"/></Relationships>
</file>

<file path=ppt/slideLayouts/_rels/slideLayout355.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23.png"/><Relationship Id="rId1" Type="http://schemas.openxmlformats.org/officeDocument/2006/relationships/slideMaster" Target="../slideMasters/slideMaster12.xml"/><Relationship Id="rId4" Type="http://schemas.openxmlformats.org/officeDocument/2006/relationships/image" Target="../media/image54.svg"/></Relationships>
</file>

<file path=ppt/slideLayouts/_rels/slideLayout356.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13.xml"/></Relationships>
</file>

<file path=ppt/slideLayouts/_rels/slideLayout357.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13.xml"/></Relationships>
</file>

<file path=ppt/slideLayouts/_rels/slideLayout358.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13.xml"/></Relationships>
</file>

<file path=ppt/slideLayouts/_rels/slideLayout359.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13.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360.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13.xml"/></Relationships>
</file>

<file path=ppt/slideLayouts/_rels/slideLayout361.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13.xml"/></Relationships>
</file>

<file path=ppt/slideLayouts/_rels/slideLayout362.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13.xml"/></Relationships>
</file>

<file path=ppt/slideLayouts/_rels/slideLayout363.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13.xml"/></Relationships>
</file>

<file path=ppt/slideLayouts/_rels/slideLayout364.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13.xml"/></Relationships>
</file>

<file path=ppt/slideLayouts/_rels/slideLayout365.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13.xml"/></Relationships>
</file>

<file path=ppt/slideLayouts/_rels/slideLayout366.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13.xml"/></Relationships>
</file>

<file path=ppt/slideLayouts/_rels/slideLayout367.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13.xml"/></Relationships>
</file>

<file path=ppt/slideLayouts/_rels/slideLayout368.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13.xml"/></Relationships>
</file>

<file path=ppt/slideLayouts/_rels/slideLayout369.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1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370.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13.xml"/></Relationships>
</file>

<file path=ppt/slideLayouts/_rels/slideLayout371.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13.xml"/></Relationships>
</file>

<file path=ppt/slideLayouts/_rels/slideLayout372.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40.svg"/><Relationship Id="rId7" Type="http://schemas.openxmlformats.org/officeDocument/2006/relationships/image" Target="../media/image42.svg"/><Relationship Id="rId2" Type="http://schemas.openxmlformats.org/officeDocument/2006/relationships/image" Target="../media/image9.png"/><Relationship Id="rId1" Type="http://schemas.openxmlformats.org/officeDocument/2006/relationships/slideMaster" Target="../slideMasters/slideMaster13.xml"/><Relationship Id="rId6" Type="http://schemas.openxmlformats.org/officeDocument/2006/relationships/image" Target="../media/image13.png"/><Relationship Id="rId11" Type="http://schemas.openxmlformats.org/officeDocument/2006/relationships/image" Target="../media/image44.svg"/><Relationship Id="rId5" Type="http://schemas.openxmlformats.org/officeDocument/2006/relationships/image" Target="../media/image41.svg"/><Relationship Id="rId10" Type="http://schemas.openxmlformats.org/officeDocument/2006/relationships/image" Target="../media/image17.png"/><Relationship Id="rId4" Type="http://schemas.openxmlformats.org/officeDocument/2006/relationships/image" Target="../media/image11.png"/><Relationship Id="rId9" Type="http://schemas.openxmlformats.org/officeDocument/2006/relationships/image" Target="../media/image43.svg"/></Relationships>
</file>

<file path=ppt/slideLayouts/_rels/slideLayout373.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13.xml"/></Relationships>
</file>

<file path=ppt/slideLayouts/_rels/slideLayout374.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13.xml"/></Relationships>
</file>

<file path=ppt/slideLayouts/_rels/slideLayout375.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13.xml"/></Relationships>
</file>

<file path=ppt/slideLayouts/_rels/slideLayout376.xml.rels><?xml version="1.0" encoding="UTF-8" standalone="yes"?>
<Relationships xmlns="http://schemas.openxmlformats.org/package/2006/relationships"><Relationship Id="rId3" Type="http://schemas.openxmlformats.org/officeDocument/2006/relationships/image" Target="../media/image45.svg"/><Relationship Id="rId2" Type="http://schemas.openxmlformats.org/officeDocument/2006/relationships/image" Target="../media/image19.png"/><Relationship Id="rId1" Type="http://schemas.openxmlformats.org/officeDocument/2006/relationships/slideMaster" Target="../slideMasters/slideMaster13.xml"/></Relationships>
</file>

<file path=ppt/slideLayouts/_rels/slideLayout377.xml.rels><?xml version="1.0" encoding="UTF-8" standalone="yes"?>
<Relationships xmlns="http://schemas.openxmlformats.org/package/2006/relationships"><Relationship Id="rId3" Type="http://schemas.openxmlformats.org/officeDocument/2006/relationships/image" Target="../media/image45.svg"/><Relationship Id="rId2" Type="http://schemas.openxmlformats.org/officeDocument/2006/relationships/image" Target="../media/image19.png"/><Relationship Id="rId1" Type="http://schemas.openxmlformats.org/officeDocument/2006/relationships/slideMaster" Target="../slideMasters/slideMaster13.xml"/></Relationships>
</file>

<file path=ppt/slideLayouts/_rels/slideLayout378.xml.rels><?xml version="1.0" encoding="UTF-8" standalone="yes"?>
<Relationships xmlns="http://schemas.openxmlformats.org/package/2006/relationships"><Relationship Id="rId3" Type="http://schemas.openxmlformats.org/officeDocument/2006/relationships/image" Target="../media/image45.svg"/><Relationship Id="rId2" Type="http://schemas.openxmlformats.org/officeDocument/2006/relationships/image" Target="../media/image19.png"/><Relationship Id="rId1" Type="http://schemas.openxmlformats.org/officeDocument/2006/relationships/slideMaster" Target="../slideMasters/slideMaster13.xml"/></Relationships>
</file>

<file path=ppt/slideLayouts/_rels/slideLayout379.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13.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380.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13.xml"/></Relationships>
</file>

<file path=ppt/slideLayouts/_rels/slideLayout381.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13.xml"/></Relationships>
</file>

<file path=ppt/slideLayouts/_rels/slideLayout382.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13.xml"/></Relationships>
</file>

<file path=ppt/slideLayouts/_rels/slideLayout383.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13.xml"/></Relationships>
</file>

<file path=ppt/slideLayouts/_rels/slideLayout384.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13.xml"/></Relationships>
</file>

<file path=ppt/slideLayouts/_rels/slideLayout385.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13.xml"/></Relationships>
</file>

<file path=ppt/slideLayouts/_rels/slideLayout386.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13.xml"/></Relationships>
</file>

<file path=ppt/slideLayouts/_rels/slideLayout387.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13.xml"/></Relationships>
</file>

<file path=ppt/slideLayouts/_rels/slideLayout388.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13.xml"/></Relationships>
</file>

<file path=ppt/slideLayouts/_rels/slideLayout389.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1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390.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13.xml"/></Relationships>
</file>

<file path=ppt/slideLayouts/_rels/slideLayout391.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13.xml"/></Relationships>
</file>

<file path=ppt/slideLayouts/_rels/slideLayout392.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13.xml"/></Relationships>
</file>

<file path=ppt/slideLayouts/_rels/slideLayout393.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13.xml"/></Relationships>
</file>

<file path=ppt/slideLayouts/_rels/slideLayout394.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13.xml"/></Relationships>
</file>

<file path=ppt/slideLayouts/_rels/slideLayout395.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13.xml"/></Relationships>
</file>

<file path=ppt/slideLayouts/_rels/slideLayout396.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13.xml"/></Relationships>
</file>

<file path=ppt/slideLayouts/_rels/slideLayout397.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13.xml"/></Relationships>
</file>

<file path=ppt/slideLayouts/_rels/slideLayout398.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13.xml"/></Relationships>
</file>

<file path=ppt/slideLayouts/_rels/slideLayout399.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1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400.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21.png"/><Relationship Id="rId1" Type="http://schemas.openxmlformats.org/officeDocument/2006/relationships/slideMaster" Target="../slideMasters/slideMaster13.xml"/></Relationships>
</file>

<file path=ppt/slideLayouts/_rels/slideLayout40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3.png"/><Relationship Id="rId1" Type="http://schemas.openxmlformats.org/officeDocument/2006/relationships/slideMaster" Target="../slideMasters/slideMaster13.xml"/><Relationship Id="rId4" Type="http://schemas.openxmlformats.org/officeDocument/2006/relationships/image" Target="../media/image46.svg"/></Relationships>
</file>

<file path=ppt/slideLayouts/_rels/slideLayout402.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23.png"/><Relationship Id="rId1" Type="http://schemas.openxmlformats.org/officeDocument/2006/relationships/slideMaster" Target="../slideMasters/slideMaster13.xml"/><Relationship Id="rId4" Type="http://schemas.openxmlformats.org/officeDocument/2006/relationships/image" Target="../media/image38.svg"/></Relationships>
</file>

<file path=ppt/slideLayouts/_rels/slideLayout40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23.png"/><Relationship Id="rId1" Type="http://schemas.openxmlformats.org/officeDocument/2006/relationships/slideMaster" Target="../slideMasters/slideMaster14.xml"/><Relationship Id="rId4" Type="http://schemas.openxmlformats.org/officeDocument/2006/relationships/image" Target="../media/image54.svg"/></Relationships>
</file>

<file path=ppt/slideLayouts/_rels/slideLayout40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23.png"/><Relationship Id="rId1" Type="http://schemas.openxmlformats.org/officeDocument/2006/relationships/slideMaster" Target="../slideMasters/slideMaster14.xml"/><Relationship Id="rId4" Type="http://schemas.openxmlformats.org/officeDocument/2006/relationships/image" Target="../media/image54.svg"/></Relationships>
</file>

<file path=ppt/slideLayouts/_rels/slideLayout405.xml.rels><?xml version="1.0" encoding="UTF-8" standalone="yes"?>
<Relationships xmlns="http://schemas.openxmlformats.org/package/2006/relationships"><Relationship Id="rId3" Type="http://schemas.openxmlformats.org/officeDocument/2006/relationships/image" Target="../media/image54.svg"/><Relationship Id="rId2" Type="http://schemas.openxmlformats.org/officeDocument/2006/relationships/image" Target="../media/image37.png"/><Relationship Id="rId1" Type="http://schemas.openxmlformats.org/officeDocument/2006/relationships/slideMaster" Target="../slideMasters/slideMaster14.xml"/><Relationship Id="rId5" Type="http://schemas.microsoft.com/office/2007/relationships/hdphoto" Target="../media/hdphoto1.wdp"/><Relationship Id="rId4" Type="http://schemas.openxmlformats.org/officeDocument/2006/relationships/image" Target="../media/image50.png"/></Relationships>
</file>

<file path=ppt/slideLayouts/_rels/slideLayout406.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23.png"/><Relationship Id="rId1" Type="http://schemas.openxmlformats.org/officeDocument/2006/relationships/slideMaster" Target="../slideMasters/slideMaster14.xml"/><Relationship Id="rId4" Type="http://schemas.openxmlformats.org/officeDocument/2006/relationships/image" Target="../media/image51.svg"/></Relationships>
</file>

<file path=ppt/slideLayouts/_rels/slideLayout407.xml.rels><?xml version="1.0" encoding="UTF-8" standalone="yes"?>
<Relationships xmlns="http://schemas.openxmlformats.org/package/2006/relationships"><Relationship Id="rId3" Type="http://schemas.openxmlformats.org/officeDocument/2006/relationships/image" Target="../media/image48.svg"/><Relationship Id="rId2" Type="http://schemas.openxmlformats.org/officeDocument/2006/relationships/image" Target="../media/image47.png"/><Relationship Id="rId1" Type="http://schemas.openxmlformats.org/officeDocument/2006/relationships/slideMaster" Target="../slideMasters/slideMaster14.xml"/></Relationships>
</file>

<file path=ppt/slideLayouts/_rels/slideLayout408.xml.rels><?xml version="1.0" encoding="UTF-8" standalone="yes"?>
<Relationships xmlns="http://schemas.openxmlformats.org/package/2006/relationships"><Relationship Id="rId3" Type="http://schemas.openxmlformats.org/officeDocument/2006/relationships/image" Target="../media/image48.svg"/><Relationship Id="rId2" Type="http://schemas.openxmlformats.org/officeDocument/2006/relationships/image" Target="../media/image47.png"/><Relationship Id="rId1" Type="http://schemas.openxmlformats.org/officeDocument/2006/relationships/slideMaster" Target="../slideMasters/slideMaster14.xml"/></Relationships>
</file>

<file path=ppt/slideLayouts/_rels/slideLayout409.xml.rels><?xml version="1.0" encoding="UTF-8" standalone="yes"?>
<Relationships xmlns="http://schemas.openxmlformats.org/package/2006/relationships"><Relationship Id="rId3" Type="http://schemas.openxmlformats.org/officeDocument/2006/relationships/image" Target="../media/image48.svg"/><Relationship Id="rId2" Type="http://schemas.openxmlformats.org/officeDocument/2006/relationships/image" Target="../media/image47.png"/><Relationship Id="rId1" Type="http://schemas.openxmlformats.org/officeDocument/2006/relationships/slideMaster" Target="../slideMasters/slideMaster14.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410.xml.rels><?xml version="1.0" encoding="UTF-8" standalone="yes"?>
<Relationships xmlns="http://schemas.openxmlformats.org/package/2006/relationships"><Relationship Id="rId3" Type="http://schemas.openxmlformats.org/officeDocument/2006/relationships/image" Target="../media/image48.svg"/><Relationship Id="rId2" Type="http://schemas.openxmlformats.org/officeDocument/2006/relationships/image" Target="../media/image47.png"/><Relationship Id="rId1" Type="http://schemas.openxmlformats.org/officeDocument/2006/relationships/slideMaster" Target="../slideMasters/slideMaster14.xml"/></Relationships>
</file>

<file path=ppt/slideLayouts/_rels/slideLayout411.xml.rels><?xml version="1.0" encoding="UTF-8" standalone="yes"?>
<Relationships xmlns="http://schemas.openxmlformats.org/package/2006/relationships"><Relationship Id="rId3" Type="http://schemas.openxmlformats.org/officeDocument/2006/relationships/image" Target="../media/image48.svg"/><Relationship Id="rId2" Type="http://schemas.openxmlformats.org/officeDocument/2006/relationships/image" Target="../media/image47.png"/><Relationship Id="rId1" Type="http://schemas.openxmlformats.org/officeDocument/2006/relationships/slideMaster" Target="../slideMasters/slideMaster14.xml"/></Relationships>
</file>

<file path=ppt/slideLayouts/_rels/slideLayout412.xml.rels><?xml version="1.0" encoding="UTF-8" standalone="yes"?>
<Relationships xmlns="http://schemas.openxmlformats.org/package/2006/relationships"><Relationship Id="rId3" Type="http://schemas.openxmlformats.org/officeDocument/2006/relationships/image" Target="../media/image48.svg"/><Relationship Id="rId2" Type="http://schemas.openxmlformats.org/officeDocument/2006/relationships/image" Target="../media/image47.png"/><Relationship Id="rId1" Type="http://schemas.openxmlformats.org/officeDocument/2006/relationships/slideMaster" Target="../slideMasters/slideMaster14.xml"/></Relationships>
</file>

<file path=ppt/slideLayouts/_rels/slideLayout413.xml.rels><?xml version="1.0" encoding="UTF-8" standalone="yes"?>
<Relationships xmlns="http://schemas.openxmlformats.org/package/2006/relationships"><Relationship Id="rId3" Type="http://schemas.openxmlformats.org/officeDocument/2006/relationships/image" Target="../media/image48.svg"/><Relationship Id="rId2" Type="http://schemas.openxmlformats.org/officeDocument/2006/relationships/image" Target="../media/image47.png"/><Relationship Id="rId1" Type="http://schemas.openxmlformats.org/officeDocument/2006/relationships/slideMaster" Target="../slideMasters/slideMaster14.xml"/></Relationships>
</file>

<file path=ppt/slideLayouts/_rels/slideLayout414.xml.rels><?xml version="1.0" encoding="UTF-8" standalone="yes"?>
<Relationships xmlns="http://schemas.openxmlformats.org/package/2006/relationships"><Relationship Id="rId3" Type="http://schemas.openxmlformats.org/officeDocument/2006/relationships/image" Target="../media/image54.svg"/><Relationship Id="rId2" Type="http://schemas.openxmlformats.org/officeDocument/2006/relationships/image" Target="../media/image37.png"/><Relationship Id="rId1" Type="http://schemas.openxmlformats.org/officeDocument/2006/relationships/slideMaster" Target="../slideMasters/slideMaster14.xml"/></Relationships>
</file>

<file path=ppt/slideLayouts/_rels/slideLayout415.xml.rels><?xml version="1.0" encoding="UTF-8" standalone="yes"?>
<Relationships xmlns="http://schemas.openxmlformats.org/package/2006/relationships"><Relationship Id="rId3" Type="http://schemas.openxmlformats.org/officeDocument/2006/relationships/image" Target="../media/image54.svg"/><Relationship Id="rId2" Type="http://schemas.openxmlformats.org/officeDocument/2006/relationships/image" Target="../media/image37.png"/><Relationship Id="rId1" Type="http://schemas.openxmlformats.org/officeDocument/2006/relationships/slideMaster" Target="../slideMasters/slideMaster14.xml"/></Relationships>
</file>

<file path=ppt/slideLayouts/_rels/slideLayout416.xml.rels><?xml version="1.0" encoding="UTF-8" standalone="yes"?>
<Relationships xmlns="http://schemas.openxmlformats.org/package/2006/relationships"><Relationship Id="rId3" Type="http://schemas.openxmlformats.org/officeDocument/2006/relationships/image" Target="../media/image54.svg"/><Relationship Id="rId2" Type="http://schemas.openxmlformats.org/officeDocument/2006/relationships/image" Target="../media/image37.png"/><Relationship Id="rId1" Type="http://schemas.openxmlformats.org/officeDocument/2006/relationships/slideMaster" Target="../slideMasters/slideMaster14.xml"/></Relationships>
</file>

<file path=ppt/slideLayouts/_rels/slideLayout417.xml.rels><?xml version="1.0" encoding="UTF-8" standalone="yes"?>
<Relationships xmlns="http://schemas.openxmlformats.org/package/2006/relationships"><Relationship Id="rId3" Type="http://schemas.openxmlformats.org/officeDocument/2006/relationships/image" Target="../media/image54.svg"/><Relationship Id="rId2" Type="http://schemas.openxmlformats.org/officeDocument/2006/relationships/image" Target="../media/image37.png"/><Relationship Id="rId1" Type="http://schemas.openxmlformats.org/officeDocument/2006/relationships/slideMaster" Target="../slideMasters/slideMaster14.xml"/></Relationships>
</file>

<file path=ppt/slideLayouts/_rels/slideLayout418.xml.rels><?xml version="1.0" encoding="UTF-8" standalone="yes"?>
<Relationships xmlns="http://schemas.openxmlformats.org/package/2006/relationships"><Relationship Id="rId3" Type="http://schemas.openxmlformats.org/officeDocument/2006/relationships/image" Target="../media/image54.svg"/><Relationship Id="rId2" Type="http://schemas.openxmlformats.org/officeDocument/2006/relationships/image" Target="../media/image37.png"/><Relationship Id="rId1" Type="http://schemas.openxmlformats.org/officeDocument/2006/relationships/slideMaster" Target="../slideMasters/slideMaster14.xml"/></Relationships>
</file>

<file path=ppt/slideLayouts/_rels/slideLayout419.xml.rels><?xml version="1.0" encoding="UTF-8" standalone="yes"?>
<Relationships xmlns="http://schemas.openxmlformats.org/package/2006/relationships"><Relationship Id="rId3" Type="http://schemas.openxmlformats.org/officeDocument/2006/relationships/image" Target="../media/image54.svg"/><Relationship Id="rId2" Type="http://schemas.openxmlformats.org/officeDocument/2006/relationships/image" Target="../media/image37.png"/><Relationship Id="rId1" Type="http://schemas.openxmlformats.org/officeDocument/2006/relationships/slideMaster" Target="../slideMasters/slideMaster14.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420.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23.png"/><Relationship Id="rId1" Type="http://schemas.openxmlformats.org/officeDocument/2006/relationships/slideMaster" Target="../slideMasters/slideMaster14.xml"/><Relationship Id="rId4" Type="http://schemas.openxmlformats.org/officeDocument/2006/relationships/image" Target="../media/image54.svg"/></Relationships>
</file>

<file path=ppt/slideLayouts/_rels/slideLayout42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23.png"/><Relationship Id="rId1" Type="http://schemas.openxmlformats.org/officeDocument/2006/relationships/slideMaster" Target="../slideMasters/slideMaster14.xml"/><Relationship Id="rId4" Type="http://schemas.openxmlformats.org/officeDocument/2006/relationships/image" Target="../media/image54.svg"/></Relationships>
</file>

<file path=ppt/slideLayouts/_rels/slideLayout422.xml.rels><?xml version="1.0" encoding="UTF-8" standalone="yes"?>
<Relationships xmlns="http://schemas.openxmlformats.org/package/2006/relationships"><Relationship Id="rId3" Type="http://schemas.openxmlformats.org/officeDocument/2006/relationships/image" Target="../media/image53.svg"/><Relationship Id="rId2" Type="http://schemas.openxmlformats.org/officeDocument/2006/relationships/image" Target="../media/image52.png"/><Relationship Id="rId1" Type="http://schemas.openxmlformats.org/officeDocument/2006/relationships/slideMaster" Target="../slideMasters/slideMaster14.xml"/></Relationships>
</file>

<file path=ppt/slideLayouts/_rels/slideLayout423.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14.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425.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15.xml"/></Relationships>
</file>

<file path=ppt/slideLayouts/_rels/slideLayout426.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15.xml"/></Relationships>
</file>

<file path=ppt/slideLayouts/_rels/slideLayout427.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15.xml"/></Relationships>
</file>

<file path=ppt/slideLayouts/_rels/slideLayout428.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15.xml"/></Relationships>
</file>

<file path=ppt/slideLayouts/_rels/slideLayout429.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15.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430.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15.xml"/></Relationships>
</file>

<file path=ppt/slideLayouts/_rels/slideLayout431.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15.xml"/></Relationships>
</file>

<file path=ppt/slideLayouts/_rels/slideLayout432.xml.rels><?xml version="1.0" encoding="UTF-8" standalone="yes"?>
<Relationships xmlns="http://schemas.openxmlformats.org/package/2006/relationships"><Relationship Id="rId3" Type="http://schemas.openxmlformats.org/officeDocument/2006/relationships/image" Target="../media/image56.svg"/><Relationship Id="rId2" Type="http://schemas.openxmlformats.org/officeDocument/2006/relationships/image" Target="../media/image9.png"/><Relationship Id="rId1" Type="http://schemas.openxmlformats.org/officeDocument/2006/relationships/slideMaster" Target="../slideMasters/slideMaster15.xml"/></Relationships>
</file>

<file path=ppt/slideLayouts/_rels/slideLayout433.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15.xml"/></Relationships>
</file>

<file path=ppt/slideLayouts/_rels/slideLayout434.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15.xml"/></Relationships>
</file>

<file path=ppt/slideLayouts/_rels/slideLayout435.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15.xml"/></Relationships>
</file>

<file path=ppt/slideLayouts/_rels/slideLayout436.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15.xml"/></Relationships>
</file>

<file path=ppt/slideLayouts/_rels/slideLayout437.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15.xml"/></Relationships>
</file>

<file path=ppt/slideLayouts/_rels/slideLayout438.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15.xml"/></Relationships>
</file>

<file path=ppt/slideLayouts/_rels/slideLayout439.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15.xml"/></Relationships>
</file>

<file path=ppt/slideLayouts/_rels/slideLayout44.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0.svg"/><Relationship Id="rId7" Type="http://schemas.openxmlformats.org/officeDocument/2006/relationships/image" Target="../media/image14.svg"/><Relationship Id="rId2" Type="http://schemas.openxmlformats.org/officeDocument/2006/relationships/image" Target="../media/image9.png"/><Relationship Id="rId1" Type="http://schemas.openxmlformats.org/officeDocument/2006/relationships/slideMaster" Target="../slideMasters/slideMaster3.xml"/><Relationship Id="rId6" Type="http://schemas.openxmlformats.org/officeDocument/2006/relationships/image" Target="../media/image13.png"/><Relationship Id="rId11" Type="http://schemas.openxmlformats.org/officeDocument/2006/relationships/image" Target="../media/image18.svg"/><Relationship Id="rId5" Type="http://schemas.openxmlformats.org/officeDocument/2006/relationships/image" Target="../media/image12.svg"/><Relationship Id="rId10" Type="http://schemas.openxmlformats.org/officeDocument/2006/relationships/image" Target="../media/image17.png"/><Relationship Id="rId4" Type="http://schemas.openxmlformats.org/officeDocument/2006/relationships/image" Target="../media/image11.png"/><Relationship Id="rId9" Type="http://schemas.openxmlformats.org/officeDocument/2006/relationships/image" Target="../media/image16.svg"/></Relationships>
</file>

<file path=ppt/slideLayouts/_rels/slideLayout440.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15.xml"/></Relationships>
</file>

<file path=ppt/slideLayouts/_rels/slideLayout441.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40.svg"/><Relationship Id="rId7" Type="http://schemas.openxmlformats.org/officeDocument/2006/relationships/image" Target="../media/image42.svg"/><Relationship Id="rId2" Type="http://schemas.openxmlformats.org/officeDocument/2006/relationships/image" Target="../media/image9.png"/><Relationship Id="rId1" Type="http://schemas.openxmlformats.org/officeDocument/2006/relationships/slideMaster" Target="../slideMasters/slideMaster15.xml"/><Relationship Id="rId6" Type="http://schemas.openxmlformats.org/officeDocument/2006/relationships/image" Target="../media/image13.png"/><Relationship Id="rId11" Type="http://schemas.openxmlformats.org/officeDocument/2006/relationships/image" Target="../media/image44.svg"/><Relationship Id="rId5" Type="http://schemas.openxmlformats.org/officeDocument/2006/relationships/image" Target="../media/image41.svg"/><Relationship Id="rId10" Type="http://schemas.openxmlformats.org/officeDocument/2006/relationships/image" Target="../media/image17.png"/><Relationship Id="rId4" Type="http://schemas.openxmlformats.org/officeDocument/2006/relationships/image" Target="../media/image11.png"/><Relationship Id="rId9" Type="http://schemas.openxmlformats.org/officeDocument/2006/relationships/image" Target="../media/image43.svg"/></Relationships>
</file>

<file path=ppt/slideLayouts/_rels/slideLayout442.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15.xml"/></Relationships>
</file>

<file path=ppt/slideLayouts/_rels/slideLayout443.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15.xml"/></Relationships>
</file>

<file path=ppt/slideLayouts/_rels/slideLayout444.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15.xml"/></Relationships>
</file>

<file path=ppt/slideLayouts/_rels/slideLayout445.xml.rels><?xml version="1.0" encoding="UTF-8" standalone="yes"?>
<Relationships xmlns="http://schemas.openxmlformats.org/package/2006/relationships"><Relationship Id="rId3" Type="http://schemas.openxmlformats.org/officeDocument/2006/relationships/image" Target="../media/image45.svg"/><Relationship Id="rId2" Type="http://schemas.openxmlformats.org/officeDocument/2006/relationships/image" Target="../media/image19.png"/><Relationship Id="rId1" Type="http://schemas.openxmlformats.org/officeDocument/2006/relationships/slideMaster" Target="../slideMasters/slideMaster15.xml"/></Relationships>
</file>

<file path=ppt/slideLayouts/_rels/slideLayout446.xml.rels><?xml version="1.0" encoding="UTF-8" standalone="yes"?>
<Relationships xmlns="http://schemas.openxmlformats.org/package/2006/relationships"><Relationship Id="rId3" Type="http://schemas.openxmlformats.org/officeDocument/2006/relationships/image" Target="../media/image45.svg"/><Relationship Id="rId2" Type="http://schemas.openxmlformats.org/officeDocument/2006/relationships/image" Target="../media/image19.png"/><Relationship Id="rId1" Type="http://schemas.openxmlformats.org/officeDocument/2006/relationships/slideMaster" Target="../slideMasters/slideMaster15.xml"/></Relationships>
</file>

<file path=ppt/slideLayouts/_rels/slideLayout447.xml.rels><?xml version="1.0" encoding="UTF-8" standalone="yes"?>
<Relationships xmlns="http://schemas.openxmlformats.org/package/2006/relationships"><Relationship Id="rId3" Type="http://schemas.openxmlformats.org/officeDocument/2006/relationships/image" Target="../media/image45.svg"/><Relationship Id="rId2" Type="http://schemas.openxmlformats.org/officeDocument/2006/relationships/image" Target="../media/image19.png"/><Relationship Id="rId1" Type="http://schemas.openxmlformats.org/officeDocument/2006/relationships/slideMaster" Target="../slideMasters/slideMaster15.xml"/></Relationships>
</file>

<file path=ppt/slideLayouts/_rels/slideLayout448.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15.xml"/></Relationships>
</file>

<file path=ppt/slideLayouts/_rels/slideLayout449.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15.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450.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15.xml"/></Relationships>
</file>

<file path=ppt/slideLayouts/_rels/slideLayout451.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15.xml"/></Relationships>
</file>

<file path=ppt/slideLayouts/_rels/slideLayout452.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15.xml"/></Relationships>
</file>

<file path=ppt/slideLayouts/_rels/slideLayout453.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15.xml"/></Relationships>
</file>

<file path=ppt/slideLayouts/_rels/slideLayout454.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15.xml"/></Relationships>
</file>

<file path=ppt/slideLayouts/_rels/slideLayout455.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15.xml"/></Relationships>
</file>

<file path=ppt/slideLayouts/_rels/slideLayout456.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15.xml"/></Relationships>
</file>

<file path=ppt/slideLayouts/_rels/slideLayout457.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15.xml"/></Relationships>
</file>

<file path=ppt/slideLayouts/_rels/slideLayout458.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15.xml"/></Relationships>
</file>

<file path=ppt/slideLayouts/_rels/slideLayout459.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15.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460.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15.xml"/></Relationships>
</file>

<file path=ppt/slideLayouts/_rels/slideLayout461.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15.xml"/></Relationships>
</file>

<file path=ppt/slideLayouts/_rels/slideLayout462.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15.xml"/></Relationships>
</file>

<file path=ppt/slideLayouts/_rels/slideLayout463.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15.xml"/></Relationships>
</file>

<file path=ppt/slideLayouts/_rels/slideLayout464.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15.xml"/></Relationships>
</file>

<file path=ppt/slideLayouts/_rels/slideLayout465.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15.xml"/></Relationships>
</file>

<file path=ppt/slideLayouts/_rels/slideLayout466.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15.xml"/></Relationships>
</file>

<file path=ppt/slideLayouts/_rels/slideLayout467.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15.xml"/></Relationships>
</file>

<file path=ppt/slideLayouts/_rels/slideLayout468.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15.xml"/></Relationships>
</file>

<file path=ppt/slideLayouts/_rels/slideLayout469.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21.png"/><Relationship Id="rId1" Type="http://schemas.openxmlformats.org/officeDocument/2006/relationships/slideMaster" Target="../slideMasters/slideMaster15.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47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3.png"/><Relationship Id="rId1" Type="http://schemas.openxmlformats.org/officeDocument/2006/relationships/slideMaster" Target="../slideMasters/slideMaster15.xml"/><Relationship Id="rId4" Type="http://schemas.openxmlformats.org/officeDocument/2006/relationships/image" Target="../media/image46.svg"/></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472.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6.xml"/></Relationships>
</file>

<file path=ppt/slideLayouts/_rels/slideLayout473.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6.xml"/></Relationships>
</file>

<file path=ppt/slideLayouts/_rels/slideLayout474.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16.xml"/></Relationships>
</file>

<file path=ppt/slideLayouts/_rels/slideLayout475.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16.xml"/></Relationships>
</file>

<file path=ppt/slideLayouts/_rels/slideLayout476.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16.xml"/></Relationships>
</file>

<file path=ppt/slideLayouts/_rels/slideLayout477.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16.xml"/></Relationships>
</file>

<file path=ppt/slideLayouts/_rels/slideLayout478.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16.xml"/></Relationships>
</file>

<file path=ppt/slideLayouts/_rels/slideLayout479.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16.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480.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16.xml"/></Relationships>
</file>

<file path=ppt/slideLayouts/_rels/slideLayout481.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16.xml"/></Relationships>
</file>

<file path=ppt/slideLayouts/_rels/slideLayout482.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16.xml"/></Relationships>
</file>

<file path=ppt/slideLayouts/_rels/slideLayout483.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16.xml"/></Relationships>
</file>

<file path=ppt/slideLayouts/_rels/slideLayout484.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16.xml"/></Relationships>
</file>

<file path=ppt/slideLayouts/_rels/slideLayout485.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16.xml"/></Relationships>
</file>

<file path=ppt/slideLayouts/_rels/slideLayout486.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16.xml"/></Relationships>
</file>

<file path=ppt/slideLayouts/_rels/slideLayout487.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16.xml"/></Relationships>
</file>

<file path=ppt/slideLayouts/_rels/slideLayout488.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40.svg"/><Relationship Id="rId7" Type="http://schemas.openxmlformats.org/officeDocument/2006/relationships/image" Target="../media/image42.svg"/><Relationship Id="rId2" Type="http://schemas.openxmlformats.org/officeDocument/2006/relationships/image" Target="../media/image9.png"/><Relationship Id="rId1" Type="http://schemas.openxmlformats.org/officeDocument/2006/relationships/slideMaster" Target="../slideMasters/slideMaster16.xml"/><Relationship Id="rId6" Type="http://schemas.openxmlformats.org/officeDocument/2006/relationships/image" Target="../media/image13.png"/><Relationship Id="rId11" Type="http://schemas.openxmlformats.org/officeDocument/2006/relationships/image" Target="../media/image44.svg"/><Relationship Id="rId5" Type="http://schemas.openxmlformats.org/officeDocument/2006/relationships/image" Target="../media/image41.svg"/><Relationship Id="rId10" Type="http://schemas.openxmlformats.org/officeDocument/2006/relationships/image" Target="../media/image17.png"/><Relationship Id="rId4" Type="http://schemas.openxmlformats.org/officeDocument/2006/relationships/image" Target="../media/image11.png"/><Relationship Id="rId9" Type="http://schemas.openxmlformats.org/officeDocument/2006/relationships/image" Target="../media/image43.svg"/></Relationships>
</file>

<file path=ppt/slideLayouts/_rels/slideLayout489.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16.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490.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16.xml"/></Relationships>
</file>

<file path=ppt/slideLayouts/_rels/slideLayout491.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16.xml"/></Relationships>
</file>

<file path=ppt/slideLayouts/_rels/slideLayout492.xml.rels><?xml version="1.0" encoding="UTF-8" standalone="yes"?>
<Relationships xmlns="http://schemas.openxmlformats.org/package/2006/relationships"><Relationship Id="rId3" Type="http://schemas.openxmlformats.org/officeDocument/2006/relationships/image" Target="../media/image45.svg"/><Relationship Id="rId2" Type="http://schemas.openxmlformats.org/officeDocument/2006/relationships/image" Target="../media/image19.png"/><Relationship Id="rId1" Type="http://schemas.openxmlformats.org/officeDocument/2006/relationships/slideMaster" Target="../slideMasters/slideMaster16.xml"/></Relationships>
</file>

<file path=ppt/slideLayouts/_rels/slideLayout493.xml.rels><?xml version="1.0" encoding="UTF-8" standalone="yes"?>
<Relationships xmlns="http://schemas.openxmlformats.org/package/2006/relationships"><Relationship Id="rId3" Type="http://schemas.openxmlformats.org/officeDocument/2006/relationships/image" Target="../media/image45.svg"/><Relationship Id="rId2" Type="http://schemas.openxmlformats.org/officeDocument/2006/relationships/image" Target="../media/image19.png"/><Relationship Id="rId1" Type="http://schemas.openxmlformats.org/officeDocument/2006/relationships/slideMaster" Target="../slideMasters/slideMaster16.xml"/></Relationships>
</file>

<file path=ppt/slideLayouts/_rels/slideLayout494.xml.rels><?xml version="1.0" encoding="UTF-8" standalone="yes"?>
<Relationships xmlns="http://schemas.openxmlformats.org/package/2006/relationships"><Relationship Id="rId3" Type="http://schemas.openxmlformats.org/officeDocument/2006/relationships/image" Target="../media/image45.svg"/><Relationship Id="rId2" Type="http://schemas.openxmlformats.org/officeDocument/2006/relationships/image" Target="../media/image19.png"/><Relationship Id="rId1" Type="http://schemas.openxmlformats.org/officeDocument/2006/relationships/slideMaster" Target="../slideMasters/slideMaster16.xml"/></Relationships>
</file>

<file path=ppt/slideLayouts/_rels/slideLayout495.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16.xml"/></Relationships>
</file>

<file path=ppt/slideLayouts/_rels/slideLayout496.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16.xml"/></Relationships>
</file>

<file path=ppt/slideLayouts/_rels/slideLayout497.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16.xml"/></Relationships>
</file>

<file path=ppt/slideLayouts/_rels/slideLayout498.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16.xml"/></Relationships>
</file>

<file path=ppt/slideLayouts/_rels/slideLayout499.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1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500.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16.xml"/></Relationships>
</file>

<file path=ppt/slideLayouts/_rels/slideLayout501.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16.xml"/></Relationships>
</file>

<file path=ppt/slideLayouts/_rels/slideLayout502.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16.xml"/></Relationships>
</file>

<file path=ppt/slideLayouts/_rels/slideLayout503.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16.xml"/></Relationships>
</file>

<file path=ppt/slideLayouts/_rels/slideLayout504.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16.xml"/></Relationships>
</file>

<file path=ppt/slideLayouts/_rels/slideLayout505.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16.xml"/></Relationships>
</file>

<file path=ppt/slideLayouts/_rels/slideLayout506.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16.xml"/></Relationships>
</file>

<file path=ppt/slideLayouts/_rels/slideLayout507.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16.xml"/></Relationships>
</file>

<file path=ppt/slideLayouts/_rels/slideLayout508.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16.xml"/></Relationships>
</file>

<file path=ppt/slideLayouts/_rels/slideLayout509.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16.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10.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16.xml"/></Relationships>
</file>

<file path=ppt/slideLayouts/_rels/slideLayout511.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16.xml"/></Relationships>
</file>

<file path=ppt/slideLayouts/_rels/slideLayout512.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16.xml"/></Relationships>
</file>

<file path=ppt/slideLayouts/_rels/slideLayout513.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16.xml"/></Relationships>
</file>

<file path=ppt/slideLayouts/_rels/slideLayout514.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16.xml"/></Relationships>
</file>

<file path=ppt/slideLayouts/_rels/slideLayout515.xml.rels><?xml version="1.0" encoding="UTF-8" standalone="yes"?>
<Relationships xmlns="http://schemas.openxmlformats.org/package/2006/relationships"><Relationship Id="rId3" Type="http://schemas.openxmlformats.org/officeDocument/2006/relationships/image" Target="../media/image40.svg"/><Relationship Id="rId2" Type="http://schemas.openxmlformats.org/officeDocument/2006/relationships/image" Target="../media/image9.png"/><Relationship Id="rId1" Type="http://schemas.openxmlformats.org/officeDocument/2006/relationships/slideMaster" Target="../slideMasters/slideMaster16.xml"/></Relationships>
</file>

<file path=ppt/slideLayouts/_rels/slideLayout516.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21.png"/><Relationship Id="rId1" Type="http://schemas.openxmlformats.org/officeDocument/2006/relationships/slideMaster" Target="../slideMasters/slideMaster16.xml"/></Relationships>
</file>

<file path=ppt/slideLayouts/_rels/slideLayout51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3.png"/><Relationship Id="rId1" Type="http://schemas.openxmlformats.org/officeDocument/2006/relationships/slideMaster" Target="../slideMasters/slideMaster16.xml"/><Relationship Id="rId4" Type="http://schemas.openxmlformats.org/officeDocument/2006/relationships/image" Target="../media/image46.svg"/></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3.png"/><Relationship Id="rId1" Type="http://schemas.openxmlformats.org/officeDocument/2006/relationships/slideMaster" Target="../slideMasters/slideMaster3.xml"/><Relationship Id="rId4" Type="http://schemas.openxmlformats.org/officeDocument/2006/relationships/image" Target="../media/image22.sv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4.xml"/><Relationship Id="rId5" Type="http://schemas.openxmlformats.org/officeDocument/2006/relationships/image" Target="../media/image33.png"/><Relationship Id="rId4" Type="http://schemas.openxmlformats.org/officeDocument/2006/relationships/image" Target="../media/image32.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jpe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8.png"/><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13" name="Rectángulo 9"/>
          <p:cNvSpPr/>
          <p:nvPr userDrawn="1"/>
        </p:nvSpPr>
        <p:spPr>
          <a:xfrm>
            <a:off x="0" y="0"/>
            <a:ext cx="12187995" cy="108000"/>
          </a:xfrm>
          <a:prstGeom prst="rect">
            <a:avLst/>
          </a:prstGeom>
          <a:gradFill rotWithShape="1">
            <a:gsLst>
              <a:gs pos="0">
                <a:srgbClr val="A50021"/>
              </a:gs>
              <a:gs pos="100000">
                <a:srgbClr val="636463"/>
              </a:gs>
            </a:gsLst>
            <a:lin ang="16200000" scaled="0"/>
          </a:gradFill>
          <a:ln w="952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srgbClr val="F3EBDD"/>
              </a:solidFill>
              <a:effectLst/>
              <a:uLnTx/>
              <a:uFillTx/>
              <a:latin typeface="Arial"/>
              <a:ea typeface="+mn-ea"/>
              <a:cs typeface="+mn-cs"/>
            </a:endParaRPr>
          </a:p>
        </p:txBody>
      </p:sp>
      <p:sp>
        <p:nvSpPr>
          <p:cNvPr id="6" name="Rectangle 2"/>
          <p:cNvSpPr>
            <a:spLocks noGrp="1" noChangeArrowheads="1"/>
          </p:cNvSpPr>
          <p:nvPr>
            <p:ph type="title"/>
          </p:nvPr>
        </p:nvSpPr>
        <p:spPr bwMode="auto">
          <a:xfrm>
            <a:off x="609600" y="274638"/>
            <a:ext cx="10972800" cy="90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defRPr>
                <a:solidFill>
                  <a:srgbClr val="A50021"/>
                </a:solidFill>
              </a:defRPr>
            </a:lvl1pPr>
          </a:lstStyle>
          <a:p>
            <a:pPr lvl="0"/>
            <a:r>
              <a:rPr lang="fr-FR"/>
              <a:t>Cliquez pour modifier le style du titre</a:t>
            </a:r>
          </a:p>
        </p:txBody>
      </p:sp>
    </p:spTree>
    <p:extLst>
      <p:ext uri="{BB962C8B-B14F-4D97-AF65-F5344CB8AC3E}">
        <p14:creationId xmlns:p14="http://schemas.microsoft.com/office/powerpoint/2010/main" val="119263652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82427256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2_Picture&amp;Content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3" name="Espace réservé du contenu 2"/>
          <p:cNvSpPr>
            <a:spLocks noGrp="1"/>
          </p:cNvSpPr>
          <p:nvPr>
            <p:ph idx="1" hasCustomPrompt="1"/>
          </p:nvPr>
        </p:nvSpPr>
        <p:spPr bwMode="gray">
          <a:xfrm>
            <a:off x="672000" y="1608000"/>
            <a:ext cx="10645648" cy="2043011"/>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1" name="Espace réservé du numéro de diapositive 10"/>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a:p>
        </p:txBody>
      </p:sp>
      <p:sp>
        <p:nvSpPr>
          <p:cNvPr id="10" name="Espace réservé pour une image  17"/>
          <p:cNvSpPr>
            <a:spLocks noGrp="1"/>
          </p:cNvSpPr>
          <p:nvPr>
            <p:ph type="pic" sz="quarter" idx="13"/>
          </p:nvPr>
        </p:nvSpPr>
        <p:spPr bwMode="gray">
          <a:xfrm>
            <a:off x="-1" y="3621021"/>
            <a:ext cx="12192001" cy="2189096"/>
          </a:xfrm>
          <a:custGeom>
            <a:avLst/>
            <a:gdLst>
              <a:gd name="connsiteX0" fmla="*/ 0 w 7344000"/>
              <a:gd name="connsiteY0" fmla="*/ 0 h 1728787"/>
              <a:gd name="connsiteX1" fmla="*/ 7344000 w 7344000"/>
              <a:gd name="connsiteY1" fmla="*/ 0 h 1728787"/>
              <a:gd name="connsiteX2" fmla="*/ 7344000 w 7344000"/>
              <a:gd name="connsiteY2" fmla="*/ 1728787 h 1728787"/>
              <a:gd name="connsiteX3" fmla="*/ 0 w 7344000"/>
              <a:gd name="connsiteY3" fmla="*/ 1728787 h 1728787"/>
              <a:gd name="connsiteX4" fmla="*/ 0 w 7344000"/>
              <a:gd name="connsiteY4" fmla="*/ 0 h 1728787"/>
              <a:gd name="connsiteX0" fmla="*/ 0 w 7344000"/>
              <a:gd name="connsiteY0" fmla="*/ 605117 h 1728787"/>
              <a:gd name="connsiteX1" fmla="*/ 7344000 w 7344000"/>
              <a:gd name="connsiteY1" fmla="*/ 0 h 1728787"/>
              <a:gd name="connsiteX2" fmla="*/ 7344000 w 7344000"/>
              <a:gd name="connsiteY2" fmla="*/ 1728787 h 1728787"/>
              <a:gd name="connsiteX3" fmla="*/ 0 w 7344000"/>
              <a:gd name="connsiteY3" fmla="*/ 1728787 h 1728787"/>
              <a:gd name="connsiteX4" fmla="*/ 0 w 7344000"/>
              <a:gd name="connsiteY4" fmla="*/ 605117 h 1728787"/>
              <a:gd name="connsiteX0" fmla="*/ 0 w 7344000"/>
              <a:gd name="connsiteY0" fmla="*/ 605117 h 1728787"/>
              <a:gd name="connsiteX1" fmla="*/ 7344000 w 7344000"/>
              <a:gd name="connsiteY1" fmla="*/ 0 h 1728787"/>
              <a:gd name="connsiteX2" fmla="*/ 7344000 w 7344000"/>
              <a:gd name="connsiteY2" fmla="*/ 1728787 h 1728787"/>
              <a:gd name="connsiteX3" fmla="*/ 0 w 7344000"/>
              <a:gd name="connsiteY3" fmla="*/ 1728787 h 1728787"/>
              <a:gd name="connsiteX4" fmla="*/ 0 w 7344000"/>
              <a:gd name="connsiteY4" fmla="*/ 605117 h 1728787"/>
              <a:gd name="connsiteX0" fmla="*/ 0 w 7344000"/>
              <a:gd name="connsiteY0" fmla="*/ 605117 h 1728787"/>
              <a:gd name="connsiteX1" fmla="*/ 7344000 w 7344000"/>
              <a:gd name="connsiteY1" fmla="*/ 0 h 1728787"/>
              <a:gd name="connsiteX2" fmla="*/ 7344000 w 7344000"/>
              <a:gd name="connsiteY2" fmla="*/ 1728787 h 1728787"/>
              <a:gd name="connsiteX3" fmla="*/ 0 w 7344000"/>
              <a:gd name="connsiteY3" fmla="*/ 1728787 h 1728787"/>
              <a:gd name="connsiteX4" fmla="*/ 0 w 7344000"/>
              <a:gd name="connsiteY4" fmla="*/ 605117 h 17287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4000" h="1728787">
                <a:moveTo>
                  <a:pt x="0" y="605117"/>
                </a:moveTo>
                <a:cubicBezTo>
                  <a:pt x="2817794" y="551329"/>
                  <a:pt x="3342865" y="73959"/>
                  <a:pt x="7344000" y="0"/>
                </a:cubicBezTo>
                <a:lnTo>
                  <a:pt x="7344000" y="1728787"/>
                </a:lnTo>
                <a:lnTo>
                  <a:pt x="0" y="1728787"/>
                </a:lnTo>
                <a:lnTo>
                  <a:pt x="0" y="605117"/>
                </a:lnTo>
                <a:close/>
              </a:path>
            </a:pathLst>
          </a:custGeom>
        </p:spPr>
        <p:txBody>
          <a:bodyPr/>
          <a:lstStyle/>
          <a:p>
            <a:r>
              <a:rPr lang="en-US"/>
              <a:t>Click icon to add picture</a:t>
            </a:r>
            <a:endParaRPr lang="fr-FR"/>
          </a:p>
        </p:txBody>
      </p:sp>
    </p:spTree>
    <p:extLst>
      <p:ext uri="{BB962C8B-B14F-4D97-AF65-F5344CB8AC3E}">
        <p14:creationId xmlns:p14="http://schemas.microsoft.com/office/powerpoint/2010/main" val="3238215202"/>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2_Contents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xfrm>
            <a:off x="672000" y="217251"/>
            <a:ext cx="10848000" cy="1036637"/>
          </a:xfrm>
        </p:spPr>
        <p:txBody>
          <a:bodyPr/>
          <a:lstStyle/>
          <a:p>
            <a:r>
              <a:rPr lang="en-GB" noProof="0"/>
              <a:t>TITLE</a:t>
            </a:r>
          </a:p>
        </p:txBody>
      </p:sp>
      <p:sp>
        <p:nvSpPr>
          <p:cNvPr id="3" name="Espace réservé du contenu 2"/>
          <p:cNvSpPr>
            <a:spLocks noGrp="1"/>
          </p:cNvSpPr>
          <p:nvPr>
            <p:ph idx="1" hasCustomPrompt="1"/>
          </p:nvPr>
        </p:nvSpPr>
        <p:spPr bwMode="gray">
          <a:xfrm>
            <a:off x="672000" y="1603201"/>
            <a:ext cx="5424000" cy="4202817"/>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8" name="Espace réservé du numéro de diapositive 7"/>
          <p:cNvSpPr>
            <a:spLocks noGrp="1"/>
          </p:cNvSpPr>
          <p:nvPr>
            <p:ph type="sldNum" sz="quarter" idx="11"/>
          </p:nvPr>
        </p:nvSpPr>
        <p:spPr bwMode="gray"/>
        <p:txBody>
          <a:bodyPr/>
          <a:lstStyle/>
          <a:p>
            <a:pPr algn="l"/>
            <a:fld id="{733122C9-A0B9-462F-8757-0847AD287B63}" type="slidenum">
              <a:rPr lang="en-GB" noProof="0" smtClean="0"/>
              <a:pPr algn="l"/>
              <a:t>‹#›</a:t>
            </a:fld>
            <a:endParaRPr lang="en-GB" noProof="0"/>
          </a:p>
        </p:txBody>
      </p:sp>
      <p:sp>
        <p:nvSpPr>
          <p:cNvPr id="9" name="Espace réservé du contenu 2"/>
          <p:cNvSpPr>
            <a:spLocks noGrp="1"/>
          </p:cNvSpPr>
          <p:nvPr>
            <p:ph idx="13" hasCustomPrompt="1"/>
          </p:nvPr>
        </p:nvSpPr>
        <p:spPr bwMode="gray">
          <a:xfrm>
            <a:off x="6751499" y="1603201"/>
            <a:ext cx="4768501" cy="4202817"/>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Tree>
    <p:extLst>
      <p:ext uri="{BB962C8B-B14F-4D97-AF65-F5344CB8AC3E}">
        <p14:creationId xmlns:p14="http://schemas.microsoft.com/office/powerpoint/2010/main" val="1442056485"/>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ext&amp;Content_Layout">
    <p:spTree>
      <p:nvGrpSpPr>
        <p:cNvPr id="1" name=""/>
        <p:cNvGrpSpPr/>
        <p:nvPr/>
      </p:nvGrpSpPr>
      <p:grpSpPr>
        <a:xfrm>
          <a:off x="0" y="0"/>
          <a:ext cx="0" cy="0"/>
          <a:chOff x="0" y="0"/>
          <a:chExt cx="0" cy="0"/>
        </a:xfrm>
      </p:grpSpPr>
      <p:sp>
        <p:nvSpPr>
          <p:cNvPr id="3" name="Espace réservé du contenu 2"/>
          <p:cNvSpPr>
            <a:spLocks noGrp="1"/>
          </p:cNvSpPr>
          <p:nvPr>
            <p:ph idx="1" hasCustomPrompt="1"/>
          </p:nvPr>
        </p:nvSpPr>
        <p:spPr bwMode="gray">
          <a:xfrm>
            <a:off x="672000" y="3309347"/>
            <a:ext cx="10848000" cy="2496671"/>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0" name="Espace réservé du texte 9"/>
          <p:cNvSpPr>
            <a:spLocks noGrp="1"/>
          </p:cNvSpPr>
          <p:nvPr>
            <p:ph type="body" sz="quarter" idx="13" hasCustomPrompt="1"/>
          </p:nvPr>
        </p:nvSpPr>
        <p:spPr bwMode="gray">
          <a:xfrm>
            <a:off x="672000" y="1603200"/>
            <a:ext cx="10848000" cy="1633779"/>
          </a:xfrm>
        </p:spPr>
        <p:txBody>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9" name="Espace réservé du numéro de diapositive 8"/>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a:p>
        </p:txBody>
      </p:sp>
      <p:sp>
        <p:nvSpPr>
          <p:cNvPr id="5" name="Titre 4"/>
          <p:cNvSpPr>
            <a:spLocks noGrp="1"/>
          </p:cNvSpPr>
          <p:nvPr>
            <p:ph type="title"/>
          </p:nvPr>
        </p:nvSpPr>
        <p:spPr/>
        <p:txBody>
          <a:bodyPr/>
          <a:lstStyle/>
          <a:p>
            <a:r>
              <a:rPr lang="en-US" noProof="0"/>
              <a:t>Click to edit Master title style</a:t>
            </a:r>
            <a:endParaRPr lang="en-GB" noProof="0"/>
          </a:p>
        </p:txBody>
      </p:sp>
    </p:spTree>
    <p:extLst>
      <p:ext uri="{BB962C8B-B14F-4D97-AF65-F5344CB8AC3E}">
        <p14:creationId xmlns:p14="http://schemas.microsoft.com/office/powerpoint/2010/main" val="401641017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ext&amp;Content&amp;Picture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xfrm>
            <a:off x="672000" y="217251"/>
            <a:ext cx="6384967" cy="1036637"/>
          </a:xfrm>
        </p:spPr>
        <p:txBody>
          <a:bodyPr/>
          <a:lstStyle/>
          <a:p>
            <a:r>
              <a:rPr lang="en-GB" noProof="0"/>
              <a:t>TITLE</a:t>
            </a:r>
          </a:p>
        </p:txBody>
      </p:sp>
      <p:sp>
        <p:nvSpPr>
          <p:cNvPr id="3" name="Espace réservé du contenu 2"/>
          <p:cNvSpPr>
            <a:spLocks noGrp="1"/>
          </p:cNvSpPr>
          <p:nvPr>
            <p:ph idx="1" hasCustomPrompt="1"/>
          </p:nvPr>
        </p:nvSpPr>
        <p:spPr bwMode="gray">
          <a:xfrm>
            <a:off x="671999" y="3307201"/>
            <a:ext cx="6384967" cy="2498817"/>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0" name="Espace réservé du texte 9"/>
          <p:cNvSpPr>
            <a:spLocks noGrp="1"/>
          </p:cNvSpPr>
          <p:nvPr>
            <p:ph type="body" sz="quarter" idx="13" hasCustomPrompt="1"/>
          </p:nvPr>
        </p:nvSpPr>
        <p:spPr bwMode="gray">
          <a:xfrm>
            <a:off x="672000" y="1603200"/>
            <a:ext cx="6384967" cy="1260000"/>
          </a:xfrm>
        </p:spPr>
        <p:txBody>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9" name="Espace réservé du numéro de diapositive 8"/>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a:p>
        </p:txBody>
      </p:sp>
      <p:sp>
        <p:nvSpPr>
          <p:cNvPr id="12" name="Espace réservé pour une image  8"/>
          <p:cNvSpPr>
            <a:spLocks noGrp="1"/>
          </p:cNvSpPr>
          <p:nvPr>
            <p:ph type="pic" sz="quarter" idx="17" hasCustomPrompt="1"/>
          </p:nvPr>
        </p:nvSpPr>
        <p:spPr bwMode="gray">
          <a:xfrm>
            <a:off x="7680176" y="753401"/>
            <a:ext cx="3839824" cy="5014516"/>
          </a:xfrm>
        </p:spPr>
        <p:txBody>
          <a:bodyPr tIns="1008000" anchor="ctr" anchorCtr="0"/>
          <a:lstStyle>
            <a:lvl1pPr algn="ctr">
              <a:defRPr/>
            </a:lvl1pPr>
          </a:lstStyle>
          <a:p>
            <a:r>
              <a:rPr lang="en-GB" noProof="0"/>
              <a:t>Select your own photo</a:t>
            </a:r>
          </a:p>
        </p:txBody>
      </p:sp>
    </p:spTree>
    <p:extLst>
      <p:ext uri="{BB962C8B-B14F-4D97-AF65-F5344CB8AC3E}">
        <p14:creationId xmlns:p14="http://schemas.microsoft.com/office/powerpoint/2010/main" val="1520402186"/>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ext&amp;2_Contents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3" name="Espace réservé du contenu 2"/>
          <p:cNvSpPr>
            <a:spLocks noGrp="1"/>
          </p:cNvSpPr>
          <p:nvPr>
            <p:ph idx="1" hasCustomPrompt="1"/>
          </p:nvPr>
        </p:nvSpPr>
        <p:spPr bwMode="gray">
          <a:xfrm>
            <a:off x="672000" y="3309347"/>
            <a:ext cx="5424000" cy="2500800"/>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0" name="Espace réservé du texte 9"/>
          <p:cNvSpPr>
            <a:spLocks noGrp="1"/>
          </p:cNvSpPr>
          <p:nvPr>
            <p:ph type="body" sz="quarter" idx="13" hasCustomPrompt="1"/>
          </p:nvPr>
        </p:nvSpPr>
        <p:spPr bwMode="gray">
          <a:xfrm>
            <a:off x="672000" y="1603200"/>
            <a:ext cx="10848000" cy="1260000"/>
          </a:xfrm>
        </p:spPr>
        <p:txBody>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9" name="Espace réservé du numéro de diapositive 8"/>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a:p>
        </p:txBody>
      </p:sp>
      <p:sp>
        <p:nvSpPr>
          <p:cNvPr id="12" name="Espace réservé du contenu 2"/>
          <p:cNvSpPr>
            <a:spLocks noGrp="1"/>
          </p:cNvSpPr>
          <p:nvPr>
            <p:ph idx="17" hasCustomPrompt="1"/>
          </p:nvPr>
        </p:nvSpPr>
        <p:spPr bwMode="gray">
          <a:xfrm>
            <a:off x="6768000" y="3309347"/>
            <a:ext cx="4752000" cy="2500800"/>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Tree>
    <p:extLst>
      <p:ext uri="{BB962C8B-B14F-4D97-AF65-F5344CB8AC3E}">
        <p14:creationId xmlns:p14="http://schemas.microsoft.com/office/powerpoint/2010/main" val="576814184"/>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ext&amp;3_Contents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3" name="Espace réservé du contenu 2"/>
          <p:cNvSpPr>
            <a:spLocks noGrp="1"/>
          </p:cNvSpPr>
          <p:nvPr>
            <p:ph idx="1" hasCustomPrompt="1"/>
          </p:nvPr>
        </p:nvSpPr>
        <p:spPr bwMode="gray">
          <a:xfrm>
            <a:off x="672000" y="3307200"/>
            <a:ext cx="3072000" cy="2500800"/>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0" name="Espace réservé du texte 9"/>
          <p:cNvSpPr>
            <a:spLocks noGrp="1"/>
          </p:cNvSpPr>
          <p:nvPr>
            <p:ph type="body" sz="quarter" idx="13" hasCustomPrompt="1"/>
          </p:nvPr>
        </p:nvSpPr>
        <p:spPr bwMode="gray">
          <a:xfrm>
            <a:off x="672000" y="1603200"/>
            <a:ext cx="10848000" cy="1260000"/>
          </a:xfrm>
        </p:spPr>
        <p:txBody>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9" name="Espace réservé du numéro de diapositive 8"/>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a:p>
        </p:txBody>
      </p:sp>
      <p:sp>
        <p:nvSpPr>
          <p:cNvPr id="13" name="Espace réservé du contenu 2"/>
          <p:cNvSpPr>
            <a:spLocks noGrp="1"/>
          </p:cNvSpPr>
          <p:nvPr>
            <p:ph idx="17" hasCustomPrompt="1"/>
          </p:nvPr>
        </p:nvSpPr>
        <p:spPr bwMode="gray">
          <a:xfrm>
            <a:off x="4167359" y="3307200"/>
            <a:ext cx="3072000" cy="2500800"/>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4" name="Espace réservé du contenu 2"/>
          <p:cNvSpPr>
            <a:spLocks noGrp="1"/>
          </p:cNvSpPr>
          <p:nvPr>
            <p:ph idx="18" hasCustomPrompt="1"/>
          </p:nvPr>
        </p:nvSpPr>
        <p:spPr bwMode="gray">
          <a:xfrm>
            <a:off x="7646800" y="3307200"/>
            <a:ext cx="3072000" cy="2500800"/>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Tree>
    <p:extLst>
      <p:ext uri="{BB962C8B-B14F-4D97-AF65-F5344CB8AC3E}">
        <p14:creationId xmlns:p14="http://schemas.microsoft.com/office/powerpoint/2010/main" val="245580162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4_Contents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xfrm>
            <a:off x="672000" y="217251"/>
            <a:ext cx="10848000" cy="1036637"/>
          </a:xfrm>
        </p:spPr>
        <p:txBody>
          <a:bodyPr/>
          <a:lstStyle/>
          <a:p>
            <a:r>
              <a:rPr lang="en-GB" noProof="0"/>
              <a:t>TITLE</a:t>
            </a:r>
          </a:p>
        </p:txBody>
      </p:sp>
      <p:sp>
        <p:nvSpPr>
          <p:cNvPr id="3" name="Espace réservé du contenu 2"/>
          <p:cNvSpPr>
            <a:spLocks noGrp="1"/>
          </p:cNvSpPr>
          <p:nvPr>
            <p:ph idx="1" hasCustomPrompt="1"/>
          </p:nvPr>
        </p:nvSpPr>
        <p:spPr bwMode="gray">
          <a:xfrm>
            <a:off x="672000" y="1603200"/>
            <a:ext cx="5424000" cy="2035200"/>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8" name="Espace réservé du numéro de diapositive 7"/>
          <p:cNvSpPr>
            <a:spLocks noGrp="1"/>
          </p:cNvSpPr>
          <p:nvPr>
            <p:ph type="sldNum" sz="quarter" idx="11"/>
          </p:nvPr>
        </p:nvSpPr>
        <p:spPr bwMode="gray"/>
        <p:txBody>
          <a:bodyPr/>
          <a:lstStyle/>
          <a:p>
            <a:pPr algn="l"/>
            <a:fld id="{733122C9-A0B9-462F-8757-0847AD287B63}" type="slidenum">
              <a:rPr lang="en-GB" noProof="0" smtClean="0"/>
              <a:pPr algn="l"/>
              <a:t>‹#›</a:t>
            </a:fld>
            <a:endParaRPr lang="en-GB" noProof="0"/>
          </a:p>
        </p:txBody>
      </p:sp>
      <p:sp>
        <p:nvSpPr>
          <p:cNvPr id="9" name="Espace réservé du contenu 2"/>
          <p:cNvSpPr>
            <a:spLocks noGrp="1"/>
          </p:cNvSpPr>
          <p:nvPr>
            <p:ph idx="13" hasCustomPrompt="1"/>
          </p:nvPr>
        </p:nvSpPr>
        <p:spPr bwMode="gray">
          <a:xfrm>
            <a:off x="6096000" y="1603200"/>
            <a:ext cx="5424000" cy="2035200"/>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3" name="Espace réservé du contenu 2"/>
          <p:cNvSpPr>
            <a:spLocks noGrp="1"/>
          </p:cNvSpPr>
          <p:nvPr>
            <p:ph idx="14" hasCustomPrompt="1"/>
          </p:nvPr>
        </p:nvSpPr>
        <p:spPr bwMode="gray">
          <a:xfrm>
            <a:off x="672000" y="3771388"/>
            <a:ext cx="5424000" cy="2034629"/>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4" name="Espace réservé du contenu 2"/>
          <p:cNvSpPr>
            <a:spLocks noGrp="1"/>
          </p:cNvSpPr>
          <p:nvPr>
            <p:ph idx="15" hasCustomPrompt="1"/>
          </p:nvPr>
        </p:nvSpPr>
        <p:spPr bwMode="gray">
          <a:xfrm>
            <a:off x="6096000" y="3771388"/>
            <a:ext cx="5424000" cy="2034629"/>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Tree>
    <p:extLst>
      <p:ext uri="{BB962C8B-B14F-4D97-AF65-F5344CB8AC3E}">
        <p14:creationId xmlns:p14="http://schemas.microsoft.com/office/powerpoint/2010/main" val="1961691973"/>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Picture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9" name="Espace réservé du numéro de diapositive 8"/>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a:p>
        </p:txBody>
      </p:sp>
      <p:sp>
        <p:nvSpPr>
          <p:cNvPr id="12" name="Espace réservé pour une image  8"/>
          <p:cNvSpPr>
            <a:spLocks noGrp="1"/>
          </p:cNvSpPr>
          <p:nvPr>
            <p:ph type="pic" sz="quarter" idx="17" hasCustomPrompt="1"/>
          </p:nvPr>
        </p:nvSpPr>
        <p:spPr bwMode="gray">
          <a:xfrm>
            <a:off x="672000" y="1603201"/>
            <a:ext cx="10848000" cy="4156800"/>
          </a:xfrm>
        </p:spPr>
        <p:txBody>
          <a:bodyPr tIns="1008000" anchor="ctr" anchorCtr="0"/>
          <a:lstStyle>
            <a:lvl1pPr algn="ctr">
              <a:defRPr/>
            </a:lvl1pPr>
          </a:lstStyle>
          <a:p>
            <a:r>
              <a:rPr lang="en-GB" noProof="0"/>
              <a:t>Select your own photo</a:t>
            </a:r>
          </a:p>
        </p:txBody>
      </p:sp>
    </p:spTree>
    <p:extLst>
      <p:ext uri="{BB962C8B-B14F-4D97-AF65-F5344CB8AC3E}">
        <p14:creationId xmlns:p14="http://schemas.microsoft.com/office/powerpoint/2010/main" val="1338169845"/>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ext&amp;4_Blocks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10" name="Espace réservé du texte 9"/>
          <p:cNvSpPr>
            <a:spLocks noGrp="1"/>
          </p:cNvSpPr>
          <p:nvPr>
            <p:ph type="body" sz="quarter" idx="13" hasCustomPrompt="1"/>
          </p:nvPr>
        </p:nvSpPr>
        <p:spPr bwMode="gray">
          <a:xfrm>
            <a:off x="672000" y="1603200"/>
            <a:ext cx="10848000" cy="936627"/>
          </a:xfrm>
        </p:spPr>
        <p:txBody>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9" name="Espace réservé du numéro de diapositive 8"/>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a:p>
        </p:txBody>
      </p:sp>
      <p:sp>
        <p:nvSpPr>
          <p:cNvPr id="21" name="Espace réservé du texte 9"/>
          <p:cNvSpPr>
            <a:spLocks noGrp="1"/>
          </p:cNvSpPr>
          <p:nvPr>
            <p:ph type="body" sz="quarter" idx="19" hasCustomPrompt="1"/>
          </p:nvPr>
        </p:nvSpPr>
        <p:spPr bwMode="gray">
          <a:xfrm>
            <a:off x="672000" y="2638824"/>
            <a:ext cx="4896000" cy="324000"/>
          </a:xfrm>
          <a:solidFill>
            <a:schemeClr val="accent1"/>
          </a:solidFill>
          <a:ln w="9525">
            <a:solidFill>
              <a:schemeClr val="accent1"/>
            </a:solidFill>
          </a:ln>
        </p:spPr>
        <p:txBody>
          <a:bodyPr anchor="ctr" anchorCtr="0"/>
          <a:lstStyle>
            <a:lvl1pPr algn="ctr">
              <a:lnSpc>
                <a:spcPct val="100000"/>
              </a:lnSpc>
              <a:defRPr>
                <a:solidFill>
                  <a:schemeClr val="bg1"/>
                </a:solidFill>
              </a:defRPr>
            </a:lvl1pPr>
          </a:lstStyle>
          <a:p>
            <a:pPr lvl="0"/>
            <a:r>
              <a:rPr lang="en-GB" noProof="0"/>
              <a:t>Text level 1</a:t>
            </a:r>
          </a:p>
        </p:txBody>
      </p:sp>
      <p:sp>
        <p:nvSpPr>
          <p:cNvPr id="22" name="Espace réservé du texte 9"/>
          <p:cNvSpPr>
            <a:spLocks noGrp="1"/>
          </p:cNvSpPr>
          <p:nvPr>
            <p:ph type="body" sz="quarter" idx="20" hasCustomPrompt="1"/>
          </p:nvPr>
        </p:nvSpPr>
        <p:spPr bwMode="gray">
          <a:xfrm>
            <a:off x="672000" y="2962824"/>
            <a:ext cx="4896000" cy="2352000"/>
          </a:xfrm>
          <a:ln w="9525">
            <a:solidFill>
              <a:schemeClr val="accent1"/>
            </a:solidFill>
          </a:ln>
        </p:spPr>
        <p:txBody>
          <a:bodyPr tIns="72000"/>
          <a:lstStyle>
            <a:lvl1pPr marL="431989" indent="-239994">
              <a:lnSpc>
                <a:spcPct val="100000"/>
              </a:lnSpc>
              <a:spcBef>
                <a:spcPts val="400"/>
              </a:spcBef>
              <a:buClr>
                <a:schemeClr val="accent3"/>
              </a:buClr>
              <a:buFont typeface="Arial" pitchFamily="34" charset="0"/>
              <a:buChar char="•"/>
              <a:defRPr sz="2400">
                <a:solidFill>
                  <a:schemeClr val="tx1"/>
                </a:solidFill>
              </a:defRPr>
            </a:lvl1pPr>
            <a:lvl2pPr marL="671983">
              <a:buClr>
                <a:schemeClr val="tx1"/>
              </a:buClr>
              <a:defRPr sz="2133" b="0"/>
            </a:lvl2pPr>
            <a:lvl3pPr indent="0">
              <a:buNone/>
              <a:defRPr/>
            </a:lvl3pPr>
            <a:lvl4pPr marL="911977" indent="-239994">
              <a:buClr>
                <a:schemeClr val="tx1"/>
              </a:buClr>
              <a:buFont typeface="Arial" pitchFamily="34" charset="0"/>
              <a:buChar char="•"/>
              <a:defRPr sz="1867"/>
            </a:lvl4pPr>
          </a:lstStyle>
          <a:p>
            <a:pPr lvl="0"/>
            <a:r>
              <a:rPr lang="en-GB" noProof="0"/>
              <a:t>Text level 2</a:t>
            </a:r>
          </a:p>
          <a:p>
            <a:pPr lvl="1"/>
            <a:r>
              <a:rPr lang="en-GB" noProof="0"/>
              <a:t>Text level 3</a:t>
            </a:r>
          </a:p>
          <a:p>
            <a:pPr lvl="2"/>
            <a:r>
              <a:rPr lang="en-GB" noProof="0"/>
              <a:t>Text level 4</a:t>
            </a:r>
          </a:p>
          <a:p>
            <a:pPr lvl="3"/>
            <a:r>
              <a:rPr lang="en-GB" noProof="0"/>
              <a:t>Text level 5</a:t>
            </a:r>
          </a:p>
        </p:txBody>
      </p:sp>
      <p:sp>
        <p:nvSpPr>
          <p:cNvPr id="23" name="Espace réservé du texte 9"/>
          <p:cNvSpPr>
            <a:spLocks noGrp="1"/>
          </p:cNvSpPr>
          <p:nvPr>
            <p:ph type="body" sz="quarter" idx="21" hasCustomPrompt="1"/>
          </p:nvPr>
        </p:nvSpPr>
        <p:spPr bwMode="gray">
          <a:xfrm>
            <a:off x="6096000" y="2638824"/>
            <a:ext cx="4896000" cy="324000"/>
          </a:xfrm>
          <a:solidFill>
            <a:schemeClr val="accent2"/>
          </a:solidFill>
          <a:ln w="9525">
            <a:solidFill>
              <a:schemeClr val="accent2"/>
            </a:solidFill>
          </a:ln>
        </p:spPr>
        <p:txBody>
          <a:bodyPr anchor="ctr" anchorCtr="0"/>
          <a:lstStyle>
            <a:lvl1pPr algn="ctr">
              <a:lnSpc>
                <a:spcPct val="100000"/>
              </a:lnSpc>
              <a:defRPr>
                <a:solidFill>
                  <a:schemeClr val="bg1"/>
                </a:solidFill>
              </a:defRPr>
            </a:lvl1pPr>
          </a:lstStyle>
          <a:p>
            <a:pPr lvl="0"/>
            <a:r>
              <a:rPr lang="en-GB" noProof="0"/>
              <a:t>Text level 1</a:t>
            </a:r>
          </a:p>
        </p:txBody>
      </p:sp>
      <p:sp>
        <p:nvSpPr>
          <p:cNvPr id="24" name="Espace réservé du texte 9"/>
          <p:cNvSpPr>
            <a:spLocks noGrp="1"/>
          </p:cNvSpPr>
          <p:nvPr>
            <p:ph type="body" sz="quarter" idx="22" hasCustomPrompt="1"/>
          </p:nvPr>
        </p:nvSpPr>
        <p:spPr bwMode="gray">
          <a:xfrm>
            <a:off x="6096000" y="2962824"/>
            <a:ext cx="4896000" cy="2352000"/>
          </a:xfrm>
          <a:ln w="9525">
            <a:solidFill>
              <a:schemeClr val="accent2"/>
            </a:solidFill>
          </a:ln>
        </p:spPr>
        <p:txBody>
          <a:bodyPr tIns="72000"/>
          <a:lstStyle>
            <a:lvl1pPr marL="431989" indent="-239994">
              <a:lnSpc>
                <a:spcPct val="100000"/>
              </a:lnSpc>
              <a:spcBef>
                <a:spcPts val="400"/>
              </a:spcBef>
              <a:buClr>
                <a:schemeClr val="accent3"/>
              </a:buClr>
              <a:buFont typeface="Arial" pitchFamily="34" charset="0"/>
              <a:buChar char="•"/>
              <a:defRPr sz="2400">
                <a:solidFill>
                  <a:schemeClr val="tx1"/>
                </a:solidFill>
              </a:defRPr>
            </a:lvl1pPr>
            <a:lvl2pPr marL="671983">
              <a:buClr>
                <a:schemeClr val="tx1"/>
              </a:buClr>
              <a:defRPr sz="2133" b="0"/>
            </a:lvl2pPr>
            <a:lvl3pPr indent="0">
              <a:buNone/>
              <a:defRPr/>
            </a:lvl3pPr>
            <a:lvl4pPr marL="911977" indent="-239994">
              <a:buClr>
                <a:schemeClr val="tx1"/>
              </a:buClr>
              <a:buFont typeface="Arial" pitchFamily="34" charset="0"/>
              <a:buChar char="•"/>
              <a:defRPr sz="1867"/>
            </a:lvl4pPr>
          </a:lstStyle>
          <a:p>
            <a:pPr lvl="0"/>
            <a:r>
              <a:rPr lang="en-GB" noProof="0"/>
              <a:t>Text level 2</a:t>
            </a:r>
          </a:p>
          <a:p>
            <a:pPr lvl="1"/>
            <a:r>
              <a:rPr lang="en-GB" noProof="0"/>
              <a:t>Text level 3</a:t>
            </a:r>
          </a:p>
          <a:p>
            <a:pPr lvl="2"/>
            <a:r>
              <a:rPr lang="en-GB" noProof="0"/>
              <a:t>Text level 4</a:t>
            </a:r>
          </a:p>
          <a:p>
            <a:pPr lvl="3"/>
            <a:r>
              <a:rPr lang="en-GB" noProof="0"/>
              <a:t>Text level 5</a:t>
            </a:r>
          </a:p>
        </p:txBody>
      </p:sp>
    </p:spTree>
    <p:extLst>
      <p:ext uri="{BB962C8B-B14F-4D97-AF65-F5344CB8AC3E}">
        <p14:creationId xmlns:p14="http://schemas.microsoft.com/office/powerpoint/2010/main" val="1885678703"/>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4_Blocks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9" name="Espace réservé du numéro de diapositive 8"/>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a:p>
        </p:txBody>
      </p:sp>
      <p:pic>
        <p:nvPicPr>
          <p:cNvPr id="10" name="table"/>
          <p:cNvPicPr>
            <a:picLocks noChangeAspect="1"/>
          </p:cNvPicPr>
          <p:nvPr userDrawn="1"/>
        </p:nvPicPr>
        <p:blipFill>
          <a:blip r:embed="rId2"/>
          <a:stretch>
            <a:fillRect/>
          </a:stretch>
        </p:blipFill>
        <p:spPr>
          <a:xfrm>
            <a:off x="1192419" y="1653712"/>
            <a:ext cx="4465240" cy="1788160"/>
          </a:xfrm>
          <a:prstGeom prst="rect">
            <a:avLst/>
          </a:prstGeom>
        </p:spPr>
      </p:pic>
      <p:pic>
        <p:nvPicPr>
          <p:cNvPr id="12" name="table"/>
          <p:cNvPicPr>
            <a:picLocks noChangeAspect="1"/>
          </p:cNvPicPr>
          <p:nvPr userDrawn="1"/>
        </p:nvPicPr>
        <p:blipFill>
          <a:blip r:embed="rId3"/>
          <a:stretch>
            <a:fillRect/>
          </a:stretch>
        </p:blipFill>
        <p:spPr>
          <a:xfrm>
            <a:off x="6534343" y="1653712"/>
            <a:ext cx="4465240" cy="1788160"/>
          </a:xfrm>
          <a:prstGeom prst="rect">
            <a:avLst/>
          </a:prstGeom>
        </p:spPr>
      </p:pic>
      <p:pic>
        <p:nvPicPr>
          <p:cNvPr id="13" name="table"/>
          <p:cNvPicPr>
            <a:picLocks noChangeAspect="1"/>
          </p:cNvPicPr>
          <p:nvPr userDrawn="1"/>
        </p:nvPicPr>
        <p:blipFill>
          <a:blip r:embed="rId4"/>
          <a:stretch>
            <a:fillRect/>
          </a:stretch>
        </p:blipFill>
        <p:spPr>
          <a:xfrm>
            <a:off x="1192419" y="3813043"/>
            <a:ext cx="4465240" cy="1788160"/>
          </a:xfrm>
          <a:prstGeom prst="rect">
            <a:avLst/>
          </a:prstGeom>
        </p:spPr>
      </p:pic>
      <p:pic>
        <p:nvPicPr>
          <p:cNvPr id="14" name="table"/>
          <p:cNvPicPr>
            <a:picLocks noChangeAspect="1"/>
          </p:cNvPicPr>
          <p:nvPr userDrawn="1"/>
        </p:nvPicPr>
        <p:blipFill>
          <a:blip r:embed="rId5"/>
          <a:stretch>
            <a:fillRect/>
          </a:stretch>
        </p:blipFill>
        <p:spPr>
          <a:xfrm>
            <a:off x="6534343" y="3813043"/>
            <a:ext cx="4465240" cy="1788160"/>
          </a:xfrm>
          <a:prstGeom prst="rect">
            <a:avLst/>
          </a:prstGeom>
        </p:spPr>
      </p:pic>
    </p:spTree>
    <p:extLst>
      <p:ext uri="{BB962C8B-B14F-4D97-AF65-F5344CB8AC3E}">
        <p14:creationId xmlns:p14="http://schemas.microsoft.com/office/powerpoint/2010/main" val="281913234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73352"/>
            <a:ext cx="5384800" cy="471830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73352"/>
            <a:ext cx="5384800" cy="471830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1469CF41-3177-4CB2-91B8-B70D7F9619F5}" type="slidenum">
              <a:rPr lang="en-GB" smtClean="0"/>
              <a:t>‹#›</a:t>
            </a:fld>
            <a:endParaRPr lang="en-GB"/>
          </a:p>
        </p:txBody>
      </p:sp>
    </p:spTree>
    <p:extLst>
      <p:ext uri="{BB962C8B-B14F-4D97-AF65-F5344CB8AC3E}">
        <p14:creationId xmlns:p14="http://schemas.microsoft.com/office/powerpoint/2010/main" val="4203406807"/>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2_Blocks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9" name="Espace réservé du numéro de diapositive 8"/>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a:p>
        </p:txBody>
      </p:sp>
      <p:sp>
        <p:nvSpPr>
          <p:cNvPr id="21" name="Espace réservé du texte 9"/>
          <p:cNvSpPr>
            <a:spLocks noGrp="1"/>
          </p:cNvSpPr>
          <p:nvPr>
            <p:ph type="body" sz="quarter" idx="19" hasCustomPrompt="1"/>
          </p:nvPr>
        </p:nvSpPr>
        <p:spPr bwMode="gray">
          <a:xfrm>
            <a:off x="672000" y="1651200"/>
            <a:ext cx="4896000" cy="335715"/>
          </a:xfrm>
          <a:solidFill>
            <a:schemeClr val="accent2"/>
          </a:solidFill>
          <a:ln w="9525">
            <a:solidFill>
              <a:schemeClr val="bg2"/>
            </a:solidFill>
          </a:ln>
        </p:spPr>
        <p:txBody>
          <a:bodyPr anchor="ctr" anchorCtr="0"/>
          <a:lstStyle>
            <a:lvl1pPr algn="ctr">
              <a:lnSpc>
                <a:spcPct val="100000"/>
              </a:lnSpc>
              <a:defRPr>
                <a:solidFill>
                  <a:schemeClr val="bg1"/>
                </a:solidFill>
              </a:defRPr>
            </a:lvl1pPr>
          </a:lstStyle>
          <a:p>
            <a:pPr lvl="0"/>
            <a:r>
              <a:rPr lang="en-GB" noProof="0"/>
              <a:t>Text level 1</a:t>
            </a:r>
          </a:p>
        </p:txBody>
      </p:sp>
      <p:sp>
        <p:nvSpPr>
          <p:cNvPr id="22" name="Espace réservé du texte 9"/>
          <p:cNvSpPr>
            <a:spLocks noGrp="1"/>
          </p:cNvSpPr>
          <p:nvPr>
            <p:ph type="body" sz="quarter" idx="20" hasCustomPrompt="1"/>
          </p:nvPr>
        </p:nvSpPr>
        <p:spPr bwMode="gray">
          <a:xfrm>
            <a:off x="672000" y="1985432"/>
            <a:ext cx="4896000" cy="3561600"/>
          </a:xfrm>
          <a:ln w="9525">
            <a:solidFill>
              <a:schemeClr val="bg2"/>
            </a:solidFill>
          </a:ln>
        </p:spPr>
        <p:txBody>
          <a:bodyPr tIns="72000"/>
          <a:lstStyle>
            <a:lvl1pPr marL="431989" indent="-239994">
              <a:lnSpc>
                <a:spcPct val="100000"/>
              </a:lnSpc>
              <a:spcBef>
                <a:spcPts val="400"/>
              </a:spcBef>
              <a:buClr>
                <a:schemeClr val="accent3"/>
              </a:buClr>
              <a:buFont typeface="Arial" pitchFamily="34" charset="0"/>
              <a:buChar char="•"/>
              <a:defRPr sz="2400">
                <a:solidFill>
                  <a:schemeClr val="tx1"/>
                </a:solidFill>
              </a:defRPr>
            </a:lvl1pPr>
            <a:lvl2pPr marL="671983">
              <a:buClr>
                <a:schemeClr val="tx1"/>
              </a:buClr>
              <a:defRPr sz="2133" b="0"/>
            </a:lvl2pPr>
            <a:lvl3pPr indent="0">
              <a:buNone/>
              <a:defRPr/>
            </a:lvl3pPr>
            <a:lvl4pPr marL="911977" indent="-239994">
              <a:buClr>
                <a:schemeClr val="tx1"/>
              </a:buClr>
              <a:buFont typeface="Arial" pitchFamily="34" charset="0"/>
              <a:buChar char="•"/>
              <a:defRPr sz="1867"/>
            </a:lvl4pPr>
          </a:lstStyle>
          <a:p>
            <a:pPr lvl="0"/>
            <a:r>
              <a:rPr lang="en-GB" noProof="0"/>
              <a:t>Text level 2</a:t>
            </a:r>
          </a:p>
          <a:p>
            <a:pPr lvl="1"/>
            <a:r>
              <a:rPr lang="en-GB" noProof="0"/>
              <a:t>Text level 3</a:t>
            </a:r>
          </a:p>
          <a:p>
            <a:pPr lvl="2"/>
            <a:r>
              <a:rPr lang="en-GB" noProof="0"/>
              <a:t>Text level 4</a:t>
            </a:r>
          </a:p>
          <a:p>
            <a:pPr lvl="3"/>
            <a:r>
              <a:rPr lang="en-GB" noProof="0"/>
              <a:t>Text level 5</a:t>
            </a:r>
          </a:p>
        </p:txBody>
      </p:sp>
      <p:sp>
        <p:nvSpPr>
          <p:cNvPr id="23" name="Espace réservé du texte 9"/>
          <p:cNvSpPr>
            <a:spLocks noGrp="1"/>
          </p:cNvSpPr>
          <p:nvPr>
            <p:ph type="body" sz="quarter" idx="21" hasCustomPrompt="1"/>
          </p:nvPr>
        </p:nvSpPr>
        <p:spPr bwMode="gray">
          <a:xfrm>
            <a:off x="6096795" y="1651200"/>
            <a:ext cx="4896000" cy="335715"/>
          </a:xfrm>
          <a:solidFill>
            <a:schemeClr val="accent2"/>
          </a:solidFill>
          <a:ln w="9525">
            <a:solidFill>
              <a:schemeClr val="bg2"/>
            </a:solidFill>
          </a:ln>
        </p:spPr>
        <p:txBody>
          <a:bodyPr anchor="ctr" anchorCtr="0"/>
          <a:lstStyle>
            <a:lvl1pPr algn="ctr">
              <a:lnSpc>
                <a:spcPct val="100000"/>
              </a:lnSpc>
              <a:defRPr>
                <a:solidFill>
                  <a:schemeClr val="bg1"/>
                </a:solidFill>
              </a:defRPr>
            </a:lvl1pPr>
          </a:lstStyle>
          <a:p>
            <a:pPr lvl="0"/>
            <a:r>
              <a:rPr lang="en-GB" noProof="0"/>
              <a:t>Text level 1</a:t>
            </a:r>
          </a:p>
        </p:txBody>
      </p:sp>
      <p:sp>
        <p:nvSpPr>
          <p:cNvPr id="24" name="Espace réservé du texte 9"/>
          <p:cNvSpPr>
            <a:spLocks noGrp="1"/>
          </p:cNvSpPr>
          <p:nvPr>
            <p:ph type="body" sz="quarter" idx="22" hasCustomPrompt="1"/>
          </p:nvPr>
        </p:nvSpPr>
        <p:spPr bwMode="gray">
          <a:xfrm>
            <a:off x="6096795" y="1985432"/>
            <a:ext cx="4896000" cy="3561600"/>
          </a:xfrm>
          <a:ln w="9525">
            <a:solidFill>
              <a:schemeClr val="bg2"/>
            </a:solidFill>
          </a:ln>
        </p:spPr>
        <p:txBody>
          <a:bodyPr tIns="72000"/>
          <a:lstStyle>
            <a:lvl1pPr marL="431989" indent="-239994">
              <a:lnSpc>
                <a:spcPct val="100000"/>
              </a:lnSpc>
              <a:spcBef>
                <a:spcPts val="400"/>
              </a:spcBef>
              <a:buClr>
                <a:schemeClr val="accent3"/>
              </a:buClr>
              <a:buFont typeface="Arial" pitchFamily="34" charset="0"/>
              <a:buChar char="•"/>
              <a:defRPr sz="2400">
                <a:solidFill>
                  <a:schemeClr val="tx1"/>
                </a:solidFill>
              </a:defRPr>
            </a:lvl1pPr>
            <a:lvl2pPr marL="671983">
              <a:buClr>
                <a:schemeClr val="tx1"/>
              </a:buClr>
              <a:defRPr sz="2133" b="0"/>
            </a:lvl2pPr>
            <a:lvl3pPr indent="0">
              <a:buNone/>
              <a:defRPr/>
            </a:lvl3pPr>
            <a:lvl4pPr marL="911977" indent="-239994">
              <a:buClr>
                <a:schemeClr val="tx1"/>
              </a:buClr>
              <a:buFont typeface="Arial" pitchFamily="34" charset="0"/>
              <a:buChar char="•"/>
              <a:defRPr sz="1867"/>
            </a:lvl4pPr>
          </a:lstStyle>
          <a:p>
            <a:pPr lvl="0"/>
            <a:r>
              <a:rPr lang="en-GB" noProof="0"/>
              <a:t>Text level 2</a:t>
            </a:r>
          </a:p>
          <a:p>
            <a:pPr lvl="1"/>
            <a:r>
              <a:rPr lang="en-GB" noProof="0"/>
              <a:t>Text level 3</a:t>
            </a:r>
          </a:p>
          <a:p>
            <a:pPr lvl="2"/>
            <a:r>
              <a:rPr lang="en-GB" noProof="0"/>
              <a:t>Text level 4</a:t>
            </a:r>
          </a:p>
          <a:p>
            <a:pPr lvl="3"/>
            <a:r>
              <a:rPr lang="en-GB" noProof="0"/>
              <a:t>Text level 5</a:t>
            </a:r>
          </a:p>
        </p:txBody>
      </p:sp>
    </p:spTree>
    <p:extLst>
      <p:ext uri="{BB962C8B-B14F-4D97-AF65-F5344CB8AC3E}">
        <p14:creationId xmlns:p14="http://schemas.microsoft.com/office/powerpoint/2010/main" val="3983758089"/>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hank_you_2">
    <p:spTree>
      <p:nvGrpSpPr>
        <p:cNvPr id="1" name=""/>
        <p:cNvGrpSpPr/>
        <p:nvPr/>
      </p:nvGrpSpPr>
      <p:grpSpPr>
        <a:xfrm>
          <a:off x="0" y="0"/>
          <a:ext cx="0" cy="0"/>
          <a:chOff x="0" y="0"/>
          <a:chExt cx="0" cy="0"/>
        </a:xfrm>
      </p:grpSpPr>
      <p:pic>
        <p:nvPicPr>
          <p:cNvPr id="18" name="Image 17" descr="Image_03.jpg"/>
          <p:cNvPicPr>
            <a:picLocks noChangeAspect="1"/>
          </p:cNvPicPr>
          <p:nvPr userDrawn="1"/>
        </p:nvPicPr>
        <p:blipFill>
          <a:blip r:embed="rId2" cstate="print"/>
          <a:stretch>
            <a:fillRect/>
          </a:stretch>
        </p:blipFill>
        <p:spPr bwMode="gray">
          <a:xfrm>
            <a:off x="6620071" y="-16850"/>
            <a:ext cx="5591179" cy="5712068"/>
          </a:xfrm>
          <a:prstGeom prst="rect">
            <a:avLst/>
          </a:prstGeom>
        </p:spPr>
      </p:pic>
      <p:sp>
        <p:nvSpPr>
          <p:cNvPr id="13" name="Forme libre 12"/>
          <p:cNvSpPr/>
          <p:nvPr userDrawn="1"/>
        </p:nvSpPr>
        <p:spPr>
          <a:xfrm>
            <a:off x="3" y="0"/>
            <a:ext cx="9394668" cy="5160000"/>
          </a:xfrm>
          <a:custGeom>
            <a:avLst/>
            <a:gdLst>
              <a:gd name="connsiteX0" fmla="*/ 0 w 7046001"/>
              <a:gd name="connsiteY0" fmla="*/ 0 h 3870000"/>
              <a:gd name="connsiteX1" fmla="*/ 7046001 w 7046001"/>
              <a:gd name="connsiteY1" fmla="*/ 0 h 3870000"/>
              <a:gd name="connsiteX2" fmla="*/ 5146256 w 7046001"/>
              <a:gd name="connsiteY2" fmla="*/ 3580448 h 3870000"/>
              <a:gd name="connsiteX3" fmla="*/ 5116340 w 7046001"/>
              <a:gd name="connsiteY3" fmla="*/ 3870000 h 3870000"/>
              <a:gd name="connsiteX4" fmla="*/ 0 w 7046001"/>
              <a:gd name="connsiteY4" fmla="*/ 3870000 h 387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46001" h="3870000">
                <a:moveTo>
                  <a:pt x="0" y="0"/>
                </a:moveTo>
                <a:lnTo>
                  <a:pt x="7046001" y="0"/>
                </a:lnTo>
                <a:cubicBezTo>
                  <a:pt x="7040718" y="945283"/>
                  <a:pt x="5396983" y="2115735"/>
                  <a:pt x="5146256" y="3580448"/>
                </a:cubicBezTo>
                <a:lnTo>
                  <a:pt x="5116340" y="3870000"/>
                </a:lnTo>
                <a:lnTo>
                  <a:pt x="0" y="3870000"/>
                </a:lnTo>
                <a:close/>
              </a:path>
            </a:pathLst>
          </a:custGeom>
          <a:blipFill>
            <a:blip r:embed="rId3"/>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22" name="Rectangle 21"/>
          <p:cNvSpPr/>
          <p:nvPr userDrawn="1"/>
        </p:nvSpPr>
        <p:spPr bwMode="gray">
          <a:xfrm>
            <a:off x="4847169" y="5265205"/>
            <a:ext cx="7344833" cy="15927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sp>
        <p:nvSpPr>
          <p:cNvPr id="9" name="Espace réservé du texte 8"/>
          <p:cNvSpPr>
            <a:spLocks noGrp="1"/>
          </p:cNvSpPr>
          <p:nvPr>
            <p:ph type="body" sz="quarter" idx="13" hasCustomPrompt="1"/>
          </p:nvPr>
        </p:nvSpPr>
        <p:spPr bwMode="gray">
          <a:xfrm>
            <a:off x="672000" y="974400"/>
            <a:ext cx="6384000" cy="2232000"/>
          </a:xfrm>
        </p:spPr>
        <p:txBody>
          <a:bodyPr anchor="b" anchorCtr="0"/>
          <a:lstStyle>
            <a:lvl1pPr marL="0" indent="0" algn="l">
              <a:lnSpc>
                <a:spcPct val="90000"/>
              </a:lnSpc>
              <a:buNone/>
              <a:defRPr sz="3733" b="1" cap="none" baseline="0">
                <a:solidFill>
                  <a:schemeClr val="bg1"/>
                </a:solidFill>
              </a:defRPr>
            </a:lvl1pPr>
            <a:lvl2pPr marL="0" algn="ctr">
              <a:lnSpc>
                <a:spcPct val="100000"/>
              </a:lnSpc>
              <a:spcBef>
                <a:spcPts val="9200"/>
              </a:spcBef>
              <a:defRPr sz="2667" b="1">
                <a:solidFill>
                  <a:schemeClr val="bg1"/>
                </a:solidFill>
              </a:defRPr>
            </a:lvl2pPr>
          </a:lstStyle>
          <a:p>
            <a:pPr lvl="0"/>
            <a:r>
              <a:rPr lang="en-GB" noProof="0"/>
              <a:t>THANK YOU</a:t>
            </a:r>
          </a:p>
        </p:txBody>
      </p:sp>
      <p:sp>
        <p:nvSpPr>
          <p:cNvPr id="11" name="Espace réservé du numéro de diapositive 10"/>
          <p:cNvSpPr>
            <a:spLocks noGrp="1"/>
          </p:cNvSpPr>
          <p:nvPr>
            <p:ph type="sldNum" sz="quarter" idx="16"/>
          </p:nvPr>
        </p:nvSpPr>
        <p:spPr bwMode="gray"/>
        <p:txBody>
          <a:bodyPr/>
          <a:lstStyle>
            <a:lvl1pPr>
              <a:defRPr sz="133">
                <a:solidFill>
                  <a:schemeClr val="bg1">
                    <a:alpha val="0"/>
                  </a:schemeClr>
                </a:solidFill>
              </a:defRPr>
            </a:lvl1pPr>
          </a:lstStyle>
          <a:p>
            <a:pPr algn="l"/>
            <a:r>
              <a:rPr lang="en-GB" noProof="0"/>
              <a:t>Page: </a:t>
            </a:r>
            <a:fld id="{733122C9-A0B9-462F-8757-0847AD287B63}" type="slidenum">
              <a:rPr lang="en-GB" noProof="0" smtClean="0"/>
              <a:pPr algn="l"/>
              <a:t>‹#›</a:t>
            </a:fld>
            <a:endParaRPr lang="en-GB" noProof="0"/>
          </a:p>
        </p:txBody>
      </p:sp>
      <p:sp>
        <p:nvSpPr>
          <p:cNvPr id="15" name="Espace réservé du texte 14"/>
          <p:cNvSpPr>
            <a:spLocks noGrp="1"/>
          </p:cNvSpPr>
          <p:nvPr>
            <p:ph type="body" sz="quarter" idx="19" hasCustomPrompt="1"/>
          </p:nvPr>
        </p:nvSpPr>
        <p:spPr bwMode="gray">
          <a:xfrm>
            <a:off x="5592000" y="5899200"/>
            <a:ext cx="5884800" cy="324000"/>
          </a:xfrm>
        </p:spPr>
        <p:txBody>
          <a:bodyPr anchor="b" anchorCtr="0"/>
          <a:lstStyle>
            <a:lvl1pPr algn="r">
              <a:lnSpc>
                <a:spcPct val="100000"/>
              </a:lnSpc>
              <a:defRPr sz="1200" b="1">
                <a:solidFill>
                  <a:schemeClr val="accent2"/>
                </a:solidFill>
              </a:defRPr>
            </a:lvl1pPr>
          </a:lstStyle>
          <a:p>
            <a:r>
              <a:rPr lang="fr-FR" err="1"/>
              <a:t>Reach</a:t>
            </a:r>
            <a:r>
              <a:rPr lang="fr-FR"/>
              <a:t> </a:t>
            </a:r>
            <a:r>
              <a:rPr lang="fr-FR" err="1"/>
              <a:t>every</a:t>
            </a:r>
            <a:r>
              <a:rPr lang="fr-FR"/>
              <a:t> </a:t>
            </a:r>
            <a:r>
              <a:rPr lang="fr-FR" err="1"/>
              <a:t>child</a:t>
            </a:r>
            <a:endParaRPr lang="fr-FR"/>
          </a:p>
        </p:txBody>
      </p:sp>
      <p:sp>
        <p:nvSpPr>
          <p:cNvPr id="16" name="Rectangle 15"/>
          <p:cNvSpPr/>
          <p:nvPr userDrawn="1"/>
        </p:nvSpPr>
        <p:spPr bwMode="gray">
          <a:xfrm>
            <a:off x="5592000" y="6283200"/>
            <a:ext cx="5884800" cy="287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r>
              <a:rPr lang="en-GB" sz="1200" noProof="0">
                <a:solidFill>
                  <a:schemeClr val="accent3"/>
                </a:solidFill>
              </a:rPr>
              <a:t>www.gavi.org</a:t>
            </a:r>
          </a:p>
        </p:txBody>
      </p:sp>
      <p:sp>
        <p:nvSpPr>
          <p:cNvPr id="19" name="Rectangle 18"/>
          <p:cNvSpPr/>
          <p:nvPr userDrawn="1"/>
        </p:nvSpPr>
        <p:spPr bwMode="gray">
          <a:xfrm>
            <a:off x="672000" y="3393600"/>
            <a:ext cx="2337600" cy="25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sp>
        <p:nvSpPr>
          <p:cNvPr id="17" name="Espace réservé du texte 16"/>
          <p:cNvSpPr>
            <a:spLocks noGrp="1"/>
          </p:cNvSpPr>
          <p:nvPr>
            <p:ph type="body" sz="quarter" idx="20" hasCustomPrompt="1"/>
          </p:nvPr>
        </p:nvSpPr>
        <p:spPr bwMode="gray">
          <a:xfrm>
            <a:off x="0" y="5157789"/>
            <a:ext cx="12192000" cy="287337"/>
          </a:xfrm>
          <a:solidFill>
            <a:schemeClr val="bg1"/>
          </a:solidFill>
        </p:spPr>
        <p:txBody>
          <a:bodyPr/>
          <a:lstStyle>
            <a:lvl1pPr>
              <a:defRPr sz="133" b="0">
                <a:solidFill>
                  <a:schemeClr val="bg1">
                    <a:alpha val="0"/>
                  </a:schemeClr>
                </a:solidFill>
              </a:defRPr>
            </a:lvl1pPr>
          </a:lstStyle>
          <a:p>
            <a:pPr lvl="0"/>
            <a:r>
              <a:rPr lang="en-GB" noProof="0"/>
              <a:t> </a:t>
            </a:r>
          </a:p>
        </p:txBody>
      </p:sp>
    </p:spTree>
    <p:extLst>
      <p:ext uri="{BB962C8B-B14F-4D97-AF65-F5344CB8AC3E}">
        <p14:creationId xmlns:p14="http://schemas.microsoft.com/office/powerpoint/2010/main" val="3902681337"/>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hank_you_picture_2">
    <p:spTree>
      <p:nvGrpSpPr>
        <p:cNvPr id="1" name=""/>
        <p:cNvGrpSpPr/>
        <p:nvPr/>
      </p:nvGrpSpPr>
      <p:grpSpPr>
        <a:xfrm>
          <a:off x="0" y="0"/>
          <a:ext cx="0" cy="0"/>
          <a:chOff x="0" y="0"/>
          <a:chExt cx="0" cy="0"/>
        </a:xfrm>
      </p:grpSpPr>
      <p:pic>
        <p:nvPicPr>
          <p:cNvPr id="13" name="Imag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5161280"/>
          </a:xfrm>
          <a:prstGeom prst="rect">
            <a:avLst/>
          </a:prstGeom>
        </p:spPr>
      </p:pic>
      <p:sp>
        <p:nvSpPr>
          <p:cNvPr id="20" name="Espace réservé pour une image  25"/>
          <p:cNvSpPr>
            <a:spLocks noGrp="1"/>
          </p:cNvSpPr>
          <p:nvPr>
            <p:ph type="pic" sz="quarter" idx="10" hasCustomPrompt="1"/>
          </p:nvPr>
        </p:nvSpPr>
        <p:spPr>
          <a:xfrm>
            <a:off x="6821913" y="0"/>
            <a:ext cx="5370089" cy="5158800"/>
          </a:xfrm>
          <a:custGeom>
            <a:avLst/>
            <a:gdLst>
              <a:gd name="connsiteX0" fmla="*/ 1929568 w 4027567"/>
              <a:gd name="connsiteY0" fmla="*/ 0 h 3869100"/>
              <a:gd name="connsiteX1" fmla="*/ 4027567 w 4027567"/>
              <a:gd name="connsiteY1" fmla="*/ 0 h 3869100"/>
              <a:gd name="connsiteX2" fmla="*/ 4027567 w 4027567"/>
              <a:gd name="connsiteY2" fmla="*/ 3869100 h 3869100"/>
              <a:gd name="connsiteX3" fmla="*/ 0 w 4027567"/>
              <a:gd name="connsiteY3" fmla="*/ 3869100 h 3869100"/>
              <a:gd name="connsiteX4" fmla="*/ 29823 w 4027567"/>
              <a:gd name="connsiteY4" fmla="*/ 3580448 h 3869100"/>
              <a:gd name="connsiteX5" fmla="*/ 1929568 w 4027567"/>
              <a:gd name="connsiteY5" fmla="*/ 0 h 3869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27567" h="3869100">
                <a:moveTo>
                  <a:pt x="1929568" y="0"/>
                </a:moveTo>
                <a:lnTo>
                  <a:pt x="4027567" y="0"/>
                </a:lnTo>
                <a:lnTo>
                  <a:pt x="4027567" y="3869100"/>
                </a:lnTo>
                <a:lnTo>
                  <a:pt x="0" y="3869100"/>
                </a:lnTo>
                <a:lnTo>
                  <a:pt x="29823" y="3580448"/>
                </a:lnTo>
                <a:cubicBezTo>
                  <a:pt x="280550" y="2115735"/>
                  <a:pt x="1924285" y="945283"/>
                  <a:pt x="1929568" y="0"/>
                </a:cubicBezTo>
                <a:close/>
              </a:path>
            </a:pathLst>
          </a:custGeom>
          <a:solidFill>
            <a:schemeClr val="bg2"/>
          </a:solidFill>
        </p:spPr>
        <p:txBody>
          <a:bodyPr wrap="square" tIns="720000" anchor="ctr" anchorCtr="0">
            <a:noAutofit/>
          </a:bodyPr>
          <a:lstStyle>
            <a:lvl1pPr marL="0" marR="0" indent="0" algn="ctr" defTabSz="1219170" rtl="0" eaLnBrk="1" fontAlgn="auto" latinLnBrk="0" hangingPunct="1">
              <a:lnSpc>
                <a:spcPct val="110000"/>
              </a:lnSpc>
              <a:spcBef>
                <a:spcPts val="0"/>
              </a:spcBef>
              <a:spcAft>
                <a:spcPts val="0"/>
              </a:spcAft>
              <a:buClrTx/>
              <a:buSzTx/>
              <a:buFont typeface="Arial" pitchFamily="34" charset="0"/>
              <a:buNone/>
              <a:tabLst/>
              <a:defRPr sz="2000">
                <a:solidFill>
                  <a:schemeClr val="bg1"/>
                </a:solidFill>
              </a:defRPr>
            </a:lvl1pPr>
          </a:lstStyle>
          <a:p>
            <a:r>
              <a:rPr lang="en-GB" noProof="0"/>
              <a:t>Select your own photo</a:t>
            </a:r>
          </a:p>
        </p:txBody>
      </p:sp>
      <p:sp>
        <p:nvSpPr>
          <p:cNvPr id="22" name="Rectangle 21"/>
          <p:cNvSpPr/>
          <p:nvPr userDrawn="1"/>
        </p:nvSpPr>
        <p:spPr bwMode="gray">
          <a:xfrm>
            <a:off x="4847169" y="5265205"/>
            <a:ext cx="7344833" cy="15927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sp>
        <p:nvSpPr>
          <p:cNvPr id="9" name="Espace réservé du texte 8"/>
          <p:cNvSpPr>
            <a:spLocks noGrp="1"/>
          </p:cNvSpPr>
          <p:nvPr>
            <p:ph type="body" sz="quarter" idx="13" hasCustomPrompt="1"/>
          </p:nvPr>
        </p:nvSpPr>
        <p:spPr bwMode="gray">
          <a:xfrm>
            <a:off x="672000" y="974400"/>
            <a:ext cx="6384000" cy="2232000"/>
          </a:xfrm>
        </p:spPr>
        <p:txBody>
          <a:bodyPr anchor="b" anchorCtr="0"/>
          <a:lstStyle>
            <a:lvl1pPr marL="0" indent="0" algn="l">
              <a:lnSpc>
                <a:spcPct val="90000"/>
              </a:lnSpc>
              <a:buNone/>
              <a:defRPr sz="3733" b="1" cap="none" baseline="0">
                <a:solidFill>
                  <a:schemeClr val="bg1"/>
                </a:solidFill>
              </a:defRPr>
            </a:lvl1pPr>
            <a:lvl2pPr marL="0" algn="ctr">
              <a:lnSpc>
                <a:spcPct val="100000"/>
              </a:lnSpc>
              <a:spcBef>
                <a:spcPts val="9200"/>
              </a:spcBef>
              <a:defRPr sz="2667" b="1">
                <a:solidFill>
                  <a:schemeClr val="bg1"/>
                </a:solidFill>
              </a:defRPr>
            </a:lvl2pPr>
          </a:lstStyle>
          <a:p>
            <a:pPr lvl="0"/>
            <a:r>
              <a:rPr lang="en-GB" noProof="0"/>
              <a:t>THANK YOU</a:t>
            </a:r>
          </a:p>
        </p:txBody>
      </p:sp>
      <p:sp>
        <p:nvSpPr>
          <p:cNvPr id="11" name="Espace réservé du numéro de diapositive 10"/>
          <p:cNvSpPr>
            <a:spLocks noGrp="1"/>
          </p:cNvSpPr>
          <p:nvPr>
            <p:ph type="sldNum" sz="quarter" idx="16"/>
          </p:nvPr>
        </p:nvSpPr>
        <p:spPr bwMode="gray"/>
        <p:txBody>
          <a:bodyPr/>
          <a:lstStyle>
            <a:lvl1pPr>
              <a:defRPr sz="133">
                <a:solidFill>
                  <a:schemeClr val="bg1">
                    <a:alpha val="0"/>
                  </a:schemeClr>
                </a:solidFill>
              </a:defRPr>
            </a:lvl1pPr>
          </a:lstStyle>
          <a:p>
            <a:pPr algn="l"/>
            <a:r>
              <a:rPr lang="en-GB" noProof="0"/>
              <a:t>Page: </a:t>
            </a:r>
            <a:fld id="{733122C9-A0B9-462F-8757-0847AD287B63}" type="slidenum">
              <a:rPr lang="en-GB" noProof="0" smtClean="0"/>
              <a:pPr algn="l"/>
              <a:t>‹#›</a:t>
            </a:fld>
            <a:endParaRPr lang="en-GB" noProof="0"/>
          </a:p>
        </p:txBody>
      </p:sp>
      <p:sp>
        <p:nvSpPr>
          <p:cNvPr id="15" name="Espace réservé du texte 14"/>
          <p:cNvSpPr>
            <a:spLocks noGrp="1"/>
          </p:cNvSpPr>
          <p:nvPr>
            <p:ph type="body" sz="quarter" idx="19" hasCustomPrompt="1"/>
          </p:nvPr>
        </p:nvSpPr>
        <p:spPr bwMode="gray">
          <a:xfrm>
            <a:off x="5592000" y="5899200"/>
            <a:ext cx="5884800" cy="324000"/>
          </a:xfrm>
        </p:spPr>
        <p:txBody>
          <a:bodyPr anchor="b" anchorCtr="0"/>
          <a:lstStyle>
            <a:lvl1pPr algn="r">
              <a:lnSpc>
                <a:spcPct val="100000"/>
              </a:lnSpc>
              <a:defRPr sz="1200" b="1">
                <a:solidFill>
                  <a:schemeClr val="accent2"/>
                </a:solidFill>
              </a:defRPr>
            </a:lvl1pPr>
          </a:lstStyle>
          <a:p>
            <a:r>
              <a:rPr lang="fr-FR" err="1"/>
              <a:t>Reach</a:t>
            </a:r>
            <a:r>
              <a:rPr lang="fr-FR"/>
              <a:t> </a:t>
            </a:r>
            <a:r>
              <a:rPr lang="fr-FR" err="1"/>
              <a:t>every</a:t>
            </a:r>
            <a:r>
              <a:rPr lang="fr-FR"/>
              <a:t> </a:t>
            </a:r>
            <a:r>
              <a:rPr lang="fr-FR" err="1"/>
              <a:t>child</a:t>
            </a:r>
            <a:endParaRPr lang="fr-FR"/>
          </a:p>
        </p:txBody>
      </p:sp>
      <p:sp>
        <p:nvSpPr>
          <p:cNvPr id="16" name="Rectangle 15"/>
          <p:cNvSpPr/>
          <p:nvPr userDrawn="1"/>
        </p:nvSpPr>
        <p:spPr bwMode="gray">
          <a:xfrm>
            <a:off x="5592000" y="6283200"/>
            <a:ext cx="5884800" cy="287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r>
              <a:rPr lang="en-GB" sz="1200" noProof="0">
                <a:solidFill>
                  <a:schemeClr val="accent3"/>
                </a:solidFill>
              </a:rPr>
              <a:t>www.gavi.org</a:t>
            </a:r>
          </a:p>
        </p:txBody>
      </p:sp>
      <p:sp>
        <p:nvSpPr>
          <p:cNvPr id="19" name="Rectangle 18"/>
          <p:cNvSpPr/>
          <p:nvPr userDrawn="1"/>
        </p:nvSpPr>
        <p:spPr bwMode="gray">
          <a:xfrm>
            <a:off x="672000" y="3391895"/>
            <a:ext cx="2337600" cy="25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sp>
        <p:nvSpPr>
          <p:cNvPr id="17" name="Espace réservé du texte 16"/>
          <p:cNvSpPr>
            <a:spLocks noGrp="1"/>
          </p:cNvSpPr>
          <p:nvPr>
            <p:ph type="body" sz="quarter" idx="20" hasCustomPrompt="1"/>
          </p:nvPr>
        </p:nvSpPr>
        <p:spPr bwMode="gray">
          <a:xfrm>
            <a:off x="0" y="5157789"/>
            <a:ext cx="12192000" cy="287337"/>
          </a:xfrm>
          <a:solidFill>
            <a:schemeClr val="bg1"/>
          </a:solidFill>
        </p:spPr>
        <p:txBody>
          <a:bodyPr/>
          <a:lstStyle>
            <a:lvl1pPr>
              <a:defRPr sz="133" b="0">
                <a:solidFill>
                  <a:schemeClr val="bg1">
                    <a:alpha val="0"/>
                  </a:schemeClr>
                </a:solidFill>
              </a:defRPr>
            </a:lvl1pPr>
          </a:lstStyle>
          <a:p>
            <a:pPr lvl="0"/>
            <a:r>
              <a:rPr lang="en-GB" noProof="0"/>
              <a:t> </a:t>
            </a:r>
          </a:p>
        </p:txBody>
      </p:sp>
    </p:spTree>
    <p:extLst>
      <p:ext uri="{BB962C8B-B14F-4D97-AF65-F5344CB8AC3E}">
        <p14:creationId xmlns:p14="http://schemas.microsoft.com/office/powerpoint/2010/main" val="2706248099"/>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Colors">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p>
            <a:r>
              <a:rPr lang="en-GB" noProof="0"/>
              <a:t>BRAND COLOUR PALETTE</a:t>
            </a:r>
          </a:p>
        </p:txBody>
      </p:sp>
      <p:sp>
        <p:nvSpPr>
          <p:cNvPr id="5" name="Espace réservé du numéro de diapositive 4"/>
          <p:cNvSpPr>
            <a:spLocks noGrp="1"/>
          </p:cNvSpPr>
          <p:nvPr>
            <p:ph type="sldNum" sz="quarter" idx="12"/>
          </p:nvPr>
        </p:nvSpPr>
        <p:spPr/>
        <p:txBody>
          <a:bodyPr/>
          <a:lstStyle/>
          <a:p>
            <a:fld id="{733122C9-A0B9-462F-8757-0847AD287B63}" type="slidenum">
              <a:rPr lang="en-GB" noProof="0" smtClean="0"/>
              <a:pPr/>
              <a:t>‹#›</a:t>
            </a:fld>
            <a:endParaRPr lang="en-GB" noProof="0"/>
          </a:p>
        </p:txBody>
      </p:sp>
      <p:sp>
        <p:nvSpPr>
          <p:cNvPr id="6" name="ZoneTexte 5"/>
          <p:cNvSpPr txBox="1"/>
          <p:nvPr userDrawn="1"/>
        </p:nvSpPr>
        <p:spPr>
          <a:xfrm>
            <a:off x="672000" y="1506440"/>
            <a:ext cx="4358557" cy="2992531"/>
          </a:xfrm>
          <a:prstGeom prst="rect">
            <a:avLst/>
          </a:prstGeom>
          <a:noFill/>
        </p:spPr>
        <p:txBody>
          <a:bodyPr wrap="square" lIns="0" tIns="0" rIns="0" bIns="0" rtlCol="0">
            <a:noAutofit/>
          </a:bodyPr>
          <a:lstStyle/>
          <a:p>
            <a:pPr>
              <a:lnSpc>
                <a:spcPct val="110000"/>
              </a:lnSpc>
            </a:pPr>
            <a:r>
              <a:rPr lang="en-GB" sz="2400" b="0" noProof="0">
                <a:solidFill>
                  <a:schemeClr val="accent1"/>
                </a:solidFill>
              </a:rPr>
              <a:t>Primary</a:t>
            </a:r>
          </a:p>
          <a:p>
            <a:pPr marL="609585" lvl="1" indent="-124881">
              <a:lnSpc>
                <a:spcPct val="100000"/>
              </a:lnSpc>
              <a:spcAft>
                <a:spcPts val="800"/>
              </a:spcAft>
              <a:buClr>
                <a:schemeClr val="tx1"/>
              </a:buClr>
              <a:buFont typeface="Arial" panose="020B0604020202020204" pitchFamily="34" charset="0"/>
              <a:buChar char="•"/>
            </a:pPr>
            <a:r>
              <a:rPr lang="en-GB" sz="2133" b="0" noProof="0"/>
              <a:t>Corporate colours</a:t>
            </a:r>
          </a:p>
          <a:p>
            <a:pPr marL="609585" lvl="1" indent="-124881">
              <a:lnSpc>
                <a:spcPct val="100000"/>
              </a:lnSpc>
              <a:spcAft>
                <a:spcPts val="800"/>
              </a:spcAft>
              <a:buClr>
                <a:schemeClr val="tx1"/>
              </a:buClr>
              <a:buFont typeface="Arial" panose="020B0604020202020204" pitchFamily="34" charset="0"/>
              <a:buChar char="•"/>
            </a:pPr>
            <a:r>
              <a:rPr lang="en-GB" sz="2133" b="0" noProof="0"/>
              <a:t>Strategic Goal Colours</a:t>
            </a:r>
          </a:p>
          <a:p>
            <a:pPr>
              <a:lnSpc>
                <a:spcPct val="110000"/>
              </a:lnSpc>
            </a:pPr>
            <a:r>
              <a:rPr lang="en-GB" sz="2400" b="0" noProof="0">
                <a:solidFill>
                  <a:schemeClr val="accent1"/>
                </a:solidFill>
              </a:rPr>
              <a:t>Secondary</a:t>
            </a:r>
          </a:p>
        </p:txBody>
      </p:sp>
      <p:sp>
        <p:nvSpPr>
          <p:cNvPr id="7" name="Freeform 8"/>
          <p:cNvSpPr>
            <a:spLocks noChangeAspect="1"/>
          </p:cNvSpPr>
          <p:nvPr userDrawn="1"/>
        </p:nvSpPr>
        <p:spPr bwMode="auto">
          <a:xfrm>
            <a:off x="5012245" y="1416571"/>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8" name="Rectangle 7"/>
          <p:cNvSpPr/>
          <p:nvPr userDrawn="1"/>
        </p:nvSpPr>
        <p:spPr>
          <a:xfrm>
            <a:off x="5505451" y="1413965"/>
            <a:ext cx="590549"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noProof="0">
                <a:solidFill>
                  <a:schemeClr val="tx1"/>
                </a:solidFill>
              </a:rPr>
              <a:t>R: 0</a:t>
            </a:r>
          </a:p>
          <a:p>
            <a:pPr>
              <a:lnSpc>
                <a:spcPct val="90000"/>
              </a:lnSpc>
            </a:pPr>
            <a:r>
              <a:rPr lang="en-GB" sz="933" noProof="0">
                <a:solidFill>
                  <a:schemeClr val="tx1"/>
                </a:solidFill>
              </a:rPr>
              <a:t>G: 92</a:t>
            </a:r>
          </a:p>
          <a:p>
            <a:pPr>
              <a:lnSpc>
                <a:spcPct val="90000"/>
              </a:lnSpc>
            </a:pPr>
            <a:r>
              <a:rPr lang="en-GB" sz="933" noProof="0">
                <a:solidFill>
                  <a:schemeClr val="tx1"/>
                </a:solidFill>
              </a:rPr>
              <a:t>B: 185</a:t>
            </a:r>
          </a:p>
        </p:txBody>
      </p:sp>
      <p:sp>
        <p:nvSpPr>
          <p:cNvPr id="49" name="Rectangle 48"/>
          <p:cNvSpPr/>
          <p:nvPr userDrawn="1"/>
        </p:nvSpPr>
        <p:spPr>
          <a:xfrm>
            <a:off x="6239685" y="5185225"/>
            <a:ext cx="4224801" cy="6355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GB" sz="1200" b="1" noProof="0">
                <a:solidFill>
                  <a:schemeClr val="tx1"/>
                </a:solidFill>
              </a:rPr>
              <a:t>Please use the four </a:t>
            </a:r>
            <a:r>
              <a:rPr lang="en-GB" sz="1200" b="1" noProof="0" err="1">
                <a:solidFill>
                  <a:schemeClr val="tx1"/>
                </a:solidFill>
              </a:rPr>
              <a:t>Gavi</a:t>
            </a:r>
            <a:r>
              <a:rPr lang="en-GB" sz="1200" b="1" noProof="0">
                <a:solidFill>
                  <a:schemeClr val="tx1"/>
                </a:solidFill>
              </a:rPr>
              <a:t> corporate colours where possible.  Specific strategic goals </a:t>
            </a:r>
            <a:br>
              <a:rPr lang="en-GB" sz="1200" b="1" noProof="0">
                <a:solidFill>
                  <a:schemeClr val="tx1"/>
                </a:solidFill>
              </a:rPr>
            </a:br>
            <a:r>
              <a:rPr lang="en-GB" sz="1200" b="1" noProof="0">
                <a:solidFill>
                  <a:schemeClr val="tx1"/>
                </a:solidFill>
              </a:rPr>
              <a:t>or vaccines should be highlighted using the key above. </a:t>
            </a:r>
          </a:p>
        </p:txBody>
      </p:sp>
      <p:sp>
        <p:nvSpPr>
          <p:cNvPr id="65" name="Freeform 8"/>
          <p:cNvSpPr>
            <a:spLocks noChangeAspect="1"/>
          </p:cNvSpPr>
          <p:nvPr userDrawn="1"/>
        </p:nvSpPr>
        <p:spPr bwMode="auto">
          <a:xfrm>
            <a:off x="6457437" y="1416571"/>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66" name="Rectangle 65"/>
          <p:cNvSpPr/>
          <p:nvPr userDrawn="1"/>
        </p:nvSpPr>
        <p:spPr>
          <a:xfrm>
            <a:off x="6950643" y="1413965"/>
            <a:ext cx="590549"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noProof="0">
                <a:solidFill>
                  <a:schemeClr val="tx1"/>
                </a:solidFill>
              </a:rPr>
              <a:t>R: 0</a:t>
            </a:r>
          </a:p>
          <a:p>
            <a:pPr>
              <a:lnSpc>
                <a:spcPct val="90000"/>
              </a:lnSpc>
            </a:pPr>
            <a:r>
              <a:rPr lang="en-GB" sz="933" noProof="0">
                <a:solidFill>
                  <a:schemeClr val="tx1"/>
                </a:solidFill>
              </a:rPr>
              <a:t>G: 161</a:t>
            </a:r>
          </a:p>
          <a:p>
            <a:pPr>
              <a:lnSpc>
                <a:spcPct val="90000"/>
              </a:lnSpc>
            </a:pPr>
            <a:r>
              <a:rPr lang="en-GB" sz="933" noProof="0">
                <a:solidFill>
                  <a:schemeClr val="tx1"/>
                </a:solidFill>
              </a:rPr>
              <a:t>B: 223</a:t>
            </a:r>
          </a:p>
        </p:txBody>
      </p:sp>
      <p:sp>
        <p:nvSpPr>
          <p:cNvPr id="68" name="Freeform 8"/>
          <p:cNvSpPr>
            <a:spLocks noChangeAspect="1"/>
          </p:cNvSpPr>
          <p:nvPr userDrawn="1"/>
        </p:nvSpPr>
        <p:spPr bwMode="auto">
          <a:xfrm>
            <a:off x="7869403" y="1416571"/>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69" name="Rectangle 68"/>
          <p:cNvSpPr/>
          <p:nvPr userDrawn="1"/>
        </p:nvSpPr>
        <p:spPr>
          <a:xfrm>
            <a:off x="8362608" y="1413965"/>
            <a:ext cx="590549"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noProof="0">
                <a:solidFill>
                  <a:schemeClr val="tx1"/>
                </a:solidFill>
              </a:rPr>
              <a:t>R: 149</a:t>
            </a:r>
          </a:p>
          <a:p>
            <a:pPr>
              <a:lnSpc>
                <a:spcPct val="90000"/>
              </a:lnSpc>
            </a:pPr>
            <a:r>
              <a:rPr lang="en-GB" sz="933" noProof="0">
                <a:solidFill>
                  <a:schemeClr val="tx1"/>
                </a:solidFill>
              </a:rPr>
              <a:t>G: 214</a:t>
            </a:r>
          </a:p>
          <a:p>
            <a:pPr>
              <a:lnSpc>
                <a:spcPct val="90000"/>
              </a:lnSpc>
            </a:pPr>
            <a:r>
              <a:rPr lang="en-GB" sz="933" noProof="0">
                <a:solidFill>
                  <a:schemeClr val="tx1"/>
                </a:solidFill>
              </a:rPr>
              <a:t>B: 0</a:t>
            </a:r>
          </a:p>
        </p:txBody>
      </p:sp>
      <p:sp>
        <p:nvSpPr>
          <p:cNvPr id="71" name="Freeform 8"/>
          <p:cNvSpPr>
            <a:spLocks noChangeAspect="1"/>
          </p:cNvSpPr>
          <p:nvPr userDrawn="1"/>
        </p:nvSpPr>
        <p:spPr bwMode="auto">
          <a:xfrm>
            <a:off x="9493117" y="1416571"/>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72" name="Rectangle 71"/>
          <p:cNvSpPr/>
          <p:nvPr userDrawn="1"/>
        </p:nvSpPr>
        <p:spPr>
          <a:xfrm>
            <a:off x="9986323" y="1413965"/>
            <a:ext cx="590549"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noProof="0">
                <a:solidFill>
                  <a:schemeClr val="tx1"/>
                </a:solidFill>
              </a:rPr>
              <a:t>R: 135</a:t>
            </a:r>
          </a:p>
          <a:p>
            <a:pPr>
              <a:lnSpc>
                <a:spcPct val="90000"/>
              </a:lnSpc>
            </a:pPr>
            <a:r>
              <a:rPr lang="en-GB" sz="933" noProof="0">
                <a:solidFill>
                  <a:schemeClr val="tx1"/>
                </a:solidFill>
              </a:rPr>
              <a:t>G: 135</a:t>
            </a:r>
          </a:p>
          <a:p>
            <a:pPr>
              <a:lnSpc>
                <a:spcPct val="90000"/>
              </a:lnSpc>
            </a:pPr>
            <a:r>
              <a:rPr lang="en-GB" sz="933" noProof="0">
                <a:solidFill>
                  <a:schemeClr val="tx1"/>
                </a:solidFill>
              </a:rPr>
              <a:t>B: 135</a:t>
            </a:r>
          </a:p>
        </p:txBody>
      </p:sp>
      <p:sp>
        <p:nvSpPr>
          <p:cNvPr id="74" name="Freeform 8"/>
          <p:cNvSpPr>
            <a:spLocks noChangeAspect="1"/>
          </p:cNvSpPr>
          <p:nvPr userDrawn="1"/>
        </p:nvSpPr>
        <p:spPr bwMode="auto">
          <a:xfrm>
            <a:off x="5012245" y="2317997"/>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75" name="Rectangle 74"/>
          <p:cNvSpPr/>
          <p:nvPr userDrawn="1"/>
        </p:nvSpPr>
        <p:spPr>
          <a:xfrm>
            <a:off x="5505451" y="2315392"/>
            <a:ext cx="951987"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ACCELERATE</a:t>
            </a:r>
          </a:p>
          <a:p>
            <a:pPr>
              <a:lnSpc>
                <a:spcPct val="90000"/>
              </a:lnSpc>
            </a:pPr>
            <a:r>
              <a:rPr lang="en-GB" sz="933" b="1" noProof="0">
                <a:solidFill>
                  <a:schemeClr val="tx1"/>
                </a:solidFill>
              </a:rPr>
              <a:t>VACCINES</a:t>
            </a:r>
          </a:p>
          <a:p>
            <a:pPr>
              <a:lnSpc>
                <a:spcPct val="90000"/>
              </a:lnSpc>
            </a:pPr>
            <a:r>
              <a:rPr lang="en-GB" sz="933" noProof="0">
                <a:solidFill>
                  <a:schemeClr val="tx1"/>
                </a:solidFill>
              </a:rPr>
              <a:t>R: 165</a:t>
            </a:r>
          </a:p>
          <a:p>
            <a:pPr>
              <a:lnSpc>
                <a:spcPct val="90000"/>
              </a:lnSpc>
            </a:pPr>
            <a:r>
              <a:rPr lang="en-GB" sz="933" noProof="0">
                <a:solidFill>
                  <a:schemeClr val="tx1"/>
                </a:solidFill>
              </a:rPr>
              <a:t>G: 24</a:t>
            </a:r>
          </a:p>
          <a:p>
            <a:pPr>
              <a:lnSpc>
                <a:spcPct val="90000"/>
              </a:lnSpc>
            </a:pPr>
            <a:r>
              <a:rPr lang="en-GB" sz="933" noProof="0">
                <a:solidFill>
                  <a:schemeClr val="tx1"/>
                </a:solidFill>
              </a:rPr>
              <a:t>B: 144</a:t>
            </a:r>
          </a:p>
        </p:txBody>
      </p:sp>
      <p:sp>
        <p:nvSpPr>
          <p:cNvPr id="77" name="Freeform 8"/>
          <p:cNvSpPr>
            <a:spLocks noChangeAspect="1"/>
          </p:cNvSpPr>
          <p:nvPr userDrawn="1"/>
        </p:nvSpPr>
        <p:spPr bwMode="auto">
          <a:xfrm>
            <a:off x="6457437" y="2317997"/>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78" name="Rectangle 77"/>
          <p:cNvSpPr/>
          <p:nvPr userDrawn="1"/>
        </p:nvSpPr>
        <p:spPr>
          <a:xfrm>
            <a:off x="6950643" y="2315392"/>
            <a:ext cx="918760"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STRENGTHEN</a:t>
            </a:r>
          </a:p>
          <a:p>
            <a:pPr>
              <a:lnSpc>
                <a:spcPct val="90000"/>
              </a:lnSpc>
            </a:pPr>
            <a:r>
              <a:rPr lang="en-GB" sz="933" b="1" noProof="0">
                <a:solidFill>
                  <a:schemeClr val="tx1"/>
                </a:solidFill>
              </a:rPr>
              <a:t>CAPACITY</a:t>
            </a:r>
          </a:p>
          <a:p>
            <a:pPr>
              <a:lnSpc>
                <a:spcPct val="90000"/>
              </a:lnSpc>
            </a:pPr>
            <a:r>
              <a:rPr lang="en-GB" sz="933" noProof="0">
                <a:solidFill>
                  <a:schemeClr val="tx1"/>
                </a:solidFill>
              </a:rPr>
              <a:t>R: 206</a:t>
            </a:r>
          </a:p>
          <a:p>
            <a:pPr>
              <a:lnSpc>
                <a:spcPct val="90000"/>
              </a:lnSpc>
            </a:pPr>
            <a:r>
              <a:rPr lang="en-GB" sz="933" noProof="0">
                <a:solidFill>
                  <a:schemeClr val="tx1"/>
                </a:solidFill>
              </a:rPr>
              <a:t>G: 15</a:t>
            </a:r>
          </a:p>
          <a:p>
            <a:pPr>
              <a:lnSpc>
                <a:spcPct val="90000"/>
              </a:lnSpc>
            </a:pPr>
            <a:r>
              <a:rPr lang="en-GB" sz="933" noProof="0">
                <a:solidFill>
                  <a:schemeClr val="tx1"/>
                </a:solidFill>
              </a:rPr>
              <a:t>B: 105</a:t>
            </a:r>
          </a:p>
        </p:txBody>
      </p:sp>
      <p:sp>
        <p:nvSpPr>
          <p:cNvPr id="80" name="Freeform 8"/>
          <p:cNvSpPr>
            <a:spLocks noChangeAspect="1"/>
          </p:cNvSpPr>
          <p:nvPr userDrawn="1"/>
        </p:nvSpPr>
        <p:spPr bwMode="auto">
          <a:xfrm>
            <a:off x="7869403" y="2317997"/>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81" name="Rectangle 80"/>
          <p:cNvSpPr/>
          <p:nvPr userDrawn="1"/>
        </p:nvSpPr>
        <p:spPr>
          <a:xfrm>
            <a:off x="8362608" y="2315392"/>
            <a:ext cx="997755"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INCREASE</a:t>
            </a:r>
          </a:p>
          <a:p>
            <a:pPr>
              <a:lnSpc>
                <a:spcPct val="90000"/>
              </a:lnSpc>
            </a:pPr>
            <a:r>
              <a:rPr lang="en-GB" sz="933" b="1" noProof="0">
                <a:solidFill>
                  <a:schemeClr val="tx1"/>
                </a:solidFill>
              </a:rPr>
              <a:t>PREDICTABILITY</a:t>
            </a:r>
          </a:p>
          <a:p>
            <a:pPr>
              <a:lnSpc>
                <a:spcPct val="90000"/>
              </a:lnSpc>
            </a:pPr>
            <a:r>
              <a:rPr lang="en-GB" sz="933" noProof="0">
                <a:solidFill>
                  <a:schemeClr val="tx1"/>
                </a:solidFill>
              </a:rPr>
              <a:t>R: 149</a:t>
            </a:r>
          </a:p>
          <a:p>
            <a:pPr>
              <a:lnSpc>
                <a:spcPct val="90000"/>
              </a:lnSpc>
            </a:pPr>
            <a:r>
              <a:rPr lang="en-GB" sz="933" noProof="0">
                <a:solidFill>
                  <a:schemeClr val="tx1"/>
                </a:solidFill>
              </a:rPr>
              <a:t>G: 214</a:t>
            </a:r>
          </a:p>
          <a:p>
            <a:pPr>
              <a:lnSpc>
                <a:spcPct val="90000"/>
              </a:lnSpc>
            </a:pPr>
            <a:r>
              <a:rPr lang="en-GB" sz="933" noProof="0">
                <a:solidFill>
                  <a:schemeClr val="tx1"/>
                </a:solidFill>
              </a:rPr>
              <a:t>B: 0</a:t>
            </a:r>
          </a:p>
        </p:txBody>
      </p:sp>
      <p:sp>
        <p:nvSpPr>
          <p:cNvPr id="83" name="Freeform 8"/>
          <p:cNvSpPr>
            <a:spLocks noChangeAspect="1"/>
          </p:cNvSpPr>
          <p:nvPr userDrawn="1"/>
        </p:nvSpPr>
        <p:spPr bwMode="auto">
          <a:xfrm>
            <a:off x="9493117" y="2317997"/>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84" name="Rectangle 83"/>
          <p:cNvSpPr/>
          <p:nvPr userDrawn="1"/>
        </p:nvSpPr>
        <p:spPr>
          <a:xfrm>
            <a:off x="9986323" y="2315392"/>
            <a:ext cx="1054211"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SHAPE</a:t>
            </a:r>
          </a:p>
          <a:p>
            <a:pPr>
              <a:lnSpc>
                <a:spcPct val="90000"/>
              </a:lnSpc>
            </a:pPr>
            <a:r>
              <a:rPr lang="en-GB" sz="933" b="1" noProof="0">
                <a:solidFill>
                  <a:schemeClr val="tx1"/>
                </a:solidFill>
              </a:rPr>
              <a:t>THE MARKET</a:t>
            </a:r>
          </a:p>
          <a:p>
            <a:pPr>
              <a:lnSpc>
                <a:spcPct val="90000"/>
              </a:lnSpc>
            </a:pPr>
            <a:r>
              <a:rPr lang="en-GB" sz="933" noProof="0">
                <a:solidFill>
                  <a:schemeClr val="tx1"/>
                </a:solidFill>
              </a:rPr>
              <a:t>R: 0</a:t>
            </a:r>
          </a:p>
          <a:p>
            <a:pPr>
              <a:lnSpc>
                <a:spcPct val="90000"/>
              </a:lnSpc>
            </a:pPr>
            <a:r>
              <a:rPr lang="en-GB" sz="933" noProof="0">
                <a:solidFill>
                  <a:schemeClr val="tx1"/>
                </a:solidFill>
              </a:rPr>
              <a:t>G: 161</a:t>
            </a:r>
          </a:p>
          <a:p>
            <a:pPr>
              <a:lnSpc>
                <a:spcPct val="90000"/>
              </a:lnSpc>
            </a:pPr>
            <a:r>
              <a:rPr lang="en-GB" sz="933" noProof="0">
                <a:solidFill>
                  <a:schemeClr val="tx1"/>
                </a:solidFill>
              </a:rPr>
              <a:t>B: 223</a:t>
            </a:r>
          </a:p>
        </p:txBody>
      </p:sp>
      <p:sp>
        <p:nvSpPr>
          <p:cNvPr id="97" name="Freeform 8"/>
          <p:cNvSpPr>
            <a:spLocks noChangeAspect="1"/>
          </p:cNvSpPr>
          <p:nvPr userDrawn="1"/>
        </p:nvSpPr>
        <p:spPr bwMode="auto">
          <a:xfrm>
            <a:off x="5012245" y="3401125"/>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CED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98" name="Rectangle 97"/>
          <p:cNvSpPr/>
          <p:nvPr userDrawn="1"/>
        </p:nvSpPr>
        <p:spPr>
          <a:xfrm>
            <a:off x="5505451" y="3236979"/>
            <a:ext cx="951987" cy="8047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IPV</a:t>
            </a:r>
          </a:p>
          <a:p>
            <a:pPr>
              <a:lnSpc>
                <a:spcPct val="90000"/>
              </a:lnSpc>
            </a:pPr>
            <a:r>
              <a:rPr lang="en-GB" sz="933" b="1" noProof="0">
                <a:solidFill>
                  <a:schemeClr val="tx1"/>
                </a:solidFill>
              </a:rPr>
              <a:t>INJECTABLE</a:t>
            </a:r>
          </a:p>
          <a:p>
            <a:pPr>
              <a:lnSpc>
                <a:spcPct val="90000"/>
              </a:lnSpc>
            </a:pPr>
            <a:r>
              <a:rPr lang="en-GB" sz="933" b="1" noProof="0">
                <a:solidFill>
                  <a:schemeClr val="tx1"/>
                </a:solidFill>
              </a:rPr>
              <a:t>POLIO</a:t>
            </a:r>
          </a:p>
          <a:p>
            <a:pPr>
              <a:lnSpc>
                <a:spcPct val="90000"/>
              </a:lnSpc>
            </a:pPr>
            <a:r>
              <a:rPr lang="en-GB" sz="933" noProof="0">
                <a:solidFill>
                  <a:schemeClr val="tx1"/>
                </a:solidFill>
              </a:rPr>
              <a:t>R: 206</a:t>
            </a:r>
          </a:p>
          <a:p>
            <a:pPr>
              <a:lnSpc>
                <a:spcPct val="90000"/>
              </a:lnSpc>
            </a:pPr>
            <a:r>
              <a:rPr lang="en-GB" sz="933" noProof="0">
                <a:solidFill>
                  <a:schemeClr val="tx1"/>
                </a:solidFill>
              </a:rPr>
              <a:t>G: 220</a:t>
            </a:r>
          </a:p>
          <a:p>
            <a:pPr>
              <a:lnSpc>
                <a:spcPct val="90000"/>
              </a:lnSpc>
            </a:pPr>
            <a:r>
              <a:rPr lang="en-GB" sz="933" noProof="0">
                <a:solidFill>
                  <a:schemeClr val="tx1"/>
                </a:solidFill>
              </a:rPr>
              <a:t>B: 0</a:t>
            </a:r>
          </a:p>
        </p:txBody>
      </p:sp>
      <p:sp>
        <p:nvSpPr>
          <p:cNvPr id="95" name="Freeform 8"/>
          <p:cNvSpPr>
            <a:spLocks noChangeAspect="1"/>
          </p:cNvSpPr>
          <p:nvPr userDrawn="1"/>
        </p:nvSpPr>
        <p:spPr bwMode="auto">
          <a:xfrm>
            <a:off x="6457437" y="3401125"/>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B288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96" name="Rectangle 95"/>
          <p:cNvSpPr/>
          <p:nvPr userDrawn="1"/>
        </p:nvSpPr>
        <p:spPr>
          <a:xfrm>
            <a:off x="6950643" y="3398520"/>
            <a:ext cx="918760"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JAPANESE</a:t>
            </a:r>
          </a:p>
          <a:p>
            <a:pPr>
              <a:lnSpc>
                <a:spcPct val="90000"/>
              </a:lnSpc>
            </a:pPr>
            <a:r>
              <a:rPr lang="en-GB" sz="933" b="1" noProof="0">
                <a:solidFill>
                  <a:schemeClr val="tx1"/>
                </a:solidFill>
              </a:rPr>
              <a:t>ENCEPHALITIS</a:t>
            </a:r>
          </a:p>
          <a:p>
            <a:pPr>
              <a:lnSpc>
                <a:spcPct val="90000"/>
              </a:lnSpc>
            </a:pPr>
            <a:r>
              <a:rPr lang="en-GB" sz="933" noProof="0">
                <a:solidFill>
                  <a:schemeClr val="tx1"/>
                </a:solidFill>
              </a:rPr>
              <a:t>R: 178</a:t>
            </a:r>
          </a:p>
          <a:p>
            <a:pPr>
              <a:lnSpc>
                <a:spcPct val="90000"/>
              </a:lnSpc>
            </a:pPr>
            <a:r>
              <a:rPr lang="en-GB" sz="933" noProof="0">
                <a:solidFill>
                  <a:schemeClr val="tx1"/>
                </a:solidFill>
              </a:rPr>
              <a:t>G: 136</a:t>
            </a:r>
          </a:p>
          <a:p>
            <a:pPr>
              <a:lnSpc>
                <a:spcPct val="90000"/>
              </a:lnSpc>
            </a:pPr>
            <a:r>
              <a:rPr lang="en-GB" sz="933" noProof="0">
                <a:solidFill>
                  <a:schemeClr val="tx1"/>
                </a:solidFill>
              </a:rPr>
              <a:t>B: 185</a:t>
            </a:r>
          </a:p>
        </p:txBody>
      </p:sp>
      <p:sp>
        <p:nvSpPr>
          <p:cNvPr id="93" name="Freeform 8"/>
          <p:cNvSpPr>
            <a:spLocks noChangeAspect="1"/>
          </p:cNvSpPr>
          <p:nvPr userDrawn="1"/>
        </p:nvSpPr>
        <p:spPr bwMode="auto">
          <a:xfrm>
            <a:off x="7869403" y="3401125"/>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41B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94" name="Rectangle 93"/>
          <p:cNvSpPr/>
          <p:nvPr userDrawn="1"/>
        </p:nvSpPr>
        <p:spPr>
          <a:xfrm>
            <a:off x="8362608" y="3398520"/>
            <a:ext cx="590549"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MEASLES</a:t>
            </a:r>
          </a:p>
          <a:p>
            <a:pPr>
              <a:lnSpc>
                <a:spcPct val="90000"/>
              </a:lnSpc>
            </a:pPr>
            <a:r>
              <a:rPr lang="en-GB" sz="933" noProof="0">
                <a:solidFill>
                  <a:schemeClr val="tx1"/>
                </a:solidFill>
              </a:rPr>
              <a:t>R: 65</a:t>
            </a:r>
          </a:p>
          <a:p>
            <a:pPr>
              <a:lnSpc>
                <a:spcPct val="90000"/>
              </a:lnSpc>
            </a:pPr>
            <a:r>
              <a:rPr lang="en-GB" sz="933" noProof="0">
                <a:solidFill>
                  <a:schemeClr val="tx1"/>
                </a:solidFill>
              </a:rPr>
              <a:t>G: 182</a:t>
            </a:r>
          </a:p>
          <a:p>
            <a:pPr>
              <a:lnSpc>
                <a:spcPct val="90000"/>
              </a:lnSpc>
            </a:pPr>
            <a:r>
              <a:rPr lang="en-GB" sz="933" noProof="0">
                <a:solidFill>
                  <a:schemeClr val="tx1"/>
                </a:solidFill>
              </a:rPr>
              <a:t>B: 230</a:t>
            </a:r>
          </a:p>
        </p:txBody>
      </p:sp>
      <p:sp>
        <p:nvSpPr>
          <p:cNvPr id="91" name="Freeform 8"/>
          <p:cNvSpPr>
            <a:spLocks noChangeAspect="1"/>
          </p:cNvSpPr>
          <p:nvPr userDrawn="1"/>
        </p:nvSpPr>
        <p:spPr bwMode="auto">
          <a:xfrm>
            <a:off x="9493117" y="3401125"/>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0097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92" name="Rectangle 91"/>
          <p:cNvSpPr/>
          <p:nvPr userDrawn="1"/>
        </p:nvSpPr>
        <p:spPr>
          <a:xfrm>
            <a:off x="9986323" y="3398520"/>
            <a:ext cx="910211"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MEASLES</a:t>
            </a:r>
          </a:p>
          <a:p>
            <a:pPr>
              <a:lnSpc>
                <a:spcPct val="90000"/>
              </a:lnSpc>
            </a:pPr>
            <a:r>
              <a:rPr lang="en-GB" sz="933" b="1" noProof="0">
                <a:solidFill>
                  <a:schemeClr val="tx1"/>
                </a:solidFill>
              </a:rPr>
              <a:t>2</a:t>
            </a:r>
            <a:r>
              <a:rPr lang="en-GB" sz="933" b="1" baseline="30000" noProof="0">
                <a:solidFill>
                  <a:schemeClr val="tx1"/>
                </a:solidFill>
              </a:rPr>
              <a:t>ND</a:t>
            </a:r>
            <a:r>
              <a:rPr lang="en-GB" sz="933" b="1" noProof="0">
                <a:solidFill>
                  <a:schemeClr val="tx1"/>
                </a:solidFill>
              </a:rPr>
              <a:t> DOSE</a:t>
            </a:r>
          </a:p>
          <a:p>
            <a:pPr>
              <a:lnSpc>
                <a:spcPct val="90000"/>
              </a:lnSpc>
            </a:pPr>
            <a:r>
              <a:rPr lang="en-GB" sz="933" noProof="0">
                <a:solidFill>
                  <a:schemeClr val="tx1"/>
                </a:solidFill>
              </a:rPr>
              <a:t>R: 0</a:t>
            </a:r>
          </a:p>
          <a:p>
            <a:pPr>
              <a:lnSpc>
                <a:spcPct val="90000"/>
              </a:lnSpc>
            </a:pPr>
            <a:r>
              <a:rPr lang="en-GB" sz="933" noProof="0">
                <a:solidFill>
                  <a:schemeClr val="tx1"/>
                </a:solidFill>
              </a:rPr>
              <a:t>G: 151</a:t>
            </a:r>
          </a:p>
          <a:p>
            <a:pPr>
              <a:lnSpc>
                <a:spcPct val="90000"/>
              </a:lnSpc>
            </a:pPr>
            <a:r>
              <a:rPr lang="en-GB" sz="933" noProof="0">
                <a:solidFill>
                  <a:schemeClr val="tx1"/>
                </a:solidFill>
              </a:rPr>
              <a:t>B: 169</a:t>
            </a:r>
          </a:p>
        </p:txBody>
      </p:sp>
      <p:sp>
        <p:nvSpPr>
          <p:cNvPr id="110" name="Freeform 8"/>
          <p:cNvSpPr>
            <a:spLocks noChangeAspect="1"/>
          </p:cNvSpPr>
          <p:nvPr userDrawn="1"/>
        </p:nvSpPr>
        <p:spPr bwMode="auto">
          <a:xfrm>
            <a:off x="5012245" y="4244901"/>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0033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111" name="Rectangle 110"/>
          <p:cNvSpPr/>
          <p:nvPr userDrawn="1"/>
        </p:nvSpPr>
        <p:spPr>
          <a:xfrm>
            <a:off x="5505450" y="4242296"/>
            <a:ext cx="734233"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PNEUMO</a:t>
            </a:r>
          </a:p>
          <a:p>
            <a:pPr>
              <a:lnSpc>
                <a:spcPct val="90000"/>
              </a:lnSpc>
            </a:pPr>
            <a:r>
              <a:rPr lang="en-GB" sz="933" noProof="0">
                <a:solidFill>
                  <a:schemeClr val="tx1"/>
                </a:solidFill>
              </a:rPr>
              <a:t>R: 0</a:t>
            </a:r>
          </a:p>
          <a:p>
            <a:pPr>
              <a:lnSpc>
                <a:spcPct val="90000"/>
              </a:lnSpc>
            </a:pPr>
            <a:r>
              <a:rPr lang="en-GB" sz="933" noProof="0">
                <a:solidFill>
                  <a:schemeClr val="tx1"/>
                </a:solidFill>
              </a:rPr>
              <a:t>G: 51</a:t>
            </a:r>
          </a:p>
          <a:p>
            <a:pPr>
              <a:lnSpc>
                <a:spcPct val="90000"/>
              </a:lnSpc>
            </a:pPr>
            <a:r>
              <a:rPr lang="en-GB" sz="933" noProof="0">
                <a:solidFill>
                  <a:schemeClr val="tx1"/>
                </a:solidFill>
              </a:rPr>
              <a:t>B: 160</a:t>
            </a:r>
          </a:p>
        </p:txBody>
      </p:sp>
      <p:sp>
        <p:nvSpPr>
          <p:cNvPr id="108" name="Freeform 8"/>
          <p:cNvSpPr>
            <a:spLocks noChangeAspect="1"/>
          </p:cNvSpPr>
          <p:nvPr userDrawn="1"/>
        </p:nvSpPr>
        <p:spPr bwMode="auto">
          <a:xfrm>
            <a:off x="6457437" y="4244901"/>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D86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109" name="Rectangle 108"/>
          <p:cNvSpPr/>
          <p:nvPr userDrawn="1"/>
        </p:nvSpPr>
        <p:spPr>
          <a:xfrm>
            <a:off x="6950643" y="4242296"/>
            <a:ext cx="918760"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ROTAVIRUS</a:t>
            </a:r>
          </a:p>
          <a:p>
            <a:pPr>
              <a:lnSpc>
                <a:spcPct val="90000"/>
              </a:lnSpc>
            </a:pPr>
            <a:r>
              <a:rPr lang="en-GB" sz="933" noProof="0">
                <a:solidFill>
                  <a:schemeClr val="tx1"/>
                </a:solidFill>
              </a:rPr>
              <a:t>R: 216</a:t>
            </a:r>
          </a:p>
          <a:p>
            <a:pPr>
              <a:lnSpc>
                <a:spcPct val="90000"/>
              </a:lnSpc>
            </a:pPr>
            <a:r>
              <a:rPr lang="en-GB" sz="933" noProof="0">
                <a:solidFill>
                  <a:schemeClr val="tx1"/>
                </a:solidFill>
              </a:rPr>
              <a:t>G: 96</a:t>
            </a:r>
          </a:p>
          <a:p>
            <a:pPr>
              <a:lnSpc>
                <a:spcPct val="90000"/>
              </a:lnSpc>
            </a:pPr>
            <a:r>
              <a:rPr lang="en-GB" sz="933" noProof="0">
                <a:solidFill>
                  <a:schemeClr val="tx1"/>
                </a:solidFill>
              </a:rPr>
              <a:t>B: 24</a:t>
            </a:r>
          </a:p>
        </p:txBody>
      </p:sp>
      <p:sp>
        <p:nvSpPr>
          <p:cNvPr id="106" name="Freeform 8"/>
          <p:cNvSpPr>
            <a:spLocks noChangeAspect="1"/>
          </p:cNvSpPr>
          <p:nvPr userDrawn="1"/>
        </p:nvSpPr>
        <p:spPr bwMode="auto">
          <a:xfrm>
            <a:off x="7869403" y="4244901"/>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EAA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107" name="Rectangle 106"/>
          <p:cNvSpPr/>
          <p:nvPr userDrawn="1"/>
        </p:nvSpPr>
        <p:spPr>
          <a:xfrm>
            <a:off x="8362608" y="4242296"/>
            <a:ext cx="997755"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YELLOW</a:t>
            </a:r>
          </a:p>
          <a:p>
            <a:pPr>
              <a:lnSpc>
                <a:spcPct val="90000"/>
              </a:lnSpc>
            </a:pPr>
            <a:r>
              <a:rPr lang="en-GB" sz="933" b="1" noProof="0">
                <a:solidFill>
                  <a:schemeClr val="tx1"/>
                </a:solidFill>
              </a:rPr>
              <a:t>FEVER</a:t>
            </a:r>
          </a:p>
          <a:p>
            <a:pPr>
              <a:lnSpc>
                <a:spcPct val="90000"/>
              </a:lnSpc>
            </a:pPr>
            <a:r>
              <a:rPr lang="en-GB" sz="933" noProof="0">
                <a:solidFill>
                  <a:schemeClr val="tx1"/>
                </a:solidFill>
              </a:rPr>
              <a:t>R: 234</a:t>
            </a:r>
          </a:p>
          <a:p>
            <a:pPr>
              <a:lnSpc>
                <a:spcPct val="90000"/>
              </a:lnSpc>
            </a:pPr>
            <a:r>
              <a:rPr lang="en-GB" sz="933" noProof="0">
                <a:solidFill>
                  <a:schemeClr val="tx1"/>
                </a:solidFill>
              </a:rPr>
              <a:t>G: 170</a:t>
            </a:r>
          </a:p>
          <a:p>
            <a:pPr>
              <a:lnSpc>
                <a:spcPct val="90000"/>
              </a:lnSpc>
            </a:pPr>
            <a:r>
              <a:rPr lang="en-GB" sz="933" noProof="0">
                <a:solidFill>
                  <a:schemeClr val="tx1"/>
                </a:solidFill>
              </a:rPr>
              <a:t>B: 0</a:t>
            </a:r>
          </a:p>
        </p:txBody>
      </p:sp>
      <p:sp>
        <p:nvSpPr>
          <p:cNvPr id="104" name="Freeform 8"/>
          <p:cNvSpPr>
            <a:spLocks noChangeAspect="1"/>
          </p:cNvSpPr>
          <p:nvPr userDrawn="1"/>
        </p:nvSpPr>
        <p:spPr bwMode="auto">
          <a:xfrm>
            <a:off x="9493117" y="4244901"/>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7D706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105" name="Rectangle 104"/>
          <p:cNvSpPr/>
          <p:nvPr userDrawn="1"/>
        </p:nvSpPr>
        <p:spPr>
          <a:xfrm>
            <a:off x="9986323" y="4242296"/>
            <a:ext cx="766195"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TYPHOÏD</a:t>
            </a:r>
          </a:p>
          <a:p>
            <a:pPr>
              <a:lnSpc>
                <a:spcPct val="90000"/>
              </a:lnSpc>
            </a:pPr>
            <a:r>
              <a:rPr lang="en-GB" sz="933" noProof="0">
                <a:solidFill>
                  <a:schemeClr val="tx1"/>
                </a:solidFill>
              </a:rPr>
              <a:t>R: 125</a:t>
            </a:r>
          </a:p>
          <a:p>
            <a:pPr>
              <a:lnSpc>
                <a:spcPct val="90000"/>
              </a:lnSpc>
            </a:pPr>
            <a:r>
              <a:rPr lang="en-GB" sz="933" noProof="0">
                <a:solidFill>
                  <a:schemeClr val="tx1"/>
                </a:solidFill>
              </a:rPr>
              <a:t>G: 112</a:t>
            </a:r>
          </a:p>
          <a:p>
            <a:pPr>
              <a:lnSpc>
                <a:spcPct val="90000"/>
              </a:lnSpc>
            </a:pPr>
            <a:r>
              <a:rPr lang="en-GB" sz="933" noProof="0">
                <a:solidFill>
                  <a:schemeClr val="tx1"/>
                </a:solidFill>
              </a:rPr>
              <a:t>B: 97</a:t>
            </a:r>
          </a:p>
        </p:txBody>
      </p:sp>
      <p:sp>
        <p:nvSpPr>
          <p:cNvPr id="123" name="Freeform 8"/>
          <p:cNvSpPr>
            <a:spLocks noChangeAspect="1"/>
          </p:cNvSpPr>
          <p:nvPr userDrawn="1"/>
        </p:nvSpPr>
        <p:spPr bwMode="auto">
          <a:xfrm>
            <a:off x="672000" y="3401125"/>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AF5C3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124" name="Rectangle 123"/>
          <p:cNvSpPr/>
          <p:nvPr userDrawn="1"/>
        </p:nvSpPr>
        <p:spPr>
          <a:xfrm>
            <a:off x="1165206" y="3398520"/>
            <a:ext cx="590549"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CHOLERA</a:t>
            </a:r>
          </a:p>
          <a:p>
            <a:pPr>
              <a:lnSpc>
                <a:spcPct val="90000"/>
              </a:lnSpc>
            </a:pPr>
            <a:r>
              <a:rPr lang="en-GB" sz="933" noProof="0">
                <a:solidFill>
                  <a:schemeClr val="tx1"/>
                </a:solidFill>
              </a:rPr>
              <a:t>R: 175</a:t>
            </a:r>
          </a:p>
          <a:p>
            <a:pPr>
              <a:lnSpc>
                <a:spcPct val="90000"/>
              </a:lnSpc>
            </a:pPr>
            <a:r>
              <a:rPr lang="en-GB" sz="933" noProof="0">
                <a:solidFill>
                  <a:schemeClr val="tx1"/>
                </a:solidFill>
              </a:rPr>
              <a:t>G: 92</a:t>
            </a:r>
          </a:p>
          <a:p>
            <a:pPr>
              <a:lnSpc>
                <a:spcPct val="90000"/>
              </a:lnSpc>
            </a:pPr>
            <a:r>
              <a:rPr lang="en-GB" sz="933" noProof="0">
                <a:solidFill>
                  <a:schemeClr val="tx1"/>
                </a:solidFill>
              </a:rPr>
              <a:t>B: 55</a:t>
            </a:r>
          </a:p>
        </p:txBody>
      </p:sp>
      <p:sp>
        <p:nvSpPr>
          <p:cNvPr id="121" name="Freeform 8"/>
          <p:cNvSpPr>
            <a:spLocks noChangeAspect="1"/>
          </p:cNvSpPr>
          <p:nvPr userDrawn="1"/>
        </p:nvSpPr>
        <p:spPr bwMode="auto">
          <a:xfrm>
            <a:off x="2117192" y="3401125"/>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D500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122" name="Rectangle 121"/>
          <p:cNvSpPr/>
          <p:nvPr userDrawn="1"/>
        </p:nvSpPr>
        <p:spPr>
          <a:xfrm>
            <a:off x="2610398" y="3398520"/>
            <a:ext cx="590549"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HEPB</a:t>
            </a:r>
          </a:p>
          <a:p>
            <a:pPr>
              <a:lnSpc>
                <a:spcPct val="90000"/>
              </a:lnSpc>
            </a:pPr>
            <a:r>
              <a:rPr lang="en-GB" sz="933" noProof="0">
                <a:solidFill>
                  <a:schemeClr val="tx1"/>
                </a:solidFill>
              </a:rPr>
              <a:t>R: 213</a:t>
            </a:r>
          </a:p>
          <a:p>
            <a:pPr>
              <a:lnSpc>
                <a:spcPct val="90000"/>
              </a:lnSpc>
            </a:pPr>
            <a:r>
              <a:rPr lang="en-GB" sz="933" noProof="0">
                <a:solidFill>
                  <a:schemeClr val="tx1"/>
                </a:solidFill>
              </a:rPr>
              <a:t>G: 0</a:t>
            </a:r>
          </a:p>
          <a:p>
            <a:pPr>
              <a:lnSpc>
                <a:spcPct val="90000"/>
              </a:lnSpc>
            </a:pPr>
            <a:r>
              <a:rPr lang="en-GB" sz="933" noProof="0">
                <a:solidFill>
                  <a:schemeClr val="tx1"/>
                </a:solidFill>
              </a:rPr>
              <a:t>B: 50</a:t>
            </a:r>
          </a:p>
        </p:txBody>
      </p:sp>
      <p:sp>
        <p:nvSpPr>
          <p:cNvPr id="119" name="Freeform 8"/>
          <p:cNvSpPr>
            <a:spLocks noChangeAspect="1"/>
          </p:cNvSpPr>
          <p:nvPr userDrawn="1"/>
        </p:nvSpPr>
        <p:spPr bwMode="auto">
          <a:xfrm>
            <a:off x="3529157" y="3401125"/>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F59B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120" name="Rectangle 119"/>
          <p:cNvSpPr/>
          <p:nvPr userDrawn="1"/>
        </p:nvSpPr>
        <p:spPr>
          <a:xfrm>
            <a:off x="4022363" y="3398520"/>
            <a:ext cx="590549"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HPV</a:t>
            </a:r>
          </a:p>
          <a:p>
            <a:pPr>
              <a:lnSpc>
                <a:spcPct val="90000"/>
              </a:lnSpc>
            </a:pPr>
            <a:r>
              <a:rPr lang="en-GB" sz="933" noProof="0">
                <a:solidFill>
                  <a:schemeClr val="tx1"/>
                </a:solidFill>
              </a:rPr>
              <a:t>R: 245</a:t>
            </a:r>
          </a:p>
          <a:p>
            <a:pPr>
              <a:lnSpc>
                <a:spcPct val="90000"/>
              </a:lnSpc>
            </a:pPr>
            <a:r>
              <a:rPr lang="en-GB" sz="933" noProof="0">
                <a:solidFill>
                  <a:schemeClr val="tx1"/>
                </a:solidFill>
              </a:rPr>
              <a:t>G: 155</a:t>
            </a:r>
          </a:p>
          <a:p>
            <a:pPr>
              <a:lnSpc>
                <a:spcPct val="90000"/>
              </a:lnSpc>
            </a:pPr>
            <a:r>
              <a:rPr lang="en-GB" sz="933" noProof="0">
                <a:solidFill>
                  <a:schemeClr val="tx1"/>
                </a:solidFill>
              </a:rPr>
              <a:t>B: 187</a:t>
            </a:r>
          </a:p>
        </p:txBody>
      </p:sp>
      <p:sp>
        <p:nvSpPr>
          <p:cNvPr id="126" name="Freeform 8"/>
          <p:cNvSpPr>
            <a:spLocks noChangeAspect="1"/>
          </p:cNvSpPr>
          <p:nvPr userDrawn="1"/>
        </p:nvSpPr>
        <p:spPr bwMode="auto">
          <a:xfrm>
            <a:off x="5012245" y="5110123"/>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646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127" name="Rectangle 126"/>
          <p:cNvSpPr/>
          <p:nvPr userDrawn="1"/>
        </p:nvSpPr>
        <p:spPr>
          <a:xfrm>
            <a:off x="5505451" y="5107517"/>
            <a:ext cx="590549"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RABIES</a:t>
            </a:r>
          </a:p>
          <a:p>
            <a:pPr>
              <a:lnSpc>
                <a:spcPct val="90000"/>
              </a:lnSpc>
            </a:pPr>
            <a:r>
              <a:rPr lang="en-GB" sz="933" noProof="0">
                <a:solidFill>
                  <a:schemeClr val="tx1"/>
                </a:solidFill>
              </a:rPr>
              <a:t>R: 100</a:t>
            </a:r>
          </a:p>
          <a:p>
            <a:pPr>
              <a:lnSpc>
                <a:spcPct val="90000"/>
              </a:lnSpc>
            </a:pPr>
            <a:r>
              <a:rPr lang="en-GB" sz="933" noProof="0">
                <a:solidFill>
                  <a:schemeClr val="tx1"/>
                </a:solidFill>
              </a:rPr>
              <a:t>G: 99</a:t>
            </a:r>
          </a:p>
          <a:p>
            <a:pPr>
              <a:lnSpc>
                <a:spcPct val="90000"/>
              </a:lnSpc>
            </a:pPr>
            <a:r>
              <a:rPr lang="en-GB" sz="933" noProof="0">
                <a:solidFill>
                  <a:schemeClr val="tx1"/>
                </a:solidFill>
              </a:rPr>
              <a:t>B: 99</a:t>
            </a:r>
          </a:p>
        </p:txBody>
      </p:sp>
      <p:sp>
        <p:nvSpPr>
          <p:cNvPr id="137" name="Freeform 8"/>
          <p:cNvSpPr>
            <a:spLocks noChangeAspect="1"/>
          </p:cNvSpPr>
          <p:nvPr userDrawn="1"/>
        </p:nvSpPr>
        <p:spPr bwMode="auto">
          <a:xfrm>
            <a:off x="672000" y="4244901"/>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005A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138" name="Rectangle 137"/>
          <p:cNvSpPr/>
          <p:nvPr userDrawn="1"/>
        </p:nvSpPr>
        <p:spPr>
          <a:xfrm>
            <a:off x="1165205" y="4242296"/>
            <a:ext cx="802336"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MEASLES</a:t>
            </a:r>
          </a:p>
          <a:p>
            <a:pPr>
              <a:lnSpc>
                <a:spcPct val="90000"/>
              </a:lnSpc>
            </a:pPr>
            <a:r>
              <a:rPr lang="en-GB" sz="933" b="1" noProof="0">
                <a:solidFill>
                  <a:schemeClr val="tx1"/>
                </a:solidFill>
              </a:rPr>
              <a:t>RUBELLA</a:t>
            </a:r>
          </a:p>
          <a:p>
            <a:pPr>
              <a:lnSpc>
                <a:spcPct val="90000"/>
              </a:lnSpc>
            </a:pPr>
            <a:r>
              <a:rPr lang="en-GB" sz="933" noProof="0">
                <a:solidFill>
                  <a:schemeClr val="tx1"/>
                </a:solidFill>
              </a:rPr>
              <a:t>R: 0</a:t>
            </a:r>
          </a:p>
          <a:p>
            <a:pPr>
              <a:lnSpc>
                <a:spcPct val="90000"/>
              </a:lnSpc>
            </a:pPr>
            <a:r>
              <a:rPr lang="en-GB" sz="933" noProof="0">
                <a:solidFill>
                  <a:schemeClr val="tx1"/>
                </a:solidFill>
              </a:rPr>
              <a:t>G: 90</a:t>
            </a:r>
          </a:p>
          <a:p>
            <a:pPr>
              <a:lnSpc>
                <a:spcPct val="90000"/>
              </a:lnSpc>
            </a:pPr>
            <a:r>
              <a:rPr lang="en-GB" sz="933" noProof="0">
                <a:solidFill>
                  <a:schemeClr val="tx1"/>
                </a:solidFill>
              </a:rPr>
              <a:t>B: 112</a:t>
            </a:r>
          </a:p>
        </p:txBody>
      </p:sp>
      <p:sp>
        <p:nvSpPr>
          <p:cNvPr id="135" name="Freeform 8"/>
          <p:cNvSpPr>
            <a:spLocks noChangeAspect="1"/>
          </p:cNvSpPr>
          <p:nvPr userDrawn="1"/>
        </p:nvSpPr>
        <p:spPr bwMode="auto">
          <a:xfrm>
            <a:off x="2117192" y="4244901"/>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0096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136" name="Rectangle 135"/>
          <p:cNvSpPr/>
          <p:nvPr userDrawn="1"/>
        </p:nvSpPr>
        <p:spPr>
          <a:xfrm>
            <a:off x="2610397" y="4242296"/>
            <a:ext cx="918760"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MENINGITIS</a:t>
            </a:r>
          </a:p>
          <a:p>
            <a:pPr>
              <a:lnSpc>
                <a:spcPct val="90000"/>
              </a:lnSpc>
            </a:pPr>
            <a:r>
              <a:rPr lang="en-GB" sz="933" b="1" noProof="0">
                <a:solidFill>
                  <a:schemeClr val="tx1"/>
                </a:solidFill>
              </a:rPr>
              <a:t>A</a:t>
            </a:r>
          </a:p>
          <a:p>
            <a:pPr>
              <a:lnSpc>
                <a:spcPct val="90000"/>
              </a:lnSpc>
            </a:pPr>
            <a:r>
              <a:rPr lang="en-GB" sz="933" noProof="0">
                <a:solidFill>
                  <a:schemeClr val="tx1"/>
                </a:solidFill>
              </a:rPr>
              <a:t>R: 0</a:t>
            </a:r>
          </a:p>
          <a:p>
            <a:pPr>
              <a:lnSpc>
                <a:spcPct val="90000"/>
              </a:lnSpc>
            </a:pPr>
            <a:r>
              <a:rPr lang="en-GB" sz="933" noProof="0">
                <a:solidFill>
                  <a:schemeClr val="tx1"/>
                </a:solidFill>
              </a:rPr>
              <a:t>G: 150</a:t>
            </a:r>
          </a:p>
          <a:p>
            <a:pPr>
              <a:lnSpc>
                <a:spcPct val="90000"/>
              </a:lnSpc>
            </a:pPr>
            <a:r>
              <a:rPr lang="en-GB" sz="933" noProof="0">
                <a:solidFill>
                  <a:schemeClr val="tx1"/>
                </a:solidFill>
              </a:rPr>
              <a:t>B: 57</a:t>
            </a:r>
          </a:p>
        </p:txBody>
      </p:sp>
      <p:sp>
        <p:nvSpPr>
          <p:cNvPr id="133" name="Freeform 8"/>
          <p:cNvSpPr>
            <a:spLocks noChangeAspect="1"/>
          </p:cNvSpPr>
          <p:nvPr userDrawn="1"/>
        </p:nvSpPr>
        <p:spPr bwMode="auto">
          <a:xfrm>
            <a:off x="3529157" y="4244901"/>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6532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134" name="Rectangle 133"/>
          <p:cNvSpPr/>
          <p:nvPr userDrawn="1"/>
        </p:nvSpPr>
        <p:spPr>
          <a:xfrm>
            <a:off x="4022363" y="4242296"/>
            <a:ext cx="989883"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PENTA</a:t>
            </a:r>
          </a:p>
          <a:p>
            <a:pPr>
              <a:lnSpc>
                <a:spcPct val="90000"/>
              </a:lnSpc>
            </a:pPr>
            <a:r>
              <a:rPr lang="en-GB" sz="933" b="1" noProof="0">
                <a:solidFill>
                  <a:schemeClr val="tx1"/>
                </a:solidFill>
              </a:rPr>
              <a:t>DTP–HEP-HIB</a:t>
            </a:r>
          </a:p>
          <a:p>
            <a:pPr>
              <a:lnSpc>
                <a:spcPct val="90000"/>
              </a:lnSpc>
            </a:pPr>
            <a:r>
              <a:rPr lang="en-GB" sz="933" noProof="0">
                <a:solidFill>
                  <a:schemeClr val="tx1"/>
                </a:solidFill>
              </a:rPr>
              <a:t>R: 101</a:t>
            </a:r>
          </a:p>
          <a:p>
            <a:pPr>
              <a:lnSpc>
                <a:spcPct val="90000"/>
              </a:lnSpc>
            </a:pPr>
            <a:r>
              <a:rPr lang="en-GB" sz="933" noProof="0">
                <a:solidFill>
                  <a:schemeClr val="tx1"/>
                </a:solidFill>
              </a:rPr>
              <a:t>G: 50</a:t>
            </a:r>
          </a:p>
          <a:p>
            <a:pPr>
              <a:lnSpc>
                <a:spcPct val="90000"/>
              </a:lnSpc>
            </a:pPr>
            <a:r>
              <a:rPr lang="en-GB" sz="933" noProof="0">
                <a:solidFill>
                  <a:schemeClr val="tx1"/>
                </a:solidFill>
              </a:rPr>
              <a:t>B: 121</a:t>
            </a:r>
          </a:p>
        </p:txBody>
      </p:sp>
      <p:sp>
        <p:nvSpPr>
          <p:cNvPr id="149" name="Freeform 8"/>
          <p:cNvSpPr>
            <a:spLocks noChangeAspect="1"/>
          </p:cNvSpPr>
          <p:nvPr userDrawn="1"/>
        </p:nvSpPr>
        <p:spPr bwMode="auto">
          <a:xfrm>
            <a:off x="672000" y="5110123"/>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150" name="Rectangle 149"/>
          <p:cNvSpPr/>
          <p:nvPr userDrawn="1"/>
        </p:nvSpPr>
        <p:spPr>
          <a:xfrm>
            <a:off x="1165205" y="5107517"/>
            <a:ext cx="802336"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DENGUE</a:t>
            </a:r>
          </a:p>
          <a:p>
            <a:pPr>
              <a:lnSpc>
                <a:spcPct val="90000"/>
              </a:lnSpc>
            </a:pPr>
            <a:r>
              <a:rPr lang="en-GB" sz="933" noProof="0">
                <a:solidFill>
                  <a:schemeClr val="tx1"/>
                </a:solidFill>
              </a:rPr>
              <a:t>R: 198</a:t>
            </a:r>
          </a:p>
          <a:p>
            <a:pPr>
              <a:lnSpc>
                <a:spcPct val="90000"/>
              </a:lnSpc>
            </a:pPr>
            <a:r>
              <a:rPr lang="en-GB" sz="933" noProof="0">
                <a:solidFill>
                  <a:schemeClr val="tx1"/>
                </a:solidFill>
              </a:rPr>
              <a:t>G:</a:t>
            </a:r>
            <a:r>
              <a:rPr lang="en-GB" sz="933" baseline="0" noProof="0">
                <a:solidFill>
                  <a:schemeClr val="tx1"/>
                </a:solidFill>
              </a:rPr>
              <a:t> </a:t>
            </a:r>
            <a:r>
              <a:rPr lang="en-GB" sz="933" noProof="0">
                <a:solidFill>
                  <a:schemeClr val="tx1"/>
                </a:solidFill>
              </a:rPr>
              <a:t>198</a:t>
            </a:r>
          </a:p>
          <a:p>
            <a:pPr>
              <a:lnSpc>
                <a:spcPct val="90000"/>
              </a:lnSpc>
            </a:pPr>
            <a:r>
              <a:rPr lang="en-GB" sz="933" noProof="0">
                <a:solidFill>
                  <a:schemeClr val="tx1"/>
                </a:solidFill>
              </a:rPr>
              <a:t>B:</a:t>
            </a:r>
            <a:r>
              <a:rPr lang="en-GB" sz="933" baseline="0" noProof="0">
                <a:solidFill>
                  <a:schemeClr val="tx1"/>
                </a:solidFill>
              </a:rPr>
              <a:t> </a:t>
            </a:r>
            <a:r>
              <a:rPr lang="en-GB" sz="933" noProof="0">
                <a:solidFill>
                  <a:schemeClr val="tx1"/>
                </a:solidFill>
              </a:rPr>
              <a:t>198</a:t>
            </a:r>
          </a:p>
        </p:txBody>
      </p:sp>
      <p:sp>
        <p:nvSpPr>
          <p:cNvPr id="147" name="Freeform 8"/>
          <p:cNvSpPr>
            <a:spLocks noChangeAspect="1"/>
          </p:cNvSpPr>
          <p:nvPr userDrawn="1"/>
        </p:nvSpPr>
        <p:spPr bwMode="auto">
          <a:xfrm>
            <a:off x="2117192" y="5110123"/>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A8A8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148" name="Rectangle 147"/>
          <p:cNvSpPr/>
          <p:nvPr userDrawn="1"/>
        </p:nvSpPr>
        <p:spPr>
          <a:xfrm>
            <a:off x="2610398" y="5107517"/>
            <a:ext cx="590549"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MALARIA</a:t>
            </a:r>
          </a:p>
          <a:p>
            <a:pPr>
              <a:lnSpc>
                <a:spcPct val="90000"/>
              </a:lnSpc>
            </a:pPr>
            <a:r>
              <a:rPr lang="en-GB" sz="933" noProof="0">
                <a:solidFill>
                  <a:schemeClr val="tx1"/>
                </a:solidFill>
              </a:rPr>
              <a:t>R: 168</a:t>
            </a:r>
          </a:p>
          <a:p>
            <a:pPr>
              <a:lnSpc>
                <a:spcPct val="90000"/>
              </a:lnSpc>
            </a:pPr>
            <a:r>
              <a:rPr lang="en-GB" sz="933" noProof="0">
                <a:solidFill>
                  <a:schemeClr val="tx1"/>
                </a:solidFill>
              </a:rPr>
              <a:t>G: 168</a:t>
            </a:r>
          </a:p>
          <a:p>
            <a:pPr>
              <a:lnSpc>
                <a:spcPct val="90000"/>
              </a:lnSpc>
            </a:pPr>
            <a:r>
              <a:rPr lang="en-GB" sz="933" noProof="0">
                <a:solidFill>
                  <a:schemeClr val="tx1"/>
                </a:solidFill>
              </a:rPr>
              <a:t>B: 167</a:t>
            </a:r>
          </a:p>
        </p:txBody>
      </p:sp>
      <p:sp>
        <p:nvSpPr>
          <p:cNvPr id="145" name="Freeform 8"/>
          <p:cNvSpPr>
            <a:spLocks noChangeAspect="1"/>
          </p:cNvSpPr>
          <p:nvPr userDrawn="1"/>
        </p:nvSpPr>
        <p:spPr bwMode="auto">
          <a:xfrm>
            <a:off x="3529157" y="5110123"/>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8787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146" name="Rectangle 145"/>
          <p:cNvSpPr/>
          <p:nvPr userDrawn="1"/>
        </p:nvSpPr>
        <p:spPr>
          <a:xfrm>
            <a:off x="4022363" y="5107517"/>
            <a:ext cx="989883"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MATERNAL</a:t>
            </a:r>
          </a:p>
          <a:p>
            <a:pPr>
              <a:lnSpc>
                <a:spcPct val="90000"/>
              </a:lnSpc>
            </a:pPr>
            <a:r>
              <a:rPr lang="en-GB" sz="933" b="1" noProof="0">
                <a:solidFill>
                  <a:schemeClr val="tx1"/>
                </a:solidFill>
              </a:rPr>
              <a:t>FLU</a:t>
            </a:r>
          </a:p>
          <a:p>
            <a:pPr>
              <a:lnSpc>
                <a:spcPct val="90000"/>
              </a:lnSpc>
            </a:pPr>
            <a:r>
              <a:rPr lang="en-GB" sz="933" noProof="0">
                <a:solidFill>
                  <a:schemeClr val="tx1"/>
                </a:solidFill>
              </a:rPr>
              <a:t>R: 135</a:t>
            </a:r>
          </a:p>
          <a:p>
            <a:pPr>
              <a:lnSpc>
                <a:spcPct val="90000"/>
              </a:lnSpc>
            </a:pPr>
            <a:r>
              <a:rPr lang="en-GB" sz="933" noProof="0">
                <a:solidFill>
                  <a:schemeClr val="tx1"/>
                </a:solidFill>
              </a:rPr>
              <a:t>G: 135</a:t>
            </a:r>
          </a:p>
          <a:p>
            <a:pPr>
              <a:lnSpc>
                <a:spcPct val="90000"/>
              </a:lnSpc>
            </a:pPr>
            <a:r>
              <a:rPr lang="en-GB" sz="933" noProof="0">
                <a:solidFill>
                  <a:schemeClr val="tx1"/>
                </a:solidFill>
              </a:rPr>
              <a:t>B: 135</a:t>
            </a:r>
          </a:p>
        </p:txBody>
      </p:sp>
    </p:spTree>
    <p:extLst>
      <p:ext uri="{BB962C8B-B14F-4D97-AF65-F5344CB8AC3E}">
        <p14:creationId xmlns:p14="http://schemas.microsoft.com/office/powerpoint/2010/main" val="967484646"/>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Text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9"/>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6"/>
            <a:ext cx="11144931"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8" y="6353142"/>
            <a:ext cx="261631" cy="136527"/>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8"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7"/>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5" y="6109976"/>
            <a:ext cx="1036776" cy="381653"/>
          </a:xfrm>
          <a:prstGeom prst="rect">
            <a:avLst/>
          </a:prstGeom>
        </p:spPr>
      </p:pic>
    </p:spTree>
    <p:extLst>
      <p:ext uri="{BB962C8B-B14F-4D97-AF65-F5344CB8AC3E}">
        <p14:creationId xmlns:p14="http://schemas.microsoft.com/office/powerpoint/2010/main" val="1134392246"/>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2 Column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9"/>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6"/>
            <a:ext cx="11144931" cy="4608511"/>
          </a:xfrm>
        </p:spPr>
        <p:txBody>
          <a:bodyPr numCol="2" spcCol="54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8" y="6353142"/>
            <a:ext cx="261631" cy="136527"/>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8"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7"/>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5" y="6109976"/>
            <a:ext cx="1036776" cy="381653"/>
          </a:xfrm>
          <a:prstGeom prst="rect">
            <a:avLst/>
          </a:prstGeom>
        </p:spPr>
      </p:pic>
    </p:spTree>
    <p:extLst>
      <p:ext uri="{BB962C8B-B14F-4D97-AF65-F5344CB8AC3E}">
        <p14:creationId xmlns:p14="http://schemas.microsoft.com/office/powerpoint/2010/main" val="3082437207"/>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2 Column Numbers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9"/>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708831"/>
            <a:ext cx="11144931" cy="4204608"/>
          </a:xfrm>
        </p:spPr>
        <p:txBody>
          <a:bodyPr numCol="2" spcCol="360000"/>
          <a:lstStyle>
            <a:lvl1pPr marL="457189" indent="-457189">
              <a:buClr>
                <a:schemeClr val="bg2"/>
              </a:buClr>
              <a:buFont typeface="+mj-lt"/>
              <a:buAutoNum type="arabicPeriod"/>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9" y="961079"/>
            <a:ext cx="11154344" cy="343847"/>
          </a:xfrm>
        </p:spPr>
        <p:txBody>
          <a:bodyPr/>
          <a:lstStyle>
            <a:lvl1pPr>
              <a:defRPr>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8" y="6353142"/>
            <a:ext cx="261631" cy="136527"/>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8"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7"/>
          </a:xfrm>
          <a:prstGeom prst="rect">
            <a:avLst/>
          </a:prstGeom>
        </p:spPr>
        <p:txBody>
          <a:bodyPr anchor="b"/>
          <a:lstStyle>
            <a:lvl1pPr>
              <a:defRPr sz="800"/>
            </a:lvl1pPr>
          </a:lstStyle>
          <a:p>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5" y="6109976"/>
            <a:ext cx="1036776" cy="381653"/>
          </a:xfrm>
          <a:prstGeom prst="rect">
            <a:avLst/>
          </a:prstGeom>
        </p:spPr>
      </p:pic>
    </p:spTree>
    <p:extLst>
      <p:ext uri="{BB962C8B-B14F-4D97-AF65-F5344CB8AC3E}">
        <p14:creationId xmlns:p14="http://schemas.microsoft.com/office/powerpoint/2010/main" val="915901296"/>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Title Slide">
    <p:bg>
      <p:bgPr>
        <a:blipFill dpi="0" rotWithShape="1">
          <a:blip r:embed="rId2">
            <a:lum/>
            <a:extLst>
              <a:ext uri="{28A0092B-C50C-407E-A947-70E740481C1C}">
                <a14:useLocalDpi xmlns:a14="http://schemas.microsoft.com/office/drawing/2010/main"/>
              </a:ext>
            </a:extLst>
          </a:blip>
          <a:srcRect/>
          <a:stretch>
            <a:fillRect t="-3000" b="-3000"/>
          </a:stretch>
        </a:blipFill>
        <a:effectLst/>
      </p:bgPr>
    </p:bg>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52467373-D57C-F842-8976-B87DEFBE83BE}"/>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361534" y="441777"/>
            <a:ext cx="1304260" cy="487680"/>
          </a:xfrm>
          <a:prstGeom prst="rect">
            <a:avLst/>
          </a:prstGeom>
        </p:spPr>
      </p:pic>
      <p:sp>
        <p:nvSpPr>
          <p:cNvPr id="3" name="Text Placeholder 2">
            <a:extLst>
              <a:ext uri="{FF2B5EF4-FFF2-40B4-BE49-F238E27FC236}">
                <a16:creationId xmlns:a16="http://schemas.microsoft.com/office/drawing/2014/main" id="{9D4F144B-74C7-A148-8E87-6034061E0CB6}"/>
              </a:ext>
            </a:extLst>
          </p:cNvPr>
          <p:cNvSpPr>
            <a:spLocks noGrp="1"/>
          </p:cNvSpPr>
          <p:nvPr>
            <p:ph type="body" sz="quarter" idx="10" hasCustomPrompt="1"/>
          </p:nvPr>
        </p:nvSpPr>
        <p:spPr>
          <a:xfrm>
            <a:off x="515939" y="1920396"/>
            <a:ext cx="7964947" cy="234609"/>
          </a:xfrm>
        </p:spPr>
        <p:txBody>
          <a:bodyPr>
            <a:normAutofit/>
          </a:bodyPr>
          <a:lstStyle>
            <a:lvl1pPr>
              <a:defRPr sz="1600" spc="300">
                <a:solidFill>
                  <a:schemeClr val="bg1"/>
                </a:solidFill>
              </a:defRPr>
            </a:lvl1pPr>
          </a:lstStyle>
          <a:p>
            <a:pPr lvl="0"/>
            <a:r>
              <a:rPr lang="en-GB"/>
              <a:t>SUBTITLE GOES HERE: TYPE IN CAPITALS</a:t>
            </a:r>
          </a:p>
        </p:txBody>
      </p:sp>
      <p:sp>
        <p:nvSpPr>
          <p:cNvPr id="9" name="Title 8">
            <a:extLst>
              <a:ext uri="{FF2B5EF4-FFF2-40B4-BE49-F238E27FC236}">
                <a16:creationId xmlns:a16="http://schemas.microsoft.com/office/drawing/2014/main" id="{89FFAF13-E12B-E54E-B2B2-5142A884DB82}"/>
              </a:ext>
            </a:extLst>
          </p:cNvPr>
          <p:cNvSpPr>
            <a:spLocks noGrp="1"/>
          </p:cNvSpPr>
          <p:nvPr>
            <p:ph type="title"/>
          </p:nvPr>
        </p:nvSpPr>
        <p:spPr>
          <a:xfrm>
            <a:off x="521719" y="2605179"/>
            <a:ext cx="11154344" cy="1929036"/>
          </a:xfrm>
        </p:spPr>
        <p:txBody>
          <a:bodyPr>
            <a:normAutofit/>
          </a:bodyPr>
          <a:lstStyle>
            <a:lvl1pPr>
              <a:lnSpc>
                <a:spcPct val="80000"/>
              </a:lnSpc>
              <a:defRPr sz="6600">
                <a:solidFill>
                  <a:schemeClr val="bg1"/>
                </a:solidFill>
              </a:defRPr>
            </a:lvl1pPr>
          </a:lstStyle>
          <a:p>
            <a:r>
              <a:rPr lang="en-US"/>
              <a:t>Click to edit Master title style</a:t>
            </a:r>
            <a:endParaRPr lang="en-GB"/>
          </a:p>
        </p:txBody>
      </p:sp>
      <p:sp>
        <p:nvSpPr>
          <p:cNvPr id="10" name="Text Placeholder 2">
            <a:extLst>
              <a:ext uri="{FF2B5EF4-FFF2-40B4-BE49-F238E27FC236}">
                <a16:creationId xmlns:a16="http://schemas.microsoft.com/office/drawing/2014/main" id="{9878A746-9E85-F24C-AD58-8F45F83396CC}"/>
              </a:ext>
            </a:extLst>
          </p:cNvPr>
          <p:cNvSpPr>
            <a:spLocks noGrp="1"/>
          </p:cNvSpPr>
          <p:nvPr>
            <p:ph type="body" sz="quarter" idx="11" hasCustomPrompt="1"/>
          </p:nvPr>
        </p:nvSpPr>
        <p:spPr>
          <a:xfrm>
            <a:off x="515939" y="6302342"/>
            <a:ext cx="5832475" cy="187359"/>
          </a:xfrm>
        </p:spPr>
        <p:txBody>
          <a:bodyPr anchor="b">
            <a:spAutoFit/>
          </a:bodyPr>
          <a:lstStyle>
            <a:lvl1pPr>
              <a:defRPr sz="1200" spc="0">
                <a:solidFill>
                  <a:schemeClr val="bg1"/>
                </a:solidFill>
              </a:defRPr>
            </a:lvl1pPr>
          </a:lstStyle>
          <a:p>
            <a:pPr lvl="0"/>
            <a:r>
              <a:rPr lang="en-GB"/>
              <a:t>Subtitle goes here</a:t>
            </a:r>
          </a:p>
        </p:txBody>
      </p:sp>
      <p:sp>
        <p:nvSpPr>
          <p:cNvPr id="11" name="Text Placeholder 2">
            <a:extLst>
              <a:ext uri="{FF2B5EF4-FFF2-40B4-BE49-F238E27FC236}">
                <a16:creationId xmlns:a16="http://schemas.microsoft.com/office/drawing/2014/main" id="{7AFD6BA4-8A31-2C45-81C0-67141C06959C}"/>
              </a:ext>
            </a:extLst>
          </p:cNvPr>
          <p:cNvSpPr txBox="1">
            <a:spLocks/>
          </p:cNvSpPr>
          <p:nvPr userDrawn="1"/>
        </p:nvSpPr>
        <p:spPr>
          <a:xfrm>
            <a:off x="10367425" y="6173817"/>
            <a:ext cx="1303627" cy="315884"/>
          </a:xfrm>
          <a:prstGeom prst="rect">
            <a:avLst/>
          </a:prstGeom>
        </p:spPr>
        <p:txBody>
          <a:bodyPr lIns="0" tIns="0" rIns="0" bIns="0" anchor="b"/>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en-GB" sz="1800" b="1">
                <a:solidFill>
                  <a:schemeClr val="bg2"/>
                </a:solidFill>
              </a:rPr>
              <a:t>gavi.org</a:t>
            </a:r>
          </a:p>
        </p:txBody>
      </p:sp>
    </p:spTree>
    <p:extLst>
      <p:ext uri="{BB962C8B-B14F-4D97-AF65-F5344CB8AC3E}">
        <p14:creationId xmlns:p14="http://schemas.microsoft.com/office/powerpoint/2010/main" val="1524779443"/>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2 Column Bulle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2" spcCol="360000"/>
          <a:lstStyle>
            <a:lvl1pPr marL="342900" indent="-342900">
              <a:buClr>
                <a:schemeClr val="bg2"/>
              </a:buClr>
              <a:buFont typeface="Arial" panose="020B0604020202020204" pitchFamily="34" charset="0"/>
              <a:buChar char="•"/>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United Against Rabies Forum Meeting - 6-8 November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1018948658"/>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2 Column Number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2" spcCol="360000"/>
          <a:lstStyle>
            <a:lvl1pPr marL="457200" indent="-457200">
              <a:buClr>
                <a:schemeClr val="bg2"/>
              </a:buClr>
              <a:buFont typeface="+mj-lt"/>
              <a:buAutoNum type="arabicPeriod"/>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United Against Rabies Forum Meeting - 6-8 November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119944544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561203926"/>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_Text Slide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708830"/>
            <a:ext cx="11144930" cy="4204608"/>
          </a:xfrm>
        </p:spPr>
        <p:txBody>
          <a:bodyPr numCol="2" spcCol="54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United Against Rabies Forum Meeting - 6-8 November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2407567487"/>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_2 Column Bullets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708830"/>
            <a:ext cx="11144930" cy="4204608"/>
          </a:xfrm>
        </p:spPr>
        <p:txBody>
          <a:bodyPr numCol="2" spcCol="360000"/>
          <a:lstStyle>
            <a:lvl1pPr marL="342900" indent="-342900">
              <a:buClr>
                <a:schemeClr val="bg2"/>
              </a:buClr>
              <a:buFont typeface="Arial" panose="020B0604020202020204" pitchFamily="34" charset="0"/>
              <a:buChar char="•"/>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United Against Rabies Forum Meeting - 6-8 November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1075395311"/>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2 Column Numbers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708830"/>
            <a:ext cx="11144930" cy="4204608"/>
          </a:xfrm>
        </p:spPr>
        <p:txBody>
          <a:bodyPr numCol="2" spcCol="360000"/>
          <a:lstStyle>
            <a:lvl1pPr marL="457200" indent="-457200">
              <a:buClr>
                <a:schemeClr val="bg2"/>
              </a:buClr>
              <a:buFont typeface="+mj-lt"/>
              <a:buAutoNum type="arabicPeriod"/>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United Against Rabies Forum Meeting - 6-8 November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3526491150"/>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Text Sections x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23534" y="1319651"/>
            <a:ext cx="5358213" cy="343847"/>
          </a:xfrm>
        </p:spPr>
        <p:txBody>
          <a:bodyPr>
            <a:normAutofit/>
          </a:bodyPr>
          <a:lstStyle>
            <a:lvl1pPr>
              <a:defRPr sz="1800" b="1">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United Against Rabies Forum Meeting - 6-8 November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Text Placeholder 8">
            <a:extLst>
              <a:ext uri="{FF2B5EF4-FFF2-40B4-BE49-F238E27FC236}">
                <a16:creationId xmlns:a16="http://schemas.microsoft.com/office/drawing/2014/main" id="{E867F760-C803-3AA5-7534-42750FD6DB15}"/>
              </a:ext>
            </a:extLst>
          </p:cNvPr>
          <p:cNvSpPr>
            <a:spLocks noGrp="1"/>
          </p:cNvSpPr>
          <p:nvPr>
            <p:ph type="body" idx="13"/>
          </p:nvPr>
        </p:nvSpPr>
        <p:spPr>
          <a:xfrm>
            <a:off x="531132" y="1708830"/>
            <a:ext cx="5343019"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8" name="Text Placeholder 6">
            <a:extLst>
              <a:ext uri="{FF2B5EF4-FFF2-40B4-BE49-F238E27FC236}">
                <a16:creationId xmlns:a16="http://schemas.microsoft.com/office/drawing/2014/main" id="{87E7DAA2-4D74-8F73-20DD-AB5A220C5D1B}"/>
              </a:ext>
            </a:extLst>
          </p:cNvPr>
          <p:cNvSpPr>
            <a:spLocks noGrp="1"/>
          </p:cNvSpPr>
          <p:nvPr>
            <p:ph type="body" sz="quarter" idx="15"/>
          </p:nvPr>
        </p:nvSpPr>
        <p:spPr>
          <a:xfrm>
            <a:off x="6317851" y="1319651"/>
            <a:ext cx="5358213" cy="343847"/>
          </a:xfrm>
        </p:spPr>
        <p:txBody>
          <a:bodyPr>
            <a:normAutofit/>
          </a:bodyPr>
          <a:lstStyle>
            <a:lvl1pPr>
              <a:defRPr sz="1800" b="1">
                <a:solidFill>
                  <a:schemeClr val="bg2"/>
                </a:solidFill>
              </a:defRPr>
            </a:lvl1pPr>
          </a:lstStyle>
          <a:p>
            <a:pPr lvl="0"/>
            <a:r>
              <a:rPr lang="en-GB"/>
              <a:t>Click to edit Master text styles</a:t>
            </a:r>
          </a:p>
        </p:txBody>
      </p:sp>
      <p:sp>
        <p:nvSpPr>
          <p:cNvPr id="19" name="Text Placeholder 8">
            <a:extLst>
              <a:ext uri="{FF2B5EF4-FFF2-40B4-BE49-F238E27FC236}">
                <a16:creationId xmlns:a16="http://schemas.microsoft.com/office/drawing/2014/main" id="{1E0345EA-841F-0CDC-4D3D-6F8A441AA78F}"/>
              </a:ext>
            </a:extLst>
          </p:cNvPr>
          <p:cNvSpPr>
            <a:spLocks noGrp="1"/>
          </p:cNvSpPr>
          <p:nvPr>
            <p:ph type="body" idx="16"/>
          </p:nvPr>
        </p:nvSpPr>
        <p:spPr>
          <a:xfrm>
            <a:off x="6333045" y="1708830"/>
            <a:ext cx="5343019"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2559594670"/>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Text Section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9" y="1319651"/>
            <a:ext cx="3495194" cy="343847"/>
          </a:xfrm>
        </p:spPr>
        <p:txBody>
          <a:bodyPr>
            <a:normAutofit/>
          </a:bodyPr>
          <a:lstStyle>
            <a:lvl1pPr>
              <a:defRPr sz="1800" b="1">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United Against Rabies Forum Meeting - 6-8 November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Text Placeholder 8">
            <a:extLst>
              <a:ext uri="{FF2B5EF4-FFF2-40B4-BE49-F238E27FC236}">
                <a16:creationId xmlns:a16="http://schemas.microsoft.com/office/drawing/2014/main" id="{E867F760-C803-3AA5-7534-42750FD6DB15}"/>
              </a:ext>
            </a:extLst>
          </p:cNvPr>
          <p:cNvSpPr>
            <a:spLocks noGrp="1"/>
          </p:cNvSpPr>
          <p:nvPr>
            <p:ph type="body" idx="13"/>
          </p:nvPr>
        </p:nvSpPr>
        <p:spPr>
          <a:xfrm>
            <a:off x="531132" y="1708830"/>
            <a:ext cx="3485283"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0" name="Text Placeholder 6">
            <a:extLst>
              <a:ext uri="{FF2B5EF4-FFF2-40B4-BE49-F238E27FC236}">
                <a16:creationId xmlns:a16="http://schemas.microsoft.com/office/drawing/2014/main" id="{3FBFCDEF-6E12-C006-44B4-B2738D079269}"/>
              </a:ext>
            </a:extLst>
          </p:cNvPr>
          <p:cNvSpPr>
            <a:spLocks noGrp="1"/>
          </p:cNvSpPr>
          <p:nvPr>
            <p:ph type="body" sz="quarter" idx="15"/>
          </p:nvPr>
        </p:nvSpPr>
        <p:spPr>
          <a:xfrm>
            <a:off x="4380334" y="1319651"/>
            <a:ext cx="3495194" cy="343847"/>
          </a:xfrm>
        </p:spPr>
        <p:txBody>
          <a:bodyPr>
            <a:normAutofit/>
          </a:bodyPr>
          <a:lstStyle>
            <a:lvl1pPr>
              <a:defRPr sz="1800" b="1">
                <a:solidFill>
                  <a:schemeClr val="bg2"/>
                </a:solidFill>
              </a:defRPr>
            </a:lvl1pPr>
          </a:lstStyle>
          <a:p>
            <a:pPr lvl="0"/>
            <a:r>
              <a:rPr lang="en-GB"/>
              <a:t>Click to edit Master text styles</a:t>
            </a:r>
          </a:p>
        </p:txBody>
      </p:sp>
      <p:sp>
        <p:nvSpPr>
          <p:cNvPr id="21" name="Text Placeholder 8">
            <a:extLst>
              <a:ext uri="{FF2B5EF4-FFF2-40B4-BE49-F238E27FC236}">
                <a16:creationId xmlns:a16="http://schemas.microsoft.com/office/drawing/2014/main" id="{3B5895DB-1292-CE69-F1CC-CA026DACAC13}"/>
              </a:ext>
            </a:extLst>
          </p:cNvPr>
          <p:cNvSpPr>
            <a:spLocks noGrp="1"/>
          </p:cNvSpPr>
          <p:nvPr>
            <p:ph type="body" idx="16"/>
          </p:nvPr>
        </p:nvSpPr>
        <p:spPr>
          <a:xfrm>
            <a:off x="4395527" y="1708830"/>
            <a:ext cx="3485283"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2" name="Text Placeholder 6">
            <a:extLst>
              <a:ext uri="{FF2B5EF4-FFF2-40B4-BE49-F238E27FC236}">
                <a16:creationId xmlns:a16="http://schemas.microsoft.com/office/drawing/2014/main" id="{4394A274-82C6-2D1C-8004-8E7FF7B76E26}"/>
              </a:ext>
            </a:extLst>
          </p:cNvPr>
          <p:cNvSpPr>
            <a:spLocks noGrp="1"/>
          </p:cNvSpPr>
          <p:nvPr>
            <p:ph type="body" sz="quarter" idx="17"/>
          </p:nvPr>
        </p:nvSpPr>
        <p:spPr>
          <a:xfrm>
            <a:off x="8169806" y="1319651"/>
            <a:ext cx="3495194" cy="343847"/>
          </a:xfrm>
        </p:spPr>
        <p:txBody>
          <a:bodyPr>
            <a:normAutofit/>
          </a:bodyPr>
          <a:lstStyle>
            <a:lvl1pPr>
              <a:defRPr sz="1800" b="1">
                <a:solidFill>
                  <a:schemeClr val="bg2"/>
                </a:solidFill>
              </a:defRPr>
            </a:lvl1pPr>
          </a:lstStyle>
          <a:p>
            <a:pPr lvl="0"/>
            <a:r>
              <a:rPr lang="en-GB"/>
              <a:t>Click to edit Master text styles</a:t>
            </a:r>
          </a:p>
        </p:txBody>
      </p:sp>
      <p:sp>
        <p:nvSpPr>
          <p:cNvPr id="23" name="Text Placeholder 8">
            <a:extLst>
              <a:ext uri="{FF2B5EF4-FFF2-40B4-BE49-F238E27FC236}">
                <a16:creationId xmlns:a16="http://schemas.microsoft.com/office/drawing/2014/main" id="{B32BCAEC-CD76-D152-C494-48F60F7BFD47}"/>
              </a:ext>
            </a:extLst>
          </p:cNvPr>
          <p:cNvSpPr>
            <a:spLocks noGrp="1"/>
          </p:cNvSpPr>
          <p:nvPr>
            <p:ph type="body" idx="18"/>
          </p:nvPr>
        </p:nvSpPr>
        <p:spPr>
          <a:xfrm>
            <a:off x="8184999" y="1708830"/>
            <a:ext cx="3485283"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2140022930"/>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Box Text x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United Against Rabies Forum Meeting - 6-8 November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29" name="Rounded Rectangle 28">
            <a:extLst>
              <a:ext uri="{FF2B5EF4-FFF2-40B4-BE49-F238E27FC236}">
                <a16:creationId xmlns:a16="http://schemas.microsoft.com/office/drawing/2014/main" id="{034B91B1-8758-0946-BB4D-13DA0D9CFAE1}"/>
              </a:ext>
            </a:extLst>
          </p:cNvPr>
          <p:cNvSpPr/>
          <p:nvPr userDrawn="1"/>
        </p:nvSpPr>
        <p:spPr>
          <a:xfrm>
            <a:off x="6241145" y="1191566"/>
            <a:ext cx="5434921"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 name="Rounded Rectangle 29">
            <a:extLst>
              <a:ext uri="{FF2B5EF4-FFF2-40B4-BE49-F238E27FC236}">
                <a16:creationId xmlns:a16="http://schemas.microsoft.com/office/drawing/2014/main" id="{6FD39105-B790-2C4F-B73F-33A5D9995EDE}"/>
              </a:ext>
            </a:extLst>
          </p:cNvPr>
          <p:cNvSpPr/>
          <p:nvPr userDrawn="1"/>
        </p:nvSpPr>
        <p:spPr>
          <a:xfrm>
            <a:off x="515936" y="1191566"/>
            <a:ext cx="5434921"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Text Placeholder 6">
            <a:extLst>
              <a:ext uri="{FF2B5EF4-FFF2-40B4-BE49-F238E27FC236}">
                <a16:creationId xmlns:a16="http://schemas.microsoft.com/office/drawing/2014/main" id="{39DFE4E8-481D-4E4A-B357-9B609A673B06}"/>
              </a:ext>
            </a:extLst>
          </p:cNvPr>
          <p:cNvSpPr>
            <a:spLocks noGrp="1"/>
          </p:cNvSpPr>
          <p:nvPr>
            <p:ph type="body" sz="quarter" idx="14" hasCustomPrompt="1"/>
          </p:nvPr>
        </p:nvSpPr>
        <p:spPr>
          <a:xfrm>
            <a:off x="715167" y="1378325"/>
            <a:ext cx="5036457"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32" name="Text Placeholder 6">
            <a:extLst>
              <a:ext uri="{FF2B5EF4-FFF2-40B4-BE49-F238E27FC236}">
                <a16:creationId xmlns:a16="http://schemas.microsoft.com/office/drawing/2014/main" id="{79EED86D-C792-B740-BC35-66A672B07629}"/>
              </a:ext>
            </a:extLst>
          </p:cNvPr>
          <p:cNvSpPr>
            <a:spLocks noGrp="1"/>
          </p:cNvSpPr>
          <p:nvPr>
            <p:ph type="body" sz="quarter" idx="15"/>
          </p:nvPr>
        </p:nvSpPr>
        <p:spPr>
          <a:xfrm>
            <a:off x="715167" y="2154362"/>
            <a:ext cx="5036457"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CE98006B-2C07-2C4F-A8AC-A5AC433ED89C}"/>
              </a:ext>
            </a:extLst>
          </p:cNvPr>
          <p:cNvSpPr>
            <a:spLocks noGrp="1"/>
          </p:cNvSpPr>
          <p:nvPr>
            <p:ph type="body" sz="quarter" idx="16"/>
          </p:nvPr>
        </p:nvSpPr>
        <p:spPr>
          <a:xfrm>
            <a:off x="715167" y="1597378"/>
            <a:ext cx="5036457" cy="382134"/>
          </a:xfrm>
        </p:spPr>
        <p:txBody>
          <a:bodyPr/>
          <a:lstStyle>
            <a:lvl1pPr>
              <a:defRPr b="1">
                <a:solidFill>
                  <a:schemeClr val="bg2"/>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40C03D58-F9E4-0944-BD0B-946EEFB24768}"/>
              </a:ext>
            </a:extLst>
          </p:cNvPr>
          <p:cNvSpPr>
            <a:spLocks noGrp="1"/>
          </p:cNvSpPr>
          <p:nvPr>
            <p:ph type="body" sz="quarter" idx="17" hasCustomPrompt="1"/>
          </p:nvPr>
        </p:nvSpPr>
        <p:spPr>
          <a:xfrm>
            <a:off x="6440376" y="1378325"/>
            <a:ext cx="5036457"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35" name="Text Placeholder 6">
            <a:extLst>
              <a:ext uri="{FF2B5EF4-FFF2-40B4-BE49-F238E27FC236}">
                <a16:creationId xmlns:a16="http://schemas.microsoft.com/office/drawing/2014/main" id="{80BF694F-37D7-D44B-8712-1767A33CD12F}"/>
              </a:ext>
            </a:extLst>
          </p:cNvPr>
          <p:cNvSpPr>
            <a:spLocks noGrp="1"/>
          </p:cNvSpPr>
          <p:nvPr>
            <p:ph type="body" sz="quarter" idx="18"/>
          </p:nvPr>
        </p:nvSpPr>
        <p:spPr>
          <a:xfrm>
            <a:off x="6440376" y="2154362"/>
            <a:ext cx="5036457"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6" name="Text Placeholder 6">
            <a:extLst>
              <a:ext uri="{FF2B5EF4-FFF2-40B4-BE49-F238E27FC236}">
                <a16:creationId xmlns:a16="http://schemas.microsoft.com/office/drawing/2014/main" id="{1C6985EF-42F3-0D40-99CA-20F5F21446FE}"/>
              </a:ext>
            </a:extLst>
          </p:cNvPr>
          <p:cNvSpPr>
            <a:spLocks noGrp="1"/>
          </p:cNvSpPr>
          <p:nvPr>
            <p:ph type="body" sz="quarter" idx="19"/>
          </p:nvPr>
        </p:nvSpPr>
        <p:spPr>
          <a:xfrm>
            <a:off x="6440376" y="1597378"/>
            <a:ext cx="5036457" cy="382134"/>
          </a:xfrm>
        </p:spPr>
        <p:txBody>
          <a:bodyPr/>
          <a:lstStyle>
            <a:lvl1pPr>
              <a:defRPr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1145873925"/>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Box Text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United Against Rabies Forum Meeting - 6-8 November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0" name="Rounded Rectangle 29">
            <a:extLst>
              <a:ext uri="{FF2B5EF4-FFF2-40B4-BE49-F238E27FC236}">
                <a16:creationId xmlns:a16="http://schemas.microsoft.com/office/drawing/2014/main" id="{6FD39105-B790-2C4F-B73F-33A5D9995EDE}"/>
              </a:ext>
            </a:extLst>
          </p:cNvPr>
          <p:cNvSpPr/>
          <p:nvPr userDrawn="1"/>
        </p:nvSpPr>
        <p:spPr>
          <a:xfrm>
            <a:off x="515935" y="1191566"/>
            <a:ext cx="3604651"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Text Placeholder 6">
            <a:extLst>
              <a:ext uri="{FF2B5EF4-FFF2-40B4-BE49-F238E27FC236}">
                <a16:creationId xmlns:a16="http://schemas.microsoft.com/office/drawing/2014/main" id="{39DFE4E8-481D-4E4A-B357-9B609A673B06}"/>
              </a:ext>
            </a:extLst>
          </p:cNvPr>
          <p:cNvSpPr>
            <a:spLocks noGrp="1"/>
          </p:cNvSpPr>
          <p:nvPr>
            <p:ph type="body" sz="quarter" idx="14" hasCustomPrompt="1"/>
          </p:nvPr>
        </p:nvSpPr>
        <p:spPr>
          <a:xfrm>
            <a:off x="715167" y="1378325"/>
            <a:ext cx="3214437"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32" name="Text Placeholder 6">
            <a:extLst>
              <a:ext uri="{FF2B5EF4-FFF2-40B4-BE49-F238E27FC236}">
                <a16:creationId xmlns:a16="http://schemas.microsoft.com/office/drawing/2014/main" id="{79EED86D-C792-B740-BC35-66A672B07629}"/>
              </a:ext>
            </a:extLst>
          </p:cNvPr>
          <p:cNvSpPr>
            <a:spLocks noGrp="1"/>
          </p:cNvSpPr>
          <p:nvPr>
            <p:ph type="body" sz="quarter" idx="15"/>
          </p:nvPr>
        </p:nvSpPr>
        <p:spPr>
          <a:xfrm>
            <a:off x="715167" y="2154362"/>
            <a:ext cx="3214437"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CE98006B-2C07-2C4F-A8AC-A5AC433ED89C}"/>
              </a:ext>
            </a:extLst>
          </p:cNvPr>
          <p:cNvSpPr>
            <a:spLocks noGrp="1"/>
          </p:cNvSpPr>
          <p:nvPr>
            <p:ph type="body" sz="quarter" idx="16"/>
          </p:nvPr>
        </p:nvSpPr>
        <p:spPr>
          <a:xfrm>
            <a:off x="715167" y="1597378"/>
            <a:ext cx="3214437" cy="382134"/>
          </a:xfrm>
        </p:spPr>
        <p:txBody>
          <a:bodyPr/>
          <a:lstStyle>
            <a:lvl1pPr>
              <a:defRPr b="1">
                <a:solidFill>
                  <a:schemeClr val="bg2"/>
                </a:solidFill>
              </a:defRPr>
            </a:lvl1pPr>
          </a:lstStyle>
          <a:p>
            <a:pPr lvl="0"/>
            <a:r>
              <a:rPr lang="en-GB"/>
              <a:t>Click to edit Master text styles</a:t>
            </a:r>
          </a:p>
        </p:txBody>
      </p:sp>
      <p:sp>
        <p:nvSpPr>
          <p:cNvPr id="26" name="Rounded Rectangle 25">
            <a:extLst>
              <a:ext uri="{FF2B5EF4-FFF2-40B4-BE49-F238E27FC236}">
                <a16:creationId xmlns:a16="http://schemas.microsoft.com/office/drawing/2014/main" id="{A64DF4DD-379B-FE5B-85E1-F80F85D07E89}"/>
              </a:ext>
            </a:extLst>
          </p:cNvPr>
          <p:cNvSpPr/>
          <p:nvPr userDrawn="1"/>
        </p:nvSpPr>
        <p:spPr>
          <a:xfrm>
            <a:off x="4290784" y="1191566"/>
            <a:ext cx="3604650"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 name="Text Placeholder 6">
            <a:extLst>
              <a:ext uri="{FF2B5EF4-FFF2-40B4-BE49-F238E27FC236}">
                <a16:creationId xmlns:a16="http://schemas.microsoft.com/office/drawing/2014/main" id="{602ADDF3-C22C-9F63-2736-9FAAEA9A1E97}"/>
              </a:ext>
            </a:extLst>
          </p:cNvPr>
          <p:cNvSpPr>
            <a:spLocks noGrp="1"/>
          </p:cNvSpPr>
          <p:nvPr>
            <p:ph type="body" sz="quarter" idx="17" hasCustomPrompt="1"/>
          </p:nvPr>
        </p:nvSpPr>
        <p:spPr>
          <a:xfrm>
            <a:off x="4490015" y="1378325"/>
            <a:ext cx="3201361"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28" name="Text Placeholder 6">
            <a:extLst>
              <a:ext uri="{FF2B5EF4-FFF2-40B4-BE49-F238E27FC236}">
                <a16:creationId xmlns:a16="http://schemas.microsoft.com/office/drawing/2014/main" id="{EC84208B-5390-D845-9BFC-BBE060B525EC}"/>
              </a:ext>
            </a:extLst>
          </p:cNvPr>
          <p:cNvSpPr>
            <a:spLocks noGrp="1"/>
          </p:cNvSpPr>
          <p:nvPr>
            <p:ph type="body" sz="quarter" idx="18"/>
          </p:nvPr>
        </p:nvSpPr>
        <p:spPr>
          <a:xfrm>
            <a:off x="4490015" y="2154362"/>
            <a:ext cx="3201361"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7" name="Text Placeholder 6">
            <a:extLst>
              <a:ext uri="{FF2B5EF4-FFF2-40B4-BE49-F238E27FC236}">
                <a16:creationId xmlns:a16="http://schemas.microsoft.com/office/drawing/2014/main" id="{62DC5739-6579-EFF5-5EE5-B79F9F4E344F}"/>
              </a:ext>
            </a:extLst>
          </p:cNvPr>
          <p:cNvSpPr>
            <a:spLocks noGrp="1"/>
          </p:cNvSpPr>
          <p:nvPr>
            <p:ph type="body" sz="quarter" idx="19"/>
          </p:nvPr>
        </p:nvSpPr>
        <p:spPr>
          <a:xfrm>
            <a:off x="4490015" y="1597378"/>
            <a:ext cx="3201361" cy="382134"/>
          </a:xfrm>
        </p:spPr>
        <p:txBody>
          <a:bodyPr/>
          <a:lstStyle>
            <a:lvl1pPr>
              <a:defRPr b="1">
                <a:solidFill>
                  <a:schemeClr val="bg2"/>
                </a:solidFill>
              </a:defRPr>
            </a:lvl1pPr>
          </a:lstStyle>
          <a:p>
            <a:pPr lvl="0"/>
            <a:r>
              <a:rPr lang="en-GB"/>
              <a:t>Click to edit Master text styles</a:t>
            </a:r>
          </a:p>
        </p:txBody>
      </p:sp>
      <p:sp>
        <p:nvSpPr>
          <p:cNvPr id="38" name="Rounded Rectangle 37">
            <a:extLst>
              <a:ext uri="{FF2B5EF4-FFF2-40B4-BE49-F238E27FC236}">
                <a16:creationId xmlns:a16="http://schemas.microsoft.com/office/drawing/2014/main" id="{A0FC7906-8744-F3F8-AA4F-08ADB6E6D43E}"/>
              </a:ext>
            </a:extLst>
          </p:cNvPr>
          <p:cNvSpPr/>
          <p:nvPr userDrawn="1"/>
        </p:nvSpPr>
        <p:spPr>
          <a:xfrm>
            <a:off x="8065632" y="1191566"/>
            <a:ext cx="3604650"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9" name="Text Placeholder 6">
            <a:extLst>
              <a:ext uri="{FF2B5EF4-FFF2-40B4-BE49-F238E27FC236}">
                <a16:creationId xmlns:a16="http://schemas.microsoft.com/office/drawing/2014/main" id="{F3AC3934-9579-D587-96AD-27B72F22B277}"/>
              </a:ext>
            </a:extLst>
          </p:cNvPr>
          <p:cNvSpPr>
            <a:spLocks noGrp="1"/>
          </p:cNvSpPr>
          <p:nvPr>
            <p:ph type="body" sz="quarter" idx="20" hasCustomPrompt="1"/>
          </p:nvPr>
        </p:nvSpPr>
        <p:spPr>
          <a:xfrm>
            <a:off x="8264863" y="1378325"/>
            <a:ext cx="3211970"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40" name="Text Placeholder 6">
            <a:extLst>
              <a:ext uri="{FF2B5EF4-FFF2-40B4-BE49-F238E27FC236}">
                <a16:creationId xmlns:a16="http://schemas.microsoft.com/office/drawing/2014/main" id="{37A42317-1A24-1AA6-D076-0E969CCF8BE8}"/>
              </a:ext>
            </a:extLst>
          </p:cNvPr>
          <p:cNvSpPr>
            <a:spLocks noGrp="1"/>
          </p:cNvSpPr>
          <p:nvPr>
            <p:ph type="body" sz="quarter" idx="21"/>
          </p:nvPr>
        </p:nvSpPr>
        <p:spPr>
          <a:xfrm>
            <a:off x="8264863" y="2154362"/>
            <a:ext cx="3211970"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41" name="Text Placeholder 6">
            <a:extLst>
              <a:ext uri="{FF2B5EF4-FFF2-40B4-BE49-F238E27FC236}">
                <a16:creationId xmlns:a16="http://schemas.microsoft.com/office/drawing/2014/main" id="{ADCC5B80-D27A-2762-3E95-436EEE5A0DE7}"/>
              </a:ext>
            </a:extLst>
          </p:cNvPr>
          <p:cNvSpPr>
            <a:spLocks noGrp="1"/>
          </p:cNvSpPr>
          <p:nvPr>
            <p:ph type="body" sz="quarter" idx="22"/>
          </p:nvPr>
        </p:nvSpPr>
        <p:spPr>
          <a:xfrm>
            <a:off x="8264863" y="1597378"/>
            <a:ext cx="3211970" cy="382134"/>
          </a:xfrm>
        </p:spPr>
        <p:txBody>
          <a:bodyPr/>
          <a:lstStyle>
            <a:lvl1pPr>
              <a:defRPr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1523111200"/>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Icon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United Against Rabies Forum Meeting - 6-8 November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9" y="3319670"/>
            <a:ext cx="3287436" cy="2593767"/>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2874301"/>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A5AC520F-8595-0F44-99A9-F0873ACA435F}"/>
              </a:ext>
            </a:extLst>
          </p:cNvPr>
          <p:cNvSpPr>
            <a:spLocks noGrp="1"/>
          </p:cNvSpPr>
          <p:nvPr>
            <p:ph type="body" sz="quarter" idx="18"/>
          </p:nvPr>
        </p:nvSpPr>
        <p:spPr>
          <a:xfrm>
            <a:off x="4452282" y="3319670"/>
            <a:ext cx="3287436" cy="2593767"/>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4452282" y="2874301"/>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AD30B9DC-1666-7446-9DFD-F674A273B468}"/>
              </a:ext>
            </a:extLst>
          </p:cNvPr>
          <p:cNvSpPr>
            <a:spLocks noGrp="1"/>
          </p:cNvSpPr>
          <p:nvPr>
            <p:ph type="body" sz="quarter" idx="21"/>
          </p:nvPr>
        </p:nvSpPr>
        <p:spPr>
          <a:xfrm>
            <a:off x="8382846" y="3326198"/>
            <a:ext cx="3287436" cy="2593767"/>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C7816D18-C579-DE44-B3B4-5D38198139F6}"/>
              </a:ext>
            </a:extLst>
          </p:cNvPr>
          <p:cNvSpPr>
            <a:spLocks noGrp="1"/>
          </p:cNvSpPr>
          <p:nvPr>
            <p:ph type="body" sz="quarter" idx="22"/>
          </p:nvPr>
        </p:nvSpPr>
        <p:spPr>
          <a:xfrm>
            <a:off x="8382846" y="2880829"/>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20" name="Picture Placeholder 3">
            <a:extLst>
              <a:ext uri="{FF2B5EF4-FFF2-40B4-BE49-F238E27FC236}">
                <a16:creationId xmlns:a16="http://schemas.microsoft.com/office/drawing/2014/main" id="{319B0B18-4860-DA36-3440-4533856C9139}"/>
              </a:ext>
            </a:extLst>
          </p:cNvPr>
          <p:cNvSpPr>
            <a:spLocks noGrp="1"/>
          </p:cNvSpPr>
          <p:nvPr>
            <p:ph type="pic" sz="quarter" idx="13"/>
          </p:nvPr>
        </p:nvSpPr>
        <p:spPr>
          <a:xfrm>
            <a:off x="515938" y="1624205"/>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21" name="Picture Placeholder 3">
            <a:extLst>
              <a:ext uri="{FF2B5EF4-FFF2-40B4-BE49-F238E27FC236}">
                <a16:creationId xmlns:a16="http://schemas.microsoft.com/office/drawing/2014/main" id="{BF99AA58-9FC0-03DF-8208-27BED5F44ED6}"/>
              </a:ext>
            </a:extLst>
          </p:cNvPr>
          <p:cNvSpPr>
            <a:spLocks noGrp="1"/>
          </p:cNvSpPr>
          <p:nvPr>
            <p:ph type="pic" sz="quarter" idx="23"/>
          </p:nvPr>
        </p:nvSpPr>
        <p:spPr>
          <a:xfrm>
            <a:off x="4458071" y="1624205"/>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22" name="Picture Placeholder 3">
            <a:extLst>
              <a:ext uri="{FF2B5EF4-FFF2-40B4-BE49-F238E27FC236}">
                <a16:creationId xmlns:a16="http://schemas.microsoft.com/office/drawing/2014/main" id="{AD148B2F-B493-BFBF-8393-261886DA3EE6}"/>
              </a:ext>
            </a:extLst>
          </p:cNvPr>
          <p:cNvSpPr>
            <a:spLocks noGrp="1"/>
          </p:cNvSpPr>
          <p:nvPr>
            <p:ph type="pic" sz="quarter" idx="24"/>
          </p:nvPr>
        </p:nvSpPr>
        <p:spPr>
          <a:xfrm>
            <a:off x="8382846" y="1624205"/>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Tree>
    <p:extLst>
      <p:ext uri="{BB962C8B-B14F-4D97-AF65-F5344CB8AC3E}">
        <p14:creationId xmlns:p14="http://schemas.microsoft.com/office/powerpoint/2010/main" val="1110225327"/>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_Icons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United Against Rabies Forum Meeting - 6-8 November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Picture Placeholder 3">
            <a:extLst>
              <a:ext uri="{FF2B5EF4-FFF2-40B4-BE49-F238E27FC236}">
                <a16:creationId xmlns:a16="http://schemas.microsoft.com/office/drawing/2014/main" id="{78B95D78-F57A-6D40-A841-7D1E3B08277B}"/>
              </a:ext>
            </a:extLst>
          </p:cNvPr>
          <p:cNvSpPr>
            <a:spLocks noGrp="1"/>
          </p:cNvSpPr>
          <p:nvPr>
            <p:ph type="pic" sz="quarter" idx="13"/>
          </p:nvPr>
        </p:nvSpPr>
        <p:spPr>
          <a:xfrm>
            <a:off x="515938"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8"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8"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47" name="Picture Placeholder 3">
            <a:extLst>
              <a:ext uri="{FF2B5EF4-FFF2-40B4-BE49-F238E27FC236}">
                <a16:creationId xmlns:a16="http://schemas.microsoft.com/office/drawing/2014/main" id="{F48D299A-6257-AC74-0FD7-6D22E29A5C4F}"/>
              </a:ext>
            </a:extLst>
          </p:cNvPr>
          <p:cNvSpPr>
            <a:spLocks noGrp="1"/>
          </p:cNvSpPr>
          <p:nvPr>
            <p:ph type="pic" sz="quarter" idx="17"/>
          </p:nvPr>
        </p:nvSpPr>
        <p:spPr>
          <a:xfrm>
            <a:off x="3387491"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48" name="Text Placeholder 6">
            <a:extLst>
              <a:ext uri="{FF2B5EF4-FFF2-40B4-BE49-F238E27FC236}">
                <a16:creationId xmlns:a16="http://schemas.microsoft.com/office/drawing/2014/main" id="{9E3D1709-B9E8-6689-9456-9D1A08D7BAA7}"/>
              </a:ext>
            </a:extLst>
          </p:cNvPr>
          <p:cNvSpPr>
            <a:spLocks noGrp="1"/>
          </p:cNvSpPr>
          <p:nvPr>
            <p:ph type="body" sz="quarter" idx="18"/>
          </p:nvPr>
        </p:nvSpPr>
        <p:spPr>
          <a:xfrm>
            <a:off x="3387491"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49" name="Text Placeholder 6">
            <a:extLst>
              <a:ext uri="{FF2B5EF4-FFF2-40B4-BE49-F238E27FC236}">
                <a16:creationId xmlns:a16="http://schemas.microsoft.com/office/drawing/2014/main" id="{C714C56E-261C-2C43-2BCC-4B86E64EE017}"/>
              </a:ext>
            </a:extLst>
          </p:cNvPr>
          <p:cNvSpPr>
            <a:spLocks noGrp="1"/>
          </p:cNvSpPr>
          <p:nvPr>
            <p:ph type="body" sz="quarter" idx="19"/>
          </p:nvPr>
        </p:nvSpPr>
        <p:spPr>
          <a:xfrm>
            <a:off x="3387491"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0" name="Picture Placeholder 3">
            <a:extLst>
              <a:ext uri="{FF2B5EF4-FFF2-40B4-BE49-F238E27FC236}">
                <a16:creationId xmlns:a16="http://schemas.microsoft.com/office/drawing/2014/main" id="{7BD682FD-9976-0C80-A887-A4D6D2E292BF}"/>
              </a:ext>
            </a:extLst>
          </p:cNvPr>
          <p:cNvSpPr>
            <a:spLocks noGrp="1"/>
          </p:cNvSpPr>
          <p:nvPr>
            <p:ph type="pic" sz="quarter" idx="20"/>
          </p:nvPr>
        </p:nvSpPr>
        <p:spPr>
          <a:xfrm>
            <a:off x="6259044"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1" name="Text Placeholder 6">
            <a:extLst>
              <a:ext uri="{FF2B5EF4-FFF2-40B4-BE49-F238E27FC236}">
                <a16:creationId xmlns:a16="http://schemas.microsoft.com/office/drawing/2014/main" id="{A9A5BE6C-6EDB-FAB6-4644-C243D0C50113}"/>
              </a:ext>
            </a:extLst>
          </p:cNvPr>
          <p:cNvSpPr>
            <a:spLocks noGrp="1"/>
          </p:cNvSpPr>
          <p:nvPr>
            <p:ph type="body" sz="quarter" idx="21"/>
          </p:nvPr>
        </p:nvSpPr>
        <p:spPr>
          <a:xfrm>
            <a:off x="6259044"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2" name="Text Placeholder 6">
            <a:extLst>
              <a:ext uri="{FF2B5EF4-FFF2-40B4-BE49-F238E27FC236}">
                <a16:creationId xmlns:a16="http://schemas.microsoft.com/office/drawing/2014/main" id="{CB0F2787-5A74-A6DE-F13C-3D79E01FA602}"/>
              </a:ext>
            </a:extLst>
          </p:cNvPr>
          <p:cNvSpPr>
            <a:spLocks noGrp="1"/>
          </p:cNvSpPr>
          <p:nvPr>
            <p:ph type="body" sz="quarter" idx="22"/>
          </p:nvPr>
        </p:nvSpPr>
        <p:spPr>
          <a:xfrm>
            <a:off x="6259044"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3" name="Picture Placeholder 3">
            <a:extLst>
              <a:ext uri="{FF2B5EF4-FFF2-40B4-BE49-F238E27FC236}">
                <a16:creationId xmlns:a16="http://schemas.microsoft.com/office/drawing/2014/main" id="{201E793D-C775-4026-041E-34664EC7CB24}"/>
              </a:ext>
            </a:extLst>
          </p:cNvPr>
          <p:cNvSpPr>
            <a:spLocks noGrp="1"/>
          </p:cNvSpPr>
          <p:nvPr>
            <p:ph type="pic" sz="quarter" idx="23"/>
          </p:nvPr>
        </p:nvSpPr>
        <p:spPr>
          <a:xfrm>
            <a:off x="9130597"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4" name="Text Placeholder 6">
            <a:extLst>
              <a:ext uri="{FF2B5EF4-FFF2-40B4-BE49-F238E27FC236}">
                <a16:creationId xmlns:a16="http://schemas.microsoft.com/office/drawing/2014/main" id="{804BD5F4-CAC4-3B9A-26F3-C0C1833171E1}"/>
              </a:ext>
            </a:extLst>
          </p:cNvPr>
          <p:cNvSpPr>
            <a:spLocks noGrp="1"/>
          </p:cNvSpPr>
          <p:nvPr>
            <p:ph type="body" sz="quarter" idx="24"/>
          </p:nvPr>
        </p:nvSpPr>
        <p:spPr>
          <a:xfrm>
            <a:off x="9130598"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5" name="Text Placeholder 6">
            <a:extLst>
              <a:ext uri="{FF2B5EF4-FFF2-40B4-BE49-F238E27FC236}">
                <a16:creationId xmlns:a16="http://schemas.microsoft.com/office/drawing/2014/main" id="{B233CA27-29C3-9FC3-D859-9E09C4A5F850}"/>
              </a:ext>
            </a:extLst>
          </p:cNvPr>
          <p:cNvSpPr>
            <a:spLocks noGrp="1"/>
          </p:cNvSpPr>
          <p:nvPr>
            <p:ph type="body" sz="quarter" idx="25"/>
          </p:nvPr>
        </p:nvSpPr>
        <p:spPr>
          <a:xfrm>
            <a:off x="9130598"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948674811"/>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_Icons x4 Gri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United Against Rabies Forum Meeting - 6-8 November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Picture Placeholder 3">
            <a:extLst>
              <a:ext uri="{FF2B5EF4-FFF2-40B4-BE49-F238E27FC236}">
                <a16:creationId xmlns:a16="http://schemas.microsoft.com/office/drawing/2014/main" id="{78B95D78-F57A-6D40-A841-7D1E3B08277B}"/>
              </a:ext>
            </a:extLst>
          </p:cNvPr>
          <p:cNvSpPr>
            <a:spLocks noGrp="1"/>
          </p:cNvSpPr>
          <p:nvPr>
            <p:ph type="pic" sz="quarter" idx="13"/>
          </p:nvPr>
        </p:nvSpPr>
        <p:spPr>
          <a:xfrm>
            <a:off x="515938" y="1304925"/>
            <a:ext cx="869950" cy="869950"/>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1549400" y="1687057"/>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1549400" y="1304925"/>
            <a:ext cx="4143829" cy="382135"/>
          </a:xfrm>
        </p:spPr>
        <p:txBody>
          <a:bodyPr>
            <a:normAutofit/>
          </a:bodyPr>
          <a:lstStyle>
            <a:lvl1pPr>
              <a:defRPr sz="1800" b="1">
                <a:solidFill>
                  <a:schemeClr val="bg2"/>
                </a:solidFill>
              </a:defRPr>
            </a:lvl1pPr>
          </a:lstStyle>
          <a:p>
            <a:pPr lvl="0"/>
            <a:r>
              <a:rPr lang="en-GB"/>
              <a:t>Click to edit Master text styles</a:t>
            </a:r>
          </a:p>
        </p:txBody>
      </p:sp>
      <p:sp>
        <p:nvSpPr>
          <p:cNvPr id="20" name="Picture Placeholder 3">
            <a:extLst>
              <a:ext uri="{FF2B5EF4-FFF2-40B4-BE49-F238E27FC236}">
                <a16:creationId xmlns:a16="http://schemas.microsoft.com/office/drawing/2014/main" id="{D3B567E7-3D24-6F43-A35A-BBC5B9C571B7}"/>
              </a:ext>
            </a:extLst>
          </p:cNvPr>
          <p:cNvSpPr>
            <a:spLocks noGrp="1"/>
          </p:cNvSpPr>
          <p:nvPr>
            <p:ph type="pic" sz="quarter" idx="17"/>
          </p:nvPr>
        </p:nvSpPr>
        <p:spPr>
          <a:xfrm>
            <a:off x="515938" y="3786232"/>
            <a:ext cx="869950" cy="869950"/>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1" name="Text Placeholder 6">
            <a:extLst>
              <a:ext uri="{FF2B5EF4-FFF2-40B4-BE49-F238E27FC236}">
                <a16:creationId xmlns:a16="http://schemas.microsoft.com/office/drawing/2014/main" id="{93E388B6-7D3E-7F4E-89BF-34EFDCA27B09}"/>
              </a:ext>
            </a:extLst>
          </p:cNvPr>
          <p:cNvSpPr>
            <a:spLocks noGrp="1"/>
          </p:cNvSpPr>
          <p:nvPr>
            <p:ph type="body" sz="quarter" idx="18"/>
          </p:nvPr>
        </p:nvSpPr>
        <p:spPr>
          <a:xfrm>
            <a:off x="1549400" y="4168364"/>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22" name="Text Placeholder 6">
            <a:extLst>
              <a:ext uri="{FF2B5EF4-FFF2-40B4-BE49-F238E27FC236}">
                <a16:creationId xmlns:a16="http://schemas.microsoft.com/office/drawing/2014/main" id="{881671EB-257B-ED4B-947C-F1B6F4FDC869}"/>
              </a:ext>
            </a:extLst>
          </p:cNvPr>
          <p:cNvSpPr>
            <a:spLocks noGrp="1"/>
          </p:cNvSpPr>
          <p:nvPr>
            <p:ph type="body" sz="quarter" idx="19"/>
          </p:nvPr>
        </p:nvSpPr>
        <p:spPr>
          <a:xfrm>
            <a:off x="1549400" y="3786232"/>
            <a:ext cx="4143829" cy="382135"/>
          </a:xfrm>
        </p:spPr>
        <p:txBody>
          <a:bodyPr>
            <a:normAutofit/>
          </a:bodyPr>
          <a:lstStyle>
            <a:lvl1pPr>
              <a:defRPr sz="1800" b="1">
                <a:solidFill>
                  <a:schemeClr val="bg2"/>
                </a:solidFill>
              </a:defRPr>
            </a:lvl1pPr>
          </a:lstStyle>
          <a:p>
            <a:pPr lvl="0"/>
            <a:r>
              <a:rPr lang="en-GB"/>
              <a:t>Click to edit Master text styles</a:t>
            </a:r>
          </a:p>
        </p:txBody>
      </p:sp>
      <p:sp>
        <p:nvSpPr>
          <p:cNvPr id="23" name="Picture Placeholder 3">
            <a:extLst>
              <a:ext uri="{FF2B5EF4-FFF2-40B4-BE49-F238E27FC236}">
                <a16:creationId xmlns:a16="http://schemas.microsoft.com/office/drawing/2014/main" id="{92691027-CA0E-E24A-BE52-C681CD1360B7}"/>
              </a:ext>
            </a:extLst>
          </p:cNvPr>
          <p:cNvSpPr>
            <a:spLocks noGrp="1"/>
          </p:cNvSpPr>
          <p:nvPr>
            <p:ph type="pic" sz="quarter" idx="20"/>
          </p:nvPr>
        </p:nvSpPr>
        <p:spPr>
          <a:xfrm>
            <a:off x="6498773" y="1304925"/>
            <a:ext cx="869950" cy="869950"/>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4" name="Text Placeholder 6">
            <a:extLst>
              <a:ext uri="{FF2B5EF4-FFF2-40B4-BE49-F238E27FC236}">
                <a16:creationId xmlns:a16="http://schemas.microsoft.com/office/drawing/2014/main" id="{6C29C828-D0AF-8740-B636-DCE11FB0484F}"/>
              </a:ext>
            </a:extLst>
          </p:cNvPr>
          <p:cNvSpPr>
            <a:spLocks noGrp="1"/>
          </p:cNvSpPr>
          <p:nvPr>
            <p:ph type="body" sz="quarter" idx="21"/>
          </p:nvPr>
        </p:nvSpPr>
        <p:spPr>
          <a:xfrm>
            <a:off x="7532235" y="1687057"/>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25" name="Text Placeholder 6">
            <a:extLst>
              <a:ext uri="{FF2B5EF4-FFF2-40B4-BE49-F238E27FC236}">
                <a16:creationId xmlns:a16="http://schemas.microsoft.com/office/drawing/2014/main" id="{58CECF4C-60E6-054F-A58B-39ED49ED6AD2}"/>
              </a:ext>
            </a:extLst>
          </p:cNvPr>
          <p:cNvSpPr>
            <a:spLocks noGrp="1"/>
          </p:cNvSpPr>
          <p:nvPr>
            <p:ph type="body" sz="quarter" idx="22"/>
          </p:nvPr>
        </p:nvSpPr>
        <p:spPr>
          <a:xfrm>
            <a:off x="7532235" y="1304925"/>
            <a:ext cx="4143829" cy="382135"/>
          </a:xfrm>
        </p:spPr>
        <p:txBody>
          <a:bodyPr>
            <a:normAutofit/>
          </a:bodyPr>
          <a:lstStyle>
            <a:lvl1pPr>
              <a:defRPr sz="1800" b="1">
                <a:solidFill>
                  <a:schemeClr val="bg2"/>
                </a:solidFill>
              </a:defRPr>
            </a:lvl1pPr>
          </a:lstStyle>
          <a:p>
            <a:pPr lvl="0"/>
            <a:r>
              <a:rPr lang="en-GB"/>
              <a:t>Click to edit Master text styles</a:t>
            </a:r>
          </a:p>
        </p:txBody>
      </p:sp>
      <p:sp>
        <p:nvSpPr>
          <p:cNvPr id="26" name="Picture Placeholder 3">
            <a:extLst>
              <a:ext uri="{FF2B5EF4-FFF2-40B4-BE49-F238E27FC236}">
                <a16:creationId xmlns:a16="http://schemas.microsoft.com/office/drawing/2014/main" id="{CD7BB1DF-4B0D-0046-AD00-F6E58908BDED}"/>
              </a:ext>
            </a:extLst>
          </p:cNvPr>
          <p:cNvSpPr>
            <a:spLocks noGrp="1"/>
          </p:cNvSpPr>
          <p:nvPr>
            <p:ph type="pic" sz="quarter" idx="23"/>
          </p:nvPr>
        </p:nvSpPr>
        <p:spPr>
          <a:xfrm>
            <a:off x="6498773" y="3786232"/>
            <a:ext cx="869950" cy="869950"/>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7" name="Text Placeholder 6">
            <a:extLst>
              <a:ext uri="{FF2B5EF4-FFF2-40B4-BE49-F238E27FC236}">
                <a16:creationId xmlns:a16="http://schemas.microsoft.com/office/drawing/2014/main" id="{FDABD8D9-C71A-A446-8E62-82A359216E99}"/>
              </a:ext>
            </a:extLst>
          </p:cNvPr>
          <p:cNvSpPr>
            <a:spLocks noGrp="1"/>
          </p:cNvSpPr>
          <p:nvPr>
            <p:ph type="body" sz="quarter" idx="24"/>
          </p:nvPr>
        </p:nvSpPr>
        <p:spPr>
          <a:xfrm>
            <a:off x="7532235" y="4168364"/>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28" name="Text Placeholder 6">
            <a:extLst>
              <a:ext uri="{FF2B5EF4-FFF2-40B4-BE49-F238E27FC236}">
                <a16:creationId xmlns:a16="http://schemas.microsoft.com/office/drawing/2014/main" id="{0340EBB2-1491-9444-9D25-3567B2AAB22F}"/>
              </a:ext>
            </a:extLst>
          </p:cNvPr>
          <p:cNvSpPr>
            <a:spLocks noGrp="1"/>
          </p:cNvSpPr>
          <p:nvPr>
            <p:ph type="body" sz="quarter" idx="25"/>
          </p:nvPr>
        </p:nvSpPr>
        <p:spPr>
          <a:xfrm>
            <a:off x="7532235" y="3786232"/>
            <a:ext cx="4143829" cy="382135"/>
          </a:xfrm>
        </p:spPr>
        <p:txBody>
          <a:bodyPr>
            <a:normAutofit/>
          </a:bodyPr>
          <a:lstStyle>
            <a:lvl1pPr>
              <a:defRPr sz="1800"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268286795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hank you 2">
    <p:spTree>
      <p:nvGrpSpPr>
        <p:cNvPr id="1" name=""/>
        <p:cNvGrpSpPr/>
        <p:nvPr/>
      </p:nvGrpSpPr>
      <p:grpSpPr>
        <a:xfrm>
          <a:off x="0" y="0"/>
          <a:ext cx="0" cy="0"/>
          <a:chOff x="0" y="0"/>
          <a:chExt cx="0" cy="0"/>
        </a:xfrm>
      </p:grpSpPr>
      <p:sp>
        <p:nvSpPr>
          <p:cNvPr id="7" name="CuadroTexto 5"/>
          <p:cNvSpPr txBox="1"/>
          <p:nvPr userDrawn="1"/>
        </p:nvSpPr>
        <p:spPr>
          <a:xfrm>
            <a:off x="1" y="1707904"/>
            <a:ext cx="12192000" cy="3902322"/>
          </a:xfrm>
          <a:prstGeom prst="rect">
            <a:avLst/>
          </a:prstGeom>
          <a:solidFill>
            <a:srgbClr val="A50021"/>
          </a:solidFill>
        </p:spPr>
        <p:txBody>
          <a:bodyPr wrap="square" lIns="864000" tIns="270000" rIns="1728000" bIns="270000" rtlCol="0" anchor="ctr" anchorCtr="0">
            <a:noAutofit/>
          </a:bodyPr>
          <a:lstStyle/>
          <a:p>
            <a:pPr marL="0" marR="0" lvl="0" indent="0" algn="r" defTabSz="342900" eaLnBrk="1" fontAlgn="auto" latinLnBrk="0" hangingPunct="1">
              <a:lnSpc>
                <a:spcPct val="120000"/>
              </a:lnSpc>
              <a:spcBef>
                <a:spcPts val="0"/>
              </a:spcBef>
              <a:spcAft>
                <a:spcPts val="0"/>
              </a:spcAft>
              <a:buClrTx/>
              <a:buSzTx/>
              <a:buFontTx/>
              <a:buNone/>
              <a:tabLst/>
              <a:defRPr/>
            </a:pPr>
            <a:endParaRPr kumimoji="0" lang="es-ES" sz="1800" b="0" i="0" u="none" strike="noStrike" kern="0" cap="none" spc="0" normalizeH="0" baseline="0" noProof="0">
              <a:ln>
                <a:noFill/>
              </a:ln>
              <a:solidFill>
                <a:srgbClr val="FFFFFF"/>
              </a:solidFill>
              <a:effectLst/>
              <a:uLnTx/>
              <a:uFillTx/>
              <a:latin typeface="Arial"/>
            </a:endParaRPr>
          </a:p>
        </p:txBody>
      </p:sp>
      <p:sp>
        <p:nvSpPr>
          <p:cNvPr id="3" name="Espace réservé du texte 2"/>
          <p:cNvSpPr>
            <a:spLocks noGrp="1"/>
          </p:cNvSpPr>
          <p:nvPr>
            <p:ph type="body" sz="quarter" idx="10" hasCustomPrompt="1"/>
          </p:nvPr>
        </p:nvSpPr>
        <p:spPr>
          <a:xfrm>
            <a:off x="5761567" y="2420941"/>
            <a:ext cx="5954184" cy="858837"/>
          </a:xfrm>
        </p:spPr>
        <p:txBody>
          <a:bodyPr/>
          <a:lstStyle>
            <a:lvl1pPr marL="0" indent="0" algn="r">
              <a:buNone/>
              <a:defRPr sz="1050">
                <a:solidFill>
                  <a:schemeClr val="bg1"/>
                </a:solidFill>
              </a:defRPr>
            </a:lvl1pPr>
          </a:lstStyle>
          <a:p>
            <a:pPr lvl="0"/>
            <a:r>
              <a:rPr lang="fr-FR"/>
              <a:t>Name of the speaker</a:t>
            </a:r>
          </a:p>
        </p:txBody>
      </p:sp>
      <p:sp>
        <p:nvSpPr>
          <p:cNvPr id="4" name="Sous-titre 2"/>
          <p:cNvSpPr>
            <a:spLocks noGrp="1"/>
          </p:cNvSpPr>
          <p:nvPr>
            <p:ph type="subTitle" idx="1" hasCustomPrompt="1"/>
          </p:nvPr>
        </p:nvSpPr>
        <p:spPr>
          <a:xfrm>
            <a:off x="527383" y="260649"/>
            <a:ext cx="11137237" cy="1296143"/>
          </a:xfrm>
        </p:spPr>
        <p:txBody>
          <a:bodyPr anchor="ctr"/>
          <a:lstStyle>
            <a:lvl1pPr marL="0" indent="0" algn="ctr">
              <a:buNone/>
              <a:defRPr lang="fr-FR" sz="3000" b="1" kern="1200" baseline="0" dirty="0">
                <a:solidFill>
                  <a:srgbClr val="A50021"/>
                </a:solidFill>
                <a:latin typeface="Arial" pitchFamily="34" charset="0"/>
                <a:ea typeface="+mn-ea"/>
                <a:cs typeface="+mn-cs"/>
              </a:defRPr>
            </a:lvl1pPr>
            <a:lvl2pPr marL="342900" indent="0" algn="ctr">
              <a:buNone/>
              <a:defRPr/>
            </a:lvl2pPr>
            <a:lvl3pPr marL="685800" indent="0" algn="ctr">
              <a:buNone/>
              <a:defRPr/>
            </a:lvl3pPr>
            <a:lvl4pPr marL="1028700" indent="0" algn="ctr">
              <a:buNone/>
              <a:defRPr/>
            </a:lvl4pPr>
            <a:lvl5pPr marL="1371600" indent="0" algn="ctr">
              <a:buNone/>
              <a:defRPr/>
            </a:lvl5pPr>
            <a:lvl6pPr marL="1714500" indent="0" algn="ctr">
              <a:buNone/>
              <a:defRPr/>
            </a:lvl6pPr>
            <a:lvl7pPr marL="2057400" indent="0" algn="ctr">
              <a:buNone/>
              <a:defRPr/>
            </a:lvl7pPr>
            <a:lvl8pPr marL="2400300" indent="0" algn="ctr">
              <a:buNone/>
              <a:defRPr/>
            </a:lvl8pPr>
            <a:lvl9pPr marL="2743200" indent="0" algn="ctr">
              <a:buNone/>
              <a:defRPr/>
            </a:lvl9pPr>
          </a:lstStyle>
          <a:p>
            <a:r>
              <a:rPr lang="fr-FR" err="1"/>
              <a:t>Thank</a:t>
            </a:r>
            <a:r>
              <a:rPr lang="fr-FR"/>
              <a:t> </a:t>
            </a:r>
            <a:r>
              <a:rPr lang="fr-FR" err="1"/>
              <a:t>you</a:t>
            </a:r>
            <a:r>
              <a:rPr lang="fr-FR"/>
              <a:t> for </a:t>
            </a:r>
            <a:r>
              <a:rPr lang="fr-FR" err="1"/>
              <a:t>your</a:t>
            </a:r>
            <a:r>
              <a:rPr lang="fr-FR"/>
              <a:t> attention</a:t>
            </a:r>
          </a:p>
        </p:txBody>
      </p:sp>
      <p:pic>
        <p:nvPicPr>
          <p:cNvPr id="8" name="Imagen 10"/>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6105627" y="4430628"/>
            <a:ext cx="5488980" cy="510540"/>
          </a:xfrm>
          <a:prstGeom prst="rect">
            <a:avLst/>
          </a:prstGeom>
        </p:spPr>
      </p:pic>
      <p:pic>
        <p:nvPicPr>
          <p:cNvPr id="9" name="Picture 6" descr="page10-1035-full copie"/>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1391479" y="1811516"/>
            <a:ext cx="2968876" cy="3695098"/>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7" name="CuadroTexto 9"/>
          <p:cNvSpPr txBox="1"/>
          <p:nvPr userDrawn="1"/>
        </p:nvSpPr>
        <p:spPr>
          <a:xfrm>
            <a:off x="335360" y="5810524"/>
            <a:ext cx="4320480" cy="858836"/>
          </a:xfrm>
          <a:prstGeom prst="rect">
            <a:avLst/>
          </a:prstGeom>
          <a:noFill/>
        </p:spPr>
        <p:txBody>
          <a:bodyPr wrap="square" lIns="0" tIns="0" rIns="0" bIns="0" rtlCol="0" anchor="ctr" anchorCtr="0">
            <a:noAutofit/>
          </a:bodyPr>
          <a:lstStyle/>
          <a:p>
            <a:pPr algn="r" fontAlgn="auto">
              <a:spcAft>
                <a:spcPts val="0"/>
              </a:spcAft>
              <a:defRPr/>
            </a:pPr>
            <a:r>
              <a:rPr lang="fr-FR" sz="900" kern="0">
                <a:solidFill>
                  <a:srgbClr val="5F5F5F"/>
                </a:solidFill>
                <a:cs typeface="Arial" pitchFamily="34" charset="0"/>
              </a:rPr>
              <a:t>12, rue de Prony, 75017 Paris, France </a:t>
            </a:r>
          </a:p>
          <a:p>
            <a:pPr algn="r" fontAlgn="auto">
              <a:spcAft>
                <a:spcPts val="0"/>
              </a:spcAft>
              <a:defRPr/>
            </a:pPr>
            <a:r>
              <a:rPr lang="fr-FR" sz="1050" b="1" kern="0">
                <a:solidFill>
                  <a:srgbClr val="5F5F5F"/>
                </a:solidFill>
                <a:cs typeface="Arial" pitchFamily="34" charset="0"/>
              </a:rPr>
              <a:t>www.oie.int</a:t>
            </a:r>
          </a:p>
          <a:p>
            <a:pPr algn="r" fontAlgn="auto">
              <a:spcAft>
                <a:spcPts val="0"/>
              </a:spcAft>
              <a:defRPr/>
            </a:pPr>
            <a:r>
              <a:rPr lang="fr-FR" sz="1050" b="0" kern="0">
                <a:solidFill>
                  <a:srgbClr val="5F5F5F"/>
                </a:solidFill>
                <a:cs typeface="Arial" pitchFamily="34" charset="0"/>
              </a:rPr>
              <a:t>media@oie.int</a:t>
            </a:r>
            <a:r>
              <a:rPr lang="fr-FR" sz="1050" b="0" kern="0" baseline="0">
                <a:solidFill>
                  <a:srgbClr val="5F5F5F"/>
                </a:solidFill>
                <a:cs typeface="Arial" pitchFamily="34" charset="0"/>
              </a:rPr>
              <a:t>  -  </a:t>
            </a:r>
            <a:r>
              <a:rPr lang="fr-FR" sz="1050" b="0" kern="0">
                <a:solidFill>
                  <a:srgbClr val="5F5F5F"/>
                </a:solidFill>
                <a:cs typeface="Arial" pitchFamily="34" charset="0"/>
              </a:rPr>
              <a:t>oie@oie.int </a:t>
            </a:r>
          </a:p>
        </p:txBody>
      </p:sp>
      <p:pic>
        <p:nvPicPr>
          <p:cNvPr id="12" name="Picture 23" descr="O:\Pubmz\ADMIN\CHARTE GRAPHIQUE OIE\Logos réseaux sociaux carrés\Youtube_gris.png"/>
          <p:cNvPicPr>
            <a:picLocks noChangeAspect="1" noChangeArrowheads="1"/>
          </p:cNvPicPr>
          <p:nvPr userDrawn="1"/>
        </p:nvPicPr>
        <p:blipFill rotWithShape="1">
          <a:blip r:embed="rId4" cstate="email">
            <a:extLst>
              <a:ext uri="{28A0092B-C50C-407E-A947-70E740481C1C}">
                <a14:useLocalDpi xmlns:a14="http://schemas.microsoft.com/office/drawing/2010/main" val="0"/>
              </a:ext>
            </a:extLst>
          </a:blip>
          <a:srcRect t="12944" b="14284"/>
          <a:stretch/>
        </p:blipFill>
        <p:spPr bwMode="auto">
          <a:xfrm>
            <a:off x="10416418" y="6086510"/>
            <a:ext cx="672108" cy="366831"/>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24" descr="O:\Pubmz\ADMIN\CHARTE GRAPHIQUE OIE\Logos réseaux sociaux carrés\Facebook_gris.png"/>
          <p:cNvPicPr>
            <a:picLocks noChangeAspect="1" noChangeArrowheads="1"/>
          </p:cNvPicPr>
          <p:nvPr userDrawn="1"/>
        </p:nvPicPr>
        <p:blipFill rotWithShape="1">
          <a:blip r:embed="rId5" cstate="email">
            <a:extLst>
              <a:ext uri="{28A0092B-C50C-407E-A947-70E740481C1C}">
                <a14:useLocalDpi xmlns:a14="http://schemas.microsoft.com/office/drawing/2010/main" val="0"/>
              </a:ext>
            </a:extLst>
          </a:blip>
          <a:srcRect t="12944" b="14284"/>
          <a:stretch/>
        </p:blipFill>
        <p:spPr bwMode="auto">
          <a:xfrm>
            <a:off x="8440342" y="6086510"/>
            <a:ext cx="672108" cy="366831"/>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25" descr="O:\Pubmz\ADMIN\CHARTE GRAPHIQUE OIE\Logos réseaux sociaux carrés\FlickR_gris.png"/>
          <p:cNvPicPr>
            <a:picLocks noChangeAspect="1" noChangeArrowheads="1"/>
          </p:cNvPicPr>
          <p:nvPr userDrawn="1"/>
        </p:nvPicPr>
        <p:blipFill rotWithShape="1">
          <a:blip r:embed="rId6" cstate="email">
            <a:extLst>
              <a:ext uri="{28A0092B-C50C-407E-A947-70E740481C1C}">
                <a14:useLocalDpi xmlns:a14="http://schemas.microsoft.com/office/drawing/2010/main" val="0"/>
              </a:ext>
            </a:extLst>
          </a:blip>
          <a:srcRect t="14776" b="12452"/>
          <a:stretch/>
        </p:blipFill>
        <p:spPr bwMode="auto">
          <a:xfrm>
            <a:off x="11088523" y="6086510"/>
            <a:ext cx="672108" cy="366831"/>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26" descr="O:\Pubmz\ADMIN\CHARTE GRAPHIQUE OIE\Logos réseaux sociaux carrés\Twitter_gris.png"/>
          <p:cNvPicPr>
            <a:picLocks noChangeAspect="1" noChangeArrowheads="1"/>
          </p:cNvPicPr>
          <p:nvPr userDrawn="1"/>
        </p:nvPicPr>
        <p:blipFill rotWithShape="1">
          <a:blip r:embed="rId7" cstate="email">
            <a:extLst>
              <a:ext uri="{28A0092B-C50C-407E-A947-70E740481C1C}">
                <a14:useLocalDpi xmlns:a14="http://schemas.microsoft.com/office/drawing/2010/main" val="0"/>
              </a:ext>
            </a:extLst>
          </a:blip>
          <a:srcRect t="12944" b="14284"/>
          <a:stretch/>
        </p:blipFill>
        <p:spPr bwMode="auto">
          <a:xfrm>
            <a:off x="9112450" y="6086507"/>
            <a:ext cx="672108" cy="366830"/>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 descr="O:\Pubmz\ADMIN\CHARTE GRAPHIQUE OIE\Logos réseaux sociaux carrés\LinkedIn_gris.png"/>
          <p:cNvPicPr>
            <a:picLocks noChangeAspect="1" noChangeArrowheads="1"/>
          </p:cNvPicPr>
          <p:nvPr userDrawn="1"/>
        </p:nvPicPr>
        <p:blipFill rotWithShape="1">
          <a:blip r:embed="rId8" cstate="email">
            <a:extLst>
              <a:ext uri="{28A0092B-C50C-407E-A947-70E740481C1C}">
                <a14:useLocalDpi xmlns:a14="http://schemas.microsoft.com/office/drawing/2010/main" val="0"/>
              </a:ext>
            </a:extLst>
          </a:blip>
          <a:srcRect l="9061" t="14002" r="10567" b="9649"/>
          <a:stretch/>
        </p:blipFill>
        <p:spPr bwMode="auto">
          <a:xfrm>
            <a:off x="9840418" y="6086506"/>
            <a:ext cx="514887" cy="3668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925660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up)">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_Text + 3 Objectiv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342900" indent="-342900">
              <a:buClr>
                <a:schemeClr val="bg2"/>
              </a:buClr>
              <a:buFont typeface="Arial" panose="020B0604020202020204" pitchFamily="34" charset="0"/>
              <a:buChar char="•"/>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United Against Rabies Forum Meeting - 6-8 November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23" name="Round Same-side Corner of Rectangle 22">
            <a:extLst>
              <a:ext uri="{FF2B5EF4-FFF2-40B4-BE49-F238E27FC236}">
                <a16:creationId xmlns:a16="http://schemas.microsoft.com/office/drawing/2014/main" id="{16D0EA1C-2C30-674C-9E0D-D3B85EFE8B44}"/>
              </a:ext>
            </a:extLst>
          </p:cNvPr>
          <p:cNvSpPr/>
          <p:nvPr userDrawn="1"/>
        </p:nvSpPr>
        <p:spPr>
          <a:xfrm rot="5400000" flipH="1">
            <a:off x="8698709" y="2420146"/>
            <a:ext cx="1350948" cy="5635632"/>
          </a:xfrm>
          <a:prstGeom prst="round2SameRect">
            <a:avLst>
              <a:gd name="adj1" fmla="val 0"/>
              <a:gd name="adj2"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lumMod val="85000"/>
                </a:schemeClr>
              </a:solidFill>
            </a:endParaRPr>
          </a:p>
        </p:txBody>
      </p:sp>
      <p:sp>
        <p:nvSpPr>
          <p:cNvPr id="24" name="Text Placeholder 6">
            <a:extLst>
              <a:ext uri="{FF2B5EF4-FFF2-40B4-BE49-F238E27FC236}">
                <a16:creationId xmlns:a16="http://schemas.microsoft.com/office/drawing/2014/main" id="{0933F7F4-7E4A-AD4A-B080-3883C01BCEA1}"/>
              </a:ext>
            </a:extLst>
          </p:cNvPr>
          <p:cNvSpPr>
            <a:spLocks noGrp="1"/>
          </p:cNvSpPr>
          <p:nvPr>
            <p:ph type="body" sz="quarter" idx="27"/>
          </p:nvPr>
        </p:nvSpPr>
        <p:spPr>
          <a:xfrm>
            <a:off x="7955149" y="5013397"/>
            <a:ext cx="3715133" cy="792044"/>
          </a:xfrm>
        </p:spPr>
        <p:txBody>
          <a:bodyPr anchor="t">
            <a:normAutofit/>
          </a:bodyPr>
          <a:lstStyle>
            <a:lvl1pPr marL="179388" indent="-179388">
              <a:lnSpc>
                <a:spcPct val="110000"/>
              </a:lnSpc>
              <a:spcBef>
                <a:spcPts val="0"/>
              </a:spcBef>
              <a:spcAft>
                <a:spcPts val="600"/>
              </a:spcAft>
              <a:buFont typeface="Arial" panose="020B0604020202020204" pitchFamily="34" charset="0"/>
              <a:buChar char="•"/>
              <a:tabLst/>
              <a:defRPr sz="1400" b="1">
                <a:solidFill>
                  <a:schemeClr val="bg1"/>
                </a:solidFill>
              </a:defRPr>
            </a:lvl1pPr>
          </a:lstStyle>
          <a:p>
            <a:pPr lvl="0"/>
            <a:r>
              <a:rPr lang="en-GB"/>
              <a:t>Click to edit Master text styles</a:t>
            </a:r>
          </a:p>
        </p:txBody>
      </p:sp>
      <p:sp>
        <p:nvSpPr>
          <p:cNvPr id="25" name="Text Placeholder 6">
            <a:extLst>
              <a:ext uri="{FF2B5EF4-FFF2-40B4-BE49-F238E27FC236}">
                <a16:creationId xmlns:a16="http://schemas.microsoft.com/office/drawing/2014/main" id="{66DF01F6-3014-6E4B-AB71-62673ED7268C}"/>
              </a:ext>
            </a:extLst>
          </p:cNvPr>
          <p:cNvSpPr>
            <a:spLocks noGrp="1"/>
          </p:cNvSpPr>
          <p:nvPr>
            <p:ph type="body" sz="quarter" idx="28" hasCustomPrompt="1"/>
          </p:nvPr>
        </p:nvSpPr>
        <p:spPr>
          <a:xfrm>
            <a:off x="7955149" y="4663313"/>
            <a:ext cx="1917616" cy="249259"/>
          </a:xfrm>
        </p:spPr>
        <p:txBody>
          <a:bodyPr anchor="t">
            <a:normAutofit/>
          </a:bodyPr>
          <a:lstStyle>
            <a:lvl1pPr algn="l">
              <a:lnSpc>
                <a:spcPct val="110000"/>
              </a:lnSpc>
              <a:spcAft>
                <a:spcPts val="600"/>
              </a:spcAft>
              <a:defRPr sz="1600" b="1">
                <a:solidFill>
                  <a:schemeClr val="tx2">
                    <a:lumMod val="40000"/>
                    <a:lumOff val="60000"/>
                  </a:schemeClr>
                </a:solidFill>
              </a:defRPr>
            </a:lvl1pPr>
          </a:lstStyle>
          <a:p>
            <a:pPr lvl="0"/>
            <a:r>
              <a:rPr lang="en-GB"/>
              <a:t>Title</a:t>
            </a:r>
          </a:p>
        </p:txBody>
      </p:sp>
      <p:sp>
        <p:nvSpPr>
          <p:cNvPr id="26" name="Picture Placeholder 3">
            <a:extLst>
              <a:ext uri="{FF2B5EF4-FFF2-40B4-BE49-F238E27FC236}">
                <a16:creationId xmlns:a16="http://schemas.microsoft.com/office/drawing/2014/main" id="{E49618F2-620F-A042-9095-E7C4C137E2ED}"/>
              </a:ext>
            </a:extLst>
          </p:cNvPr>
          <p:cNvSpPr>
            <a:spLocks noGrp="1"/>
          </p:cNvSpPr>
          <p:nvPr>
            <p:ph type="pic" sz="quarter" idx="29"/>
          </p:nvPr>
        </p:nvSpPr>
        <p:spPr>
          <a:xfrm>
            <a:off x="6957092" y="4846809"/>
            <a:ext cx="767874" cy="767874"/>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7" name="Round Same-side Corner of Rectangle 26">
            <a:extLst>
              <a:ext uri="{FF2B5EF4-FFF2-40B4-BE49-F238E27FC236}">
                <a16:creationId xmlns:a16="http://schemas.microsoft.com/office/drawing/2014/main" id="{CFB215F2-B96A-D14F-B549-E8D9FA660A0B}"/>
              </a:ext>
            </a:extLst>
          </p:cNvPr>
          <p:cNvSpPr/>
          <p:nvPr userDrawn="1"/>
        </p:nvSpPr>
        <p:spPr>
          <a:xfrm rot="5400000" flipH="1">
            <a:off x="8698709" y="791363"/>
            <a:ext cx="1350948" cy="5635632"/>
          </a:xfrm>
          <a:prstGeom prst="round2SameRect">
            <a:avLst>
              <a:gd name="adj1" fmla="val 0"/>
              <a:gd name="adj2"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lumMod val="85000"/>
                </a:schemeClr>
              </a:solidFill>
            </a:endParaRPr>
          </a:p>
        </p:txBody>
      </p:sp>
      <p:sp>
        <p:nvSpPr>
          <p:cNvPr id="28" name="Text Placeholder 6">
            <a:extLst>
              <a:ext uri="{FF2B5EF4-FFF2-40B4-BE49-F238E27FC236}">
                <a16:creationId xmlns:a16="http://schemas.microsoft.com/office/drawing/2014/main" id="{F2701821-5C13-4746-B598-28CE9EEFDFD0}"/>
              </a:ext>
            </a:extLst>
          </p:cNvPr>
          <p:cNvSpPr>
            <a:spLocks noGrp="1"/>
          </p:cNvSpPr>
          <p:nvPr>
            <p:ph type="body" sz="quarter" idx="30"/>
          </p:nvPr>
        </p:nvSpPr>
        <p:spPr>
          <a:xfrm>
            <a:off x="7955149" y="3384614"/>
            <a:ext cx="3715133" cy="792044"/>
          </a:xfrm>
        </p:spPr>
        <p:txBody>
          <a:bodyPr anchor="t">
            <a:normAutofit/>
          </a:bodyPr>
          <a:lstStyle>
            <a:lvl1pPr marL="179388" indent="-179388">
              <a:lnSpc>
                <a:spcPct val="110000"/>
              </a:lnSpc>
              <a:spcBef>
                <a:spcPts val="0"/>
              </a:spcBef>
              <a:spcAft>
                <a:spcPts val="600"/>
              </a:spcAft>
              <a:buFont typeface="Arial" panose="020B0604020202020204" pitchFamily="34" charset="0"/>
              <a:buChar char="•"/>
              <a:tabLst/>
              <a:defRPr sz="1400" b="1">
                <a:solidFill>
                  <a:schemeClr val="bg1"/>
                </a:solidFill>
              </a:defRPr>
            </a:lvl1pPr>
          </a:lstStyle>
          <a:p>
            <a:pPr lvl="0"/>
            <a:r>
              <a:rPr lang="en-GB"/>
              <a:t>Click to edit Master text styles</a:t>
            </a:r>
          </a:p>
        </p:txBody>
      </p:sp>
      <p:sp>
        <p:nvSpPr>
          <p:cNvPr id="29" name="Text Placeholder 6">
            <a:extLst>
              <a:ext uri="{FF2B5EF4-FFF2-40B4-BE49-F238E27FC236}">
                <a16:creationId xmlns:a16="http://schemas.microsoft.com/office/drawing/2014/main" id="{8C928579-FF9D-8E4F-912D-F44BF03ECF0E}"/>
              </a:ext>
            </a:extLst>
          </p:cNvPr>
          <p:cNvSpPr>
            <a:spLocks noGrp="1"/>
          </p:cNvSpPr>
          <p:nvPr>
            <p:ph type="body" sz="quarter" idx="31" hasCustomPrompt="1"/>
          </p:nvPr>
        </p:nvSpPr>
        <p:spPr>
          <a:xfrm>
            <a:off x="7955149" y="3034530"/>
            <a:ext cx="1917616" cy="249259"/>
          </a:xfrm>
        </p:spPr>
        <p:txBody>
          <a:bodyPr anchor="t">
            <a:normAutofit/>
          </a:bodyPr>
          <a:lstStyle>
            <a:lvl1pPr algn="l">
              <a:lnSpc>
                <a:spcPct val="110000"/>
              </a:lnSpc>
              <a:spcAft>
                <a:spcPts val="600"/>
              </a:spcAft>
              <a:defRPr sz="1600" b="1">
                <a:solidFill>
                  <a:schemeClr val="tx2">
                    <a:lumMod val="40000"/>
                    <a:lumOff val="60000"/>
                  </a:schemeClr>
                </a:solidFill>
              </a:defRPr>
            </a:lvl1pPr>
          </a:lstStyle>
          <a:p>
            <a:pPr lvl="0"/>
            <a:r>
              <a:rPr lang="en-GB"/>
              <a:t>Title</a:t>
            </a:r>
          </a:p>
        </p:txBody>
      </p:sp>
      <p:sp>
        <p:nvSpPr>
          <p:cNvPr id="30" name="Picture Placeholder 3">
            <a:extLst>
              <a:ext uri="{FF2B5EF4-FFF2-40B4-BE49-F238E27FC236}">
                <a16:creationId xmlns:a16="http://schemas.microsoft.com/office/drawing/2014/main" id="{B617E54E-8C7A-E24B-A3E6-FFD196430237}"/>
              </a:ext>
            </a:extLst>
          </p:cNvPr>
          <p:cNvSpPr>
            <a:spLocks noGrp="1"/>
          </p:cNvSpPr>
          <p:nvPr>
            <p:ph type="pic" sz="quarter" idx="32"/>
          </p:nvPr>
        </p:nvSpPr>
        <p:spPr>
          <a:xfrm>
            <a:off x="6957092" y="3218026"/>
            <a:ext cx="767874" cy="767874"/>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31" name="Round Same-side Corner of Rectangle 30">
            <a:extLst>
              <a:ext uri="{FF2B5EF4-FFF2-40B4-BE49-F238E27FC236}">
                <a16:creationId xmlns:a16="http://schemas.microsoft.com/office/drawing/2014/main" id="{468DF2F5-0340-4C4E-8BAB-B68D68BDB1CC}"/>
              </a:ext>
            </a:extLst>
          </p:cNvPr>
          <p:cNvSpPr/>
          <p:nvPr userDrawn="1"/>
        </p:nvSpPr>
        <p:spPr>
          <a:xfrm rot="5400000" flipH="1">
            <a:off x="8698709" y="-837418"/>
            <a:ext cx="1350948" cy="5635632"/>
          </a:xfrm>
          <a:prstGeom prst="round2SameRect">
            <a:avLst>
              <a:gd name="adj1" fmla="val 0"/>
              <a:gd name="adj2"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lumMod val="85000"/>
                </a:schemeClr>
              </a:solidFill>
            </a:endParaRPr>
          </a:p>
        </p:txBody>
      </p:sp>
      <p:sp>
        <p:nvSpPr>
          <p:cNvPr id="32" name="Text Placeholder 6">
            <a:extLst>
              <a:ext uri="{FF2B5EF4-FFF2-40B4-BE49-F238E27FC236}">
                <a16:creationId xmlns:a16="http://schemas.microsoft.com/office/drawing/2014/main" id="{8297A7AF-4FD1-0044-A50C-5C0CE488521B}"/>
              </a:ext>
            </a:extLst>
          </p:cNvPr>
          <p:cNvSpPr>
            <a:spLocks noGrp="1"/>
          </p:cNvSpPr>
          <p:nvPr>
            <p:ph type="body" sz="quarter" idx="33"/>
          </p:nvPr>
        </p:nvSpPr>
        <p:spPr>
          <a:xfrm>
            <a:off x="7955149" y="1755833"/>
            <a:ext cx="3715133" cy="792044"/>
          </a:xfrm>
        </p:spPr>
        <p:txBody>
          <a:bodyPr anchor="t">
            <a:normAutofit/>
          </a:bodyPr>
          <a:lstStyle>
            <a:lvl1pPr marL="179388" indent="-179388">
              <a:lnSpc>
                <a:spcPct val="110000"/>
              </a:lnSpc>
              <a:spcBef>
                <a:spcPts val="0"/>
              </a:spcBef>
              <a:spcAft>
                <a:spcPts val="600"/>
              </a:spcAft>
              <a:buFont typeface="Arial" panose="020B0604020202020204" pitchFamily="34" charset="0"/>
              <a:buChar char="•"/>
              <a:tabLst/>
              <a:defRPr sz="1400" b="1">
                <a:solidFill>
                  <a:schemeClr val="bg1"/>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6C19D012-767E-A845-8105-4B4C4887921E}"/>
              </a:ext>
            </a:extLst>
          </p:cNvPr>
          <p:cNvSpPr>
            <a:spLocks noGrp="1"/>
          </p:cNvSpPr>
          <p:nvPr>
            <p:ph type="body" sz="quarter" idx="34" hasCustomPrompt="1"/>
          </p:nvPr>
        </p:nvSpPr>
        <p:spPr>
          <a:xfrm>
            <a:off x="7955149" y="1405749"/>
            <a:ext cx="1917616" cy="249259"/>
          </a:xfrm>
        </p:spPr>
        <p:txBody>
          <a:bodyPr anchor="t">
            <a:normAutofit/>
          </a:bodyPr>
          <a:lstStyle>
            <a:lvl1pPr algn="l">
              <a:lnSpc>
                <a:spcPct val="110000"/>
              </a:lnSpc>
              <a:spcAft>
                <a:spcPts val="600"/>
              </a:spcAft>
              <a:defRPr sz="1600" b="1">
                <a:solidFill>
                  <a:schemeClr val="tx2">
                    <a:lumMod val="40000"/>
                    <a:lumOff val="60000"/>
                  </a:schemeClr>
                </a:solidFill>
              </a:defRPr>
            </a:lvl1pPr>
          </a:lstStyle>
          <a:p>
            <a:pPr lvl="0"/>
            <a:r>
              <a:rPr lang="en-GB"/>
              <a:t>Title</a:t>
            </a:r>
          </a:p>
        </p:txBody>
      </p:sp>
      <p:sp>
        <p:nvSpPr>
          <p:cNvPr id="34" name="Picture Placeholder 3">
            <a:extLst>
              <a:ext uri="{FF2B5EF4-FFF2-40B4-BE49-F238E27FC236}">
                <a16:creationId xmlns:a16="http://schemas.microsoft.com/office/drawing/2014/main" id="{DD5DD0FD-09C0-E049-944D-E6046E4FD565}"/>
              </a:ext>
            </a:extLst>
          </p:cNvPr>
          <p:cNvSpPr>
            <a:spLocks noGrp="1"/>
          </p:cNvSpPr>
          <p:nvPr>
            <p:ph type="pic" sz="quarter" idx="35"/>
          </p:nvPr>
        </p:nvSpPr>
        <p:spPr>
          <a:xfrm>
            <a:off x="6957092" y="1589245"/>
            <a:ext cx="767874" cy="767874"/>
          </a:xfrm>
        </p:spPr>
        <p:txBody>
          <a:bodyPr anchor="ctr">
            <a:noAutofit/>
          </a:bodyPr>
          <a:lstStyle>
            <a:lvl1pPr algn="ctr">
              <a:defRPr sz="1200">
                <a:solidFill>
                  <a:schemeClr val="bg1">
                    <a:lumMod val="65000"/>
                  </a:schemeClr>
                </a:solidFill>
              </a:defRPr>
            </a:lvl1pPr>
          </a:lstStyle>
          <a:p>
            <a:r>
              <a:rPr lang="en-GB"/>
              <a:t>Click icon to add picture</a:t>
            </a:r>
          </a:p>
        </p:txBody>
      </p:sp>
    </p:spTree>
    <p:extLst>
      <p:ext uri="{BB962C8B-B14F-4D97-AF65-F5344CB8AC3E}">
        <p14:creationId xmlns:p14="http://schemas.microsoft.com/office/powerpoint/2010/main" val="2460359573"/>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_Flow Chart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United Against Rabies Forum Meeting - 6-8 November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grpSp>
        <p:nvGrpSpPr>
          <p:cNvPr id="18" name="Group 17">
            <a:extLst>
              <a:ext uri="{FF2B5EF4-FFF2-40B4-BE49-F238E27FC236}">
                <a16:creationId xmlns:a16="http://schemas.microsoft.com/office/drawing/2014/main" id="{5498C8CE-3879-2F54-526A-4FB3BC35A614}"/>
              </a:ext>
            </a:extLst>
          </p:cNvPr>
          <p:cNvGrpSpPr/>
          <p:nvPr userDrawn="1"/>
        </p:nvGrpSpPr>
        <p:grpSpPr>
          <a:xfrm>
            <a:off x="506981" y="2354656"/>
            <a:ext cx="11169081" cy="3558782"/>
            <a:chOff x="506982" y="1923728"/>
            <a:chExt cx="8410120" cy="2679700"/>
          </a:xfrm>
        </p:grpSpPr>
        <p:pic>
          <p:nvPicPr>
            <p:cNvPr id="3" name="Graphic 2">
              <a:extLst>
                <a:ext uri="{FF2B5EF4-FFF2-40B4-BE49-F238E27FC236}">
                  <a16:creationId xmlns:a16="http://schemas.microsoft.com/office/drawing/2014/main" id="{FF8E22B8-C626-33CF-AF31-C216F153582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6859702" y="1923728"/>
              <a:ext cx="2057400" cy="2679700"/>
            </a:xfrm>
            <a:prstGeom prst="rect">
              <a:avLst/>
            </a:prstGeom>
          </p:spPr>
        </p:pic>
        <p:pic>
          <p:nvPicPr>
            <p:cNvPr id="5" name="Graphic 4">
              <a:extLst>
                <a:ext uri="{FF2B5EF4-FFF2-40B4-BE49-F238E27FC236}">
                  <a16:creationId xmlns:a16="http://schemas.microsoft.com/office/drawing/2014/main" id="{51CC370D-D55C-CF1D-A84D-FC3FD269EFA7}"/>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733662" y="1923728"/>
              <a:ext cx="2209800" cy="2679700"/>
            </a:xfrm>
            <a:prstGeom prst="rect">
              <a:avLst/>
            </a:prstGeom>
          </p:spPr>
        </p:pic>
        <p:pic>
          <p:nvPicPr>
            <p:cNvPr id="8" name="Graphic 7">
              <a:extLst>
                <a:ext uri="{FF2B5EF4-FFF2-40B4-BE49-F238E27FC236}">
                  <a16:creationId xmlns:a16="http://schemas.microsoft.com/office/drawing/2014/main" id="{0CF38F8D-CE10-398F-DC92-0410984D5CA9}"/>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2607622" y="1923728"/>
              <a:ext cx="2209800" cy="2679700"/>
            </a:xfrm>
            <a:prstGeom prst="rect">
              <a:avLst/>
            </a:prstGeom>
          </p:spPr>
        </p:pic>
        <p:pic>
          <p:nvPicPr>
            <p:cNvPr id="11" name="Graphic 10">
              <a:extLst>
                <a:ext uri="{FF2B5EF4-FFF2-40B4-BE49-F238E27FC236}">
                  <a16:creationId xmlns:a16="http://schemas.microsoft.com/office/drawing/2014/main" id="{71C8FE21-D454-2669-5018-BDB88B7A469E}"/>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506982" y="1923728"/>
              <a:ext cx="2184400" cy="2679700"/>
            </a:xfrm>
            <a:prstGeom prst="rect">
              <a:avLst/>
            </a:prstGeom>
          </p:spPr>
        </p:pic>
      </p:grpSp>
      <p:sp>
        <p:nvSpPr>
          <p:cNvPr id="20" name="Text Placeholder 8">
            <a:extLst>
              <a:ext uri="{FF2B5EF4-FFF2-40B4-BE49-F238E27FC236}">
                <a16:creationId xmlns:a16="http://schemas.microsoft.com/office/drawing/2014/main" id="{469A369E-3216-3A94-D069-C4212D6C5B2A}"/>
              </a:ext>
            </a:extLst>
          </p:cNvPr>
          <p:cNvSpPr>
            <a:spLocks noGrp="1"/>
          </p:cNvSpPr>
          <p:nvPr>
            <p:ph type="body" idx="13"/>
          </p:nvPr>
        </p:nvSpPr>
        <p:spPr>
          <a:xfrm>
            <a:off x="531133" y="1304925"/>
            <a:ext cx="11144930" cy="853194"/>
          </a:xfrm>
        </p:spPr>
        <p:txBody>
          <a:bodyPr numCol="1" spcCol="180000"/>
          <a:lstStyle>
            <a:lvl1pPr marL="0" indent="0">
              <a:spcAft>
                <a:spcPts val="600"/>
              </a:spcAft>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21" name="Text Placeholder 6">
            <a:extLst>
              <a:ext uri="{FF2B5EF4-FFF2-40B4-BE49-F238E27FC236}">
                <a16:creationId xmlns:a16="http://schemas.microsoft.com/office/drawing/2014/main" id="{8A9C1315-921F-285F-D6BD-A177DE53DC2E}"/>
              </a:ext>
            </a:extLst>
          </p:cNvPr>
          <p:cNvSpPr>
            <a:spLocks noGrp="1"/>
          </p:cNvSpPr>
          <p:nvPr>
            <p:ph type="body" sz="quarter" idx="15"/>
          </p:nvPr>
        </p:nvSpPr>
        <p:spPr>
          <a:xfrm>
            <a:off x="675643" y="3054704"/>
            <a:ext cx="2290922" cy="2745803"/>
          </a:xfrm>
        </p:spPr>
        <p:txBody>
          <a:bodyPr>
            <a:normAutofit/>
          </a:bodyPr>
          <a:lstStyle>
            <a:lvl1pPr marL="177800" indent="-177800">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22" name="Text Placeholder 6">
            <a:extLst>
              <a:ext uri="{FF2B5EF4-FFF2-40B4-BE49-F238E27FC236}">
                <a16:creationId xmlns:a16="http://schemas.microsoft.com/office/drawing/2014/main" id="{4F0999A6-8092-1A74-E3A2-26CC341F65C7}"/>
              </a:ext>
            </a:extLst>
          </p:cNvPr>
          <p:cNvSpPr>
            <a:spLocks noGrp="1"/>
          </p:cNvSpPr>
          <p:nvPr>
            <p:ph type="body" sz="quarter" idx="16"/>
          </p:nvPr>
        </p:nvSpPr>
        <p:spPr>
          <a:xfrm>
            <a:off x="675643" y="2501966"/>
            <a:ext cx="2290922" cy="443198"/>
          </a:xfrm>
        </p:spPr>
        <p:txBody>
          <a:bodyPr wrap="square" anchor="ctr">
            <a:noAutofit/>
          </a:bodyPr>
          <a:lstStyle>
            <a:lvl1pPr>
              <a:lnSpc>
                <a:spcPct val="90000"/>
              </a:lnSpc>
              <a:defRPr sz="2000" b="1">
                <a:solidFill>
                  <a:schemeClr val="bg2"/>
                </a:solidFill>
              </a:defRPr>
            </a:lvl1pPr>
          </a:lstStyle>
          <a:p>
            <a:pPr lvl="0"/>
            <a:r>
              <a:rPr lang="en-GB"/>
              <a:t>Click to edit Master text styles</a:t>
            </a:r>
          </a:p>
        </p:txBody>
      </p:sp>
      <p:sp>
        <p:nvSpPr>
          <p:cNvPr id="26" name="Text Placeholder 6">
            <a:extLst>
              <a:ext uri="{FF2B5EF4-FFF2-40B4-BE49-F238E27FC236}">
                <a16:creationId xmlns:a16="http://schemas.microsoft.com/office/drawing/2014/main" id="{F5E81801-D408-BD68-8EF8-821176E4315D}"/>
              </a:ext>
            </a:extLst>
          </p:cNvPr>
          <p:cNvSpPr>
            <a:spLocks noGrp="1"/>
          </p:cNvSpPr>
          <p:nvPr>
            <p:ph type="body" sz="quarter" idx="17"/>
          </p:nvPr>
        </p:nvSpPr>
        <p:spPr>
          <a:xfrm>
            <a:off x="3583362" y="3054704"/>
            <a:ext cx="2231105" cy="2745803"/>
          </a:xfrm>
        </p:spPr>
        <p:txBody>
          <a:bodyPr>
            <a:normAutofit/>
          </a:bodyPr>
          <a:lstStyle>
            <a:lvl1pPr marL="177800" indent="-177800">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27" name="Text Placeholder 6">
            <a:extLst>
              <a:ext uri="{FF2B5EF4-FFF2-40B4-BE49-F238E27FC236}">
                <a16:creationId xmlns:a16="http://schemas.microsoft.com/office/drawing/2014/main" id="{FE29D8EA-6114-4150-3B97-EAD0BB047B28}"/>
              </a:ext>
            </a:extLst>
          </p:cNvPr>
          <p:cNvSpPr>
            <a:spLocks noGrp="1"/>
          </p:cNvSpPr>
          <p:nvPr>
            <p:ph type="body" sz="quarter" idx="18"/>
          </p:nvPr>
        </p:nvSpPr>
        <p:spPr>
          <a:xfrm>
            <a:off x="3583362" y="2501966"/>
            <a:ext cx="2231105" cy="443198"/>
          </a:xfrm>
        </p:spPr>
        <p:txBody>
          <a:bodyPr wrap="square" anchor="ctr">
            <a:noAutofit/>
          </a:bodyPr>
          <a:lstStyle>
            <a:lvl1pPr>
              <a:lnSpc>
                <a:spcPct val="90000"/>
              </a:lnSpc>
              <a:defRPr sz="2000" b="1">
                <a:solidFill>
                  <a:schemeClr val="accent1"/>
                </a:solidFill>
              </a:defRPr>
            </a:lvl1pPr>
          </a:lstStyle>
          <a:p>
            <a:pPr lvl="0"/>
            <a:r>
              <a:rPr lang="en-GB"/>
              <a:t>Click to edit Master text styles</a:t>
            </a:r>
          </a:p>
        </p:txBody>
      </p:sp>
      <p:sp>
        <p:nvSpPr>
          <p:cNvPr id="28" name="Text Placeholder 6">
            <a:extLst>
              <a:ext uri="{FF2B5EF4-FFF2-40B4-BE49-F238E27FC236}">
                <a16:creationId xmlns:a16="http://schemas.microsoft.com/office/drawing/2014/main" id="{832C3EE2-E731-14E8-F235-F0DC107603F1}"/>
              </a:ext>
            </a:extLst>
          </p:cNvPr>
          <p:cNvSpPr>
            <a:spLocks noGrp="1"/>
          </p:cNvSpPr>
          <p:nvPr>
            <p:ph type="body" sz="quarter" idx="19"/>
          </p:nvPr>
        </p:nvSpPr>
        <p:spPr>
          <a:xfrm>
            <a:off x="6396559" y="3054704"/>
            <a:ext cx="2251850" cy="2745803"/>
          </a:xfrm>
        </p:spPr>
        <p:txBody>
          <a:bodyPr>
            <a:normAutofit/>
          </a:bodyPr>
          <a:lstStyle>
            <a:lvl1pPr marL="177800" indent="-177800">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29" name="Text Placeholder 6">
            <a:extLst>
              <a:ext uri="{FF2B5EF4-FFF2-40B4-BE49-F238E27FC236}">
                <a16:creationId xmlns:a16="http://schemas.microsoft.com/office/drawing/2014/main" id="{3514D2BC-4EB5-482F-640F-D4ECA3398E7B}"/>
              </a:ext>
            </a:extLst>
          </p:cNvPr>
          <p:cNvSpPr>
            <a:spLocks noGrp="1"/>
          </p:cNvSpPr>
          <p:nvPr>
            <p:ph type="body" sz="quarter" idx="20"/>
          </p:nvPr>
        </p:nvSpPr>
        <p:spPr>
          <a:xfrm>
            <a:off x="6396559" y="2501966"/>
            <a:ext cx="2251850" cy="443198"/>
          </a:xfrm>
        </p:spPr>
        <p:txBody>
          <a:bodyPr wrap="square" anchor="ctr">
            <a:noAutofit/>
          </a:bodyPr>
          <a:lstStyle>
            <a:lvl1pPr>
              <a:lnSpc>
                <a:spcPct val="90000"/>
              </a:lnSpc>
              <a:defRPr sz="2000" b="1">
                <a:solidFill>
                  <a:schemeClr val="accent4"/>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176B8D71-6027-E9D4-DE0B-4336DE4C8765}"/>
              </a:ext>
            </a:extLst>
          </p:cNvPr>
          <p:cNvSpPr>
            <a:spLocks noGrp="1"/>
          </p:cNvSpPr>
          <p:nvPr>
            <p:ph type="body" sz="quarter" idx="21"/>
          </p:nvPr>
        </p:nvSpPr>
        <p:spPr>
          <a:xfrm>
            <a:off x="9244461" y="3054704"/>
            <a:ext cx="2290922" cy="2745803"/>
          </a:xfrm>
        </p:spPr>
        <p:txBody>
          <a:bodyPr>
            <a:normAutofit/>
          </a:bodyPr>
          <a:lstStyle>
            <a:lvl1pPr marL="177800" indent="-177800">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006DA17C-A871-793A-2C8F-F98A0EDA8ED0}"/>
              </a:ext>
            </a:extLst>
          </p:cNvPr>
          <p:cNvSpPr>
            <a:spLocks noGrp="1"/>
          </p:cNvSpPr>
          <p:nvPr>
            <p:ph type="body" sz="quarter" idx="22"/>
          </p:nvPr>
        </p:nvSpPr>
        <p:spPr>
          <a:xfrm>
            <a:off x="9244461" y="2501966"/>
            <a:ext cx="2290922" cy="443198"/>
          </a:xfrm>
        </p:spPr>
        <p:txBody>
          <a:bodyPr wrap="square" anchor="ctr">
            <a:noAutofit/>
          </a:bodyPr>
          <a:lstStyle>
            <a:lvl1pPr>
              <a:lnSpc>
                <a:spcPct val="90000"/>
              </a:lnSpc>
              <a:defRPr sz="2000" b="1">
                <a:solidFill>
                  <a:schemeClr val="accent5"/>
                </a:solidFill>
              </a:defRPr>
            </a:lvl1pPr>
          </a:lstStyle>
          <a:p>
            <a:pPr lvl="0"/>
            <a:r>
              <a:rPr lang="en-GB"/>
              <a:t>Click to edit Master text styles</a:t>
            </a:r>
          </a:p>
        </p:txBody>
      </p:sp>
    </p:spTree>
    <p:extLst>
      <p:ext uri="{BB962C8B-B14F-4D97-AF65-F5344CB8AC3E}">
        <p14:creationId xmlns:p14="http://schemas.microsoft.com/office/powerpoint/2010/main" val="3832641937"/>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_Text, Quote + Imag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63869"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7" name="Picture Placeholder 2">
            <a:extLst>
              <a:ext uri="{FF2B5EF4-FFF2-40B4-BE49-F238E27FC236}">
                <a16:creationId xmlns:a16="http://schemas.microsoft.com/office/drawing/2014/main" id="{D7BA9708-B496-A663-CB06-FD4F2E3602E5}"/>
              </a:ext>
            </a:extLst>
          </p:cNvPr>
          <p:cNvSpPr>
            <a:spLocks noGrp="1"/>
          </p:cNvSpPr>
          <p:nvPr>
            <p:ph type="pic" sz="quarter" idx="20"/>
          </p:nvPr>
        </p:nvSpPr>
        <p:spPr>
          <a:xfrm>
            <a:off x="6359525" y="3227929"/>
            <a:ext cx="5326063" cy="2685506"/>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18" name="Slide Number Placeholder 2">
            <a:extLst>
              <a:ext uri="{FF2B5EF4-FFF2-40B4-BE49-F238E27FC236}">
                <a16:creationId xmlns:a16="http://schemas.microsoft.com/office/drawing/2014/main" id="{8D67BD3D-5E5B-2957-7B72-B286DEA69454}"/>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9" name="Straight Connector 18">
            <a:extLst>
              <a:ext uri="{FF2B5EF4-FFF2-40B4-BE49-F238E27FC236}">
                <a16:creationId xmlns:a16="http://schemas.microsoft.com/office/drawing/2014/main" id="{11DD0B93-9CA3-DE96-64E9-7FECBAD37972}"/>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0" name="Footer Placeholder 1">
            <a:extLst>
              <a:ext uri="{FF2B5EF4-FFF2-40B4-BE49-F238E27FC236}">
                <a16:creationId xmlns:a16="http://schemas.microsoft.com/office/drawing/2014/main" id="{F3526303-0969-95FB-D8FA-0C9E3916524B}"/>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United Against Rabies Forum Meeting - 6-8 November 2023</a:t>
            </a:r>
            <a:endParaRPr lang="en-GB"/>
          </a:p>
        </p:txBody>
      </p:sp>
      <p:pic>
        <p:nvPicPr>
          <p:cNvPr id="21" name="Picture 11">
            <a:extLst>
              <a:ext uri="{FF2B5EF4-FFF2-40B4-BE49-F238E27FC236}">
                <a16:creationId xmlns:a16="http://schemas.microsoft.com/office/drawing/2014/main" id="{24A4E3D3-8EF4-A80C-4780-9639C12D4E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2" name="Text Placeholder 8">
            <a:extLst>
              <a:ext uri="{FF2B5EF4-FFF2-40B4-BE49-F238E27FC236}">
                <a16:creationId xmlns:a16="http://schemas.microsoft.com/office/drawing/2014/main" id="{6DFBA0EA-6763-E017-8DB4-792094E59657}"/>
              </a:ext>
            </a:extLst>
          </p:cNvPr>
          <p:cNvSpPr>
            <a:spLocks noGrp="1"/>
          </p:cNvSpPr>
          <p:nvPr>
            <p:ph type="body" idx="21"/>
          </p:nvPr>
        </p:nvSpPr>
        <p:spPr>
          <a:xfrm>
            <a:off x="6345193" y="1304925"/>
            <a:ext cx="5340395" cy="312265"/>
          </a:xfrm>
        </p:spPr>
        <p:txBody>
          <a:bodyPr numCol="1" spcCol="180000">
            <a:spAutoFit/>
          </a:bodyPr>
          <a:lstStyle>
            <a:lvl1pPr marL="0" indent="0">
              <a:spcAft>
                <a:spcPts val="600"/>
              </a:spcAft>
              <a:buClr>
                <a:schemeClr val="bg2"/>
              </a:buClr>
              <a:buFont typeface="Arial" panose="020B0604020202020204" pitchFamily="34" charset="0"/>
              <a:buNone/>
              <a:defRPr b="1">
                <a:solidFill>
                  <a:schemeClr val="accent4"/>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13" name="Text Placeholder 8">
            <a:extLst>
              <a:ext uri="{FF2B5EF4-FFF2-40B4-BE49-F238E27FC236}">
                <a16:creationId xmlns:a16="http://schemas.microsoft.com/office/drawing/2014/main" id="{4BC205A0-AF05-E822-A6D1-8E80B8895804}"/>
              </a:ext>
            </a:extLst>
          </p:cNvPr>
          <p:cNvSpPr>
            <a:spLocks noGrp="1"/>
          </p:cNvSpPr>
          <p:nvPr>
            <p:ph type="body" idx="22" hasCustomPrompt="1"/>
          </p:nvPr>
        </p:nvSpPr>
        <p:spPr>
          <a:xfrm>
            <a:off x="6345193" y="5962960"/>
            <a:ext cx="5340395" cy="140488"/>
          </a:xfrm>
        </p:spPr>
        <p:txBody>
          <a:bodyPr numCol="1" spcCol="180000">
            <a:spAutoFit/>
          </a:bodyPr>
          <a:lstStyle>
            <a:lvl1pPr marL="0" indent="0">
              <a:spcAft>
                <a:spcPts val="600"/>
              </a:spcAft>
              <a:buClr>
                <a:schemeClr val="bg2"/>
              </a:buClr>
              <a:buFont typeface="Arial" panose="020B0604020202020204" pitchFamily="34" charset="0"/>
              <a:buNone/>
              <a:defRPr sz="900" b="0">
                <a:solidFill>
                  <a:schemeClr val="bg1">
                    <a:lumMod val="65000"/>
                  </a:schemeClr>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Optional image caption</a:t>
            </a:r>
          </a:p>
        </p:txBody>
      </p:sp>
    </p:spTree>
    <p:extLst>
      <p:ext uri="{BB962C8B-B14F-4D97-AF65-F5344CB8AC3E}">
        <p14:creationId xmlns:p14="http://schemas.microsoft.com/office/powerpoint/2010/main" val="2375120217"/>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_Text + 2 Imag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 name="Picture Placeholder 2">
            <a:extLst>
              <a:ext uri="{FF2B5EF4-FFF2-40B4-BE49-F238E27FC236}">
                <a16:creationId xmlns:a16="http://schemas.microsoft.com/office/drawing/2014/main" id="{15315BB4-CEA5-4429-26F4-D4B56B8BE141}"/>
              </a:ext>
            </a:extLst>
          </p:cNvPr>
          <p:cNvSpPr>
            <a:spLocks noGrp="1"/>
          </p:cNvSpPr>
          <p:nvPr>
            <p:ph type="pic" sz="quarter" idx="19"/>
          </p:nvPr>
        </p:nvSpPr>
        <p:spPr>
          <a:xfrm>
            <a:off x="6359525" y="368300"/>
            <a:ext cx="5326063" cy="2685505"/>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17" name="Picture Placeholder 2">
            <a:extLst>
              <a:ext uri="{FF2B5EF4-FFF2-40B4-BE49-F238E27FC236}">
                <a16:creationId xmlns:a16="http://schemas.microsoft.com/office/drawing/2014/main" id="{D7BA9708-B496-A663-CB06-FD4F2E3602E5}"/>
              </a:ext>
            </a:extLst>
          </p:cNvPr>
          <p:cNvSpPr>
            <a:spLocks noGrp="1"/>
          </p:cNvSpPr>
          <p:nvPr>
            <p:ph type="pic" sz="quarter" idx="20"/>
          </p:nvPr>
        </p:nvSpPr>
        <p:spPr>
          <a:xfrm>
            <a:off x="6359525" y="3227929"/>
            <a:ext cx="5326063" cy="2685506"/>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18" name="Slide Number Placeholder 2">
            <a:extLst>
              <a:ext uri="{FF2B5EF4-FFF2-40B4-BE49-F238E27FC236}">
                <a16:creationId xmlns:a16="http://schemas.microsoft.com/office/drawing/2014/main" id="{8D67BD3D-5E5B-2957-7B72-B286DEA69454}"/>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9" name="Straight Connector 18">
            <a:extLst>
              <a:ext uri="{FF2B5EF4-FFF2-40B4-BE49-F238E27FC236}">
                <a16:creationId xmlns:a16="http://schemas.microsoft.com/office/drawing/2014/main" id="{11DD0B93-9CA3-DE96-64E9-7FECBAD37972}"/>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0" name="Footer Placeholder 1">
            <a:extLst>
              <a:ext uri="{FF2B5EF4-FFF2-40B4-BE49-F238E27FC236}">
                <a16:creationId xmlns:a16="http://schemas.microsoft.com/office/drawing/2014/main" id="{F3526303-0969-95FB-D8FA-0C9E3916524B}"/>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United Against Rabies Forum Meeting - 6-8 November 2023</a:t>
            </a:r>
            <a:endParaRPr lang="en-GB"/>
          </a:p>
        </p:txBody>
      </p:sp>
      <p:pic>
        <p:nvPicPr>
          <p:cNvPr id="21" name="Picture 11">
            <a:extLst>
              <a:ext uri="{FF2B5EF4-FFF2-40B4-BE49-F238E27FC236}">
                <a16:creationId xmlns:a16="http://schemas.microsoft.com/office/drawing/2014/main" id="{24A4E3D3-8EF4-A80C-4780-9639C12D4E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2" name="Text Placeholder 8">
            <a:extLst>
              <a:ext uri="{FF2B5EF4-FFF2-40B4-BE49-F238E27FC236}">
                <a16:creationId xmlns:a16="http://schemas.microsoft.com/office/drawing/2014/main" id="{02F1485A-E0B4-C14E-58C4-9144A8FEE29C}"/>
              </a:ext>
            </a:extLst>
          </p:cNvPr>
          <p:cNvSpPr>
            <a:spLocks noGrp="1"/>
          </p:cNvSpPr>
          <p:nvPr>
            <p:ph type="body" idx="22" hasCustomPrompt="1"/>
          </p:nvPr>
        </p:nvSpPr>
        <p:spPr>
          <a:xfrm>
            <a:off x="6345193" y="5962960"/>
            <a:ext cx="5340395" cy="140488"/>
          </a:xfrm>
        </p:spPr>
        <p:txBody>
          <a:bodyPr numCol="1" spcCol="180000">
            <a:spAutoFit/>
          </a:bodyPr>
          <a:lstStyle>
            <a:lvl1pPr marL="0" indent="0">
              <a:spcAft>
                <a:spcPts val="600"/>
              </a:spcAft>
              <a:buClr>
                <a:schemeClr val="bg2"/>
              </a:buClr>
              <a:buFont typeface="Arial" panose="020B0604020202020204" pitchFamily="34" charset="0"/>
              <a:buNone/>
              <a:defRPr sz="900" b="0">
                <a:solidFill>
                  <a:schemeClr val="bg1">
                    <a:lumMod val="65000"/>
                  </a:schemeClr>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Optional image caption</a:t>
            </a:r>
          </a:p>
        </p:txBody>
      </p:sp>
    </p:spTree>
    <p:extLst>
      <p:ext uri="{BB962C8B-B14F-4D97-AF65-F5344CB8AC3E}">
        <p14:creationId xmlns:p14="http://schemas.microsoft.com/office/powerpoint/2010/main" val="1337028818"/>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1_Text + Image 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5580063"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United Against Rabies Forum Meeting - 6-8 November 2023</a:t>
            </a:r>
            <a:endParaRPr lang="en-GB"/>
          </a:p>
        </p:txBody>
      </p:sp>
      <p:sp>
        <p:nvSpPr>
          <p:cNvPr id="5" name="Text Placeholder 4">
            <a:extLst>
              <a:ext uri="{FF2B5EF4-FFF2-40B4-BE49-F238E27FC236}">
                <a16:creationId xmlns:a16="http://schemas.microsoft.com/office/drawing/2014/main" id="{0CE04A98-CDC1-2043-A233-CAA53ED2E1A4}"/>
              </a:ext>
            </a:extLst>
          </p:cNvPr>
          <p:cNvSpPr>
            <a:spLocks noGrp="1"/>
          </p:cNvSpPr>
          <p:nvPr>
            <p:ph type="body" sz="quarter" idx="16" hasCustomPrompt="1"/>
          </p:nvPr>
        </p:nvSpPr>
        <p:spPr>
          <a:xfrm>
            <a:off x="10643129"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
        <p:nvSpPr>
          <p:cNvPr id="27" name="Picture Placeholder 26">
            <a:extLst>
              <a:ext uri="{FF2B5EF4-FFF2-40B4-BE49-F238E27FC236}">
                <a16:creationId xmlns:a16="http://schemas.microsoft.com/office/drawing/2014/main" id="{D7270696-0AB9-0445-9B12-E1B6CE40D325}"/>
              </a:ext>
            </a:extLst>
          </p:cNvPr>
          <p:cNvSpPr>
            <a:spLocks noGrp="1"/>
          </p:cNvSpPr>
          <p:nvPr>
            <p:ph type="pic" sz="quarter" idx="17"/>
          </p:nvPr>
        </p:nvSpPr>
        <p:spPr>
          <a:xfrm>
            <a:off x="5685640" y="0"/>
            <a:ext cx="6506360" cy="6858000"/>
          </a:xfrm>
          <a:custGeom>
            <a:avLst/>
            <a:gdLst>
              <a:gd name="connsiteX0" fmla="*/ 0 w 6506360"/>
              <a:gd name="connsiteY0" fmla="*/ 0 h 6858000"/>
              <a:gd name="connsiteX1" fmla="*/ 6506360 w 6506360"/>
              <a:gd name="connsiteY1" fmla="*/ 0 h 6858000"/>
              <a:gd name="connsiteX2" fmla="*/ 6506360 w 6506360"/>
              <a:gd name="connsiteY2" fmla="*/ 6858000 h 6858000"/>
              <a:gd name="connsiteX3" fmla="*/ 816590 w 6506360"/>
              <a:gd name="connsiteY3" fmla="*/ 6858000 h 6858000"/>
              <a:gd name="connsiteX4" fmla="*/ 816590 w 6506360"/>
              <a:gd name="connsiteY4" fmla="*/ 939979 h 6858000"/>
              <a:gd name="connsiteX5" fmla="*/ 57657 w 6506360"/>
              <a:gd name="connsiteY5" fmla="*/ 8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06360" h="6858000">
                <a:moveTo>
                  <a:pt x="0" y="0"/>
                </a:moveTo>
                <a:lnTo>
                  <a:pt x="6506360" y="0"/>
                </a:lnTo>
                <a:lnTo>
                  <a:pt x="6506360" y="6858000"/>
                </a:lnTo>
                <a:lnTo>
                  <a:pt x="816590" y="6858000"/>
                </a:lnTo>
                <a:lnTo>
                  <a:pt x="816590" y="939979"/>
                </a:lnTo>
                <a:cubicBezTo>
                  <a:pt x="816590" y="480656"/>
                  <a:pt x="490779" y="97429"/>
                  <a:pt x="57657" y="8800"/>
                </a:cubicBezTo>
                <a:close/>
              </a:path>
            </a:pathLst>
          </a:custGeom>
          <a:solidFill>
            <a:schemeClr val="bg1">
              <a:lumMod val="85000"/>
            </a:schemeClr>
          </a:solidFill>
        </p:spPr>
        <p:txBody>
          <a:bodyPr wrap="square" anchor="ctr">
            <a:noAutofit/>
          </a:bodyPr>
          <a:lstStyle>
            <a:lvl1pPr algn="ctr">
              <a:defRPr>
                <a:solidFill>
                  <a:schemeClr val="bg1">
                    <a:lumMod val="50000"/>
                  </a:schemeClr>
                </a:solidFill>
              </a:defRPr>
            </a:lvl1pPr>
          </a:lstStyle>
          <a:p>
            <a:r>
              <a:rPr lang="en-GB"/>
              <a:t>Click icon to add picture</a:t>
            </a:r>
          </a:p>
        </p:txBody>
      </p:sp>
      <p:sp>
        <p:nvSpPr>
          <p:cNvPr id="28" name="Text Placeholder 4">
            <a:extLst>
              <a:ext uri="{FF2B5EF4-FFF2-40B4-BE49-F238E27FC236}">
                <a16:creationId xmlns:a16="http://schemas.microsoft.com/office/drawing/2014/main" id="{7DCA613B-D18E-594C-9579-2E40707B7127}"/>
              </a:ext>
            </a:extLst>
          </p:cNvPr>
          <p:cNvSpPr>
            <a:spLocks noGrp="1"/>
          </p:cNvSpPr>
          <p:nvPr>
            <p:ph type="body" sz="quarter" idx="18" hasCustomPrompt="1"/>
          </p:nvPr>
        </p:nvSpPr>
        <p:spPr>
          <a:xfrm>
            <a:off x="10643128"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Tree>
    <p:extLst>
      <p:ext uri="{BB962C8B-B14F-4D97-AF65-F5344CB8AC3E}">
        <p14:creationId xmlns:p14="http://schemas.microsoft.com/office/powerpoint/2010/main" val="3554589697"/>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_Quote + Imag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5580063"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United Against Rabies Forum Meeting - 6-8 November 2023</a:t>
            </a:r>
            <a:endParaRPr lang="en-GB"/>
          </a:p>
        </p:txBody>
      </p:sp>
      <p:sp>
        <p:nvSpPr>
          <p:cNvPr id="5" name="Text Placeholder 4">
            <a:extLst>
              <a:ext uri="{FF2B5EF4-FFF2-40B4-BE49-F238E27FC236}">
                <a16:creationId xmlns:a16="http://schemas.microsoft.com/office/drawing/2014/main" id="{0CE04A98-CDC1-2043-A233-CAA53ED2E1A4}"/>
              </a:ext>
            </a:extLst>
          </p:cNvPr>
          <p:cNvSpPr>
            <a:spLocks noGrp="1"/>
          </p:cNvSpPr>
          <p:nvPr>
            <p:ph type="body" sz="quarter" idx="16" hasCustomPrompt="1"/>
          </p:nvPr>
        </p:nvSpPr>
        <p:spPr>
          <a:xfrm>
            <a:off x="10643129"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
        <p:nvSpPr>
          <p:cNvPr id="27" name="Picture Placeholder 26">
            <a:extLst>
              <a:ext uri="{FF2B5EF4-FFF2-40B4-BE49-F238E27FC236}">
                <a16:creationId xmlns:a16="http://schemas.microsoft.com/office/drawing/2014/main" id="{D7270696-0AB9-0445-9B12-E1B6CE40D325}"/>
              </a:ext>
            </a:extLst>
          </p:cNvPr>
          <p:cNvSpPr>
            <a:spLocks noGrp="1"/>
          </p:cNvSpPr>
          <p:nvPr>
            <p:ph type="pic" sz="quarter" idx="17"/>
          </p:nvPr>
        </p:nvSpPr>
        <p:spPr>
          <a:xfrm>
            <a:off x="5685640" y="0"/>
            <a:ext cx="6506360" cy="6858000"/>
          </a:xfrm>
          <a:custGeom>
            <a:avLst/>
            <a:gdLst>
              <a:gd name="connsiteX0" fmla="*/ 0 w 6506360"/>
              <a:gd name="connsiteY0" fmla="*/ 0 h 6858000"/>
              <a:gd name="connsiteX1" fmla="*/ 6506360 w 6506360"/>
              <a:gd name="connsiteY1" fmla="*/ 0 h 6858000"/>
              <a:gd name="connsiteX2" fmla="*/ 6506360 w 6506360"/>
              <a:gd name="connsiteY2" fmla="*/ 6858000 h 6858000"/>
              <a:gd name="connsiteX3" fmla="*/ 816590 w 6506360"/>
              <a:gd name="connsiteY3" fmla="*/ 6858000 h 6858000"/>
              <a:gd name="connsiteX4" fmla="*/ 816590 w 6506360"/>
              <a:gd name="connsiteY4" fmla="*/ 939979 h 6858000"/>
              <a:gd name="connsiteX5" fmla="*/ 57657 w 6506360"/>
              <a:gd name="connsiteY5" fmla="*/ 8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06360" h="6858000">
                <a:moveTo>
                  <a:pt x="0" y="0"/>
                </a:moveTo>
                <a:lnTo>
                  <a:pt x="6506360" y="0"/>
                </a:lnTo>
                <a:lnTo>
                  <a:pt x="6506360" y="6858000"/>
                </a:lnTo>
                <a:lnTo>
                  <a:pt x="816590" y="6858000"/>
                </a:lnTo>
                <a:lnTo>
                  <a:pt x="816590" y="939979"/>
                </a:lnTo>
                <a:cubicBezTo>
                  <a:pt x="816590" y="480656"/>
                  <a:pt x="490779" y="97429"/>
                  <a:pt x="57657" y="8800"/>
                </a:cubicBezTo>
                <a:close/>
              </a:path>
            </a:pathLst>
          </a:custGeom>
          <a:solidFill>
            <a:schemeClr val="bg1">
              <a:lumMod val="85000"/>
            </a:schemeClr>
          </a:solidFill>
        </p:spPr>
        <p:txBody>
          <a:bodyPr wrap="square" anchor="ctr">
            <a:noAutofit/>
          </a:bodyPr>
          <a:lstStyle>
            <a:lvl1pPr algn="ctr">
              <a:defRPr>
                <a:solidFill>
                  <a:schemeClr val="bg1">
                    <a:lumMod val="50000"/>
                  </a:schemeClr>
                </a:solidFill>
              </a:defRPr>
            </a:lvl1pPr>
          </a:lstStyle>
          <a:p>
            <a:r>
              <a:rPr lang="en-GB"/>
              <a:t>Click icon to add picture</a:t>
            </a:r>
          </a:p>
        </p:txBody>
      </p:sp>
      <p:sp>
        <p:nvSpPr>
          <p:cNvPr id="28" name="Text Placeholder 4">
            <a:extLst>
              <a:ext uri="{FF2B5EF4-FFF2-40B4-BE49-F238E27FC236}">
                <a16:creationId xmlns:a16="http://schemas.microsoft.com/office/drawing/2014/main" id="{7DCA613B-D18E-594C-9579-2E40707B7127}"/>
              </a:ext>
            </a:extLst>
          </p:cNvPr>
          <p:cNvSpPr>
            <a:spLocks noGrp="1"/>
          </p:cNvSpPr>
          <p:nvPr>
            <p:ph type="body" sz="quarter" idx="18" hasCustomPrompt="1"/>
          </p:nvPr>
        </p:nvSpPr>
        <p:spPr>
          <a:xfrm>
            <a:off x="10643128"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
        <p:nvSpPr>
          <p:cNvPr id="12" name="Text Placeholder 8">
            <a:extLst>
              <a:ext uri="{FF2B5EF4-FFF2-40B4-BE49-F238E27FC236}">
                <a16:creationId xmlns:a16="http://schemas.microsoft.com/office/drawing/2014/main" id="{E2F4BDEF-FEFC-0BDD-3EB4-7710855ED6AB}"/>
              </a:ext>
            </a:extLst>
          </p:cNvPr>
          <p:cNvSpPr>
            <a:spLocks noGrp="1"/>
          </p:cNvSpPr>
          <p:nvPr>
            <p:ph type="body" idx="21"/>
          </p:nvPr>
        </p:nvSpPr>
        <p:spPr>
          <a:xfrm>
            <a:off x="515937" y="1329378"/>
            <a:ext cx="5580062" cy="4637076"/>
          </a:xfrm>
        </p:spPr>
        <p:txBody>
          <a:bodyPr numCol="1" spcCol="180000" anchor="t">
            <a:noAutofit/>
          </a:bodyPr>
          <a:lstStyle>
            <a:lvl1pPr marL="0" indent="0">
              <a:lnSpc>
                <a:spcPct val="100000"/>
              </a:lnSpc>
              <a:spcAft>
                <a:spcPts val="1800"/>
              </a:spcAft>
              <a:buClr>
                <a:schemeClr val="bg2"/>
              </a:buClr>
              <a:buFont typeface="Arial" panose="020B0604020202020204" pitchFamily="34" charset="0"/>
              <a:buNone/>
              <a:defRPr sz="2800" b="1">
                <a:solidFill>
                  <a:schemeClr val="accent4"/>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16" name="Title Placeholder 1">
            <a:extLst>
              <a:ext uri="{FF2B5EF4-FFF2-40B4-BE49-F238E27FC236}">
                <a16:creationId xmlns:a16="http://schemas.microsoft.com/office/drawing/2014/main" id="{D7D9C6B7-7323-827F-E01F-2EFDCE721461}"/>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Tree>
    <p:extLst>
      <p:ext uri="{BB962C8B-B14F-4D97-AF65-F5344CB8AC3E}">
        <p14:creationId xmlns:p14="http://schemas.microsoft.com/office/powerpoint/2010/main" val="1805104317"/>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1_Sections + Images x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United Against Rabies Forum Meeting - 6-8 November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8" y="4360961"/>
            <a:ext cx="5234437" cy="1538516"/>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8" y="3915591"/>
            <a:ext cx="5234437" cy="281103"/>
          </a:xfrm>
        </p:spPr>
        <p:txBody>
          <a:bodyPr wrap="square">
            <a:spAutoFit/>
          </a:bodyPr>
          <a:lstStyle>
            <a:lvl1pPr>
              <a:defRPr sz="1800" b="1">
                <a:solidFill>
                  <a:schemeClr val="bg2"/>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A5AC520F-8595-0F44-99A9-F0873ACA435F}"/>
              </a:ext>
            </a:extLst>
          </p:cNvPr>
          <p:cNvSpPr>
            <a:spLocks noGrp="1"/>
          </p:cNvSpPr>
          <p:nvPr>
            <p:ph type="body" sz="quarter" idx="18"/>
          </p:nvPr>
        </p:nvSpPr>
        <p:spPr>
          <a:xfrm>
            <a:off x="6441625" y="4360961"/>
            <a:ext cx="5234437" cy="1538516"/>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6441625" y="3915591"/>
            <a:ext cx="5234437" cy="281103"/>
          </a:xfrm>
        </p:spPr>
        <p:txBody>
          <a:bodyPr wrap="square">
            <a:spAutoFit/>
          </a:bodyPr>
          <a:lstStyle>
            <a:lvl1pPr>
              <a:defRPr sz="1800" b="1">
                <a:solidFill>
                  <a:schemeClr val="bg2"/>
                </a:solidFill>
              </a:defRPr>
            </a:lvl1pPr>
          </a:lstStyle>
          <a:p>
            <a:pPr lvl="0"/>
            <a:r>
              <a:rPr lang="en-GB"/>
              <a:t>Click to edit Master text styles</a:t>
            </a:r>
          </a:p>
        </p:txBody>
      </p:sp>
      <p:sp>
        <p:nvSpPr>
          <p:cNvPr id="17" name="Picture Placeholder 2">
            <a:extLst>
              <a:ext uri="{FF2B5EF4-FFF2-40B4-BE49-F238E27FC236}">
                <a16:creationId xmlns:a16="http://schemas.microsoft.com/office/drawing/2014/main" id="{4EF54ED7-3E2F-C8F7-553C-1DB155F7DBDC}"/>
              </a:ext>
            </a:extLst>
          </p:cNvPr>
          <p:cNvSpPr>
            <a:spLocks noGrp="1"/>
          </p:cNvSpPr>
          <p:nvPr>
            <p:ph type="pic" sz="quarter" idx="23"/>
          </p:nvPr>
        </p:nvSpPr>
        <p:spPr>
          <a:xfrm>
            <a:off x="515938" y="1304924"/>
            <a:ext cx="5234438" cy="2400167"/>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23" name="Picture Placeholder 2">
            <a:extLst>
              <a:ext uri="{FF2B5EF4-FFF2-40B4-BE49-F238E27FC236}">
                <a16:creationId xmlns:a16="http://schemas.microsoft.com/office/drawing/2014/main" id="{BCF59FD3-6B56-67EF-C1E8-78C92005D9AE}"/>
              </a:ext>
            </a:extLst>
          </p:cNvPr>
          <p:cNvSpPr>
            <a:spLocks noGrp="1"/>
          </p:cNvSpPr>
          <p:nvPr>
            <p:ph type="pic" sz="quarter" idx="24"/>
          </p:nvPr>
        </p:nvSpPr>
        <p:spPr>
          <a:xfrm>
            <a:off x="6441625" y="1304924"/>
            <a:ext cx="5234438" cy="2400167"/>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Tree>
    <p:extLst>
      <p:ext uri="{BB962C8B-B14F-4D97-AF65-F5344CB8AC3E}">
        <p14:creationId xmlns:p14="http://schemas.microsoft.com/office/powerpoint/2010/main" val="467204333"/>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1_Sections + Image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United Against Rabies Forum Meeting - 6-8 November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9" y="3726649"/>
            <a:ext cx="3287436" cy="2121010"/>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3281279"/>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A5AC520F-8595-0F44-99A9-F0873ACA435F}"/>
              </a:ext>
            </a:extLst>
          </p:cNvPr>
          <p:cNvSpPr>
            <a:spLocks noGrp="1"/>
          </p:cNvSpPr>
          <p:nvPr>
            <p:ph type="body" sz="quarter" idx="18"/>
          </p:nvPr>
        </p:nvSpPr>
        <p:spPr>
          <a:xfrm>
            <a:off x="4452282" y="3726649"/>
            <a:ext cx="3287436" cy="2121010"/>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4452282" y="3281279"/>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AD30B9DC-1666-7446-9DFD-F674A273B468}"/>
              </a:ext>
            </a:extLst>
          </p:cNvPr>
          <p:cNvSpPr>
            <a:spLocks noGrp="1"/>
          </p:cNvSpPr>
          <p:nvPr>
            <p:ph type="body" sz="quarter" idx="21"/>
          </p:nvPr>
        </p:nvSpPr>
        <p:spPr>
          <a:xfrm>
            <a:off x="8382846" y="3733177"/>
            <a:ext cx="3287436" cy="2121010"/>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C7816D18-C579-DE44-B3B4-5D38198139F6}"/>
              </a:ext>
            </a:extLst>
          </p:cNvPr>
          <p:cNvSpPr>
            <a:spLocks noGrp="1"/>
          </p:cNvSpPr>
          <p:nvPr>
            <p:ph type="body" sz="quarter" idx="22"/>
          </p:nvPr>
        </p:nvSpPr>
        <p:spPr>
          <a:xfrm>
            <a:off x="8382846" y="3287807"/>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17" name="Picture Placeholder 2">
            <a:extLst>
              <a:ext uri="{FF2B5EF4-FFF2-40B4-BE49-F238E27FC236}">
                <a16:creationId xmlns:a16="http://schemas.microsoft.com/office/drawing/2014/main" id="{4EF54ED7-3E2F-C8F7-553C-1DB155F7DBDC}"/>
              </a:ext>
            </a:extLst>
          </p:cNvPr>
          <p:cNvSpPr>
            <a:spLocks noGrp="1"/>
          </p:cNvSpPr>
          <p:nvPr>
            <p:ph type="pic" sz="quarter" idx="23"/>
          </p:nvPr>
        </p:nvSpPr>
        <p:spPr>
          <a:xfrm>
            <a:off x="515938" y="1304925"/>
            <a:ext cx="3287437" cy="1826421"/>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23" name="Picture Placeholder 2">
            <a:extLst>
              <a:ext uri="{FF2B5EF4-FFF2-40B4-BE49-F238E27FC236}">
                <a16:creationId xmlns:a16="http://schemas.microsoft.com/office/drawing/2014/main" id="{BCF59FD3-6B56-67EF-C1E8-78C92005D9AE}"/>
              </a:ext>
            </a:extLst>
          </p:cNvPr>
          <p:cNvSpPr>
            <a:spLocks noGrp="1"/>
          </p:cNvSpPr>
          <p:nvPr>
            <p:ph type="pic" sz="quarter" idx="24"/>
          </p:nvPr>
        </p:nvSpPr>
        <p:spPr>
          <a:xfrm>
            <a:off x="4452281" y="1304925"/>
            <a:ext cx="3287437" cy="1826421"/>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24" name="Picture Placeholder 2">
            <a:extLst>
              <a:ext uri="{FF2B5EF4-FFF2-40B4-BE49-F238E27FC236}">
                <a16:creationId xmlns:a16="http://schemas.microsoft.com/office/drawing/2014/main" id="{AA59D731-0D13-EB6C-7B10-1B59D3D8C5AA}"/>
              </a:ext>
            </a:extLst>
          </p:cNvPr>
          <p:cNvSpPr>
            <a:spLocks noGrp="1"/>
          </p:cNvSpPr>
          <p:nvPr>
            <p:ph type="pic" sz="quarter" idx="25"/>
          </p:nvPr>
        </p:nvSpPr>
        <p:spPr>
          <a:xfrm>
            <a:off x="8388626" y="1304925"/>
            <a:ext cx="3287437" cy="1826421"/>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Tree>
    <p:extLst>
      <p:ext uri="{BB962C8B-B14F-4D97-AF65-F5344CB8AC3E}">
        <p14:creationId xmlns:p14="http://schemas.microsoft.com/office/powerpoint/2010/main" val="1339882626"/>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Key Stat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United Against Rabies Forum Meeting - 6-8 November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4050217"/>
            <a:ext cx="3287436" cy="1188251"/>
          </a:xfrm>
        </p:spPr>
        <p:txBody>
          <a:bodyPr>
            <a:noAutofit/>
          </a:bodyPr>
          <a:lstStyle>
            <a:lvl1pPr>
              <a:defRPr sz="1800" b="1">
                <a:solidFill>
                  <a:schemeClr val="bg2"/>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4452282" y="4050217"/>
            <a:ext cx="3287436" cy="1188251"/>
          </a:xfrm>
        </p:spPr>
        <p:txBody>
          <a:bodyPr>
            <a:noAutofit/>
          </a:bodyPr>
          <a:lstStyle>
            <a:lvl1pPr>
              <a:defRPr sz="1800" b="1">
                <a:solidFill>
                  <a:schemeClr val="bg2"/>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C7816D18-C579-DE44-B3B4-5D38198139F6}"/>
              </a:ext>
            </a:extLst>
          </p:cNvPr>
          <p:cNvSpPr>
            <a:spLocks noGrp="1"/>
          </p:cNvSpPr>
          <p:nvPr>
            <p:ph type="body" sz="quarter" idx="22"/>
          </p:nvPr>
        </p:nvSpPr>
        <p:spPr>
          <a:xfrm>
            <a:off x="8382846" y="4056745"/>
            <a:ext cx="3287436" cy="1188251"/>
          </a:xfrm>
        </p:spPr>
        <p:txBody>
          <a:bodyPr>
            <a:noAutofit/>
          </a:bodyPr>
          <a:lstStyle>
            <a:lvl1pPr>
              <a:defRPr sz="1800" b="1">
                <a:solidFill>
                  <a:schemeClr val="bg2"/>
                </a:solidFill>
              </a:defRPr>
            </a:lvl1pPr>
          </a:lstStyle>
          <a:p>
            <a:pPr lvl="0"/>
            <a:r>
              <a:rPr lang="en-GB"/>
              <a:t>Click to edit Master text styles</a:t>
            </a:r>
          </a:p>
        </p:txBody>
      </p:sp>
      <p:sp>
        <p:nvSpPr>
          <p:cNvPr id="17" name="Text Placeholder 6">
            <a:extLst>
              <a:ext uri="{FF2B5EF4-FFF2-40B4-BE49-F238E27FC236}">
                <a16:creationId xmlns:a16="http://schemas.microsoft.com/office/drawing/2014/main" id="{B0250E06-295E-B6E6-95C4-089EF7886C76}"/>
              </a:ext>
            </a:extLst>
          </p:cNvPr>
          <p:cNvSpPr>
            <a:spLocks noGrp="1"/>
          </p:cNvSpPr>
          <p:nvPr>
            <p:ph type="body" sz="quarter" idx="25" hasCustomPrompt="1"/>
          </p:nvPr>
        </p:nvSpPr>
        <p:spPr>
          <a:xfrm>
            <a:off x="515939" y="2881801"/>
            <a:ext cx="3287436" cy="1115264"/>
          </a:xfrm>
        </p:spPr>
        <p:txBody>
          <a:bodyPr anchor="b">
            <a:normAutofit/>
          </a:bodyPr>
          <a:lstStyle>
            <a:lvl1pPr>
              <a:defRPr sz="6600" b="1">
                <a:solidFill>
                  <a:schemeClr val="bg2"/>
                </a:solidFill>
              </a:defRPr>
            </a:lvl1pPr>
          </a:lstStyle>
          <a:p>
            <a:pPr lvl="0"/>
            <a:r>
              <a:rPr lang="en-GB"/>
              <a:t>XXXX</a:t>
            </a:r>
          </a:p>
        </p:txBody>
      </p:sp>
      <p:sp>
        <p:nvSpPr>
          <p:cNvPr id="23" name="Text Placeholder 6">
            <a:extLst>
              <a:ext uri="{FF2B5EF4-FFF2-40B4-BE49-F238E27FC236}">
                <a16:creationId xmlns:a16="http://schemas.microsoft.com/office/drawing/2014/main" id="{41638B5E-8DB0-EAFF-0CF3-8812AF05A9BF}"/>
              </a:ext>
            </a:extLst>
          </p:cNvPr>
          <p:cNvSpPr>
            <a:spLocks noGrp="1"/>
          </p:cNvSpPr>
          <p:nvPr>
            <p:ph type="body" sz="quarter" idx="26" hasCustomPrompt="1"/>
          </p:nvPr>
        </p:nvSpPr>
        <p:spPr>
          <a:xfrm>
            <a:off x="4449392" y="2881801"/>
            <a:ext cx="3287436" cy="1115264"/>
          </a:xfrm>
        </p:spPr>
        <p:txBody>
          <a:bodyPr anchor="b">
            <a:normAutofit/>
          </a:bodyPr>
          <a:lstStyle>
            <a:lvl1pPr>
              <a:defRPr sz="6600" b="1">
                <a:solidFill>
                  <a:schemeClr val="bg2"/>
                </a:solidFill>
              </a:defRPr>
            </a:lvl1pPr>
          </a:lstStyle>
          <a:p>
            <a:pPr lvl="0"/>
            <a:r>
              <a:rPr lang="en-GB"/>
              <a:t>XXXX</a:t>
            </a:r>
          </a:p>
        </p:txBody>
      </p:sp>
      <p:sp>
        <p:nvSpPr>
          <p:cNvPr id="24" name="Text Placeholder 6">
            <a:extLst>
              <a:ext uri="{FF2B5EF4-FFF2-40B4-BE49-F238E27FC236}">
                <a16:creationId xmlns:a16="http://schemas.microsoft.com/office/drawing/2014/main" id="{248EBF9A-10A9-92FA-05B2-3A9523883401}"/>
              </a:ext>
            </a:extLst>
          </p:cNvPr>
          <p:cNvSpPr>
            <a:spLocks noGrp="1"/>
          </p:cNvSpPr>
          <p:nvPr>
            <p:ph type="body" sz="quarter" idx="27" hasCustomPrompt="1"/>
          </p:nvPr>
        </p:nvSpPr>
        <p:spPr>
          <a:xfrm>
            <a:off x="8382846" y="2881801"/>
            <a:ext cx="3287436" cy="1115264"/>
          </a:xfrm>
        </p:spPr>
        <p:txBody>
          <a:bodyPr anchor="b">
            <a:normAutofit/>
          </a:bodyPr>
          <a:lstStyle>
            <a:lvl1pPr>
              <a:defRPr sz="6600" b="1">
                <a:solidFill>
                  <a:schemeClr val="bg2"/>
                </a:solidFill>
              </a:defRPr>
            </a:lvl1pPr>
          </a:lstStyle>
          <a:p>
            <a:pPr lvl="0"/>
            <a:r>
              <a:rPr lang="en-GB"/>
              <a:t>XXXX</a:t>
            </a:r>
          </a:p>
        </p:txBody>
      </p:sp>
      <p:sp>
        <p:nvSpPr>
          <p:cNvPr id="20" name="Text Placeholder 8">
            <a:extLst>
              <a:ext uri="{FF2B5EF4-FFF2-40B4-BE49-F238E27FC236}">
                <a16:creationId xmlns:a16="http://schemas.microsoft.com/office/drawing/2014/main" id="{D2E71522-4C4D-EAC4-2A71-F45B1F18D569}"/>
              </a:ext>
            </a:extLst>
          </p:cNvPr>
          <p:cNvSpPr>
            <a:spLocks noGrp="1"/>
          </p:cNvSpPr>
          <p:nvPr>
            <p:ph type="body" idx="13"/>
          </p:nvPr>
        </p:nvSpPr>
        <p:spPr>
          <a:xfrm>
            <a:off x="531133" y="1304925"/>
            <a:ext cx="11144930" cy="1369692"/>
          </a:xfrm>
        </p:spPr>
        <p:txBody>
          <a:bodyPr numCol="1" spcCol="180000">
            <a:normAutofit/>
          </a:bodyPr>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Tree>
    <p:extLst>
      <p:ext uri="{BB962C8B-B14F-4D97-AF65-F5344CB8AC3E}">
        <p14:creationId xmlns:p14="http://schemas.microsoft.com/office/powerpoint/2010/main" val="3120308222"/>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_Key Stats x5">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United Against Rabies Forum Meeting - 6-8 November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62" name="Title Placeholder 1">
            <a:extLst>
              <a:ext uri="{FF2B5EF4-FFF2-40B4-BE49-F238E27FC236}">
                <a16:creationId xmlns:a16="http://schemas.microsoft.com/office/drawing/2014/main" id="{14F0825D-90B8-6120-7F14-9DC0960BC9E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63" name="Text Placeholder 6">
            <a:extLst>
              <a:ext uri="{FF2B5EF4-FFF2-40B4-BE49-F238E27FC236}">
                <a16:creationId xmlns:a16="http://schemas.microsoft.com/office/drawing/2014/main" id="{AF40E274-F0AF-0436-1F33-86E04DCC0DAA}"/>
              </a:ext>
            </a:extLst>
          </p:cNvPr>
          <p:cNvSpPr>
            <a:spLocks noGrp="1"/>
          </p:cNvSpPr>
          <p:nvPr>
            <p:ph type="body" sz="quarter" idx="25" hasCustomPrompt="1"/>
          </p:nvPr>
        </p:nvSpPr>
        <p:spPr>
          <a:xfrm>
            <a:off x="515939" y="2931453"/>
            <a:ext cx="2007342" cy="844151"/>
          </a:xfrm>
        </p:spPr>
        <p:txBody>
          <a:bodyPr anchor="b">
            <a:normAutofit/>
          </a:bodyPr>
          <a:lstStyle>
            <a:lvl1pPr>
              <a:defRPr sz="4600" b="1">
                <a:solidFill>
                  <a:schemeClr val="bg2"/>
                </a:solidFill>
              </a:defRPr>
            </a:lvl1pPr>
          </a:lstStyle>
          <a:p>
            <a:pPr lvl="0"/>
            <a:r>
              <a:rPr lang="en-GB"/>
              <a:t>XXXXX</a:t>
            </a:r>
          </a:p>
        </p:txBody>
      </p:sp>
      <p:sp>
        <p:nvSpPr>
          <p:cNvPr id="64" name="Text Placeholder 8">
            <a:extLst>
              <a:ext uri="{FF2B5EF4-FFF2-40B4-BE49-F238E27FC236}">
                <a16:creationId xmlns:a16="http://schemas.microsoft.com/office/drawing/2014/main" id="{DB2C3DC3-9DBF-095B-1AEB-4513EE50C647}"/>
              </a:ext>
            </a:extLst>
          </p:cNvPr>
          <p:cNvSpPr>
            <a:spLocks noGrp="1"/>
          </p:cNvSpPr>
          <p:nvPr>
            <p:ph type="body" idx="13"/>
          </p:nvPr>
        </p:nvSpPr>
        <p:spPr>
          <a:xfrm>
            <a:off x="531133" y="1304924"/>
            <a:ext cx="11144930" cy="1566849"/>
          </a:xfrm>
        </p:spPr>
        <p:txBody>
          <a:bodyPr numCol="1" spcCol="180000">
            <a:normAutofit/>
          </a:bodyPr>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65" name="Text Placeholder 6">
            <a:extLst>
              <a:ext uri="{FF2B5EF4-FFF2-40B4-BE49-F238E27FC236}">
                <a16:creationId xmlns:a16="http://schemas.microsoft.com/office/drawing/2014/main" id="{EBBD32EE-C0FF-E8CB-43E3-315A609AEFE7}"/>
              </a:ext>
            </a:extLst>
          </p:cNvPr>
          <p:cNvSpPr>
            <a:spLocks noGrp="1"/>
          </p:cNvSpPr>
          <p:nvPr>
            <p:ph type="body" sz="quarter" idx="16"/>
          </p:nvPr>
        </p:nvSpPr>
        <p:spPr>
          <a:xfrm>
            <a:off x="515939"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6" name="Text Placeholder 6">
            <a:extLst>
              <a:ext uri="{FF2B5EF4-FFF2-40B4-BE49-F238E27FC236}">
                <a16:creationId xmlns:a16="http://schemas.microsoft.com/office/drawing/2014/main" id="{9E2EB64B-500A-8201-8F3F-287FDE60FB19}"/>
              </a:ext>
            </a:extLst>
          </p:cNvPr>
          <p:cNvSpPr>
            <a:spLocks noGrp="1"/>
          </p:cNvSpPr>
          <p:nvPr>
            <p:ph type="body" sz="quarter" idx="19"/>
          </p:nvPr>
        </p:nvSpPr>
        <p:spPr>
          <a:xfrm>
            <a:off x="2802689"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7" name="Text Placeholder 6">
            <a:extLst>
              <a:ext uri="{FF2B5EF4-FFF2-40B4-BE49-F238E27FC236}">
                <a16:creationId xmlns:a16="http://schemas.microsoft.com/office/drawing/2014/main" id="{709BC01A-3AFB-CE31-0E4A-EE885FE2D5A4}"/>
              </a:ext>
            </a:extLst>
          </p:cNvPr>
          <p:cNvSpPr>
            <a:spLocks noGrp="1"/>
          </p:cNvSpPr>
          <p:nvPr>
            <p:ph type="body" sz="quarter" idx="22"/>
          </p:nvPr>
        </p:nvSpPr>
        <p:spPr>
          <a:xfrm>
            <a:off x="5089439"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8" name="Text Placeholder 6">
            <a:extLst>
              <a:ext uri="{FF2B5EF4-FFF2-40B4-BE49-F238E27FC236}">
                <a16:creationId xmlns:a16="http://schemas.microsoft.com/office/drawing/2014/main" id="{CD03EE5B-6B86-7B77-E541-93CE05115235}"/>
              </a:ext>
            </a:extLst>
          </p:cNvPr>
          <p:cNvSpPr>
            <a:spLocks noGrp="1"/>
          </p:cNvSpPr>
          <p:nvPr>
            <p:ph type="body" sz="quarter" idx="28"/>
          </p:nvPr>
        </p:nvSpPr>
        <p:spPr>
          <a:xfrm>
            <a:off x="7376189"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9" name="Text Placeholder 6">
            <a:extLst>
              <a:ext uri="{FF2B5EF4-FFF2-40B4-BE49-F238E27FC236}">
                <a16:creationId xmlns:a16="http://schemas.microsoft.com/office/drawing/2014/main" id="{F9CB884D-6999-7DC7-1825-FC60BEC935BD}"/>
              </a:ext>
            </a:extLst>
          </p:cNvPr>
          <p:cNvSpPr>
            <a:spLocks noGrp="1"/>
          </p:cNvSpPr>
          <p:nvPr>
            <p:ph type="body" sz="quarter" idx="29"/>
          </p:nvPr>
        </p:nvSpPr>
        <p:spPr>
          <a:xfrm>
            <a:off x="9662940"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70" name="Text Placeholder 6">
            <a:extLst>
              <a:ext uri="{FF2B5EF4-FFF2-40B4-BE49-F238E27FC236}">
                <a16:creationId xmlns:a16="http://schemas.microsoft.com/office/drawing/2014/main" id="{F03D69DA-4061-E20B-1262-8A9F09B92D26}"/>
              </a:ext>
            </a:extLst>
          </p:cNvPr>
          <p:cNvSpPr>
            <a:spLocks noGrp="1"/>
          </p:cNvSpPr>
          <p:nvPr>
            <p:ph type="body" sz="quarter" idx="30" hasCustomPrompt="1"/>
          </p:nvPr>
        </p:nvSpPr>
        <p:spPr>
          <a:xfrm>
            <a:off x="2790107" y="2931453"/>
            <a:ext cx="2007342" cy="844151"/>
          </a:xfrm>
        </p:spPr>
        <p:txBody>
          <a:bodyPr anchor="b">
            <a:normAutofit/>
          </a:bodyPr>
          <a:lstStyle>
            <a:lvl1pPr>
              <a:defRPr sz="4600" b="1">
                <a:solidFill>
                  <a:schemeClr val="bg2"/>
                </a:solidFill>
              </a:defRPr>
            </a:lvl1pPr>
          </a:lstStyle>
          <a:p>
            <a:pPr lvl="0"/>
            <a:r>
              <a:rPr lang="en-GB"/>
              <a:t>XXXXX</a:t>
            </a:r>
          </a:p>
        </p:txBody>
      </p:sp>
      <p:sp>
        <p:nvSpPr>
          <p:cNvPr id="71" name="Text Placeholder 6">
            <a:extLst>
              <a:ext uri="{FF2B5EF4-FFF2-40B4-BE49-F238E27FC236}">
                <a16:creationId xmlns:a16="http://schemas.microsoft.com/office/drawing/2014/main" id="{4DA3F266-6EB8-18CF-146E-FCE0EE2BCCED}"/>
              </a:ext>
            </a:extLst>
          </p:cNvPr>
          <p:cNvSpPr>
            <a:spLocks noGrp="1"/>
          </p:cNvSpPr>
          <p:nvPr>
            <p:ph type="body" sz="quarter" idx="31" hasCustomPrompt="1"/>
          </p:nvPr>
        </p:nvSpPr>
        <p:spPr>
          <a:xfrm>
            <a:off x="5064275" y="2931453"/>
            <a:ext cx="2007342" cy="844151"/>
          </a:xfrm>
        </p:spPr>
        <p:txBody>
          <a:bodyPr anchor="b">
            <a:normAutofit/>
          </a:bodyPr>
          <a:lstStyle>
            <a:lvl1pPr>
              <a:defRPr sz="4600" b="1">
                <a:solidFill>
                  <a:schemeClr val="bg2"/>
                </a:solidFill>
              </a:defRPr>
            </a:lvl1pPr>
          </a:lstStyle>
          <a:p>
            <a:pPr lvl="0"/>
            <a:r>
              <a:rPr lang="en-GB"/>
              <a:t>XXXXX</a:t>
            </a:r>
          </a:p>
        </p:txBody>
      </p:sp>
      <p:sp>
        <p:nvSpPr>
          <p:cNvPr id="72" name="Text Placeholder 6">
            <a:extLst>
              <a:ext uri="{FF2B5EF4-FFF2-40B4-BE49-F238E27FC236}">
                <a16:creationId xmlns:a16="http://schemas.microsoft.com/office/drawing/2014/main" id="{ABAC94EC-4D3A-CEAC-3763-AE5EBA842951}"/>
              </a:ext>
            </a:extLst>
          </p:cNvPr>
          <p:cNvSpPr>
            <a:spLocks noGrp="1"/>
          </p:cNvSpPr>
          <p:nvPr>
            <p:ph type="body" sz="quarter" idx="32" hasCustomPrompt="1"/>
          </p:nvPr>
        </p:nvSpPr>
        <p:spPr>
          <a:xfrm>
            <a:off x="7376189" y="2931453"/>
            <a:ext cx="2007342" cy="844151"/>
          </a:xfrm>
        </p:spPr>
        <p:txBody>
          <a:bodyPr anchor="b">
            <a:normAutofit/>
          </a:bodyPr>
          <a:lstStyle>
            <a:lvl1pPr>
              <a:defRPr sz="4600" b="1">
                <a:solidFill>
                  <a:schemeClr val="bg2"/>
                </a:solidFill>
              </a:defRPr>
            </a:lvl1pPr>
          </a:lstStyle>
          <a:p>
            <a:pPr lvl="0"/>
            <a:r>
              <a:rPr lang="en-GB"/>
              <a:t>XXXXX</a:t>
            </a:r>
          </a:p>
        </p:txBody>
      </p:sp>
      <p:sp>
        <p:nvSpPr>
          <p:cNvPr id="73" name="Text Placeholder 6">
            <a:extLst>
              <a:ext uri="{FF2B5EF4-FFF2-40B4-BE49-F238E27FC236}">
                <a16:creationId xmlns:a16="http://schemas.microsoft.com/office/drawing/2014/main" id="{CB8F9A8E-E04A-1CA2-A320-7A4AE6F70DD9}"/>
              </a:ext>
            </a:extLst>
          </p:cNvPr>
          <p:cNvSpPr>
            <a:spLocks noGrp="1"/>
          </p:cNvSpPr>
          <p:nvPr>
            <p:ph type="body" sz="quarter" idx="33" hasCustomPrompt="1"/>
          </p:nvPr>
        </p:nvSpPr>
        <p:spPr>
          <a:xfrm>
            <a:off x="9662940" y="2931453"/>
            <a:ext cx="2007342" cy="844151"/>
          </a:xfrm>
        </p:spPr>
        <p:txBody>
          <a:bodyPr anchor="b">
            <a:normAutofit/>
          </a:bodyPr>
          <a:lstStyle>
            <a:lvl1pPr>
              <a:defRPr sz="4600" b="1">
                <a:solidFill>
                  <a:schemeClr val="bg2"/>
                </a:solidFill>
              </a:defRPr>
            </a:lvl1pPr>
          </a:lstStyle>
          <a:p>
            <a:pPr lvl="0"/>
            <a:r>
              <a:rPr lang="en-GB"/>
              <a:t>XXXXX</a:t>
            </a:r>
          </a:p>
        </p:txBody>
      </p:sp>
    </p:spTree>
    <p:extLst>
      <p:ext uri="{BB962C8B-B14F-4D97-AF65-F5344CB8AC3E}">
        <p14:creationId xmlns:p14="http://schemas.microsoft.com/office/powerpoint/2010/main" val="399946624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6C89FF-A057-4A2C-911E-5508A82E78F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AU"/>
          </a:p>
        </p:txBody>
      </p:sp>
      <p:sp>
        <p:nvSpPr>
          <p:cNvPr id="3" name="Subtitle 2">
            <a:extLst>
              <a:ext uri="{FF2B5EF4-FFF2-40B4-BE49-F238E27FC236}">
                <a16:creationId xmlns:a16="http://schemas.microsoft.com/office/drawing/2014/main" id="{506F9885-50D4-4253-A558-E6AC31293AD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AU"/>
          </a:p>
        </p:txBody>
      </p:sp>
      <p:sp>
        <p:nvSpPr>
          <p:cNvPr id="4" name="Date Placeholder 3">
            <a:extLst>
              <a:ext uri="{FF2B5EF4-FFF2-40B4-BE49-F238E27FC236}">
                <a16:creationId xmlns:a16="http://schemas.microsoft.com/office/drawing/2014/main" id="{53B19B8A-9EE0-4A8E-82EE-B0907D1B2D16}"/>
              </a:ext>
            </a:extLst>
          </p:cNvPr>
          <p:cNvSpPr>
            <a:spLocks noGrp="1"/>
          </p:cNvSpPr>
          <p:nvPr>
            <p:ph type="dt" sz="half" idx="10"/>
          </p:nvPr>
        </p:nvSpPr>
        <p:spPr/>
        <p:txBody>
          <a:bodyPr/>
          <a:lstStyle/>
          <a:p>
            <a:fld id="{FBAE3A4B-302C-4EB4-81AB-26BAB767AB40}" type="datetime1">
              <a:rPr lang="en-AU" smtClean="0"/>
              <a:t>9/12/2024</a:t>
            </a:fld>
            <a:endParaRPr lang="en-AU"/>
          </a:p>
        </p:txBody>
      </p:sp>
      <p:sp>
        <p:nvSpPr>
          <p:cNvPr id="5" name="Footer Placeholder 4">
            <a:extLst>
              <a:ext uri="{FF2B5EF4-FFF2-40B4-BE49-F238E27FC236}">
                <a16:creationId xmlns:a16="http://schemas.microsoft.com/office/drawing/2014/main" id="{45DD5F7B-A21E-4C37-879B-E1C43877FD8A}"/>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1E85835B-D039-4298-8630-EFCB0D48A363}"/>
              </a:ext>
            </a:extLst>
          </p:cNvPr>
          <p:cNvSpPr>
            <a:spLocks noGrp="1"/>
          </p:cNvSpPr>
          <p:nvPr>
            <p:ph type="sldNum" sz="quarter" idx="12"/>
          </p:nvPr>
        </p:nvSpPr>
        <p:spPr/>
        <p:txBody>
          <a:bodyPr/>
          <a:lstStyle/>
          <a:p>
            <a:fld id="{8DC7E6E5-62CB-489F-B206-35AD67B1A14F}" type="slidenum">
              <a:rPr lang="en-AU" smtClean="0"/>
              <a:t>‹#›</a:t>
            </a:fld>
            <a:endParaRPr lang="en-AU"/>
          </a:p>
        </p:txBody>
      </p:sp>
    </p:spTree>
    <p:extLst>
      <p:ext uri="{BB962C8B-B14F-4D97-AF65-F5344CB8AC3E}">
        <p14:creationId xmlns:p14="http://schemas.microsoft.com/office/powerpoint/2010/main" val="1862708576"/>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1_Timeline/Milestones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United Against Rabies Forum Meeting - 6-8 November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graphicFrame>
        <p:nvGraphicFramePr>
          <p:cNvPr id="48" name="Table 47">
            <a:extLst>
              <a:ext uri="{FF2B5EF4-FFF2-40B4-BE49-F238E27FC236}">
                <a16:creationId xmlns:a16="http://schemas.microsoft.com/office/drawing/2014/main" id="{B7F29198-E920-459C-2862-C2C7FB6FEB65}"/>
              </a:ext>
            </a:extLst>
          </p:cNvPr>
          <p:cNvGraphicFramePr>
            <a:graphicFrameLocks noGrp="1"/>
          </p:cNvGraphicFramePr>
          <p:nvPr userDrawn="1">
            <p:extLst>
              <p:ext uri="{D42A27DB-BD31-4B8C-83A1-F6EECF244321}">
                <p14:modId xmlns:p14="http://schemas.microsoft.com/office/powerpoint/2010/main" val="2545069581"/>
              </p:ext>
            </p:extLst>
          </p:nvPr>
        </p:nvGraphicFramePr>
        <p:xfrm>
          <a:off x="606585" y="2278196"/>
          <a:ext cx="11007608" cy="3618726"/>
        </p:xfrm>
        <a:graphic>
          <a:graphicData uri="http://schemas.openxmlformats.org/drawingml/2006/table">
            <a:tbl>
              <a:tblPr bandCol="1">
                <a:tableStyleId>{2D5ABB26-0587-4C30-8999-92F81FD0307C}</a:tableStyleId>
              </a:tblPr>
              <a:tblGrid>
                <a:gridCol w="2751902">
                  <a:extLst>
                    <a:ext uri="{9D8B030D-6E8A-4147-A177-3AD203B41FA5}">
                      <a16:colId xmlns:a16="http://schemas.microsoft.com/office/drawing/2014/main" val="4151945498"/>
                    </a:ext>
                  </a:extLst>
                </a:gridCol>
                <a:gridCol w="2751902">
                  <a:extLst>
                    <a:ext uri="{9D8B030D-6E8A-4147-A177-3AD203B41FA5}">
                      <a16:colId xmlns:a16="http://schemas.microsoft.com/office/drawing/2014/main" val="1382627474"/>
                    </a:ext>
                  </a:extLst>
                </a:gridCol>
                <a:gridCol w="2751902">
                  <a:extLst>
                    <a:ext uri="{9D8B030D-6E8A-4147-A177-3AD203B41FA5}">
                      <a16:colId xmlns:a16="http://schemas.microsoft.com/office/drawing/2014/main" val="2312284562"/>
                    </a:ext>
                  </a:extLst>
                </a:gridCol>
                <a:gridCol w="2751902">
                  <a:extLst>
                    <a:ext uri="{9D8B030D-6E8A-4147-A177-3AD203B41FA5}">
                      <a16:colId xmlns:a16="http://schemas.microsoft.com/office/drawing/2014/main" val="380964293"/>
                    </a:ext>
                  </a:extLst>
                </a:gridCol>
              </a:tblGrid>
              <a:tr h="3618726">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extLst>
                  <a:ext uri="{0D108BD9-81ED-4DB2-BD59-A6C34878D82A}">
                    <a16:rowId xmlns:a16="http://schemas.microsoft.com/office/drawing/2014/main" val="3469904028"/>
                  </a:ext>
                </a:extLst>
              </a:tr>
            </a:tbl>
          </a:graphicData>
        </a:graphic>
      </p:graphicFrame>
      <p:sp>
        <p:nvSpPr>
          <p:cNvPr id="49" name="object 14">
            <a:extLst>
              <a:ext uri="{FF2B5EF4-FFF2-40B4-BE49-F238E27FC236}">
                <a16:creationId xmlns:a16="http://schemas.microsoft.com/office/drawing/2014/main" id="{A52E1F34-96C7-3C86-48A7-FAB9C405C20B}"/>
              </a:ext>
            </a:extLst>
          </p:cNvPr>
          <p:cNvSpPr/>
          <p:nvPr userDrawn="1"/>
        </p:nvSpPr>
        <p:spPr>
          <a:xfrm>
            <a:off x="577805" y="2278195"/>
            <a:ext cx="11036388" cy="45719"/>
          </a:xfrm>
          <a:custGeom>
            <a:avLst/>
            <a:gdLst/>
            <a:ahLst/>
            <a:cxnLst/>
            <a:rect l="l" t="t" r="r" b="b"/>
            <a:pathLst>
              <a:path w="18209260">
                <a:moveTo>
                  <a:pt x="0" y="0"/>
                </a:moveTo>
                <a:lnTo>
                  <a:pt x="18208869" y="0"/>
                </a:lnTo>
              </a:path>
            </a:pathLst>
          </a:custGeom>
          <a:ln w="9525">
            <a:solidFill>
              <a:schemeClr val="bg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7" y="222114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1" name="Oval 50">
            <a:extLst>
              <a:ext uri="{FF2B5EF4-FFF2-40B4-BE49-F238E27FC236}">
                <a16:creationId xmlns:a16="http://schemas.microsoft.com/office/drawing/2014/main" id="{47D58FC1-83B9-3BAD-C3EF-06E8D5DE120F}"/>
              </a:ext>
            </a:extLst>
          </p:cNvPr>
          <p:cNvSpPr>
            <a:spLocks noChangeAspect="1"/>
          </p:cNvSpPr>
          <p:nvPr userDrawn="1"/>
        </p:nvSpPr>
        <p:spPr>
          <a:xfrm>
            <a:off x="3460438" y="222114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2" name="Oval 51">
            <a:extLst>
              <a:ext uri="{FF2B5EF4-FFF2-40B4-BE49-F238E27FC236}">
                <a16:creationId xmlns:a16="http://schemas.microsoft.com/office/drawing/2014/main" id="{9D582DFC-3D0D-D5F8-AA6B-5676C8C4B3BF}"/>
              </a:ext>
            </a:extLst>
          </p:cNvPr>
          <p:cNvSpPr>
            <a:spLocks noChangeAspect="1"/>
          </p:cNvSpPr>
          <p:nvPr userDrawn="1"/>
        </p:nvSpPr>
        <p:spPr>
          <a:xfrm>
            <a:off x="6227970" y="222114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3" name="Oval 52">
            <a:extLst>
              <a:ext uri="{FF2B5EF4-FFF2-40B4-BE49-F238E27FC236}">
                <a16:creationId xmlns:a16="http://schemas.microsoft.com/office/drawing/2014/main" id="{DF486150-9219-560A-8B4F-FB551F786E68}"/>
              </a:ext>
            </a:extLst>
          </p:cNvPr>
          <p:cNvSpPr>
            <a:spLocks noChangeAspect="1"/>
          </p:cNvSpPr>
          <p:nvPr userDrawn="1"/>
        </p:nvSpPr>
        <p:spPr>
          <a:xfrm>
            <a:off x="8985924" y="222114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7" y="1818875"/>
            <a:ext cx="2767426" cy="300442"/>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5" name="Text Placeholder 71">
            <a:extLst>
              <a:ext uri="{FF2B5EF4-FFF2-40B4-BE49-F238E27FC236}">
                <a16:creationId xmlns:a16="http://schemas.microsoft.com/office/drawing/2014/main" id="{799F0539-8B24-4E4B-EF4C-121B551D8BA3}"/>
              </a:ext>
            </a:extLst>
          </p:cNvPr>
          <p:cNvSpPr>
            <a:spLocks noGrp="1"/>
          </p:cNvSpPr>
          <p:nvPr>
            <p:ph type="body" sz="quarter" idx="16" hasCustomPrompt="1"/>
          </p:nvPr>
        </p:nvSpPr>
        <p:spPr>
          <a:xfrm>
            <a:off x="3344603" y="1818875"/>
            <a:ext cx="2746295" cy="300442"/>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6" name="Text Placeholder 71">
            <a:extLst>
              <a:ext uri="{FF2B5EF4-FFF2-40B4-BE49-F238E27FC236}">
                <a16:creationId xmlns:a16="http://schemas.microsoft.com/office/drawing/2014/main" id="{9DFB2CE5-A177-E72D-3CD4-2646E4DCE502}"/>
              </a:ext>
            </a:extLst>
          </p:cNvPr>
          <p:cNvSpPr>
            <a:spLocks noGrp="1"/>
          </p:cNvSpPr>
          <p:nvPr>
            <p:ph type="body" sz="quarter" idx="18" hasCustomPrompt="1"/>
          </p:nvPr>
        </p:nvSpPr>
        <p:spPr>
          <a:xfrm>
            <a:off x="6100141" y="1818875"/>
            <a:ext cx="2745959" cy="300442"/>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7" name="Text Placeholder 71">
            <a:extLst>
              <a:ext uri="{FF2B5EF4-FFF2-40B4-BE49-F238E27FC236}">
                <a16:creationId xmlns:a16="http://schemas.microsoft.com/office/drawing/2014/main" id="{7A262EC1-F639-E81C-3343-3DA348DA9266}"/>
              </a:ext>
            </a:extLst>
          </p:cNvPr>
          <p:cNvSpPr>
            <a:spLocks noGrp="1"/>
          </p:cNvSpPr>
          <p:nvPr>
            <p:ph type="body" sz="quarter" idx="20" hasCustomPrompt="1"/>
          </p:nvPr>
        </p:nvSpPr>
        <p:spPr>
          <a:xfrm>
            <a:off x="8846100" y="1818875"/>
            <a:ext cx="2773719" cy="300442"/>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8" name="Text Placeholder 4">
            <a:extLst>
              <a:ext uri="{FF2B5EF4-FFF2-40B4-BE49-F238E27FC236}">
                <a16:creationId xmlns:a16="http://schemas.microsoft.com/office/drawing/2014/main" id="{0FE60C61-D20F-0DE2-38DC-62D2FAD38472}"/>
              </a:ext>
            </a:extLst>
          </p:cNvPr>
          <p:cNvSpPr>
            <a:spLocks noGrp="1"/>
          </p:cNvSpPr>
          <p:nvPr>
            <p:ph type="body" sz="quarter" idx="29"/>
          </p:nvPr>
        </p:nvSpPr>
        <p:spPr>
          <a:xfrm>
            <a:off x="606471"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59" name="Text Placeholder 4">
            <a:extLst>
              <a:ext uri="{FF2B5EF4-FFF2-40B4-BE49-F238E27FC236}">
                <a16:creationId xmlns:a16="http://schemas.microsoft.com/office/drawing/2014/main" id="{7F661011-0524-7D80-F0B1-7EB66B450ADE}"/>
              </a:ext>
            </a:extLst>
          </p:cNvPr>
          <p:cNvSpPr>
            <a:spLocks noGrp="1"/>
          </p:cNvSpPr>
          <p:nvPr>
            <p:ph type="body" sz="quarter" idx="30"/>
          </p:nvPr>
        </p:nvSpPr>
        <p:spPr>
          <a:xfrm>
            <a:off x="3361059"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0" name="Text Placeholder 4">
            <a:extLst>
              <a:ext uri="{FF2B5EF4-FFF2-40B4-BE49-F238E27FC236}">
                <a16:creationId xmlns:a16="http://schemas.microsoft.com/office/drawing/2014/main" id="{5F501377-4DE1-C96B-B5CB-4675C424B7FF}"/>
              </a:ext>
            </a:extLst>
          </p:cNvPr>
          <p:cNvSpPr>
            <a:spLocks noGrp="1"/>
          </p:cNvSpPr>
          <p:nvPr>
            <p:ph type="body" sz="quarter" idx="31"/>
          </p:nvPr>
        </p:nvSpPr>
        <p:spPr>
          <a:xfrm>
            <a:off x="6100140"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1" name="Text Placeholder 4">
            <a:extLst>
              <a:ext uri="{FF2B5EF4-FFF2-40B4-BE49-F238E27FC236}">
                <a16:creationId xmlns:a16="http://schemas.microsoft.com/office/drawing/2014/main" id="{71120A03-3A4D-1301-C17A-86C4C1605881}"/>
              </a:ext>
            </a:extLst>
          </p:cNvPr>
          <p:cNvSpPr>
            <a:spLocks noGrp="1"/>
          </p:cNvSpPr>
          <p:nvPr>
            <p:ph type="body" sz="quarter" idx="32"/>
          </p:nvPr>
        </p:nvSpPr>
        <p:spPr>
          <a:xfrm>
            <a:off x="8848429"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2274180877"/>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_Timeline/Milestones x5">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United Against Rabies Forum Meeting - 6-8 November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graphicFrame>
        <p:nvGraphicFramePr>
          <p:cNvPr id="48" name="Table 47">
            <a:extLst>
              <a:ext uri="{FF2B5EF4-FFF2-40B4-BE49-F238E27FC236}">
                <a16:creationId xmlns:a16="http://schemas.microsoft.com/office/drawing/2014/main" id="{B7F29198-E920-459C-2862-C2C7FB6FEB65}"/>
              </a:ext>
            </a:extLst>
          </p:cNvPr>
          <p:cNvGraphicFramePr>
            <a:graphicFrameLocks noGrp="1"/>
          </p:cNvGraphicFramePr>
          <p:nvPr userDrawn="1">
            <p:extLst>
              <p:ext uri="{D42A27DB-BD31-4B8C-83A1-F6EECF244321}">
                <p14:modId xmlns:p14="http://schemas.microsoft.com/office/powerpoint/2010/main" val="1495489908"/>
              </p:ext>
            </p:extLst>
          </p:nvPr>
        </p:nvGraphicFramePr>
        <p:xfrm>
          <a:off x="606585" y="2265316"/>
          <a:ext cx="11007610" cy="3618719"/>
        </p:xfrm>
        <a:graphic>
          <a:graphicData uri="http://schemas.openxmlformats.org/drawingml/2006/table">
            <a:tbl>
              <a:tblPr bandCol="1">
                <a:tableStyleId>{2D5ABB26-0587-4C30-8999-92F81FD0307C}</a:tableStyleId>
              </a:tblPr>
              <a:tblGrid>
                <a:gridCol w="2201522">
                  <a:extLst>
                    <a:ext uri="{9D8B030D-6E8A-4147-A177-3AD203B41FA5}">
                      <a16:colId xmlns:a16="http://schemas.microsoft.com/office/drawing/2014/main" val="4151945498"/>
                    </a:ext>
                  </a:extLst>
                </a:gridCol>
                <a:gridCol w="2201522">
                  <a:extLst>
                    <a:ext uri="{9D8B030D-6E8A-4147-A177-3AD203B41FA5}">
                      <a16:colId xmlns:a16="http://schemas.microsoft.com/office/drawing/2014/main" val="1382627474"/>
                    </a:ext>
                  </a:extLst>
                </a:gridCol>
                <a:gridCol w="2201522">
                  <a:extLst>
                    <a:ext uri="{9D8B030D-6E8A-4147-A177-3AD203B41FA5}">
                      <a16:colId xmlns:a16="http://schemas.microsoft.com/office/drawing/2014/main" val="2312284562"/>
                    </a:ext>
                  </a:extLst>
                </a:gridCol>
                <a:gridCol w="2201522">
                  <a:extLst>
                    <a:ext uri="{9D8B030D-6E8A-4147-A177-3AD203B41FA5}">
                      <a16:colId xmlns:a16="http://schemas.microsoft.com/office/drawing/2014/main" val="380964293"/>
                    </a:ext>
                  </a:extLst>
                </a:gridCol>
                <a:gridCol w="2201522">
                  <a:extLst>
                    <a:ext uri="{9D8B030D-6E8A-4147-A177-3AD203B41FA5}">
                      <a16:colId xmlns:a16="http://schemas.microsoft.com/office/drawing/2014/main" val="2456329606"/>
                    </a:ext>
                  </a:extLst>
                </a:gridCol>
              </a:tblGrid>
              <a:tr h="3618719">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noFill/>
                  </a:tcPr>
                </a:tc>
                <a:extLst>
                  <a:ext uri="{0D108BD9-81ED-4DB2-BD59-A6C34878D82A}">
                    <a16:rowId xmlns:a16="http://schemas.microsoft.com/office/drawing/2014/main" val="3469904028"/>
                  </a:ext>
                </a:extLst>
              </a:tr>
            </a:tbl>
          </a:graphicData>
        </a:graphic>
      </p:graphicFrame>
      <p:sp>
        <p:nvSpPr>
          <p:cNvPr id="49" name="object 14">
            <a:extLst>
              <a:ext uri="{FF2B5EF4-FFF2-40B4-BE49-F238E27FC236}">
                <a16:creationId xmlns:a16="http://schemas.microsoft.com/office/drawing/2014/main" id="{A52E1F34-96C7-3C86-48A7-FAB9C405C20B}"/>
              </a:ext>
            </a:extLst>
          </p:cNvPr>
          <p:cNvSpPr/>
          <p:nvPr userDrawn="1"/>
        </p:nvSpPr>
        <p:spPr>
          <a:xfrm>
            <a:off x="577805" y="2265316"/>
            <a:ext cx="11042014" cy="0"/>
          </a:xfrm>
          <a:custGeom>
            <a:avLst/>
            <a:gdLst/>
            <a:ahLst/>
            <a:cxnLst/>
            <a:rect l="l" t="t" r="r" b="b"/>
            <a:pathLst>
              <a:path w="18209260">
                <a:moveTo>
                  <a:pt x="0" y="0"/>
                </a:moveTo>
                <a:lnTo>
                  <a:pt x="18208869" y="0"/>
                </a:lnTo>
              </a:path>
            </a:pathLst>
          </a:custGeom>
          <a:ln w="9525">
            <a:solidFill>
              <a:schemeClr val="bg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7"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1" name="Oval 50">
            <a:extLst>
              <a:ext uri="{FF2B5EF4-FFF2-40B4-BE49-F238E27FC236}">
                <a16:creationId xmlns:a16="http://schemas.microsoft.com/office/drawing/2014/main" id="{47D58FC1-83B9-3BAD-C3EF-06E8D5DE120F}"/>
              </a:ext>
            </a:extLst>
          </p:cNvPr>
          <p:cNvSpPr>
            <a:spLocks noChangeAspect="1"/>
          </p:cNvSpPr>
          <p:nvPr userDrawn="1"/>
        </p:nvSpPr>
        <p:spPr>
          <a:xfrm>
            <a:off x="2892295"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7" y="1805995"/>
            <a:ext cx="2217229"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5" name="Text Placeholder 71">
            <a:extLst>
              <a:ext uri="{FF2B5EF4-FFF2-40B4-BE49-F238E27FC236}">
                <a16:creationId xmlns:a16="http://schemas.microsoft.com/office/drawing/2014/main" id="{799F0539-8B24-4E4B-EF4C-121B551D8BA3}"/>
              </a:ext>
            </a:extLst>
          </p:cNvPr>
          <p:cNvSpPr>
            <a:spLocks noGrp="1"/>
          </p:cNvSpPr>
          <p:nvPr>
            <p:ph type="body" sz="quarter" idx="16" hasCustomPrompt="1"/>
          </p:nvPr>
        </p:nvSpPr>
        <p:spPr>
          <a:xfrm>
            <a:off x="2789882" y="1805995"/>
            <a:ext cx="2200300"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8" name="Text Placeholder 4">
            <a:extLst>
              <a:ext uri="{FF2B5EF4-FFF2-40B4-BE49-F238E27FC236}">
                <a16:creationId xmlns:a16="http://schemas.microsoft.com/office/drawing/2014/main" id="{0FE60C61-D20F-0DE2-38DC-62D2FAD38472}"/>
              </a:ext>
            </a:extLst>
          </p:cNvPr>
          <p:cNvSpPr>
            <a:spLocks noGrp="1"/>
          </p:cNvSpPr>
          <p:nvPr>
            <p:ph type="body" sz="quarter" idx="29"/>
          </p:nvPr>
        </p:nvSpPr>
        <p:spPr>
          <a:xfrm>
            <a:off x="606471" y="2567720"/>
            <a:ext cx="2193481"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59" name="Text Placeholder 4">
            <a:extLst>
              <a:ext uri="{FF2B5EF4-FFF2-40B4-BE49-F238E27FC236}">
                <a16:creationId xmlns:a16="http://schemas.microsoft.com/office/drawing/2014/main" id="{7F661011-0524-7D80-F0B1-7EB66B450ADE}"/>
              </a:ext>
            </a:extLst>
          </p:cNvPr>
          <p:cNvSpPr>
            <a:spLocks noGrp="1"/>
          </p:cNvSpPr>
          <p:nvPr>
            <p:ph type="body" sz="quarter" idx="30"/>
          </p:nvPr>
        </p:nvSpPr>
        <p:spPr>
          <a:xfrm>
            <a:off x="2806338" y="2567720"/>
            <a:ext cx="2193482"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3" name="Oval 22">
            <a:extLst>
              <a:ext uri="{FF2B5EF4-FFF2-40B4-BE49-F238E27FC236}">
                <a16:creationId xmlns:a16="http://schemas.microsoft.com/office/drawing/2014/main" id="{52428D8F-1413-2F6F-66F0-EA64E72C6F19}"/>
              </a:ext>
            </a:extLst>
          </p:cNvPr>
          <p:cNvSpPr>
            <a:spLocks noChangeAspect="1"/>
          </p:cNvSpPr>
          <p:nvPr userDrawn="1"/>
        </p:nvSpPr>
        <p:spPr>
          <a:xfrm>
            <a:off x="5108619"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24" name="Text Placeholder 71">
            <a:extLst>
              <a:ext uri="{FF2B5EF4-FFF2-40B4-BE49-F238E27FC236}">
                <a16:creationId xmlns:a16="http://schemas.microsoft.com/office/drawing/2014/main" id="{ED2B6425-619B-AFAF-1CF5-12D51DA09538}"/>
              </a:ext>
            </a:extLst>
          </p:cNvPr>
          <p:cNvSpPr>
            <a:spLocks noGrp="1"/>
          </p:cNvSpPr>
          <p:nvPr>
            <p:ph type="body" sz="quarter" idx="33" hasCustomPrompt="1"/>
          </p:nvPr>
        </p:nvSpPr>
        <p:spPr>
          <a:xfrm>
            <a:off x="5006206" y="1805995"/>
            <a:ext cx="2200300"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25" name="Text Placeholder 4">
            <a:extLst>
              <a:ext uri="{FF2B5EF4-FFF2-40B4-BE49-F238E27FC236}">
                <a16:creationId xmlns:a16="http://schemas.microsoft.com/office/drawing/2014/main" id="{42048595-A0EA-7BB4-A2D8-622DB0779CAC}"/>
              </a:ext>
            </a:extLst>
          </p:cNvPr>
          <p:cNvSpPr>
            <a:spLocks noGrp="1"/>
          </p:cNvSpPr>
          <p:nvPr>
            <p:ph type="body" sz="quarter" idx="34"/>
          </p:nvPr>
        </p:nvSpPr>
        <p:spPr>
          <a:xfrm>
            <a:off x="5022662" y="2567720"/>
            <a:ext cx="2193482"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Oval 25">
            <a:extLst>
              <a:ext uri="{FF2B5EF4-FFF2-40B4-BE49-F238E27FC236}">
                <a16:creationId xmlns:a16="http://schemas.microsoft.com/office/drawing/2014/main" id="{E31A4FAF-CCB7-1F56-BEE2-622CF1A54FAB}"/>
              </a:ext>
            </a:extLst>
          </p:cNvPr>
          <p:cNvSpPr>
            <a:spLocks noChangeAspect="1"/>
          </p:cNvSpPr>
          <p:nvPr userDrawn="1"/>
        </p:nvSpPr>
        <p:spPr>
          <a:xfrm>
            <a:off x="7304231"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27" name="Text Placeholder 71">
            <a:extLst>
              <a:ext uri="{FF2B5EF4-FFF2-40B4-BE49-F238E27FC236}">
                <a16:creationId xmlns:a16="http://schemas.microsoft.com/office/drawing/2014/main" id="{AD33553F-FF2E-A084-58B1-CABD32043C6D}"/>
              </a:ext>
            </a:extLst>
          </p:cNvPr>
          <p:cNvSpPr>
            <a:spLocks noGrp="1"/>
          </p:cNvSpPr>
          <p:nvPr>
            <p:ph type="body" sz="quarter" idx="35" hasCustomPrompt="1"/>
          </p:nvPr>
        </p:nvSpPr>
        <p:spPr>
          <a:xfrm>
            <a:off x="7201818" y="1805995"/>
            <a:ext cx="2200300"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28" name="Text Placeholder 4">
            <a:extLst>
              <a:ext uri="{FF2B5EF4-FFF2-40B4-BE49-F238E27FC236}">
                <a16:creationId xmlns:a16="http://schemas.microsoft.com/office/drawing/2014/main" id="{E55650A2-C067-405B-1B74-AC970B406C55}"/>
              </a:ext>
            </a:extLst>
          </p:cNvPr>
          <p:cNvSpPr>
            <a:spLocks noGrp="1"/>
          </p:cNvSpPr>
          <p:nvPr>
            <p:ph type="body" sz="quarter" idx="36"/>
          </p:nvPr>
        </p:nvSpPr>
        <p:spPr>
          <a:xfrm>
            <a:off x="7218274" y="2567720"/>
            <a:ext cx="2193482"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9" name="Oval 28">
            <a:extLst>
              <a:ext uri="{FF2B5EF4-FFF2-40B4-BE49-F238E27FC236}">
                <a16:creationId xmlns:a16="http://schemas.microsoft.com/office/drawing/2014/main" id="{965D2802-7493-9694-05E4-80CC2EF9B231}"/>
              </a:ext>
            </a:extLst>
          </p:cNvPr>
          <p:cNvSpPr>
            <a:spLocks noChangeAspect="1"/>
          </p:cNvSpPr>
          <p:nvPr userDrawn="1"/>
        </p:nvSpPr>
        <p:spPr>
          <a:xfrm>
            <a:off x="9512554"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30" name="Text Placeholder 71">
            <a:extLst>
              <a:ext uri="{FF2B5EF4-FFF2-40B4-BE49-F238E27FC236}">
                <a16:creationId xmlns:a16="http://schemas.microsoft.com/office/drawing/2014/main" id="{71110D7A-CD1D-2C97-57A0-9A17C8D3134A}"/>
              </a:ext>
            </a:extLst>
          </p:cNvPr>
          <p:cNvSpPr>
            <a:spLocks noGrp="1"/>
          </p:cNvSpPr>
          <p:nvPr>
            <p:ph type="body" sz="quarter" idx="37" hasCustomPrompt="1"/>
          </p:nvPr>
        </p:nvSpPr>
        <p:spPr>
          <a:xfrm>
            <a:off x="9410141" y="1805995"/>
            <a:ext cx="2200300"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31" name="Text Placeholder 4">
            <a:extLst>
              <a:ext uri="{FF2B5EF4-FFF2-40B4-BE49-F238E27FC236}">
                <a16:creationId xmlns:a16="http://schemas.microsoft.com/office/drawing/2014/main" id="{4E1F3181-D3F3-3AA6-E3A7-A60D86BCE4F3}"/>
              </a:ext>
            </a:extLst>
          </p:cNvPr>
          <p:cNvSpPr>
            <a:spLocks noGrp="1"/>
          </p:cNvSpPr>
          <p:nvPr>
            <p:ph type="body" sz="quarter" idx="38"/>
          </p:nvPr>
        </p:nvSpPr>
        <p:spPr>
          <a:xfrm>
            <a:off x="9426597" y="2567720"/>
            <a:ext cx="2193482"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3480545538"/>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1_Timeline/Milestones x6">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United Against Rabies Forum Meeting - 6-8 November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graphicFrame>
        <p:nvGraphicFramePr>
          <p:cNvPr id="48" name="Table 47">
            <a:extLst>
              <a:ext uri="{FF2B5EF4-FFF2-40B4-BE49-F238E27FC236}">
                <a16:creationId xmlns:a16="http://schemas.microsoft.com/office/drawing/2014/main" id="{B7F29198-E920-459C-2862-C2C7FB6FEB65}"/>
              </a:ext>
            </a:extLst>
          </p:cNvPr>
          <p:cNvGraphicFramePr>
            <a:graphicFrameLocks noGrp="1"/>
          </p:cNvGraphicFramePr>
          <p:nvPr userDrawn="1">
            <p:extLst>
              <p:ext uri="{D42A27DB-BD31-4B8C-83A1-F6EECF244321}">
                <p14:modId xmlns:p14="http://schemas.microsoft.com/office/powerpoint/2010/main" val="3220648469"/>
              </p:ext>
            </p:extLst>
          </p:nvPr>
        </p:nvGraphicFramePr>
        <p:xfrm>
          <a:off x="577178" y="2265316"/>
          <a:ext cx="11007612" cy="3618719"/>
        </p:xfrm>
        <a:graphic>
          <a:graphicData uri="http://schemas.openxmlformats.org/drawingml/2006/table">
            <a:tbl>
              <a:tblPr bandCol="1">
                <a:tableStyleId>{2D5ABB26-0587-4C30-8999-92F81FD0307C}</a:tableStyleId>
              </a:tblPr>
              <a:tblGrid>
                <a:gridCol w="1834602">
                  <a:extLst>
                    <a:ext uri="{9D8B030D-6E8A-4147-A177-3AD203B41FA5}">
                      <a16:colId xmlns:a16="http://schemas.microsoft.com/office/drawing/2014/main" val="4151945498"/>
                    </a:ext>
                  </a:extLst>
                </a:gridCol>
                <a:gridCol w="1834602">
                  <a:extLst>
                    <a:ext uri="{9D8B030D-6E8A-4147-A177-3AD203B41FA5}">
                      <a16:colId xmlns:a16="http://schemas.microsoft.com/office/drawing/2014/main" val="1382627474"/>
                    </a:ext>
                  </a:extLst>
                </a:gridCol>
                <a:gridCol w="1834602">
                  <a:extLst>
                    <a:ext uri="{9D8B030D-6E8A-4147-A177-3AD203B41FA5}">
                      <a16:colId xmlns:a16="http://schemas.microsoft.com/office/drawing/2014/main" val="2312284562"/>
                    </a:ext>
                  </a:extLst>
                </a:gridCol>
                <a:gridCol w="1834602">
                  <a:extLst>
                    <a:ext uri="{9D8B030D-6E8A-4147-A177-3AD203B41FA5}">
                      <a16:colId xmlns:a16="http://schemas.microsoft.com/office/drawing/2014/main" val="380964293"/>
                    </a:ext>
                  </a:extLst>
                </a:gridCol>
                <a:gridCol w="1834602">
                  <a:extLst>
                    <a:ext uri="{9D8B030D-6E8A-4147-A177-3AD203B41FA5}">
                      <a16:colId xmlns:a16="http://schemas.microsoft.com/office/drawing/2014/main" val="2456329606"/>
                    </a:ext>
                  </a:extLst>
                </a:gridCol>
                <a:gridCol w="1834602">
                  <a:extLst>
                    <a:ext uri="{9D8B030D-6E8A-4147-A177-3AD203B41FA5}">
                      <a16:colId xmlns:a16="http://schemas.microsoft.com/office/drawing/2014/main" val="2168740535"/>
                    </a:ext>
                  </a:extLst>
                </a:gridCol>
              </a:tblGrid>
              <a:tr h="3618719">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extLst>
                  <a:ext uri="{0D108BD9-81ED-4DB2-BD59-A6C34878D82A}">
                    <a16:rowId xmlns:a16="http://schemas.microsoft.com/office/drawing/2014/main" val="3469904028"/>
                  </a:ext>
                </a:extLst>
              </a:tr>
            </a:tbl>
          </a:graphicData>
        </a:graphic>
      </p:graphicFrame>
      <p:sp>
        <p:nvSpPr>
          <p:cNvPr id="49" name="object 14">
            <a:extLst>
              <a:ext uri="{FF2B5EF4-FFF2-40B4-BE49-F238E27FC236}">
                <a16:creationId xmlns:a16="http://schemas.microsoft.com/office/drawing/2014/main" id="{A52E1F34-96C7-3C86-48A7-FAB9C405C20B}"/>
              </a:ext>
            </a:extLst>
          </p:cNvPr>
          <p:cNvSpPr/>
          <p:nvPr userDrawn="1"/>
        </p:nvSpPr>
        <p:spPr>
          <a:xfrm>
            <a:off x="577805" y="2265315"/>
            <a:ext cx="11006985" cy="45719"/>
          </a:xfrm>
          <a:custGeom>
            <a:avLst/>
            <a:gdLst/>
            <a:ahLst/>
            <a:cxnLst/>
            <a:rect l="l" t="t" r="r" b="b"/>
            <a:pathLst>
              <a:path w="18209260">
                <a:moveTo>
                  <a:pt x="0" y="0"/>
                </a:moveTo>
                <a:lnTo>
                  <a:pt x="18208869" y="0"/>
                </a:lnTo>
              </a:path>
            </a:pathLst>
          </a:custGeom>
          <a:ln w="9525">
            <a:solidFill>
              <a:schemeClr val="bg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7"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7"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8" name="Text Placeholder 4">
            <a:extLst>
              <a:ext uri="{FF2B5EF4-FFF2-40B4-BE49-F238E27FC236}">
                <a16:creationId xmlns:a16="http://schemas.microsoft.com/office/drawing/2014/main" id="{0FE60C61-D20F-0DE2-38DC-62D2FAD38472}"/>
              </a:ext>
            </a:extLst>
          </p:cNvPr>
          <p:cNvSpPr>
            <a:spLocks noGrp="1"/>
          </p:cNvSpPr>
          <p:nvPr>
            <p:ph type="body" sz="quarter" idx="29"/>
          </p:nvPr>
        </p:nvSpPr>
        <p:spPr>
          <a:xfrm>
            <a:off x="577178"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2" name="Oval 61">
            <a:extLst>
              <a:ext uri="{FF2B5EF4-FFF2-40B4-BE49-F238E27FC236}">
                <a16:creationId xmlns:a16="http://schemas.microsoft.com/office/drawing/2014/main" id="{178D6D93-FD32-F6AE-2A57-61C348C02B3E}"/>
              </a:ext>
            </a:extLst>
          </p:cNvPr>
          <p:cNvSpPr>
            <a:spLocks noChangeAspect="1"/>
          </p:cNvSpPr>
          <p:nvPr userDrawn="1"/>
        </p:nvSpPr>
        <p:spPr>
          <a:xfrm>
            <a:off x="2515019"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63" name="Text Placeholder 71">
            <a:extLst>
              <a:ext uri="{FF2B5EF4-FFF2-40B4-BE49-F238E27FC236}">
                <a16:creationId xmlns:a16="http://schemas.microsoft.com/office/drawing/2014/main" id="{21AE5853-8A99-8A93-1D01-2F7FCE23E3DD}"/>
              </a:ext>
            </a:extLst>
          </p:cNvPr>
          <p:cNvSpPr>
            <a:spLocks noGrp="1"/>
          </p:cNvSpPr>
          <p:nvPr>
            <p:ph type="body" sz="quarter" idx="30" hasCustomPrompt="1"/>
          </p:nvPr>
        </p:nvSpPr>
        <p:spPr>
          <a:xfrm>
            <a:off x="2411179"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64" name="Text Placeholder 4">
            <a:extLst>
              <a:ext uri="{FF2B5EF4-FFF2-40B4-BE49-F238E27FC236}">
                <a16:creationId xmlns:a16="http://schemas.microsoft.com/office/drawing/2014/main" id="{1AA430BA-739B-1F40-97FF-53B14467EF88}"/>
              </a:ext>
            </a:extLst>
          </p:cNvPr>
          <p:cNvSpPr>
            <a:spLocks noGrp="1"/>
          </p:cNvSpPr>
          <p:nvPr>
            <p:ph type="body" sz="quarter" idx="31"/>
          </p:nvPr>
        </p:nvSpPr>
        <p:spPr>
          <a:xfrm>
            <a:off x="2411180"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5" name="Oval 64">
            <a:extLst>
              <a:ext uri="{FF2B5EF4-FFF2-40B4-BE49-F238E27FC236}">
                <a16:creationId xmlns:a16="http://schemas.microsoft.com/office/drawing/2014/main" id="{DC0E5BE5-8378-48E2-C8D1-F22E49536780}"/>
              </a:ext>
            </a:extLst>
          </p:cNvPr>
          <p:cNvSpPr>
            <a:spLocks noChangeAspect="1"/>
          </p:cNvSpPr>
          <p:nvPr userDrawn="1"/>
        </p:nvSpPr>
        <p:spPr>
          <a:xfrm>
            <a:off x="4364033"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66" name="Text Placeholder 71">
            <a:extLst>
              <a:ext uri="{FF2B5EF4-FFF2-40B4-BE49-F238E27FC236}">
                <a16:creationId xmlns:a16="http://schemas.microsoft.com/office/drawing/2014/main" id="{DDCEF4C9-0B45-4A5E-2D03-31D3672575C4}"/>
              </a:ext>
            </a:extLst>
          </p:cNvPr>
          <p:cNvSpPr>
            <a:spLocks noGrp="1"/>
          </p:cNvSpPr>
          <p:nvPr>
            <p:ph type="body" sz="quarter" idx="32" hasCustomPrompt="1"/>
          </p:nvPr>
        </p:nvSpPr>
        <p:spPr>
          <a:xfrm>
            <a:off x="4260193"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67" name="Text Placeholder 4">
            <a:extLst>
              <a:ext uri="{FF2B5EF4-FFF2-40B4-BE49-F238E27FC236}">
                <a16:creationId xmlns:a16="http://schemas.microsoft.com/office/drawing/2014/main" id="{B994265A-DDDF-4B03-8D82-FB42EFBCBCE6}"/>
              </a:ext>
            </a:extLst>
          </p:cNvPr>
          <p:cNvSpPr>
            <a:spLocks noGrp="1"/>
          </p:cNvSpPr>
          <p:nvPr>
            <p:ph type="body" sz="quarter" idx="33"/>
          </p:nvPr>
        </p:nvSpPr>
        <p:spPr>
          <a:xfrm>
            <a:off x="4260194"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8" name="Oval 67">
            <a:extLst>
              <a:ext uri="{FF2B5EF4-FFF2-40B4-BE49-F238E27FC236}">
                <a16:creationId xmlns:a16="http://schemas.microsoft.com/office/drawing/2014/main" id="{0F31CF81-312F-837D-5714-92C7014354C5}"/>
              </a:ext>
            </a:extLst>
          </p:cNvPr>
          <p:cNvSpPr>
            <a:spLocks noChangeAspect="1"/>
          </p:cNvSpPr>
          <p:nvPr userDrawn="1"/>
        </p:nvSpPr>
        <p:spPr>
          <a:xfrm>
            <a:off x="6199839"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69" name="Text Placeholder 71">
            <a:extLst>
              <a:ext uri="{FF2B5EF4-FFF2-40B4-BE49-F238E27FC236}">
                <a16:creationId xmlns:a16="http://schemas.microsoft.com/office/drawing/2014/main" id="{62AEAA69-3020-A0FF-5608-7AFD7A5D2986}"/>
              </a:ext>
            </a:extLst>
          </p:cNvPr>
          <p:cNvSpPr>
            <a:spLocks noGrp="1"/>
          </p:cNvSpPr>
          <p:nvPr>
            <p:ph type="body" sz="quarter" idx="34" hasCustomPrompt="1"/>
          </p:nvPr>
        </p:nvSpPr>
        <p:spPr>
          <a:xfrm>
            <a:off x="6095999"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70" name="Text Placeholder 4">
            <a:extLst>
              <a:ext uri="{FF2B5EF4-FFF2-40B4-BE49-F238E27FC236}">
                <a16:creationId xmlns:a16="http://schemas.microsoft.com/office/drawing/2014/main" id="{79626162-0EE9-3BA8-0CDF-67028FE32F18}"/>
              </a:ext>
            </a:extLst>
          </p:cNvPr>
          <p:cNvSpPr>
            <a:spLocks noGrp="1"/>
          </p:cNvSpPr>
          <p:nvPr>
            <p:ph type="body" sz="quarter" idx="35"/>
          </p:nvPr>
        </p:nvSpPr>
        <p:spPr>
          <a:xfrm>
            <a:off x="6096000"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71" name="Oval 70">
            <a:extLst>
              <a:ext uri="{FF2B5EF4-FFF2-40B4-BE49-F238E27FC236}">
                <a16:creationId xmlns:a16="http://schemas.microsoft.com/office/drawing/2014/main" id="{D4AB8F32-B492-2CD9-826C-E5C5378592C9}"/>
              </a:ext>
            </a:extLst>
          </p:cNvPr>
          <p:cNvSpPr>
            <a:spLocks noChangeAspect="1"/>
          </p:cNvSpPr>
          <p:nvPr userDrawn="1"/>
        </p:nvSpPr>
        <p:spPr>
          <a:xfrm>
            <a:off x="8035644"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72" name="Text Placeholder 71">
            <a:extLst>
              <a:ext uri="{FF2B5EF4-FFF2-40B4-BE49-F238E27FC236}">
                <a16:creationId xmlns:a16="http://schemas.microsoft.com/office/drawing/2014/main" id="{3F1D7A91-7111-6E5C-279C-1B1D96950821}"/>
              </a:ext>
            </a:extLst>
          </p:cNvPr>
          <p:cNvSpPr>
            <a:spLocks noGrp="1"/>
          </p:cNvSpPr>
          <p:nvPr>
            <p:ph type="body" sz="quarter" idx="36" hasCustomPrompt="1"/>
          </p:nvPr>
        </p:nvSpPr>
        <p:spPr>
          <a:xfrm>
            <a:off x="7931804"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73" name="Text Placeholder 4">
            <a:extLst>
              <a:ext uri="{FF2B5EF4-FFF2-40B4-BE49-F238E27FC236}">
                <a16:creationId xmlns:a16="http://schemas.microsoft.com/office/drawing/2014/main" id="{0E2562B9-545B-AF00-D9F9-44E167A11B93}"/>
              </a:ext>
            </a:extLst>
          </p:cNvPr>
          <p:cNvSpPr>
            <a:spLocks noGrp="1"/>
          </p:cNvSpPr>
          <p:nvPr>
            <p:ph type="body" sz="quarter" idx="37"/>
          </p:nvPr>
        </p:nvSpPr>
        <p:spPr>
          <a:xfrm>
            <a:off x="7931805"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74" name="Oval 73">
            <a:extLst>
              <a:ext uri="{FF2B5EF4-FFF2-40B4-BE49-F238E27FC236}">
                <a16:creationId xmlns:a16="http://schemas.microsoft.com/office/drawing/2014/main" id="{A45C6367-A74F-1C2C-672E-F2E6078D3C68}"/>
              </a:ext>
            </a:extLst>
          </p:cNvPr>
          <p:cNvSpPr>
            <a:spLocks noChangeAspect="1"/>
          </p:cNvSpPr>
          <p:nvPr userDrawn="1"/>
        </p:nvSpPr>
        <p:spPr>
          <a:xfrm>
            <a:off x="9847196"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75" name="Text Placeholder 71">
            <a:extLst>
              <a:ext uri="{FF2B5EF4-FFF2-40B4-BE49-F238E27FC236}">
                <a16:creationId xmlns:a16="http://schemas.microsoft.com/office/drawing/2014/main" id="{5865903F-F98B-94C0-7563-3A297E41DA2E}"/>
              </a:ext>
            </a:extLst>
          </p:cNvPr>
          <p:cNvSpPr>
            <a:spLocks noGrp="1"/>
          </p:cNvSpPr>
          <p:nvPr>
            <p:ph type="body" sz="quarter" idx="38" hasCustomPrompt="1"/>
          </p:nvPr>
        </p:nvSpPr>
        <p:spPr>
          <a:xfrm>
            <a:off x="9743356"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76" name="Text Placeholder 4">
            <a:extLst>
              <a:ext uri="{FF2B5EF4-FFF2-40B4-BE49-F238E27FC236}">
                <a16:creationId xmlns:a16="http://schemas.microsoft.com/office/drawing/2014/main" id="{CAB912CE-814A-19EE-2402-D55C72FA588E}"/>
              </a:ext>
            </a:extLst>
          </p:cNvPr>
          <p:cNvSpPr>
            <a:spLocks noGrp="1"/>
          </p:cNvSpPr>
          <p:nvPr>
            <p:ph type="body" sz="quarter" idx="39"/>
          </p:nvPr>
        </p:nvSpPr>
        <p:spPr>
          <a:xfrm>
            <a:off x="9743357"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3552011224"/>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1_Annual Timeline">
    <p:spTree>
      <p:nvGrpSpPr>
        <p:cNvPr id="1" name=""/>
        <p:cNvGrpSpPr/>
        <p:nvPr/>
      </p:nvGrpSpPr>
      <p:grpSpPr>
        <a:xfrm>
          <a:off x="0" y="0"/>
          <a:ext cx="0" cy="0"/>
          <a:chOff x="0" y="0"/>
          <a:chExt cx="0" cy="0"/>
        </a:xfrm>
      </p:grpSpPr>
      <p:graphicFrame>
        <p:nvGraphicFramePr>
          <p:cNvPr id="30" name="Table 29">
            <a:extLst>
              <a:ext uri="{FF2B5EF4-FFF2-40B4-BE49-F238E27FC236}">
                <a16:creationId xmlns:a16="http://schemas.microsoft.com/office/drawing/2014/main" id="{803BAA2C-9254-B18D-A058-251E52C66E89}"/>
              </a:ext>
            </a:extLst>
          </p:cNvPr>
          <p:cNvGraphicFramePr>
            <a:graphicFrameLocks noGrp="1"/>
          </p:cNvGraphicFramePr>
          <p:nvPr userDrawn="1">
            <p:extLst>
              <p:ext uri="{D42A27DB-BD31-4B8C-83A1-F6EECF244321}">
                <p14:modId xmlns:p14="http://schemas.microsoft.com/office/powerpoint/2010/main" val="4106880639"/>
              </p:ext>
            </p:extLst>
          </p:nvPr>
        </p:nvGraphicFramePr>
        <p:xfrm>
          <a:off x="606585" y="2278196"/>
          <a:ext cx="11007612" cy="3618726"/>
        </p:xfrm>
        <a:graphic>
          <a:graphicData uri="http://schemas.openxmlformats.org/drawingml/2006/table">
            <a:tbl>
              <a:tblPr bandCol="1">
                <a:tableStyleId>{2D5ABB26-0587-4C30-8999-92F81FD0307C}</a:tableStyleId>
              </a:tblPr>
              <a:tblGrid>
                <a:gridCol w="917301">
                  <a:extLst>
                    <a:ext uri="{9D8B030D-6E8A-4147-A177-3AD203B41FA5}">
                      <a16:colId xmlns:a16="http://schemas.microsoft.com/office/drawing/2014/main" val="4151945498"/>
                    </a:ext>
                  </a:extLst>
                </a:gridCol>
                <a:gridCol w="917301">
                  <a:extLst>
                    <a:ext uri="{9D8B030D-6E8A-4147-A177-3AD203B41FA5}">
                      <a16:colId xmlns:a16="http://schemas.microsoft.com/office/drawing/2014/main" val="1382627474"/>
                    </a:ext>
                  </a:extLst>
                </a:gridCol>
                <a:gridCol w="917301">
                  <a:extLst>
                    <a:ext uri="{9D8B030D-6E8A-4147-A177-3AD203B41FA5}">
                      <a16:colId xmlns:a16="http://schemas.microsoft.com/office/drawing/2014/main" val="2312284562"/>
                    </a:ext>
                  </a:extLst>
                </a:gridCol>
                <a:gridCol w="917301">
                  <a:extLst>
                    <a:ext uri="{9D8B030D-6E8A-4147-A177-3AD203B41FA5}">
                      <a16:colId xmlns:a16="http://schemas.microsoft.com/office/drawing/2014/main" val="380964293"/>
                    </a:ext>
                  </a:extLst>
                </a:gridCol>
                <a:gridCol w="917301">
                  <a:extLst>
                    <a:ext uri="{9D8B030D-6E8A-4147-A177-3AD203B41FA5}">
                      <a16:colId xmlns:a16="http://schemas.microsoft.com/office/drawing/2014/main" val="2227914870"/>
                    </a:ext>
                  </a:extLst>
                </a:gridCol>
                <a:gridCol w="917301">
                  <a:extLst>
                    <a:ext uri="{9D8B030D-6E8A-4147-A177-3AD203B41FA5}">
                      <a16:colId xmlns:a16="http://schemas.microsoft.com/office/drawing/2014/main" val="2386396939"/>
                    </a:ext>
                  </a:extLst>
                </a:gridCol>
                <a:gridCol w="917301">
                  <a:extLst>
                    <a:ext uri="{9D8B030D-6E8A-4147-A177-3AD203B41FA5}">
                      <a16:colId xmlns:a16="http://schemas.microsoft.com/office/drawing/2014/main" val="1442862435"/>
                    </a:ext>
                  </a:extLst>
                </a:gridCol>
                <a:gridCol w="917301">
                  <a:extLst>
                    <a:ext uri="{9D8B030D-6E8A-4147-A177-3AD203B41FA5}">
                      <a16:colId xmlns:a16="http://schemas.microsoft.com/office/drawing/2014/main" val="2496167856"/>
                    </a:ext>
                  </a:extLst>
                </a:gridCol>
                <a:gridCol w="917301">
                  <a:extLst>
                    <a:ext uri="{9D8B030D-6E8A-4147-A177-3AD203B41FA5}">
                      <a16:colId xmlns:a16="http://schemas.microsoft.com/office/drawing/2014/main" val="936398145"/>
                    </a:ext>
                  </a:extLst>
                </a:gridCol>
                <a:gridCol w="917301">
                  <a:extLst>
                    <a:ext uri="{9D8B030D-6E8A-4147-A177-3AD203B41FA5}">
                      <a16:colId xmlns:a16="http://schemas.microsoft.com/office/drawing/2014/main" val="3251811526"/>
                    </a:ext>
                  </a:extLst>
                </a:gridCol>
                <a:gridCol w="917301">
                  <a:extLst>
                    <a:ext uri="{9D8B030D-6E8A-4147-A177-3AD203B41FA5}">
                      <a16:colId xmlns:a16="http://schemas.microsoft.com/office/drawing/2014/main" val="2298212362"/>
                    </a:ext>
                  </a:extLst>
                </a:gridCol>
                <a:gridCol w="917301">
                  <a:extLst>
                    <a:ext uri="{9D8B030D-6E8A-4147-A177-3AD203B41FA5}">
                      <a16:colId xmlns:a16="http://schemas.microsoft.com/office/drawing/2014/main" val="1474312375"/>
                    </a:ext>
                  </a:extLst>
                </a:gridCol>
              </a:tblGrid>
              <a:tr h="3618726">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noFill/>
                  </a:tcPr>
                </a:tc>
                <a:extLst>
                  <a:ext uri="{0D108BD9-81ED-4DB2-BD59-A6C34878D82A}">
                    <a16:rowId xmlns:a16="http://schemas.microsoft.com/office/drawing/2014/main" val="3469904028"/>
                  </a:ext>
                </a:extLst>
              </a:tr>
            </a:tbl>
          </a:graphicData>
        </a:graphic>
      </p:graphicFrame>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United Against Rabies Forum Meeting - 6-8 November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49" name="object 14">
            <a:extLst>
              <a:ext uri="{FF2B5EF4-FFF2-40B4-BE49-F238E27FC236}">
                <a16:creationId xmlns:a16="http://schemas.microsoft.com/office/drawing/2014/main" id="{A52E1F34-96C7-3C86-48A7-FAB9C405C20B}"/>
              </a:ext>
            </a:extLst>
          </p:cNvPr>
          <p:cNvSpPr/>
          <p:nvPr userDrawn="1"/>
        </p:nvSpPr>
        <p:spPr>
          <a:xfrm>
            <a:off x="577805" y="2278195"/>
            <a:ext cx="11036388" cy="45719"/>
          </a:xfrm>
          <a:custGeom>
            <a:avLst/>
            <a:gdLst/>
            <a:ahLst/>
            <a:cxnLst/>
            <a:rect l="l" t="t" r="r" b="b"/>
            <a:pathLst>
              <a:path w="18209260">
                <a:moveTo>
                  <a:pt x="0" y="0"/>
                </a:moveTo>
                <a:lnTo>
                  <a:pt x="18208869" y="0"/>
                </a:lnTo>
              </a:path>
            </a:pathLst>
          </a:custGeom>
          <a:ln w="9525">
            <a:solidFill>
              <a:schemeClr val="tx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7"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1" name="Oval 50">
            <a:extLst>
              <a:ext uri="{FF2B5EF4-FFF2-40B4-BE49-F238E27FC236}">
                <a16:creationId xmlns:a16="http://schemas.microsoft.com/office/drawing/2014/main" id="{47D58FC1-83B9-3BAD-C3EF-06E8D5DE120F}"/>
              </a:ext>
            </a:extLst>
          </p:cNvPr>
          <p:cNvSpPr>
            <a:spLocks noChangeAspect="1"/>
          </p:cNvSpPr>
          <p:nvPr userDrawn="1"/>
        </p:nvSpPr>
        <p:spPr>
          <a:xfrm>
            <a:off x="3460438"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2" name="Oval 51">
            <a:extLst>
              <a:ext uri="{FF2B5EF4-FFF2-40B4-BE49-F238E27FC236}">
                <a16:creationId xmlns:a16="http://schemas.microsoft.com/office/drawing/2014/main" id="{9D582DFC-3D0D-D5F8-AA6B-5676C8C4B3BF}"/>
              </a:ext>
            </a:extLst>
          </p:cNvPr>
          <p:cNvSpPr>
            <a:spLocks noChangeAspect="1"/>
          </p:cNvSpPr>
          <p:nvPr userDrawn="1"/>
        </p:nvSpPr>
        <p:spPr>
          <a:xfrm>
            <a:off x="6227970"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3" name="Oval 52">
            <a:extLst>
              <a:ext uri="{FF2B5EF4-FFF2-40B4-BE49-F238E27FC236}">
                <a16:creationId xmlns:a16="http://schemas.microsoft.com/office/drawing/2014/main" id="{DF486150-9219-560A-8B4F-FB551F786E68}"/>
              </a:ext>
            </a:extLst>
          </p:cNvPr>
          <p:cNvSpPr>
            <a:spLocks noChangeAspect="1"/>
          </p:cNvSpPr>
          <p:nvPr userDrawn="1"/>
        </p:nvSpPr>
        <p:spPr>
          <a:xfrm>
            <a:off x="8985924"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7" y="1818875"/>
            <a:ext cx="2767426" cy="300442"/>
          </a:xfrm>
        </p:spPr>
        <p:txBody>
          <a:bodyPr lIns="108000" rIns="288000" anchor="b" anchorCtr="0">
            <a:noAutofit/>
          </a:bodyPr>
          <a:lstStyle>
            <a:lvl1pPr>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55" name="Text Placeholder 71">
            <a:extLst>
              <a:ext uri="{FF2B5EF4-FFF2-40B4-BE49-F238E27FC236}">
                <a16:creationId xmlns:a16="http://schemas.microsoft.com/office/drawing/2014/main" id="{799F0539-8B24-4E4B-EF4C-121B551D8BA3}"/>
              </a:ext>
            </a:extLst>
          </p:cNvPr>
          <p:cNvSpPr>
            <a:spLocks noGrp="1"/>
          </p:cNvSpPr>
          <p:nvPr>
            <p:ph type="body" sz="quarter" idx="16" hasCustomPrompt="1"/>
          </p:nvPr>
        </p:nvSpPr>
        <p:spPr>
          <a:xfrm>
            <a:off x="3344603" y="1818875"/>
            <a:ext cx="2746295" cy="300442"/>
          </a:xfrm>
        </p:spPr>
        <p:txBody>
          <a:bodyPr lIns="108000" rIns="288000" anchor="b" anchorCtr="0">
            <a:noAutofit/>
          </a:bodyPr>
          <a:lstStyle>
            <a:lvl1pPr marL="0" marR="0" indent="0" algn="l" defTabSz="914400" rtl="0" eaLnBrk="1" fontAlgn="auto" latinLnBrk="0" hangingPunct="1">
              <a:lnSpc>
                <a:spcPct val="110000"/>
              </a:lnSpc>
              <a:spcBef>
                <a:spcPts val="0"/>
              </a:spcBef>
              <a:spcAft>
                <a:spcPts val="1200"/>
              </a:spcAft>
              <a:buClrTx/>
              <a:buSzTx/>
              <a:buFont typeface="Arial" panose="020B0604020202020204" pitchFamily="34" charset="0"/>
              <a:buNone/>
              <a:tabLst/>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56" name="Text Placeholder 71">
            <a:extLst>
              <a:ext uri="{FF2B5EF4-FFF2-40B4-BE49-F238E27FC236}">
                <a16:creationId xmlns:a16="http://schemas.microsoft.com/office/drawing/2014/main" id="{9DFB2CE5-A177-E72D-3CD4-2646E4DCE502}"/>
              </a:ext>
            </a:extLst>
          </p:cNvPr>
          <p:cNvSpPr>
            <a:spLocks noGrp="1"/>
          </p:cNvSpPr>
          <p:nvPr>
            <p:ph type="body" sz="quarter" idx="18" hasCustomPrompt="1"/>
          </p:nvPr>
        </p:nvSpPr>
        <p:spPr>
          <a:xfrm>
            <a:off x="6100141" y="1818875"/>
            <a:ext cx="2745959" cy="300442"/>
          </a:xfrm>
        </p:spPr>
        <p:txBody>
          <a:bodyPr lIns="108000" rIns="288000" anchor="b" anchorCtr="0">
            <a:noAutofit/>
          </a:bodyPr>
          <a:lstStyle>
            <a:lvl1pPr>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57" name="Text Placeholder 71">
            <a:extLst>
              <a:ext uri="{FF2B5EF4-FFF2-40B4-BE49-F238E27FC236}">
                <a16:creationId xmlns:a16="http://schemas.microsoft.com/office/drawing/2014/main" id="{7A262EC1-F639-E81C-3343-3DA348DA9266}"/>
              </a:ext>
            </a:extLst>
          </p:cNvPr>
          <p:cNvSpPr>
            <a:spLocks noGrp="1"/>
          </p:cNvSpPr>
          <p:nvPr>
            <p:ph type="body" sz="quarter" idx="20" hasCustomPrompt="1"/>
          </p:nvPr>
        </p:nvSpPr>
        <p:spPr>
          <a:xfrm>
            <a:off x="8846100" y="1818875"/>
            <a:ext cx="2773719" cy="300442"/>
          </a:xfrm>
        </p:spPr>
        <p:txBody>
          <a:bodyPr lIns="108000" rIns="288000" anchor="b" anchorCtr="0">
            <a:noAutofit/>
          </a:bodyPr>
          <a:lstStyle>
            <a:lvl1pPr>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23" name="Text Placeholder 2">
            <a:extLst>
              <a:ext uri="{FF2B5EF4-FFF2-40B4-BE49-F238E27FC236}">
                <a16:creationId xmlns:a16="http://schemas.microsoft.com/office/drawing/2014/main" id="{3031F97C-D610-4D45-F78B-D175D9A0E755}"/>
              </a:ext>
            </a:extLst>
          </p:cNvPr>
          <p:cNvSpPr>
            <a:spLocks noGrp="1"/>
          </p:cNvSpPr>
          <p:nvPr>
            <p:ph type="body" sz="quarter" idx="47"/>
          </p:nvPr>
        </p:nvSpPr>
        <p:spPr>
          <a:xfrm>
            <a:off x="3485839" y="2583275"/>
            <a:ext cx="8012329" cy="380567"/>
          </a:xfrm>
          <a:prstGeom prst="roundRect">
            <a:avLst>
              <a:gd name="adj" fmla="val 50000"/>
            </a:avLst>
          </a:prstGeom>
          <a:solidFill>
            <a:srgbClr val="E6E6E6"/>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tx2">
                    <a:lumMod val="50000"/>
                  </a:schemeClr>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4" name="Text Placeholder 2">
            <a:extLst>
              <a:ext uri="{FF2B5EF4-FFF2-40B4-BE49-F238E27FC236}">
                <a16:creationId xmlns:a16="http://schemas.microsoft.com/office/drawing/2014/main" id="{1FF72A2C-EC93-1960-E000-9D1BE3C473D1}"/>
              </a:ext>
            </a:extLst>
          </p:cNvPr>
          <p:cNvSpPr>
            <a:spLocks noGrp="1"/>
          </p:cNvSpPr>
          <p:nvPr>
            <p:ph type="body" sz="quarter" idx="48"/>
          </p:nvPr>
        </p:nvSpPr>
        <p:spPr>
          <a:xfrm>
            <a:off x="718374" y="2588233"/>
            <a:ext cx="2451893" cy="380567"/>
          </a:xfrm>
          <a:prstGeom prst="roundRect">
            <a:avLst>
              <a:gd name="adj" fmla="val 50000"/>
            </a:avLst>
          </a:prstGeom>
          <a:solidFill>
            <a:schemeClr val="bg2"/>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5" name="Text Placeholder 2">
            <a:extLst>
              <a:ext uri="{FF2B5EF4-FFF2-40B4-BE49-F238E27FC236}">
                <a16:creationId xmlns:a16="http://schemas.microsoft.com/office/drawing/2014/main" id="{7B3311CB-DC37-BF2B-8E33-872990686A6F}"/>
              </a:ext>
            </a:extLst>
          </p:cNvPr>
          <p:cNvSpPr>
            <a:spLocks noGrp="1"/>
          </p:cNvSpPr>
          <p:nvPr>
            <p:ph type="body" sz="quarter" idx="49"/>
          </p:nvPr>
        </p:nvSpPr>
        <p:spPr>
          <a:xfrm>
            <a:off x="9020770" y="3112528"/>
            <a:ext cx="2477398" cy="380567"/>
          </a:xfrm>
          <a:prstGeom prst="roundRect">
            <a:avLst>
              <a:gd name="adj" fmla="val 50000"/>
            </a:avLst>
          </a:prstGeom>
          <a:solidFill>
            <a:schemeClr val="bg2"/>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6" name="Text Placeholder 2">
            <a:extLst>
              <a:ext uri="{FF2B5EF4-FFF2-40B4-BE49-F238E27FC236}">
                <a16:creationId xmlns:a16="http://schemas.microsoft.com/office/drawing/2014/main" id="{4C6A5BFA-3D10-182C-1A20-2F9F25DA5EC7}"/>
              </a:ext>
            </a:extLst>
          </p:cNvPr>
          <p:cNvSpPr>
            <a:spLocks noGrp="1"/>
          </p:cNvSpPr>
          <p:nvPr>
            <p:ph type="body" sz="quarter" idx="50"/>
          </p:nvPr>
        </p:nvSpPr>
        <p:spPr>
          <a:xfrm>
            <a:off x="718374" y="3112528"/>
            <a:ext cx="8012329" cy="380567"/>
          </a:xfrm>
          <a:prstGeom prst="roundRect">
            <a:avLst>
              <a:gd name="adj" fmla="val 50000"/>
            </a:avLst>
          </a:prstGeom>
          <a:solidFill>
            <a:srgbClr val="E6E6E6"/>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tx2">
                    <a:lumMod val="50000"/>
                  </a:schemeClr>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7" name="Text Placeholder 2">
            <a:extLst>
              <a:ext uri="{FF2B5EF4-FFF2-40B4-BE49-F238E27FC236}">
                <a16:creationId xmlns:a16="http://schemas.microsoft.com/office/drawing/2014/main" id="{63D306BC-6AA0-5B15-EAD0-1C4B6C007AE2}"/>
              </a:ext>
            </a:extLst>
          </p:cNvPr>
          <p:cNvSpPr>
            <a:spLocks noGrp="1"/>
          </p:cNvSpPr>
          <p:nvPr>
            <p:ph type="body" sz="quarter" idx="52"/>
          </p:nvPr>
        </p:nvSpPr>
        <p:spPr>
          <a:xfrm>
            <a:off x="718374" y="3636823"/>
            <a:ext cx="10779794" cy="380567"/>
          </a:xfrm>
          <a:prstGeom prst="roundRect">
            <a:avLst>
              <a:gd name="adj" fmla="val 50000"/>
            </a:avLst>
          </a:prstGeom>
          <a:solidFill>
            <a:schemeClr val="tx2"/>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8" name="Text Placeholder 2">
            <a:extLst>
              <a:ext uri="{FF2B5EF4-FFF2-40B4-BE49-F238E27FC236}">
                <a16:creationId xmlns:a16="http://schemas.microsoft.com/office/drawing/2014/main" id="{2F279148-11D1-D193-7504-E15A8DBBB7ED}"/>
              </a:ext>
            </a:extLst>
          </p:cNvPr>
          <p:cNvSpPr>
            <a:spLocks noGrp="1"/>
          </p:cNvSpPr>
          <p:nvPr>
            <p:ph type="body" sz="quarter" idx="54"/>
          </p:nvPr>
        </p:nvSpPr>
        <p:spPr>
          <a:xfrm>
            <a:off x="1947773" y="4161117"/>
            <a:ext cx="9537643" cy="380567"/>
          </a:xfrm>
          <a:prstGeom prst="roundRect">
            <a:avLst>
              <a:gd name="adj" fmla="val 50000"/>
            </a:avLst>
          </a:prstGeom>
          <a:solidFill>
            <a:srgbClr val="E6E6E6"/>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tx2">
                    <a:lumMod val="50000"/>
                  </a:schemeClr>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9" name="Text Placeholder 2">
            <a:extLst>
              <a:ext uri="{FF2B5EF4-FFF2-40B4-BE49-F238E27FC236}">
                <a16:creationId xmlns:a16="http://schemas.microsoft.com/office/drawing/2014/main" id="{B7F7FC01-6091-5D90-D333-FA5671F43B8E}"/>
              </a:ext>
            </a:extLst>
          </p:cNvPr>
          <p:cNvSpPr>
            <a:spLocks noGrp="1"/>
          </p:cNvSpPr>
          <p:nvPr>
            <p:ph type="body" sz="quarter" idx="56"/>
          </p:nvPr>
        </p:nvSpPr>
        <p:spPr>
          <a:xfrm>
            <a:off x="7492654" y="4685411"/>
            <a:ext cx="3986410" cy="380567"/>
          </a:xfrm>
          <a:prstGeom prst="roundRect">
            <a:avLst>
              <a:gd name="adj" fmla="val 50000"/>
            </a:avLst>
          </a:prstGeom>
          <a:solidFill>
            <a:schemeClr val="accent5"/>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Tree>
    <p:extLst>
      <p:ext uri="{BB962C8B-B14F-4D97-AF65-F5344CB8AC3E}">
        <p14:creationId xmlns:p14="http://schemas.microsoft.com/office/powerpoint/2010/main" val="4123147088"/>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_Tab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United Against Rabies Forum Meeting - 6-8 November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5" name="Text Placeholder 8">
            <a:extLst>
              <a:ext uri="{FF2B5EF4-FFF2-40B4-BE49-F238E27FC236}">
                <a16:creationId xmlns:a16="http://schemas.microsoft.com/office/drawing/2014/main" id="{645879FE-583A-DE44-88BA-EB276A69E0F6}"/>
              </a:ext>
            </a:extLst>
          </p:cNvPr>
          <p:cNvSpPr>
            <a:spLocks noGrp="1"/>
          </p:cNvSpPr>
          <p:nvPr>
            <p:ph type="body" idx="13"/>
          </p:nvPr>
        </p:nvSpPr>
        <p:spPr>
          <a:xfrm>
            <a:off x="531133" y="1304925"/>
            <a:ext cx="11144930" cy="592778"/>
          </a:xfrm>
        </p:spPr>
        <p:txBody>
          <a:bodyPr numCol="1" spcCol="180000">
            <a:normAutofit/>
          </a:bodyPr>
          <a:lstStyle>
            <a:lvl1pPr marL="0" indent="0">
              <a:buClr>
                <a:schemeClr val="bg2"/>
              </a:buClr>
              <a:buFont typeface="Arial" panose="020B0604020202020204" pitchFamily="34" charset="0"/>
              <a:buNone/>
              <a:defRPr sz="1600">
                <a:solidFill>
                  <a:schemeClr val="tx2">
                    <a:lumMod val="50000"/>
                  </a:schemeClr>
                </a:solidFill>
              </a:defRPr>
            </a:lvl1pPr>
          </a:lstStyle>
          <a:p>
            <a:pPr lvl="0"/>
            <a:r>
              <a:rPr lang="en-GB"/>
              <a:t>Click to edit Master text styles</a:t>
            </a:r>
          </a:p>
        </p:txBody>
      </p:sp>
      <p:sp>
        <p:nvSpPr>
          <p:cNvPr id="5" name="Table Placeholder 4">
            <a:extLst>
              <a:ext uri="{FF2B5EF4-FFF2-40B4-BE49-F238E27FC236}">
                <a16:creationId xmlns:a16="http://schemas.microsoft.com/office/drawing/2014/main" id="{229D7B8B-35CA-A145-A474-98CA941C8914}"/>
              </a:ext>
            </a:extLst>
          </p:cNvPr>
          <p:cNvSpPr>
            <a:spLocks noGrp="1"/>
          </p:cNvSpPr>
          <p:nvPr>
            <p:ph type="tbl" sz="quarter" idx="14"/>
          </p:nvPr>
        </p:nvSpPr>
        <p:spPr>
          <a:xfrm>
            <a:off x="515938" y="2081213"/>
            <a:ext cx="11153775" cy="3832225"/>
          </a:xfrm>
        </p:spPr>
        <p:txBody>
          <a:bodyPr anchor="ctr">
            <a:normAutofit/>
          </a:bodyPr>
          <a:lstStyle>
            <a:lvl1pPr algn="ctr">
              <a:defRPr sz="1600">
                <a:solidFill>
                  <a:schemeClr val="bg1">
                    <a:lumMod val="50000"/>
                  </a:schemeClr>
                </a:solidFill>
              </a:defRPr>
            </a:lvl1pPr>
          </a:lstStyle>
          <a:p>
            <a:r>
              <a:rPr lang="en-GB"/>
              <a:t>Click icon to add table</a:t>
            </a:r>
          </a:p>
        </p:txBody>
      </p:sp>
    </p:spTree>
    <p:extLst>
      <p:ext uri="{BB962C8B-B14F-4D97-AF65-F5344CB8AC3E}">
        <p14:creationId xmlns:p14="http://schemas.microsoft.com/office/powerpoint/2010/main" val="4284086559"/>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_Graph + Intro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lvl1pPr>
              <a:defRPr>
                <a:solidFill>
                  <a:schemeClr val="tx2"/>
                </a:solidFill>
              </a:defRPr>
            </a:lvl1p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United Against Rabies Forum Meeting - 6-8 November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6" name="Chart Placeholder 5">
            <a:extLst>
              <a:ext uri="{FF2B5EF4-FFF2-40B4-BE49-F238E27FC236}">
                <a16:creationId xmlns:a16="http://schemas.microsoft.com/office/drawing/2014/main" id="{D54A1155-34EB-A04A-AA96-8DCEA2A0B8AF}"/>
              </a:ext>
            </a:extLst>
          </p:cNvPr>
          <p:cNvSpPr>
            <a:spLocks noGrp="1"/>
          </p:cNvSpPr>
          <p:nvPr>
            <p:ph type="chart" sz="quarter" idx="13" hasCustomPrompt="1"/>
          </p:nvPr>
        </p:nvSpPr>
        <p:spPr>
          <a:xfrm>
            <a:off x="515938" y="2186941"/>
            <a:ext cx="11160125" cy="3726497"/>
          </a:xfrm>
        </p:spPr>
        <p:txBody>
          <a:bodyPr anchor="ctr">
            <a:normAutofit/>
          </a:bodyPr>
          <a:lstStyle>
            <a:lvl1pPr algn="ctr">
              <a:defRPr sz="1600">
                <a:solidFill>
                  <a:schemeClr val="bg1">
                    <a:lumMod val="50000"/>
                  </a:schemeClr>
                </a:solidFill>
              </a:defRPr>
            </a:lvl1pPr>
          </a:lstStyle>
          <a:p>
            <a:r>
              <a:rPr lang="en-GB"/>
              <a:t>Click icon to add graph</a:t>
            </a:r>
          </a:p>
        </p:txBody>
      </p:sp>
      <p:sp>
        <p:nvSpPr>
          <p:cNvPr id="9" name="Text Placeholder 8">
            <a:extLst>
              <a:ext uri="{FF2B5EF4-FFF2-40B4-BE49-F238E27FC236}">
                <a16:creationId xmlns:a16="http://schemas.microsoft.com/office/drawing/2014/main" id="{70B67ED7-707C-628A-DD8C-8D05275A882F}"/>
              </a:ext>
            </a:extLst>
          </p:cNvPr>
          <p:cNvSpPr>
            <a:spLocks noGrp="1"/>
          </p:cNvSpPr>
          <p:nvPr>
            <p:ph type="body" idx="14"/>
          </p:nvPr>
        </p:nvSpPr>
        <p:spPr>
          <a:xfrm>
            <a:off x="531133" y="1304924"/>
            <a:ext cx="11144930" cy="760095"/>
          </a:xfrm>
        </p:spPr>
        <p:txBody>
          <a:bodyPr numCol="1" spcCol="180000">
            <a:normAutofit/>
          </a:bodyPr>
          <a:lstStyle>
            <a:lvl1pPr marL="0" indent="0">
              <a:buClr>
                <a:schemeClr val="bg2"/>
              </a:buClr>
              <a:buFont typeface="Arial" panose="020B0604020202020204" pitchFamily="34" charset="0"/>
              <a:buNone/>
              <a:defRPr sz="1600">
                <a:solidFill>
                  <a:schemeClr val="tx2">
                    <a:lumMod val="50000"/>
                  </a:schemeClr>
                </a:solidFill>
              </a:defRPr>
            </a:lvl1pPr>
          </a:lstStyle>
          <a:p>
            <a:pPr lvl="0"/>
            <a:r>
              <a:rPr lang="en-GB"/>
              <a:t>Click to edit Master text styles</a:t>
            </a:r>
          </a:p>
        </p:txBody>
      </p:sp>
    </p:spTree>
    <p:extLst>
      <p:ext uri="{BB962C8B-B14F-4D97-AF65-F5344CB8AC3E}">
        <p14:creationId xmlns:p14="http://schemas.microsoft.com/office/powerpoint/2010/main" val="1293874605"/>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_Text + Graph">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lvl1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United Against Rabies Forum Meeting - 6-8 November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 name="Chart Placeholder 2">
            <a:extLst>
              <a:ext uri="{FF2B5EF4-FFF2-40B4-BE49-F238E27FC236}">
                <a16:creationId xmlns:a16="http://schemas.microsoft.com/office/drawing/2014/main" id="{5F41B758-C970-D84A-B3ED-8A3CB892A835}"/>
              </a:ext>
            </a:extLst>
          </p:cNvPr>
          <p:cNvSpPr>
            <a:spLocks noGrp="1"/>
          </p:cNvSpPr>
          <p:nvPr>
            <p:ph type="chart" sz="quarter" idx="14" hasCustomPrompt="1"/>
          </p:nvPr>
        </p:nvSpPr>
        <p:spPr>
          <a:xfrm>
            <a:off x="6762750" y="366371"/>
            <a:ext cx="4913313" cy="5547067"/>
          </a:xfrm>
        </p:spPr>
        <p:txBody>
          <a:bodyPr anchor="ctr">
            <a:normAutofit/>
          </a:bodyPr>
          <a:lstStyle>
            <a:lvl1pPr algn="ctr">
              <a:defRPr sz="1600">
                <a:solidFill>
                  <a:schemeClr val="bg1">
                    <a:lumMod val="50000"/>
                  </a:schemeClr>
                </a:solidFill>
              </a:defRPr>
            </a:lvl1pPr>
          </a:lstStyle>
          <a:p>
            <a:r>
              <a:rPr lang="en-GB"/>
              <a:t>Click icon to add graph</a:t>
            </a:r>
          </a:p>
        </p:txBody>
      </p:sp>
    </p:spTree>
    <p:extLst>
      <p:ext uri="{BB962C8B-B14F-4D97-AF65-F5344CB8AC3E}">
        <p14:creationId xmlns:p14="http://schemas.microsoft.com/office/powerpoint/2010/main" val="510765273"/>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_Text + Graph + Key Sta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2951067"/>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United Against Rabies Forum Meeting - 6-8 November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 name="Chart Placeholder 2">
            <a:extLst>
              <a:ext uri="{FF2B5EF4-FFF2-40B4-BE49-F238E27FC236}">
                <a16:creationId xmlns:a16="http://schemas.microsoft.com/office/drawing/2014/main" id="{5F41B758-C970-D84A-B3ED-8A3CB892A835}"/>
              </a:ext>
            </a:extLst>
          </p:cNvPr>
          <p:cNvSpPr>
            <a:spLocks noGrp="1"/>
          </p:cNvSpPr>
          <p:nvPr>
            <p:ph type="chart" sz="quarter" idx="14" hasCustomPrompt="1"/>
          </p:nvPr>
        </p:nvSpPr>
        <p:spPr>
          <a:xfrm>
            <a:off x="6762750" y="366371"/>
            <a:ext cx="4913313" cy="5547067"/>
          </a:xfrm>
        </p:spPr>
        <p:txBody>
          <a:bodyPr anchor="ctr">
            <a:normAutofit/>
          </a:bodyPr>
          <a:lstStyle>
            <a:lvl1pPr algn="ctr">
              <a:defRPr sz="1600">
                <a:solidFill>
                  <a:schemeClr val="bg1">
                    <a:lumMod val="50000"/>
                  </a:schemeClr>
                </a:solidFill>
              </a:defRPr>
            </a:lvl1pPr>
          </a:lstStyle>
          <a:p>
            <a:r>
              <a:rPr lang="en-GB"/>
              <a:t>Click icon to add graph</a:t>
            </a:r>
          </a:p>
        </p:txBody>
      </p:sp>
      <p:sp>
        <p:nvSpPr>
          <p:cNvPr id="12" name="Table Placeholder 13">
            <a:extLst>
              <a:ext uri="{FF2B5EF4-FFF2-40B4-BE49-F238E27FC236}">
                <a16:creationId xmlns:a16="http://schemas.microsoft.com/office/drawing/2014/main" id="{0471F0B8-12A0-7A45-8C7A-E02063FE5C87}"/>
              </a:ext>
            </a:extLst>
          </p:cNvPr>
          <p:cNvSpPr>
            <a:spLocks noGrp="1"/>
          </p:cNvSpPr>
          <p:nvPr>
            <p:ph type="tbl" sz="quarter" idx="16" hasCustomPrompt="1"/>
          </p:nvPr>
        </p:nvSpPr>
        <p:spPr>
          <a:xfrm>
            <a:off x="531813" y="4531663"/>
            <a:ext cx="5564187" cy="1381775"/>
          </a:xfrm>
        </p:spPr>
        <p:txBody>
          <a:bodyPr anchor="ctr">
            <a:normAutofit/>
          </a:bodyPr>
          <a:lstStyle>
            <a:lvl1pPr algn="ctr">
              <a:defRPr sz="1600">
                <a:solidFill>
                  <a:schemeClr val="bg1">
                    <a:lumMod val="50000"/>
                  </a:schemeClr>
                </a:solidFill>
              </a:defRPr>
            </a:lvl1pPr>
          </a:lstStyle>
          <a:p>
            <a:r>
              <a:rPr lang="en-GB"/>
              <a:t>Click here to insert table of key statistics</a:t>
            </a:r>
          </a:p>
        </p:txBody>
      </p:sp>
    </p:spTree>
    <p:extLst>
      <p:ext uri="{BB962C8B-B14F-4D97-AF65-F5344CB8AC3E}">
        <p14:creationId xmlns:p14="http://schemas.microsoft.com/office/powerpoint/2010/main" val="3082129213"/>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1_Headshots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United Against Rabies Forum Meeting - 6-8 November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9" name="Picture Placeholder 9">
            <a:extLst>
              <a:ext uri="{FF2B5EF4-FFF2-40B4-BE49-F238E27FC236}">
                <a16:creationId xmlns:a16="http://schemas.microsoft.com/office/drawing/2014/main" id="{F7144900-27CB-F8C8-8750-EBFD50556D3C}"/>
              </a:ext>
            </a:extLst>
          </p:cNvPr>
          <p:cNvSpPr>
            <a:spLocks noGrp="1"/>
          </p:cNvSpPr>
          <p:nvPr>
            <p:ph type="pic" sz="quarter" idx="20" hasCustomPrompt="1"/>
          </p:nvPr>
        </p:nvSpPr>
        <p:spPr>
          <a:xfrm>
            <a:off x="515937" y="1738603"/>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1" name="Picture Placeholder 9">
            <a:extLst>
              <a:ext uri="{FF2B5EF4-FFF2-40B4-BE49-F238E27FC236}">
                <a16:creationId xmlns:a16="http://schemas.microsoft.com/office/drawing/2014/main" id="{BA371966-686F-3873-1B61-8D4F2F1781AB}"/>
              </a:ext>
            </a:extLst>
          </p:cNvPr>
          <p:cNvSpPr>
            <a:spLocks noGrp="1"/>
          </p:cNvSpPr>
          <p:nvPr>
            <p:ph type="pic" sz="quarter" idx="21" hasCustomPrompt="1"/>
          </p:nvPr>
        </p:nvSpPr>
        <p:spPr>
          <a:xfrm>
            <a:off x="6409056" y="1738603"/>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2" name="Text Placeholder 15">
            <a:extLst>
              <a:ext uri="{FF2B5EF4-FFF2-40B4-BE49-F238E27FC236}">
                <a16:creationId xmlns:a16="http://schemas.microsoft.com/office/drawing/2014/main" id="{71BA048F-6972-4609-34F2-EF8FDBBDBB0C}"/>
              </a:ext>
            </a:extLst>
          </p:cNvPr>
          <p:cNvSpPr>
            <a:spLocks noGrp="1"/>
          </p:cNvSpPr>
          <p:nvPr>
            <p:ph type="body" sz="quarter" idx="22"/>
          </p:nvPr>
        </p:nvSpPr>
        <p:spPr>
          <a:xfrm>
            <a:off x="8234278" y="1915486"/>
            <a:ext cx="3355742" cy="1163606"/>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17" name="Picture Placeholder 9">
            <a:extLst>
              <a:ext uri="{FF2B5EF4-FFF2-40B4-BE49-F238E27FC236}">
                <a16:creationId xmlns:a16="http://schemas.microsoft.com/office/drawing/2014/main" id="{224FF60B-6BD0-9B1E-2959-11D6263640AF}"/>
              </a:ext>
            </a:extLst>
          </p:cNvPr>
          <p:cNvSpPr>
            <a:spLocks noGrp="1"/>
          </p:cNvSpPr>
          <p:nvPr>
            <p:ph type="pic" sz="quarter" idx="25" hasCustomPrompt="1"/>
          </p:nvPr>
        </p:nvSpPr>
        <p:spPr>
          <a:xfrm>
            <a:off x="515937" y="3998564"/>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8" name="Picture Placeholder 9">
            <a:extLst>
              <a:ext uri="{FF2B5EF4-FFF2-40B4-BE49-F238E27FC236}">
                <a16:creationId xmlns:a16="http://schemas.microsoft.com/office/drawing/2014/main" id="{2DB6CCCB-718D-70C8-7A09-2EE0D7144525}"/>
              </a:ext>
            </a:extLst>
          </p:cNvPr>
          <p:cNvSpPr>
            <a:spLocks noGrp="1"/>
          </p:cNvSpPr>
          <p:nvPr>
            <p:ph type="pic" sz="quarter" idx="27" hasCustomPrompt="1"/>
          </p:nvPr>
        </p:nvSpPr>
        <p:spPr>
          <a:xfrm>
            <a:off x="6409056" y="3998564"/>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9" name="Text Placeholder 15">
            <a:extLst>
              <a:ext uri="{FF2B5EF4-FFF2-40B4-BE49-F238E27FC236}">
                <a16:creationId xmlns:a16="http://schemas.microsoft.com/office/drawing/2014/main" id="{B6878B28-F503-455B-0FEA-80DE70905427}"/>
              </a:ext>
            </a:extLst>
          </p:cNvPr>
          <p:cNvSpPr>
            <a:spLocks noGrp="1"/>
          </p:cNvSpPr>
          <p:nvPr>
            <p:ph type="body" sz="quarter" idx="28"/>
          </p:nvPr>
        </p:nvSpPr>
        <p:spPr>
          <a:xfrm>
            <a:off x="8234278" y="4175447"/>
            <a:ext cx="3355742" cy="1163606"/>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20" name="Text Placeholder 15">
            <a:extLst>
              <a:ext uri="{FF2B5EF4-FFF2-40B4-BE49-F238E27FC236}">
                <a16:creationId xmlns:a16="http://schemas.microsoft.com/office/drawing/2014/main" id="{AAADD6C4-F1D9-F92B-C5FD-4B4DA8B17CF1}"/>
              </a:ext>
            </a:extLst>
          </p:cNvPr>
          <p:cNvSpPr>
            <a:spLocks noGrp="1"/>
          </p:cNvSpPr>
          <p:nvPr>
            <p:ph type="body" sz="quarter" idx="29"/>
          </p:nvPr>
        </p:nvSpPr>
        <p:spPr>
          <a:xfrm>
            <a:off x="2333196" y="1915486"/>
            <a:ext cx="3355742" cy="1163606"/>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21" name="Text Placeholder 15">
            <a:extLst>
              <a:ext uri="{FF2B5EF4-FFF2-40B4-BE49-F238E27FC236}">
                <a16:creationId xmlns:a16="http://schemas.microsoft.com/office/drawing/2014/main" id="{A5E09E69-6CAD-B355-9823-320AB8FAE66F}"/>
              </a:ext>
            </a:extLst>
          </p:cNvPr>
          <p:cNvSpPr>
            <a:spLocks noGrp="1"/>
          </p:cNvSpPr>
          <p:nvPr>
            <p:ph type="body" sz="quarter" idx="30"/>
          </p:nvPr>
        </p:nvSpPr>
        <p:spPr>
          <a:xfrm>
            <a:off x="2333196" y="4175447"/>
            <a:ext cx="3355742" cy="1163606"/>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Tree>
    <p:extLst>
      <p:ext uri="{BB962C8B-B14F-4D97-AF65-F5344CB8AC3E}">
        <p14:creationId xmlns:p14="http://schemas.microsoft.com/office/powerpoint/2010/main" val="3072112513"/>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1_Headshots x9">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United Against Rabies Forum Meeting - 6-8 November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22" name="Picture Placeholder 9">
            <a:extLst>
              <a:ext uri="{FF2B5EF4-FFF2-40B4-BE49-F238E27FC236}">
                <a16:creationId xmlns:a16="http://schemas.microsoft.com/office/drawing/2014/main" id="{9DD9632F-ADC6-0F07-8F3F-62F1AF846E10}"/>
              </a:ext>
            </a:extLst>
          </p:cNvPr>
          <p:cNvSpPr>
            <a:spLocks noGrp="1"/>
          </p:cNvSpPr>
          <p:nvPr>
            <p:ph type="pic" sz="quarter" idx="20" hasCustomPrompt="1"/>
          </p:nvPr>
        </p:nvSpPr>
        <p:spPr>
          <a:xfrm>
            <a:off x="515938" y="1711994"/>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23" name="Text Placeholder 15">
            <a:extLst>
              <a:ext uri="{FF2B5EF4-FFF2-40B4-BE49-F238E27FC236}">
                <a16:creationId xmlns:a16="http://schemas.microsoft.com/office/drawing/2014/main" id="{A6BDD17B-1F38-C02C-FBE9-A0D8E16AB19C}"/>
              </a:ext>
            </a:extLst>
          </p:cNvPr>
          <p:cNvSpPr>
            <a:spLocks noGrp="1"/>
          </p:cNvSpPr>
          <p:nvPr>
            <p:ph type="body" sz="quarter" idx="15"/>
          </p:nvPr>
        </p:nvSpPr>
        <p:spPr>
          <a:xfrm>
            <a:off x="1699411" y="1711994"/>
            <a:ext cx="2116757" cy="987159"/>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24" name="Picture Placeholder 9">
            <a:extLst>
              <a:ext uri="{FF2B5EF4-FFF2-40B4-BE49-F238E27FC236}">
                <a16:creationId xmlns:a16="http://schemas.microsoft.com/office/drawing/2014/main" id="{25EC710C-2932-CFFF-F55D-955597F0FB30}"/>
              </a:ext>
            </a:extLst>
          </p:cNvPr>
          <p:cNvSpPr>
            <a:spLocks noGrp="1"/>
          </p:cNvSpPr>
          <p:nvPr>
            <p:ph type="pic" sz="quarter" idx="21" hasCustomPrompt="1"/>
          </p:nvPr>
        </p:nvSpPr>
        <p:spPr>
          <a:xfrm>
            <a:off x="4335796" y="1711994"/>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25" name="Text Placeholder 15">
            <a:extLst>
              <a:ext uri="{FF2B5EF4-FFF2-40B4-BE49-F238E27FC236}">
                <a16:creationId xmlns:a16="http://schemas.microsoft.com/office/drawing/2014/main" id="{247CB122-DF3E-CDA7-027B-26E525434AE2}"/>
              </a:ext>
            </a:extLst>
          </p:cNvPr>
          <p:cNvSpPr>
            <a:spLocks noGrp="1"/>
          </p:cNvSpPr>
          <p:nvPr>
            <p:ph type="body" sz="quarter" idx="22"/>
          </p:nvPr>
        </p:nvSpPr>
        <p:spPr>
          <a:xfrm>
            <a:off x="5527232" y="1711994"/>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0" name="Picture Placeholder 9">
            <a:extLst>
              <a:ext uri="{FF2B5EF4-FFF2-40B4-BE49-F238E27FC236}">
                <a16:creationId xmlns:a16="http://schemas.microsoft.com/office/drawing/2014/main" id="{27971BF0-784D-F3CF-2C6F-CA5180542041}"/>
              </a:ext>
            </a:extLst>
          </p:cNvPr>
          <p:cNvSpPr>
            <a:spLocks noGrp="1"/>
          </p:cNvSpPr>
          <p:nvPr>
            <p:ph type="pic" sz="quarter" idx="23" hasCustomPrompt="1"/>
          </p:nvPr>
        </p:nvSpPr>
        <p:spPr>
          <a:xfrm>
            <a:off x="8220024" y="1711994"/>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1" name="Text Placeholder 15">
            <a:extLst>
              <a:ext uri="{FF2B5EF4-FFF2-40B4-BE49-F238E27FC236}">
                <a16:creationId xmlns:a16="http://schemas.microsoft.com/office/drawing/2014/main" id="{0B2CA69D-267F-C90D-4248-B4C35F26DF79}"/>
              </a:ext>
            </a:extLst>
          </p:cNvPr>
          <p:cNvSpPr>
            <a:spLocks noGrp="1"/>
          </p:cNvSpPr>
          <p:nvPr>
            <p:ph type="body" sz="quarter" idx="24"/>
          </p:nvPr>
        </p:nvSpPr>
        <p:spPr>
          <a:xfrm>
            <a:off x="9411460" y="1711994"/>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2" name="Picture Placeholder 9">
            <a:extLst>
              <a:ext uri="{FF2B5EF4-FFF2-40B4-BE49-F238E27FC236}">
                <a16:creationId xmlns:a16="http://schemas.microsoft.com/office/drawing/2014/main" id="{5897A2C1-9865-7BB8-2197-358370EFD4AC}"/>
              </a:ext>
            </a:extLst>
          </p:cNvPr>
          <p:cNvSpPr>
            <a:spLocks noGrp="1"/>
          </p:cNvSpPr>
          <p:nvPr>
            <p:ph type="pic" sz="quarter" idx="25" hasCustomPrompt="1"/>
          </p:nvPr>
        </p:nvSpPr>
        <p:spPr>
          <a:xfrm>
            <a:off x="515938" y="3155667"/>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3" name="Text Placeholder 15">
            <a:extLst>
              <a:ext uri="{FF2B5EF4-FFF2-40B4-BE49-F238E27FC236}">
                <a16:creationId xmlns:a16="http://schemas.microsoft.com/office/drawing/2014/main" id="{62920B1E-EBA9-626D-6305-A1ADAE904D1A}"/>
              </a:ext>
            </a:extLst>
          </p:cNvPr>
          <p:cNvSpPr>
            <a:spLocks noGrp="1"/>
          </p:cNvSpPr>
          <p:nvPr>
            <p:ph type="body" sz="quarter" idx="26"/>
          </p:nvPr>
        </p:nvSpPr>
        <p:spPr>
          <a:xfrm>
            <a:off x="1699411" y="3155667"/>
            <a:ext cx="2116757" cy="987159"/>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4" name="Picture Placeholder 9">
            <a:extLst>
              <a:ext uri="{FF2B5EF4-FFF2-40B4-BE49-F238E27FC236}">
                <a16:creationId xmlns:a16="http://schemas.microsoft.com/office/drawing/2014/main" id="{544F1E77-8814-8A3B-D86A-076D4023ACA7}"/>
              </a:ext>
            </a:extLst>
          </p:cNvPr>
          <p:cNvSpPr>
            <a:spLocks noGrp="1"/>
          </p:cNvSpPr>
          <p:nvPr>
            <p:ph type="pic" sz="quarter" idx="27" hasCustomPrompt="1"/>
          </p:nvPr>
        </p:nvSpPr>
        <p:spPr>
          <a:xfrm>
            <a:off x="4335796" y="3155667"/>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5" name="Text Placeholder 15">
            <a:extLst>
              <a:ext uri="{FF2B5EF4-FFF2-40B4-BE49-F238E27FC236}">
                <a16:creationId xmlns:a16="http://schemas.microsoft.com/office/drawing/2014/main" id="{C7619CC2-0DAA-26FC-AEAA-30394D48883A}"/>
              </a:ext>
            </a:extLst>
          </p:cNvPr>
          <p:cNvSpPr>
            <a:spLocks noGrp="1"/>
          </p:cNvSpPr>
          <p:nvPr>
            <p:ph type="body" sz="quarter" idx="28"/>
          </p:nvPr>
        </p:nvSpPr>
        <p:spPr>
          <a:xfrm>
            <a:off x="5527232" y="3155667"/>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6" name="Picture Placeholder 9">
            <a:extLst>
              <a:ext uri="{FF2B5EF4-FFF2-40B4-BE49-F238E27FC236}">
                <a16:creationId xmlns:a16="http://schemas.microsoft.com/office/drawing/2014/main" id="{8FAFCD1B-5A84-929A-D622-CC609C41B001}"/>
              </a:ext>
            </a:extLst>
          </p:cNvPr>
          <p:cNvSpPr>
            <a:spLocks noGrp="1"/>
          </p:cNvSpPr>
          <p:nvPr>
            <p:ph type="pic" sz="quarter" idx="29" hasCustomPrompt="1"/>
          </p:nvPr>
        </p:nvSpPr>
        <p:spPr>
          <a:xfrm>
            <a:off x="8220024" y="3155667"/>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7" name="Text Placeholder 15">
            <a:extLst>
              <a:ext uri="{FF2B5EF4-FFF2-40B4-BE49-F238E27FC236}">
                <a16:creationId xmlns:a16="http://schemas.microsoft.com/office/drawing/2014/main" id="{32DEC219-4AAE-290C-5636-F26705700111}"/>
              </a:ext>
            </a:extLst>
          </p:cNvPr>
          <p:cNvSpPr>
            <a:spLocks noGrp="1"/>
          </p:cNvSpPr>
          <p:nvPr>
            <p:ph type="body" sz="quarter" idx="30"/>
          </p:nvPr>
        </p:nvSpPr>
        <p:spPr>
          <a:xfrm>
            <a:off x="9411460" y="3155667"/>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8" name="Picture Placeholder 9">
            <a:extLst>
              <a:ext uri="{FF2B5EF4-FFF2-40B4-BE49-F238E27FC236}">
                <a16:creationId xmlns:a16="http://schemas.microsoft.com/office/drawing/2014/main" id="{B2CF404E-74E2-7F8B-678B-6E7F764D9BF2}"/>
              </a:ext>
            </a:extLst>
          </p:cNvPr>
          <p:cNvSpPr>
            <a:spLocks noGrp="1"/>
          </p:cNvSpPr>
          <p:nvPr>
            <p:ph type="pic" sz="quarter" idx="31" hasCustomPrompt="1"/>
          </p:nvPr>
        </p:nvSpPr>
        <p:spPr>
          <a:xfrm>
            <a:off x="515938" y="4599456"/>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9" name="Text Placeholder 15">
            <a:extLst>
              <a:ext uri="{FF2B5EF4-FFF2-40B4-BE49-F238E27FC236}">
                <a16:creationId xmlns:a16="http://schemas.microsoft.com/office/drawing/2014/main" id="{494146F5-9D36-2EF7-388E-A72B6DA0D9BB}"/>
              </a:ext>
            </a:extLst>
          </p:cNvPr>
          <p:cNvSpPr>
            <a:spLocks noGrp="1"/>
          </p:cNvSpPr>
          <p:nvPr>
            <p:ph type="body" sz="quarter" idx="32"/>
          </p:nvPr>
        </p:nvSpPr>
        <p:spPr>
          <a:xfrm>
            <a:off x="1699411" y="4599456"/>
            <a:ext cx="2116757" cy="987159"/>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0" name="Picture Placeholder 9">
            <a:extLst>
              <a:ext uri="{FF2B5EF4-FFF2-40B4-BE49-F238E27FC236}">
                <a16:creationId xmlns:a16="http://schemas.microsoft.com/office/drawing/2014/main" id="{B71BEAAD-C8C5-6988-5CBE-F7E302410597}"/>
              </a:ext>
            </a:extLst>
          </p:cNvPr>
          <p:cNvSpPr>
            <a:spLocks noGrp="1"/>
          </p:cNvSpPr>
          <p:nvPr>
            <p:ph type="pic" sz="quarter" idx="33" hasCustomPrompt="1"/>
          </p:nvPr>
        </p:nvSpPr>
        <p:spPr>
          <a:xfrm>
            <a:off x="4335796" y="4599456"/>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1" name="Text Placeholder 15">
            <a:extLst>
              <a:ext uri="{FF2B5EF4-FFF2-40B4-BE49-F238E27FC236}">
                <a16:creationId xmlns:a16="http://schemas.microsoft.com/office/drawing/2014/main" id="{138E6919-019E-02BB-5D0D-FF9C12142411}"/>
              </a:ext>
            </a:extLst>
          </p:cNvPr>
          <p:cNvSpPr>
            <a:spLocks noGrp="1"/>
          </p:cNvSpPr>
          <p:nvPr>
            <p:ph type="body" sz="quarter" idx="34"/>
          </p:nvPr>
        </p:nvSpPr>
        <p:spPr>
          <a:xfrm>
            <a:off x="5527232" y="4599456"/>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2" name="Picture Placeholder 9">
            <a:extLst>
              <a:ext uri="{FF2B5EF4-FFF2-40B4-BE49-F238E27FC236}">
                <a16:creationId xmlns:a16="http://schemas.microsoft.com/office/drawing/2014/main" id="{50AEE6D7-E551-8465-B986-00D61EB9730A}"/>
              </a:ext>
            </a:extLst>
          </p:cNvPr>
          <p:cNvSpPr>
            <a:spLocks noGrp="1"/>
          </p:cNvSpPr>
          <p:nvPr>
            <p:ph type="pic" sz="quarter" idx="35" hasCustomPrompt="1"/>
          </p:nvPr>
        </p:nvSpPr>
        <p:spPr>
          <a:xfrm>
            <a:off x="8220024" y="4599456"/>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3" name="Text Placeholder 15">
            <a:extLst>
              <a:ext uri="{FF2B5EF4-FFF2-40B4-BE49-F238E27FC236}">
                <a16:creationId xmlns:a16="http://schemas.microsoft.com/office/drawing/2014/main" id="{EABA07AD-B083-3DC8-2E9C-6607785D0D9F}"/>
              </a:ext>
            </a:extLst>
          </p:cNvPr>
          <p:cNvSpPr>
            <a:spLocks noGrp="1"/>
          </p:cNvSpPr>
          <p:nvPr>
            <p:ph type="body" sz="quarter" idx="36"/>
          </p:nvPr>
        </p:nvSpPr>
        <p:spPr>
          <a:xfrm>
            <a:off x="9411460" y="4599456"/>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Tree>
    <p:extLst>
      <p:ext uri="{BB962C8B-B14F-4D97-AF65-F5344CB8AC3E}">
        <p14:creationId xmlns:p14="http://schemas.microsoft.com/office/powerpoint/2010/main" val="23122278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Agenda">
    <p:spTree>
      <p:nvGrpSpPr>
        <p:cNvPr id="1" name=""/>
        <p:cNvGrpSpPr/>
        <p:nvPr/>
      </p:nvGrpSpPr>
      <p:grpSpPr>
        <a:xfrm>
          <a:off x="0" y="0"/>
          <a:ext cx="0" cy="0"/>
          <a:chOff x="0" y="0"/>
          <a:chExt cx="0" cy="0"/>
        </a:xfrm>
      </p:grpSpPr>
      <p:sp>
        <p:nvSpPr>
          <p:cNvPr id="27" name="Espace réservé du texte 26"/>
          <p:cNvSpPr>
            <a:spLocks noGrp="1"/>
          </p:cNvSpPr>
          <p:nvPr>
            <p:ph type="body" sz="quarter" idx="17" hasCustomPrompt="1"/>
          </p:nvPr>
        </p:nvSpPr>
        <p:spPr>
          <a:xfrm>
            <a:off x="2629" y="1421210"/>
            <a:ext cx="12204700" cy="855662"/>
          </a:xfrm>
          <a:solidFill>
            <a:srgbClr val="A50021"/>
          </a:solidFill>
        </p:spPr>
        <p:txBody>
          <a:bodyPr wrap="square" lIns="1152000" tIns="360000" rIns="360000" bIns="360000" rtlCol="0" anchor="ctr" anchorCtr="0">
            <a:noAutofit/>
          </a:bodyPr>
          <a:lstStyle>
            <a:lvl1pPr marL="342900" indent="-342900">
              <a:buClr>
                <a:schemeClr val="bg1"/>
              </a:buClr>
              <a:buFont typeface="Wingdings" panose="05000000000000000000" pitchFamily="2" charset="2"/>
              <a:buChar char="§"/>
              <a:defRPr kumimoji="0" lang="fr-FR" sz="2400" b="0" i="0" u="none" strike="noStrike" kern="0" cap="none" spc="0" normalizeH="0" baseline="0" dirty="0">
                <a:ln>
                  <a:noFill/>
                </a:ln>
                <a:solidFill>
                  <a:srgbClr val="FFFFFF"/>
                </a:solidFill>
                <a:effectLst/>
                <a:uLnTx/>
                <a:uFillTx/>
                <a:latin typeface="Arial"/>
                <a:cs typeface="+mn-cs"/>
              </a:defRPr>
            </a:lvl1pPr>
          </a:lstStyle>
          <a:p>
            <a:pPr marL="0" marR="0" lvl="0" indent="0" defTabSz="457200" eaLnBrk="1" fontAlgn="auto" latinLnBrk="0" hangingPunct="1">
              <a:lnSpc>
                <a:spcPct val="100000"/>
              </a:lnSpc>
              <a:spcBef>
                <a:spcPts val="0"/>
              </a:spcBef>
              <a:spcAft>
                <a:spcPts val="0"/>
              </a:spcAft>
              <a:buClrTx/>
              <a:buSzTx/>
              <a:tabLst/>
            </a:pPr>
            <a:r>
              <a:rPr lang="fr-FR"/>
              <a:t>  </a:t>
            </a:r>
          </a:p>
        </p:txBody>
      </p:sp>
      <p:sp>
        <p:nvSpPr>
          <p:cNvPr id="30" name="Espace réservé du texte 26"/>
          <p:cNvSpPr>
            <a:spLocks noGrp="1"/>
          </p:cNvSpPr>
          <p:nvPr>
            <p:ph type="body" sz="quarter" idx="18" hasCustomPrompt="1"/>
          </p:nvPr>
        </p:nvSpPr>
        <p:spPr>
          <a:xfrm>
            <a:off x="2629" y="2276872"/>
            <a:ext cx="12204700" cy="855662"/>
          </a:xfrm>
          <a:solidFill>
            <a:srgbClr val="676F91"/>
          </a:solidFill>
        </p:spPr>
        <p:txBody>
          <a:bodyPr wrap="square" lIns="1152000" tIns="360000" rIns="360000" bIns="360000" rtlCol="0" anchor="ctr" anchorCtr="0">
            <a:noAutofit/>
          </a:bodyPr>
          <a:lstStyle>
            <a:lvl1pPr marL="342900" indent="-342900">
              <a:buClr>
                <a:schemeClr val="bg1"/>
              </a:buClr>
              <a:buFont typeface="Wingdings" panose="05000000000000000000" pitchFamily="2" charset="2"/>
              <a:buChar char="§"/>
              <a:defRPr kumimoji="0" lang="fr-FR" sz="2400" b="0" i="0" u="none" strike="noStrike" kern="0" cap="none" spc="0" normalizeH="0" baseline="0" dirty="0">
                <a:ln>
                  <a:noFill/>
                </a:ln>
                <a:solidFill>
                  <a:srgbClr val="FFFFFF"/>
                </a:solidFill>
                <a:effectLst/>
                <a:uLnTx/>
                <a:uFillTx/>
                <a:latin typeface="Arial"/>
                <a:cs typeface="+mn-cs"/>
              </a:defRPr>
            </a:lvl1pPr>
          </a:lstStyle>
          <a:p>
            <a:pPr marL="0" marR="0" lvl="0" indent="0" defTabSz="457200" eaLnBrk="1" fontAlgn="auto" latinLnBrk="0" hangingPunct="1">
              <a:lnSpc>
                <a:spcPct val="100000"/>
              </a:lnSpc>
              <a:spcBef>
                <a:spcPts val="0"/>
              </a:spcBef>
              <a:spcAft>
                <a:spcPts val="0"/>
              </a:spcAft>
              <a:buClrTx/>
              <a:buSzTx/>
              <a:tabLst/>
            </a:pPr>
            <a:r>
              <a:rPr lang="fr-FR"/>
              <a:t>  </a:t>
            </a:r>
          </a:p>
        </p:txBody>
      </p:sp>
      <p:sp>
        <p:nvSpPr>
          <p:cNvPr id="31" name="Espace réservé du texte 26"/>
          <p:cNvSpPr>
            <a:spLocks noGrp="1"/>
          </p:cNvSpPr>
          <p:nvPr>
            <p:ph type="body" sz="quarter" idx="19" hasCustomPrompt="1"/>
          </p:nvPr>
        </p:nvSpPr>
        <p:spPr>
          <a:xfrm>
            <a:off x="2629" y="3140968"/>
            <a:ext cx="12204700" cy="855662"/>
          </a:xfrm>
          <a:solidFill>
            <a:srgbClr val="769091"/>
          </a:solidFill>
        </p:spPr>
        <p:txBody>
          <a:bodyPr wrap="square" lIns="1152000" tIns="360000" rIns="360000" bIns="360000" rtlCol="0" anchor="ctr" anchorCtr="0">
            <a:noAutofit/>
          </a:bodyPr>
          <a:lstStyle>
            <a:lvl1pPr marL="342900" indent="-342900">
              <a:buClr>
                <a:schemeClr val="bg1"/>
              </a:buClr>
              <a:buFont typeface="Wingdings" panose="05000000000000000000" pitchFamily="2" charset="2"/>
              <a:buChar char="§"/>
              <a:defRPr kumimoji="0" lang="fr-FR" sz="2400" b="0" i="0" u="none" strike="noStrike" kern="0" cap="none" spc="0" normalizeH="0" baseline="0" dirty="0">
                <a:ln>
                  <a:noFill/>
                </a:ln>
                <a:solidFill>
                  <a:srgbClr val="FFFFFF"/>
                </a:solidFill>
                <a:effectLst/>
                <a:uLnTx/>
                <a:uFillTx/>
                <a:latin typeface="Arial"/>
                <a:cs typeface="+mn-cs"/>
              </a:defRPr>
            </a:lvl1pPr>
          </a:lstStyle>
          <a:p>
            <a:pPr marL="0" marR="0" lvl="0" indent="0" defTabSz="457200" eaLnBrk="1" fontAlgn="auto" latinLnBrk="0" hangingPunct="1">
              <a:lnSpc>
                <a:spcPct val="100000"/>
              </a:lnSpc>
              <a:spcBef>
                <a:spcPts val="0"/>
              </a:spcBef>
              <a:spcAft>
                <a:spcPts val="0"/>
              </a:spcAft>
              <a:buClrTx/>
              <a:buSzTx/>
              <a:tabLst/>
            </a:pPr>
            <a:r>
              <a:rPr lang="fr-FR"/>
              <a:t>  </a:t>
            </a:r>
          </a:p>
        </p:txBody>
      </p:sp>
      <p:sp>
        <p:nvSpPr>
          <p:cNvPr id="32" name="Espace réservé du texte 26"/>
          <p:cNvSpPr>
            <a:spLocks noGrp="1"/>
          </p:cNvSpPr>
          <p:nvPr>
            <p:ph type="body" sz="quarter" idx="20" hasCustomPrompt="1"/>
          </p:nvPr>
        </p:nvSpPr>
        <p:spPr>
          <a:xfrm>
            <a:off x="2629" y="4005064"/>
            <a:ext cx="12204700" cy="855662"/>
          </a:xfrm>
          <a:solidFill>
            <a:srgbClr val="D2AD86"/>
          </a:solidFill>
        </p:spPr>
        <p:txBody>
          <a:bodyPr wrap="square" lIns="1152000" tIns="360000" rIns="360000" bIns="360000" rtlCol="0" anchor="ctr" anchorCtr="0">
            <a:noAutofit/>
          </a:bodyPr>
          <a:lstStyle>
            <a:lvl1pPr marL="342900" indent="-342900">
              <a:buClr>
                <a:schemeClr val="bg1"/>
              </a:buClr>
              <a:buFont typeface="Wingdings" panose="05000000000000000000" pitchFamily="2" charset="2"/>
              <a:buChar char="§"/>
              <a:defRPr kumimoji="0" lang="fr-FR" sz="2400" b="0" i="0" u="none" strike="noStrike" kern="0" cap="none" spc="0" normalizeH="0" baseline="0" dirty="0">
                <a:ln>
                  <a:noFill/>
                </a:ln>
                <a:solidFill>
                  <a:srgbClr val="FFFFFF"/>
                </a:solidFill>
                <a:effectLst/>
                <a:uLnTx/>
                <a:uFillTx/>
                <a:latin typeface="Arial"/>
                <a:cs typeface="+mn-cs"/>
              </a:defRPr>
            </a:lvl1pPr>
          </a:lstStyle>
          <a:p>
            <a:pPr marL="0" marR="0" lvl="0" indent="0" defTabSz="457200" eaLnBrk="1" fontAlgn="auto" latinLnBrk="0" hangingPunct="1">
              <a:lnSpc>
                <a:spcPct val="100000"/>
              </a:lnSpc>
              <a:spcBef>
                <a:spcPts val="0"/>
              </a:spcBef>
              <a:spcAft>
                <a:spcPts val="0"/>
              </a:spcAft>
              <a:buClrTx/>
              <a:buSzTx/>
              <a:tabLst/>
            </a:pPr>
            <a:r>
              <a:rPr lang="fr-FR"/>
              <a:t>  </a:t>
            </a:r>
          </a:p>
        </p:txBody>
      </p:sp>
      <p:sp>
        <p:nvSpPr>
          <p:cNvPr id="33" name="Espace réservé du texte 26"/>
          <p:cNvSpPr>
            <a:spLocks noGrp="1"/>
          </p:cNvSpPr>
          <p:nvPr>
            <p:ph type="body" sz="quarter" idx="21" hasCustomPrompt="1"/>
          </p:nvPr>
        </p:nvSpPr>
        <p:spPr>
          <a:xfrm>
            <a:off x="2629" y="4869160"/>
            <a:ext cx="12204700" cy="855662"/>
          </a:xfrm>
          <a:solidFill>
            <a:srgbClr val="636463"/>
          </a:solidFill>
        </p:spPr>
        <p:txBody>
          <a:bodyPr wrap="square" lIns="1152000" tIns="360000" rIns="360000" bIns="360000" rtlCol="0" anchor="ctr" anchorCtr="0">
            <a:noAutofit/>
          </a:bodyPr>
          <a:lstStyle>
            <a:lvl1pPr marL="342900" indent="-342900">
              <a:buClr>
                <a:schemeClr val="bg1"/>
              </a:buClr>
              <a:buFont typeface="Wingdings" panose="05000000000000000000" pitchFamily="2" charset="2"/>
              <a:buChar char="§"/>
              <a:defRPr kumimoji="0" lang="fr-FR" sz="2400" b="0" i="0" u="none" strike="noStrike" kern="0" cap="none" spc="0" normalizeH="0" baseline="0" dirty="0">
                <a:ln>
                  <a:noFill/>
                </a:ln>
                <a:solidFill>
                  <a:srgbClr val="FFFFFF"/>
                </a:solidFill>
                <a:effectLst/>
                <a:uLnTx/>
                <a:uFillTx/>
                <a:latin typeface="Arial"/>
                <a:cs typeface="+mn-cs"/>
              </a:defRPr>
            </a:lvl1pPr>
          </a:lstStyle>
          <a:p>
            <a:pPr marL="0" marR="0" lvl="0" indent="0" defTabSz="457200" eaLnBrk="1" fontAlgn="auto" latinLnBrk="0" hangingPunct="1">
              <a:lnSpc>
                <a:spcPct val="100000"/>
              </a:lnSpc>
              <a:spcBef>
                <a:spcPts val="0"/>
              </a:spcBef>
              <a:spcAft>
                <a:spcPts val="0"/>
              </a:spcAft>
              <a:buClrTx/>
              <a:buSzTx/>
              <a:tabLst/>
            </a:pPr>
            <a:r>
              <a:rPr lang="fr-FR"/>
              <a:t>  </a:t>
            </a:r>
          </a:p>
        </p:txBody>
      </p:sp>
      <p:sp>
        <p:nvSpPr>
          <p:cNvPr id="3" name="Espace réservé du texte 8"/>
          <p:cNvSpPr>
            <a:spLocks noGrp="1"/>
          </p:cNvSpPr>
          <p:nvPr userDrawn="1">
            <p:ph type="body" sz="quarter" idx="11" hasCustomPrompt="1"/>
          </p:nvPr>
        </p:nvSpPr>
        <p:spPr>
          <a:xfrm>
            <a:off x="239184" y="188913"/>
            <a:ext cx="11328400" cy="493712"/>
          </a:xfrm>
        </p:spPr>
        <p:txBody>
          <a:bodyPr/>
          <a:lstStyle>
            <a:lvl1pPr marL="0" indent="0">
              <a:buNone/>
              <a:defRPr lang="fr-FR" sz="2800" b="0" kern="1200" dirty="0" smtClean="0">
                <a:solidFill>
                  <a:srgbClr val="A50021"/>
                </a:solidFill>
                <a:latin typeface="Arial"/>
                <a:ea typeface="+mn-ea"/>
                <a:cs typeface="+mn-cs"/>
              </a:defRPr>
            </a:lvl1pPr>
            <a:lvl5pPr marL="1828800" indent="0">
              <a:buNone/>
              <a:defRPr/>
            </a:lvl5pPr>
          </a:lstStyle>
          <a:p>
            <a:pPr lvl="0"/>
            <a:r>
              <a:rPr lang="fr-FR"/>
              <a:t>Agenda</a:t>
            </a:r>
          </a:p>
        </p:txBody>
      </p:sp>
    </p:spTree>
    <p:extLst>
      <p:ext uri="{BB962C8B-B14F-4D97-AF65-F5344CB8AC3E}">
        <p14:creationId xmlns:p14="http://schemas.microsoft.com/office/powerpoint/2010/main" val="575340955"/>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1_Headshots x1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United Against Rabies Forum Meeting - 6-8 November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22" name="Picture Placeholder 9">
            <a:extLst>
              <a:ext uri="{FF2B5EF4-FFF2-40B4-BE49-F238E27FC236}">
                <a16:creationId xmlns:a16="http://schemas.microsoft.com/office/drawing/2014/main" id="{9DD9632F-ADC6-0F07-8F3F-62F1AF846E10}"/>
              </a:ext>
            </a:extLst>
          </p:cNvPr>
          <p:cNvSpPr>
            <a:spLocks noGrp="1"/>
          </p:cNvSpPr>
          <p:nvPr>
            <p:ph type="pic" sz="quarter" idx="20" hasCustomPrompt="1"/>
          </p:nvPr>
        </p:nvSpPr>
        <p:spPr>
          <a:xfrm>
            <a:off x="515939" y="1711995"/>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23" name="Text Placeholder 15">
            <a:extLst>
              <a:ext uri="{FF2B5EF4-FFF2-40B4-BE49-F238E27FC236}">
                <a16:creationId xmlns:a16="http://schemas.microsoft.com/office/drawing/2014/main" id="{A6BDD17B-1F38-C02C-FBE9-A0D8E16AB19C}"/>
              </a:ext>
            </a:extLst>
          </p:cNvPr>
          <p:cNvSpPr>
            <a:spLocks noGrp="1"/>
          </p:cNvSpPr>
          <p:nvPr>
            <p:ph type="body" sz="quarter" idx="15"/>
          </p:nvPr>
        </p:nvSpPr>
        <p:spPr>
          <a:xfrm>
            <a:off x="1596367" y="1711995"/>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39" name="Picture Placeholder 9">
            <a:extLst>
              <a:ext uri="{FF2B5EF4-FFF2-40B4-BE49-F238E27FC236}">
                <a16:creationId xmlns:a16="http://schemas.microsoft.com/office/drawing/2014/main" id="{0A36E1BF-5D7A-3667-C65B-2DB32E2BD388}"/>
              </a:ext>
            </a:extLst>
          </p:cNvPr>
          <p:cNvSpPr>
            <a:spLocks noGrp="1"/>
          </p:cNvSpPr>
          <p:nvPr>
            <p:ph type="pic" sz="quarter" idx="43" hasCustomPrompt="1"/>
          </p:nvPr>
        </p:nvSpPr>
        <p:spPr>
          <a:xfrm>
            <a:off x="515939" y="2786398"/>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4" name="Text Placeholder 15">
            <a:extLst>
              <a:ext uri="{FF2B5EF4-FFF2-40B4-BE49-F238E27FC236}">
                <a16:creationId xmlns:a16="http://schemas.microsoft.com/office/drawing/2014/main" id="{A3EF6248-9648-B0CE-3E04-C8F8A63036EA}"/>
              </a:ext>
            </a:extLst>
          </p:cNvPr>
          <p:cNvSpPr>
            <a:spLocks noGrp="1"/>
          </p:cNvSpPr>
          <p:nvPr>
            <p:ph type="body" sz="quarter" idx="44"/>
          </p:nvPr>
        </p:nvSpPr>
        <p:spPr>
          <a:xfrm>
            <a:off x="1596367" y="2791091"/>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5" name="Picture Placeholder 9">
            <a:extLst>
              <a:ext uri="{FF2B5EF4-FFF2-40B4-BE49-F238E27FC236}">
                <a16:creationId xmlns:a16="http://schemas.microsoft.com/office/drawing/2014/main" id="{C5444EBA-19D0-8678-BDDD-147CE44BC1E1}"/>
              </a:ext>
            </a:extLst>
          </p:cNvPr>
          <p:cNvSpPr>
            <a:spLocks noGrp="1"/>
          </p:cNvSpPr>
          <p:nvPr>
            <p:ph type="pic" sz="quarter" idx="45" hasCustomPrompt="1"/>
          </p:nvPr>
        </p:nvSpPr>
        <p:spPr>
          <a:xfrm>
            <a:off x="515939" y="3870187"/>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6" name="Text Placeholder 15">
            <a:extLst>
              <a:ext uri="{FF2B5EF4-FFF2-40B4-BE49-F238E27FC236}">
                <a16:creationId xmlns:a16="http://schemas.microsoft.com/office/drawing/2014/main" id="{7D5C4711-97F4-DDD0-D960-DEDF44E5F474}"/>
              </a:ext>
            </a:extLst>
          </p:cNvPr>
          <p:cNvSpPr>
            <a:spLocks noGrp="1"/>
          </p:cNvSpPr>
          <p:nvPr>
            <p:ph type="body" sz="quarter" idx="46"/>
          </p:nvPr>
        </p:nvSpPr>
        <p:spPr>
          <a:xfrm>
            <a:off x="1596367" y="3870187"/>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7" name="Picture Placeholder 9">
            <a:extLst>
              <a:ext uri="{FF2B5EF4-FFF2-40B4-BE49-F238E27FC236}">
                <a16:creationId xmlns:a16="http://schemas.microsoft.com/office/drawing/2014/main" id="{E65DD9AF-BC5A-0D6D-203A-19C299826DFB}"/>
              </a:ext>
            </a:extLst>
          </p:cNvPr>
          <p:cNvSpPr>
            <a:spLocks noGrp="1"/>
          </p:cNvSpPr>
          <p:nvPr>
            <p:ph type="pic" sz="quarter" idx="47" hasCustomPrompt="1"/>
          </p:nvPr>
        </p:nvSpPr>
        <p:spPr>
          <a:xfrm>
            <a:off x="515939" y="4949284"/>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8" name="Text Placeholder 15">
            <a:extLst>
              <a:ext uri="{FF2B5EF4-FFF2-40B4-BE49-F238E27FC236}">
                <a16:creationId xmlns:a16="http://schemas.microsoft.com/office/drawing/2014/main" id="{50F33994-9EA1-2A51-A537-50F4FB57B23A}"/>
              </a:ext>
            </a:extLst>
          </p:cNvPr>
          <p:cNvSpPr>
            <a:spLocks noGrp="1"/>
          </p:cNvSpPr>
          <p:nvPr>
            <p:ph type="body" sz="quarter" idx="48"/>
          </p:nvPr>
        </p:nvSpPr>
        <p:spPr>
          <a:xfrm>
            <a:off x="1596367" y="4949284"/>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9" name="Picture Placeholder 9">
            <a:extLst>
              <a:ext uri="{FF2B5EF4-FFF2-40B4-BE49-F238E27FC236}">
                <a16:creationId xmlns:a16="http://schemas.microsoft.com/office/drawing/2014/main" id="{F4BC789A-02DE-1B25-C17D-56031BFFAC79}"/>
              </a:ext>
            </a:extLst>
          </p:cNvPr>
          <p:cNvSpPr>
            <a:spLocks noGrp="1"/>
          </p:cNvSpPr>
          <p:nvPr>
            <p:ph type="pic" sz="quarter" idx="49" hasCustomPrompt="1"/>
          </p:nvPr>
        </p:nvSpPr>
        <p:spPr>
          <a:xfrm>
            <a:off x="4357530" y="1711995"/>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0" name="Text Placeholder 15">
            <a:extLst>
              <a:ext uri="{FF2B5EF4-FFF2-40B4-BE49-F238E27FC236}">
                <a16:creationId xmlns:a16="http://schemas.microsoft.com/office/drawing/2014/main" id="{397D8B8C-1AD2-D2A1-C4BA-DC06F2B6EF69}"/>
              </a:ext>
            </a:extLst>
          </p:cNvPr>
          <p:cNvSpPr>
            <a:spLocks noGrp="1"/>
          </p:cNvSpPr>
          <p:nvPr>
            <p:ph type="body" sz="quarter" idx="50"/>
          </p:nvPr>
        </p:nvSpPr>
        <p:spPr>
          <a:xfrm>
            <a:off x="5437958" y="1711995"/>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1" name="Picture Placeholder 9">
            <a:extLst>
              <a:ext uri="{FF2B5EF4-FFF2-40B4-BE49-F238E27FC236}">
                <a16:creationId xmlns:a16="http://schemas.microsoft.com/office/drawing/2014/main" id="{96F24F90-0E84-D6E6-53DE-5CA754BCC220}"/>
              </a:ext>
            </a:extLst>
          </p:cNvPr>
          <p:cNvSpPr>
            <a:spLocks noGrp="1"/>
          </p:cNvSpPr>
          <p:nvPr>
            <p:ph type="pic" sz="quarter" idx="51" hasCustomPrompt="1"/>
          </p:nvPr>
        </p:nvSpPr>
        <p:spPr>
          <a:xfrm>
            <a:off x="4357530" y="2786398"/>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2" name="Text Placeholder 15">
            <a:extLst>
              <a:ext uri="{FF2B5EF4-FFF2-40B4-BE49-F238E27FC236}">
                <a16:creationId xmlns:a16="http://schemas.microsoft.com/office/drawing/2014/main" id="{FEE53D37-03B9-FEA3-D9B3-377C5ACE8FBB}"/>
              </a:ext>
            </a:extLst>
          </p:cNvPr>
          <p:cNvSpPr>
            <a:spLocks noGrp="1"/>
          </p:cNvSpPr>
          <p:nvPr>
            <p:ph type="body" sz="quarter" idx="52"/>
          </p:nvPr>
        </p:nvSpPr>
        <p:spPr>
          <a:xfrm>
            <a:off x="5437958" y="2791091"/>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3" name="Picture Placeholder 9">
            <a:extLst>
              <a:ext uri="{FF2B5EF4-FFF2-40B4-BE49-F238E27FC236}">
                <a16:creationId xmlns:a16="http://schemas.microsoft.com/office/drawing/2014/main" id="{D91880C0-5866-3A2D-E9A1-293A080C3CBC}"/>
              </a:ext>
            </a:extLst>
          </p:cNvPr>
          <p:cNvSpPr>
            <a:spLocks noGrp="1"/>
          </p:cNvSpPr>
          <p:nvPr>
            <p:ph type="pic" sz="quarter" idx="53" hasCustomPrompt="1"/>
          </p:nvPr>
        </p:nvSpPr>
        <p:spPr>
          <a:xfrm>
            <a:off x="4357530" y="3870187"/>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4" name="Text Placeholder 15">
            <a:extLst>
              <a:ext uri="{FF2B5EF4-FFF2-40B4-BE49-F238E27FC236}">
                <a16:creationId xmlns:a16="http://schemas.microsoft.com/office/drawing/2014/main" id="{68479F4A-C40B-C6DF-03E8-C507FF3D4573}"/>
              </a:ext>
            </a:extLst>
          </p:cNvPr>
          <p:cNvSpPr>
            <a:spLocks noGrp="1"/>
          </p:cNvSpPr>
          <p:nvPr>
            <p:ph type="body" sz="quarter" idx="54"/>
          </p:nvPr>
        </p:nvSpPr>
        <p:spPr>
          <a:xfrm>
            <a:off x="5437958" y="3870187"/>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5" name="Picture Placeholder 9">
            <a:extLst>
              <a:ext uri="{FF2B5EF4-FFF2-40B4-BE49-F238E27FC236}">
                <a16:creationId xmlns:a16="http://schemas.microsoft.com/office/drawing/2014/main" id="{C62DBBD6-D33E-DF74-5AE8-96D1913C8C20}"/>
              </a:ext>
            </a:extLst>
          </p:cNvPr>
          <p:cNvSpPr>
            <a:spLocks noGrp="1"/>
          </p:cNvSpPr>
          <p:nvPr>
            <p:ph type="pic" sz="quarter" idx="55" hasCustomPrompt="1"/>
          </p:nvPr>
        </p:nvSpPr>
        <p:spPr>
          <a:xfrm>
            <a:off x="4357530" y="4949284"/>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6" name="Text Placeholder 15">
            <a:extLst>
              <a:ext uri="{FF2B5EF4-FFF2-40B4-BE49-F238E27FC236}">
                <a16:creationId xmlns:a16="http://schemas.microsoft.com/office/drawing/2014/main" id="{05529239-A4B5-258D-03F5-01D3ADFE8873}"/>
              </a:ext>
            </a:extLst>
          </p:cNvPr>
          <p:cNvSpPr>
            <a:spLocks noGrp="1"/>
          </p:cNvSpPr>
          <p:nvPr>
            <p:ph type="body" sz="quarter" idx="56"/>
          </p:nvPr>
        </p:nvSpPr>
        <p:spPr>
          <a:xfrm>
            <a:off x="5437958" y="4949284"/>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7" name="Picture Placeholder 9">
            <a:extLst>
              <a:ext uri="{FF2B5EF4-FFF2-40B4-BE49-F238E27FC236}">
                <a16:creationId xmlns:a16="http://schemas.microsoft.com/office/drawing/2014/main" id="{114AD459-859C-6C0F-FB75-4B02606E57BB}"/>
              </a:ext>
            </a:extLst>
          </p:cNvPr>
          <p:cNvSpPr>
            <a:spLocks noGrp="1"/>
          </p:cNvSpPr>
          <p:nvPr>
            <p:ph type="pic" sz="quarter" idx="57" hasCustomPrompt="1"/>
          </p:nvPr>
        </p:nvSpPr>
        <p:spPr>
          <a:xfrm>
            <a:off x="8199122" y="1711995"/>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8" name="Text Placeholder 15">
            <a:extLst>
              <a:ext uri="{FF2B5EF4-FFF2-40B4-BE49-F238E27FC236}">
                <a16:creationId xmlns:a16="http://schemas.microsoft.com/office/drawing/2014/main" id="{4EAF0426-CCDA-221A-38EC-BBD417EBF569}"/>
              </a:ext>
            </a:extLst>
          </p:cNvPr>
          <p:cNvSpPr>
            <a:spLocks noGrp="1"/>
          </p:cNvSpPr>
          <p:nvPr>
            <p:ph type="body" sz="quarter" idx="58"/>
          </p:nvPr>
        </p:nvSpPr>
        <p:spPr>
          <a:xfrm>
            <a:off x="9279550" y="1711995"/>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9" name="Picture Placeholder 9">
            <a:extLst>
              <a:ext uri="{FF2B5EF4-FFF2-40B4-BE49-F238E27FC236}">
                <a16:creationId xmlns:a16="http://schemas.microsoft.com/office/drawing/2014/main" id="{EF2E7661-7F3A-851E-C60B-815DA8CE2A18}"/>
              </a:ext>
            </a:extLst>
          </p:cNvPr>
          <p:cNvSpPr>
            <a:spLocks noGrp="1"/>
          </p:cNvSpPr>
          <p:nvPr>
            <p:ph type="pic" sz="quarter" idx="59" hasCustomPrompt="1"/>
          </p:nvPr>
        </p:nvSpPr>
        <p:spPr>
          <a:xfrm>
            <a:off x="8199122" y="2786398"/>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70" name="Text Placeholder 15">
            <a:extLst>
              <a:ext uri="{FF2B5EF4-FFF2-40B4-BE49-F238E27FC236}">
                <a16:creationId xmlns:a16="http://schemas.microsoft.com/office/drawing/2014/main" id="{8748A2D7-29EB-EEF8-E6A5-383DA278969D}"/>
              </a:ext>
            </a:extLst>
          </p:cNvPr>
          <p:cNvSpPr>
            <a:spLocks noGrp="1"/>
          </p:cNvSpPr>
          <p:nvPr>
            <p:ph type="body" sz="quarter" idx="60"/>
          </p:nvPr>
        </p:nvSpPr>
        <p:spPr>
          <a:xfrm>
            <a:off x="9279550" y="2791091"/>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71" name="Picture Placeholder 9">
            <a:extLst>
              <a:ext uri="{FF2B5EF4-FFF2-40B4-BE49-F238E27FC236}">
                <a16:creationId xmlns:a16="http://schemas.microsoft.com/office/drawing/2014/main" id="{E88761E4-7653-636A-0723-500AE4782BC6}"/>
              </a:ext>
            </a:extLst>
          </p:cNvPr>
          <p:cNvSpPr>
            <a:spLocks noGrp="1"/>
          </p:cNvSpPr>
          <p:nvPr>
            <p:ph type="pic" sz="quarter" idx="61" hasCustomPrompt="1"/>
          </p:nvPr>
        </p:nvSpPr>
        <p:spPr>
          <a:xfrm>
            <a:off x="8199122" y="3870187"/>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72" name="Text Placeholder 15">
            <a:extLst>
              <a:ext uri="{FF2B5EF4-FFF2-40B4-BE49-F238E27FC236}">
                <a16:creationId xmlns:a16="http://schemas.microsoft.com/office/drawing/2014/main" id="{B10E2844-BD47-9C07-357D-9EA651BBCA67}"/>
              </a:ext>
            </a:extLst>
          </p:cNvPr>
          <p:cNvSpPr>
            <a:spLocks noGrp="1"/>
          </p:cNvSpPr>
          <p:nvPr>
            <p:ph type="body" sz="quarter" idx="62"/>
          </p:nvPr>
        </p:nvSpPr>
        <p:spPr>
          <a:xfrm>
            <a:off x="9279550" y="3870187"/>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73" name="Picture Placeholder 9">
            <a:extLst>
              <a:ext uri="{FF2B5EF4-FFF2-40B4-BE49-F238E27FC236}">
                <a16:creationId xmlns:a16="http://schemas.microsoft.com/office/drawing/2014/main" id="{310F2473-00CD-C33D-50C3-3F40271F3927}"/>
              </a:ext>
            </a:extLst>
          </p:cNvPr>
          <p:cNvSpPr>
            <a:spLocks noGrp="1"/>
          </p:cNvSpPr>
          <p:nvPr>
            <p:ph type="pic" sz="quarter" idx="63" hasCustomPrompt="1"/>
          </p:nvPr>
        </p:nvSpPr>
        <p:spPr>
          <a:xfrm>
            <a:off x="8199122" y="4949284"/>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74" name="Text Placeholder 15">
            <a:extLst>
              <a:ext uri="{FF2B5EF4-FFF2-40B4-BE49-F238E27FC236}">
                <a16:creationId xmlns:a16="http://schemas.microsoft.com/office/drawing/2014/main" id="{789611C4-8E98-E2CF-35EB-922860C66E00}"/>
              </a:ext>
            </a:extLst>
          </p:cNvPr>
          <p:cNvSpPr>
            <a:spLocks noGrp="1"/>
          </p:cNvSpPr>
          <p:nvPr>
            <p:ph type="body" sz="quarter" idx="64"/>
          </p:nvPr>
        </p:nvSpPr>
        <p:spPr>
          <a:xfrm>
            <a:off x="9279550" y="4949284"/>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Tree>
    <p:extLst>
      <p:ext uri="{BB962C8B-B14F-4D97-AF65-F5344CB8AC3E}">
        <p14:creationId xmlns:p14="http://schemas.microsoft.com/office/powerpoint/2010/main" val="128457983"/>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United Against Rabies Forum Meeting - 6-8 November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33" name="Text Placeholder 8">
            <a:extLst>
              <a:ext uri="{FF2B5EF4-FFF2-40B4-BE49-F238E27FC236}">
                <a16:creationId xmlns:a16="http://schemas.microsoft.com/office/drawing/2014/main" id="{81187F35-DC43-A850-FE4F-7D60E8ED7A96}"/>
              </a:ext>
            </a:extLst>
          </p:cNvPr>
          <p:cNvSpPr>
            <a:spLocks noGrp="1"/>
          </p:cNvSpPr>
          <p:nvPr>
            <p:ph type="body" idx="13"/>
          </p:nvPr>
        </p:nvSpPr>
        <p:spPr>
          <a:xfrm>
            <a:off x="531133" y="1708830"/>
            <a:ext cx="11144930" cy="4204608"/>
          </a:xfrm>
        </p:spPr>
        <p:txBody>
          <a:bodyPr numCol="2" spcCol="360000">
            <a:normAutofit/>
          </a:bodyPr>
          <a:lstStyle>
            <a:lvl1pPr marL="457200" indent="-457200">
              <a:spcBef>
                <a:spcPts val="1800"/>
              </a:spcBef>
              <a:spcAft>
                <a:spcPts val="600"/>
              </a:spcAft>
              <a:buClr>
                <a:schemeClr val="bg2"/>
              </a:buClr>
              <a:buFont typeface="+mj-lt"/>
              <a:buAutoNum type="arabicPeriod"/>
              <a:defRPr sz="2400" b="1">
                <a:solidFill>
                  <a:schemeClr val="tx2">
                    <a:lumMod val="50000"/>
                  </a:schemeClr>
                </a:solidFill>
              </a:defRPr>
            </a:lvl1pPr>
            <a:lvl2pPr>
              <a:spcAft>
                <a:spcPts val="600"/>
              </a:spcAft>
              <a:defRPr sz="2000" b="1">
                <a:solidFill>
                  <a:schemeClr val="tx2">
                    <a:lumMod val="50000"/>
                  </a:schemeClr>
                </a:solidFill>
              </a:defRPr>
            </a:lvl2pPr>
            <a:lvl3pPr>
              <a:defRPr sz="2000" b="1">
                <a:solidFill>
                  <a:schemeClr val="tx2">
                    <a:lumMod val="50000"/>
                  </a:schemeClr>
                </a:solidFill>
              </a:defRPr>
            </a:lvl3pPr>
            <a:lvl4pPr>
              <a:defRPr sz="1800" b="1">
                <a:solidFill>
                  <a:schemeClr val="tx2">
                    <a:lumMod val="50000"/>
                  </a:schemeClr>
                </a:solidFill>
              </a:defRPr>
            </a:lvl4pPr>
            <a:lvl5pPr>
              <a:defRPr sz="1800" b="1">
                <a:solidFill>
                  <a:schemeClr val="tx2">
                    <a:lumMod val="50000"/>
                  </a:schemeClr>
                </a:solidFill>
              </a:defRPr>
            </a:lvl5pPr>
          </a:lstStyle>
          <a:p>
            <a:pPr lvl="0"/>
            <a:r>
              <a:rPr lang="en-GB"/>
              <a:t>Click to edit Master text styles</a:t>
            </a:r>
          </a:p>
          <a:p>
            <a:pPr lvl="1"/>
            <a:r>
              <a:rPr lang="en-GB"/>
              <a:t>Second level</a:t>
            </a:r>
          </a:p>
        </p:txBody>
      </p:sp>
    </p:spTree>
    <p:extLst>
      <p:ext uri="{BB962C8B-B14F-4D97-AF65-F5344CB8AC3E}">
        <p14:creationId xmlns:p14="http://schemas.microsoft.com/office/powerpoint/2010/main" val="1696565384"/>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1_Conten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6275323"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United Against Rabies Forum Meeting - 6-8 November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6275323" cy="343847"/>
          </a:xfrm>
        </p:spPr>
        <p:txBody>
          <a:bodyPr/>
          <a:lstStyle>
            <a:lvl1pPr>
              <a:defRPr>
                <a:solidFill>
                  <a:schemeClr val="bg2"/>
                </a:solidFill>
              </a:defRPr>
            </a:lvl1pPr>
          </a:lstStyle>
          <a:p>
            <a:pPr lvl="0"/>
            <a:r>
              <a:rPr lang="en-GB"/>
              <a:t>Click to edit Master text styles</a:t>
            </a:r>
          </a:p>
        </p:txBody>
      </p:sp>
      <p:sp>
        <p:nvSpPr>
          <p:cNvPr id="33" name="Text Placeholder 8">
            <a:extLst>
              <a:ext uri="{FF2B5EF4-FFF2-40B4-BE49-F238E27FC236}">
                <a16:creationId xmlns:a16="http://schemas.microsoft.com/office/drawing/2014/main" id="{81187F35-DC43-A850-FE4F-7D60E8ED7A96}"/>
              </a:ext>
            </a:extLst>
          </p:cNvPr>
          <p:cNvSpPr>
            <a:spLocks noGrp="1"/>
          </p:cNvSpPr>
          <p:nvPr>
            <p:ph type="body" idx="13"/>
          </p:nvPr>
        </p:nvSpPr>
        <p:spPr>
          <a:xfrm>
            <a:off x="531133" y="1708830"/>
            <a:ext cx="5376371" cy="4204608"/>
          </a:xfrm>
        </p:spPr>
        <p:txBody>
          <a:bodyPr numCol="1" spcCol="360000">
            <a:normAutofit/>
          </a:bodyPr>
          <a:lstStyle>
            <a:lvl1pPr marL="457200" indent="-457200">
              <a:spcBef>
                <a:spcPts val="600"/>
              </a:spcBef>
              <a:spcAft>
                <a:spcPts val="600"/>
              </a:spcAft>
              <a:buClr>
                <a:schemeClr val="bg2"/>
              </a:buClr>
              <a:buFont typeface="+mj-lt"/>
              <a:buAutoNum type="arabicPeriod"/>
              <a:defRPr sz="2400" b="1">
                <a:solidFill>
                  <a:schemeClr val="tx2">
                    <a:lumMod val="50000"/>
                  </a:schemeClr>
                </a:solidFill>
              </a:defRPr>
            </a:lvl1pPr>
            <a:lvl2pPr>
              <a:spcAft>
                <a:spcPts val="600"/>
              </a:spcAft>
              <a:defRPr sz="2000" b="1">
                <a:solidFill>
                  <a:schemeClr val="tx2">
                    <a:lumMod val="50000"/>
                  </a:schemeClr>
                </a:solidFill>
              </a:defRPr>
            </a:lvl2pPr>
            <a:lvl3pPr>
              <a:defRPr sz="2000" b="1">
                <a:solidFill>
                  <a:schemeClr val="tx2">
                    <a:lumMod val="50000"/>
                  </a:schemeClr>
                </a:solidFill>
              </a:defRPr>
            </a:lvl3pPr>
            <a:lvl4pPr>
              <a:defRPr sz="1800" b="1">
                <a:solidFill>
                  <a:schemeClr val="tx2">
                    <a:lumMod val="50000"/>
                  </a:schemeClr>
                </a:solidFill>
              </a:defRPr>
            </a:lvl4pPr>
            <a:lvl5pPr>
              <a:defRPr sz="1800" b="1">
                <a:solidFill>
                  <a:schemeClr val="tx2">
                    <a:lumMod val="50000"/>
                  </a:schemeClr>
                </a:solidFill>
              </a:defRPr>
            </a:lvl5pPr>
          </a:lstStyle>
          <a:p>
            <a:pPr lvl="0"/>
            <a:r>
              <a:rPr lang="en-GB"/>
              <a:t>Click to edit Master text styles</a:t>
            </a:r>
          </a:p>
          <a:p>
            <a:pPr lvl="1"/>
            <a:r>
              <a:rPr lang="en-GB"/>
              <a:t>Second level</a:t>
            </a:r>
          </a:p>
        </p:txBody>
      </p:sp>
      <p:sp>
        <p:nvSpPr>
          <p:cNvPr id="11" name="Text Placeholder 8">
            <a:extLst>
              <a:ext uri="{FF2B5EF4-FFF2-40B4-BE49-F238E27FC236}">
                <a16:creationId xmlns:a16="http://schemas.microsoft.com/office/drawing/2014/main" id="{91F8B0E5-465B-1592-BFB3-5F01C3B0E690}"/>
              </a:ext>
            </a:extLst>
          </p:cNvPr>
          <p:cNvSpPr>
            <a:spLocks noGrp="1"/>
          </p:cNvSpPr>
          <p:nvPr>
            <p:ph type="body" idx="15" hasCustomPrompt="1"/>
          </p:nvPr>
        </p:nvSpPr>
        <p:spPr>
          <a:xfrm>
            <a:off x="6132637" y="1708830"/>
            <a:ext cx="664405" cy="4204608"/>
          </a:xfrm>
        </p:spPr>
        <p:txBody>
          <a:bodyPr numCol="1" spcCol="360000">
            <a:normAutofit/>
          </a:bodyPr>
          <a:lstStyle>
            <a:lvl1pPr marL="0" indent="0" algn="r">
              <a:spcBef>
                <a:spcPts val="600"/>
              </a:spcBef>
              <a:spcAft>
                <a:spcPts val="600"/>
              </a:spcAft>
              <a:buClr>
                <a:schemeClr val="bg2"/>
              </a:buClr>
              <a:buFont typeface="+mj-lt"/>
              <a:buNone/>
              <a:defRPr sz="2400" b="0">
                <a:solidFill>
                  <a:schemeClr val="tx2">
                    <a:lumMod val="50000"/>
                  </a:schemeClr>
                </a:solidFill>
              </a:defRPr>
            </a:lvl1pPr>
            <a:lvl2pPr>
              <a:spcAft>
                <a:spcPts val="600"/>
              </a:spcAft>
              <a:defRPr sz="2000" b="1">
                <a:solidFill>
                  <a:schemeClr val="tx2">
                    <a:lumMod val="50000"/>
                  </a:schemeClr>
                </a:solidFill>
              </a:defRPr>
            </a:lvl2pPr>
            <a:lvl3pPr>
              <a:defRPr sz="2000" b="1">
                <a:solidFill>
                  <a:schemeClr val="tx2">
                    <a:lumMod val="50000"/>
                  </a:schemeClr>
                </a:solidFill>
              </a:defRPr>
            </a:lvl3pPr>
            <a:lvl4pPr>
              <a:defRPr sz="1800" b="1">
                <a:solidFill>
                  <a:schemeClr val="tx2">
                    <a:lumMod val="50000"/>
                  </a:schemeClr>
                </a:solidFill>
              </a:defRPr>
            </a:lvl4pPr>
            <a:lvl5pPr>
              <a:defRPr sz="1800" b="1">
                <a:solidFill>
                  <a:schemeClr val="tx2">
                    <a:lumMod val="50000"/>
                  </a:schemeClr>
                </a:solidFill>
              </a:defRPr>
            </a:lvl5pPr>
          </a:lstStyle>
          <a:p>
            <a:pPr lvl="0"/>
            <a:r>
              <a:rPr lang="en-GB"/>
              <a:t>X</a:t>
            </a:r>
          </a:p>
          <a:p>
            <a:pPr lvl="0"/>
            <a:endParaRPr lang="en-GB"/>
          </a:p>
        </p:txBody>
      </p:sp>
      <p:sp>
        <p:nvSpPr>
          <p:cNvPr id="12" name="Picture Placeholder 2">
            <a:extLst>
              <a:ext uri="{FF2B5EF4-FFF2-40B4-BE49-F238E27FC236}">
                <a16:creationId xmlns:a16="http://schemas.microsoft.com/office/drawing/2014/main" id="{EA8C7E29-42A4-2542-6547-ACCD8C92B2B5}"/>
              </a:ext>
            </a:extLst>
          </p:cNvPr>
          <p:cNvSpPr>
            <a:spLocks noGrp="1"/>
          </p:cNvSpPr>
          <p:nvPr>
            <p:ph type="pic" sz="quarter" idx="24"/>
          </p:nvPr>
        </p:nvSpPr>
        <p:spPr>
          <a:xfrm>
            <a:off x="7368539" y="366371"/>
            <a:ext cx="4307523" cy="5530549"/>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Tree>
    <p:extLst>
      <p:ext uri="{BB962C8B-B14F-4D97-AF65-F5344CB8AC3E}">
        <p14:creationId xmlns:p14="http://schemas.microsoft.com/office/powerpoint/2010/main" val="2353057408"/>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United Against Rabies Forum Meeting - 6-8 November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182507034"/>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1_Title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United Against Rabies Forum Meeting - 6-8 November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3845825698"/>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United Against Rabies Forum Meeting - 6-8 November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2507311289"/>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2_Text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9"/>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6"/>
            <a:ext cx="11144931"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8" y="6353142"/>
            <a:ext cx="261631" cy="136527"/>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8"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7"/>
          </a:xfrm>
          <a:prstGeom prst="rect">
            <a:avLst/>
          </a:prstGeom>
        </p:spPr>
        <p:txBody>
          <a:bodyPr anchor="b"/>
          <a:lstStyle>
            <a:lvl1pPr>
              <a:defRPr sz="800"/>
            </a:lvl1pPr>
          </a:lstStyle>
          <a:p>
            <a:r>
              <a:rPr lang="en-US"/>
              <a:t>United Against Rabies Forum Meeting - 6-8 November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5" y="6109976"/>
            <a:ext cx="1036776" cy="381653"/>
          </a:xfrm>
          <a:prstGeom prst="rect">
            <a:avLst/>
          </a:prstGeom>
        </p:spPr>
      </p:pic>
    </p:spTree>
    <p:extLst>
      <p:ext uri="{BB962C8B-B14F-4D97-AF65-F5344CB8AC3E}">
        <p14:creationId xmlns:p14="http://schemas.microsoft.com/office/powerpoint/2010/main" val="1091588429"/>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1_2 Column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9"/>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6"/>
            <a:ext cx="11144931" cy="4608511"/>
          </a:xfrm>
        </p:spPr>
        <p:txBody>
          <a:bodyPr numCol="2" spcCol="54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8" y="6353142"/>
            <a:ext cx="261631" cy="136527"/>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8"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7"/>
          </a:xfrm>
          <a:prstGeom prst="rect">
            <a:avLst/>
          </a:prstGeom>
        </p:spPr>
        <p:txBody>
          <a:bodyPr anchor="b"/>
          <a:lstStyle>
            <a:lvl1pPr>
              <a:defRPr sz="800"/>
            </a:lvl1pPr>
          </a:lstStyle>
          <a:p>
            <a:r>
              <a:rPr lang="en-US"/>
              <a:t>United Against Rabies Forum Meeting - 6-8 November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5" y="6109976"/>
            <a:ext cx="1036776" cy="381653"/>
          </a:xfrm>
          <a:prstGeom prst="rect">
            <a:avLst/>
          </a:prstGeom>
        </p:spPr>
      </p:pic>
    </p:spTree>
    <p:extLst>
      <p:ext uri="{BB962C8B-B14F-4D97-AF65-F5344CB8AC3E}">
        <p14:creationId xmlns:p14="http://schemas.microsoft.com/office/powerpoint/2010/main" val="4010884131"/>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2 Column Bulle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9"/>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6"/>
            <a:ext cx="11144931" cy="4608511"/>
          </a:xfrm>
        </p:spPr>
        <p:txBody>
          <a:bodyPr numCol="2" spcCol="360000"/>
          <a:lstStyle>
            <a:lvl1pPr marL="342891" indent="-342891">
              <a:buClr>
                <a:schemeClr val="bg2"/>
              </a:buClr>
              <a:buFont typeface="Arial" panose="020B0604020202020204" pitchFamily="34" charset="0"/>
              <a:buChar char="•"/>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8" y="6353142"/>
            <a:ext cx="261631" cy="136527"/>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8"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7"/>
          </a:xfrm>
          <a:prstGeom prst="rect">
            <a:avLst/>
          </a:prstGeom>
        </p:spPr>
        <p:txBody>
          <a:bodyPr anchor="b"/>
          <a:lstStyle>
            <a:lvl1pPr>
              <a:defRPr sz="800"/>
            </a:lvl1pPr>
          </a:lstStyle>
          <a:p>
            <a:r>
              <a:rPr lang="en-US"/>
              <a:t>United Against Rabies Forum Meeting - 6-8 November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5" y="6109976"/>
            <a:ext cx="1036776" cy="381653"/>
          </a:xfrm>
          <a:prstGeom prst="rect">
            <a:avLst/>
          </a:prstGeom>
        </p:spPr>
      </p:pic>
    </p:spTree>
    <p:extLst>
      <p:ext uri="{BB962C8B-B14F-4D97-AF65-F5344CB8AC3E}">
        <p14:creationId xmlns:p14="http://schemas.microsoft.com/office/powerpoint/2010/main" val="2888357288"/>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2 Column Number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9"/>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6"/>
            <a:ext cx="11144931" cy="4608511"/>
          </a:xfrm>
        </p:spPr>
        <p:txBody>
          <a:bodyPr numCol="2" spcCol="360000"/>
          <a:lstStyle>
            <a:lvl1pPr marL="457189" indent="-457189">
              <a:buClr>
                <a:schemeClr val="bg2"/>
              </a:buClr>
              <a:buFont typeface="+mj-lt"/>
              <a:buAutoNum type="arabicPeriod"/>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8" y="6353142"/>
            <a:ext cx="261631" cy="136527"/>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8"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7"/>
          </a:xfrm>
          <a:prstGeom prst="rect">
            <a:avLst/>
          </a:prstGeom>
        </p:spPr>
        <p:txBody>
          <a:bodyPr anchor="b"/>
          <a:lstStyle>
            <a:lvl1pPr>
              <a:defRPr sz="800"/>
            </a:lvl1pPr>
          </a:lstStyle>
          <a:p>
            <a:r>
              <a:rPr lang="en-US"/>
              <a:t>United Against Rabies Forum Meeting - 6-8 November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5" y="6109976"/>
            <a:ext cx="1036776" cy="381653"/>
          </a:xfrm>
          <a:prstGeom prst="rect">
            <a:avLst/>
          </a:prstGeom>
        </p:spPr>
      </p:pic>
    </p:spTree>
    <p:extLst>
      <p:ext uri="{BB962C8B-B14F-4D97-AF65-F5344CB8AC3E}">
        <p14:creationId xmlns:p14="http://schemas.microsoft.com/office/powerpoint/2010/main" val="309972228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32C5E1-9BCF-45D2-BDF4-29F7A4E61BA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AU"/>
          </a:p>
        </p:txBody>
      </p:sp>
      <p:sp>
        <p:nvSpPr>
          <p:cNvPr id="3" name="Subtitle 2">
            <a:extLst>
              <a:ext uri="{FF2B5EF4-FFF2-40B4-BE49-F238E27FC236}">
                <a16:creationId xmlns:a16="http://schemas.microsoft.com/office/drawing/2014/main" id="{5538BF4A-C942-4F59-8AA6-31DF1433639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AU"/>
          </a:p>
        </p:txBody>
      </p:sp>
      <p:sp>
        <p:nvSpPr>
          <p:cNvPr id="4" name="Date Placeholder 3">
            <a:extLst>
              <a:ext uri="{FF2B5EF4-FFF2-40B4-BE49-F238E27FC236}">
                <a16:creationId xmlns:a16="http://schemas.microsoft.com/office/drawing/2014/main" id="{C88CBA35-1701-4003-93F4-DD3ED89344E0}"/>
              </a:ext>
            </a:extLst>
          </p:cNvPr>
          <p:cNvSpPr>
            <a:spLocks noGrp="1"/>
          </p:cNvSpPr>
          <p:nvPr>
            <p:ph type="dt" sz="half" idx="10"/>
          </p:nvPr>
        </p:nvSpPr>
        <p:spPr/>
        <p:txBody>
          <a:bodyPr/>
          <a:lstStyle/>
          <a:p>
            <a:fld id="{7FA4880D-4638-4C19-85A2-8DCD1BD9E2D7}" type="datetime1">
              <a:rPr lang="en-AU" smtClean="0"/>
              <a:t>9/12/2024</a:t>
            </a:fld>
            <a:endParaRPr lang="en-AU"/>
          </a:p>
        </p:txBody>
      </p:sp>
      <p:sp>
        <p:nvSpPr>
          <p:cNvPr id="5" name="Footer Placeholder 4">
            <a:extLst>
              <a:ext uri="{FF2B5EF4-FFF2-40B4-BE49-F238E27FC236}">
                <a16:creationId xmlns:a16="http://schemas.microsoft.com/office/drawing/2014/main" id="{67DFF717-54CF-4B09-994A-4E30CE0407AB}"/>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97962C0A-63AB-4B89-A156-125F15E5B0C2}"/>
              </a:ext>
            </a:extLst>
          </p:cNvPr>
          <p:cNvSpPr>
            <a:spLocks noGrp="1"/>
          </p:cNvSpPr>
          <p:nvPr>
            <p:ph type="sldNum" sz="quarter" idx="12"/>
          </p:nvPr>
        </p:nvSpPr>
        <p:spPr/>
        <p:txBody>
          <a:bodyPr/>
          <a:lstStyle/>
          <a:p>
            <a:fld id="{8DC7E6E5-62CB-489F-B206-35AD67B1A14F}" type="slidenum">
              <a:rPr lang="en-AU" smtClean="0"/>
              <a:t>‹#›</a:t>
            </a:fld>
            <a:endParaRPr lang="en-AU"/>
          </a:p>
        </p:txBody>
      </p:sp>
    </p:spTree>
    <p:extLst>
      <p:ext uri="{BB962C8B-B14F-4D97-AF65-F5344CB8AC3E}">
        <p14:creationId xmlns:p14="http://schemas.microsoft.com/office/powerpoint/2010/main" val="3689791675"/>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2 Column Bullets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9"/>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708831"/>
            <a:ext cx="11144931" cy="4204608"/>
          </a:xfrm>
        </p:spPr>
        <p:txBody>
          <a:bodyPr numCol="2" spcCol="360000"/>
          <a:lstStyle>
            <a:lvl1pPr marL="342891" indent="-342891">
              <a:buClr>
                <a:schemeClr val="bg2"/>
              </a:buClr>
              <a:buFont typeface="Arial" panose="020B0604020202020204" pitchFamily="34" charset="0"/>
              <a:buChar char="•"/>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9" y="961079"/>
            <a:ext cx="11154344" cy="343847"/>
          </a:xfrm>
        </p:spPr>
        <p:txBody>
          <a:bodyPr/>
          <a:lstStyle>
            <a:lvl1pPr>
              <a:defRPr>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8" y="6353142"/>
            <a:ext cx="261631" cy="136527"/>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8"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7"/>
          </a:xfrm>
          <a:prstGeom prst="rect">
            <a:avLst/>
          </a:prstGeom>
        </p:spPr>
        <p:txBody>
          <a:bodyPr anchor="b"/>
          <a:lstStyle>
            <a:lvl1pPr>
              <a:defRPr sz="800"/>
            </a:lvl1pPr>
          </a:lstStyle>
          <a:p>
            <a:r>
              <a:rPr lang="en-US"/>
              <a:t>United Against Rabies Forum Meeting - 6-8 November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5" y="6109976"/>
            <a:ext cx="1036776" cy="381653"/>
          </a:xfrm>
          <a:prstGeom prst="rect">
            <a:avLst/>
          </a:prstGeom>
        </p:spPr>
      </p:pic>
    </p:spTree>
    <p:extLst>
      <p:ext uri="{BB962C8B-B14F-4D97-AF65-F5344CB8AC3E}">
        <p14:creationId xmlns:p14="http://schemas.microsoft.com/office/powerpoint/2010/main" val="3156445947"/>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2 Column Numbers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9"/>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708831"/>
            <a:ext cx="11144931" cy="4204608"/>
          </a:xfrm>
        </p:spPr>
        <p:txBody>
          <a:bodyPr numCol="2" spcCol="360000"/>
          <a:lstStyle>
            <a:lvl1pPr marL="457189" indent="-457189">
              <a:buClr>
                <a:schemeClr val="bg2"/>
              </a:buClr>
              <a:buFont typeface="+mj-lt"/>
              <a:buAutoNum type="arabicPeriod"/>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9" y="961079"/>
            <a:ext cx="11154344" cy="343847"/>
          </a:xfrm>
        </p:spPr>
        <p:txBody>
          <a:bodyPr/>
          <a:lstStyle>
            <a:lvl1pPr>
              <a:defRPr>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8" y="6353142"/>
            <a:ext cx="261631" cy="136527"/>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8"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7"/>
          </a:xfrm>
          <a:prstGeom prst="rect">
            <a:avLst/>
          </a:prstGeom>
        </p:spPr>
        <p:txBody>
          <a:bodyPr anchor="b"/>
          <a:lstStyle>
            <a:lvl1pPr>
              <a:defRPr sz="800"/>
            </a:lvl1pPr>
          </a:lstStyle>
          <a:p>
            <a:r>
              <a:rPr lang="en-US"/>
              <a:t>United Against Rabies Forum Meeting - 6-8 November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5" y="6109976"/>
            <a:ext cx="1036776" cy="381653"/>
          </a:xfrm>
          <a:prstGeom prst="rect">
            <a:avLst/>
          </a:prstGeom>
        </p:spPr>
      </p:pic>
    </p:spTree>
    <p:extLst>
      <p:ext uri="{BB962C8B-B14F-4D97-AF65-F5344CB8AC3E}">
        <p14:creationId xmlns:p14="http://schemas.microsoft.com/office/powerpoint/2010/main" val="3523916141"/>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ext Sections x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9"/>
          </a:xfrm>
          <a:prstGeom prst="rect">
            <a:avLst/>
          </a:prstGeom>
        </p:spPr>
        <p:txBody>
          <a:bodyPr vert="horz" lIns="0" tIns="0" rIns="0" bIns="0" rtlCol="0" anchor="t">
            <a:normAutofit/>
          </a:bodyPr>
          <a:lstStyle/>
          <a:p>
            <a:r>
              <a:rPr lang="en-GB"/>
              <a:t>Click to edit Master title style</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23535" y="1319653"/>
            <a:ext cx="5358213" cy="343847"/>
          </a:xfrm>
        </p:spPr>
        <p:txBody>
          <a:bodyPr>
            <a:normAutofit/>
          </a:bodyPr>
          <a:lstStyle>
            <a:lvl1pPr>
              <a:defRPr sz="1800" b="1">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8" y="6353142"/>
            <a:ext cx="261631" cy="136527"/>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8"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7"/>
          </a:xfrm>
          <a:prstGeom prst="rect">
            <a:avLst/>
          </a:prstGeom>
        </p:spPr>
        <p:txBody>
          <a:bodyPr anchor="b"/>
          <a:lstStyle>
            <a:lvl1pPr>
              <a:defRPr sz="800"/>
            </a:lvl1pPr>
          </a:lstStyle>
          <a:p>
            <a:r>
              <a:rPr lang="en-US"/>
              <a:t>United Against Rabies Forum Meeting - 6-8 November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5" y="6109976"/>
            <a:ext cx="1036776" cy="381653"/>
          </a:xfrm>
          <a:prstGeom prst="rect">
            <a:avLst/>
          </a:prstGeom>
        </p:spPr>
      </p:pic>
      <p:sp>
        <p:nvSpPr>
          <p:cNvPr id="17" name="Text Placeholder 8">
            <a:extLst>
              <a:ext uri="{FF2B5EF4-FFF2-40B4-BE49-F238E27FC236}">
                <a16:creationId xmlns:a16="http://schemas.microsoft.com/office/drawing/2014/main" id="{E867F760-C803-3AA5-7534-42750FD6DB15}"/>
              </a:ext>
            </a:extLst>
          </p:cNvPr>
          <p:cNvSpPr>
            <a:spLocks noGrp="1"/>
          </p:cNvSpPr>
          <p:nvPr>
            <p:ph type="body" idx="13"/>
          </p:nvPr>
        </p:nvSpPr>
        <p:spPr>
          <a:xfrm>
            <a:off x="531133" y="1708831"/>
            <a:ext cx="5343019" cy="4204608"/>
          </a:xfrm>
        </p:spPr>
        <p:txBody>
          <a:bodyPr numCol="1" spcCol="180000">
            <a:normAutofit/>
          </a:bodyPr>
          <a:lstStyle>
            <a:lvl1pPr marL="342891" indent="-342891">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8" name="Text Placeholder 6">
            <a:extLst>
              <a:ext uri="{FF2B5EF4-FFF2-40B4-BE49-F238E27FC236}">
                <a16:creationId xmlns:a16="http://schemas.microsoft.com/office/drawing/2014/main" id="{87E7DAA2-4D74-8F73-20DD-AB5A220C5D1B}"/>
              </a:ext>
            </a:extLst>
          </p:cNvPr>
          <p:cNvSpPr>
            <a:spLocks noGrp="1"/>
          </p:cNvSpPr>
          <p:nvPr>
            <p:ph type="body" sz="quarter" idx="15"/>
          </p:nvPr>
        </p:nvSpPr>
        <p:spPr>
          <a:xfrm>
            <a:off x="6317852" y="1319653"/>
            <a:ext cx="5358213" cy="343847"/>
          </a:xfrm>
        </p:spPr>
        <p:txBody>
          <a:bodyPr>
            <a:normAutofit/>
          </a:bodyPr>
          <a:lstStyle>
            <a:lvl1pPr>
              <a:defRPr sz="1800" b="1">
                <a:solidFill>
                  <a:schemeClr val="bg2"/>
                </a:solidFill>
              </a:defRPr>
            </a:lvl1pPr>
          </a:lstStyle>
          <a:p>
            <a:pPr lvl="0"/>
            <a:r>
              <a:rPr lang="en-GB"/>
              <a:t>Click to edit Master text styles</a:t>
            </a:r>
          </a:p>
        </p:txBody>
      </p:sp>
      <p:sp>
        <p:nvSpPr>
          <p:cNvPr id="19" name="Text Placeholder 8">
            <a:extLst>
              <a:ext uri="{FF2B5EF4-FFF2-40B4-BE49-F238E27FC236}">
                <a16:creationId xmlns:a16="http://schemas.microsoft.com/office/drawing/2014/main" id="{1E0345EA-841F-0CDC-4D3D-6F8A441AA78F}"/>
              </a:ext>
            </a:extLst>
          </p:cNvPr>
          <p:cNvSpPr>
            <a:spLocks noGrp="1"/>
          </p:cNvSpPr>
          <p:nvPr>
            <p:ph type="body" idx="16"/>
          </p:nvPr>
        </p:nvSpPr>
        <p:spPr>
          <a:xfrm>
            <a:off x="6333045" y="1708831"/>
            <a:ext cx="5343019" cy="4204608"/>
          </a:xfrm>
        </p:spPr>
        <p:txBody>
          <a:bodyPr numCol="1" spcCol="180000">
            <a:normAutofit/>
          </a:bodyPr>
          <a:lstStyle>
            <a:lvl1pPr marL="342891" indent="-342891">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2559244696"/>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ext Section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9"/>
          </a:xfrm>
          <a:prstGeom prst="rect">
            <a:avLst/>
          </a:prstGeom>
        </p:spPr>
        <p:txBody>
          <a:bodyPr vert="horz" lIns="0" tIns="0" rIns="0" bIns="0" rtlCol="0" anchor="t">
            <a:normAutofit/>
          </a:bodyPr>
          <a:lstStyle/>
          <a:p>
            <a:r>
              <a:rPr lang="en-GB"/>
              <a:t>Click to edit Master title style</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9" y="1319653"/>
            <a:ext cx="3495195" cy="343847"/>
          </a:xfrm>
        </p:spPr>
        <p:txBody>
          <a:bodyPr>
            <a:normAutofit/>
          </a:bodyPr>
          <a:lstStyle>
            <a:lvl1pPr>
              <a:defRPr sz="1800" b="1">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8" y="6353142"/>
            <a:ext cx="261631" cy="136527"/>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8"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7"/>
          </a:xfrm>
          <a:prstGeom prst="rect">
            <a:avLst/>
          </a:prstGeom>
        </p:spPr>
        <p:txBody>
          <a:bodyPr anchor="b"/>
          <a:lstStyle>
            <a:lvl1pPr>
              <a:defRPr sz="800"/>
            </a:lvl1pPr>
          </a:lstStyle>
          <a:p>
            <a:r>
              <a:rPr lang="en-US"/>
              <a:t>United Against Rabies Forum Meeting - 6-8 November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5" y="6109976"/>
            <a:ext cx="1036776" cy="381653"/>
          </a:xfrm>
          <a:prstGeom prst="rect">
            <a:avLst/>
          </a:prstGeom>
        </p:spPr>
      </p:pic>
      <p:sp>
        <p:nvSpPr>
          <p:cNvPr id="17" name="Text Placeholder 8">
            <a:extLst>
              <a:ext uri="{FF2B5EF4-FFF2-40B4-BE49-F238E27FC236}">
                <a16:creationId xmlns:a16="http://schemas.microsoft.com/office/drawing/2014/main" id="{E867F760-C803-3AA5-7534-42750FD6DB15}"/>
              </a:ext>
            </a:extLst>
          </p:cNvPr>
          <p:cNvSpPr>
            <a:spLocks noGrp="1"/>
          </p:cNvSpPr>
          <p:nvPr>
            <p:ph type="body" idx="13"/>
          </p:nvPr>
        </p:nvSpPr>
        <p:spPr>
          <a:xfrm>
            <a:off x="531133" y="1708831"/>
            <a:ext cx="3485283" cy="4204608"/>
          </a:xfrm>
        </p:spPr>
        <p:txBody>
          <a:bodyPr numCol="1" spcCol="180000">
            <a:normAutofit/>
          </a:bodyPr>
          <a:lstStyle>
            <a:lvl1pPr marL="342891" indent="-342891">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0" name="Text Placeholder 6">
            <a:extLst>
              <a:ext uri="{FF2B5EF4-FFF2-40B4-BE49-F238E27FC236}">
                <a16:creationId xmlns:a16="http://schemas.microsoft.com/office/drawing/2014/main" id="{3FBFCDEF-6E12-C006-44B4-B2738D079269}"/>
              </a:ext>
            </a:extLst>
          </p:cNvPr>
          <p:cNvSpPr>
            <a:spLocks noGrp="1"/>
          </p:cNvSpPr>
          <p:nvPr>
            <p:ph type="body" sz="quarter" idx="15"/>
          </p:nvPr>
        </p:nvSpPr>
        <p:spPr>
          <a:xfrm>
            <a:off x="4380333" y="1319653"/>
            <a:ext cx="3495195" cy="343847"/>
          </a:xfrm>
        </p:spPr>
        <p:txBody>
          <a:bodyPr>
            <a:normAutofit/>
          </a:bodyPr>
          <a:lstStyle>
            <a:lvl1pPr>
              <a:defRPr sz="1800" b="1">
                <a:solidFill>
                  <a:schemeClr val="bg2"/>
                </a:solidFill>
              </a:defRPr>
            </a:lvl1pPr>
          </a:lstStyle>
          <a:p>
            <a:pPr lvl="0"/>
            <a:r>
              <a:rPr lang="en-GB"/>
              <a:t>Click to edit Master text styles</a:t>
            </a:r>
          </a:p>
        </p:txBody>
      </p:sp>
      <p:sp>
        <p:nvSpPr>
          <p:cNvPr id="21" name="Text Placeholder 8">
            <a:extLst>
              <a:ext uri="{FF2B5EF4-FFF2-40B4-BE49-F238E27FC236}">
                <a16:creationId xmlns:a16="http://schemas.microsoft.com/office/drawing/2014/main" id="{3B5895DB-1292-CE69-F1CC-CA026DACAC13}"/>
              </a:ext>
            </a:extLst>
          </p:cNvPr>
          <p:cNvSpPr>
            <a:spLocks noGrp="1"/>
          </p:cNvSpPr>
          <p:nvPr>
            <p:ph type="body" idx="16"/>
          </p:nvPr>
        </p:nvSpPr>
        <p:spPr>
          <a:xfrm>
            <a:off x="4395528" y="1708831"/>
            <a:ext cx="3485283" cy="4204608"/>
          </a:xfrm>
        </p:spPr>
        <p:txBody>
          <a:bodyPr numCol="1" spcCol="180000">
            <a:normAutofit/>
          </a:bodyPr>
          <a:lstStyle>
            <a:lvl1pPr marL="342891" indent="-342891">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2" name="Text Placeholder 6">
            <a:extLst>
              <a:ext uri="{FF2B5EF4-FFF2-40B4-BE49-F238E27FC236}">
                <a16:creationId xmlns:a16="http://schemas.microsoft.com/office/drawing/2014/main" id="{4394A274-82C6-2D1C-8004-8E7FF7B76E26}"/>
              </a:ext>
            </a:extLst>
          </p:cNvPr>
          <p:cNvSpPr>
            <a:spLocks noGrp="1"/>
          </p:cNvSpPr>
          <p:nvPr>
            <p:ph type="body" sz="quarter" idx="17"/>
          </p:nvPr>
        </p:nvSpPr>
        <p:spPr>
          <a:xfrm>
            <a:off x="8169805" y="1319653"/>
            <a:ext cx="3495195" cy="343847"/>
          </a:xfrm>
        </p:spPr>
        <p:txBody>
          <a:bodyPr>
            <a:normAutofit/>
          </a:bodyPr>
          <a:lstStyle>
            <a:lvl1pPr>
              <a:defRPr sz="1800" b="1">
                <a:solidFill>
                  <a:schemeClr val="bg2"/>
                </a:solidFill>
              </a:defRPr>
            </a:lvl1pPr>
          </a:lstStyle>
          <a:p>
            <a:pPr lvl="0"/>
            <a:r>
              <a:rPr lang="en-GB"/>
              <a:t>Click to edit Master text styles</a:t>
            </a:r>
          </a:p>
        </p:txBody>
      </p:sp>
      <p:sp>
        <p:nvSpPr>
          <p:cNvPr id="23" name="Text Placeholder 8">
            <a:extLst>
              <a:ext uri="{FF2B5EF4-FFF2-40B4-BE49-F238E27FC236}">
                <a16:creationId xmlns:a16="http://schemas.microsoft.com/office/drawing/2014/main" id="{B32BCAEC-CD76-D152-C494-48F60F7BFD47}"/>
              </a:ext>
            </a:extLst>
          </p:cNvPr>
          <p:cNvSpPr>
            <a:spLocks noGrp="1"/>
          </p:cNvSpPr>
          <p:nvPr>
            <p:ph type="body" idx="18"/>
          </p:nvPr>
        </p:nvSpPr>
        <p:spPr>
          <a:xfrm>
            <a:off x="8185000" y="1708831"/>
            <a:ext cx="3485283" cy="4204608"/>
          </a:xfrm>
        </p:spPr>
        <p:txBody>
          <a:bodyPr numCol="1" spcCol="180000">
            <a:normAutofit/>
          </a:bodyPr>
          <a:lstStyle>
            <a:lvl1pPr marL="342891" indent="-342891">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3838936316"/>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Box Text x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9"/>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8" y="6353142"/>
            <a:ext cx="261631" cy="136527"/>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8"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7"/>
          </a:xfrm>
          <a:prstGeom prst="rect">
            <a:avLst/>
          </a:prstGeom>
        </p:spPr>
        <p:txBody>
          <a:bodyPr anchor="b"/>
          <a:lstStyle>
            <a:lvl1pPr>
              <a:defRPr sz="800"/>
            </a:lvl1pPr>
          </a:lstStyle>
          <a:p>
            <a:r>
              <a:rPr lang="en-US"/>
              <a:t>United Against Rabies Forum Meeting - 6-8 November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5" y="6109976"/>
            <a:ext cx="1036776" cy="381653"/>
          </a:xfrm>
          <a:prstGeom prst="rect">
            <a:avLst/>
          </a:prstGeom>
        </p:spPr>
      </p:pic>
      <p:sp>
        <p:nvSpPr>
          <p:cNvPr id="29" name="Rounded Rectangle 28">
            <a:extLst>
              <a:ext uri="{FF2B5EF4-FFF2-40B4-BE49-F238E27FC236}">
                <a16:creationId xmlns:a16="http://schemas.microsoft.com/office/drawing/2014/main" id="{034B91B1-8758-0946-BB4D-13DA0D9CFAE1}"/>
              </a:ext>
            </a:extLst>
          </p:cNvPr>
          <p:cNvSpPr/>
          <p:nvPr userDrawn="1"/>
        </p:nvSpPr>
        <p:spPr>
          <a:xfrm>
            <a:off x="6241146" y="1191567"/>
            <a:ext cx="5434921"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0" name="Rounded Rectangle 29">
            <a:extLst>
              <a:ext uri="{FF2B5EF4-FFF2-40B4-BE49-F238E27FC236}">
                <a16:creationId xmlns:a16="http://schemas.microsoft.com/office/drawing/2014/main" id="{6FD39105-B790-2C4F-B73F-33A5D9995EDE}"/>
              </a:ext>
            </a:extLst>
          </p:cNvPr>
          <p:cNvSpPr/>
          <p:nvPr userDrawn="1"/>
        </p:nvSpPr>
        <p:spPr>
          <a:xfrm>
            <a:off x="515937" y="1191567"/>
            <a:ext cx="5434921"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1" name="Text Placeholder 6">
            <a:extLst>
              <a:ext uri="{FF2B5EF4-FFF2-40B4-BE49-F238E27FC236}">
                <a16:creationId xmlns:a16="http://schemas.microsoft.com/office/drawing/2014/main" id="{39DFE4E8-481D-4E4A-B357-9B609A673B06}"/>
              </a:ext>
            </a:extLst>
          </p:cNvPr>
          <p:cNvSpPr>
            <a:spLocks noGrp="1"/>
          </p:cNvSpPr>
          <p:nvPr>
            <p:ph type="body" sz="quarter" idx="14" hasCustomPrompt="1"/>
          </p:nvPr>
        </p:nvSpPr>
        <p:spPr>
          <a:xfrm>
            <a:off x="715169" y="1378325"/>
            <a:ext cx="5036457" cy="172339"/>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32" name="Text Placeholder 6">
            <a:extLst>
              <a:ext uri="{FF2B5EF4-FFF2-40B4-BE49-F238E27FC236}">
                <a16:creationId xmlns:a16="http://schemas.microsoft.com/office/drawing/2014/main" id="{79EED86D-C792-B740-BC35-66A672B07629}"/>
              </a:ext>
            </a:extLst>
          </p:cNvPr>
          <p:cNvSpPr>
            <a:spLocks noGrp="1"/>
          </p:cNvSpPr>
          <p:nvPr>
            <p:ph type="body" sz="quarter" idx="15"/>
          </p:nvPr>
        </p:nvSpPr>
        <p:spPr>
          <a:xfrm>
            <a:off x="715169" y="2154364"/>
            <a:ext cx="5036457"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CE98006B-2C07-2C4F-A8AC-A5AC433ED89C}"/>
              </a:ext>
            </a:extLst>
          </p:cNvPr>
          <p:cNvSpPr>
            <a:spLocks noGrp="1"/>
          </p:cNvSpPr>
          <p:nvPr>
            <p:ph type="body" sz="quarter" idx="16"/>
          </p:nvPr>
        </p:nvSpPr>
        <p:spPr>
          <a:xfrm>
            <a:off x="715169" y="1597378"/>
            <a:ext cx="5036457" cy="382135"/>
          </a:xfrm>
        </p:spPr>
        <p:txBody>
          <a:bodyPr/>
          <a:lstStyle>
            <a:lvl1pPr>
              <a:defRPr b="1">
                <a:solidFill>
                  <a:schemeClr val="bg2"/>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40C03D58-F9E4-0944-BD0B-946EEFB24768}"/>
              </a:ext>
            </a:extLst>
          </p:cNvPr>
          <p:cNvSpPr>
            <a:spLocks noGrp="1"/>
          </p:cNvSpPr>
          <p:nvPr>
            <p:ph type="body" sz="quarter" idx="17" hasCustomPrompt="1"/>
          </p:nvPr>
        </p:nvSpPr>
        <p:spPr>
          <a:xfrm>
            <a:off x="6440377" y="1378325"/>
            <a:ext cx="5036457" cy="172339"/>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35" name="Text Placeholder 6">
            <a:extLst>
              <a:ext uri="{FF2B5EF4-FFF2-40B4-BE49-F238E27FC236}">
                <a16:creationId xmlns:a16="http://schemas.microsoft.com/office/drawing/2014/main" id="{80BF694F-37D7-D44B-8712-1767A33CD12F}"/>
              </a:ext>
            </a:extLst>
          </p:cNvPr>
          <p:cNvSpPr>
            <a:spLocks noGrp="1"/>
          </p:cNvSpPr>
          <p:nvPr>
            <p:ph type="body" sz="quarter" idx="18"/>
          </p:nvPr>
        </p:nvSpPr>
        <p:spPr>
          <a:xfrm>
            <a:off x="6440377" y="2154364"/>
            <a:ext cx="5036457"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6" name="Text Placeholder 6">
            <a:extLst>
              <a:ext uri="{FF2B5EF4-FFF2-40B4-BE49-F238E27FC236}">
                <a16:creationId xmlns:a16="http://schemas.microsoft.com/office/drawing/2014/main" id="{1C6985EF-42F3-0D40-99CA-20F5F21446FE}"/>
              </a:ext>
            </a:extLst>
          </p:cNvPr>
          <p:cNvSpPr>
            <a:spLocks noGrp="1"/>
          </p:cNvSpPr>
          <p:nvPr>
            <p:ph type="body" sz="quarter" idx="19"/>
          </p:nvPr>
        </p:nvSpPr>
        <p:spPr>
          <a:xfrm>
            <a:off x="6440377" y="1597378"/>
            <a:ext cx="5036457" cy="382135"/>
          </a:xfrm>
        </p:spPr>
        <p:txBody>
          <a:bodyPr/>
          <a:lstStyle>
            <a:lvl1pPr>
              <a:defRPr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332171113"/>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Box Text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9"/>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8" y="6353142"/>
            <a:ext cx="261631" cy="136527"/>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8"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7"/>
          </a:xfrm>
          <a:prstGeom prst="rect">
            <a:avLst/>
          </a:prstGeom>
        </p:spPr>
        <p:txBody>
          <a:bodyPr anchor="b"/>
          <a:lstStyle>
            <a:lvl1pPr>
              <a:defRPr sz="800"/>
            </a:lvl1pPr>
          </a:lstStyle>
          <a:p>
            <a:r>
              <a:rPr lang="en-US"/>
              <a:t>United Against Rabies Forum Meeting - 6-8 November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5" y="6109976"/>
            <a:ext cx="1036776" cy="381653"/>
          </a:xfrm>
          <a:prstGeom prst="rect">
            <a:avLst/>
          </a:prstGeom>
        </p:spPr>
      </p:pic>
      <p:sp>
        <p:nvSpPr>
          <p:cNvPr id="30" name="Rounded Rectangle 29">
            <a:extLst>
              <a:ext uri="{FF2B5EF4-FFF2-40B4-BE49-F238E27FC236}">
                <a16:creationId xmlns:a16="http://schemas.microsoft.com/office/drawing/2014/main" id="{6FD39105-B790-2C4F-B73F-33A5D9995EDE}"/>
              </a:ext>
            </a:extLst>
          </p:cNvPr>
          <p:cNvSpPr/>
          <p:nvPr userDrawn="1"/>
        </p:nvSpPr>
        <p:spPr>
          <a:xfrm>
            <a:off x="515936" y="1191567"/>
            <a:ext cx="3604651"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1" name="Text Placeholder 6">
            <a:extLst>
              <a:ext uri="{FF2B5EF4-FFF2-40B4-BE49-F238E27FC236}">
                <a16:creationId xmlns:a16="http://schemas.microsoft.com/office/drawing/2014/main" id="{39DFE4E8-481D-4E4A-B357-9B609A673B06}"/>
              </a:ext>
            </a:extLst>
          </p:cNvPr>
          <p:cNvSpPr>
            <a:spLocks noGrp="1"/>
          </p:cNvSpPr>
          <p:nvPr>
            <p:ph type="body" sz="quarter" idx="14" hasCustomPrompt="1"/>
          </p:nvPr>
        </p:nvSpPr>
        <p:spPr>
          <a:xfrm>
            <a:off x="715168" y="1378325"/>
            <a:ext cx="3214437" cy="172339"/>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32" name="Text Placeholder 6">
            <a:extLst>
              <a:ext uri="{FF2B5EF4-FFF2-40B4-BE49-F238E27FC236}">
                <a16:creationId xmlns:a16="http://schemas.microsoft.com/office/drawing/2014/main" id="{79EED86D-C792-B740-BC35-66A672B07629}"/>
              </a:ext>
            </a:extLst>
          </p:cNvPr>
          <p:cNvSpPr>
            <a:spLocks noGrp="1"/>
          </p:cNvSpPr>
          <p:nvPr>
            <p:ph type="body" sz="quarter" idx="15"/>
          </p:nvPr>
        </p:nvSpPr>
        <p:spPr>
          <a:xfrm>
            <a:off x="715168" y="2154364"/>
            <a:ext cx="3214437"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CE98006B-2C07-2C4F-A8AC-A5AC433ED89C}"/>
              </a:ext>
            </a:extLst>
          </p:cNvPr>
          <p:cNvSpPr>
            <a:spLocks noGrp="1"/>
          </p:cNvSpPr>
          <p:nvPr>
            <p:ph type="body" sz="quarter" idx="16"/>
          </p:nvPr>
        </p:nvSpPr>
        <p:spPr>
          <a:xfrm>
            <a:off x="715168" y="1597378"/>
            <a:ext cx="3214437" cy="382135"/>
          </a:xfrm>
        </p:spPr>
        <p:txBody>
          <a:bodyPr/>
          <a:lstStyle>
            <a:lvl1pPr>
              <a:defRPr b="1">
                <a:solidFill>
                  <a:schemeClr val="bg2"/>
                </a:solidFill>
              </a:defRPr>
            </a:lvl1pPr>
          </a:lstStyle>
          <a:p>
            <a:pPr lvl="0"/>
            <a:r>
              <a:rPr lang="en-GB"/>
              <a:t>Click to edit Master text styles</a:t>
            </a:r>
          </a:p>
        </p:txBody>
      </p:sp>
      <p:sp>
        <p:nvSpPr>
          <p:cNvPr id="26" name="Rounded Rectangle 25">
            <a:extLst>
              <a:ext uri="{FF2B5EF4-FFF2-40B4-BE49-F238E27FC236}">
                <a16:creationId xmlns:a16="http://schemas.microsoft.com/office/drawing/2014/main" id="{A64DF4DD-379B-FE5B-85E1-F80F85D07E89}"/>
              </a:ext>
            </a:extLst>
          </p:cNvPr>
          <p:cNvSpPr/>
          <p:nvPr userDrawn="1"/>
        </p:nvSpPr>
        <p:spPr>
          <a:xfrm>
            <a:off x="4290784" y="1191567"/>
            <a:ext cx="3604651"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7" name="Text Placeholder 6">
            <a:extLst>
              <a:ext uri="{FF2B5EF4-FFF2-40B4-BE49-F238E27FC236}">
                <a16:creationId xmlns:a16="http://schemas.microsoft.com/office/drawing/2014/main" id="{602ADDF3-C22C-9F63-2736-9FAAEA9A1E97}"/>
              </a:ext>
            </a:extLst>
          </p:cNvPr>
          <p:cNvSpPr>
            <a:spLocks noGrp="1"/>
          </p:cNvSpPr>
          <p:nvPr>
            <p:ph type="body" sz="quarter" idx="17" hasCustomPrompt="1"/>
          </p:nvPr>
        </p:nvSpPr>
        <p:spPr>
          <a:xfrm>
            <a:off x="4490017" y="1378325"/>
            <a:ext cx="3201361" cy="172339"/>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28" name="Text Placeholder 6">
            <a:extLst>
              <a:ext uri="{FF2B5EF4-FFF2-40B4-BE49-F238E27FC236}">
                <a16:creationId xmlns:a16="http://schemas.microsoft.com/office/drawing/2014/main" id="{EC84208B-5390-D845-9BFC-BBE060B525EC}"/>
              </a:ext>
            </a:extLst>
          </p:cNvPr>
          <p:cNvSpPr>
            <a:spLocks noGrp="1"/>
          </p:cNvSpPr>
          <p:nvPr>
            <p:ph type="body" sz="quarter" idx="18"/>
          </p:nvPr>
        </p:nvSpPr>
        <p:spPr>
          <a:xfrm>
            <a:off x="4490017" y="2154364"/>
            <a:ext cx="3201361"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7" name="Text Placeholder 6">
            <a:extLst>
              <a:ext uri="{FF2B5EF4-FFF2-40B4-BE49-F238E27FC236}">
                <a16:creationId xmlns:a16="http://schemas.microsoft.com/office/drawing/2014/main" id="{62DC5739-6579-EFF5-5EE5-B79F9F4E344F}"/>
              </a:ext>
            </a:extLst>
          </p:cNvPr>
          <p:cNvSpPr>
            <a:spLocks noGrp="1"/>
          </p:cNvSpPr>
          <p:nvPr>
            <p:ph type="body" sz="quarter" idx="19"/>
          </p:nvPr>
        </p:nvSpPr>
        <p:spPr>
          <a:xfrm>
            <a:off x="4490017" y="1597378"/>
            <a:ext cx="3201361" cy="382135"/>
          </a:xfrm>
        </p:spPr>
        <p:txBody>
          <a:bodyPr/>
          <a:lstStyle>
            <a:lvl1pPr>
              <a:defRPr b="1">
                <a:solidFill>
                  <a:schemeClr val="bg2"/>
                </a:solidFill>
              </a:defRPr>
            </a:lvl1pPr>
          </a:lstStyle>
          <a:p>
            <a:pPr lvl="0"/>
            <a:r>
              <a:rPr lang="en-GB"/>
              <a:t>Click to edit Master text styles</a:t>
            </a:r>
          </a:p>
        </p:txBody>
      </p:sp>
      <p:sp>
        <p:nvSpPr>
          <p:cNvPr id="38" name="Rounded Rectangle 37">
            <a:extLst>
              <a:ext uri="{FF2B5EF4-FFF2-40B4-BE49-F238E27FC236}">
                <a16:creationId xmlns:a16="http://schemas.microsoft.com/office/drawing/2014/main" id="{A0FC7906-8744-F3F8-AA4F-08ADB6E6D43E}"/>
              </a:ext>
            </a:extLst>
          </p:cNvPr>
          <p:cNvSpPr/>
          <p:nvPr userDrawn="1"/>
        </p:nvSpPr>
        <p:spPr>
          <a:xfrm>
            <a:off x="8065632" y="1191567"/>
            <a:ext cx="3604651"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39" name="Text Placeholder 6">
            <a:extLst>
              <a:ext uri="{FF2B5EF4-FFF2-40B4-BE49-F238E27FC236}">
                <a16:creationId xmlns:a16="http://schemas.microsoft.com/office/drawing/2014/main" id="{F3AC3934-9579-D587-96AD-27B72F22B277}"/>
              </a:ext>
            </a:extLst>
          </p:cNvPr>
          <p:cNvSpPr>
            <a:spLocks noGrp="1"/>
          </p:cNvSpPr>
          <p:nvPr>
            <p:ph type="body" sz="quarter" idx="20" hasCustomPrompt="1"/>
          </p:nvPr>
        </p:nvSpPr>
        <p:spPr>
          <a:xfrm>
            <a:off x="8264863" y="1378325"/>
            <a:ext cx="3211971" cy="172339"/>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40" name="Text Placeholder 6">
            <a:extLst>
              <a:ext uri="{FF2B5EF4-FFF2-40B4-BE49-F238E27FC236}">
                <a16:creationId xmlns:a16="http://schemas.microsoft.com/office/drawing/2014/main" id="{37A42317-1A24-1AA6-D076-0E969CCF8BE8}"/>
              </a:ext>
            </a:extLst>
          </p:cNvPr>
          <p:cNvSpPr>
            <a:spLocks noGrp="1"/>
          </p:cNvSpPr>
          <p:nvPr>
            <p:ph type="body" sz="quarter" idx="21"/>
          </p:nvPr>
        </p:nvSpPr>
        <p:spPr>
          <a:xfrm>
            <a:off x="8264863" y="2154364"/>
            <a:ext cx="3211971"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41" name="Text Placeholder 6">
            <a:extLst>
              <a:ext uri="{FF2B5EF4-FFF2-40B4-BE49-F238E27FC236}">
                <a16:creationId xmlns:a16="http://schemas.microsoft.com/office/drawing/2014/main" id="{ADCC5B80-D27A-2762-3E95-436EEE5A0DE7}"/>
              </a:ext>
            </a:extLst>
          </p:cNvPr>
          <p:cNvSpPr>
            <a:spLocks noGrp="1"/>
          </p:cNvSpPr>
          <p:nvPr>
            <p:ph type="body" sz="quarter" idx="22"/>
          </p:nvPr>
        </p:nvSpPr>
        <p:spPr>
          <a:xfrm>
            <a:off x="8264863" y="1597378"/>
            <a:ext cx="3211971" cy="382135"/>
          </a:xfrm>
        </p:spPr>
        <p:txBody>
          <a:bodyPr/>
          <a:lstStyle>
            <a:lvl1pPr>
              <a:defRPr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1061946552"/>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ext Slide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9"/>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708831"/>
            <a:ext cx="11144931" cy="4204608"/>
          </a:xfrm>
        </p:spPr>
        <p:txBody>
          <a:bodyPr numCol="2" spcCol="54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9" y="961079"/>
            <a:ext cx="11154344" cy="343847"/>
          </a:xfrm>
        </p:spPr>
        <p:txBody>
          <a:bodyPr/>
          <a:lstStyle>
            <a:lvl1pPr>
              <a:defRPr>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8" y="6353142"/>
            <a:ext cx="261631" cy="136527"/>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8"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7"/>
          </a:xfrm>
          <a:prstGeom prst="rect">
            <a:avLst/>
          </a:prstGeom>
        </p:spPr>
        <p:txBody>
          <a:bodyPr anchor="b"/>
          <a:lstStyle>
            <a:lvl1pPr>
              <a:defRPr sz="800"/>
            </a:lvl1pPr>
          </a:lstStyle>
          <a:p>
            <a:r>
              <a:rPr lang="en-US"/>
              <a:t>United Against Rabies Forum Meeting - 6-8 November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5" y="6109976"/>
            <a:ext cx="1036776" cy="381653"/>
          </a:xfrm>
          <a:prstGeom prst="rect">
            <a:avLst/>
          </a:prstGeom>
        </p:spPr>
      </p:pic>
    </p:spTree>
    <p:extLst>
      <p:ext uri="{BB962C8B-B14F-4D97-AF65-F5344CB8AC3E}">
        <p14:creationId xmlns:p14="http://schemas.microsoft.com/office/powerpoint/2010/main" val="3824108780"/>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Icons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9"/>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8" y="6353142"/>
            <a:ext cx="261631" cy="136527"/>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8"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7"/>
          </a:xfrm>
          <a:prstGeom prst="rect">
            <a:avLst/>
          </a:prstGeom>
        </p:spPr>
        <p:txBody>
          <a:bodyPr anchor="b"/>
          <a:lstStyle>
            <a:lvl1pPr>
              <a:defRPr sz="800"/>
            </a:lvl1pPr>
          </a:lstStyle>
          <a:p>
            <a:r>
              <a:rPr lang="en-US"/>
              <a:t>United Against Rabies Forum Meeting - 6-8 November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5" y="6109976"/>
            <a:ext cx="1036776" cy="381653"/>
          </a:xfrm>
          <a:prstGeom prst="rect">
            <a:avLst/>
          </a:prstGeom>
        </p:spPr>
      </p:pic>
      <p:sp>
        <p:nvSpPr>
          <p:cNvPr id="17" name="Picture Placeholder 3">
            <a:extLst>
              <a:ext uri="{FF2B5EF4-FFF2-40B4-BE49-F238E27FC236}">
                <a16:creationId xmlns:a16="http://schemas.microsoft.com/office/drawing/2014/main" id="{78B95D78-F57A-6D40-A841-7D1E3B08277B}"/>
              </a:ext>
            </a:extLst>
          </p:cNvPr>
          <p:cNvSpPr>
            <a:spLocks noGrp="1"/>
          </p:cNvSpPr>
          <p:nvPr>
            <p:ph type="pic" sz="quarter" idx="13"/>
          </p:nvPr>
        </p:nvSpPr>
        <p:spPr>
          <a:xfrm>
            <a:off x="515938" y="1518458"/>
            <a:ext cx="924455" cy="924455"/>
          </a:xfrm>
        </p:spPr>
        <p:txBody>
          <a:bodyPr anchor="ctr">
            <a:noAutofit/>
          </a:bodyPr>
          <a:lstStyle>
            <a:lvl1pPr algn="ctr">
              <a:defRPr sz="1051">
                <a:solidFill>
                  <a:schemeClr val="bg1">
                    <a:lumMod val="65000"/>
                  </a:schemeClr>
                </a:solidFill>
              </a:defRPr>
            </a:lvl1pPr>
          </a:lstStyle>
          <a:p>
            <a:r>
              <a:rPr lang="en-GB"/>
              <a:t>Click icon to add picture</a:t>
            </a:r>
          </a:p>
        </p:txBody>
      </p:sp>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7" y="3170771"/>
            <a:ext cx="2545467" cy="2888575"/>
          </a:xfrm>
        </p:spPr>
        <p:txBody>
          <a:bodyPr>
            <a:normAutofit/>
          </a:bodyPr>
          <a:lstStyle>
            <a:lvl1pPr marL="177796" indent="-177796">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7" y="2559970"/>
            <a:ext cx="2545467" cy="443199"/>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47" name="Picture Placeholder 3">
            <a:extLst>
              <a:ext uri="{FF2B5EF4-FFF2-40B4-BE49-F238E27FC236}">
                <a16:creationId xmlns:a16="http://schemas.microsoft.com/office/drawing/2014/main" id="{F48D299A-6257-AC74-0FD7-6D22E29A5C4F}"/>
              </a:ext>
            </a:extLst>
          </p:cNvPr>
          <p:cNvSpPr>
            <a:spLocks noGrp="1"/>
          </p:cNvSpPr>
          <p:nvPr>
            <p:ph type="pic" sz="quarter" idx="17"/>
          </p:nvPr>
        </p:nvSpPr>
        <p:spPr>
          <a:xfrm>
            <a:off x="3387491" y="1518458"/>
            <a:ext cx="924455" cy="924455"/>
          </a:xfrm>
        </p:spPr>
        <p:txBody>
          <a:bodyPr anchor="ctr">
            <a:noAutofit/>
          </a:bodyPr>
          <a:lstStyle>
            <a:lvl1pPr algn="ctr">
              <a:defRPr sz="1051">
                <a:solidFill>
                  <a:schemeClr val="bg1">
                    <a:lumMod val="65000"/>
                  </a:schemeClr>
                </a:solidFill>
              </a:defRPr>
            </a:lvl1pPr>
          </a:lstStyle>
          <a:p>
            <a:r>
              <a:rPr lang="en-GB"/>
              <a:t>Click icon to add picture</a:t>
            </a:r>
          </a:p>
        </p:txBody>
      </p:sp>
      <p:sp>
        <p:nvSpPr>
          <p:cNvPr id="48" name="Text Placeholder 6">
            <a:extLst>
              <a:ext uri="{FF2B5EF4-FFF2-40B4-BE49-F238E27FC236}">
                <a16:creationId xmlns:a16="http://schemas.microsoft.com/office/drawing/2014/main" id="{9E3D1709-B9E8-6689-9456-9D1A08D7BAA7}"/>
              </a:ext>
            </a:extLst>
          </p:cNvPr>
          <p:cNvSpPr>
            <a:spLocks noGrp="1"/>
          </p:cNvSpPr>
          <p:nvPr>
            <p:ph type="body" sz="quarter" idx="18"/>
          </p:nvPr>
        </p:nvSpPr>
        <p:spPr>
          <a:xfrm>
            <a:off x="3387491" y="3170771"/>
            <a:ext cx="2545467" cy="2888575"/>
          </a:xfrm>
        </p:spPr>
        <p:txBody>
          <a:bodyPr>
            <a:normAutofit/>
          </a:bodyPr>
          <a:lstStyle>
            <a:lvl1pPr marL="177796" indent="-177796">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49" name="Text Placeholder 6">
            <a:extLst>
              <a:ext uri="{FF2B5EF4-FFF2-40B4-BE49-F238E27FC236}">
                <a16:creationId xmlns:a16="http://schemas.microsoft.com/office/drawing/2014/main" id="{C714C56E-261C-2C43-2BCC-4B86E64EE017}"/>
              </a:ext>
            </a:extLst>
          </p:cNvPr>
          <p:cNvSpPr>
            <a:spLocks noGrp="1"/>
          </p:cNvSpPr>
          <p:nvPr>
            <p:ph type="body" sz="quarter" idx="19"/>
          </p:nvPr>
        </p:nvSpPr>
        <p:spPr>
          <a:xfrm>
            <a:off x="3387491" y="2559970"/>
            <a:ext cx="2545467" cy="443199"/>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0" name="Picture Placeholder 3">
            <a:extLst>
              <a:ext uri="{FF2B5EF4-FFF2-40B4-BE49-F238E27FC236}">
                <a16:creationId xmlns:a16="http://schemas.microsoft.com/office/drawing/2014/main" id="{7BD682FD-9976-0C80-A887-A4D6D2E292BF}"/>
              </a:ext>
            </a:extLst>
          </p:cNvPr>
          <p:cNvSpPr>
            <a:spLocks noGrp="1"/>
          </p:cNvSpPr>
          <p:nvPr>
            <p:ph type="pic" sz="quarter" idx="20"/>
          </p:nvPr>
        </p:nvSpPr>
        <p:spPr>
          <a:xfrm>
            <a:off x="6259045" y="1518458"/>
            <a:ext cx="924455" cy="924455"/>
          </a:xfrm>
        </p:spPr>
        <p:txBody>
          <a:bodyPr anchor="ctr">
            <a:noAutofit/>
          </a:bodyPr>
          <a:lstStyle>
            <a:lvl1pPr algn="ctr">
              <a:defRPr sz="1051">
                <a:solidFill>
                  <a:schemeClr val="bg1">
                    <a:lumMod val="65000"/>
                  </a:schemeClr>
                </a:solidFill>
              </a:defRPr>
            </a:lvl1pPr>
          </a:lstStyle>
          <a:p>
            <a:r>
              <a:rPr lang="en-GB"/>
              <a:t>Click icon to add picture</a:t>
            </a:r>
          </a:p>
        </p:txBody>
      </p:sp>
      <p:sp>
        <p:nvSpPr>
          <p:cNvPr id="51" name="Text Placeholder 6">
            <a:extLst>
              <a:ext uri="{FF2B5EF4-FFF2-40B4-BE49-F238E27FC236}">
                <a16:creationId xmlns:a16="http://schemas.microsoft.com/office/drawing/2014/main" id="{A9A5BE6C-6EDB-FAB6-4644-C243D0C50113}"/>
              </a:ext>
            </a:extLst>
          </p:cNvPr>
          <p:cNvSpPr>
            <a:spLocks noGrp="1"/>
          </p:cNvSpPr>
          <p:nvPr>
            <p:ph type="body" sz="quarter" idx="21"/>
          </p:nvPr>
        </p:nvSpPr>
        <p:spPr>
          <a:xfrm>
            <a:off x="6259044" y="3170771"/>
            <a:ext cx="2545467" cy="2888575"/>
          </a:xfrm>
        </p:spPr>
        <p:txBody>
          <a:bodyPr>
            <a:normAutofit/>
          </a:bodyPr>
          <a:lstStyle>
            <a:lvl1pPr marL="177796" indent="-177796">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2" name="Text Placeholder 6">
            <a:extLst>
              <a:ext uri="{FF2B5EF4-FFF2-40B4-BE49-F238E27FC236}">
                <a16:creationId xmlns:a16="http://schemas.microsoft.com/office/drawing/2014/main" id="{CB0F2787-5A74-A6DE-F13C-3D79E01FA602}"/>
              </a:ext>
            </a:extLst>
          </p:cNvPr>
          <p:cNvSpPr>
            <a:spLocks noGrp="1"/>
          </p:cNvSpPr>
          <p:nvPr>
            <p:ph type="body" sz="quarter" idx="22"/>
          </p:nvPr>
        </p:nvSpPr>
        <p:spPr>
          <a:xfrm>
            <a:off x="6259044" y="2559970"/>
            <a:ext cx="2545467" cy="443199"/>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3" name="Picture Placeholder 3">
            <a:extLst>
              <a:ext uri="{FF2B5EF4-FFF2-40B4-BE49-F238E27FC236}">
                <a16:creationId xmlns:a16="http://schemas.microsoft.com/office/drawing/2014/main" id="{201E793D-C775-4026-041E-34664EC7CB24}"/>
              </a:ext>
            </a:extLst>
          </p:cNvPr>
          <p:cNvSpPr>
            <a:spLocks noGrp="1"/>
          </p:cNvSpPr>
          <p:nvPr>
            <p:ph type="pic" sz="quarter" idx="23"/>
          </p:nvPr>
        </p:nvSpPr>
        <p:spPr>
          <a:xfrm>
            <a:off x="9130598" y="1518458"/>
            <a:ext cx="924455" cy="924455"/>
          </a:xfrm>
        </p:spPr>
        <p:txBody>
          <a:bodyPr anchor="ctr">
            <a:noAutofit/>
          </a:bodyPr>
          <a:lstStyle>
            <a:lvl1pPr algn="ctr">
              <a:defRPr sz="1051">
                <a:solidFill>
                  <a:schemeClr val="bg1">
                    <a:lumMod val="65000"/>
                  </a:schemeClr>
                </a:solidFill>
              </a:defRPr>
            </a:lvl1pPr>
          </a:lstStyle>
          <a:p>
            <a:r>
              <a:rPr lang="en-GB"/>
              <a:t>Click icon to add picture</a:t>
            </a:r>
          </a:p>
        </p:txBody>
      </p:sp>
      <p:sp>
        <p:nvSpPr>
          <p:cNvPr id="54" name="Text Placeholder 6">
            <a:extLst>
              <a:ext uri="{FF2B5EF4-FFF2-40B4-BE49-F238E27FC236}">
                <a16:creationId xmlns:a16="http://schemas.microsoft.com/office/drawing/2014/main" id="{804BD5F4-CAC4-3B9A-26F3-C0C1833171E1}"/>
              </a:ext>
            </a:extLst>
          </p:cNvPr>
          <p:cNvSpPr>
            <a:spLocks noGrp="1"/>
          </p:cNvSpPr>
          <p:nvPr>
            <p:ph type="body" sz="quarter" idx="24"/>
          </p:nvPr>
        </p:nvSpPr>
        <p:spPr>
          <a:xfrm>
            <a:off x="9130597" y="3170771"/>
            <a:ext cx="2545467" cy="2888575"/>
          </a:xfrm>
        </p:spPr>
        <p:txBody>
          <a:bodyPr>
            <a:normAutofit/>
          </a:bodyPr>
          <a:lstStyle>
            <a:lvl1pPr marL="177796" indent="-177796">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5" name="Text Placeholder 6">
            <a:extLst>
              <a:ext uri="{FF2B5EF4-FFF2-40B4-BE49-F238E27FC236}">
                <a16:creationId xmlns:a16="http://schemas.microsoft.com/office/drawing/2014/main" id="{B233CA27-29C3-9FC3-D859-9E09C4A5F850}"/>
              </a:ext>
            </a:extLst>
          </p:cNvPr>
          <p:cNvSpPr>
            <a:spLocks noGrp="1"/>
          </p:cNvSpPr>
          <p:nvPr>
            <p:ph type="body" sz="quarter" idx="25"/>
          </p:nvPr>
        </p:nvSpPr>
        <p:spPr>
          <a:xfrm>
            <a:off x="9130597" y="2559970"/>
            <a:ext cx="2545467" cy="443199"/>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1646575384"/>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Icon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9"/>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8" y="6353142"/>
            <a:ext cx="261631" cy="136527"/>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8"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7"/>
          </a:xfrm>
          <a:prstGeom prst="rect">
            <a:avLst/>
          </a:prstGeom>
        </p:spPr>
        <p:txBody>
          <a:bodyPr anchor="b"/>
          <a:lstStyle>
            <a:lvl1pPr>
              <a:defRPr sz="800"/>
            </a:lvl1pPr>
          </a:lstStyle>
          <a:p>
            <a:r>
              <a:rPr lang="en-US"/>
              <a:t>United Against Rabies Forum Meeting - 6-8 November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5" y="6109976"/>
            <a:ext cx="1036776" cy="381653"/>
          </a:xfrm>
          <a:prstGeom prst="rect">
            <a:avLst/>
          </a:prstGeom>
        </p:spPr>
      </p:pic>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9" y="3319671"/>
            <a:ext cx="3287436" cy="2593767"/>
          </a:xfrm>
        </p:spPr>
        <p:txBody>
          <a:bodyPr>
            <a:normAutofit/>
          </a:bodyPr>
          <a:lstStyle>
            <a:lvl1pPr marL="177796" indent="-177796">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2874302"/>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A5AC520F-8595-0F44-99A9-F0873ACA435F}"/>
              </a:ext>
            </a:extLst>
          </p:cNvPr>
          <p:cNvSpPr>
            <a:spLocks noGrp="1"/>
          </p:cNvSpPr>
          <p:nvPr>
            <p:ph type="body" sz="quarter" idx="18"/>
          </p:nvPr>
        </p:nvSpPr>
        <p:spPr>
          <a:xfrm>
            <a:off x="4452283" y="3319671"/>
            <a:ext cx="3287436" cy="2593767"/>
          </a:xfrm>
        </p:spPr>
        <p:txBody>
          <a:bodyPr>
            <a:normAutofit/>
          </a:bodyPr>
          <a:lstStyle>
            <a:lvl1pPr marL="177796" indent="-177796">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4452283" y="2874302"/>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AD30B9DC-1666-7446-9DFD-F674A273B468}"/>
              </a:ext>
            </a:extLst>
          </p:cNvPr>
          <p:cNvSpPr>
            <a:spLocks noGrp="1"/>
          </p:cNvSpPr>
          <p:nvPr>
            <p:ph type="body" sz="quarter" idx="21"/>
          </p:nvPr>
        </p:nvSpPr>
        <p:spPr>
          <a:xfrm>
            <a:off x="8382847" y="3326199"/>
            <a:ext cx="3287436" cy="2593767"/>
          </a:xfrm>
        </p:spPr>
        <p:txBody>
          <a:bodyPr>
            <a:normAutofit/>
          </a:bodyPr>
          <a:lstStyle>
            <a:lvl1pPr marL="177796" indent="-177796">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C7816D18-C579-DE44-B3B4-5D38198139F6}"/>
              </a:ext>
            </a:extLst>
          </p:cNvPr>
          <p:cNvSpPr>
            <a:spLocks noGrp="1"/>
          </p:cNvSpPr>
          <p:nvPr>
            <p:ph type="body" sz="quarter" idx="22"/>
          </p:nvPr>
        </p:nvSpPr>
        <p:spPr>
          <a:xfrm>
            <a:off x="8382847" y="2880830"/>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20" name="Picture Placeholder 3">
            <a:extLst>
              <a:ext uri="{FF2B5EF4-FFF2-40B4-BE49-F238E27FC236}">
                <a16:creationId xmlns:a16="http://schemas.microsoft.com/office/drawing/2014/main" id="{319B0B18-4860-DA36-3440-4533856C9139}"/>
              </a:ext>
            </a:extLst>
          </p:cNvPr>
          <p:cNvSpPr>
            <a:spLocks noGrp="1"/>
          </p:cNvSpPr>
          <p:nvPr>
            <p:ph type="pic" sz="quarter" idx="13"/>
          </p:nvPr>
        </p:nvSpPr>
        <p:spPr>
          <a:xfrm>
            <a:off x="515938" y="1624206"/>
            <a:ext cx="924455" cy="924455"/>
          </a:xfrm>
        </p:spPr>
        <p:txBody>
          <a:bodyPr anchor="ctr">
            <a:noAutofit/>
          </a:bodyPr>
          <a:lstStyle>
            <a:lvl1pPr algn="ctr">
              <a:defRPr sz="1051">
                <a:solidFill>
                  <a:schemeClr val="bg1">
                    <a:lumMod val="65000"/>
                  </a:schemeClr>
                </a:solidFill>
              </a:defRPr>
            </a:lvl1pPr>
          </a:lstStyle>
          <a:p>
            <a:r>
              <a:rPr lang="en-GB"/>
              <a:t>Click icon to add picture</a:t>
            </a:r>
          </a:p>
        </p:txBody>
      </p:sp>
      <p:sp>
        <p:nvSpPr>
          <p:cNvPr id="21" name="Picture Placeholder 3">
            <a:extLst>
              <a:ext uri="{FF2B5EF4-FFF2-40B4-BE49-F238E27FC236}">
                <a16:creationId xmlns:a16="http://schemas.microsoft.com/office/drawing/2014/main" id="{BF99AA58-9FC0-03DF-8208-27BED5F44ED6}"/>
              </a:ext>
            </a:extLst>
          </p:cNvPr>
          <p:cNvSpPr>
            <a:spLocks noGrp="1"/>
          </p:cNvSpPr>
          <p:nvPr>
            <p:ph type="pic" sz="quarter" idx="23"/>
          </p:nvPr>
        </p:nvSpPr>
        <p:spPr>
          <a:xfrm>
            <a:off x="4458071" y="1624206"/>
            <a:ext cx="924455" cy="924455"/>
          </a:xfrm>
        </p:spPr>
        <p:txBody>
          <a:bodyPr anchor="ctr">
            <a:noAutofit/>
          </a:bodyPr>
          <a:lstStyle>
            <a:lvl1pPr algn="ctr">
              <a:defRPr sz="1051">
                <a:solidFill>
                  <a:schemeClr val="bg1">
                    <a:lumMod val="65000"/>
                  </a:schemeClr>
                </a:solidFill>
              </a:defRPr>
            </a:lvl1pPr>
          </a:lstStyle>
          <a:p>
            <a:r>
              <a:rPr lang="en-GB"/>
              <a:t>Click icon to add picture</a:t>
            </a:r>
          </a:p>
        </p:txBody>
      </p:sp>
      <p:sp>
        <p:nvSpPr>
          <p:cNvPr id="22" name="Picture Placeholder 3">
            <a:extLst>
              <a:ext uri="{FF2B5EF4-FFF2-40B4-BE49-F238E27FC236}">
                <a16:creationId xmlns:a16="http://schemas.microsoft.com/office/drawing/2014/main" id="{AD148B2F-B493-BFBF-8393-261886DA3EE6}"/>
              </a:ext>
            </a:extLst>
          </p:cNvPr>
          <p:cNvSpPr>
            <a:spLocks noGrp="1"/>
          </p:cNvSpPr>
          <p:nvPr>
            <p:ph type="pic" sz="quarter" idx="24"/>
          </p:nvPr>
        </p:nvSpPr>
        <p:spPr>
          <a:xfrm>
            <a:off x="8382846" y="1624206"/>
            <a:ext cx="924455" cy="924455"/>
          </a:xfrm>
        </p:spPr>
        <p:txBody>
          <a:bodyPr anchor="ctr">
            <a:noAutofit/>
          </a:bodyPr>
          <a:lstStyle>
            <a:lvl1pPr algn="ctr">
              <a:defRPr sz="1051">
                <a:solidFill>
                  <a:schemeClr val="bg1">
                    <a:lumMod val="65000"/>
                  </a:schemeClr>
                </a:solidFill>
              </a:defRPr>
            </a:lvl1pPr>
          </a:lstStyle>
          <a:p>
            <a:r>
              <a:rPr lang="en-GB"/>
              <a:t>Click icon to add picture</a:t>
            </a:r>
          </a:p>
        </p:txBody>
      </p:sp>
    </p:spTree>
    <p:extLst>
      <p:ext uri="{BB962C8B-B14F-4D97-AF65-F5344CB8AC3E}">
        <p14:creationId xmlns:p14="http://schemas.microsoft.com/office/powerpoint/2010/main" val="1088922321"/>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2_Icons x5">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9"/>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8" y="6353142"/>
            <a:ext cx="261631" cy="136527"/>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8"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7"/>
          </a:xfrm>
          <a:prstGeom prst="rect">
            <a:avLst/>
          </a:prstGeom>
        </p:spPr>
        <p:txBody>
          <a:bodyPr anchor="b"/>
          <a:lstStyle>
            <a:lvl1pPr>
              <a:defRPr sz="800"/>
            </a:lvl1pPr>
          </a:lstStyle>
          <a:p>
            <a:r>
              <a:rPr lang="en-US"/>
              <a:t>United Against Rabies Forum Meeting - 6-8 November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5" y="6109976"/>
            <a:ext cx="1036776" cy="381653"/>
          </a:xfrm>
          <a:prstGeom prst="rect">
            <a:avLst/>
          </a:prstGeom>
        </p:spPr>
      </p:pic>
      <p:sp>
        <p:nvSpPr>
          <p:cNvPr id="17" name="Picture Placeholder 3">
            <a:extLst>
              <a:ext uri="{FF2B5EF4-FFF2-40B4-BE49-F238E27FC236}">
                <a16:creationId xmlns:a16="http://schemas.microsoft.com/office/drawing/2014/main" id="{78B95D78-F57A-6D40-A841-7D1E3B08277B}"/>
              </a:ext>
            </a:extLst>
          </p:cNvPr>
          <p:cNvSpPr>
            <a:spLocks noGrp="1"/>
          </p:cNvSpPr>
          <p:nvPr>
            <p:ph type="pic" sz="quarter" idx="13"/>
          </p:nvPr>
        </p:nvSpPr>
        <p:spPr>
          <a:xfrm>
            <a:off x="515938" y="1518458"/>
            <a:ext cx="924455" cy="924455"/>
          </a:xfrm>
        </p:spPr>
        <p:txBody>
          <a:bodyPr anchor="ctr">
            <a:noAutofit/>
          </a:bodyPr>
          <a:lstStyle>
            <a:lvl1pPr algn="ctr">
              <a:defRPr sz="1051">
                <a:solidFill>
                  <a:schemeClr val="bg1">
                    <a:lumMod val="65000"/>
                  </a:schemeClr>
                </a:solidFill>
              </a:defRPr>
            </a:lvl1pPr>
          </a:lstStyle>
          <a:p>
            <a:r>
              <a:rPr lang="en-GB"/>
              <a:t>Click icon to add picture</a:t>
            </a:r>
          </a:p>
        </p:txBody>
      </p:sp>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9" y="3170771"/>
            <a:ext cx="2007343" cy="2888575"/>
          </a:xfrm>
        </p:spPr>
        <p:txBody>
          <a:bodyPr>
            <a:normAutofit/>
          </a:bodyPr>
          <a:lstStyle>
            <a:lvl1pPr marL="177796" indent="-177796">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2559970"/>
            <a:ext cx="2007343" cy="443199"/>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47" name="Picture Placeholder 3">
            <a:extLst>
              <a:ext uri="{FF2B5EF4-FFF2-40B4-BE49-F238E27FC236}">
                <a16:creationId xmlns:a16="http://schemas.microsoft.com/office/drawing/2014/main" id="{F48D299A-6257-AC74-0FD7-6D22E29A5C4F}"/>
              </a:ext>
            </a:extLst>
          </p:cNvPr>
          <p:cNvSpPr>
            <a:spLocks noGrp="1"/>
          </p:cNvSpPr>
          <p:nvPr>
            <p:ph type="pic" sz="quarter" idx="17"/>
          </p:nvPr>
        </p:nvSpPr>
        <p:spPr>
          <a:xfrm>
            <a:off x="2802690" y="1518458"/>
            <a:ext cx="924455" cy="924455"/>
          </a:xfrm>
        </p:spPr>
        <p:txBody>
          <a:bodyPr anchor="ctr">
            <a:noAutofit/>
          </a:bodyPr>
          <a:lstStyle>
            <a:lvl1pPr algn="ctr">
              <a:defRPr sz="1051">
                <a:solidFill>
                  <a:schemeClr val="bg1">
                    <a:lumMod val="65000"/>
                  </a:schemeClr>
                </a:solidFill>
              </a:defRPr>
            </a:lvl1pPr>
          </a:lstStyle>
          <a:p>
            <a:r>
              <a:rPr lang="en-GB"/>
              <a:t>Click icon to add picture</a:t>
            </a:r>
          </a:p>
        </p:txBody>
      </p:sp>
      <p:sp>
        <p:nvSpPr>
          <p:cNvPr id="48" name="Text Placeholder 6">
            <a:extLst>
              <a:ext uri="{FF2B5EF4-FFF2-40B4-BE49-F238E27FC236}">
                <a16:creationId xmlns:a16="http://schemas.microsoft.com/office/drawing/2014/main" id="{9E3D1709-B9E8-6689-9456-9D1A08D7BAA7}"/>
              </a:ext>
            </a:extLst>
          </p:cNvPr>
          <p:cNvSpPr>
            <a:spLocks noGrp="1"/>
          </p:cNvSpPr>
          <p:nvPr>
            <p:ph type="body" sz="quarter" idx="18"/>
          </p:nvPr>
        </p:nvSpPr>
        <p:spPr>
          <a:xfrm>
            <a:off x="2802690" y="3170771"/>
            <a:ext cx="2007343" cy="2888575"/>
          </a:xfrm>
        </p:spPr>
        <p:txBody>
          <a:bodyPr>
            <a:normAutofit/>
          </a:bodyPr>
          <a:lstStyle>
            <a:lvl1pPr marL="177796" indent="-177796">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49" name="Text Placeholder 6">
            <a:extLst>
              <a:ext uri="{FF2B5EF4-FFF2-40B4-BE49-F238E27FC236}">
                <a16:creationId xmlns:a16="http://schemas.microsoft.com/office/drawing/2014/main" id="{C714C56E-261C-2C43-2BCC-4B86E64EE017}"/>
              </a:ext>
            </a:extLst>
          </p:cNvPr>
          <p:cNvSpPr>
            <a:spLocks noGrp="1"/>
          </p:cNvSpPr>
          <p:nvPr>
            <p:ph type="body" sz="quarter" idx="19"/>
          </p:nvPr>
        </p:nvSpPr>
        <p:spPr>
          <a:xfrm>
            <a:off x="2802690" y="2559970"/>
            <a:ext cx="2007343" cy="443199"/>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0" name="Picture Placeholder 3">
            <a:extLst>
              <a:ext uri="{FF2B5EF4-FFF2-40B4-BE49-F238E27FC236}">
                <a16:creationId xmlns:a16="http://schemas.microsoft.com/office/drawing/2014/main" id="{7BD682FD-9976-0C80-A887-A4D6D2E292BF}"/>
              </a:ext>
            </a:extLst>
          </p:cNvPr>
          <p:cNvSpPr>
            <a:spLocks noGrp="1"/>
          </p:cNvSpPr>
          <p:nvPr>
            <p:ph type="pic" sz="quarter" idx="20"/>
          </p:nvPr>
        </p:nvSpPr>
        <p:spPr>
          <a:xfrm>
            <a:off x="5089439" y="1518458"/>
            <a:ext cx="924455" cy="924455"/>
          </a:xfrm>
        </p:spPr>
        <p:txBody>
          <a:bodyPr anchor="ctr">
            <a:noAutofit/>
          </a:bodyPr>
          <a:lstStyle>
            <a:lvl1pPr algn="ctr">
              <a:defRPr sz="1051">
                <a:solidFill>
                  <a:schemeClr val="bg1">
                    <a:lumMod val="65000"/>
                  </a:schemeClr>
                </a:solidFill>
              </a:defRPr>
            </a:lvl1pPr>
          </a:lstStyle>
          <a:p>
            <a:r>
              <a:rPr lang="en-GB"/>
              <a:t>Click icon to add picture</a:t>
            </a:r>
          </a:p>
        </p:txBody>
      </p:sp>
      <p:sp>
        <p:nvSpPr>
          <p:cNvPr id="51" name="Text Placeholder 6">
            <a:extLst>
              <a:ext uri="{FF2B5EF4-FFF2-40B4-BE49-F238E27FC236}">
                <a16:creationId xmlns:a16="http://schemas.microsoft.com/office/drawing/2014/main" id="{A9A5BE6C-6EDB-FAB6-4644-C243D0C50113}"/>
              </a:ext>
            </a:extLst>
          </p:cNvPr>
          <p:cNvSpPr>
            <a:spLocks noGrp="1"/>
          </p:cNvSpPr>
          <p:nvPr>
            <p:ph type="body" sz="quarter" idx="21"/>
          </p:nvPr>
        </p:nvSpPr>
        <p:spPr>
          <a:xfrm>
            <a:off x="5089439" y="3170771"/>
            <a:ext cx="2007343" cy="2888575"/>
          </a:xfrm>
        </p:spPr>
        <p:txBody>
          <a:bodyPr>
            <a:normAutofit/>
          </a:bodyPr>
          <a:lstStyle>
            <a:lvl1pPr marL="177796" indent="-177796">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2" name="Text Placeholder 6">
            <a:extLst>
              <a:ext uri="{FF2B5EF4-FFF2-40B4-BE49-F238E27FC236}">
                <a16:creationId xmlns:a16="http://schemas.microsoft.com/office/drawing/2014/main" id="{CB0F2787-5A74-A6DE-F13C-3D79E01FA602}"/>
              </a:ext>
            </a:extLst>
          </p:cNvPr>
          <p:cNvSpPr>
            <a:spLocks noGrp="1"/>
          </p:cNvSpPr>
          <p:nvPr>
            <p:ph type="body" sz="quarter" idx="22"/>
          </p:nvPr>
        </p:nvSpPr>
        <p:spPr>
          <a:xfrm>
            <a:off x="5089439" y="2559970"/>
            <a:ext cx="2007343" cy="443199"/>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3" name="Picture Placeholder 3">
            <a:extLst>
              <a:ext uri="{FF2B5EF4-FFF2-40B4-BE49-F238E27FC236}">
                <a16:creationId xmlns:a16="http://schemas.microsoft.com/office/drawing/2014/main" id="{201E793D-C775-4026-041E-34664EC7CB24}"/>
              </a:ext>
            </a:extLst>
          </p:cNvPr>
          <p:cNvSpPr>
            <a:spLocks noGrp="1"/>
          </p:cNvSpPr>
          <p:nvPr>
            <p:ph type="pic" sz="quarter" idx="23"/>
          </p:nvPr>
        </p:nvSpPr>
        <p:spPr>
          <a:xfrm>
            <a:off x="7376190" y="1518458"/>
            <a:ext cx="924455" cy="924455"/>
          </a:xfrm>
        </p:spPr>
        <p:txBody>
          <a:bodyPr anchor="ctr">
            <a:noAutofit/>
          </a:bodyPr>
          <a:lstStyle>
            <a:lvl1pPr algn="ctr">
              <a:defRPr sz="1051">
                <a:solidFill>
                  <a:schemeClr val="bg1">
                    <a:lumMod val="65000"/>
                  </a:schemeClr>
                </a:solidFill>
              </a:defRPr>
            </a:lvl1pPr>
          </a:lstStyle>
          <a:p>
            <a:r>
              <a:rPr lang="en-GB"/>
              <a:t>Click icon to add picture</a:t>
            </a:r>
          </a:p>
        </p:txBody>
      </p:sp>
      <p:sp>
        <p:nvSpPr>
          <p:cNvPr id="54" name="Text Placeholder 6">
            <a:extLst>
              <a:ext uri="{FF2B5EF4-FFF2-40B4-BE49-F238E27FC236}">
                <a16:creationId xmlns:a16="http://schemas.microsoft.com/office/drawing/2014/main" id="{804BD5F4-CAC4-3B9A-26F3-C0C1833171E1}"/>
              </a:ext>
            </a:extLst>
          </p:cNvPr>
          <p:cNvSpPr>
            <a:spLocks noGrp="1"/>
          </p:cNvSpPr>
          <p:nvPr>
            <p:ph type="body" sz="quarter" idx="24"/>
          </p:nvPr>
        </p:nvSpPr>
        <p:spPr>
          <a:xfrm>
            <a:off x="7376190" y="3170771"/>
            <a:ext cx="2007343" cy="2888575"/>
          </a:xfrm>
        </p:spPr>
        <p:txBody>
          <a:bodyPr>
            <a:normAutofit/>
          </a:bodyPr>
          <a:lstStyle>
            <a:lvl1pPr marL="177796" indent="-177796">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5" name="Text Placeholder 6">
            <a:extLst>
              <a:ext uri="{FF2B5EF4-FFF2-40B4-BE49-F238E27FC236}">
                <a16:creationId xmlns:a16="http://schemas.microsoft.com/office/drawing/2014/main" id="{B233CA27-29C3-9FC3-D859-9E09C4A5F850}"/>
              </a:ext>
            </a:extLst>
          </p:cNvPr>
          <p:cNvSpPr>
            <a:spLocks noGrp="1"/>
          </p:cNvSpPr>
          <p:nvPr>
            <p:ph type="body" sz="quarter" idx="25"/>
          </p:nvPr>
        </p:nvSpPr>
        <p:spPr>
          <a:xfrm>
            <a:off x="7376190" y="2559970"/>
            <a:ext cx="2007343" cy="443199"/>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6" name="Picture Placeholder 3">
            <a:extLst>
              <a:ext uri="{FF2B5EF4-FFF2-40B4-BE49-F238E27FC236}">
                <a16:creationId xmlns:a16="http://schemas.microsoft.com/office/drawing/2014/main" id="{8B57295D-E6CF-D31C-B144-FCA5CB14DF6B}"/>
              </a:ext>
            </a:extLst>
          </p:cNvPr>
          <p:cNvSpPr>
            <a:spLocks noGrp="1"/>
          </p:cNvSpPr>
          <p:nvPr>
            <p:ph type="pic" sz="quarter" idx="26"/>
          </p:nvPr>
        </p:nvSpPr>
        <p:spPr>
          <a:xfrm>
            <a:off x="9662939" y="1518458"/>
            <a:ext cx="924455" cy="924455"/>
          </a:xfrm>
        </p:spPr>
        <p:txBody>
          <a:bodyPr anchor="ctr">
            <a:noAutofit/>
          </a:bodyPr>
          <a:lstStyle>
            <a:lvl1pPr algn="ctr">
              <a:defRPr sz="1051">
                <a:solidFill>
                  <a:schemeClr val="bg1">
                    <a:lumMod val="65000"/>
                  </a:schemeClr>
                </a:solidFill>
              </a:defRPr>
            </a:lvl1pPr>
          </a:lstStyle>
          <a:p>
            <a:r>
              <a:rPr lang="en-GB"/>
              <a:t>Click icon to add picture</a:t>
            </a:r>
          </a:p>
        </p:txBody>
      </p:sp>
      <p:sp>
        <p:nvSpPr>
          <p:cNvPr id="57" name="Text Placeholder 6">
            <a:extLst>
              <a:ext uri="{FF2B5EF4-FFF2-40B4-BE49-F238E27FC236}">
                <a16:creationId xmlns:a16="http://schemas.microsoft.com/office/drawing/2014/main" id="{AD0246CA-EA99-001F-02B9-8BA52DCE7337}"/>
              </a:ext>
            </a:extLst>
          </p:cNvPr>
          <p:cNvSpPr>
            <a:spLocks noGrp="1"/>
          </p:cNvSpPr>
          <p:nvPr>
            <p:ph type="body" sz="quarter" idx="27"/>
          </p:nvPr>
        </p:nvSpPr>
        <p:spPr>
          <a:xfrm>
            <a:off x="9662941" y="3170771"/>
            <a:ext cx="2007343" cy="2888575"/>
          </a:xfrm>
        </p:spPr>
        <p:txBody>
          <a:bodyPr>
            <a:normAutofit/>
          </a:bodyPr>
          <a:lstStyle>
            <a:lvl1pPr marL="177796" indent="-177796">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8" name="Text Placeholder 6">
            <a:extLst>
              <a:ext uri="{FF2B5EF4-FFF2-40B4-BE49-F238E27FC236}">
                <a16:creationId xmlns:a16="http://schemas.microsoft.com/office/drawing/2014/main" id="{3D355FF6-773D-9D18-B07A-AFAED992F8C9}"/>
              </a:ext>
            </a:extLst>
          </p:cNvPr>
          <p:cNvSpPr>
            <a:spLocks noGrp="1"/>
          </p:cNvSpPr>
          <p:nvPr>
            <p:ph type="body" sz="quarter" idx="28"/>
          </p:nvPr>
        </p:nvSpPr>
        <p:spPr>
          <a:xfrm>
            <a:off x="9662941" y="2559970"/>
            <a:ext cx="2007343" cy="443199"/>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5565359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1ACBB7-C632-4159-AC53-548EB4CE2E21}"/>
              </a:ext>
            </a:extLst>
          </p:cNvPr>
          <p:cNvSpPr>
            <a:spLocks noGrp="1"/>
          </p:cNvSpPr>
          <p:nvPr>
            <p:ph type="title"/>
          </p:nvPr>
        </p:nvSpPr>
        <p:spPr/>
        <p:txBody>
          <a:bodyPr/>
          <a:lstStyle/>
          <a:p>
            <a:r>
              <a:rPr lang="en-US"/>
              <a:t>Click to edit Master title style</a:t>
            </a:r>
            <a:endParaRPr lang="en-AU"/>
          </a:p>
        </p:txBody>
      </p:sp>
      <p:sp>
        <p:nvSpPr>
          <p:cNvPr id="3" name="Content Placeholder 2">
            <a:extLst>
              <a:ext uri="{FF2B5EF4-FFF2-40B4-BE49-F238E27FC236}">
                <a16:creationId xmlns:a16="http://schemas.microsoft.com/office/drawing/2014/main" id="{095088D3-EA84-445D-8894-2E3E159D604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5ADDC890-2A0A-4D7B-A6F6-603F27A71137}"/>
              </a:ext>
            </a:extLst>
          </p:cNvPr>
          <p:cNvSpPr>
            <a:spLocks noGrp="1"/>
          </p:cNvSpPr>
          <p:nvPr>
            <p:ph type="dt" sz="half" idx="10"/>
          </p:nvPr>
        </p:nvSpPr>
        <p:spPr/>
        <p:txBody>
          <a:bodyPr/>
          <a:lstStyle/>
          <a:p>
            <a:fld id="{FC545C82-8F0D-4013-AE88-DBEAB14496D1}" type="datetime1">
              <a:rPr lang="en-AU" smtClean="0"/>
              <a:t>9/12/2024</a:t>
            </a:fld>
            <a:endParaRPr lang="en-AU"/>
          </a:p>
        </p:txBody>
      </p:sp>
      <p:sp>
        <p:nvSpPr>
          <p:cNvPr id="5" name="Footer Placeholder 4">
            <a:extLst>
              <a:ext uri="{FF2B5EF4-FFF2-40B4-BE49-F238E27FC236}">
                <a16:creationId xmlns:a16="http://schemas.microsoft.com/office/drawing/2014/main" id="{33C20402-C086-474D-86D6-B99BA2E6EC84}"/>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226E8EA5-462B-4A37-A710-103DEE34480E}"/>
              </a:ext>
            </a:extLst>
          </p:cNvPr>
          <p:cNvSpPr>
            <a:spLocks noGrp="1"/>
          </p:cNvSpPr>
          <p:nvPr>
            <p:ph type="sldNum" sz="quarter" idx="12"/>
          </p:nvPr>
        </p:nvSpPr>
        <p:spPr/>
        <p:txBody>
          <a:bodyPr/>
          <a:lstStyle/>
          <a:p>
            <a:fld id="{33ECF85F-2FE6-4C40-9C0D-695BD934DCA6}" type="slidenum">
              <a:rPr lang="en-AU" smtClean="0"/>
              <a:t>‹#›</a:t>
            </a:fld>
            <a:endParaRPr lang="en-AU"/>
          </a:p>
        </p:txBody>
      </p:sp>
    </p:spTree>
    <p:extLst>
      <p:ext uri="{BB962C8B-B14F-4D97-AF65-F5344CB8AC3E}">
        <p14:creationId xmlns:p14="http://schemas.microsoft.com/office/powerpoint/2010/main" val="1767247111"/>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Icons x4 Gri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9"/>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8" y="6353142"/>
            <a:ext cx="261631" cy="136527"/>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8"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7"/>
          </a:xfrm>
          <a:prstGeom prst="rect">
            <a:avLst/>
          </a:prstGeom>
        </p:spPr>
        <p:txBody>
          <a:bodyPr anchor="b"/>
          <a:lstStyle>
            <a:lvl1pPr>
              <a:defRPr sz="800"/>
            </a:lvl1pPr>
          </a:lstStyle>
          <a:p>
            <a:r>
              <a:rPr lang="en-US"/>
              <a:t>United Against Rabies Forum Meeting - 6-8 November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5" y="6109976"/>
            <a:ext cx="1036776" cy="381653"/>
          </a:xfrm>
          <a:prstGeom prst="rect">
            <a:avLst/>
          </a:prstGeom>
        </p:spPr>
      </p:pic>
      <p:sp>
        <p:nvSpPr>
          <p:cNvPr id="17" name="Picture Placeholder 3">
            <a:extLst>
              <a:ext uri="{FF2B5EF4-FFF2-40B4-BE49-F238E27FC236}">
                <a16:creationId xmlns:a16="http://schemas.microsoft.com/office/drawing/2014/main" id="{78B95D78-F57A-6D40-A841-7D1E3B08277B}"/>
              </a:ext>
            </a:extLst>
          </p:cNvPr>
          <p:cNvSpPr>
            <a:spLocks noGrp="1"/>
          </p:cNvSpPr>
          <p:nvPr>
            <p:ph type="pic" sz="quarter" idx="13"/>
          </p:nvPr>
        </p:nvSpPr>
        <p:spPr>
          <a:xfrm>
            <a:off x="515938" y="1304926"/>
            <a:ext cx="869951" cy="869951"/>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1549400" y="1687058"/>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1549400" y="1304926"/>
            <a:ext cx="4143829" cy="382135"/>
          </a:xfrm>
        </p:spPr>
        <p:txBody>
          <a:bodyPr>
            <a:normAutofit/>
          </a:bodyPr>
          <a:lstStyle>
            <a:lvl1pPr>
              <a:defRPr sz="1800" b="1">
                <a:solidFill>
                  <a:schemeClr val="bg2"/>
                </a:solidFill>
              </a:defRPr>
            </a:lvl1pPr>
          </a:lstStyle>
          <a:p>
            <a:pPr lvl="0"/>
            <a:r>
              <a:rPr lang="en-GB"/>
              <a:t>Click to edit Master text styles</a:t>
            </a:r>
          </a:p>
        </p:txBody>
      </p:sp>
      <p:sp>
        <p:nvSpPr>
          <p:cNvPr id="20" name="Picture Placeholder 3">
            <a:extLst>
              <a:ext uri="{FF2B5EF4-FFF2-40B4-BE49-F238E27FC236}">
                <a16:creationId xmlns:a16="http://schemas.microsoft.com/office/drawing/2014/main" id="{D3B567E7-3D24-6F43-A35A-BBC5B9C571B7}"/>
              </a:ext>
            </a:extLst>
          </p:cNvPr>
          <p:cNvSpPr>
            <a:spLocks noGrp="1"/>
          </p:cNvSpPr>
          <p:nvPr>
            <p:ph type="pic" sz="quarter" idx="17"/>
          </p:nvPr>
        </p:nvSpPr>
        <p:spPr>
          <a:xfrm>
            <a:off x="515938" y="3786233"/>
            <a:ext cx="869951" cy="869951"/>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1" name="Text Placeholder 6">
            <a:extLst>
              <a:ext uri="{FF2B5EF4-FFF2-40B4-BE49-F238E27FC236}">
                <a16:creationId xmlns:a16="http://schemas.microsoft.com/office/drawing/2014/main" id="{93E388B6-7D3E-7F4E-89BF-34EFDCA27B09}"/>
              </a:ext>
            </a:extLst>
          </p:cNvPr>
          <p:cNvSpPr>
            <a:spLocks noGrp="1"/>
          </p:cNvSpPr>
          <p:nvPr>
            <p:ph type="body" sz="quarter" idx="18"/>
          </p:nvPr>
        </p:nvSpPr>
        <p:spPr>
          <a:xfrm>
            <a:off x="1549400" y="4168366"/>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22" name="Text Placeholder 6">
            <a:extLst>
              <a:ext uri="{FF2B5EF4-FFF2-40B4-BE49-F238E27FC236}">
                <a16:creationId xmlns:a16="http://schemas.microsoft.com/office/drawing/2014/main" id="{881671EB-257B-ED4B-947C-F1B6F4FDC869}"/>
              </a:ext>
            </a:extLst>
          </p:cNvPr>
          <p:cNvSpPr>
            <a:spLocks noGrp="1"/>
          </p:cNvSpPr>
          <p:nvPr>
            <p:ph type="body" sz="quarter" idx="19"/>
          </p:nvPr>
        </p:nvSpPr>
        <p:spPr>
          <a:xfrm>
            <a:off x="1549400" y="3786234"/>
            <a:ext cx="4143829" cy="382135"/>
          </a:xfrm>
        </p:spPr>
        <p:txBody>
          <a:bodyPr>
            <a:normAutofit/>
          </a:bodyPr>
          <a:lstStyle>
            <a:lvl1pPr>
              <a:defRPr sz="1800" b="1">
                <a:solidFill>
                  <a:schemeClr val="bg2"/>
                </a:solidFill>
              </a:defRPr>
            </a:lvl1pPr>
          </a:lstStyle>
          <a:p>
            <a:pPr lvl="0"/>
            <a:r>
              <a:rPr lang="en-GB"/>
              <a:t>Click to edit Master text styles</a:t>
            </a:r>
          </a:p>
        </p:txBody>
      </p:sp>
      <p:sp>
        <p:nvSpPr>
          <p:cNvPr id="23" name="Picture Placeholder 3">
            <a:extLst>
              <a:ext uri="{FF2B5EF4-FFF2-40B4-BE49-F238E27FC236}">
                <a16:creationId xmlns:a16="http://schemas.microsoft.com/office/drawing/2014/main" id="{92691027-CA0E-E24A-BE52-C681CD1360B7}"/>
              </a:ext>
            </a:extLst>
          </p:cNvPr>
          <p:cNvSpPr>
            <a:spLocks noGrp="1"/>
          </p:cNvSpPr>
          <p:nvPr>
            <p:ph type="pic" sz="quarter" idx="20"/>
          </p:nvPr>
        </p:nvSpPr>
        <p:spPr>
          <a:xfrm>
            <a:off x="6498774" y="1304926"/>
            <a:ext cx="869951" cy="869951"/>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4" name="Text Placeholder 6">
            <a:extLst>
              <a:ext uri="{FF2B5EF4-FFF2-40B4-BE49-F238E27FC236}">
                <a16:creationId xmlns:a16="http://schemas.microsoft.com/office/drawing/2014/main" id="{6C29C828-D0AF-8740-B636-DCE11FB0484F}"/>
              </a:ext>
            </a:extLst>
          </p:cNvPr>
          <p:cNvSpPr>
            <a:spLocks noGrp="1"/>
          </p:cNvSpPr>
          <p:nvPr>
            <p:ph type="body" sz="quarter" idx="21"/>
          </p:nvPr>
        </p:nvSpPr>
        <p:spPr>
          <a:xfrm>
            <a:off x="7532236" y="1687058"/>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25" name="Text Placeholder 6">
            <a:extLst>
              <a:ext uri="{FF2B5EF4-FFF2-40B4-BE49-F238E27FC236}">
                <a16:creationId xmlns:a16="http://schemas.microsoft.com/office/drawing/2014/main" id="{58CECF4C-60E6-054F-A58B-39ED49ED6AD2}"/>
              </a:ext>
            </a:extLst>
          </p:cNvPr>
          <p:cNvSpPr>
            <a:spLocks noGrp="1"/>
          </p:cNvSpPr>
          <p:nvPr>
            <p:ph type="body" sz="quarter" idx="22"/>
          </p:nvPr>
        </p:nvSpPr>
        <p:spPr>
          <a:xfrm>
            <a:off x="7532236" y="1304926"/>
            <a:ext cx="4143829" cy="382135"/>
          </a:xfrm>
        </p:spPr>
        <p:txBody>
          <a:bodyPr>
            <a:normAutofit/>
          </a:bodyPr>
          <a:lstStyle>
            <a:lvl1pPr>
              <a:defRPr sz="1800" b="1">
                <a:solidFill>
                  <a:schemeClr val="bg2"/>
                </a:solidFill>
              </a:defRPr>
            </a:lvl1pPr>
          </a:lstStyle>
          <a:p>
            <a:pPr lvl="0"/>
            <a:r>
              <a:rPr lang="en-GB"/>
              <a:t>Click to edit Master text styles</a:t>
            </a:r>
          </a:p>
        </p:txBody>
      </p:sp>
      <p:sp>
        <p:nvSpPr>
          <p:cNvPr id="26" name="Picture Placeholder 3">
            <a:extLst>
              <a:ext uri="{FF2B5EF4-FFF2-40B4-BE49-F238E27FC236}">
                <a16:creationId xmlns:a16="http://schemas.microsoft.com/office/drawing/2014/main" id="{CD7BB1DF-4B0D-0046-AD00-F6E58908BDED}"/>
              </a:ext>
            </a:extLst>
          </p:cNvPr>
          <p:cNvSpPr>
            <a:spLocks noGrp="1"/>
          </p:cNvSpPr>
          <p:nvPr>
            <p:ph type="pic" sz="quarter" idx="23"/>
          </p:nvPr>
        </p:nvSpPr>
        <p:spPr>
          <a:xfrm>
            <a:off x="6498774" y="3786233"/>
            <a:ext cx="869951" cy="869951"/>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7" name="Text Placeholder 6">
            <a:extLst>
              <a:ext uri="{FF2B5EF4-FFF2-40B4-BE49-F238E27FC236}">
                <a16:creationId xmlns:a16="http://schemas.microsoft.com/office/drawing/2014/main" id="{FDABD8D9-C71A-A446-8E62-82A359216E99}"/>
              </a:ext>
            </a:extLst>
          </p:cNvPr>
          <p:cNvSpPr>
            <a:spLocks noGrp="1"/>
          </p:cNvSpPr>
          <p:nvPr>
            <p:ph type="body" sz="quarter" idx="24"/>
          </p:nvPr>
        </p:nvSpPr>
        <p:spPr>
          <a:xfrm>
            <a:off x="7532236" y="4168366"/>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28" name="Text Placeholder 6">
            <a:extLst>
              <a:ext uri="{FF2B5EF4-FFF2-40B4-BE49-F238E27FC236}">
                <a16:creationId xmlns:a16="http://schemas.microsoft.com/office/drawing/2014/main" id="{0340EBB2-1491-9444-9D25-3567B2AAB22F}"/>
              </a:ext>
            </a:extLst>
          </p:cNvPr>
          <p:cNvSpPr>
            <a:spLocks noGrp="1"/>
          </p:cNvSpPr>
          <p:nvPr>
            <p:ph type="body" sz="quarter" idx="25"/>
          </p:nvPr>
        </p:nvSpPr>
        <p:spPr>
          <a:xfrm>
            <a:off x="7532236" y="3786234"/>
            <a:ext cx="4143829" cy="382135"/>
          </a:xfrm>
        </p:spPr>
        <p:txBody>
          <a:bodyPr>
            <a:normAutofit/>
          </a:bodyPr>
          <a:lstStyle>
            <a:lvl1pPr>
              <a:defRPr sz="1800"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131749578"/>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ext + 3 Objectiv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9"/>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6"/>
            <a:ext cx="5564867" cy="4608511"/>
          </a:xfrm>
        </p:spPr>
        <p:txBody>
          <a:bodyPr numCol="1" spcCol="180000"/>
          <a:lstStyle>
            <a:lvl1pPr marL="342891" indent="-342891">
              <a:buClr>
                <a:schemeClr val="bg2"/>
              </a:buClr>
              <a:buFont typeface="Arial" panose="020B0604020202020204" pitchFamily="34" charset="0"/>
              <a:buChar char="•"/>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8" y="6353142"/>
            <a:ext cx="261631" cy="136527"/>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8"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7"/>
          </a:xfrm>
          <a:prstGeom prst="rect">
            <a:avLst/>
          </a:prstGeom>
        </p:spPr>
        <p:txBody>
          <a:bodyPr anchor="b"/>
          <a:lstStyle>
            <a:lvl1pPr>
              <a:defRPr sz="800"/>
            </a:lvl1pPr>
          </a:lstStyle>
          <a:p>
            <a:r>
              <a:rPr lang="en-US"/>
              <a:t>United Against Rabies Forum Meeting - 6-8 November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5" y="6109976"/>
            <a:ext cx="1036776" cy="381653"/>
          </a:xfrm>
          <a:prstGeom prst="rect">
            <a:avLst/>
          </a:prstGeom>
        </p:spPr>
      </p:pic>
      <p:sp>
        <p:nvSpPr>
          <p:cNvPr id="23" name="Round Same-side Corner of Rectangle 22">
            <a:extLst>
              <a:ext uri="{FF2B5EF4-FFF2-40B4-BE49-F238E27FC236}">
                <a16:creationId xmlns:a16="http://schemas.microsoft.com/office/drawing/2014/main" id="{16D0EA1C-2C30-674C-9E0D-D3B85EFE8B44}"/>
              </a:ext>
            </a:extLst>
          </p:cNvPr>
          <p:cNvSpPr/>
          <p:nvPr userDrawn="1"/>
        </p:nvSpPr>
        <p:spPr>
          <a:xfrm rot="5400000" flipH="1">
            <a:off x="8698710" y="2420147"/>
            <a:ext cx="1350948" cy="5635632"/>
          </a:xfrm>
          <a:prstGeom prst="round2SameRect">
            <a:avLst>
              <a:gd name="adj1" fmla="val 0"/>
              <a:gd name="adj2"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schemeClr val="bg1">
                  <a:lumMod val="85000"/>
                </a:schemeClr>
              </a:solidFill>
            </a:endParaRPr>
          </a:p>
        </p:txBody>
      </p:sp>
      <p:sp>
        <p:nvSpPr>
          <p:cNvPr id="24" name="Text Placeholder 6">
            <a:extLst>
              <a:ext uri="{FF2B5EF4-FFF2-40B4-BE49-F238E27FC236}">
                <a16:creationId xmlns:a16="http://schemas.microsoft.com/office/drawing/2014/main" id="{0933F7F4-7E4A-AD4A-B080-3883C01BCEA1}"/>
              </a:ext>
            </a:extLst>
          </p:cNvPr>
          <p:cNvSpPr>
            <a:spLocks noGrp="1"/>
          </p:cNvSpPr>
          <p:nvPr>
            <p:ph type="body" sz="quarter" idx="27"/>
          </p:nvPr>
        </p:nvSpPr>
        <p:spPr>
          <a:xfrm>
            <a:off x="7955150" y="5013398"/>
            <a:ext cx="3715133" cy="792044"/>
          </a:xfrm>
        </p:spPr>
        <p:txBody>
          <a:bodyPr anchor="t">
            <a:normAutofit/>
          </a:bodyPr>
          <a:lstStyle>
            <a:lvl1pPr marL="179384" indent="-179384">
              <a:lnSpc>
                <a:spcPct val="110000"/>
              </a:lnSpc>
              <a:spcBef>
                <a:spcPts val="0"/>
              </a:spcBef>
              <a:spcAft>
                <a:spcPts val="600"/>
              </a:spcAft>
              <a:buFont typeface="Arial" panose="020B0604020202020204" pitchFamily="34" charset="0"/>
              <a:buChar char="•"/>
              <a:tabLst/>
              <a:defRPr sz="1400" b="1">
                <a:solidFill>
                  <a:schemeClr val="bg1"/>
                </a:solidFill>
              </a:defRPr>
            </a:lvl1pPr>
          </a:lstStyle>
          <a:p>
            <a:pPr lvl="0"/>
            <a:r>
              <a:rPr lang="en-GB"/>
              <a:t>Click to edit Master text styles</a:t>
            </a:r>
          </a:p>
        </p:txBody>
      </p:sp>
      <p:sp>
        <p:nvSpPr>
          <p:cNvPr id="25" name="Text Placeholder 6">
            <a:extLst>
              <a:ext uri="{FF2B5EF4-FFF2-40B4-BE49-F238E27FC236}">
                <a16:creationId xmlns:a16="http://schemas.microsoft.com/office/drawing/2014/main" id="{66DF01F6-3014-6E4B-AB71-62673ED7268C}"/>
              </a:ext>
            </a:extLst>
          </p:cNvPr>
          <p:cNvSpPr>
            <a:spLocks noGrp="1"/>
          </p:cNvSpPr>
          <p:nvPr>
            <p:ph type="body" sz="quarter" idx="28" hasCustomPrompt="1"/>
          </p:nvPr>
        </p:nvSpPr>
        <p:spPr>
          <a:xfrm>
            <a:off x="7955149" y="4663313"/>
            <a:ext cx="1917616" cy="249259"/>
          </a:xfrm>
        </p:spPr>
        <p:txBody>
          <a:bodyPr anchor="t">
            <a:normAutofit/>
          </a:bodyPr>
          <a:lstStyle>
            <a:lvl1pPr algn="l">
              <a:lnSpc>
                <a:spcPct val="110000"/>
              </a:lnSpc>
              <a:spcAft>
                <a:spcPts val="600"/>
              </a:spcAft>
              <a:defRPr sz="1600" b="1">
                <a:solidFill>
                  <a:schemeClr val="tx2">
                    <a:lumMod val="40000"/>
                    <a:lumOff val="60000"/>
                  </a:schemeClr>
                </a:solidFill>
              </a:defRPr>
            </a:lvl1pPr>
          </a:lstStyle>
          <a:p>
            <a:pPr lvl="0"/>
            <a:r>
              <a:rPr lang="en-GB"/>
              <a:t>Title</a:t>
            </a:r>
          </a:p>
        </p:txBody>
      </p:sp>
      <p:sp>
        <p:nvSpPr>
          <p:cNvPr id="26" name="Picture Placeholder 3">
            <a:extLst>
              <a:ext uri="{FF2B5EF4-FFF2-40B4-BE49-F238E27FC236}">
                <a16:creationId xmlns:a16="http://schemas.microsoft.com/office/drawing/2014/main" id="{E49618F2-620F-A042-9095-E7C4C137E2ED}"/>
              </a:ext>
            </a:extLst>
          </p:cNvPr>
          <p:cNvSpPr>
            <a:spLocks noGrp="1"/>
          </p:cNvSpPr>
          <p:nvPr>
            <p:ph type="pic" sz="quarter" idx="29"/>
          </p:nvPr>
        </p:nvSpPr>
        <p:spPr>
          <a:xfrm>
            <a:off x="6957092" y="4846809"/>
            <a:ext cx="767875" cy="767875"/>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7" name="Round Same-side Corner of Rectangle 26">
            <a:extLst>
              <a:ext uri="{FF2B5EF4-FFF2-40B4-BE49-F238E27FC236}">
                <a16:creationId xmlns:a16="http://schemas.microsoft.com/office/drawing/2014/main" id="{CFB215F2-B96A-D14F-B549-E8D9FA660A0B}"/>
              </a:ext>
            </a:extLst>
          </p:cNvPr>
          <p:cNvSpPr/>
          <p:nvPr userDrawn="1"/>
        </p:nvSpPr>
        <p:spPr>
          <a:xfrm rot="5400000" flipH="1">
            <a:off x="8698710" y="791363"/>
            <a:ext cx="1350948" cy="5635632"/>
          </a:xfrm>
          <a:prstGeom prst="round2SameRect">
            <a:avLst>
              <a:gd name="adj1" fmla="val 0"/>
              <a:gd name="adj2"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schemeClr val="bg1">
                  <a:lumMod val="85000"/>
                </a:schemeClr>
              </a:solidFill>
            </a:endParaRPr>
          </a:p>
        </p:txBody>
      </p:sp>
      <p:sp>
        <p:nvSpPr>
          <p:cNvPr id="28" name="Text Placeholder 6">
            <a:extLst>
              <a:ext uri="{FF2B5EF4-FFF2-40B4-BE49-F238E27FC236}">
                <a16:creationId xmlns:a16="http://schemas.microsoft.com/office/drawing/2014/main" id="{F2701821-5C13-4746-B598-28CE9EEFDFD0}"/>
              </a:ext>
            </a:extLst>
          </p:cNvPr>
          <p:cNvSpPr>
            <a:spLocks noGrp="1"/>
          </p:cNvSpPr>
          <p:nvPr>
            <p:ph type="body" sz="quarter" idx="30"/>
          </p:nvPr>
        </p:nvSpPr>
        <p:spPr>
          <a:xfrm>
            <a:off x="7955150" y="3384614"/>
            <a:ext cx="3715133" cy="792044"/>
          </a:xfrm>
        </p:spPr>
        <p:txBody>
          <a:bodyPr anchor="t">
            <a:normAutofit/>
          </a:bodyPr>
          <a:lstStyle>
            <a:lvl1pPr marL="179384" indent="-179384">
              <a:lnSpc>
                <a:spcPct val="110000"/>
              </a:lnSpc>
              <a:spcBef>
                <a:spcPts val="0"/>
              </a:spcBef>
              <a:spcAft>
                <a:spcPts val="600"/>
              </a:spcAft>
              <a:buFont typeface="Arial" panose="020B0604020202020204" pitchFamily="34" charset="0"/>
              <a:buChar char="•"/>
              <a:tabLst/>
              <a:defRPr sz="1400" b="1">
                <a:solidFill>
                  <a:schemeClr val="bg1"/>
                </a:solidFill>
              </a:defRPr>
            </a:lvl1pPr>
          </a:lstStyle>
          <a:p>
            <a:pPr lvl="0"/>
            <a:r>
              <a:rPr lang="en-GB"/>
              <a:t>Click to edit Master text styles</a:t>
            </a:r>
          </a:p>
        </p:txBody>
      </p:sp>
      <p:sp>
        <p:nvSpPr>
          <p:cNvPr id="29" name="Text Placeholder 6">
            <a:extLst>
              <a:ext uri="{FF2B5EF4-FFF2-40B4-BE49-F238E27FC236}">
                <a16:creationId xmlns:a16="http://schemas.microsoft.com/office/drawing/2014/main" id="{8C928579-FF9D-8E4F-912D-F44BF03ECF0E}"/>
              </a:ext>
            </a:extLst>
          </p:cNvPr>
          <p:cNvSpPr>
            <a:spLocks noGrp="1"/>
          </p:cNvSpPr>
          <p:nvPr>
            <p:ph type="body" sz="quarter" idx="31" hasCustomPrompt="1"/>
          </p:nvPr>
        </p:nvSpPr>
        <p:spPr>
          <a:xfrm>
            <a:off x="7955149" y="3034531"/>
            <a:ext cx="1917616" cy="249259"/>
          </a:xfrm>
        </p:spPr>
        <p:txBody>
          <a:bodyPr anchor="t">
            <a:normAutofit/>
          </a:bodyPr>
          <a:lstStyle>
            <a:lvl1pPr algn="l">
              <a:lnSpc>
                <a:spcPct val="110000"/>
              </a:lnSpc>
              <a:spcAft>
                <a:spcPts val="600"/>
              </a:spcAft>
              <a:defRPr sz="1600" b="1">
                <a:solidFill>
                  <a:schemeClr val="tx2">
                    <a:lumMod val="40000"/>
                    <a:lumOff val="60000"/>
                  </a:schemeClr>
                </a:solidFill>
              </a:defRPr>
            </a:lvl1pPr>
          </a:lstStyle>
          <a:p>
            <a:pPr lvl="0"/>
            <a:r>
              <a:rPr lang="en-GB"/>
              <a:t>Title</a:t>
            </a:r>
          </a:p>
        </p:txBody>
      </p:sp>
      <p:sp>
        <p:nvSpPr>
          <p:cNvPr id="30" name="Picture Placeholder 3">
            <a:extLst>
              <a:ext uri="{FF2B5EF4-FFF2-40B4-BE49-F238E27FC236}">
                <a16:creationId xmlns:a16="http://schemas.microsoft.com/office/drawing/2014/main" id="{B617E54E-8C7A-E24B-A3E6-FFD196430237}"/>
              </a:ext>
            </a:extLst>
          </p:cNvPr>
          <p:cNvSpPr>
            <a:spLocks noGrp="1"/>
          </p:cNvSpPr>
          <p:nvPr>
            <p:ph type="pic" sz="quarter" idx="32"/>
          </p:nvPr>
        </p:nvSpPr>
        <p:spPr>
          <a:xfrm>
            <a:off x="6957092" y="3218025"/>
            <a:ext cx="767875" cy="767875"/>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31" name="Round Same-side Corner of Rectangle 30">
            <a:extLst>
              <a:ext uri="{FF2B5EF4-FFF2-40B4-BE49-F238E27FC236}">
                <a16:creationId xmlns:a16="http://schemas.microsoft.com/office/drawing/2014/main" id="{468DF2F5-0340-4C4E-8BAB-B68D68BDB1CC}"/>
              </a:ext>
            </a:extLst>
          </p:cNvPr>
          <p:cNvSpPr/>
          <p:nvPr userDrawn="1"/>
        </p:nvSpPr>
        <p:spPr>
          <a:xfrm rot="5400000" flipH="1">
            <a:off x="8698710" y="-837419"/>
            <a:ext cx="1350948" cy="5635632"/>
          </a:xfrm>
          <a:prstGeom prst="round2SameRect">
            <a:avLst>
              <a:gd name="adj1" fmla="val 0"/>
              <a:gd name="adj2"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solidFill>
                <a:schemeClr val="bg1">
                  <a:lumMod val="85000"/>
                </a:schemeClr>
              </a:solidFill>
            </a:endParaRPr>
          </a:p>
        </p:txBody>
      </p:sp>
      <p:sp>
        <p:nvSpPr>
          <p:cNvPr id="32" name="Text Placeholder 6">
            <a:extLst>
              <a:ext uri="{FF2B5EF4-FFF2-40B4-BE49-F238E27FC236}">
                <a16:creationId xmlns:a16="http://schemas.microsoft.com/office/drawing/2014/main" id="{8297A7AF-4FD1-0044-A50C-5C0CE488521B}"/>
              </a:ext>
            </a:extLst>
          </p:cNvPr>
          <p:cNvSpPr>
            <a:spLocks noGrp="1"/>
          </p:cNvSpPr>
          <p:nvPr>
            <p:ph type="body" sz="quarter" idx="33"/>
          </p:nvPr>
        </p:nvSpPr>
        <p:spPr>
          <a:xfrm>
            <a:off x="7955150" y="1755834"/>
            <a:ext cx="3715133" cy="792044"/>
          </a:xfrm>
        </p:spPr>
        <p:txBody>
          <a:bodyPr anchor="t">
            <a:normAutofit/>
          </a:bodyPr>
          <a:lstStyle>
            <a:lvl1pPr marL="179384" indent="-179384">
              <a:lnSpc>
                <a:spcPct val="110000"/>
              </a:lnSpc>
              <a:spcBef>
                <a:spcPts val="0"/>
              </a:spcBef>
              <a:spcAft>
                <a:spcPts val="600"/>
              </a:spcAft>
              <a:buFont typeface="Arial" panose="020B0604020202020204" pitchFamily="34" charset="0"/>
              <a:buChar char="•"/>
              <a:tabLst/>
              <a:defRPr sz="1400" b="1">
                <a:solidFill>
                  <a:schemeClr val="bg1"/>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6C19D012-767E-A845-8105-4B4C4887921E}"/>
              </a:ext>
            </a:extLst>
          </p:cNvPr>
          <p:cNvSpPr>
            <a:spLocks noGrp="1"/>
          </p:cNvSpPr>
          <p:nvPr>
            <p:ph type="body" sz="quarter" idx="34" hasCustomPrompt="1"/>
          </p:nvPr>
        </p:nvSpPr>
        <p:spPr>
          <a:xfrm>
            <a:off x="7955149" y="1405749"/>
            <a:ext cx="1917616" cy="249259"/>
          </a:xfrm>
        </p:spPr>
        <p:txBody>
          <a:bodyPr anchor="t">
            <a:normAutofit/>
          </a:bodyPr>
          <a:lstStyle>
            <a:lvl1pPr algn="l">
              <a:lnSpc>
                <a:spcPct val="110000"/>
              </a:lnSpc>
              <a:spcAft>
                <a:spcPts val="600"/>
              </a:spcAft>
              <a:defRPr sz="1600" b="1">
                <a:solidFill>
                  <a:schemeClr val="tx2">
                    <a:lumMod val="40000"/>
                    <a:lumOff val="60000"/>
                  </a:schemeClr>
                </a:solidFill>
              </a:defRPr>
            </a:lvl1pPr>
          </a:lstStyle>
          <a:p>
            <a:pPr lvl="0"/>
            <a:r>
              <a:rPr lang="en-GB"/>
              <a:t>Title</a:t>
            </a:r>
          </a:p>
        </p:txBody>
      </p:sp>
      <p:sp>
        <p:nvSpPr>
          <p:cNvPr id="34" name="Picture Placeholder 3">
            <a:extLst>
              <a:ext uri="{FF2B5EF4-FFF2-40B4-BE49-F238E27FC236}">
                <a16:creationId xmlns:a16="http://schemas.microsoft.com/office/drawing/2014/main" id="{DD5DD0FD-09C0-E049-944D-E6046E4FD565}"/>
              </a:ext>
            </a:extLst>
          </p:cNvPr>
          <p:cNvSpPr>
            <a:spLocks noGrp="1"/>
          </p:cNvSpPr>
          <p:nvPr>
            <p:ph type="pic" sz="quarter" idx="35"/>
          </p:nvPr>
        </p:nvSpPr>
        <p:spPr>
          <a:xfrm>
            <a:off x="6957092" y="1589245"/>
            <a:ext cx="767875" cy="767875"/>
          </a:xfrm>
        </p:spPr>
        <p:txBody>
          <a:bodyPr anchor="ctr">
            <a:noAutofit/>
          </a:bodyPr>
          <a:lstStyle>
            <a:lvl1pPr algn="ctr">
              <a:defRPr sz="1200">
                <a:solidFill>
                  <a:schemeClr val="bg1">
                    <a:lumMod val="65000"/>
                  </a:schemeClr>
                </a:solidFill>
              </a:defRPr>
            </a:lvl1pPr>
          </a:lstStyle>
          <a:p>
            <a:r>
              <a:rPr lang="en-GB"/>
              <a:t>Click icon to add picture</a:t>
            </a:r>
          </a:p>
        </p:txBody>
      </p:sp>
    </p:spTree>
    <p:extLst>
      <p:ext uri="{BB962C8B-B14F-4D97-AF65-F5344CB8AC3E}">
        <p14:creationId xmlns:p14="http://schemas.microsoft.com/office/powerpoint/2010/main" val="1285531383"/>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Flow Chart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9"/>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8" y="6353142"/>
            <a:ext cx="261631" cy="136527"/>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8"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7"/>
          </a:xfrm>
          <a:prstGeom prst="rect">
            <a:avLst/>
          </a:prstGeom>
        </p:spPr>
        <p:txBody>
          <a:bodyPr anchor="b"/>
          <a:lstStyle>
            <a:lvl1pPr>
              <a:defRPr sz="800"/>
            </a:lvl1pPr>
          </a:lstStyle>
          <a:p>
            <a:r>
              <a:rPr lang="en-US"/>
              <a:t>United Against Rabies Forum Meeting - 6-8 November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5" y="6109976"/>
            <a:ext cx="1036776" cy="381653"/>
          </a:xfrm>
          <a:prstGeom prst="rect">
            <a:avLst/>
          </a:prstGeom>
        </p:spPr>
      </p:pic>
      <p:grpSp>
        <p:nvGrpSpPr>
          <p:cNvPr id="18" name="Group 17">
            <a:extLst>
              <a:ext uri="{FF2B5EF4-FFF2-40B4-BE49-F238E27FC236}">
                <a16:creationId xmlns:a16="http://schemas.microsoft.com/office/drawing/2014/main" id="{5498C8CE-3879-2F54-526A-4FB3BC35A614}"/>
              </a:ext>
            </a:extLst>
          </p:cNvPr>
          <p:cNvGrpSpPr/>
          <p:nvPr userDrawn="1"/>
        </p:nvGrpSpPr>
        <p:grpSpPr>
          <a:xfrm>
            <a:off x="506982" y="2354656"/>
            <a:ext cx="11169081" cy="3558783"/>
            <a:chOff x="506982" y="1923728"/>
            <a:chExt cx="8410120" cy="2679700"/>
          </a:xfrm>
        </p:grpSpPr>
        <p:pic>
          <p:nvPicPr>
            <p:cNvPr id="3" name="Graphic 2">
              <a:extLst>
                <a:ext uri="{FF2B5EF4-FFF2-40B4-BE49-F238E27FC236}">
                  <a16:creationId xmlns:a16="http://schemas.microsoft.com/office/drawing/2014/main" id="{FF8E22B8-C626-33CF-AF31-C216F153582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6859702" y="1923728"/>
              <a:ext cx="2057400" cy="2679700"/>
            </a:xfrm>
            <a:prstGeom prst="rect">
              <a:avLst/>
            </a:prstGeom>
          </p:spPr>
        </p:pic>
        <p:pic>
          <p:nvPicPr>
            <p:cNvPr id="5" name="Graphic 4">
              <a:extLst>
                <a:ext uri="{FF2B5EF4-FFF2-40B4-BE49-F238E27FC236}">
                  <a16:creationId xmlns:a16="http://schemas.microsoft.com/office/drawing/2014/main" id="{51CC370D-D55C-CF1D-A84D-FC3FD269EFA7}"/>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733662" y="1923728"/>
              <a:ext cx="2209800" cy="2679700"/>
            </a:xfrm>
            <a:prstGeom prst="rect">
              <a:avLst/>
            </a:prstGeom>
          </p:spPr>
        </p:pic>
        <p:pic>
          <p:nvPicPr>
            <p:cNvPr id="8" name="Graphic 7">
              <a:extLst>
                <a:ext uri="{FF2B5EF4-FFF2-40B4-BE49-F238E27FC236}">
                  <a16:creationId xmlns:a16="http://schemas.microsoft.com/office/drawing/2014/main" id="{0CF38F8D-CE10-398F-DC92-0410984D5CA9}"/>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2607622" y="1923728"/>
              <a:ext cx="2209800" cy="2679700"/>
            </a:xfrm>
            <a:prstGeom prst="rect">
              <a:avLst/>
            </a:prstGeom>
          </p:spPr>
        </p:pic>
        <p:pic>
          <p:nvPicPr>
            <p:cNvPr id="11" name="Graphic 10">
              <a:extLst>
                <a:ext uri="{FF2B5EF4-FFF2-40B4-BE49-F238E27FC236}">
                  <a16:creationId xmlns:a16="http://schemas.microsoft.com/office/drawing/2014/main" id="{71C8FE21-D454-2669-5018-BDB88B7A469E}"/>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506982" y="1923728"/>
              <a:ext cx="2184400" cy="2679700"/>
            </a:xfrm>
            <a:prstGeom prst="rect">
              <a:avLst/>
            </a:prstGeom>
          </p:spPr>
        </p:pic>
      </p:grpSp>
      <p:sp>
        <p:nvSpPr>
          <p:cNvPr id="20" name="Text Placeholder 8">
            <a:extLst>
              <a:ext uri="{FF2B5EF4-FFF2-40B4-BE49-F238E27FC236}">
                <a16:creationId xmlns:a16="http://schemas.microsoft.com/office/drawing/2014/main" id="{469A369E-3216-3A94-D069-C4212D6C5B2A}"/>
              </a:ext>
            </a:extLst>
          </p:cNvPr>
          <p:cNvSpPr>
            <a:spLocks noGrp="1"/>
          </p:cNvSpPr>
          <p:nvPr>
            <p:ph type="body" idx="13"/>
          </p:nvPr>
        </p:nvSpPr>
        <p:spPr>
          <a:xfrm>
            <a:off x="531133" y="1304925"/>
            <a:ext cx="11144931" cy="853195"/>
          </a:xfrm>
        </p:spPr>
        <p:txBody>
          <a:bodyPr numCol="1" spcCol="180000"/>
          <a:lstStyle>
            <a:lvl1pPr marL="0" indent="0">
              <a:spcAft>
                <a:spcPts val="600"/>
              </a:spcAft>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21" name="Text Placeholder 6">
            <a:extLst>
              <a:ext uri="{FF2B5EF4-FFF2-40B4-BE49-F238E27FC236}">
                <a16:creationId xmlns:a16="http://schemas.microsoft.com/office/drawing/2014/main" id="{8A9C1315-921F-285F-D6BD-A177DE53DC2E}"/>
              </a:ext>
            </a:extLst>
          </p:cNvPr>
          <p:cNvSpPr>
            <a:spLocks noGrp="1"/>
          </p:cNvSpPr>
          <p:nvPr>
            <p:ph type="body" sz="quarter" idx="15"/>
          </p:nvPr>
        </p:nvSpPr>
        <p:spPr>
          <a:xfrm>
            <a:off x="675643" y="3054705"/>
            <a:ext cx="2290923" cy="2745803"/>
          </a:xfrm>
        </p:spPr>
        <p:txBody>
          <a:bodyPr>
            <a:normAutofit/>
          </a:bodyPr>
          <a:lstStyle>
            <a:lvl1pPr marL="177796" indent="-177796">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22" name="Text Placeholder 6">
            <a:extLst>
              <a:ext uri="{FF2B5EF4-FFF2-40B4-BE49-F238E27FC236}">
                <a16:creationId xmlns:a16="http://schemas.microsoft.com/office/drawing/2014/main" id="{4F0999A6-8092-1A74-E3A2-26CC341F65C7}"/>
              </a:ext>
            </a:extLst>
          </p:cNvPr>
          <p:cNvSpPr>
            <a:spLocks noGrp="1"/>
          </p:cNvSpPr>
          <p:nvPr>
            <p:ph type="body" sz="quarter" idx="16"/>
          </p:nvPr>
        </p:nvSpPr>
        <p:spPr>
          <a:xfrm>
            <a:off x="675643" y="2501966"/>
            <a:ext cx="2290923" cy="443199"/>
          </a:xfrm>
        </p:spPr>
        <p:txBody>
          <a:bodyPr wrap="square" anchor="ctr">
            <a:noAutofit/>
          </a:bodyPr>
          <a:lstStyle>
            <a:lvl1pPr>
              <a:lnSpc>
                <a:spcPct val="90000"/>
              </a:lnSpc>
              <a:defRPr sz="2000" b="1">
                <a:solidFill>
                  <a:schemeClr val="bg2"/>
                </a:solidFill>
              </a:defRPr>
            </a:lvl1pPr>
          </a:lstStyle>
          <a:p>
            <a:pPr lvl="0"/>
            <a:r>
              <a:rPr lang="en-GB"/>
              <a:t>Click to edit Master text styles</a:t>
            </a:r>
          </a:p>
        </p:txBody>
      </p:sp>
      <p:sp>
        <p:nvSpPr>
          <p:cNvPr id="26" name="Text Placeholder 6">
            <a:extLst>
              <a:ext uri="{FF2B5EF4-FFF2-40B4-BE49-F238E27FC236}">
                <a16:creationId xmlns:a16="http://schemas.microsoft.com/office/drawing/2014/main" id="{F5E81801-D408-BD68-8EF8-821176E4315D}"/>
              </a:ext>
            </a:extLst>
          </p:cNvPr>
          <p:cNvSpPr>
            <a:spLocks noGrp="1"/>
          </p:cNvSpPr>
          <p:nvPr>
            <p:ph type="body" sz="quarter" idx="17"/>
          </p:nvPr>
        </p:nvSpPr>
        <p:spPr>
          <a:xfrm>
            <a:off x="3583364" y="3054705"/>
            <a:ext cx="2231105" cy="2745803"/>
          </a:xfrm>
        </p:spPr>
        <p:txBody>
          <a:bodyPr>
            <a:normAutofit/>
          </a:bodyPr>
          <a:lstStyle>
            <a:lvl1pPr marL="177796" indent="-177796">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27" name="Text Placeholder 6">
            <a:extLst>
              <a:ext uri="{FF2B5EF4-FFF2-40B4-BE49-F238E27FC236}">
                <a16:creationId xmlns:a16="http://schemas.microsoft.com/office/drawing/2014/main" id="{FE29D8EA-6114-4150-3B97-EAD0BB047B28}"/>
              </a:ext>
            </a:extLst>
          </p:cNvPr>
          <p:cNvSpPr>
            <a:spLocks noGrp="1"/>
          </p:cNvSpPr>
          <p:nvPr>
            <p:ph type="body" sz="quarter" idx="18"/>
          </p:nvPr>
        </p:nvSpPr>
        <p:spPr>
          <a:xfrm>
            <a:off x="3583364" y="2501966"/>
            <a:ext cx="2231105" cy="443199"/>
          </a:xfrm>
        </p:spPr>
        <p:txBody>
          <a:bodyPr wrap="square" anchor="ctr">
            <a:noAutofit/>
          </a:bodyPr>
          <a:lstStyle>
            <a:lvl1pPr>
              <a:lnSpc>
                <a:spcPct val="90000"/>
              </a:lnSpc>
              <a:defRPr sz="2000" b="1">
                <a:solidFill>
                  <a:schemeClr val="accent1"/>
                </a:solidFill>
              </a:defRPr>
            </a:lvl1pPr>
          </a:lstStyle>
          <a:p>
            <a:pPr lvl="0"/>
            <a:r>
              <a:rPr lang="en-GB"/>
              <a:t>Click to edit Master text styles</a:t>
            </a:r>
          </a:p>
        </p:txBody>
      </p:sp>
      <p:sp>
        <p:nvSpPr>
          <p:cNvPr id="28" name="Text Placeholder 6">
            <a:extLst>
              <a:ext uri="{FF2B5EF4-FFF2-40B4-BE49-F238E27FC236}">
                <a16:creationId xmlns:a16="http://schemas.microsoft.com/office/drawing/2014/main" id="{832C3EE2-E731-14E8-F235-F0DC107603F1}"/>
              </a:ext>
            </a:extLst>
          </p:cNvPr>
          <p:cNvSpPr>
            <a:spLocks noGrp="1"/>
          </p:cNvSpPr>
          <p:nvPr>
            <p:ph type="body" sz="quarter" idx="19"/>
          </p:nvPr>
        </p:nvSpPr>
        <p:spPr>
          <a:xfrm>
            <a:off x="6396559" y="3054705"/>
            <a:ext cx="2251851" cy="2745803"/>
          </a:xfrm>
        </p:spPr>
        <p:txBody>
          <a:bodyPr>
            <a:normAutofit/>
          </a:bodyPr>
          <a:lstStyle>
            <a:lvl1pPr marL="177796" indent="-177796">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29" name="Text Placeholder 6">
            <a:extLst>
              <a:ext uri="{FF2B5EF4-FFF2-40B4-BE49-F238E27FC236}">
                <a16:creationId xmlns:a16="http://schemas.microsoft.com/office/drawing/2014/main" id="{3514D2BC-4EB5-482F-640F-D4ECA3398E7B}"/>
              </a:ext>
            </a:extLst>
          </p:cNvPr>
          <p:cNvSpPr>
            <a:spLocks noGrp="1"/>
          </p:cNvSpPr>
          <p:nvPr>
            <p:ph type="body" sz="quarter" idx="20"/>
          </p:nvPr>
        </p:nvSpPr>
        <p:spPr>
          <a:xfrm>
            <a:off x="6396559" y="2501966"/>
            <a:ext cx="2251851" cy="443199"/>
          </a:xfrm>
        </p:spPr>
        <p:txBody>
          <a:bodyPr wrap="square" anchor="ctr">
            <a:noAutofit/>
          </a:bodyPr>
          <a:lstStyle>
            <a:lvl1pPr>
              <a:lnSpc>
                <a:spcPct val="90000"/>
              </a:lnSpc>
              <a:defRPr sz="2000" b="1">
                <a:solidFill>
                  <a:schemeClr val="accent4"/>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176B8D71-6027-E9D4-DE0B-4336DE4C8765}"/>
              </a:ext>
            </a:extLst>
          </p:cNvPr>
          <p:cNvSpPr>
            <a:spLocks noGrp="1"/>
          </p:cNvSpPr>
          <p:nvPr>
            <p:ph type="body" sz="quarter" idx="21"/>
          </p:nvPr>
        </p:nvSpPr>
        <p:spPr>
          <a:xfrm>
            <a:off x="9244461" y="3054705"/>
            <a:ext cx="2290923" cy="2745803"/>
          </a:xfrm>
        </p:spPr>
        <p:txBody>
          <a:bodyPr>
            <a:normAutofit/>
          </a:bodyPr>
          <a:lstStyle>
            <a:lvl1pPr marL="177796" indent="-177796">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006DA17C-A871-793A-2C8F-F98A0EDA8ED0}"/>
              </a:ext>
            </a:extLst>
          </p:cNvPr>
          <p:cNvSpPr>
            <a:spLocks noGrp="1"/>
          </p:cNvSpPr>
          <p:nvPr>
            <p:ph type="body" sz="quarter" idx="22"/>
          </p:nvPr>
        </p:nvSpPr>
        <p:spPr>
          <a:xfrm>
            <a:off x="9244461" y="2501966"/>
            <a:ext cx="2290923" cy="443199"/>
          </a:xfrm>
        </p:spPr>
        <p:txBody>
          <a:bodyPr wrap="square" anchor="ctr">
            <a:noAutofit/>
          </a:bodyPr>
          <a:lstStyle>
            <a:lvl1pPr>
              <a:lnSpc>
                <a:spcPct val="90000"/>
              </a:lnSpc>
              <a:defRPr sz="2000" b="1">
                <a:solidFill>
                  <a:schemeClr val="accent5"/>
                </a:solidFill>
              </a:defRPr>
            </a:lvl1pPr>
          </a:lstStyle>
          <a:p>
            <a:pPr lvl="0"/>
            <a:r>
              <a:rPr lang="en-GB"/>
              <a:t>Click to edit Master text styles</a:t>
            </a:r>
          </a:p>
        </p:txBody>
      </p:sp>
    </p:spTree>
    <p:extLst>
      <p:ext uri="{BB962C8B-B14F-4D97-AF65-F5344CB8AC3E}">
        <p14:creationId xmlns:p14="http://schemas.microsoft.com/office/powerpoint/2010/main" val="1364076315"/>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1_Text + Quot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20" y="368300"/>
            <a:ext cx="11163869" cy="592779"/>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6"/>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8" name="Slide Number Placeholder 2">
            <a:extLst>
              <a:ext uri="{FF2B5EF4-FFF2-40B4-BE49-F238E27FC236}">
                <a16:creationId xmlns:a16="http://schemas.microsoft.com/office/drawing/2014/main" id="{8D67BD3D-5E5B-2957-7B72-B286DEA69454}"/>
              </a:ext>
            </a:extLst>
          </p:cNvPr>
          <p:cNvSpPr>
            <a:spLocks noGrp="1"/>
          </p:cNvSpPr>
          <p:nvPr>
            <p:ph type="sldNum" sz="quarter" idx="12"/>
          </p:nvPr>
        </p:nvSpPr>
        <p:spPr>
          <a:xfrm>
            <a:off x="515938" y="6353142"/>
            <a:ext cx="261631" cy="136527"/>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9" name="Straight Connector 18">
            <a:extLst>
              <a:ext uri="{FF2B5EF4-FFF2-40B4-BE49-F238E27FC236}">
                <a16:creationId xmlns:a16="http://schemas.microsoft.com/office/drawing/2014/main" id="{11DD0B93-9CA3-DE96-64E9-7FECBAD37972}"/>
              </a:ext>
            </a:extLst>
          </p:cNvPr>
          <p:cNvCxnSpPr>
            <a:cxnSpLocks/>
          </p:cNvCxnSpPr>
          <p:nvPr userDrawn="1"/>
        </p:nvCxnSpPr>
        <p:spPr>
          <a:xfrm>
            <a:off x="515938"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0" name="Footer Placeholder 1">
            <a:extLst>
              <a:ext uri="{FF2B5EF4-FFF2-40B4-BE49-F238E27FC236}">
                <a16:creationId xmlns:a16="http://schemas.microsoft.com/office/drawing/2014/main" id="{F3526303-0969-95FB-D8FA-0C9E3916524B}"/>
              </a:ext>
            </a:extLst>
          </p:cNvPr>
          <p:cNvSpPr>
            <a:spLocks noGrp="1"/>
          </p:cNvSpPr>
          <p:nvPr>
            <p:ph type="ftr" sz="quarter" idx="11"/>
          </p:nvPr>
        </p:nvSpPr>
        <p:spPr>
          <a:xfrm>
            <a:off x="777567" y="6353142"/>
            <a:ext cx="4114800" cy="136527"/>
          </a:xfrm>
          <a:prstGeom prst="rect">
            <a:avLst/>
          </a:prstGeom>
        </p:spPr>
        <p:txBody>
          <a:bodyPr anchor="b"/>
          <a:lstStyle>
            <a:lvl1pPr>
              <a:defRPr sz="800"/>
            </a:lvl1pPr>
          </a:lstStyle>
          <a:p>
            <a:r>
              <a:rPr lang="en-US"/>
              <a:t>United Against Rabies Forum Meeting - 6-8 November 2023</a:t>
            </a:r>
            <a:endParaRPr lang="en-GB"/>
          </a:p>
        </p:txBody>
      </p:sp>
      <p:pic>
        <p:nvPicPr>
          <p:cNvPr id="21" name="Picture 11">
            <a:extLst>
              <a:ext uri="{FF2B5EF4-FFF2-40B4-BE49-F238E27FC236}">
                <a16:creationId xmlns:a16="http://schemas.microsoft.com/office/drawing/2014/main" id="{24A4E3D3-8EF4-A80C-4780-9639C12D4E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5" y="6109976"/>
            <a:ext cx="1036776" cy="381653"/>
          </a:xfrm>
          <a:prstGeom prst="rect">
            <a:avLst/>
          </a:prstGeom>
        </p:spPr>
      </p:pic>
      <p:sp>
        <p:nvSpPr>
          <p:cNvPr id="12" name="Text Placeholder 8">
            <a:extLst>
              <a:ext uri="{FF2B5EF4-FFF2-40B4-BE49-F238E27FC236}">
                <a16:creationId xmlns:a16="http://schemas.microsoft.com/office/drawing/2014/main" id="{6DFBA0EA-6763-E017-8DB4-792094E59657}"/>
              </a:ext>
            </a:extLst>
          </p:cNvPr>
          <p:cNvSpPr>
            <a:spLocks noGrp="1"/>
          </p:cNvSpPr>
          <p:nvPr>
            <p:ph type="body" idx="21"/>
          </p:nvPr>
        </p:nvSpPr>
        <p:spPr>
          <a:xfrm>
            <a:off x="6652260" y="1304924"/>
            <a:ext cx="5033328" cy="4608501"/>
          </a:xfrm>
        </p:spPr>
        <p:txBody>
          <a:bodyPr numCol="1" spcCol="180000">
            <a:noAutofit/>
          </a:bodyPr>
          <a:lstStyle>
            <a:lvl1pPr marL="0" indent="0">
              <a:spcAft>
                <a:spcPts val="1200"/>
              </a:spcAft>
              <a:buClr>
                <a:schemeClr val="bg2"/>
              </a:buClr>
              <a:buFont typeface="Arial" panose="020B0604020202020204" pitchFamily="34" charset="0"/>
              <a:buNone/>
              <a:defRPr sz="2400" b="1">
                <a:solidFill>
                  <a:schemeClr val="accent4"/>
                </a:solidFill>
              </a:defRPr>
            </a:lvl1pPr>
            <a:lvl2pPr marL="457189"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Tree>
    <p:extLst>
      <p:ext uri="{BB962C8B-B14F-4D97-AF65-F5344CB8AC3E}">
        <p14:creationId xmlns:p14="http://schemas.microsoft.com/office/powerpoint/2010/main" val="1993490178"/>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ext, Quote + Imag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20" y="368300"/>
            <a:ext cx="11163869" cy="592779"/>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6"/>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7" name="Picture Placeholder 2">
            <a:extLst>
              <a:ext uri="{FF2B5EF4-FFF2-40B4-BE49-F238E27FC236}">
                <a16:creationId xmlns:a16="http://schemas.microsoft.com/office/drawing/2014/main" id="{D7BA9708-B496-A663-CB06-FD4F2E3602E5}"/>
              </a:ext>
            </a:extLst>
          </p:cNvPr>
          <p:cNvSpPr>
            <a:spLocks noGrp="1"/>
          </p:cNvSpPr>
          <p:nvPr>
            <p:ph type="pic" sz="quarter" idx="20"/>
          </p:nvPr>
        </p:nvSpPr>
        <p:spPr>
          <a:xfrm>
            <a:off x="6359526" y="3227929"/>
            <a:ext cx="5326063" cy="2685507"/>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18" name="Slide Number Placeholder 2">
            <a:extLst>
              <a:ext uri="{FF2B5EF4-FFF2-40B4-BE49-F238E27FC236}">
                <a16:creationId xmlns:a16="http://schemas.microsoft.com/office/drawing/2014/main" id="{8D67BD3D-5E5B-2957-7B72-B286DEA69454}"/>
              </a:ext>
            </a:extLst>
          </p:cNvPr>
          <p:cNvSpPr>
            <a:spLocks noGrp="1"/>
          </p:cNvSpPr>
          <p:nvPr>
            <p:ph type="sldNum" sz="quarter" idx="12"/>
          </p:nvPr>
        </p:nvSpPr>
        <p:spPr>
          <a:xfrm>
            <a:off x="515938" y="6353142"/>
            <a:ext cx="261631" cy="136527"/>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9" name="Straight Connector 18">
            <a:extLst>
              <a:ext uri="{FF2B5EF4-FFF2-40B4-BE49-F238E27FC236}">
                <a16:creationId xmlns:a16="http://schemas.microsoft.com/office/drawing/2014/main" id="{11DD0B93-9CA3-DE96-64E9-7FECBAD37972}"/>
              </a:ext>
            </a:extLst>
          </p:cNvPr>
          <p:cNvCxnSpPr>
            <a:cxnSpLocks/>
          </p:cNvCxnSpPr>
          <p:nvPr userDrawn="1"/>
        </p:nvCxnSpPr>
        <p:spPr>
          <a:xfrm>
            <a:off x="515938"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0" name="Footer Placeholder 1">
            <a:extLst>
              <a:ext uri="{FF2B5EF4-FFF2-40B4-BE49-F238E27FC236}">
                <a16:creationId xmlns:a16="http://schemas.microsoft.com/office/drawing/2014/main" id="{F3526303-0969-95FB-D8FA-0C9E3916524B}"/>
              </a:ext>
            </a:extLst>
          </p:cNvPr>
          <p:cNvSpPr>
            <a:spLocks noGrp="1"/>
          </p:cNvSpPr>
          <p:nvPr>
            <p:ph type="ftr" sz="quarter" idx="11"/>
          </p:nvPr>
        </p:nvSpPr>
        <p:spPr>
          <a:xfrm>
            <a:off x="777567" y="6353142"/>
            <a:ext cx="4114800" cy="136527"/>
          </a:xfrm>
          <a:prstGeom prst="rect">
            <a:avLst/>
          </a:prstGeom>
        </p:spPr>
        <p:txBody>
          <a:bodyPr anchor="b"/>
          <a:lstStyle>
            <a:lvl1pPr>
              <a:defRPr sz="800"/>
            </a:lvl1pPr>
          </a:lstStyle>
          <a:p>
            <a:r>
              <a:rPr lang="en-US"/>
              <a:t>United Against Rabies Forum Meeting - 6-8 November 2023</a:t>
            </a:r>
            <a:endParaRPr lang="en-GB"/>
          </a:p>
        </p:txBody>
      </p:sp>
      <p:pic>
        <p:nvPicPr>
          <p:cNvPr id="21" name="Picture 11">
            <a:extLst>
              <a:ext uri="{FF2B5EF4-FFF2-40B4-BE49-F238E27FC236}">
                <a16:creationId xmlns:a16="http://schemas.microsoft.com/office/drawing/2014/main" id="{24A4E3D3-8EF4-A80C-4780-9639C12D4E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5" y="6109976"/>
            <a:ext cx="1036776" cy="381653"/>
          </a:xfrm>
          <a:prstGeom prst="rect">
            <a:avLst/>
          </a:prstGeom>
        </p:spPr>
      </p:pic>
      <p:sp>
        <p:nvSpPr>
          <p:cNvPr id="12" name="Text Placeholder 8">
            <a:extLst>
              <a:ext uri="{FF2B5EF4-FFF2-40B4-BE49-F238E27FC236}">
                <a16:creationId xmlns:a16="http://schemas.microsoft.com/office/drawing/2014/main" id="{6DFBA0EA-6763-E017-8DB4-792094E59657}"/>
              </a:ext>
            </a:extLst>
          </p:cNvPr>
          <p:cNvSpPr>
            <a:spLocks noGrp="1"/>
          </p:cNvSpPr>
          <p:nvPr>
            <p:ph type="body" idx="21"/>
          </p:nvPr>
        </p:nvSpPr>
        <p:spPr>
          <a:xfrm>
            <a:off x="6345193" y="1304926"/>
            <a:ext cx="5340395" cy="312265"/>
          </a:xfrm>
        </p:spPr>
        <p:txBody>
          <a:bodyPr numCol="1" spcCol="180000">
            <a:spAutoFit/>
          </a:bodyPr>
          <a:lstStyle>
            <a:lvl1pPr marL="0" indent="0">
              <a:spcAft>
                <a:spcPts val="600"/>
              </a:spcAft>
              <a:buClr>
                <a:schemeClr val="bg2"/>
              </a:buClr>
              <a:buFont typeface="Arial" panose="020B0604020202020204" pitchFamily="34" charset="0"/>
              <a:buNone/>
              <a:defRPr b="1">
                <a:solidFill>
                  <a:schemeClr val="accent4"/>
                </a:solidFill>
              </a:defRPr>
            </a:lvl1pPr>
            <a:lvl2pPr marL="457189"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13" name="Text Placeholder 8">
            <a:extLst>
              <a:ext uri="{FF2B5EF4-FFF2-40B4-BE49-F238E27FC236}">
                <a16:creationId xmlns:a16="http://schemas.microsoft.com/office/drawing/2014/main" id="{4BC205A0-AF05-E822-A6D1-8E80B8895804}"/>
              </a:ext>
            </a:extLst>
          </p:cNvPr>
          <p:cNvSpPr>
            <a:spLocks noGrp="1"/>
          </p:cNvSpPr>
          <p:nvPr>
            <p:ph type="body" idx="22" hasCustomPrompt="1"/>
          </p:nvPr>
        </p:nvSpPr>
        <p:spPr>
          <a:xfrm>
            <a:off x="6345193" y="5962960"/>
            <a:ext cx="5340395" cy="140488"/>
          </a:xfrm>
        </p:spPr>
        <p:txBody>
          <a:bodyPr numCol="1" spcCol="180000">
            <a:spAutoFit/>
          </a:bodyPr>
          <a:lstStyle>
            <a:lvl1pPr marL="0" indent="0">
              <a:spcAft>
                <a:spcPts val="600"/>
              </a:spcAft>
              <a:buClr>
                <a:schemeClr val="bg2"/>
              </a:buClr>
              <a:buFont typeface="Arial" panose="020B0604020202020204" pitchFamily="34" charset="0"/>
              <a:buNone/>
              <a:defRPr sz="900" b="0">
                <a:solidFill>
                  <a:schemeClr val="bg1">
                    <a:lumMod val="65000"/>
                  </a:schemeClr>
                </a:solidFill>
              </a:defRPr>
            </a:lvl1pPr>
            <a:lvl2pPr marL="457189"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Optional image caption</a:t>
            </a:r>
          </a:p>
        </p:txBody>
      </p:sp>
    </p:spTree>
    <p:extLst>
      <p:ext uri="{BB962C8B-B14F-4D97-AF65-F5344CB8AC3E}">
        <p14:creationId xmlns:p14="http://schemas.microsoft.com/office/powerpoint/2010/main" val="1373899555"/>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ext + 2 Imag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21" y="368300"/>
            <a:ext cx="5574281" cy="592779"/>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6"/>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 name="Picture Placeholder 2">
            <a:extLst>
              <a:ext uri="{FF2B5EF4-FFF2-40B4-BE49-F238E27FC236}">
                <a16:creationId xmlns:a16="http://schemas.microsoft.com/office/drawing/2014/main" id="{15315BB4-CEA5-4429-26F4-D4B56B8BE141}"/>
              </a:ext>
            </a:extLst>
          </p:cNvPr>
          <p:cNvSpPr>
            <a:spLocks noGrp="1"/>
          </p:cNvSpPr>
          <p:nvPr>
            <p:ph type="pic" sz="quarter" idx="19"/>
          </p:nvPr>
        </p:nvSpPr>
        <p:spPr>
          <a:xfrm>
            <a:off x="6359526" y="368301"/>
            <a:ext cx="5326063" cy="2685505"/>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17" name="Picture Placeholder 2">
            <a:extLst>
              <a:ext uri="{FF2B5EF4-FFF2-40B4-BE49-F238E27FC236}">
                <a16:creationId xmlns:a16="http://schemas.microsoft.com/office/drawing/2014/main" id="{D7BA9708-B496-A663-CB06-FD4F2E3602E5}"/>
              </a:ext>
            </a:extLst>
          </p:cNvPr>
          <p:cNvSpPr>
            <a:spLocks noGrp="1"/>
          </p:cNvSpPr>
          <p:nvPr>
            <p:ph type="pic" sz="quarter" idx="20"/>
          </p:nvPr>
        </p:nvSpPr>
        <p:spPr>
          <a:xfrm>
            <a:off x="6359526" y="3227929"/>
            <a:ext cx="5326063" cy="2685507"/>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18" name="Slide Number Placeholder 2">
            <a:extLst>
              <a:ext uri="{FF2B5EF4-FFF2-40B4-BE49-F238E27FC236}">
                <a16:creationId xmlns:a16="http://schemas.microsoft.com/office/drawing/2014/main" id="{8D67BD3D-5E5B-2957-7B72-B286DEA69454}"/>
              </a:ext>
            </a:extLst>
          </p:cNvPr>
          <p:cNvSpPr>
            <a:spLocks noGrp="1"/>
          </p:cNvSpPr>
          <p:nvPr>
            <p:ph type="sldNum" sz="quarter" idx="12"/>
          </p:nvPr>
        </p:nvSpPr>
        <p:spPr>
          <a:xfrm>
            <a:off x="515938" y="6353142"/>
            <a:ext cx="261631" cy="136527"/>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9" name="Straight Connector 18">
            <a:extLst>
              <a:ext uri="{FF2B5EF4-FFF2-40B4-BE49-F238E27FC236}">
                <a16:creationId xmlns:a16="http://schemas.microsoft.com/office/drawing/2014/main" id="{11DD0B93-9CA3-DE96-64E9-7FECBAD37972}"/>
              </a:ext>
            </a:extLst>
          </p:cNvPr>
          <p:cNvCxnSpPr>
            <a:cxnSpLocks/>
          </p:cNvCxnSpPr>
          <p:nvPr userDrawn="1"/>
        </p:nvCxnSpPr>
        <p:spPr>
          <a:xfrm>
            <a:off x="515938"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0" name="Footer Placeholder 1">
            <a:extLst>
              <a:ext uri="{FF2B5EF4-FFF2-40B4-BE49-F238E27FC236}">
                <a16:creationId xmlns:a16="http://schemas.microsoft.com/office/drawing/2014/main" id="{F3526303-0969-95FB-D8FA-0C9E3916524B}"/>
              </a:ext>
            </a:extLst>
          </p:cNvPr>
          <p:cNvSpPr>
            <a:spLocks noGrp="1"/>
          </p:cNvSpPr>
          <p:nvPr>
            <p:ph type="ftr" sz="quarter" idx="11"/>
          </p:nvPr>
        </p:nvSpPr>
        <p:spPr>
          <a:xfrm>
            <a:off x="777567" y="6353142"/>
            <a:ext cx="4114800" cy="136527"/>
          </a:xfrm>
          <a:prstGeom prst="rect">
            <a:avLst/>
          </a:prstGeom>
        </p:spPr>
        <p:txBody>
          <a:bodyPr anchor="b"/>
          <a:lstStyle>
            <a:lvl1pPr>
              <a:defRPr sz="800"/>
            </a:lvl1pPr>
          </a:lstStyle>
          <a:p>
            <a:r>
              <a:rPr lang="en-US"/>
              <a:t>United Against Rabies Forum Meeting - 6-8 November 2023</a:t>
            </a:r>
            <a:endParaRPr lang="en-GB"/>
          </a:p>
        </p:txBody>
      </p:sp>
      <p:pic>
        <p:nvPicPr>
          <p:cNvPr id="21" name="Picture 11">
            <a:extLst>
              <a:ext uri="{FF2B5EF4-FFF2-40B4-BE49-F238E27FC236}">
                <a16:creationId xmlns:a16="http://schemas.microsoft.com/office/drawing/2014/main" id="{24A4E3D3-8EF4-A80C-4780-9639C12D4E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5" y="6109976"/>
            <a:ext cx="1036776" cy="381653"/>
          </a:xfrm>
          <a:prstGeom prst="rect">
            <a:avLst/>
          </a:prstGeom>
        </p:spPr>
      </p:pic>
      <p:sp>
        <p:nvSpPr>
          <p:cNvPr id="12" name="Text Placeholder 8">
            <a:extLst>
              <a:ext uri="{FF2B5EF4-FFF2-40B4-BE49-F238E27FC236}">
                <a16:creationId xmlns:a16="http://schemas.microsoft.com/office/drawing/2014/main" id="{02F1485A-E0B4-C14E-58C4-9144A8FEE29C}"/>
              </a:ext>
            </a:extLst>
          </p:cNvPr>
          <p:cNvSpPr>
            <a:spLocks noGrp="1"/>
          </p:cNvSpPr>
          <p:nvPr>
            <p:ph type="body" idx="22" hasCustomPrompt="1"/>
          </p:nvPr>
        </p:nvSpPr>
        <p:spPr>
          <a:xfrm>
            <a:off x="6345193" y="5962960"/>
            <a:ext cx="5340395" cy="140488"/>
          </a:xfrm>
        </p:spPr>
        <p:txBody>
          <a:bodyPr numCol="1" spcCol="180000">
            <a:spAutoFit/>
          </a:bodyPr>
          <a:lstStyle>
            <a:lvl1pPr marL="0" indent="0">
              <a:spcAft>
                <a:spcPts val="600"/>
              </a:spcAft>
              <a:buClr>
                <a:schemeClr val="bg2"/>
              </a:buClr>
              <a:buFont typeface="Arial" panose="020B0604020202020204" pitchFamily="34" charset="0"/>
              <a:buNone/>
              <a:defRPr sz="900" b="0">
                <a:solidFill>
                  <a:schemeClr val="bg1">
                    <a:lumMod val="65000"/>
                  </a:schemeClr>
                </a:solidFill>
              </a:defRPr>
            </a:lvl1pPr>
            <a:lvl2pPr marL="457189"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Optional image caption</a:t>
            </a:r>
          </a:p>
        </p:txBody>
      </p:sp>
    </p:spTree>
    <p:extLst>
      <p:ext uri="{BB962C8B-B14F-4D97-AF65-F5344CB8AC3E}">
        <p14:creationId xmlns:p14="http://schemas.microsoft.com/office/powerpoint/2010/main" val="391792562"/>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1_Text + Image 1">
    <p:spTree>
      <p:nvGrpSpPr>
        <p:cNvPr id="1" name=""/>
        <p:cNvGrpSpPr/>
        <p:nvPr/>
      </p:nvGrpSpPr>
      <p:grpSpPr>
        <a:xfrm>
          <a:off x="0" y="0"/>
          <a:ext cx="0" cy="0"/>
          <a:chOff x="0" y="0"/>
          <a:chExt cx="0" cy="0"/>
        </a:xfrm>
      </p:grpSpPr>
      <p:sp>
        <p:nvSpPr>
          <p:cNvPr id="12" name="Picture Placeholder 27">
            <a:extLst>
              <a:ext uri="{FF2B5EF4-FFF2-40B4-BE49-F238E27FC236}">
                <a16:creationId xmlns:a16="http://schemas.microsoft.com/office/drawing/2014/main" id="{1426049D-A517-EA42-AFCA-8DDB22C6BA37}"/>
              </a:ext>
            </a:extLst>
          </p:cNvPr>
          <p:cNvSpPr>
            <a:spLocks noGrp="1"/>
          </p:cNvSpPr>
          <p:nvPr>
            <p:ph type="pic" sz="quarter" idx="15" hasCustomPrompt="1"/>
          </p:nvPr>
        </p:nvSpPr>
        <p:spPr>
          <a:xfrm>
            <a:off x="6495588" y="-10507"/>
            <a:ext cx="5711376" cy="6879020"/>
          </a:xfrm>
          <a:custGeom>
            <a:avLst/>
            <a:gdLst>
              <a:gd name="connsiteX0" fmla="*/ 0 w 7962406"/>
              <a:gd name="connsiteY0" fmla="*/ 0 h 6857999"/>
              <a:gd name="connsiteX1" fmla="*/ 7962406 w 7962406"/>
              <a:gd name="connsiteY1" fmla="*/ 0 h 6857999"/>
              <a:gd name="connsiteX2" fmla="*/ 7962406 w 7962406"/>
              <a:gd name="connsiteY2" fmla="*/ 6857999 h 6857999"/>
              <a:gd name="connsiteX3" fmla="*/ 1019785 w 7962406"/>
              <a:gd name="connsiteY3" fmla="*/ 6857999 h 6857999"/>
              <a:gd name="connsiteX4" fmla="*/ 0 w 7962406"/>
              <a:gd name="connsiteY4" fmla="*/ 5838214 h 6857999"/>
              <a:gd name="connsiteX0" fmla="*/ 0 w 7962406"/>
              <a:gd name="connsiteY0" fmla="*/ 0 h 6857999"/>
              <a:gd name="connsiteX1" fmla="*/ 6039013 w 7962406"/>
              <a:gd name="connsiteY1" fmla="*/ 84083 h 6857999"/>
              <a:gd name="connsiteX2" fmla="*/ 7962406 w 7962406"/>
              <a:gd name="connsiteY2" fmla="*/ 6857999 h 6857999"/>
              <a:gd name="connsiteX3" fmla="*/ 1019785 w 7962406"/>
              <a:gd name="connsiteY3" fmla="*/ 6857999 h 6857999"/>
              <a:gd name="connsiteX4" fmla="*/ 0 w 7962406"/>
              <a:gd name="connsiteY4" fmla="*/ 5838214 h 6857999"/>
              <a:gd name="connsiteX5" fmla="*/ 0 w 7962406"/>
              <a:gd name="connsiteY5" fmla="*/ 0 h 6857999"/>
              <a:gd name="connsiteX0" fmla="*/ 0 w 7962406"/>
              <a:gd name="connsiteY0" fmla="*/ 10510 h 6868509"/>
              <a:gd name="connsiteX1" fmla="*/ 6144117 w 7962406"/>
              <a:gd name="connsiteY1" fmla="*/ 0 h 6868509"/>
              <a:gd name="connsiteX2" fmla="*/ 7962406 w 7962406"/>
              <a:gd name="connsiteY2" fmla="*/ 6868509 h 6868509"/>
              <a:gd name="connsiteX3" fmla="*/ 1019785 w 7962406"/>
              <a:gd name="connsiteY3" fmla="*/ 6868509 h 6868509"/>
              <a:gd name="connsiteX4" fmla="*/ 0 w 7962406"/>
              <a:gd name="connsiteY4" fmla="*/ 5848724 h 6868509"/>
              <a:gd name="connsiteX5" fmla="*/ 0 w 7962406"/>
              <a:gd name="connsiteY5" fmla="*/ 10510 h 6868509"/>
              <a:gd name="connsiteX0" fmla="*/ 0 w 6144117"/>
              <a:gd name="connsiteY0" fmla="*/ 10510 h 6868509"/>
              <a:gd name="connsiteX1" fmla="*/ 6144117 w 6144117"/>
              <a:gd name="connsiteY1" fmla="*/ 0 h 6868509"/>
              <a:gd name="connsiteX2" fmla="*/ 5660640 w 6144117"/>
              <a:gd name="connsiteY2" fmla="*/ 6563709 h 6868509"/>
              <a:gd name="connsiteX3" fmla="*/ 1019785 w 6144117"/>
              <a:gd name="connsiteY3" fmla="*/ 6868509 h 6868509"/>
              <a:gd name="connsiteX4" fmla="*/ 0 w 6144117"/>
              <a:gd name="connsiteY4" fmla="*/ 5848724 h 6868509"/>
              <a:gd name="connsiteX5" fmla="*/ 0 w 6144117"/>
              <a:gd name="connsiteY5" fmla="*/ 10510 h 6868509"/>
              <a:gd name="connsiteX0" fmla="*/ 0 w 6154626"/>
              <a:gd name="connsiteY0" fmla="*/ 10510 h 6879020"/>
              <a:gd name="connsiteX1" fmla="*/ 6144117 w 6154626"/>
              <a:gd name="connsiteY1" fmla="*/ 0 h 6879020"/>
              <a:gd name="connsiteX2" fmla="*/ 6154626 w 6154626"/>
              <a:gd name="connsiteY2" fmla="*/ 6879020 h 6879020"/>
              <a:gd name="connsiteX3" fmla="*/ 1019785 w 6154626"/>
              <a:gd name="connsiteY3" fmla="*/ 6868509 h 6879020"/>
              <a:gd name="connsiteX4" fmla="*/ 0 w 6154626"/>
              <a:gd name="connsiteY4" fmla="*/ 5848724 h 6879020"/>
              <a:gd name="connsiteX5" fmla="*/ 0 w 6154626"/>
              <a:gd name="connsiteY5" fmla="*/ 10510 h 6879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54626" h="6879020">
                <a:moveTo>
                  <a:pt x="0" y="10510"/>
                </a:moveTo>
                <a:lnTo>
                  <a:pt x="6144117" y="0"/>
                </a:lnTo>
                <a:lnTo>
                  <a:pt x="6154626" y="6879020"/>
                </a:lnTo>
                <a:lnTo>
                  <a:pt x="1019785" y="6868509"/>
                </a:lnTo>
                <a:cubicBezTo>
                  <a:pt x="456573" y="6868509"/>
                  <a:pt x="0" y="6411936"/>
                  <a:pt x="0" y="5848724"/>
                </a:cubicBezTo>
                <a:lnTo>
                  <a:pt x="0" y="10510"/>
                </a:lnTo>
                <a:close/>
              </a:path>
            </a:pathLst>
          </a:custGeom>
          <a:solidFill>
            <a:schemeClr val="bg1">
              <a:lumMod val="85000"/>
            </a:schemeClr>
          </a:solidFill>
        </p:spPr>
        <p:txBody>
          <a:bodyPr wrap="square" anchor="ctr">
            <a:noAutofit/>
          </a:bodyPr>
          <a:lstStyle>
            <a:lvl1pPr marL="0" indent="0" algn="ctr">
              <a:buNone/>
              <a:defRPr>
                <a:solidFill>
                  <a:schemeClr val="bg1">
                    <a:lumMod val="50000"/>
                  </a:schemeClr>
                </a:solidFill>
              </a:defRPr>
            </a:lvl1pPr>
          </a:lstStyle>
          <a:p>
            <a:r>
              <a:rPr lang="en-GB"/>
              <a:t>Click icon to insert picture</a:t>
            </a:r>
          </a:p>
        </p:txBody>
      </p:sp>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21" y="368300"/>
            <a:ext cx="5574281" cy="592779"/>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6"/>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8" y="6353142"/>
            <a:ext cx="261631" cy="136527"/>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8" y="6293461"/>
            <a:ext cx="5580063"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7"/>
          </a:xfrm>
          <a:prstGeom prst="rect">
            <a:avLst/>
          </a:prstGeom>
        </p:spPr>
        <p:txBody>
          <a:bodyPr anchor="b"/>
          <a:lstStyle>
            <a:lvl1pPr>
              <a:defRPr sz="800"/>
            </a:lvl1pPr>
          </a:lstStyle>
          <a:p>
            <a:r>
              <a:rPr lang="en-US"/>
              <a:t>United Against Rabies Forum Meeting - 6-8 November 2023</a:t>
            </a:r>
            <a:endParaRPr lang="en-GB"/>
          </a:p>
        </p:txBody>
      </p:sp>
      <p:sp>
        <p:nvSpPr>
          <p:cNvPr id="5" name="Text Placeholder 4">
            <a:extLst>
              <a:ext uri="{FF2B5EF4-FFF2-40B4-BE49-F238E27FC236}">
                <a16:creationId xmlns:a16="http://schemas.microsoft.com/office/drawing/2014/main" id="{0CE04A98-CDC1-2043-A233-CAA53ED2E1A4}"/>
              </a:ext>
            </a:extLst>
          </p:cNvPr>
          <p:cNvSpPr>
            <a:spLocks noGrp="1"/>
          </p:cNvSpPr>
          <p:nvPr>
            <p:ph type="body" sz="quarter" idx="16" hasCustomPrompt="1"/>
          </p:nvPr>
        </p:nvSpPr>
        <p:spPr>
          <a:xfrm>
            <a:off x="10643130"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Tree>
    <p:extLst>
      <p:ext uri="{BB962C8B-B14F-4D97-AF65-F5344CB8AC3E}">
        <p14:creationId xmlns:p14="http://schemas.microsoft.com/office/powerpoint/2010/main" val="3589815205"/>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ext + Image 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21" y="368300"/>
            <a:ext cx="5574281" cy="592779"/>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6"/>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8" y="6353142"/>
            <a:ext cx="261631" cy="136527"/>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8" y="6293461"/>
            <a:ext cx="5580063"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7"/>
          </a:xfrm>
          <a:prstGeom prst="rect">
            <a:avLst/>
          </a:prstGeom>
        </p:spPr>
        <p:txBody>
          <a:bodyPr anchor="b"/>
          <a:lstStyle>
            <a:lvl1pPr>
              <a:defRPr sz="800"/>
            </a:lvl1pPr>
          </a:lstStyle>
          <a:p>
            <a:r>
              <a:rPr lang="en-US"/>
              <a:t>United Against Rabies Forum Meeting - 6-8 November 2023</a:t>
            </a:r>
            <a:endParaRPr lang="en-GB"/>
          </a:p>
        </p:txBody>
      </p:sp>
      <p:sp>
        <p:nvSpPr>
          <p:cNvPr id="5" name="Text Placeholder 4">
            <a:extLst>
              <a:ext uri="{FF2B5EF4-FFF2-40B4-BE49-F238E27FC236}">
                <a16:creationId xmlns:a16="http://schemas.microsoft.com/office/drawing/2014/main" id="{0CE04A98-CDC1-2043-A233-CAA53ED2E1A4}"/>
              </a:ext>
            </a:extLst>
          </p:cNvPr>
          <p:cNvSpPr>
            <a:spLocks noGrp="1"/>
          </p:cNvSpPr>
          <p:nvPr>
            <p:ph type="body" sz="quarter" idx="16" hasCustomPrompt="1"/>
          </p:nvPr>
        </p:nvSpPr>
        <p:spPr>
          <a:xfrm>
            <a:off x="10643130"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
        <p:nvSpPr>
          <p:cNvPr id="27" name="Picture Placeholder 26">
            <a:extLst>
              <a:ext uri="{FF2B5EF4-FFF2-40B4-BE49-F238E27FC236}">
                <a16:creationId xmlns:a16="http://schemas.microsoft.com/office/drawing/2014/main" id="{D7270696-0AB9-0445-9B12-E1B6CE40D325}"/>
              </a:ext>
            </a:extLst>
          </p:cNvPr>
          <p:cNvSpPr>
            <a:spLocks noGrp="1"/>
          </p:cNvSpPr>
          <p:nvPr>
            <p:ph type="pic" sz="quarter" idx="17"/>
          </p:nvPr>
        </p:nvSpPr>
        <p:spPr>
          <a:xfrm>
            <a:off x="5685640" y="0"/>
            <a:ext cx="6506360" cy="6858000"/>
          </a:xfrm>
          <a:custGeom>
            <a:avLst/>
            <a:gdLst>
              <a:gd name="connsiteX0" fmla="*/ 0 w 6506360"/>
              <a:gd name="connsiteY0" fmla="*/ 0 h 6858000"/>
              <a:gd name="connsiteX1" fmla="*/ 6506360 w 6506360"/>
              <a:gd name="connsiteY1" fmla="*/ 0 h 6858000"/>
              <a:gd name="connsiteX2" fmla="*/ 6506360 w 6506360"/>
              <a:gd name="connsiteY2" fmla="*/ 6858000 h 6858000"/>
              <a:gd name="connsiteX3" fmla="*/ 816590 w 6506360"/>
              <a:gd name="connsiteY3" fmla="*/ 6858000 h 6858000"/>
              <a:gd name="connsiteX4" fmla="*/ 816590 w 6506360"/>
              <a:gd name="connsiteY4" fmla="*/ 939979 h 6858000"/>
              <a:gd name="connsiteX5" fmla="*/ 57657 w 6506360"/>
              <a:gd name="connsiteY5" fmla="*/ 8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06360" h="6858000">
                <a:moveTo>
                  <a:pt x="0" y="0"/>
                </a:moveTo>
                <a:lnTo>
                  <a:pt x="6506360" y="0"/>
                </a:lnTo>
                <a:lnTo>
                  <a:pt x="6506360" y="6858000"/>
                </a:lnTo>
                <a:lnTo>
                  <a:pt x="816590" y="6858000"/>
                </a:lnTo>
                <a:lnTo>
                  <a:pt x="816590" y="939979"/>
                </a:lnTo>
                <a:cubicBezTo>
                  <a:pt x="816590" y="480656"/>
                  <a:pt x="490779" y="97429"/>
                  <a:pt x="57657" y="8800"/>
                </a:cubicBezTo>
                <a:close/>
              </a:path>
            </a:pathLst>
          </a:custGeom>
          <a:solidFill>
            <a:schemeClr val="bg1">
              <a:lumMod val="85000"/>
            </a:schemeClr>
          </a:solidFill>
        </p:spPr>
        <p:txBody>
          <a:bodyPr wrap="square" anchor="ctr">
            <a:noAutofit/>
          </a:bodyPr>
          <a:lstStyle>
            <a:lvl1pPr algn="ctr">
              <a:defRPr>
                <a:solidFill>
                  <a:schemeClr val="bg1">
                    <a:lumMod val="50000"/>
                  </a:schemeClr>
                </a:solidFill>
              </a:defRPr>
            </a:lvl1pPr>
          </a:lstStyle>
          <a:p>
            <a:r>
              <a:rPr lang="en-GB"/>
              <a:t>Click icon to add picture</a:t>
            </a:r>
          </a:p>
        </p:txBody>
      </p:sp>
      <p:sp>
        <p:nvSpPr>
          <p:cNvPr id="28" name="Text Placeholder 4">
            <a:extLst>
              <a:ext uri="{FF2B5EF4-FFF2-40B4-BE49-F238E27FC236}">
                <a16:creationId xmlns:a16="http://schemas.microsoft.com/office/drawing/2014/main" id="{7DCA613B-D18E-594C-9579-2E40707B7127}"/>
              </a:ext>
            </a:extLst>
          </p:cNvPr>
          <p:cNvSpPr>
            <a:spLocks noGrp="1"/>
          </p:cNvSpPr>
          <p:nvPr>
            <p:ph type="body" sz="quarter" idx="18" hasCustomPrompt="1"/>
          </p:nvPr>
        </p:nvSpPr>
        <p:spPr>
          <a:xfrm>
            <a:off x="10643128"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Tree>
    <p:extLst>
      <p:ext uri="{BB962C8B-B14F-4D97-AF65-F5344CB8AC3E}">
        <p14:creationId xmlns:p14="http://schemas.microsoft.com/office/powerpoint/2010/main" val="2887486381"/>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Quote + Imag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8" y="6353142"/>
            <a:ext cx="261631" cy="136527"/>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8" y="6293461"/>
            <a:ext cx="5580063"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7"/>
          </a:xfrm>
          <a:prstGeom prst="rect">
            <a:avLst/>
          </a:prstGeom>
        </p:spPr>
        <p:txBody>
          <a:bodyPr anchor="b"/>
          <a:lstStyle>
            <a:lvl1pPr>
              <a:defRPr sz="800"/>
            </a:lvl1pPr>
          </a:lstStyle>
          <a:p>
            <a:r>
              <a:rPr lang="en-US"/>
              <a:t>United Against Rabies Forum Meeting - 6-8 November 2023</a:t>
            </a:r>
            <a:endParaRPr lang="en-GB"/>
          </a:p>
        </p:txBody>
      </p:sp>
      <p:sp>
        <p:nvSpPr>
          <p:cNvPr id="5" name="Text Placeholder 4">
            <a:extLst>
              <a:ext uri="{FF2B5EF4-FFF2-40B4-BE49-F238E27FC236}">
                <a16:creationId xmlns:a16="http://schemas.microsoft.com/office/drawing/2014/main" id="{0CE04A98-CDC1-2043-A233-CAA53ED2E1A4}"/>
              </a:ext>
            </a:extLst>
          </p:cNvPr>
          <p:cNvSpPr>
            <a:spLocks noGrp="1"/>
          </p:cNvSpPr>
          <p:nvPr>
            <p:ph type="body" sz="quarter" idx="16" hasCustomPrompt="1"/>
          </p:nvPr>
        </p:nvSpPr>
        <p:spPr>
          <a:xfrm>
            <a:off x="10643130"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
        <p:nvSpPr>
          <p:cNvPr id="27" name="Picture Placeholder 26">
            <a:extLst>
              <a:ext uri="{FF2B5EF4-FFF2-40B4-BE49-F238E27FC236}">
                <a16:creationId xmlns:a16="http://schemas.microsoft.com/office/drawing/2014/main" id="{D7270696-0AB9-0445-9B12-E1B6CE40D325}"/>
              </a:ext>
            </a:extLst>
          </p:cNvPr>
          <p:cNvSpPr>
            <a:spLocks noGrp="1"/>
          </p:cNvSpPr>
          <p:nvPr>
            <p:ph type="pic" sz="quarter" idx="17"/>
          </p:nvPr>
        </p:nvSpPr>
        <p:spPr>
          <a:xfrm>
            <a:off x="5685640" y="0"/>
            <a:ext cx="6506360" cy="6858000"/>
          </a:xfrm>
          <a:custGeom>
            <a:avLst/>
            <a:gdLst>
              <a:gd name="connsiteX0" fmla="*/ 0 w 6506360"/>
              <a:gd name="connsiteY0" fmla="*/ 0 h 6858000"/>
              <a:gd name="connsiteX1" fmla="*/ 6506360 w 6506360"/>
              <a:gd name="connsiteY1" fmla="*/ 0 h 6858000"/>
              <a:gd name="connsiteX2" fmla="*/ 6506360 w 6506360"/>
              <a:gd name="connsiteY2" fmla="*/ 6858000 h 6858000"/>
              <a:gd name="connsiteX3" fmla="*/ 816590 w 6506360"/>
              <a:gd name="connsiteY3" fmla="*/ 6858000 h 6858000"/>
              <a:gd name="connsiteX4" fmla="*/ 816590 w 6506360"/>
              <a:gd name="connsiteY4" fmla="*/ 939979 h 6858000"/>
              <a:gd name="connsiteX5" fmla="*/ 57657 w 6506360"/>
              <a:gd name="connsiteY5" fmla="*/ 8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06360" h="6858000">
                <a:moveTo>
                  <a:pt x="0" y="0"/>
                </a:moveTo>
                <a:lnTo>
                  <a:pt x="6506360" y="0"/>
                </a:lnTo>
                <a:lnTo>
                  <a:pt x="6506360" y="6858000"/>
                </a:lnTo>
                <a:lnTo>
                  <a:pt x="816590" y="6858000"/>
                </a:lnTo>
                <a:lnTo>
                  <a:pt x="816590" y="939979"/>
                </a:lnTo>
                <a:cubicBezTo>
                  <a:pt x="816590" y="480656"/>
                  <a:pt x="490779" y="97429"/>
                  <a:pt x="57657" y="8800"/>
                </a:cubicBezTo>
                <a:close/>
              </a:path>
            </a:pathLst>
          </a:custGeom>
          <a:solidFill>
            <a:schemeClr val="bg1">
              <a:lumMod val="85000"/>
            </a:schemeClr>
          </a:solidFill>
        </p:spPr>
        <p:txBody>
          <a:bodyPr wrap="square" anchor="ctr">
            <a:noAutofit/>
          </a:bodyPr>
          <a:lstStyle>
            <a:lvl1pPr algn="ctr">
              <a:defRPr>
                <a:solidFill>
                  <a:schemeClr val="bg1">
                    <a:lumMod val="50000"/>
                  </a:schemeClr>
                </a:solidFill>
              </a:defRPr>
            </a:lvl1pPr>
          </a:lstStyle>
          <a:p>
            <a:r>
              <a:rPr lang="en-GB"/>
              <a:t>Click icon to add picture</a:t>
            </a:r>
          </a:p>
        </p:txBody>
      </p:sp>
      <p:sp>
        <p:nvSpPr>
          <p:cNvPr id="28" name="Text Placeholder 4">
            <a:extLst>
              <a:ext uri="{FF2B5EF4-FFF2-40B4-BE49-F238E27FC236}">
                <a16:creationId xmlns:a16="http://schemas.microsoft.com/office/drawing/2014/main" id="{7DCA613B-D18E-594C-9579-2E40707B7127}"/>
              </a:ext>
            </a:extLst>
          </p:cNvPr>
          <p:cNvSpPr>
            <a:spLocks noGrp="1"/>
          </p:cNvSpPr>
          <p:nvPr>
            <p:ph type="body" sz="quarter" idx="18" hasCustomPrompt="1"/>
          </p:nvPr>
        </p:nvSpPr>
        <p:spPr>
          <a:xfrm>
            <a:off x="10643128"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
        <p:nvSpPr>
          <p:cNvPr id="12" name="Text Placeholder 8">
            <a:extLst>
              <a:ext uri="{FF2B5EF4-FFF2-40B4-BE49-F238E27FC236}">
                <a16:creationId xmlns:a16="http://schemas.microsoft.com/office/drawing/2014/main" id="{E2F4BDEF-FEFC-0BDD-3EB4-7710855ED6AB}"/>
              </a:ext>
            </a:extLst>
          </p:cNvPr>
          <p:cNvSpPr>
            <a:spLocks noGrp="1"/>
          </p:cNvSpPr>
          <p:nvPr>
            <p:ph type="body" idx="21"/>
          </p:nvPr>
        </p:nvSpPr>
        <p:spPr>
          <a:xfrm>
            <a:off x="515938" y="1329379"/>
            <a:ext cx="5580063" cy="4637076"/>
          </a:xfrm>
        </p:spPr>
        <p:txBody>
          <a:bodyPr numCol="1" spcCol="180000" anchor="t">
            <a:noAutofit/>
          </a:bodyPr>
          <a:lstStyle>
            <a:lvl1pPr marL="0" indent="0">
              <a:lnSpc>
                <a:spcPct val="100000"/>
              </a:lnSpc>
              <a:spcAft>
                <a:spcPts val="1800"/>
              </a:spcAft>
              <a:buClr>
                <a:schemeClr val="bg2"/>
              </a:buClr>
              <a:buFont typeface="Arial" panose="020B0604020202020204" pitchFamily="34" charset="0"/>
              <a:buNone/>
              <a:defRPr sz="2800" b="1">
                <a:solidFill>
                  <a:schemeClr val="accent4"/>
                </a:solidFill>
              </a:defRPr>
            </a:lvl1pPr>
            <a:lvl2pPr marL="457189"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16" name="Title Placeholder 1">
            <a:extLst>
              <a:ext uri="{FF2B5EF4-FFF2-40B4-BE49-F238E27FC236}">
                <a16:creationId xmlns:a16="http://schemas.microsoft.com/office/drawing/2014/main" id="{D7D9C6B7-7323-827F-E01F-2EFDCE721461}"/>
              </a:ext>
            </a:extLst>
          </p:cNvPr>
          <p:cNvSpPr>
            <a:spLocks noGrp="1"/>
          </p:cNvSpPr>
          <p:nvPr>
            <p:ph type="title"/>
          </p:nvPr>
        </p:nvSpPr>
        <p:spPr>
          <a:xfrm>
            <a:off x="521721" y="368300"/>
            <a:ext cx="5574281" cy="592779"/>
          </a:xfrm>
          <a:prstGeom prst="rect">
            <a:avLst/>
          </a:prstGeom>
        </p:spPr>
        <p:txBody>
          <a:bodyPr vert="horz" lIns="0" tIns="0" rIns="0" bIns="0" rtlCol="0" anchor="t">
            <a:normAutofit/>
          </a:bodyPr>
          <a:lstStyle/>
          <a:p>
            <a:r>
              <a:rPr lang="en-GB"/>
              <a:t>Click to edit Master title style</a:t>
            </a:r>
          </a:p>
        </p:txBody>
      </p:sp>
    </p:spTree>
    <p:extLst>
      <p:ext uri="{BB962C8B-B14F-4D97-AF65-F5344CB8AC3E}">
        <p14:creationId xmlns:p14="http://schemas.microsoft.com/office/powerpoint/2010/main" val="440077611"/>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Sections + Images x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9"/>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8" y="6353142"/>
            <a:ext cx="261631" cy="136527"/>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8"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7"/>
          </a:xfrm>
          <a:prstGeom prst="rect">
            <a:avLst/>
          </a:prstGeom>
        </p:spPr>
        <p:txBody>
          <a:bodyPr anchor="b"/>
          <a:lstStyle>
            <a:lvl1pPr>
              <a:defRPr sz="800"/>
            </a:lvl1pPr>
          </a:lstStyle>
          <a:p>
            <a:r>
              <a:rPr lang="en-US"/>
              <a:t>United Against Rabies Forum Meeting - 6-8 November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5" y="6109976"/>
            <a:ext cx="1036776" cy="381653"/>
          </a:xfrm>
          <a:prstGeom prst="rect">
            <a:avLst/>
          </a:prstGeom>
        </p:spPr>
      </p:pic>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9" y="4360962"/>
            <a:ext cx="5234437" cy="1538516"/>
          </a:xfrm>
        </p:spPr>
        <p:txBody>
          <a:bodyPr>
            <a:normAutofit/>
          </a:bodyPr>
          <a:lstStyle>
            <a:lvl1pPr marL="177796" indent="-177796">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3915593"/>
            <a:ext cx="5234437" cy="281103"/>
          </a:xfrm>
        </p:spPr>
        <p:txBody>
          <a:bodyPr wrap="square">
            <a:spAutoFit/>
          </a:bodyPr>
          <a:lstStyle>
            <a:lvl1pPr>
              <a:defRPr sz="1800" b="1">
                <a:solidFill>
                  <a:schemeClr val="bg2"/>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A5AC520F-8595-0F44-99A9-F0873ACA435F}"/>
              </a:ext>
            </a:extLst>
          </p:cNvPr>
          <p:cNvSpPr>
            <a:spLocks noGrp="1"/>
          </p:cNvSpPr>
          <p:nvPr>
            <p:ph type="body" sz="quarter" idx="18"/>
          </p:nvPr>
        </p:nvSpPr>
        <p:spPr>
          <a:xfrm>
            <a:off x="6441626" y="4360962"/>
            <a:ext cx="5234437" cy="1538516"/>
          </a:xfrm>
        </p:spPr>
        <p:txBody>
          <a:bodyPr>
            <a:normAutofit/>
          </a:bodyPr>
          <a:lstStyle>
            <a:lvl1pPr marL="177796" indent="-177796">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6441626" y="3915593"/>
            <a:ext cx="5234437" cy="281103"/>
          </a:xfrm>
        </p:spPr>
        <p:txBody>
          <a:bodyPr wrap="square">
            <a:spAutoFit/>
          </a:bodyPr>
          <a:lstStyle>
            <a:lvl1pPr>
              <a:defRPr sz="1800" b="1">
                <a:solidFill>
                  <a:schemeClr val="bg2"/>
                </a:solidFill>
              </a:defRPr>
            </a:lvl1pPr>
          </a:lstStyle>
          <a:p>
            <a:pPr lvl="0"/>
            <a:r>
              <a:rPr lang="en-GB"/>
              <a:t>Click to edit Master text styles</a:t>
            </a:r>
          </a:p>
        </p:txBody>
      </p:sp>
      <p:sp>
        <p:nvSpPr>
          <p:cNvPr id="17" name="Picture Placeholder 2">
            <a:extLst>
              <a:ext uri="{FF2B5EF4-FFF2-40B4-BE49-F238E27FC236}">
                <a16:creationId xmlns:a16="http://schemas.microsoft.com/office/drawing/2014/main" id="{4EF54ED7-3E2F-C8F7-553C-1DB155F7DBDC}"/>
              </a:ext>
            </a:extLst>
          </p:cNvPr>
          <p:cNvSpPr>
            <a:spLocks noGrp="1"/>
          </p:cNvSpPr>
          <p:nvPr>
            <p:ph type="pic" sz="quarter" idx="23"/>
          </p:nvPr>
        </p:nvSpPr>
        <p:spPr>
          <a:xfrm>
            <a:off x="515938" y="1304926"/>
            <a:ext cx="5234439" cy="2400167"/>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23" name="Picture Placeholder 2">
            <a:extLst>
              <a:ext uri="{FF2B5EF4-FFF2-40B4-BE49-F238E27FC236}">
                <a16:creationId xmlns:a16="http://schemas.microsoft.com/office/drawing/2014/main" id="{BCF59FD3-6B56-67EF-C1E8-78C92005D9AE}"/>
              </a:ext>
            </a:extLst>
          </p:cNvPr>
          <p:cNvSpPr>
            <a:spLocks noGrp="1"/>
          </p:cNvSpPr>
          <p:nvPr>
            <p:ph type="pic" sz="quarter" idx="24"/>
          </p:nvPr>
        </p:nvSpPr>
        <p:spPr>
          <a:xfrm>
            <a:off x="6441626" y="1304926"/>
            <a:ext cx="5234439" cy="2400167"/>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Tree>
    <p:extLst>
      <p:ext uri="{BB962C8B-B14F-4D97-AF65-F5344CB8AC3E}">
        <p14:creationId xmlns:p14="http://schemas.microsoft.com/office/powerpoint/2010/main" val="14412569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AC22CB-54FA-4F5F-BC6E-469C2D7822E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AU"/>
          </a:p>
        </p:txBody>
      </p:sp>
      <p:sp>
        <p:nvSpPr>
          <p:cNvPr id="3" name="Text Placeholder 2">
            <a:extLst>
              <a:ext uri="{FF2B5EF4-FFF2-40B4-BE49-F238E27FC236}">
                <a16:creationId xmlns:a16="http://schemas.microsoft.com/office/drawing/2014/main" id="{E51A81A8-6363-4744-938C-007064AE9B2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0D8654B9-BF17-4298-9F0B-B0B0C603F877}"/>
              </a:ext>
            </a:extLst>
          </p:cNvPr>
          <p:cNvSpPr>
            <a:spLocks noGrp="1"/>
          </p:cNvSpPr>
          <p:nvPr>
            <p:ph type="dt" sz="half" idx="10"/>
          </p:nvPr>
        </p:nvSpPr>
        <p:spPr/>
        <p:txBody>
          <a:bodyPr/>
          <a:lstStyle/>
          <a:p>
            <a:fld id="{156EDC9E-E937-4F1C-9235-0AF50829633A}" type="datetime1">
              <a:rPr lang="en-AU" smtClean="0"/>
              <a:t>9/12/2024</a:t>
            </a:fld>
            <a:endParaRPr lang="en-AU"/>
          </a:p>
        </p:txBody>
      </p:sp>
      <p:sp>
        <p:nvSpPr>
          <p:cNvPr id="5" name="Footer Placeholder 4">
            <a:extLst>
              <a:ext uri="{FF2B5EF4-FFF2-40B4-BE49-F238E27FC236}">
                <a16:creationId xmlns:a16="http://schemas.microsoft.com/office/drawing/2014/main" id="{4E709A05-D7EF-43FC-BD62-2F716CAE6321}"/>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82C3374A-BA56-4CB7-B3B2-85909242D597}"/>
              </a:ext>
            </a:extLst>
          </p:cNvPr>
          <p:cNvSpPr>
            <a:spLocks noGrp="1"/>
          </p:cNvSpPr>
          <p:nvPr>
            <p:ph type="sldNum" sz="quarter" idx="12"/>
          </p:nvPr>
        </p:nvSpPr>
        <p:spPr/>
        <p:txBody>
          <a:bodyPr/>
          <a:lstStyle/>
          <a:p>
            <a:fld id="{33ECF85F-2FE6-4C40-9C0D-695BD934DCA6}" type="slidenum">
              <a:rPr lang="en-AU" smtClean="0"/>
              <a:t>‹#›</a:t>
            </a:fld>
            <a:endParaRPr lang="en-AU"/>
          </a:p>
        </p:txBody>
      </p:sp>
    </p:spTree>
    <p:extLst>
      <p:ext uri="{BB962C8B-B14F-4D97-AF65-F5344CB8AC3E}">
        <p14:creationId xmlns:p14="http://schemas.microsoft.com/office/powerpoint/2010/main" val="1145826472"/>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Sections + Image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9"/>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8" y="6353142"/>
            <a:ext cx="261631" cy="136527"/>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8"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7"/>
          </a:xfrm>
          <a:prstGeom prst="rect">
            <a:avLst/>
          </a:prstGeom>
        </p:spPr>
        <p:txBody>
          <a:bodyPr anchor="b"/>
          <a:lstStyle>
            <a:lvl1pPr>
              <a:defRPr sz="800"/>
            </a:lvl1pPr>
          </a:lstStyle>
          <a:p>
            <a:r>
              <a:rPr lang="en-US"/>
              <a:t>United Against Rabies Forum Meeting - 6-8 November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5" y="6109976"/>
            <a:ext cx="1036776" cy="381653"/>
          </a:xfrm>
          <a:prstGeom prst="rect">
            <a:avLst/>
          </a:prstGeom>
        </p:spPr>
      </p:pic>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9" y="3726649"/>
            <a:ext cx="3287436" cy="2121011"/>
          </a:xfrm>
        </p:spPr>
        <p:txBody>
          <a:bodyPr>
            <a:normAutofit/>
          </a:bodyPr>
          <a:lstStyle>
            <a:lvl1pPr marL="177796" indent="-177796">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3281281"/>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A5AC520F-8595-0F44-99A9-F0873ACA435F}"/>
              </a:ext>
            </a:extLst>
          </p:cNvPr>
          <p:cNvSpPr>
            <a:spLocks noGrp="1"/>
          </p:cNvSpPr>
          <p:nvPr>
            <p:ph type="body" sz="quarter" idx="18"/>
          </p:nvPr>
        </p:nvSpPr>
        <p:spPr>
          <a:xfrm>
            <a:off x="4452283" y="3726649"/>
            <a:ext cx="3287436" cy="2121011"/>
          </a:xfrm>
        </p:spPr>
        <p:txBody>
          <a:bodyPr>
            <a:normAutofit/>
          </a:bodyPr>
          <a:lstStyle>
            <a:lvl1pPr marL="177796" indent="-177796">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4452283" y="3281281"/>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AD30B9DC-1666-7446-9DFD-F674A273B468}"/>
              </a:ext>
            </a:extLst>
          </p:cNvPr>
          <p:cNvSpPr>
            <a:spLocks noGrp="1"/>
          </p:cNvSpPr>
          <p:nvPr>
            <p:ph type="body" sz="quarter" idx="21"/>
          </p:nvPr>
        </p:nvSpPr>
        <p:spPr>
          <a:xfrm>
            <a:off x="8382847" y="3733177"/>
            <a:ext cx="3287436" cy="2121011"/>
          </a:xfrm>
        </p:spPr>
        <p:txBody>
          <a:bodyPr>
            <a:normAutofit/>
          </a:bodyPr>
          <a:lstStyle>
            <a:lvl1pPr marL="177796" indent="-177796">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C7816D18-C579-DE44-B3B4-5D38198139F6}"/>
              </a:ext>
            </a:extLst>
          </p:cNvPr>
          <p:cNvSpPr>
            <a:spLocks noGrp="1"/>
          </p:cNvSpPr>
          <p:nvPr>
            <p:ph type="body" sz="quarter" idx="22"/>
          </p:nvPr>
        </p:nvSpPr>
        <p:spPr>
          <a:xfrm>
            <a:off x="8382847" y="3287809"/>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17" name="Picture Placeholder 2">
            <a:extLst>
              <a:ext uri="{FF2B5EF4-FFF2-40B4-BE49-F238E27FC236}">
                <a16:creationId xmlns:a16="http://schemas.microsoft.com/office/drawing/2014/main" id="{4EF54ED7-3E2F-C8F7-553C-1DB155F7DBDC}"/>
              </a:ext>
            </a:extLst>
          </p:cNvPr>
          <p:cNvSpPr>
            <a:spLocks noGrp="1"/>
          </p:cNvSpPr>
          <p:nvPr>
            <p:ph type="pic" sz="quarter" idx="23"/>
          </p:nvPr>
        </p:nvSpPr>
        <p:spPr>
          <a:xfrm>
            <a:off x="515939" y="1304926"/>
            <a:ext cx="3287437" cy="1826421"/>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23" name="Picture Placeholder 2">
            <a:extLst>
              <a:ext uri="{FF2B5EF4-FFF2-40B4-BE49-F238E27FC236}">
                <a16:creationId xmlns:a16="http://schemas.microsoft.com/office/drawing/2014/main" id="{BCF59FD3-6B56-67EF-C1E8-78C92005D9AE}"/>
              </a:ext>
            </a:extLst>
          </p:cNvPr>
          <p:cNvSpPr>
            <a:spLocks noGrp="1"/>
          </p:cNvSpPr>
          <p:nvPr>
            <p:ph type="pic" sz="quarter" idx="24"/>
          </p:nvPr>
        </p:nvSpPr>
        <p:spPr>
          <a:xfrm>
            <a:off x="4452282" y="1304926"/>
            <a:ext cx="3287437" cy="1826421"/>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24" name="Picture Placeholder 2">
            <a:extLst>
              <a:ext uri="{FF2B5EF4-FFF2-40B4-BE49-F238E27FC236}">
                <a16:creationId xmlns:a16="http://schemas.microsoft.com/office/drawing/2014/main" id="{AA59D731-0D13-EB6C-7B10-1B59D3D8C5AA}"/>
              </a:ext>
            </a:extLst>
          </p:cNvPr>
          <p:cNvSpPr>
            <a:spLocks noGrp="1"/>
          </p:cNvSpPr>
          <p:nvPr>
            <p:ph type="pic" sz="quarter" idx="25"/>
          </p:nvPr>
        </p:nvSpPr>
        <p:spPr>
          <a:xfrm>
            <a:off x="8388627" y="1304926"/>
            <a:ext cx="3287437" cy="1826421"/>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Tree>
    <p:extLst>
      <p:ext uri="{BB962C8B-B14F-4D97-AF65-F5344CB8AC3E}">
        <p14:creationId xmlns:p14="http://schemas.microsoft.com/office/powerpoint/2010/main" val="3923072300"/>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Key Stat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9"/>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8" y="6353142"/>
            <a:ext cx="261631" cy="136527"/>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8"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7"/>
          </a:xfrm>
          <a:prstGeom prst="rect">
            <a:avLst/>
          </a:prstGeom>
        </p:spPr>
        <p:txBody>
          <a:bodyPr anchor="b"/>
          <a:lstStyle>
            <a:lvl1pPr>
              <a:defRPr sz="800"/>
            </a:lvl1pPr>
          </a:lstStyle>
          <a:p>
            <a:r>
              <a:rPr lang="en-US"/>
              <a:t>United Against Rabies Forum Meeting - 6-8 November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5" y="6109976"/>
            <a:ext cx="1036776" cy="381653"/>
          </a:xfrm>
          <a:prstGeom prst="rect">
            <a:avLst/>
          </a:prstGeom>
        </p:spPr>
      </p:pic>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4050217"/>
            <a:ext cx="3287436" cy="1188251"/>
          </a:xfrm>
        </p:spPr>
        <p:txBody>
          <a:bodyPr>
            <a:noAutofit/>
          </a:bodyPr>
          <a:lstStyle>
            <a:lvl1pPr>
              <a:defRPr sz="1800" b="1">
                <a:solidFill>
                  <a:schemeClr val="bg2"/>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4452283" y="4050217"/>
            <a:ext cx="3287436" cy="1188251"/>
          </a:xfrm>
        </p:spPr>
        <p:txBody>
          <a:bodyPr>
            <a:noAutofit/>
          </a:bodyPr>
          <a:lstStyle>
            <a:lvl1pPr>
              <a:defRPr sz="1800" b="1">
                <a:solidFill>
                  <a:schemeClr val="bg2"/>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C7816D18-C579-DE44-B3B4-5D38198139F6}"/>
              </a:ext>
            </a:extLst>
          </p:cNvPr>
          <p:cNvSpPr>
            <a:spLocks noGrp="1"/>
          </p:cNvSpPr>
          <p:nvPr>
            <p:ph type="body" sz="quarter" idx="22"/>
          </p:nvPr>
        </p:nvSpPr>
        <p:spPr>
          <a:xfrm>
            <a:off x="8382847" y="4056745"/>
            <a:ext cx="3287436" cy="1188251"/>
          </a:xfrm>
        </p:spPr>
        <p:txBody>
          <a:bodyPr>
            <a:noAutofit/>
          </a:bodyPr>
          <a:lstStyle>
            <a:lvl1pPr>
              <a:defRPr sz="1800" b="1">
                <a:solidFill>
                  <a:schemeClr val="bg2"/>
                </a:solidFill>
              </a:defRPr>
            </a:lvl1pPr>
          </a:lstStyle>
          <a:p>
            <a:pPr lvl="0"/>
            <a:r>
              <a:rPr lang="en-GB"/>
              <a:t>Click to edit Master text styles</a:t>
            </a:r>
          </a:p>
        </p:txBody>
      </p:sp>
      <p:sp>
        <p:nvSpPr>
          <p:cNvPr id="17" name="Text Placeholder 6">
            <a:extLst>
              <a:ext uri="{FF2B5EF4-FFF2-40B4-BE49-F238E27FC236}">
                <a16:creationId xmlns:a16="http://schemas.microsoft.com/office/drawing/2014/main" id="{B0250E06-295E-B6E6-95C4-089EF7886C76}"/>
              </a:ext>
            </a:extLst>
          </p:cNvPr>
          <p:cNvSpPr>
            <a:spLocks noGrp="1"/>
          </p:cNvSpPr>
          <p:nvPr>
            <p:ph type="body" sz="quarter" idx="25" hasCustomPrompt="1"/>
          </p:nvPr>
        </p:nvSpPr>
        <p:spPr>
          <a:xfrm>
            <a:off x="515939" y="2881801"/>
            <a:ext cx="3287436" cy="1115264"/>
          </a:xfrm>
        </p:spPr>
        <p:txBody>
          <a:bodyPr anchor="b">
            <a:normAutofit/>
          </a:bodyPr>
          <a:lstStyle>
            <a:lvl1pPr>
              <a:defRPr sz="6600" b="1">
                <a:solidFill>
                  <a:schemeClr val="bg2"/>
                </a:solidFill>
              </a:defRPr>
            </a:lvl1pPr>
          </a:lstStyle>
          <a:p>
            <a:pPr lvl="0"/>
            <a:r>
              <a:rPr lang="en-GB"/>
              <a:t>XXXX</a:t>
            </a:r>
          </a:p>
        </p:txBody>
      </p:sp>
      <p:sp>
        <p:nvSpPr>
          <p:cNvPr id="23" name="Text Placeholder 6">
            <a:extLst>
              <a:ext uri="{FF2B5EF4-FFF2-40B4-BE49-F238E27FC236}">
                <a16:creationId xmlns:a16="http://schemas.microsoft.com/office/drawing/2014/main" id="{41638B5E-8DB0-EAFF-0CF3-8812AF05A9BF}"/>
              </a:ext>
            </a:extLst>
          </p:cNvPr>
          <p:cNvSpPr>
            <a:spLocks noGrp="1"/>
          </p:cNvSpPr>
          <p:nvPr>
            <p:ph type="body" sz="quarter" idx="26" hasCustomPrompt="1"/>
          </p:nvPr>
        </p:nvSpPr>
        <p:spPr>
          <a:xfrm>
            <a:off x="4449393" y="2881801"/>
            <a:ext cx="3287436" cy="1115264"/>
          </a:xfrm>
        </p:spPr>
        <p:txBody>
          <a:bodyPr anchor="b">
            <a:normAutofit/>
          </a:bodyPr>
          <a:lstStyle>
            <a:lvl1pPr>
              <a:defRPr sz="6600" b="1">
                <a:solidFill>
                  <a:schemeClr val="bg2"/>
                </a:solidFill>
              </a:defRPr>
            </a:lvl1pPr>
          </a:lstStyle>
          <a:p>
            <a:pPr lvl="0"/>
            <a:r>
              <a:rPr lang="en-GB"/>
              <a:t>XXXX</a:t>
            </a:r>
          </a:p>
        </p:txBody>
      </p:sp>
      <p:sp>
        <p:nvSpPr>
          <p:cNvPr id="24" name="Text Placeholder 6">
            <a:extLst>
              <a:ext uri="{FF2B5EF4-FFF2-40B4-BE49-F238E27FC236}">
                <a16:creationId xmlns:a16="http://schemas.microsoft.com/office/drawing/2014/main" id="{248EBF9A-10A9-92FA-05B2-3A9523883401}"/>
              </a:ext>
            </a:extLst>
          </p:cNvPr>
          <p:cNvSpPr>
            <a:spLocks noGrp="1"/>
          </p:cNvSpPr>
          <p:nvPr>
            <p:ph type="body" sz="quarter" idx="27" hasCustomPrompt="1"/>
          </p:nvPr>
        </p:nvSpPr>
        <p:spPr>
          <a:xfrm>
            <a:off x="8382847" y="2881801"/>
            <a:ext cx="3287436" cy="1115264"/>
          </a:xfrm>
        </p:spPr>
        <p:txBody>
          <a:bodyPr anchor="b">
            <a:normAutofit/>
          </a:bodyPr>
          <a:lstStyle>
            <a:lvl1pPr>
              <a:defRPr sz="6600" b="1">
                <a:solidFill>
                  <a:schemeClr val="bg2"/>
                </a:solidFill>
              </a:defRPr>
            </a:lvl1pPr>
          </a:lstStyle>
          <a:p>
            <a:pPr lvl="0"/>
            <a:r>
              <a:rPr lang="en-GB"/>
              <a:t>XXXX</a:t>
            </a:r>
          </a:p>
        </p:txBody>
      </p:sp>
      <p:sp>
        <p:nvSpPr>
          <p:cNvPr id="20" name="Text Placeholder 8">
            <a:extLst>
              <a:ext uri="{FF2B5EF4-FFF2-40B4-BE49-F238E27FC236}">
                <a16:creationId xmlns:a16="http://schemas.microsoft.com/office/drawing/2014/main" id="{D2E71522-4C4D-EAC4-2A71-F45B1F18D569}"/>
              </a:ext>
            </a:extLst>
          </p:cNvPr>
          <p:cNvSpPr>
            <a:spLocks noGrp="1"/>
          </p:cNvSpPr>
          <p:nvPr>
            <p:ph type="body" idx="13"/>
          </p:nvPr>
        </p:nvSpPr>
        <p:spPr>
          <a:xfrm>
            <a:off x="531133" y="1304926"/>
            <a:ext cx="11144931" cy="1369692"/>
          </a:xfrm>
        </p:spPr>
        <p:txBody>
          <a:bodyPr numCol="1" spcCol="180000">
            <a:normAutofit/>
          </a:bodyPr>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Tree>
    <p:extLst>
      <p:ext uri="{BB962C8B-B14F-4D97-AF65-F5344CB8AC3E}">
        <p14:creationId xmlns:p14="http://schemas.microsoft.com/office/powerpoint/2010/main" val="3373120204"/>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Key Stats x5">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8" y="6353142"/>
            <a:ext cx="261631" cy="136527"/>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8"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7"/>
          </a:xfrm>
          <a:prstGeom prst="rect">
            <a:avLst/>
          </a:prstGeom>
        </p:spPr>
        <p:txBody>
          <a:bodyPr anchor="b"/>
          <a:lstStyle>
            <a:lvl1pPr>
              <a:defRPr sz="800"/>
            </a:lvl1pPr>
          </a:lstStyle>
          <a:p>
            <a:r>
              <a:rPr lang="en-US"/>
              <a:t>United Against Rabies Forum Meeting - 6-8 November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5" y="6109976"/>
            <a:ext cx="1036776" cy="381653"/>
          </a:xfrm>
          <a:prstGeom prst="rect">
            <a:avLst/>
          </a:prstGeom>
        </p:spPr>
      </p:pic>
      <p:sp>
        <p:nvSpPr>
          <p:cNvPr id="62" name="Title Placeholder 1">
            <a:extLst>
              <a:ext uri="{FF2B5EF4-FFF2-40B4-BE49-F238E27FC236}">
                <a16:creationId xmlns:a16="http://schemas.microsoft.com/office/drawing/2014/main" id="{14F0825D-90B8-6120-7F14-9DC0960BC9E7}"/>
              </a:ext>
            </a:extLst>
          </p:cNvPr>
          <p:cNvSpPr>
            <a:spLocks noGrp="1"/>
          </p:cNvSpPr>
          <p:nvPr>
            <p:ph type="title"/>
          </p:nvPr>
        </p:nvSpPr>
        <p:spPr>
          <a:xfrm>
            <a:off x="521719" y="368300"/>
            <a:ext cx="11154344" cy="592779"/>
          </a:xfrm>
          <a:prstGeom prst="rect">
            <a:avLst/>
          </a:prstGeom>
        </p:spPr>
        <p:txBody>
          <a:bodyPr vert="horz" lIns="0" tIns="0" rIns="0" bIns="0" rtlCol="0" anchor="t">
            <a:normAutofit/>
          </a:bodyPr>
          <a:lstStyle/>
          <a:p>
            <a:r>
              <a:rPr lang="en-GB"/>
              <a:t>Click to edit Master title style</a:t>
            </a:r>
          </a:p>
        </p:txBody>
      </p:sp>
      <p:sp>
        <p:nvSpPr>
          <p:cNvPr id="63" name="Text Placeholder 6">
            <a:extLst>
              <a:ext uri="{FF2B5EF4-FFF2-40B4-BE49-F238E27FC236}">
                <a16:creationId xmlns:a16="http://schemas.microsoft.com/office/drawing/2014/main" id="{AF40E274-F0AF-0436-1F33-86E04DCC0DAA}"/>
              </a:ext>
            </a:extLst>
          </p:cNvPr>
          <p:cNvSpPr>
            <a:spLocks noGrp="1"/>
          </p:cNvSpPr>
          <p:nvPr>
            <p:ph type="body" sz="quarter" idx="25" hasCustomPrompt="1"/>
          </p:nvPr>
        </p:nvSpPr>
        <p:spPr>
          <a:xfrm>
            <a:off x="515939" y="2931454"/>
            <a:ext cx="2007343" cy="844151"/>
          </a:xfrm>
        </p:spPr>
        <p:txBody>
          <a:bodyPr anchor="b">
            <a:normAutofit/>
          </a:bodyPr>
          <a:lstStyle>
            <a:lvl1pPr>
              <a:defRPr sz="4600" b="1">
                <a:solidFill>
                  <a:schemeClr val="bg2"/>
                </a:solidFill>
              </a:defRPr>
            </a:lvl1pPr>
          </a:lstStyle>
          <a:p>
            <a:pPr lvl="0"/>
            <a:r>
              <a:rPr lang="en-GB"/>
              <a:t>XXXXX</a:t>
            </a:r>
          </a:p>
        </p:txBody>
      </p:sp>
      <p:sp>
        <p:nvSpPr>
          <p:cNvPr id="64" name="Text Placeholder 8">
            <a:extLst>
              <a:ext uri="{FF2B5EF4-FFF2-40B4-BE49-F238E27FC236}">
                <a16:creationId xmlns:a16="http://schemas.microsoft.com/office/drawing/2014/main" id="{DB2C3DC3-9DBF-095B-1AEB-4513EE50C647}"/>
              </a:ext>
            </a:extLst>
          </p:cNvPr>
          <p:cNvSpPr>
            <a:spLocks noGrp="1"/>
          </p:cNvSpPr>
          <p:nvPr>
            <p:ph type="body" idx="13"/>
          </p:nvPr>
        </p:nvSpPr>
        <p:spPr>
          <a:xfrm>
            <a:off x="531133" y="1304925"/>
            <a:ext cx="11144931" cy="1566849"/>
          </a:xfrm>
        </p:spPr>
        <p:txBody>
          <a:bodyPr numCol="1" spcCol="180000">
            <a:normAutofit/>
          </a:bodyPr>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65" name="Text Placeholder 6">
            <a:extLst>
              <a:ext uri="{FF2B5EF4-FFF2-40B4-BE49-F238E27FC236}">
                <a16:creationId xmlns:a16="http://schemas.microsoft.com/office/drawing/2014/main" id="{EBBD32EE-C0FF-E8CB-43E3-315A609AEFE7}"/>
              </a:ext>
            </a:extLst>
          </p:cNvPr>
          <p:cNvSpPr>
            <a:spLocks noGrp="1"/>
          </p:cNvSpPr>
          <p:nvPr>
            <p:ph type="body" sz="quarter" idx="16"/>
          </p:nvPr>
        </p:nvSpPr>
        <p:spPr>
          <a:xfrm>
            <a:off x="515939" y="4066434"/>
            <a:ext cx="2007343" cy="387799"/>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6" name="Text Placeholder 6">
            <a:extLst>
              <a:ext uri="{FF2B5EF4-FFF2-40B4-BE49-F238E27FC236}">
                <a16:creationId xmlns:a16="http://schemas.microsoft.com/office/drawing/2014/main" id="{9E2EB64B-500A-8201-8F3F-287FDE60FB19}"/>
              </a:ext>
            </a:extLst>
          </p:cNvPr>
          <p:cNvSpPr>
            <a:spLocks noGrp="1"/>
          </p:cNvSpPr>
          <p:nvPr>
            <p:ph type="body" sz="quarter" idx="19"/>
          </p:nvPr>
        </p:nvSpPr>
        <p:spPr>
          <a:xfrm>
            <a:off x="2802690" y="4066434"/>
            <a:ext cx="2007343" cy="387799"/>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7" name="Text Placeholder 6">
            <a:extLst>
              <a:ext uri="{FF2B5EF4-FFF2-40B4-BE49-F238E27FC236}">
                <a16:creationId xmlns:a16="http://schemas.microsoft.com/office/drawing/2014/main" id="{709BC01A-3AFB-CE31-0E4A-EE885FE2D5A4}"/>
              </a:ext>
            </a:extLst>
          </p:cNvPr>
          <p:cNvSpPr>
            <a:spLocks noGrp="1"/>
          </p:cNvSpPr>
          <p:nvPr>
            <p:ph type="body" sz="quarter" idx="22"/>
          </p:nvPr>
        </p:nvSpPr>
        <p:spPr>
          <a:xfrm>
            <a:off x="5089439" y="4066434"/>
            <a:ext cx="2007343" cy="387799"/>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8" name="Text Placeholder 6">
            <a:extLst>
              <a:ext uri="{FF2B5EF4-FFF2-40B4-BE49-F238E27FC236}">
                <a16:creationId xmlns:a16="http://schemas.microsoft.com/office/drawing/2014/main" id="{CD03EE5B-6B86-7B77-E541-93CE05115235}"/>
              </a:ext>
            </a:extLst>
          </p:cNvPr>
          <p:cNvSpPr>
            <a:spLocks noGrp="1"/>
          </p:cNvSpPr>
          <p:nvPr>
            <p:ph type="body" sz="quarter" idx="28"/>
          </p:nvPr>
        </p:nvSpPr>
        <p:spPr>
          <a:xfrm>
            <a:off x="7376190" y="4066434"/>
            <a:ext cx="2007343" cy="387799"/>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9" name="Text Placeholder 6">
            <a:extLst>
              <a:ext uri="{FF2B5EF4-FFF2-40B4-BE49-F238E27FC236}">
                <a16:creationId xmlns:a16="http://schemas.microsoft.com/office/drawing/2014/main" id="{F9CB884D-6999-7DC7-1825-FC60BEC935BD}"/>
              </a:ext>
            </a:extLst>
          </p:cNvPr>
          <p:cNvSpPr>
            <a:spLocks noGrp="1"/>
          </p:cNvSpPr>
          <p:nvPr>
            <p:ph type="body" sz="quarter" idx="29"/>
          </p:nvPr>
        </p:nvSpPr>
        <p:spPr>
          <a:xfrm>
            <a:off x="9662941" y="4066434"/>
            <a:ext cx="2007343" cy="387799"/>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70" name="Text Placeholder 6">
            <a:extLst>
              <a:ext uri="{FF2B5EF4-FFF2-40B4-BE49-F238E27FC236}">
                <a16:creationId xmlns:a16="http://schemas.microsoft.com/office/drawing/2014/main" id="{F03D69DA-4061-E20B-1262-8A9F09B92D26}"/>
              </a:ext>
            </a:extLst>
          </p:cNvPr>
          <p:cNvSpPr>
            <a:spLocks noGrp="1"/>
          </p:cNvSpPr>
          <p:nvPr>
            <p:ph type="body" sz="quarter" idx="30" hasCustomPrompt="1"/>
          </p:nvPr>
        </p:nvSpPr>
        <p:spPr>
          <a:xfrm>
            <a:off x="2790107" y="2931454"/>
            <a:ext cx="2007343" cy="844151"/>
          </a:xfrm>
        </p:spPr>
        <p:txBody>
          <a:bodyPr anchor="b">
            <a:normAutofit/>
          </a:bodyPr>
          <a:lstStyle>
            <a:lvl1pPr>
              <a:defRPr sz="4600" b="1">
                <a:solidFill>
                  <a:schemeClr val="bg2"/>
                </a:solidFill>
              </a:defRPr>
            </a:lvl1pPr>
          </a:lstStyle>
          <a:p>
            <a:pPr lvl="0"/>
            <a:r>
              <a:rPr lang="en-GB"/>
              <a:t>XXXXX</a:t>
            </a:r>
          </a:p>
        </p:txBody>
      </p:sp>
      <p:sp>
        <p:nvSpPr>
          <p:cNvPr id="71" name="Text Placeholder 6">
            <a:extLst>
              <a:ext uri="{FF2B5EF4-FFF2-40B4-BE49-F238E27FC236}">
                <a16:creationId xmlns:a16="http://schemas.microsoft.com/office/drawing/2014/main" id="{4DA3F266-6EB8-18CF-146E-FCE0EE2BCCED}"/>
              </a:ext>
            </a:extLst>
          </p:cNvPr>
          <p:cNvSpPr>
            <a:spLocks noGrp="1"/>
          </p:cNvSpPr>
          <p:nvPr>
            <p:ph type="body" sz="quarter" idx="31" hasCustomPrompt="1"/>
          </p:nvPr>
        </p:nvSpPr>
        <p:spPr>
          <a:xfrm>
            <a:off x="5064275" y="2931454"/>
            <a:ext cx="2007343" cy="844151"/>
          </a:xfrm>
        </p:spPr>
        <p:txBody>
          <a:bodyPr anchor="b">
            <a:normAutofit/>
          </a:bodyPr>
          <a:lstStyle>
            <a:lvl1pPr>
              <a:defRPr sz="4600" b="1">
                <a:solidFill>
                  <a:schemeClr val="bg2"/>
                </a:solidFill>
              </a:defRPr>
            </a:lvl1pPr>
          </a:lstStyle>
          <a:p>
            <a:pPr lvl="0"/>
            <a:r>
              <a:rPr lang="en-GB"/>
              <a:t>XXXXX</a:t>
            </a:r>
          </a:p>
        </p:txBody>
      </p:sp>
      <p:sp>
        <p:nvSpPr>
          <p:cNvPr id="72" name="Text Placeholder 6">
            <a:extLst>
              <a:ext uri="{FF2B5EF4-FFF2-40B4-BE49-F238E27FC236}">
                <a16:creationId xmlns:a16="http://schemas.microsoft.com/office/drawing/2014/main" id="{ABAC94EC-4D3A-CEAC-3763-AE5EBA842951}"/>
              </a:ext>
            </a:extLst>
          </p:cNvPr>
          <p:cNvSpPr>
            <a:spLocks noGrp="1"/>
          </p:cNvSpPr>
          <p:nvPr>
            <p:ph type="body" sz="quarter" idx="32" hasCustomPrompt="1"/>
          </p:nvPr>
        </p:nvSpPr>
        <p:spPr>
          <a:xfrm>
            <a:off x="7376190" y="2931454"/>
            <a:ext cx="2007343" cy="844151"/>
          </a:xfrm>
        </p:spPr>
        <p:txBody>
          <a:bodyPr anchor="b">
            <a:normAutofit/>
          </a:bodyPr>
          <a:lstStyle>
            <a:lvl1pPr>
              <a:defRPr sz="4600" b="1">
                <a:solidFill>
                  <a:schemeClr val="bg2"/>
                </a:solidFill>
              </a:defRPr>
            </a:lvl1pPr>
          </a:lstStyle>
          <a:p>
            <a:pPr lvl="0"/>
            <a:r>
              <a:rPr lang="en-GB"/>
              <a:t>XXXXX</a:t>
            </a:r>
          </a:p>
        </p:txBody>
      </p:sp>
      <p:sp>
        <p:nvSpPr>
          <p:cNvPr id="73" name="Text Placeholder 6">
            <a:extLst>
              <a:ext uri="{FF2B5EF4-FFF2-40B4-BE49-F238E27FC236}">
                <a16:creationId xmlns:a16="http://schemas.microsoft.com/office/drawing/2014/main" id="{CB8F9A8E-E04A-1CA2-A320-7A4AE6F70DD9}"/>
              </a:ext>
            </a:extLst>
          </p:cNvPr>
          <p:cNvSpPr>
            <a:spLocks noGrp="1"/>
          </p:cNvSpPr>
          <p:nvPr>
            <p:ph type="body" sz="quarter" idx="33" hasCustomPrompt="1"/>
          </p:nvPr>
        </p:nvSpPr>
        <p:spPr>
          <a:xfrm>
            <a:off x="9662941" y="2931454"/>
            <a:ext cx="2007343" cy="844151"/>
          </a:xfrm>
        </p:spPr>
        <p:txBody>
          <a:bodyPr anchor="b">
            <a:normAutofit/>
          </a:bodyPr>
          <a:lstStyle>
            <a:lvl1pPr>
              <a:defRPr sz="4600" b="1">
                <a:solidFill>
                  <a:schemeClr val="bg2"/>
                </a:solidFill>
              </a:defRPr>
            </a:lvl1pPr>
          </a:lstStyle>
          <a:p>
            <a:pPr lvl="0"/>
            <a:r>
              <a:rPr lang="en-GB"/>
              <a:t>XXXXX</a:t>
            </a:r>
          </a:p>
        </p:txBody>
      </p:sp>
    </p:spTree>
    <p:extLst>
      <p:ext uri="{BB962C8B-B14F-4D97-AF65-F5344CB8AC3E}">
        <p14:creationId xmlns:p14="http://schemas.microsoft.com/office/powerpoint/2010/main" val="2833708351"/>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meline/Milestones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9"/>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8" y="6353142"/>
            <a:ext cx="261631" cy="136527"/>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8"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7"/>
          </a:xfrm>
          <a:prstGeom prst="rect">
            <a:avLst/>
          </a:prstGeom>
        </p:spPr>
        <p:txBody>
          <a:bodyPr anchor="b"/>
          <a:lstStyle>
            <a:lvl1pPr>
              <a:defRPr sz="800"/>
            </a:lvl1pPr>
          </a:lstStyle>
          <a:p>
            <a:r>
              <a:rPr lang="en-US"/>
              <a:t>United Against Rabies Forum Meeting - 6-8 November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5"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9" y="961079"/>
            <a:ext cx="11154344" cy="343847"/>
          </a:xfrm>
        </p:spPr>
        <p:txBody>
          <a:bodyPr/>
          <a:lstStyle>
            <a:lvl1pPr>
              <a:defRPr>
                <a:solidFill>
                  <a:schemeClr val="bg2"/>
                </a:solidFill>
              </a:defRPr>
            </a:lvl1pPr>
          </a:lstStyle>
          <a:p>
            <a:pPr lvl="0"/>
            <a:r>
              <a:rPr lang="en-GB"/>
              <a:t>Click to edit Master text styles</a:t>
            </a:r>
          </a:p>
        </p:txBody>
      </p:sp>
      <p:graphicFrame>
        <p:nvGraphicFramePr>
          <p:cNvPr id="48" name="Table 47">
            <a:extLst>
              <a:ext uri="{FF2B5EF4-FFF2-40B4-BE49-F238E27FC236}">
                <a16:creationId xmlns:a16="http://schemas.microsoft.com/office/drawing/2014/main" id="{B7F29198-E920-459C-2862-C2C7FB6FEB65}"/>
              </a:ext>
            </a:extLst>
          </p:cNvPr>
          <p:cNvGraphicFramePr>
            <a:graphicFrameLocks noGrp="1"/>
          </p:cNvGraphicFramePr>
          <p:nvPr userDrawn="1">
            <p:extLst>
              <p:ext uri="{D42A27DB-BD31-4B8C-83A1-F6EECF244321}">
                <p14:modId xmlns:p14="http://schemas.microsoft.com/office/powerpoint/2010/main" val="2545069581"/>
              </p:ext>
            </p:extLst>
          </p:nvPr>
        </p:nvGraphicFramePr>
        <p:xfrm>
          <a:off x="606585" y="2278197"/>
          <a:ext cx="11007612" cy="3618727"/>
        </p:xfrm>
        <a:graphic>
          <a:graphicData uri="http://schemas.openxmlformats.org/drawingml/2006/table">
            <a:tbl>
              <a:tblPr bandCol="1">
                <a:tableStyleId>{2D5ABB26-0587-4C30-8999-92F81FD0307C}</a:tableStyleId>
              </a:tblPr>
              <a:tblGrid>
                <a:gridCol w="2751903">
                  <a:extLst>
                    <a:ext uri="{9D8B030D-6E8A-4147-A177-3AD203B41FA5}">
                      <a16:colId xmlns:a16="http://schemas.microsoft.com/office/drawing/2014/main" val="4151945498"/>
                    </a:ext>
                  </a:extLst>
                </a:gridCol>
                <a:gridCol w="2751903">
                  <a:extLst>
                    <a:ext uri="{9D8B030D-6E8A-4147-A177-3AD203B41FA5}">
                      <a16:colId xmlns:a16="http://schemas.microsoft.com/office/drawing/2014/main" val="1382627474"/>
                    </a:ext>
                  </a:extLst>
                </a:gridCol>
                <a:gridCol w="2751903">
                  <a:extLst>
                    <a:ext uri="{9D8B030D-6E8A-4147-A177-3AD203B41FA5}">
                      <a16:colId xmlns:a16="http://schemas.microsoft.com/office/drawing/2014/main" val="2312284562"/>
                    </a:ext>
                  </a:extLst>
                </a:gridCol>
                <a:gridCol w="2751903">
                  <a:extLst>
                    <a:ext uri="{9D8B030D-6E8A-4147-A177-3AD203B41FA5}">
                      <a16:colId xmlns:a16="http://schemas.microsoft.com/office/drawing/2014/main" val="380964293"/>
                    </a:ext>
                  </a:extLst>
                </a:gridCol>
              </a:tblGrid>
              <a:tr h="3618727">
                <a:tc>
                  <a:txBody>
                    <a:bodyPr/>
                    <a:lstStyle/>
                    <a:p>
                      <a:pPr marL="0" algn="l" defTabSz="914400" rtl="0" eaLnBrk="1" latinLnBrk="0" hangingPunct="1">
                        <a:lnSpc>
                          <a:spcPct val="120000"/>
                        </a:lnSpc>
                        <a:spcAft>
                          <a:spcPts val="2400"/>
                        </a:spcAft>
                      </a:pPr>
                      <a:endParaRPr lang="en-US" sz="1100" kern="1200">
                        <a:solidFill>
                          <a:schemeClr val="tx1"/>
                        </a:solidFill>
                        <a:latin typeface="+mn-lt"/>
                        <a:ea typeface="+mn-ea"/>
                        <a:cs typeface="+mn-cs"/>
                      </a:endParaRPr>
                    </a:p>
                  </a:txBody>
                  <a:tcPr marL="174643" marR="174643" marT="218275" marB="174619">
                    <a:solidFill>
                      <a:schemeClr val="bg1"/>
                    </a:solidFill>
                  </a:tcPr>
                </a:tc>
                <a:tc>
                  <a:txBody>
                    <a:bodyPr/>
                    <a:lstStyle/>
                    <a:p>
                      <a:pPr marL="0" algn="l" defTabSz="914400" rtl="0" eaLnBrk="1" latinLnBrk="0" hangingPunct="1">
                        <a:lnSpc>
                          <a:spcPct val="120000"/>
                        </a:lnSpc>
                        <a:spcAft>
                          <a:spcPts val="2400"/>
                        </a:spcAft>
                      </a:pPr>
                      <a:endParaRPr lang="en-US" sz="1100" kern="1200">
                        <a:solidFill>
                          <a:schemeClr val="tx1"/>
                        </a:solidFill>
                        <a:latin typeface="+mn-lt"/>
                        <a:ea typeface="+mn-ea"/>
                        <a:cs typeface="+mn-cs"/>
                      </a:endParaRPr>
                    </a:p>
                  </a:txBody>
                  <a:tcPr marL="174643" marR="174643" marT="218275"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100" kern="1200">
                        <a:solidFill>
                          <a:schemeClr val="tx1"/>
                        </a:solidFill>
                        <a:latin typeface="+mn-lt"/>
                        <a:ea typeface="+mn-ea"/>
                        <a:cs typeface="+mn-cs"/>
                      </a:endParaRPr>
                    </a:p>
                  </a:txBody>
                  <a:tcPr marL="174643" marR="174643" marT="218275" marB="174619">
                    <a:solidFill>
                      <a:schemeClr val="bg1"/>
                    </a:solidFill>
                  </a:tcPr>
                </a:tc>
                <a:tc>
                  <a:txBody>
                    <a:bodyPr/>
                    <a:lstStyle/>
                    <a:p>
                      <a:pPr marL="0" algn="l" defTabSz="914400" rtl="0" eaLnBrk="1" latinLnBrk="0" hangingPunct="1">
                        <a:lnSpc>
                          <a:spcPct val="120000"/>
                        </a:lnSpc>
                        <a:spcAft>
                          <a:spcPts val="2400"/>
                        </a:spcAft>
                      </a:pPr>
                      <a:endParaRPr lang="en-US" sz="1100" kern="1200">
                        <a:solidFill>
                          <a:schemeClr val="tx1"/>
                        </a:solidFill>
                        <a:latin typeface="+mn-lt"/>
                        <a:ea typeface="+mn-ea"/>
                        <a:cs typeface="+mn-cs"/>
                      </a:endParaRPr>
                    </a:p>
                  </a:txBody>
                  <a:tcPr marL="174643" marR="174643" marT="218275" marB="174619">
                    <a:solidFill>
                      <a:schemeClr val="bg1">
                        <a:lumMod val="95000"/>
                      </a:schemeClr>
                    </a:solidFill>
                  </a:tcPr>
                </a:tc>
                <a:extLst>
                  <a:ext uri="{0D108BD9-81ED-4DB2-BD59-A6C34878D82A}">
                    <a16:rowId xmlns:a16="http://schemas.microsoft.com/office/drawing/2014/main" val="3469904028"/>
                  </a:ext>
                </a:extLst>
              </a:tr>
            </a:tbl>
          </a:graphicData>
        </a:graphic>
      </p:graphicFrame>
      <p:sp>
        <p:nvSpPr>
          <p:cNvPr id="49" name="object 14">
            <a:extLst>
              <a:ext uri="{FF2B5EF4-FFF2-40B4-BE49-F238E27FC236}">
                <a16:creationId xmlns:a16="http://schemas.microsoft.com/office/drawing/2014/main" id="{A52E1F34-96C7-3C86-48A7-FAB9C405C20B}"/>
              </a:ext>
            </a:extLst>
          </p:cNvPr>
          <p:cNvSpPr/>
          <p:nvPr userDrawn="1"/>
        </p:nvSpPr>
        <p:spPr>
          <a:xfrm>
            <a:off x="577806" y="2278197"/>
            <a:ext cx="11036388" cy="45719"/>
          </a:xfrm>
          <a:custGeom>
            <a:avLst/>
            <a:gdLst/>
            <a:ahLst/>
            <a:cxnLst/>
            <a:rect l="l" t="t" r="r" b="b"/>
            <a:pathLst>
              <a:path w="18209260">
                <a:moveTo>
                  <a:pt x="0" y="0"/>
                </a:moveTo>
                <a:lnTo>
                  <a:pt x="18208869" y="0"/>
                </a:lnTo>
              </a:path>
            </a:pathLst>
          </a:custGeom>
          <a:ln w="9525">
            <a:solidFill>
              <a:schemeClr val="bg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8" y="2221146"/>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1" name="Oval 50">
            <a:extLst>
              <a:ext uri="{FF2B5EF4-FFF2-40B4-BE49-F238E27FC236}">
                <a16:creationId xmlns:a16="http://schemas.microsoft.com/office/drawing/2014/main" id="{47D58FC1-83B9-3BAD-C3EF-06E8D5DE120F}"/>
              </a:ext>
            </a:extLst>
          </p:cNvPr>
          <p:cNvSpPr>
            <a:spLocks noChangeAspect="1"/>
          </p:cNvSpPr>
          <p:nvPr userDrawn="1"/>
        </p:nvSpPr>
        <p:spPr>
          <a:xfrm>
            <a:off x="3460439" y="2221146"/>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2" name="Oval 51">
            <a:extLst>
              <a:ext uri="{FF2B5EF4-FFF2-40B4-BE49-F238E27FC236}">
                <a16:creationId xmlns:a16="http://schemas.microsoft.com/office/drawing/2014/main" id="{9D582DFC-3D0D-D5F8-AA6B-5676C8C4B3BF}"/>
              </a:ext>
            </a:extLst>
          </p:cNvPr>
          <p:cNvSpPr>
            <a:spLocks noChangeAspect="1"/>
          </p:cNvSpPr>
          <p:nvPr userDrawn="1"/>
        </p:nvSpPr>
        <p:spPr>
          <a:xfrm>
            <a:off x="6227971" y="2221146"/>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3" name="Oval 52">
            <a:extLst>
              <a:ext uri="{FF2B5EF4-FFF2-40B4-BE49-F238E27FC236}">
                <a16:creationId xmlns:a16="http://schemas.microsoft.com/office/drawing/2014/main" id="{DF486150-9219-560A-8B4F-FB551F786E68}"/>
              </a:ext>
            </a:extLst>
          </p:cNvPr>
          <p:cNvSpPr>
            <a:spLocks noChangeAspect="1"/>
          </p:cNvSpPr>
          <p:nvPr userDrawn="1"/>
        </p:nvSpPr>
        <p:spPr>
          <a:xfrm>
            <a:off x="8985926" y="2221146"/>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6" y="1818875"/>
            <a:ext cx="2767427" cy="300443"/>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5" name="Text Placeholder 71">
            <a:extLst>
              <a:ext uri="{FF2B5EF4-FFF2-40B4-BE49-F238E27FC236}">
                <a16:creationId xmlns:a16="http://schemas.microsoft.com/office/drawing/2014/main" id="{799F0539-8B24-4E4B-EF4C-121B551D8BA3}"/>
              </a:ext>
            </a:extLst>
          </p:cNvPr>
          <p:cNvSpPr>
            <a:spLocks noGrp="1"/>
          </p:cNvSpPr>
          <p:nvPr>
            <p:ph type="body" sz="quarter" idx="16" hasCustomPrompt="1"/>
          </p:nvPr>
        </p:nvSpPr>
        <p:spPr>
          <a:xfrm>
            <a:off x="3344605" y="1818875"/>
            <a:ext cx="2746295" cy="300443"/>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6" name="Text Placeholder 71">
            <a:extLst>
              <a:ext uri="{FF2B5EF4-FFF2-40B4-BE49-F238E27FC236}">
                <a16:creationId xmlns:a16="http://schemas.microsoft.com/office/drawing/2014/main" id="{9DFB2CE5-A177-E72D-3CD4-2646E4DCE502}"/>
              </a:ext>
            </a:extLst>
          </p:cNvPr>
          <p:cNvSpPr>
            <a:spLocks noGrp="1"/>
          </p:cNvSpPr>
          <p:nvPr>
            <p:ph type="body" sz="quarter" idx="18" hasCustomPrompt="1"/>
          </p:nvPr>
        </p:nvSpPr>
        <p:spPr>
          <a:xfrm>
            <a:off x="6100142" y="1818875"/>
            <a:ext cx="2745959" cy="300443"/>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7" name="Text Placeholder 71">
            <a:extLst>
              <a:ext uri="{FF2B5EF4-FFF2-40B4-BE49-F238E27FC236}">
                <a16:creationId xmlns:a16="http://schemas.microsoft.com/office/drawing/2014/main" id="{7A262EC1-F639-E81C-3343-3DA348DA9266}"/>
              </a:ext>
            </a:extLst>
          </p:cNvPr>
          <p:cNvSpPr>
            <a:spLocks noGrp="1"/>
          </p:cNvSpPr>
          <p:nvPr>
            <p:ph type="body" sz="quarter" idx="20" hasCustomPrompt="1"/>
          </p:nvPr>
        </p:nvSpPr>
        <p:spPr>
          <a:xfrm>
            <a:off x="8846102" y="1818875"/>
            <a:ext cx="2773719" cy="300443"/>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8" name="Text Placeholder 4">
            <a:extLst>
              <a:ext uri="{FF2B5EF4-FFF2-40B4-BE49-F238E27FC236}">
                <a16:creationId xmlns:a16="http://schemas.microsoft.com/office/drawing/2014/main" id="{0FE60C61-D20F-0DE2-38DC-62D2FAD38472}"/>
              </a:ext>
            </a:extLst>
          </p:cNvPr>
          <p:cNvSpPr>
            <a:spLocks noGrp="1"/>
          </p:cNvSpPr>
          <p:nvPr>
            <p:ph type="body" sz="quarter" idx="29"/>
          </p:nvPr>
        </p:nvSpPr>
        <p:spPr>
          <a:xfrm>
            <a:off x="606473"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59" name="Text Placeholder 4">
            <a:extLst>
              <a:ext uri="{FF2B5EF4-FFF2-40B4-BE49-F238E27FC236}">
                <a16:creationId xmlns:a16="http://schemas.microsoft.com/office/drawing/2014/main" id="{7F661011-0524-7D80-F0B1-7EB66B450ADE}"/>
              </a:ext>
            </a:extLst>
          </p:cNvPr>
          <p:cNvSpPr>
            <a:spLocks noGrp="1"/>
          </p:cNvSpPr>
          <p:nvPr>
            <p:ph type="body" sz="quarter" idx="30"/>
          </p:nvPr>
        </p:nvSpPr>
        <p:spPr>
          <a:xfrm>
            <a:off x="3361061"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0" name="Text Placeholder 4">
            <a:extLst>
              <a:ext uri="{FF2B5EF4-FFF2-40B4-BE49-F238E27FC236}">
                <a16:creationId xmlns:a16="http://schemas.microsoft.com/office/drawing/2014/main" id="{5F501377-4DE1-C96B-B5CB-4675C424B7FF}"/>
              </a:ext>
            </a:extLst>
          </p:cNvPr>
          <p:cNvSpPr>
            <a:spLocks noGrp="1"/>
          </p:cNvSpPr>
          <p:nvPr>
            <p:ph type="body" sz="quarter" idx="31"/>
          </p:nvPr>
        </p:nvSpPr>
        <p:spPr>
          <a:xfrm>
            <a:off x="6100141"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1" name="Text Placeholder 4">
            <a:extLst>
              <a:ext uri="{FF2B5EF4-FFF2-40B4-BE49-F238E27FC236}">
                <a16:creationId xmlns:a16="http://schemas.microsoft.com/office/drawing/2014/main" id="{71120A03-3A4D-1301-C17A-86C4C1605881}"/>
              </a:ext>
            </a:extLst>
          </p:cNvPr>
          <p:cNvSpPr>
            <a:spLocks noGrp="1"/>
          </p:cNvSpPr>
          <p:nvPr>
            <p:ph type="body" sz="quarter" idx="32"/>
          </p:nvPr>
        </p:nvSpPr>
        <p:spPr>
          <a:xfrm>
            <a:off x="8848430"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1245500164"/>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meline/Milestones x5">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9"/>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8" y="6353142"/>
            <a:ext cx="261631" cy="136527"/>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8"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7"/>
          </a:xfrm>
          <a:prstGeom prst="rect">
            <a:avLst/>
          </a:prstGeom>
        </p:spPr>
        <p:txBody>
          <a:bodyPr anchor="b"/>
          <a:lstStyle>
            <a:lvl1pPr>
              <a:defRPr sz="800"/>
            </a:lvl1pPr>
          </a:lstStyle>
          <a:p>
            <a:r>
              <a:rPr lang="en-US"/>
              <a:t>United Against Rabies Forum Meeting - 6-8 November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5"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9" y="961079"/>
            <a:ext cx="11154344" cy="343847"/>
          </a:xfrm>
        </p:spPr>
        <p:txBody>
          <a:bodyPr/>
          <a:lstStyle>
            <a:lvl1pPr>
              <a:defRPr>
                <a:solidFill>
                  <a:schemeClr val="bg2"/>
                </a:solidFill>
              </a:defRPr>
            </a:lvl1pPr>
          </a:lstStyle>
          <a:p>
            <a:pPr lvl="0"/>
            <a:r>
              <a:rPr lang="en-GB"/>
              <a:t>Click to edit Master text styles</a:t>
            </a:r>
          </a:p>
        </p:txBody>
      </p:sp>
      <p:graphicFrame>
        <p:nvGraphicFramePr>
          <p:cNvPr id="48" name="Table 47">
            <a:extLst>
              <a:ext uri="{FF2B5EF4-FFF2-40B4-BE49-F238E27FC236}">
                <a16:creationId xmlns:a16="http://schemas.microsoft.com/office/drawing/2014/main" id="{B7F29198-E920-459C-2862-C2C7FB6FEB65}"/>
              </a:ext>
            </a:extLst>
          </p:cNvPr>
          <p:cNvGraphicFramePr>
            <a:graphicFrameLocks noGrp="1"/>
          </p:cNvGraphicFramePr>
          <p:nvPr userDrawn="1">
            <p:extLst>
              <p:ext uri="{D42A27DB-BD31-4B8C-83A1-F6EECF244321}">
                <p14:modId xmlns:p14="http://schemas.microsoft.com/office/powerpoint/2010/main" val="1495489908"/>
              </p:ext>
            </p:extLst>
          </p:nvPr>
        </p:nvGraphicFramePr>
        <p:xfrm>
          <a:off x="606586" y="2265318"/>
          <a:ext cx="11007615" cy="3618719"/>
        </p:xfrm>
        <a:graphic>
          <a:graphicData uri="http://schemas.openxmlformats.org/drawingml/2006/table">
            <a:tbl>
              <a:tblPr bandCol="1">
                <a:tableStyleId>{2D5ABB26-0587-4C30-8999-92F81FD0307C}</a:tableStyleId>
              </a:tblPr>
              <a:tblGrid>
                <a:gridCol w="2201523">
                  <a:extLst>
                    <a:ext uri="{9D8B030D-6E8A-4147-A177-3AD203B41FA5}">
                      <a16:colId xmlns:a16="http://schemas.microsoft.com/office/drawing/2014/main" val="4151945498"/>
                    </a:ext>
                  </a:extLst>
                </a:gridCol>
                <a:gridCol w="2201523">
                  <a:extLst>
                    <a:ext uri="{9D8B030D-6E8A-4147-A177-3AD203B41FA5}">
                      <a16:colId xmlns:a16="http://schemas.microsoft.com/office/drawing/2014/main" val="1382627474"/>
                    </a:ext>
                  </a:extLst>
                </a:gridCol>
                <a:gridCol w="2201523">
                  <a:extLst>
                    <a:ext uri="{9D8B030D-6E8A-4147-A177-3AD203B41FA5}">
                      <a16:colId xmlns:a16="http://schemas.microsoft.com/office/drawing/2014/main" val="2312284562"/>
                    </a:ext>
                  </a:extLst>
                </a:gridCol>
                <a:gridCol w="2201523">
                  <a:extLst>
                    <a:ext uri="{9D8B030D-6E8A-4147-A177-3AD203B41FA5}">
                      <a16:colId xmlns:a16="http://schemas.microsoft.com/office/drawing/2014/main" val="380964293"/>
                    </a:ext>
                  </a:extLst>
                </a:gridCol>
                <a:gridCol w="2201523">
                  <a:extLst>
                    <a:ext uri="{9D8B030D-6E8A-4147-A177-3AD203B41FA5}">
                      <a16:colId xmlns:a16="http://schemas.microsoft.com/office/drawing/2014/main" val="2456329606"/>
                    </a:ext>
                  </a:extLst>
                </a:gridCol>
              </a:tblGrid>
              <a:tr h="3618719">
                <a:tc>
                  <a:txBody>
                    <a:bodyPr/>
                    <a:lstStyle/>
                    <a:p>
                      <a:pPr marL="0" algn="l" defTabSz="914400" rtl="0" eaLnBrk="1" latinLnBrk="0" hangingPunct="1">
                        <a:lnSpc>
                          <a:spcPct val="120000"/>
                        </a:lnSpc>
                        <a:spcAft>
                          <a:spcPts val="2400"/>
                        </a:spcAft>
                      </a:pPr>
                      <a:endParaRPr lang="en-US" sz="1100" kern="1200">
                        <a:solidFill>
                          <a:schemeClr val="tx1"/>
                        </a:solidFill>
                        <a:latin typeface="+mn-lt"/>
                        <a:ea typeface="+mn-ea"/>
                        <a:cs typeface="+mn-cs"/>
                      </a:endParaRPr>
                    </a:p>
                  </a:txBody>
                  <a:tcPr marL="174643" marR="174643" marT="218275" marB="174619">
                    <a:solidFill>
                      <a:schemeClr val="bg1"/>
                    </a:solidFill>
                  </a:tcPr>
                </a:tc>
                <a:tc>
                  <a:txBody>
                    <a:bodyPr/>
                    <a:lstStyle/>
                    <a:p>
                      <a:pPr marL="0" algn="l" defTabSz="914400" rtl="0" eaLnBrk="1" latinLnBrk="0" hangingPunct="1">
                        <a:lnSpc>
                          <a:spcPct val="120000"/>
                        </a:lnSpc>
                        <a:spcAft>
                          <a:spcPts val="2400"/>
                        </a:spcAft>
                      </a:pPr>
                      <a:endParaRPr lang="en-US" sz="1100" kern="1200">
                        <a:solidFill>
                          <a:schemeClr val="tx1"/>
                        </a:solidFill>
                        <a:latin typeface="+mn-lt"/>
                        <a:ea typeface="+mn-ea"/>
                        <a:cs typeface="+mn-cs"/>
                      </a:endParaRPr>
                    </a:p>
                  </a:txBody>
                  <a:tcPr marL="174643" marR="174643" marT="218275"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100" kern="1200">
                        <a:solidFill>
                          <a:schemeClr val="tx1"/>
                        </a:solidFill>
                        <a:latin typeface="+mn-lt"/>
                        <a:ea typeface="+mn-ea"/>
                        <a:cs typeface="+mn-cs"/>
                      </a:endParaRPr>
                    </a:p>
                  </a:txBody>
                  <a:tcPr marL="174643" marR="174643" marT="218275" marB="174619">
                    <a:solidFill>
                      <a:schemeClr val="bg1"/>
                    </a:solidFill>
                  </a:tcPr>
                </a:tc>
                <a:tc>
                  <a:txBody>
                    <a:bodyPr/>
                    <a:lstStyle/>
                    <a:p>
                      <a:pPr marL="0" algn="l" defTabSz="914400" rtl="0" eaLnBrk="1" latinLnBrk="0" hangingPunct="1">
                        <a:lnSpc>
                          <a:spcPct val="120000"/>
                        </a:lnSpc>
                        <a:spcAft>
                          <a:spcPts val="2400"/>
                        </a:spcAft>
                      </a:pPr>
                      <a:endParaRPr lang="en-US" sz="1100" kern="1200">
                        <a:solidFill>
                          <a:schemeClr val="tx1"/>
                        </a:solidFill>
                        <a:latin typeface="+mn-lt"/>
                        <a:ea typeface="+mn-ea"/>
                        <a:cs typeface="+mn-cs"/>
                      </a:endParaRPr>
                    </a:p>
                  </a:txBody>
                  <a:tcPr marL="174643" marR="174643" marT="218275"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100" kern="1200">
                        <a:solidFill>
                          <a:schemeClr val="tx1"/>
                        </a:solidFill>
                        <a:latin typeface="+mn-lt"/>
                        <a:ea typeface="+mn-ea"/>
                        <a:cs typeface="+mn-cs"/>
                      </a:endParaRPr>
                    </a:p>
                  </a:txBody>
                  <a:tcPr marL="174643" marR="174643" marT="218275" marB="174619">
                    <a:noFill/>
                  </a:tcPr>
                </a:tc>
                <a:extLst>
                  <a:ext uri="{0D108BD9-81ED-4DB2-BD59-A6C34878D82A}">
                    <a16:rowId xmlns:a16="http://schemas.microsoft.com/office/drawing/2014/main" val="3469904028"/>
                  </a:ext>
                </a:extLst>
              </a:tr>
            </a:tbl>
          </a:graphicData>
        </a:graphic>
      </p:graphicFrame>
      <p:sp>
        <p:nvSpPr>
          <p:cNvPr id="49" name="object 14">
            <a:extLst>
              <a:ext uri="{FF2B5EF4-FFF2-40B4-BE49-F238E27FC236}">
                <a16:creationId xmlns:a16="http://schemas.microsoft.com/office/drawing/2014/main" id="{A52E1F34-96C7-3C86-48A7-FAB9C405C20B}"/>
              </a:ext>
            </a:extLst>
          </p:cNvPr>
          <p:cNvSpPr/>
          <p:nvPr userDrawn="1"/>
        </p:nvSpPr>
        <p:spPr>
          <a:xfrm>
            <a:off x="577806" y="2265316"/>
            <a:ext cx="11042015" cy="0"/>
          </a:xfrm>
          <a:custGeom>
            <a:avLst/>
            <a:gdLst/>
            <a:ahLst/>
            <a:cxnLst/>
            <a:rect l="l" t="t" r="r" b="b"/>
            <a:pathLst>
              <a:path w="18209260">
                <a:moveTo>
                  <a:pt x="0" y="0"/>
                </a:moveTo>
                <a:lnTo>
                  <a:pt x="18208869" y="0"/>
                </a:lnTo>
              </a:path>
            </a:pathLst>
          </a:custGeom>
          <a:ln w="9525">
            <a:solidFill>
              <a:schemeClr val="bg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8" y="2208266"/>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1" name="Oval 50">
            <a:extLst>
              <a:ext uri="{FF2B5EF4-FFF2-40B4-BE49-F238E27FC236}">
                <a16:creationId xmlns:a16="http://schemas.microsoft.com/office/drawing/2014/main" id="{47D58FC1-83B9-3BAD-C3EF-06E8D5DE120F}"/>
              </a:ext>
            </a:extLst>
          </p:cNvPr>
          <p:cNvSpPr>
            <a:spLocks noChangeAspect="1"/>
          </p:cNvSpPr>
          <p:nvPr userDrawn="1"/>
        </p:nvSpPr>
        <p:spPr>
          <a:xfrm>
            <a:off x="2892297" y="2208266"/>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8" y="1805995"/>
            <a:ext cx="2217229" cy="300443"/>
          </a:xfrm>
        </p:spPr>
        <p:txBody>
          <a:bodyPr lIns="108000" rIns="288000" anchor="b" anchorCtr="0"/>
          <a:lstStyle>
            <a:lvl1pPr>
              <a:defRPr sz="1699"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5" name="Text Placeholder 71">
            <a:extLst>
              <a:ext uri="{FF2B5EF4-FFF2-40B4-BE49-F238E27FC236}">
                <a16:creationId xmlns:a16="http://schemas.microsoft.com/office/drawing/2014/main" id="{799F0539-8B24-4E4B-EF4C-121B551D8BA3}"/>
              </a:ext>
            </a:extLst>
          </p:cNvPr>
          <p:cNvSpPr>
            <a:spLocks noGrp="1"/>
          </p:cNvSpPr>
          <p:nvPr>
            <p:ph type="body" sz="quarter" idx="16" hasCustomPrompt="1"/>
          </p:nvPr>
        </p:nvSpPr>
        <p:spPr>
          <a:xfrm>
            <a:off x="2789883" y="1805995"/>
            <a:ext cx="2200300" cy="300443"/>
          </a:xfrm>
        </p:spPr>
        <p:txBody>
          <a:bodyPr lIns="108000" rIns="288000" anchor="b" anchorCtr="0"/>
          <a:lstStyle>
            <a:lvl1pPr>
              <a:defRPr sz="1699"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8" name="Text Placeholder 4">
            <a:extLst>
              <a:ext uri="{FF2B5EF4-FFF2-40B4-BE49-F238E27FC236}">
                <a16:creationId xmlns:a16="http://schemas.microsoft.com/office/drawing/2014/main" id="{0FE60C61-D20F-0DE2-38DC-62D2FAD38472}"/>
              </a:ext>
            </a:extLst>
          </p:cNvPr>
          <p:cNvSpPr>
            <a:spLocks noGrp="1"/>
          </p:cNvSpPr>
          <p:nvPr>
            <p:ph type="body" sz="quarter" idx="29"/>
          </p:nvPr>
        </p:nvSpPr>
        <p:spPr>
          <a:xfrm>
            <a:off x="606473" y="2567721"/>
            <a:ext cx="2193481"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59" name="Text Placeholder 4">
            <a:extLst>
              <a:ext uri="{FF2B5EF4-FFF2-40B4-BE49-F238E27FC236}">
                <a16:creationId xmlns:a16="http://schemas.microsoft.com/office/drawing/2014/main" id="{7F661011-0524-7D80-F0B1-7EB66B450ADE}"/>
              </a:ext>
            </a:extLst>
          </p:cNvPr>
          <p:cNvSpPr>
            <a:spLocks noGrp="1"/>
          </p:cNvSpPr>
          <p:nvPr>
            <p:ph type="body" sz="quarter" idx="30"/>
          </p:nvPr>
        </p:nvSpPr>
        <p:spPr>
          <a:xfrm>
            <a:off x="2806337" y="2567721"/>
            <a:ext cx="2193483"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3" name="Oval 22">
            <a:extLst>
              <a:ext uri="{FF2B5EF4-FFF2-40B4-BE49-F238E27FC236}">
                <a16:creationId xmlns:a16="http://schemas.microsoft.com/office/drawing/2014/main" id="{52428D8F-1413-2F6F-66F0-EA64E72C6F19}"/>
              </a:ext>
            </a:extLst>
          </p:cNvPr>
          <p:cNvSpPr>
            <a:spLocks noChangeAspect="1"/>
          </p:cNvSpPr>
          <p:nvPr userDrawn="1"/>
        </p:nvSpPr>
        <p:spPr>
          <a:xfrm>
            <a:off x="5108621" y="2208266"/>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24" name="Text Placeholder 71">
            <a:extLst>
              <a:ext uri="{FF2B5EF4-FFF2-40B4-BE49-F238E27FC236}">
                <a16:creationId xmlns:a16="http://schemas.microsoft.com/office/drawing/2014/main" id="{ED2B6425-619B-AFAF-1CF5-12D51DA09538}"/>
              </a:ext>
            </a:extLst>
          </p:cNvPr>
          <p:cNvSpPr>
            <a:spLocks noGrp="1"/>
          </p:cNvSpPr>
          <p:nvPr>
            <p:ph type="body" sz="quarter" idx="33" hasCustomPrompt="1"/>
          </p:nvPr>
        </p:nvSpPr>
        <p:spPr>
          <a:xfrm>
            <a:off x="5006207" y="1805995"/>
            <a:ext cx="2200300" cy="300443"/>
          </a:xfrm>
        </p:spPr>
        <p:txBody>
          <a:bodyPr lIns="108000" rIns="288000" anchor="b" anchorCtr="0"/>
          <a:lstStyle>
            <a:lvl1pPr>
              <a:defRPr sz="1699"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25" name="Text Placeholder 4">
            <a:extLst>
              <a:ext uri="{FF2B5EF4-FFF2-40B4-BE49-F238E27FC236}">
                <a16:creationId xmlns:a16="http://schemas.microsoft.com/office/drawing/2014/main" id="{42048595-A0EA-7BB4-A2D8-622DB0779CAC}"/>
              </a:ext>
            </a:extLst>
          </p:cNvPr>
          <p:cNvSpPr>
            <a:spLocks noGrp="1"/>
          </p:cNvSpPr>
          <p:nvPr>
            <p:ph type="body" sz="quarter" idx="34"/>
          </p:nvPr>
        </p:nvSpPr>
        <p:spPr>
          <a:xfrm>
            <a:off x="5022661" y="2567721"/>
            <a:ext cx="2193483"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Oval 25">
            <a:extLst>
              <a:ext uri="{FF2B5EF4-FFF2-40B4-BE49-F238E27FC236}">
                <a16:creationId xmlns:a16="http://schemas.microsoft.com/office/drawing/2014/main" id="{E31A4FAF-CCB7-1F56-BEE2-622CF1A54FAB}"/>
              </a:ext>
            </a:extLst>
          </p:cNvPr>
          <p:cNvSpPr>
            <a:spLocks noChangeAspect="1"/>
          </p:cNvSpPr>
          <p:nvPr userDrawn="1"/>
        </p:nvSpPr>
        <p:spPr>
          <a:xfrm>
            <a:off x="7304233" y="2208266"/>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27" name="Text Placeholder 71">
            <a:extLst>
              <a:ext uri="{FF2B5EF4-FFF2-40B4-BE49-F238E27FC236}">
                <a16:creationId xmlns:a16="http://schemas.microsoft.com/office/drawing/2014/main" id="{AD33553F-FF2E-A084-58B1-CABD32043C6D}"/>
              </a:ext>
            </a:extLst>
          </p:cNvPr>
          <p:cNvSpPr>
            <a:spLocks noGrp="1"/>
          </p:cNvSpPr>
          <p:nvPr>
            <p:ph type="body" sz="quarter" idx="35" hasCustomPrompt="1"/>
          </p:nvPr>
        </p:nvSpPr>
        <p:spPr>
          <a:xfrm>
            <a:off x="7201819" y="1805995"/>
            <a:ext cx="2200300" cy="300443"/>
          </a:xfrm>
        </p:spPr>
        <p:txBody>
          <a:bodyPr lIns="108000" rIns="288000" anchor="b" anchorCtr="0"/>
          <a:lstStyle>
            <a:lvl1pPr>
              <a:defRPr sz="1699"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28" name="Text Placeholder 4">
            <a:extLst>
              <a:ext uri="{FF2B5EF4-FFF2-40B4-BE49-F238E27FC236}">
                <a16:creationId xmlns:a16="http://schemas.microsoft.com/office/drawing/2014/main" id="{E55650A2-C067-405B-1B74-AC970B406C55}"/>
              </a:ext>
            </a:extLst>
          </p:cNvPr>
          <p:cNvSpPr>
            <a:spLocks noGrp="1"/>
          </p:cNvSpPr>
          <p:nvPr>
            <p:ph type="body" sz="quarter" idx="36"/>
          </p:nvPr>
        </p:nvSpPr>
        <p:spPr>
          <a:xfrm>
            <a:off x="7218273" y="2567721"/>
            <a:ext cx="2193483"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9" name="Oval 28">
            <a:extLst>
              <a:ext uri="{FF2B5EF4-FFF2-40B4-BE49-F238E27FC236}">
                <a16:creationId xmlns:a16="http://schemas.microsoft.com/office/drawing/2014/main" id="{965D2802-7493-9694-05E4-80CC2EF9B231}"/>
              </a:ext>
            </a:extLst>
          </p:cNvPr>
          <p:cNvSpPr>
            <a:spLocks noChangeAspect="1"/>
          </p:cNvSpPr>
          <p:nvPr userDrawn="1"/>
        </p:nvSpPr>
        <p:spPr>
          <a:xfrm>
            <a:off x="9512555" y="2208266"/>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30" name="Text Placeholder 71">
            <a:extLst>
              <a:ext uri="{FF2B5EF4-FFF2-40B4-BE49-F238E27FC236}">
                <a16:creationId xmlns:a16="http://schemas.microsoft.com/office/drawing/2014/main" id="{71110D7A-CD1D-2C97-57A0-9A17C8D3134A}"/>
              </a:ext>
            </a:extLst>
          </p:cNvPr>
          <p:cNvSpPr>
            <a:spLocks noGrp="1"/>
          </p:cNvSpPr>
          <p:nvPr>
            <p:ph type="body" sz="quarter" idx="37" hasCustomPrompt="1"/>
          </p:nvPr>
        </p:nvSpPr>
        <p:spPr>
          <a:xfrm>
            <a:off x="9410142" y="1805995"/>
            <a:ext cx="2200300" cy="300443"/>
          </a:xfrm>
        </p:spPr>
        <p:txBody>
          <a:bodyPr lIns="108000" rIns="288000" anchor="b" anchorCtr="0"/>
          <a:lstStyle>
            <a:lvl1pPr>
              <a:defRPr sz="1699"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31" name="Text Placeholder 4">
            <a:extLst>
              <a:ext uri="{FF2B5EF4-FFF2-40B4-BE49-F238E27FC236}">
                <a16:creationId xmlns:a16="http://schemas.microsoft.com/office/drawing/2014/main" id="{4E1F3181-D3F3-3AA6-E3A7-A60D86BCE4F3}"/>
              </a:ext>
            </a:extLst>
          </p:cNvPr>
          <p:cNvSpPr>
            <a:spLocks noGrp="1"/>
          </p:cNvSpPr>
          <p:nvPr>
            <p:ph type="body" sz="quarter" idx="38"/>
          </p:nvPr>
        </p:nvSpPr>
        <p:spPr>
          <a:xfrm>
            <a:off x="9426597" y="2567721"/>
            <a:ext cx="2193483"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2785330317"/>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meline/Milestones x6">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9"/>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8" y="6353142"/>
            <a:ext cx="261631" cy="136527"/>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8"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7"/>
          </a:xfrm>
          <a:prstGeom prst="rect">
            <a:avLst/>
          </a:prstGeom>
        </p:spPr>
        <p:txBody>
          <a:bodyPr anchor="b"/>
          <a:lstStyle>
            <a:lvl1pPr>
              <a:defRPr sz="800"/>
            </a:lvl1pPr>
          </a:lstStyle>
          <a:p>
            <a:r>
              <a:rPr lang="en-US"/>
              <a:t>United Against Rabies Forum Meeting - 6-8 November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5"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9" y="961079"/>
            <a:ext cx="11154344" cy="343847"/>
          </a:xfrm>
        </p:spPr>
        <p:txBody>
          <a:bodyPr/>
          <a:lstStyle>
            <a:lvl1pPr>
              <a:defRPr>
                <a:solidFill>
                  <a:schemeClr val="bg2"/>
                </a:solidFill>
              </a:defRPr>
            </a:lvl1pPr>
          </a:lstStyle>
          <a:p>
            <a:pPr lvl="0"/>
            <a:r>
              <a:rPr lang="en-GB"/>
              <a:t>Click to edit Master text styles</a:t>
            </a:r>
          </a:p>
        </p:txBody>
      </p:sp>
      <p:graphicFrame>
        <p:nvGraphicFramePr>
          <p:cNvPr id="48" name="Table 47">
            <a:extLst>
              <a:ext uri="{FF2B5EF4-FFF2-40B4-BE49-F238E27FC236}">
                <a16:creationId xmlns:a16="http://schemas.microsoft.com/office/drawing/2014/main" id="{B7F29198-E920-459C-2862-C2C7FB6FEB65}"/>
              </a:ext>
            </a:extLst>
          </p:cNvPr>
          <p:cNvGraphicFramePr>
            <a:graphicFrameLocks noGrp="1"/>
          </p:cNvGraphicFramePr>
          <p:nvPr userDrawn="1">
            <p:extLst>
              <p:ext uri="{D42A27DB-BD31-4B8C-83A1-F6EECF244321}">
                <p14:modId xmlns:p14="http://schemas.microsoft.com/office/powerpoint/2010/main" val="3220648469"/>
              </p:ext>
            </p:extLst>
          </p:nvPr>
        </p:nvGraphicFramePr>
        <p:xfrm>
          <a:off x="577179" y="2265318"/>
          <a:ext cx="11007618" cy="3618719"/>
        </p:xfrm>
        <a:graphic>
          <a:graphicData uri="http://schemas.openxmlformats.org/drawingml/2006/table">
            <a:tbl>
              <a:tblPr bandCol="1">
                <a:tableStyleId>{2D5ABB26-0587-4C30-8999-92F81FD0307C}</a:tableStyleId>
              </a:tblPr>
              <a:tblGrid>
                <a:gridCol w="1834603">
                  <a:extLst>
                    <a:ext uri="{9D8B030D-6E8A-4147-A177-3AD203B41FA5}">
                      <a16:colId xmlns:a16="http://schemas.microsoft.com/office/drawing/2014/main" val="4151945498"/>
                    </a:ext>
                  </a:extLst>
                </a:gridCol>
                <a:gridCol w="1834603">
                  <a:extLst>
                    <a:ext uri="{9D8B030D-6E8A-4147-A177-3AD203B41FA5}">
                      <a16:colId xmlns:a16="http://schemas.microsoft.com/office/drawing/2014/main" val="1382627474"/>
                    </a:ext>
                  </a:extLst>
                </a:gridCol>
                <a:gridCol w="1834603">
                  <a:extLst>
                    <a:ext uri="{9D8B030D-6E8A-4147-A177-3AD203B41FA5}">
                      <a16:colId xmlns:a16="http://schemas.microsoft.com/office/drawing/2014/main" val="2312284562"/>
                    </a:ext>
                  </a:extLst>
                </a:gridCol>
                <a:gridCol w="1834603">
                  <a:extLst>
                    <a:ext uri="{9D8B030D-6E8A-4147-A177-3AD203B41FA5}">
                      <a16:colId xmlns:a16="http://schemas.microsoft.com/office/drawing/2014/main" val="380964293"/>
                    </a:ext>
                  </a:extLst>
                </a:gridCol>
                <a:gridCol w="1834603">
                  <a:extLst>
                    <a:ext uri="{9D8B030D-6E8A-4147-A177-3AD203B41FA5}">
                      <a16:colId xmlns:a16="http://schemas.microsoft.com/office/drawing/2014/main" val="2456329606"/>
                    </a:ext>
                  </a:extLst>
                </a:gridCol>
                <a:gridCol w="1834603">
                  <a:extLst>
                    <a:ext uri="{9D8B030D-6E8A-4147-A177-3AD203B41FA5}">
                      <a16:colId xmlns:a16="http://schemas.microsoft.com/office/drawing/2014/main" val="2168740535"/>
                    </a:ext>
                  </a:extLst>
                </a:gridCol>
              </a:tblGrid>
              <a:tr h="3618719">
                <a:tc>
                  <a:txBody>
                    <a:bodyPr/>
                    <a:lstStyle/>
                    <a:p>
                      <a:pPr marL="0" algn="l" defTabSz="914400" rtl="0" eaLnBrk="1" latinLnBrk="0" hangingPunct="1">
                        <a:lnSpc>
                          <a:spcPct val="120000"/>
                        </a:lnSpc>
                        <a:spcAft>
                          <a:spcPts val="2400"/>
                        </a:spcAft>
                      </a:pPr>
                      <a:endParaRPr lang="en-US" sz="1100" kern="1200">
                        <a:solidFill>
                          <a:schemeClr val="tx1"/>
                        </a:solidFill>
                        <a:latin typeface="+mn-lt"/>
                        <a:ea typeface="+mn-ea"/>
                        <a:cs typeface="+mn-cs"/>
                      </a:endParaRPr>
                    </a:p>
                  </a:txBody>
                  <a:tcPr marL="174643" marR="174643" marT="218275" marB="174619">
                    <a:solidFill>
                      <a:schemeClr val="bg1"/>
                    </a:solidFill>
                  </a:tcPr>
                </a:tc>
                <a:tc>
                  <a:txBody>
                    <a:bodyPr/>
                    <a:lstStyle/>
                    <a:p>
                      <a:pPr marL="0" algn="l" defTabSz="914400" rtl="0" eaLnBrk="1" latinLnBrk="0" hangingPunct="1">
                        <a:lnSpc>
                          <a:spcPct val="120000"/>
                        </a:lnSpc>
                        <a:spcAft>
                          <a:spcPts val="2400"/>
                        </a:spcAft>
                      </a:pPr>
                      <a:endParaRPr lang="en-US" sz="1100" kern="1200">
                        <a:solidFill>
                          <a:schemeClr val="tx1"/>
                        </a:solidFill>
                        <a:latin typeface="+mn-lt"/>
                        <a:ea typeface="+mn-ea"/>
                        <a:cs typeface="+mn-cs"/>
                      </a:endParaRPr>
                    </a:p>
                  </a:txBody>
                  <a:tcPr marL="174643" marR="174643" marT="218275"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100" kern="1200">
                        <a:solidFill>
                          <a:schemeClr val="tx1"/>
                        </a:solidFill>
                        <a:latin typeface="+mn-lt"/>
                        <a:ea typeface="+mn-ea"/>
                        <a:cs typeface="+mn-cs"/>
                      </a:endParaRPr>
                    </a:p>
                  </a:txBody>
                  <a:tcPr marL="174643" marR="174643" marT="218275" marB="174619">
                    <a:solidFill>
                      <a:schemeClr val="bg1"/>
                    </a:solidFill>
                  </a:tcPr>
                </a:tc>
                <a:tc>
                  <a:txBody>
                    <a:bodyPr/>
                    <a:lstStyle/>
                    <a:p>
                      <a:pPr marL="0" algn="l" defTabSz="914400" rtl="0" eaLnBrk="1" latinLnBrk="0" hangingPunct="1">
                        <a:lnSpc>
                          <a:spcPct val="120000"/>
                        </a:lnSpc>
                        <a:spcAft>
                          <a:spcPts val="2400"/>
                        </a:spcAft>
                      </a:pPr>
                      <a:endParaRPr lang="en-US" sz="1100" kern="1200">
                        <a:solidFill>
                          <a:schemeClr val="tx1"/>
                        </a:solidFill>
                        <a:latin typeface="+mn-lt"/>
                        <a:ea typeface="+mn-ea"/>
                        <a:cs typeface="+mn-cs"/>
                      </a:endParaRPr>
                    </a:p>
                  </a:txBody>
                  <a:tcPr marL="174643" marR="174643" marT="218275"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100" kern="1200">
                        <a:solidFill>
                          <a:schemeClr val="tx1"/>
                        </a:solidFill>
                        <a:latin typeface="+mn-lt"/>
                        <a:ea typeface="+mn-ea"/>
                        <a:cs typeface="+mn-cs"/>
                      </a:endParaRPr>
                    </a:p>
                  </a:txBody>
                  <a:tcPr marL="174643" marR="174643" marT="218275" marB="174619">
                    <a:noFill/>
                  </a:tcPr>
                </a:tc>
                <a:tc>
                  <a:txBody>
                    <a:bodyPr/>
                    <a:lstStyle/>
                    <a:p>
                      <a:pPr marL="0" algn="l" defTabSz="914400" rtl="0" eaLnBrk="1" latinLnBrk="0" hangingPunct="1">
                        <a:lnSpc>
                          <a:spcPct val="120000"/>
                        </a:lnSpc>
                        <a:spcAft>
                          <a:spcPts val="2400"/>
                        </a:spcAft>
                      </a:pPr>
                      <a:endParaRPr lang="en-US" sz="1100" kern="1200">
                        <a:solidFill>
                          <a:schemeClr val="tx1"/>
                        </a:solidFill>
                        <a:latin typeface="+mn-lt"/>
                        <a:ea typeface="+mn-ea"/>
                        <a:cs typeface="+mn-cs"/>
                      </a:endParaRPr>
                    </a:p>
                  </a:txBody>
                  <a:tcPr marL="174643" marR="174643" marT="218275" marB="174619">
                    <a:solidFill>
                      <a:schemeClr val="bg1">
                        <a:lumMod val="95000"/>
                      </a:schemeClr>
                    </a:solidFill>
                  </a:tcPr>
                </a:tc>
                <a:extLst>
                  <a:ext uri="{0D108BD9-81ED-4DB2-BD59-A6C34878D82A}">
                    <a16:rowId xmlns:a16="http://schemas.microsoft.com/office/drawing/2014/main" val="3469904028"/>
                  </a:ext>
                </a:extLst>
              </a:tr>
            </a:tbl>
          </a:graphicData>
        </a:graphic>
      </p:graphicFrame>
      <p:sp>
        <p:nvSpPr>
          <p:cNvPr id="49" name="object 14">
            <a:extLst>
              <a:ext uri="{FF2B5EF4-FFF2-40B4-BE49-F238E27FC236}">
                <a16:creationId xmlns:a16="http://schemas.microsoft.com/office/drawing/2014/main" id="{A52E1F34-96C7-3C86-48A7-FAB9C405C20B}"/>
              </a:ext>
            </a:extLst>
          </p:cNvPr>
          <p:cNvSpPr/>
          <p:nvPr userDrawn="1"/>
        </p:nvSpPr>
        <p:spPr>
          <a:xfrm>
            <a:off x="577806" y="2265317"/>
            <a:ext cx="11006985" cy="45719"/>
          </a:xfrm>
          <a:custGeom>
            <a:avLst/>
            <a:gdLst/>
            <a:ahLst/>
            <a:cxnLst/>
            <a:rect l="l" t="t" r="r" b="b"/>
            <a:pathLst>
              <a:path w="18209260">
                <a:moveTo>
                  <a:pt x="0" y="0"/>
                </a:moveTo>
                <a:lnTo>
                  <a:pt x="18208869" y="0"/>
                </a:lnTo>
              </a:path>
            </a:pathLst>
          </a:custGeom>
          <a:ln w="9525">
            <a:solidFill>
              <a:schemeClr val="bg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8" y="2208266"/>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8" y="1805995"/>
            <a:ext cx="1807577" cy="300443"/>
          </a:xfrm>
        </p:spPr>
        <p:txBody>
          <a:bodyPr lIns="72000" rIns="288000" anchor="b" anchorCtr="0"/>
          <a:lstStyle>
            <a:lvl1pPr>
              <a:defRPr sz="1699"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8" name="Text Placeholder 4">
            <a:extLst>
              <a:ext uri="{FF2B5EF4-FFF2-40B4-BE49-F238E27FC236}">
                <a16:creationId xmlns:a16="http://schemas.microsoft.com/office/drawing/2014/main" id="{0FE60C61-D20F-0DE2-38DC-62D2FAD38472}"/>
              </a:ext>
            </a:extLst>
          </p:cNvPr>
          <p:cNvSpPr>
            <a:spLocks noGrp="1"/>
          </p:cNvSpPr>
          <p:nvPr>
            <p:ph type="body" sz="quarter" idx="29"/>
          </p:nvPr>
        </p:nvSpPr>
        <p:spPr>
          <a:xfrm>
            <a:off x="577178" y="2567721"/>
            <a:ext cx="1789311"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2" name="Oval 61">
            <a:extLst>
              <a:ext uri="{FF2B5EF4-FFF2-40B4-BE49-F238E27FC236}">
                <a16:creationId xmlns:a16="http://schemas.microsoft.com/office/drawing/2014/main" id="{178D6D93-FD32-F6AE-2A57-61C348C02B3E}"/>
              </a:ext>
            </a:extLst>
          </p:cNvPr>
          <p:cNvSpPr>
            <a:spLocks noChangeAspect="1"/>
          </p:cNvSpPr>
          <p:nvPr userDrawn="1"/>
        </p:nvSpPr>
        <p:spPr>
          <a:xfrm>
            <a:off x="2515021" y="2208266"/>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63" name="Text Placeholder 71">
            <a:extLst>
              <a:ext uri="{FF2B5EF4-FFF2-40B4-BE49-F238E27FC236}">
                <a16:creationId xmlns:a16="http://schemas.microsoft.com/office/drawing/2014/main" id="{21AE5853-8A99-8A93-1D01-2F7FCE23E3DD}"/>
              </a:ext>
            </a:extLst>
          </p:cNvPr>
          <p:cNvSpPr>
            <a:spLocks noGrp="1"/>
          </p:cNvSpPr>
          <p:nvPr>
            <p:ph type="body" sz="quarter" idx="30" hasCustomPrompt="1"/>
          </p:nvPr>
        </p:nvSpPr>
        <p:spPr>
          <a:xfrm>
            <a:off x="2411181" y="1805995"/>
            <a:ext cx="1807577" cy="300443"/>
          </a:xfrm>
        </p:spPr>
        <p:txBody>
          <a:bodyPr lIns="72000" rIns="288000" anchor="b" anchorCtr="0"/>
          <a:lstStyle>
            <a:lvl1pPr>
              <a:defRPr sz="1699"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64" name="Text Placeholder 4">
            <a:extLst>
              <a:ext uri="{FF2B5EF4-FFF2-40B4-BE49-F238E27FC236}">
                <a16:creationId xmlns:a16="http://schemas.microsoft.com/office/drawing/2014/main" id="{1AA430BA-739B-1F40-97FF-53B14467EF88}"/>
              </a:ext>
            </a:extLst>
          </p:cNvPr>
          <p:cNvSpPr>
            <a:spLocks noGrp="1"/>
          </p:cNvSpPr>
          <p:nvPr>
            <p:ph type="body" sz="quarter" idx="31"/>
          </p:nvPr>
        </p:nvSpPr>
        <p:spPr>
          <a:xfrm>
            <a:off x="2411181" y="2567721"/>
            <a:ext cx="1789311"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5" name="Oval 64">
            <a:extLst>
              <a:ext uri="{FF2B5EF4-FFF2-40B4-BE49-F238E27FC236}">
                <a16:creationId xmlns:a16="http://schemas.microsoft.com/office/drawing/2014/main" id="{DC0E5BE5-8378-48E2-C8D1-F22E49536780}"/>
              </a:ext>
            </a:extLst>
          </p:cNvPr>
          <p:cNvSpPr>
            <a:spLocks noChangeAspect="1"/>
          </p:cNvSpPr>
          <p:nvPr userDrawn="1"/>
        </p:nvSpPr>
        <p:spPr>
          <a:xfrm>
            <a:off x="4364034" y="2208266"/>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66" name="Text Placeholder 71">
            <a:extLst>
              <a:ext uri="{FF2B5EF4-FFF2-40B4-BE49-F238E27FC236}">
                <a16:creationId xmlns:a16="http://schemas.microsoft.com/office/drawing/2014/main" id="{DDCEF4C9-0B45-4A5E-2D03-31D3672575C4}"/>
              </a:ext>
            </a:extLst>
          </p:cNvPr>
          <p:cNvSpPr>
            <a:spLocks noGrp="1"/>
          </p:cNvSpPr>
          <p:nvPr>
            <p:ph type="body" sz="quarter" idx="32" hasCustomPrompt="1"/>
          </p:nvPr>
        </p:nvSpPr>
        <p:spPr>
          <a:xfrm>
            <a:off x="4260194" y="1805995"/>
            <a:ext cx="1807577" cy="300443"/>
          </a:xfrm>
        </p:spPr>
        <p:txBody>
          <a:bodyPr lIns="72000" rIns="288000" anchor="b" anchorCtr="0"/>
          <a:lstStyle>
            <a:lvl1pPr>
              <a:defRPr sz="1699"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67" name="Text Placeholder 4">
            <a:extLst>
              <a:ext uri="{FF2B5EF4-FFF2-40B4-BE49-F238E27FC236}">
                <a16:creationId xmlns:a16="http://schemas.microsoft.com/office/drawing/2014/main" id="{B994265A-DDDF-4B03-8D82-FB42EFBCBCE6}"/>
              </a:ext>
            </a:extLst>
          </p:cNvPr>
          <p:cNvSpPr>
            <a:spLocks noGrp="1"/>
          </p:cNvSpPr>
          <p:nvPr>
            <p:ph type="body" sz="quarter" idx="33"/>
          </p:nvPr>
        </p:nvSpPr>
        <p:spPr>
          <a:xfrm>
            <a:off x="4260194" y="2567721"/>
            <a:ext cx="1789311"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8" name="Oval 67">
            <a:extLst>
              <a:ext uri="{FF2B5EF4-FFF2-40B4-BE49-F238E27FC236}">
                <a16:creationId xmlns:a16="http://schemas.microsoft.com/office/drawing/2014/main" id="{0F31CF81-312F-837D-5714-92C7014354C5}"/>
              </a:ext>
            </a:extLst>
          </p:cNvPr>
          <p:cNvSpPr>
            <a:spLocks noChangeAspect="1"/>
          </p:cNvSpPr>
          <p:nvPr userDrawn="1"/>
        </p:nvSpPr>
        <p:spPr>
          <a:xfrm>
            <a:off x="6199841" y="2208266"/>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69" name="Text Placeholder 71">
            <a:extLst>
              <a:ext uri="{FF2B5EF4-FFF2-40B4-BE49-F238E27FC236}">
                <a16:creationId xmlns:a16="http://schemas.microsoft.com/office/drawing/2014/main" id="{62AEAA69-3020-A0FF-5608-7AFD7A5D2986}"/>
              </a:ext>
            </a:extLst>
          </p:cNvPr>
          <p:cNvSpPr>
            <a:spLocks noGrp="1"/>
          </p:cNvSpPr>
          <p:nvPr>
            <p:ph type="body" sz="quarter" idx="34" hasCustomPrompt="1"/>
          </p:nvPr>
        </p:nvSpPr>
        <p:spPr>
          <a:xfrm>
            <a:off x="6096001" y="1805995"/>
            <a:ext cx="1807577" cy="300443"/>
          </a:xfrm>
        </p:spPr>
        <p:txBody>
          <a:bodyPr lIns="72000" rIns="288000" anchor="b" anchorCtr="0"/>
          <a:lstStyle>
            <a:lvl1pPr>
              <a:defRPr sz="1699"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70" name="Text Placeholder 4">
            <a:extLst>
              <a:ext uri="{FF2B5EF4-FFF2-40B4-BE49-F238E27FC236}">
                <a16:creationId xmlns:a16="http://schemas.microsoft.com/office/drawing/2014/main" id="{79626162-0EE9-3BA8-0CDF-67028FE32F18}"/>
              </a:ext>
            </a:extLst>
          </p:cNvPr>
          <p:cNvSpPr>
            <a:spLocks noGrp="1"/>
          </p:cNvSpPr>
          <p:nvPr>
            <p:ph type="body" sz="quarter" idx="35"/>
          </p:nvPr>
        </p:nvSpPr>
        <p:spPr>
          <a:xfrm>
            <a:off x="6096001" y="2567721"/>
            <a:ext cx="1789311"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71" name="Oval 70">
            <a:extLst>
              <a:ext uri="{FF2B5EF4-FFF2-40B4-BE49-F238E27FC236}">
                <a16:creationId xmlns:a16="http://schemas.microsoft.com/office/drawing/2014/main" id="{D4AB8F32-B492-2CD9-826C-E5C5378592C9}"/>
              </a:ext>
            </a:extLst>
          </p:cNvPr>
          <p:cNvSpPr>
            <a:spLocks noChangeAspect="1"/>
          </p:cNvSpPr>
          <p:nvPr userDrawn="1"/>
        </p:nvSpPr>
        <p:spPr>
          <a:xfrm>
            <a:off x="8035646" y="2208266"/>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72" name="Text Placeholder 71">
            <a:extLst>
              <a:ext uri="{FF2B5EF4-FFF2-40B4-BE49-F238E27FC236}">
                <a16:creationId xmlns:a16="http://schemas.microsoft.com/office/drawing/2014/main" id="{3F1D7A91-7111-6E5C-279C-1B1D96950821}"/>
              </a:ext>
            </a:extLst>
          </p:cNvPr>
          <p:cNvSpPr>
            <a:spLocks noGrp="1"/>
          </p:cNvSpPr>
          <p:nvPr>
            <p:ph type="body" sz="quarter" idx="36" hasCustomPrompt="1"/>
          </p:nvPr>
        </p:nvSpPr>
        <p:spPr>
          <a:xfrm>
            <a:off x="7931805" y="1805995"/>
            <a:ext cx="1807577" cy="300443"/>
          </a:xfrm>
        </p:spPr>
        <p:txBody>
          <a:bodyPr lIns="72000" rIns="288000" anchor="b" anchorCtr="0"/>
          <a:lstStyle>
            <a:lvl1pPr>
              <a:defRPr sz="1699"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73" name="Text Placeholder 4">
            <a:extLst>
              <a:ext uri="{FF2B5EF4-FFF2-40B4-BE49-F238E27FC236}">
                <a16:creationId xmlns:a16="http://schemas.microsoft.com/office/drawing/2014/main" id="{0E2562B9-545B-AF00-D9F9-44E167A11B93}"/>
              </a:ext>
            </a:extLst>
          </p:cNvPr>
          <p:cNvSpPr>
            <a:spLocks noGrp="1"/>
          </p:cNvSpPr>
          <p:nvPr>
            <p:ph type="body" sz="quarter" idx="37"/>
          </p:nvPr>
        </p:nvSpPr>
        <p:spPr>
          <a:xfrm>
            <a:off x="7931806" y="2567721"/>
            <a:ext cx="1789311"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74" name="Oval 73">
            <a:extLst>
              <a:ext uri="{FF2B5EF4-FFF2-40B4-BE49-F238E27FC236}">
                <a16:creationId xmlns:a16="http://schemas.microsoft.com/office/drawing/2014/main" id="{A45C6367-A74F-1C2C-672E-F2E6078D3C68}"/>
              </a:ext>
            </a:extLst>
          </p:cNvPr>
          <p:cNvSpPr>
            <a:spLocks noChangeAspect="1"/>
          </p:cNvSpPr>
          <p:nvPr userDrawn="1"/>
        </p:nvSpPr>
        <p:spPr>
          <a:xfrm>
            <a:off x="9847198" y="2208266"/>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75" name="Text Placeholder 71">
            <a:extLst>
              <a:ext uri="{FF2B5EF4-FFF2-40B4-BE49-F238E27FC236}">
                <a16:creationId xmlns:a16="http://schemas.microsoft.com/office/drawing/2014/main" id="{5865903F-F98B-94C0-7563-3A297E41DA2E}"/>
              </a:ext>
            </a:extLst>
          </p:cNvPr>
          <p:cNvSpPr>
            <a:spLocks noGrp="1"/>
          </p:cNvSpPr>
          <p:nvPr>
            <p:ph type="body" sz="quarter" idx="38" hasCustomPrompt="1"/>
          </p:nvPr>
        </p:nvSpPr>
        <p:spPr>
          <a:xfrm>
            <a:off x="9743357" y="1805995"/>
            <a:ext cx="1807577" cy="300443"/>
          </a:xfrm>
        </p:spPr>
        <p:txBody>
          <a:bodyPr lIns="72000" rIns="288000" anchor="b" anchorCtr="0"/>
          <a:lstStyle>
            <a:lvl1pPr>
              <a:defRPr sz="1699"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76" name="Text Placeholder 4">
            <a:extLst>
              <a:ext uri="{FF2B5EF4-FFF2-40B4-BE49-F238E27FC236}">
                <a16:creationId xmlns:a16="http://schemas.microsoft.com/office/drawing/2014/main" id="{CAB912CE-814A-19EE-2402-D55C72FA588E}"/>
              </a:ext>
            </a:extLst>
          </p:cNvPr>
          <p:cNvSpPr>
            <a:spLocks noGrp="1"/>
          </p:cNvSpPr>
          <p:nvPr>
            <p:ph type="body" sz="quarter" idx="39"/>
          </p:nvPr>
        </p:nvSpPr>
        <p:spPr>
          <a:xfrm>
            <a:off x="9743358" y="2567721"/>
            <a:ext cx="1789311"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1374861733"/>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Annual Timeline">
    <p:spTree>
      <p:nvGrpSpPr>
        <p:cNvPr id="1" name=""/>
        <p:cNvGrpSpPr/>
        <p:nvPr/>
      </p:nvGrpSpPr>
      <p:grpSpPr>
        <a:xfrm>
          <a:off x="0" y="0"/>
          <a:ext cx="0" cy="0"/>
          <a:chOff x="0" y="0"/>
          <a:chExt cx="0" cy="0"/>
        </a:xfrm>
      </p:grpSpPr>
      <p:graphicFrame>
        <p:nvGraphicFramePr>
          <p:cNvPr id="30" name="Table 29">
            <a:extLst>
              <a:ext uri="{FF2B5EF4-FFF2-40B4-BE49-F238E27FC236}">
                <a16:creationId xmlns:a16="http://schemas.microsoft.com/office/drawing/2014/main" id="{803BAA2C-9254-B18D-A058-251E52C66E89}"/>
              </a:ext>
            </a:extLst>
          </p:cNvPr>
          <p:cNvGraphicFramePr>
            <a:graphicFrameLocks noGrp="1"/>
          </p:cNvGraphicFramePr>
          <p:nvPr userDrawn="1">
            <p:extLst>
              <p:ext uri="{D42A27DB-BD31-4B8C-83A1-F6EECF244321}">
                <p14:modId xmlns:p14="http://schemas.microsoft.com/office/powerpoint/2010/main" val="4106880639"/>
              </p:ext>
            </p:extLst>
          </p:nvPr>
        </p:nvGraphicFramePr>
        <p:xfrm>
          <a:off x="606585" y="2278197"/>
          <a:ext cx="11007612" cy="3618727"/>
        </p:xfrm>
        <a:graphic>
          <a:graphicData uri="http://schemas.openxmlformats.org/drawingml/2006/table">
            <a:tbl>
              <a:tblPr bandCol="1">
                <a:tableStyleId>{2D5ABB26-0587-4C30-8999-92F81FD0307C}</a:tableStyleId>
              </a:tblPr>
              <a:tblGrid>
                <a:gridCol w="917301">
                  <a:extLst>
                    <a:ext uri="{9D8B030D-6E8A-4147-A177-3AD203B41FA5}">
                      <a16:colId xmlns:a16="http://schemas.microsoft.com/office/drawing/2014/main" val="4151945498"/>
                    </a:ext>
                  </a:extLst>
                </a:gridCol>
                <a:gridCol w="917301">
                  <a:extLst>
                    <a:ext uri="{9D8B030D-6E8A-4147-A177-3AD203B41FA5}">
                      <a16:colId xmlns:a16="http://schemas.microsoft.com/office/drawing/2014/main" val="1382627474"/>
                    </a:ext>
                  </a:extLst>
                </a:gridCol>
                <a:gridCol w="917301">
                  <a:extLst>
                    <a:ext uri="{9D8B030D-6E8A-4147-A177-3AD203B41FA5}">
                      <a16:colId xmlns:a16="http://schemas.microsoft.com/office/drawing/2014/main" val="2312284562"/>
                    </a:ext>
                  </a:extLst>
                </a:gridCol>
                <a:gridCol w="917301">
                  <a:extLst>
                    <a:ext uri="{9D8B030D-6E8A-4147-A177-3AD203B41FA5}">
                      <a16:colId xmlns:a16="http://schemas.microsoft.com/office/drawing/2014/main" val="380964293"/>
                    </a:ext>
                  </a:extLst>
                </a:gridCol>
                <a:gridCol w="917301">
                  <a:extLst>
                    <a:ext uri="{9D8B030D-6E8A-4147-A177-3AD203B41FA5}">
                      <a16:colId xmlns:a16="http://schemas.microsoft.com/office/drawing/2014/main" val="2227914870"/>
                    </a:ext>
                  </a:extLst>
                </a:gridCol>
                <a:gridCol w="917301">
                  <a:extLst>
                    <a:ext uri="{9D8B030D-6E8A-4147-A177-3AD203B41FA5}">
                      <a16:colId xmlns:a16="http://schemas.microsoft.com/office/drawing/2014/main" val="2386396939"/>
                    </a:ext>
                  </a:extLst>
                </a:gridCol>
                <a:gridCol w="917301">
                  <a:extLst>
                    <a:ext uri="{9D8B030D-6E8A-4147-A177-3AD203B41FA5}">
                      <a16:colId xmlns:a16="http://schemas.microsoft.com/office/drawing/2014/main" val="1442862435"/>
                    </a:ext>
                  </a:extLst>
                </a:gridCol>
                <a:gridCol w="917301">
                  <a:extLst>
                    <a:ext uri="{9D8B030D-6E8A-4147-A177-3AD203B41FA5}">
                      <a16:colId xmlns:a16="http://schemas.microsoft.com/office/drawing/2014/main" val="2496167856"/>
                    </a:ext>
                  </a:extLst>
                </a:gridCol>
                <a:gridCol w="917301">
                  <a:extLst>
                    <a:ext uri="{9D8B030D-6E8A-4147-A177-3AD203B41FA5}">
                      <a16:colId xmlns:a16="http://schemas.microsoft.com/office/drawing/2014/main" val="936398145"/>
                    </a:ext>
                  </a:extLst>
                </a:gridCol>
                <a:gridCol w="917301">
                  <a:extLst>
                    <a:ext uri="{9D8B030D-6E8A-4147-A177-3AD203B41FA5}">
                      <a16:colId xmlns:a16="http://schemas.microsoft.com/office/drawing/2014/main" val="3251811526"/>
                    </a:ext>
                  </a:extLst>
                </a:gridCol>
                <a:gridCol w="917301">
                  <a:extLst>
                    <a:ext uri="{9D8B030D-6E8A-4147-A177-3AD203B41FA5}">
                      <a16:colId xmlns:a16="http://schemas.microsoft.com/office/drawing/2014/main" val="2298212362"/>
                    </a:ext>
                  </a:extLst>
                </a:gridCol>
                <a:gridCol w="917301">
                  <a:extLst>
                    <a:ext uri="{9D8B030D-6E8A-4147-A177-3AD203B41FA5}">
                      <a16:colId xmlns:a16="http://schemas.microsoft.com/office/drawing/2014/main" val="1474312375"/>
                    </a:ext>
                  </a:extLst>
                </a:gridCol>
              </a:tblGrid>
              <a:tr h="3618727">
                <a:tc>
                  <a:txBody>
                    <a:bodyPr/>
                    <a:lstStyle/>
                    <a:p>
                      <a:pPr marL="0" algn="l" defTabSz="914400" rtl="0" eaLnBrk="1" latinLnBrk="0" hangingPunct="1">
                        <a:lnSpc>
                          <a:spcPct val="120000"/>
                        </a:lnSpc>
                        <a:spcAft>
                          <a:spcPts val="2400"/>
                        </a:spcAft>
                      </a:pPr>
                      <a:endParaRPr lang="en-US" sz="1100" kern="1200">
                        <a:solidFill>
                          <a:schemeClr val="tx1"/>
                        </a:solidFill>
                        <a:latin typeface="+mn-lt"/>
                        <a:ea typeface="+mn-ea"/>
                        <a:cs typeface="+mn-cs"/>
                      </a:endParaRPr>
                    </a:p>
                  </a:txBody>
                  <a:tcPr marL="174643" marR="174643" marT="218275" marB="174619">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100" kern="1200">
                        <a:solidFill>
                          <a:schemeClr val="tx1"/>
                        </a:solidFill>
                        <a:latin typeface="+mn-lt"/>
                        <a:ea typeface="+mn-ea"/>
                        <a:cs typeface="+mn-cs"/>
                      </a:endParaRPr>
                    </a:p>
                  </a:txBody>
                  <a:tcPr marL="174643" marR="174643" marT="218275"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100" kern="1200">
                        <a:solidFill>
                          <a:schemeClr val="tx1"/>
                        </a:solidFill>
                        <a:latin typeface="+mn-lt"/>
                        <a:ea typeface="+mn-ea"/>
                        <a:cs typeface="+mn-cs"/>
                      </a:endParaRPr>
                    </a:p>
                  </a:txBody>
                  <a:tcPr marL="174643" marR="174643" marT="218275"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100" kern="1200">
                        <a:solidFill>
                          <a:schemeClr val="tx1"/>
                        </a:solidFill>
                        <a:latin typeface="+mn-lt"/>
                        <a:ea typeface="+mn-ea"/>
                        <a:cs typeface="+mn-cs"/>
                      </a:endParaRPr>
                    </a:p>
                  </a:txBody>
                  <a:tcPr marL="174643" marR="174643" marT="218275"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100" kern="1200">
                        <a:solidFill>
                          <a:schemeClr val="tx1"/>
                        </a:solidFill>
                        <a:latin typeface="+mn-lt"/>
                        <a:ea typeface="+mn-ea"/>
                        <a:cs typeface="+mn-cs"/>
                      </a:endParaRPr>
                    </a:p>
                  </a:txBody>
                  <a:tcPr marL="174643" marR="174643" marT="218275"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100" kern="1200">
                        <a:solidFill>
                          <a:schemeClr val="tx1"/>
                        </a:solidFill>
                        <a:latin typeface="+mn-lt"/>
                        <a:ea typeface="+mn-ea"/>
                        <a:cs typeface="+mn-cs"/>
                      </a:endParaRPr>
                    </a:p>
                  </a:txBody>
                  <a:tcPr marL="174643" marR="174643" marT="218275"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100" kern="1200">
                        <a:solidFill>
                          <a:schemeClr val="tx1"/>
                        </a:solidFill>
                        <a:latin typeface="+mn-lt"/>
                        <a:ea typeface="+mn-ea"/>
                        <a:cs typeface="+mn-cs"/>
                      </a:endParaRPr>
                    </a:p>
                  </a:txBody>
                  <a:tcPr marL="174643" marR="174643" marT="218275"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100" kern="1200">
                        <a:solidFill>
                          <a:schemeClr val="tx1"/>
                        </a:solidFill>
                        <a:latin typeface="+mn-lt"/>
                        <a:ea typeface="+mn-ea"/>
                        <a:cs typeface="+mn-cs"/>
                      </a:endParaRPr>
                    </a:p>
                  </a:txBody>
                  <a:tcPr marL="174643" marR="174643" marT="218275"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100" kern="1200">
                        <a:solidFill>
                          <a:schemeClr val="tx1"/>
                        </a:solidFill>
                        <a:latin typeface="+mn-lt"/>
                        <a:ea typeface="+mn-ea"/>
                        <a:cs typeface="+mn-cs"/>
                      </a:endParaRPr>
                    </a:p>
                  </a:txBody>
                  <a:tcPr marL="174643" marR="174643" marT="218275"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100" kern="1200">
                        <a:solidFill>
                          <a:schemeClr val="tx1"/>
                        </a:solidFill>
                        <a:latin typeface="+mn-lt"/>
                        <a:ea typeface="+mn-ea"/>
                        <a:cs typeface="+mn-cs"/>
                      </a:endParaRPr>
                    </a:p>
                  </a:txBody>
                  <a:tcPr marL="174643" marR="174643" marT="218275"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100" kern="1200">
                        <a:solidFill>
                          <a:schemeClr val="tx1"/>
                        </a:solidFill>
                        <a:latin typeface="+mn-lt"/>
                        <a:ea typeface="+mn-ea"/>
                        <a:cs typeface="+mn-cs"/>
                      </a:endParaRPr>
                    </a:p>
                  </a:txBody>
                  <a:tcPr marL="174643" marR="174643" marT="218275"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100" kern="1200">
                        <a:solidFill>
                          <a:schemeClr val="tx1"/>
                        </a:solidFill>
                        <a:latin typeface="+mn-lt"/>
                        <a:ea typeface="+mn-ea"/>
                        <a:cs typeface="+mn-cs"/>
                      </a:endParaRPr>
                    </a:p>
                  </a:txBody>
                  <a:tcPr marL="174643" marR="174643" marT="218275" marB="174619">
                    <a:lnL w="6350" cap="flat" cmpd="sng" algn="ctr">
                      <a:solidFill>
                        <a:schemeClr val="bg1">
                          <a:lumMod val="85000"/>
                        </a:schemeClr>
                      </a:solidFill>
                      <a:prstDash val="solid"/>
                      <a:round/>
                      <a:headEnd type="none" w="med" len="med"/>
                      <a:tailEnd type="none" w="med" len="med"/>
                    </a:lnL>
                    <a:noFill/>
                  </a:tcPr>
                </a:tc>
                <a:extLst>
                  <a:ext uri="{0D108BD9-81ED-4DB2-BD59-A6C34878D82A}">
                    <a16:rowId xmlns:a16="http://schemas.microsoft.com/office/drawing/2014/main" val="3469904028"/>
                  </a:ext>
                </a:extLst>
              </a:tr>
            </a:tbl>
          </a:graphicData>
        </a:graphic>
      </p:graphicFrame>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9"/>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8" y="6353142"/>
            <a:ext cx="261631" cy="136527"/>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8"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7"/>
          </a:xfrm>
          <a:prstGeom prst="rect">
            <a:avLst/>
          </a:prstGeom>
        </p:spPr>
        <p:txBody>
          <a:bodyPr anchor="b"/>
          <a:lstStyle>
            <a:lvl1pPr>
              <a:defRPr sz="800"/>
            </a:lvl1pPr>
          </a:lstStyle>
          <a:p>
            <a:r>
              <a:rPr lang="en-US"/>
              <a:t>United Against Rabies Forum Meeting - 6-8 November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5"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9" y="961079"/>
            <a:ext cx="11154344" cy="343847"/>
          </a:xfrm>
        </p:spPr>
        <p:txBody>
          <a:bodyPr/>
          <a:lstStyle>
            <a:lvl1pPr>
              <a:defRPr>
                <a:solidFill>
                  <a:schemeClr val="bg2"/>
                </a:solidFill>
              </a:defRPr>
            </a:lvl1pPr>
          </a:lstStyle>
          <a:p>
            <a:pPr lvl="0"/>
            <a:r>
              <a:rPr lang="en-GB"/>
              <a:t>Click to edit Master text styles</a:t>
            </a:r>
          </a:p>
        </p:txBody>
      </p:sp>
      <p:sp>
        <p:nvSpPr>
          <p:cNvPr id="49" name="object 14">
            <a:extLst>
              <a:ext uri="{FF2B5EF4-FFF2-40B4-BE49-F238E27FC236}">
                <a16:creationId xmlns:a16="http://schemas.microsoft.com/office/drawing/2014/main" id="{A52E1F34-96C7-3C86-48A7-FAB9C405C20B}"/>
              </a:ext>
            </a:extLst>
          </p:cNvPr>
          <p:cNvSpPr/>
          <p:nvPr userDrawn="1"/>
        </p:nvSpPr>
        <p:spPr>
          <a:xfrm>
            <a:off x="577806" y="2278197"/>
            <a:ext cx="11036388" cy="45719"/>
          </a:xfrm>
          <a:custGeom>
            <a:avLst/>
            <a:gdLst/>
            <a:ahLst/>
            <a:cxnLst/>
            <a:rect l="l" t="t" r="r" b="b"/>
            <a:pathLst>
              <a:path w="18209260">
                <a:moveTo>
                  <a:pt x="0" y="0"/>
                </a:moveTo>
                <a:lnTo>
                  <a:pt x="18208869" y="0"/>
                </a:lnTo>
              </a:path>
            </a:pathLst>
          </a:custGeom>
          <a:ln w="9525">
            <a:solidFill>
              <a:schemeClr val="tx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8" y="2221146"/>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1" name="Oval 50">
            <a:extLst>
              <a:ext uri="{FF2B5EF4-FFF2-40B4-BE49-F238E27FC236}">
                <a16:creationId xmlns:a16="http://schemas.microsoft.com/office/drawing/2014/main" id="{47D58FC1-83B9-3BAD-C3EF-06E8D5DE120F}"/>
              </a:ext>
            </a:extLst>
          </p:cNvPr>
          <p:cNvSpPr>
            <a:spLocks noChangeAspect="1"/>
          </p:cNvSpPr>
          <p:nvPr userDrawn="1"/>
        </p:nvSpPr>
        <p:spPr>
          <a:xfrm>
            <a:off x="3460439" y="2221146"/>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2" name="Oval 51">
            <a:extLst>
              <a:ext uri="{FF2B5EF4-FFF2-40B4-BE49-F238E27FC236}">
                <a16:creationId xmlns:a16="http://schemas.microsoft.com/office/drawing/2014/main" id="{9D582DFC-3D0D-D5F8-AA6B-5676C8C4B3BF}"/>
              </a:ext>
            </a:extLst>
          </p:cNvPr>
          <p:cNvSpPr>
            <a:spLocks noChangeAspect="1"/>
          </p:cNvSpPr>
          <p:nvPr userDrawn="1"/>
        </p:nvSpPr>
        <p:spPr>
          <a:xfrm>
            <a:off x="6227971" y="2221146"/>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3" name="Oval 52">
            <a:extLst>
              <a:ext uri="{FF2B5EF4-FFF2-40B4-BE49-F238E27FC236}">
                <a16:creationId xmlns:a16="http://schemas.microsoft.com/office/drawing/2014/main" id="{DF486150-9219-560A-8B4F-FB551F786E68}"/>
              </a:ext>
            </a:extLst>
          </p:cNvPr>
          <p:cNvSpPr>
            <a:spLocks noChangeAspect="1"/>
          </p:cNvSpPr>
          <p:nvPr userDrawn="1"/>
        </p:nvSpPr>
        <p:spPr>
          <a:xfrm>
            <a:off x="8985926" y="2221146"/>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6" y="1818875"/>
            <a:ext cx="2767427" cy="300443"/>
          </a:xfrm>
        </p:spPr>
        <p:txBody>
          <a:bodyPr lIns="108000" rIns="288000" anchor="b" anchorCtr="0">
            <a:noAutofit/>
          </a:bodyPr>
          <a:lstStyle>
            <a:lvl1pPr>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55" name="Text Placeholder 71">
            <a:extLst>
              <a:ext uri="{FF2B5EF4-FFF2-40B4-BE49-F238E27FC236}">
                <a16:creationId xmlns:a16="http://schemas.microsoft.com/office/drawing/2014/main" id="{799F0539-8B24-4E4B-EF4C-121B551D8BA3}"/>
              </a:ext>
            </a:extLst>
          </p:cNvPr>
          <p:cNvSpPr>
            <a:spLocks noGrp="1"/>
          </p:cNvSpPr>
          <p:nvPr>
            <p:ph type="body" sz="quarter" idx="16" hasCustomPrompt="1"/>
          </p:nvPr>
        </p:nvSpPr>
        <p:spPr>
          <a:xfrm>
            <a:off x="3344605" y="1818875"/>
            <a:ext cx="2746295" cy="300443"/>
          </a:xfrm>
        </p:spPr>
        <p:txBody>
          <a:bodyPr lIns="108000" rIns="288000" anchor="b" anchorCtr="0">
            <a:noAutofit/>
          </a:bodyPr>
          <a:lstStyle>
            <a:lvl1pPr marL="0" marR="0" indent="0" algn="l" defTabSz="914377" rtl="0" eaLnBrk="1" fontAlgn="auto" latinLnBrk="0" hangingPunct="1">
              <a:lnSpc>
                <a:spcPct val="110000"/>
              </a:lnSpc>
              <a:spcBef>
                <a:spcPts val="0"/>
              </a:spcBef>
              <a:spcAft>
                <a:spcPts val="1200"/>
              </a:spcAft>
              <a:buClrTx/>
              <a:buSzTx/>
              <a:buFont typeface="Arial" panose="020B0604020202020204" pitchFamily="34" charset="0"/>
              <a:buNone/>
              <a:tabLst/>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56" name="Text Placeholder 71">
            <a:extLst>
              <a:ext uri="{FF2B5EF4-FFF2-40B4-BE49-F238E27FC236}">
                <a16:creationId xmlns:a16="http://schemas.microsoft.com/office/drawing/2014/main" id="{9DFB2CE5-A177-E72D-3CD4-2646E4DCE502}"/>
              </a:ext>
            </a:extLst>
          </p:cNvPr>
          <p:cNvSpPr>
            <a:spLocks noGrp="1"/>
          </p:cNvSpPr>
          <p:nvPr>
            <p:ph type="body" sz="quarter" idx="18" hasCustomPrompt="1"/>
          </p:nvPr>
        </p:nvSpPr>
        <p:spPr>
          <a:xfrm>
            <a:off x="6100142" y="1818875"/>
            <a:ext cx="2745959" cy="300443"/>
          </a:xfrm>
        </p:spPr>
        <p:txBody>
          <a:bodyPr lIns="108000" rIns="288000" anchor="b" anchorCtr="0">
            <a:noAutofit/>
          </a:bodyPr>
          <a:lstStyle>
            <a:lvl1pPr>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57" name="Text Placeholder 71">
            <a:extLst>
              <a:ext uri="{FF2B5EF4-FFF2-40B4-BE49-F238E27FC236}">
                <a16:creationId xmlns:a16="http://schemas.microsoft.com/office/drawing/2014/main" id="{7A262EC1-F639-E81C-3343-3DA348DA9266}"/>
              </a:ext>
            </a:extLst>
          </p:cNvPr>
          <p:cNvSpPr>
            <a:spLocks noGrp="1"/>
          </p:cNvSpPr>
          <p:nvPr>
            <p:ph type="body" sz="quarter" idx="20" hasCustomPrompt="1"/>
          </p:nvPr>
        </p:nvSpPr>
        <p:spPr>
          <a:xfrm>
            <a:off x="8846102" y="1818875"/>
            <a:ext cx="2773719" cy="300443"/>
          </a:xfrm>
        </p:spPr>
        <p:txBody>
          <a:bodyPr lIns="108000" rIns="288000" anchor="b" anchorCtr="0">
            <a:noAutofit/>
          </a:bodyPr>
          <a:lstStyle>
            <a:lvl1pPr>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23" name="Text Placeholder 2">
            <a:extLst>
              <a:ext uri="{FF2B5EF4-FFF2-40B4-BE49-F238E27FC236}">
                <a16:creationId xmlns:a16="http://schemas.microsoft.com/office/drawing/2014/main" id="{3031F97C-D610-4D45-F78B-D175D9A0E755}"/>
              </a:ext>
            </a:extLst>
          </p:cNvPr>
          <p:cNvSpPr>
            <a:spLocks noGrp="1"/>
          </p:cNvSpPr>
          <p:nvPr>
            <p:ph type="body" sz="quarter" idx="47"/>
          </p:nvPr>
        </p:nvSpPr>
        <p:spPr>
          <a:xfrm>
            <a:off x="3485841" y="2583185"/>
            <a:ext cx="8012329" cy="380748"/>
          </a:xfrm>
          <a:prstGeom prst="roundRect">
            <a:avLst>
              <a:gd name="adj" fmla="val 50000"/>
            </a:avLst>
          </a:prstGeom>
          <a:solidFill>
            <a:srgbClr val="E6E6E6"/>
          </a:solidFill>
        </p:spPr>
        <p:txBody>
          <a:bodyPr vert="horz" wrap="square" lIns="180000" tIns="54000" rIns="180000" bIns="54000" rtlCol="0" anchor="ctr" anchorCtr="0">
            <a:spAutoFit/>
          </a:bodyPr>
          <a:lstStyle>
            <a:lvl1pPr>
              <a:lnSpc>
                <a:spcPct val="100000"/>
              </a:lnSpc>
              <a:spcAft>
                <a:spcPts val="600"/>
              </a:spcAft>
              <a:defRPr lang="en-US" sz="1051" b="1" i="0" dirty="0" smtClean="0">
                <a:solidFill>
                  <a:schemeClr val="tx2">
                    <a:lumMod val="50000"/>
                  </a:schemeClr>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4" name="Text Placeholder 2">
            <a:extLst>
              <a:ext uri="{FF2B5EF4-FFF2-40B4-BE49-F238E27FC236}">
                <a16:creationId xmlns:a16="http://schemas.microsoft.com/office/drawing/2014/main" id="{1FF72A2C-EC93-1960-E000-9D1BE3C473D1}"/>
              </a:ext>
            </a:extLst>
          </p:cNvPr>
          <p:cNvSpPr>
            <a:spLocks noGrp="1"/>
          </p:cNvSpPr>
          <p:nvPr>
            <p:ph type="body" sz="quarter" idx="48"/>
          </p:nvPr>
        </p:nvSpPr>
        <p:spPr>
          <a:xfrm>
            <a:off x="718375" y="2474445"/>
            <a:ext cx="2451893" cy="608144"/>
          </a:xfrm>
          <a:prstGeom prst="roundRect">
            <a:avLst>
              <a:gd name="adj" fmla="val 50000"/>
            </a:avLst>
          </a:prstGeom>
          <a:solidFill>
            <a:schemeClr val="bg2"/>
          </a:solidFill>
        </p:spPr>
        <p:txBody>
          <a:bodyPr vert="horz" wrap="square" lIns="180000" tIns="54000" rIns="180000" bIns="54000" rtlCol="0" anchor="ctr" anchorCtr="0">
            <a:spAutoFit/>
          </a:bodyPr>
          <a:lstStyle>
            <a:lvl1pPr>
              <a:lnSpc>
                <a:spcPct val="100000"/>
              </a:lnSpc>
              <a:spcAft>
                <a:spcPts val="600"/>
              </a:spcAft>
              <a:defRPr lang="en-US" sz="1051"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5" name="Text Placeholder 2">
            <a:extLst>
              <a:ext uri="{FF2B5EF4-FFF2-40B4-BE49-F238E27FC236}">
                <a16:creationId xmlns:a16="http://schemas.microsoft.com/office/drawing/2014/main" id="{7B3311CB-DC37-BF2B-8E33-872990686A6F}"/>
              </a:ext>
            </a:extLst>
          </p:cNvPr>
          <p:cNvSpPr>
            <a:spLocks noGrp="1"/>
          </p:cNvSpPr>
          <p:nvPr>
            <p:ph type="body" sz="quarter" idx="49"/>
          </p:nvPr>
        </p:nvSpPr>
        <p:spPr>
          <a:xfrm>
            <a:off x="9020770" y="2998740"/>
            <a:ext cx="2477399" cy="608144"/>
          </a:xfrm>
          <a:prstGeom prst="roundRect">
            <a:avLst>
              <a:gd name="adj" fmla="val 50000"/>
            </a:avLst>
          </a:prstGeom>
          <a:solidFill>
            <a:schemeClr val="bg2"/>
          </a:solidFill>
        </p:spPr>
        <p:txBody>
          <a:bodyPr vert="horz" wrap="square" lIns="180000" tIns="54000" rIns="180000" bIns="54000" rtlCol="0" anchor="ctr" anchorCtr="0">
            <a:spAutoFit/>
          </a:bodyPr>
          <a:lstStyle>
            <a:lvl1pPr>
              <a:lnSpc>
                <a:spcPct val="100000"/>
              </a:lnSpc>
              <a:spcAft>
                <a:spcPts val="600"/>
              </a:spcAft>
              <a:defRPr lang="en-US" sz="1051"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6" name="Text Placeholder 2">
            <a:extLst>
              <a:ext uri="{FF2B5EF4-FFF2-40B4-BE49-F238E27FC236}">
                <a16:creationId xmlns:a16="http://schemas.microsoft.com/office/drawing/2014/main" id="{4C6A5BFA-3D10-182C-1A20-2F9F25DA5EC7}"/>
              </a:ext>
            </a:extLst>
          </p:cNvPr>
          <p:cNvSpPr>
            <a:spLocks noGrp="1"/>
          </p:cNvSpPr>
          <p:nvPr>
            <p:ph type="body" sz="quarter" idx="50"/>
          </p:nvPr>
        </p:nvSpPr>
        <p:spPr>
          <a:xfrm>
            <a:off x="718376" y="3112438"/>
            <a:ext cx="8012329" cy="380748"/>
          </a:xfrm>
          <a:prstGeom prst="roundRect">
            <a:avLst>
              <a:gd name="adj" fmla="val 50000"/>
            </a:avLst>
          </a:prstGeom>
          <a:solidFill>
            <a:srgbClr val="E6E6E6"/>
          </a:solidFill>
        </p:spPr>
        <p:txBody>
          <a:bodyPr vert="horz" wrap="square" lIns="180000" tIns="54000" rIns="180000" bIns="54000" rtlCol="0" anchor="ctr" anchorCtr="0">
            <a:spAutoFit/>
          </a:bodyPr>
          <a:lstStyle>
            <a:lvl1pPr>
              <a:lnSpc>
                <a:spcPct val="100000"/>
              </a:lnSpc>
              <a:spcAft>
                <a:spcPts val="600"/>
              </a:spcAft>
              <a:defRPr lang="en-US" sz="1051" b="1" i="0" dirty="0" smtClean="0">
                <a:solidFill>
                  <a:schemeClr val="tx2">
                    <a:lumMod val="50000"/>
                  </a:schemeClr>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7" name="Text Placeholder 2">
            <a:extLst>
              <a:ext uri="{FF2B5EF4-FFF2-40B4-BE49-F238E27FC236}">
                <a16:creationId xmlns:a16="http://schemas.microsoft.com/office/drawing/2014/main" id="{63D306BC-6AA0-5B15-EAD0-1C4B6C007AE2}"/>
              </a:ext>
            </a:extLst>
          </p:cNvPr>
          <p:cNvSpPr>
            <a:spLocks noGrp="1"/>
          </p:cNvSpPr>
          <p:nvPr>
            <p:ph type="body" sz="quarter" idx="52"/>
          </p:nvPr>
        </p:nvSpPr>
        <p:spPr>
          <a:xfrm>
            <a:off x="718373" y="3636733"/>
            <a:ext cx="10779795" cy="380748"/>
          </a:xfrm>
          <a:prstGeom prst="roundRect">
            <a:avLst>
              <a:gd name="adj" fmla="val 50000"/>
            </a:avLst>
          </a:prstGeom>
          <a:solidFill>
            <a:schemeClr val="tx2"/>
          </a:solidFill>
        </p:spPr>
        <p:txBody>
          <a:bodyPr vert="horz" wrap="square" lIns="180000" tIns="54000" rIns="180000" bIns="54000" rtlCol="0" anchor="ctr" anchorCtr="0">
            <a:spAutoFit/>
          </a:bodyPr>
          <a:lstStyle>
            <a:lvl1pPr>
              <a:lnSpc>
                <a:spcPct val="100000"/>
              </a:lnSpc>
              <a:spcAft>
                <a:spcPts val="600"/>
              </a:spcAft>
              <a:defRPr lang="en-US" sz="1051"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8" name="Text Placeholder 2">
            <a:extLst>
              <a:ext uri="{FF2B5EF4-FFF2-40B4-BE49-F238E27FC236}">
                <a16:creationId xmlns:a16="http://schemas.microsoft.com/office/drawing/2014/main" id="{2F279148-11D1-D193-7504-E15A8DBBB7ED}"/>
              </a:ext>
            </a:extLst>
          </p:cNvPr>
          <p:cNvSpPr>
            <a:spLocks noGrp="1"/>
          </p:cNvSpPr>
          <p:nvPr>
            <p:ph type="body" sz="quarter" idx="54"/>
          </p:nvPr>
        </p:nvSpPr>
        <p:spPr>
          <a:xfrm>
            <a:off x="1947773" y="4161027"/>
            <a:ext cx="9537643" cy="380748"/>
          </a:xfrm>
          <a:prstGeom prst="roundRect">
            <a:avLst>
              <a:gd name="adj" fmla="val 50000"/>
            </a:avLst>
          </a:prstGeom>
          <a:solidFill>
            <a:srgbClr val="E6E6E6"/>
          </a:solidFill>
        </p:spPr>
        <p:txBody>
          <a:bodyPr vert="horz" wrap="square" lIns="180000" tIns="54000" rIns="180000" bIns="54000" rtlCol="0" anchor="ctr" anchorCtr="0">
            <a:spAutoFit/>
          </a:bodyPr>
          <a:lstStyle>
            <a:lvl1pPr>
              <a:lnSpc>
                <a:spcPct val="100000"/>
              </a:lnSpc>
              <a:spcAft>
                <a:spcPts val="600"/>
              </a:spcAft>
              <a:defRPr lang="en-US" sz="1051" b="1" i="0" dirty="0" smtClean="0">
                <a:solidFill>
                  <a:schemeClr val="tx2">
                    <a:lumMod val="50000"/>
                  </a:schemeClr>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9" name="Text Placeholder 2">
            <a:extLst>
              <a:ext uri="{FF2B5EF4-FFF2-40B4-BE49-F238E27FC236}">
                <a16:creationId xmlns:a16="http://schemas.microsoft.com/office/drawing/2014/main" id="{B7F7FC01-6091-5D90-D333-FA5671F43B8E}"/>
              </a:ext>
            </a:extLst>
          </p:cNvPr>
          <p:cNvSpPr>
            <a:spLocks noGrp="1"/>
          </p:cNvSpPr>
          <p:nvPr>
            <p:ph type="body" sz="quarter" idx="56"/>
          </p:nvPr>
        </p:nvSpPr>
        <p:spPr>
          <a:xfrm>
            <a:off x="7492653" y="4685321"/>
            <a:ext cx="3986411" cy="380748"/>
          </a:xfrm>
          <a:prstGeom prst="roundRect">
            <a:avLst>
              <a:gd name="adj" fmla="val 50000"/>
            </a:avLst>
          </a:prstGeom>
          <a:solidFill>
            <a:schemeClr val="accent5"/>
          </a:solidFill>
        </p:spPr>
        <p:txBody>
          <a:bodyPr vert="horz" wrap="square" lIns="180000" tIns="54000" rIns="180000" bIns="54000" rtlCol="0" anchor="ctr" anchorCtr="0">
            <a:spAutoFit/>
          </a:bodyPr>
          <a:lstStyle>
            <a:lvl1pPr>
              <a:lnSpc>
                <a:spcPct val="100000"/>
              </a:lnSpc>
              <a:spcAft>
                <a:spcPts val="600"/>
              </a:spcAft>
              <a:defRPr lang="en-US" sz="1051"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Tree>
    <p:extLst>
      <p:ext uri="{BB962C8B-B14F-4D97-AF65-F5344CB8AC3E}">
        <p14:creationId xmlns:p14="http://schemas.microsoft.com/office/powerpoint/2010/main" val="1129650664"/>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9"/>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8" y="6353142"/>
            <a:ext cx="261631" cy="136527"/>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8"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7"/>
          </a:xfrm>
          <a:prstGeom prst="rect">
            <a:avLst/>
          </a:prstGeom>
        </p:spPr>
        <p:txBody>
          <a:bodyPr anchor="b"/>
          <a:lstStyle>
            <a:lvl1pPr>
              <a:defRPr sz="800"/>
            </a:lvl1pPr>
          </a:lstStyle>
          <a:p>
            <a:r>
              <a:rPr lang="en-US"/>
              <a:t>United Against Rabies Forum Meeting - 6-8 November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5" y="6109976"/>
            <a:ext cx="1036776" cy="381653"/>
          </a:xfrm>
          <a:prstGeom prst="rect">
            <a:avLst/>
          </a:prstGeom>
        </p:spPr>
      </p:pic>
      <p:sp>
        <p:nvSpPr>
          <p:cNvPr id="35" name="Text Placeholder 8">
            <a:extLst>
              <a:ext uri="{FF2B5EF4-FFF2-40B4-BE49-F238E27FC236}">
                <a16:creationId xmlns:a16="http://schemas.microsoft.com/office/drawing/2014/main" id="{645879FE-583A-DE44-88BA-EB276A69E0F6}"/>
              </a:ext>
            </a:extLst>
          </p:cNvPr>
          <p:cNvSpPr>
            <a:spLocks noGrp="1"/>
          </p:cNvSpPr>
          <p:nvPr>
            <p:ph type="body" idx="13"/>
          </p:nvPr>
        </p:nvSpPr>
        <p:spPr>
          <a:xfrm>
            <a:off x="531133" y="1304925"/>
            <a:ext cx="11144931" cy="592779"/>
          </a:xfrm>
        </p:spPr>
        <p:txBody>
          <a:bodyPr numCol="1" spcCol="180000">
            <a:normAutofit/>
          </a:bodyPr>
          <a:lstStyle>
            <a:lvl1pPr marL="0" indent="0">
              <a:buClr>
                <a:schemeClr val="bg2"/>
              </a:buClr>
              <a:buFont typeface="Arial" panose="020B0604020202020204" pitchFamily="34" charset="0"/>
              <a:buNone/>
              <a:defRPr sz="1600">
                <a:solidFill>
                  <a:schemeClr val="tx2">
                    <a:lumMod val="50000"/>
                  </a:schemeClr>
                </a:solidFill>
              </a:defRPr>
            </a:lvl1pPr>
          </a:lstStyle>
          <a:p>
            <a:pPr lvl="0"/>
            <a:r>
              <a:rPr lang="en-GB"/>
              <a:t>Click to edit Master text styles</a:t>
            </a:r>
          </a:p>
        </p:txBody>
      </p:sp>
      <p:sp>
        <p:nvSpPr>
          <p:cNvPr id="5" name="Table Placeholder 4">
            <a:extLst>
              <a:ext uri="{FF2B5EF4-FFF2-40B4-BE49-F238E27FC236}">
                <a16:creationId xmlns:a16="http://schemas.microsoft.com/office/drawing/2014/main" id="{229D7B8B-35CA-A145-A474-98CA941C8914}"/>
              </a:ext>
            </a:extLst>
          </p:cNvPr>
          <p:cNvSpPr>
            <a:spLocks noGrp="1"/>
          </p:cNvSpPr>
          <p:nvPr>
            <p:ph type="tbl" sz="quarter" idx="14"/>
          </p:nvPr>
        </p:nvSpPr>
        <p:spPr>
          <a:xfrm>
            <a:off x="515939" y="2081214"/>
            <a:ext cx="11153775" cy="3832225"/>
          </a:xfrm>
        </p:spPr>
        <p:txBody>
          <a:bodyPr anchor="ctr">
            <a:normAutofit/>
          </a:bodyPr>
          <a:lstStyle>
            <a:lvl1pPr algn="ctr">
              <a:defRPr sz="1600">
                <a:solidFill>
                  <a:schemeClr val="bg1">
                    <a:lumMod val="50000"/>
                  </a:schemeClr>
                </a:solidFill>
              </a:defRPr>
            </a:lvl1pPr>
          </a:lstStyle>
          <a:p>
            <a:r>
              <a:rPr lang="en-GB"/>
              <a:t>Click icon to add table</a:t>
            </a:r>
          </a:p>
        </p:txBody>
      </p:sp>
    </p:spTree>
    <p:extLst>
      <p:ext uri="{BB962C8B-B14F-4D97-AF65-F5344CB8AC3E}">
        <p14:creationId xmlns:p14="http://schemas.microsoft.com/office/powerpoint/2010/main" val="939131711"/>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1_Graph">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9"/>
          </a:xfrm>
          <a:prstGeom prst="rect">
            <a:avLst/>
          </a:prstGeom>
        </p:spPr>
        <p:txBody>
          <a:bodyPr vert="horz" lIns="0" tIns="0" rIns="0" bIns="0" rtlCol="0" anchor="t">
            <a:normAutofit/>
          </a:bodyPr>
          <a:lstStyle>
            <a:lvl1pPr>
              <a:defRPr>
                <a:solidFill>
                  <a:schemeClr val="tx2"/>
                </a:solidFill>
              </a:defRPr>
            </a:lvl1p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8" y="6353142"/>
            <a:ext cx="261631" cy="136527"/>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8"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7"/>
          </a:xfrm>
          <a:prstGeom prst="rect">
            <a:avLst/>
          </a:prstGeom>
        </p:spPr>
        <p:txBody>
          <a:bodyPr anchor="b"/>
          <a:lstStyle>
            <a:lvl1pPr>
              <a:defRPr sz="800"/>
            </a:lvl1pPr>
          </a:lstStyle>
          <a:p>
            <a:r>
              <a:rPr lang="en-US"/>
              <a:t>United Against Rabies Forum Meeting - 6-8 November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5" y="6109976"/>
            <a:ext cx="1036776" cy="381653"/>
          </a:xfrm>
          <a:prstGeom prst="rect">
            <a:avLst/>
          </a:prstGeom>
        </p:spPr>
      </p:pic>
      <p:sp>
        <p:nvSpPr>
          <p:cNvPr id="6" name="Chart Placeholder 5">
            <a:extLst>
              <a:ext uri="{FF2B5EF4-FFF2-40B4-BE49-F238E27FC236}">
                <a16:creationId xmlns:a16="http://schemas.microsoft.com/office/drawing/2014/main" id="{D54A1155-34EB-A04A-AA96-8DCEA2A0B8AF}"/>
              </a:ext>
            </a:extLst>
          </p:cNvPr>
          <p:cNvSpPr>
            <a:spLocks noGrp="1"/>
          </p:cNvSpPr>
          <p:nvPr>
            <p:ph type="chart" sz="quarter" idx="13" hasCustomPrompt="1"/>
          </p:nvPr>
        </p:nvSpPr>
        <p:spPr>
          <a:xfrm>
            <a:off x="515939" y="1304926"/>
            <a:ext cx="11160125" cy="4608513"/>
          </a:xfrm>
        </p:spPr>
        <p:txBody>
          <a:bodyPr anchor="ctr">
            <a:normAutofit/>
          </a:bodyPr>
          <a:lstStyle>
            <a:lvl1pPr algn="ctr">
              <a:defRPr sz="1600">
                <a:solidFill>
                  <a:schemeClr val="bg1">
                    <a:lumMod val="50000"/>
                  </a:schemeClr>
                </a:solidFill>
              </a:defRPr>
            </a:lvl1pPr>
          </a:lstStyle>
          <a:p>
            <a:r>
              <a:rPr lang="en-GB"/>
              <a:t>Click icon to add graph</a:t>
            </a:r>
          </a:p>
        </p:txBody>
      </p:sp>
    </p:spTree>
    <p:extLst>
      <p:ext uri="{BB962C8B-B14F-4D97-AF65-F5344CB8AC3E}">
        <p14:creationId xmlns:p14="http://schemas.microsoft.com/office/powerpoint/2010/main" val="1023535358"/>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Graph + Intro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9"/>
          </a:xfrm>
          <a:prstGeom prst="rect">
            <a:avLst/>
          </a:prstGeom>
        </p:spPr>
        <p:txBody>
          <a:bodyPr vert="horz" lIns="0" tIns="0" rIns="0" bIns="0" rtlCol="0" anchor="t">
            <a:normAutofit/>
          </a:bodyPr>
          <a:lstStyle>
            <a:lvl1pPr>
              <a:defRPr>
                <a:solidFill>
                  <a:schemeClr val="tx2"/>
                </a:solidFill>
              </a:defRPr>
            </a:lvl1p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8" y="6353142"/>
            <a:ext cx="261631" cy="136527"/>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8"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7"/>
          </a:xfrm>
          <a:prstGeom prst="rect">
            <a:avLst/>
          </a:prstGeom>
        </p:spPr>
        <p:txBody>
          <a:bodyPr anchor="b"/>
          <a:lstStyle>
            <a:lvl1pPr>
              <a:defRPr sz="800"/>
            </a:lvl1pPr>
          </a:lstStyle>
          <a:p>
            <a:r>
              <a:rPr lang="en-US"/>
              <a:t>United Against Rabies Forum Meeting - 6-8 November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5" y="6109976"/>
            <a:ext cx="1036776" cy="381653"/>
          </a:xfrm>
          <a:prstGeom prst="rect">
            <a:avLst/>
          </a:prstGeom>
        </p:spPr>
      </p:pic>
      <p:sp>
        <p:nvSpPr>
          <p:cNvPr id="6" name="Chart Placeholder 5">
            <a:extLst>
              <a:ext uri="{FF2B5EF4-FFF2-40B4-BE49-F238E27FC236}">
                <a16:creationId xmlns:a16="http://schemas.microsoft.com/office/drawing/2014/main" id="{D54A1155-34EB-A04A-AA96-8DCEA2A0B8AF}"/>
              </a:ext>
            </a:extLst>
          </p:cNvPr>
          <p:cNvSpPr>
            <a:spLocks noGrp="1"/>
          </p:cNvSpPr>
          <p:nvPr>
            <p:ph type="chart" sz="quarter" idx="13" hasCustomPrompt="1"/>
          </p:nvPr>
        </p:nvSpPr>
        <p:spPr>
          <a:xfrm>
            <a:off x="515939" y="2186942"/>
            <a:ext cx="11160125" cy="3726497"/>
          </a:xfrm>
        </p:spPr>
        <p:txBody>
          <a:bodyPr anchor="ctr">
            <a:normAutofit/>
          </a:bodyPr>
          <a:lstStyle>
            <a:lvl1pPr algn="ctr">
              <a:defRPr sz="1600">
                <a:solidFill>
                  <a:schemeClr val="bg1">
                    <a:lumMod val="50000"/>
                  </a:schemeClr>
                </a:solidFill>
              </a:defRPr>
            </a:lvl1pPr>
          </a:lstStyle>
          <a:p>
            <a:r>
              <a:rPr lang="en-GB"/>
              <a:t>Click icon to add graph</a:t>
            </a:r>
          </a:p>
        </p:txBody>
      </p:sp>
      <p:sp>
        <p:nvSpPr>
          <p:cNvPr id="9" name="Text Placeholder 8">
            <a:extLst>
              <a:ext uri="{FF2B5EF4-FFF2-40B4-BE49-F238E27FC236}">
                <a16:creationId xmlns:a16="http://schemas.microsoft.com/office/drawing/2014/main" id="{70B67ED7-707C-628A-DD8C-8D05275A882F}"/>
              </a:ext>
            </a:extLst>
          </p:cNvPr>
          <p:cNvSpPr>
            <a:spLocks noGrp="1"/>
          </p:cNvSpPr>
          <p:nvPr>
            <p:ph type="body" idx="14"/>
          </p:nvPr>
        </p:nvSpPr>
        <p:spPr>
          <a:xfrm>
            <a:off x="531133" y="1304926"/>
            <a:ext cx="11144931" cy="760095"/>
          </a:xfrm>
        </p:spPr>
        <p:txBody>
          <a:bodyPr numCol="1" spcCol="180000">
            <a:normAutofit/>
          </a:bodyPr>
          <a:lstStyle>
            <a:lvl1pPr marL="0" indent="0">
              <a:buClr>
                <a:schemeClr val="bg2"/>
              </a:buClr>
              <a:buFont typeface="Arial" panose="020B0604020202020204" pitchFamily="34" charset="0"/>
              <a:buNone/>
              <a:defRPr sz="1600">
                <a:solidFill>
                  <a:schemeClr val="tx2">
                    <a:lumMod val="50000"/>
                  </a:schemeClr>
                </a:solidFill>
              </a:defRPr>
            </a:lvl1pPr>
          </a:lstStyle>
          <a:p>
            <a:pPr lvl="0"/>
            <a:r>
              <a:rPr lang="en-GB"/>
              <a:t>Click to edit Master text styles</a:t>
            </a:r>
          </a:p>
        </p:txBody>
      </p:sp>
    </p:spTree>
    <p:extLst>
      <p:ext uri="{BB962C8B-B14F-4D97-AF65-F5344CB8AC3E}">
        <p14:creationId xmlns:p14="http://schemas.microsoft.com/office/powerpoint/2010/main" val="5791410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D5FA0E-7968-48D7-9EB2-89C749F82050}"/>
              </a:ext>
            </a:extLst>
          </p:cNvPr>
          <p:cNvSpPr>
            <a:spLocks noGrp="1"/>
          </p:cNvSpPr>
          <p:nvPr>
            <p:ph type="title"/>
          </p:nvPr>
        </p:nvSpPr>
        <p:spPr/>
        <p:txBody>
          <a:bodyPr/>
          <a:lstStyle/>
          <a:p>
            <a:r>
              <a:rPr lang="en-US"/>
              <a:t>Click to edit Master title style</a:t>
            </a:r>
            <a:endParaRPr lang="en-AU"/>
          </a:p>
        </p:txBody>
      </p:sp>
      <p:sp>
        <p:nvSpPr>
          <p:cNvPr id="3" name="Content Placeholder 2">
            <a:extLst>
              <a:ext uri="{FF2B5EF4-FFF2-40B4-BE49-F238E27FC236}">
                <a16:creationId xmlns:a16="http://schemas.microsoft.com/office/drawing/2014/main" id="{99DDC604-C58E-4D46-A48E-58DF1887375F}"/>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Content Placeholder 3">
            <a:extLst>
              <a:ext uri="{FF2B5EF4-FFF2-40B4-BE49-F238E27FC236}">
                <a16:creationId xmlns:a16="http://schemas.microsoft.com/office/drawing/2014/main" id="{20129B4F-A0C1-41F1-A3F2-83A589773088}"/>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Date Placeholder 4">
            <a:extLst>
              <a:ext uri="{FF2B5EF4-FFF2-40B4-BE49-F238E27FC236}">
                <a16:creationId xmlns:a16="http://schemas.microsoft.com/office/drawing/2014/main" id="{3A184FEF-F423-4D67-8926-4DD4EC960D02}"/>
              </a:ext>
            </a:extLst>
          </p:cNvPr>
          <p:cNvSpPr>
            <a:spLocks noGrp="1"/>
          </p:cNvSpPr>
          <p:nvPr>
            <p:ph type="dt" sz="half" idx="10"/>
          </p:nvPr>
        </p:nvSpPr>
        <p:spPr/>
        <p:txBody>
          <a:bodyPr/>
          <a:lstStyle/>
          <a:p>
            <a:fld id="{A8AD2E15-C341-4617-8B20-C2DDD5FD308C}" type="datetime1">
              <a:rPr lang="en-AU" smtClean="0"/>
              <a:t>9/12/2024</a:t>
            </a:fld>
            <a:endParaRPr lang="en-AU"/>
          </a:p>
        </p:txBody>
      </p:sp>
      <p:sp>
        <p:nvSpPr>
          <p:cNvPr id="6" name="Footer Placeholder 5">
            <a:extLst>
              <a:ext uri="{FF2B5EF4-FFF2-40B4-BE49-F238E27FC236}">
                <a16:creationId xmlns:a16="http://schemas.microsoft.com/office/drawing/2014/main" id="{16E484E8-4152-4E6A-A580-EF5F69DFFB0E}"/>
              </a:ext>
            </a:extLst>
          </p:cNvPr>
          <p:cNvSpPr>
            <a:spLocks noGrp="1"/>
          </p:cNvSpPr>
          <p:nvPr>
            <p:ph type="ftr" sz="quarter" idx="11"/>
          </p:nvPr>
        </p:nvSpPr>
        <p:spPr/>
        <p:txBody>
          <a:bodyPr/>
          <a:lstStyle/>
          <a:p>
            <a:endParaRPr lang="en-AU"/>
          </a:p>
        </p:txBody>
      </p:sp>
      <p:sp>
        <p:nvSpPr>
          <p:cNvPr id="7" name="Slide Number Placeholder 6">
            <a:extLst>
              <a:ext uri="{FF2B5EF4-FFF2-40B4-BE49-F238E27FC236}">
                <a16:creationId xmlns:a16="http://schemas.microsoft.com/office/drawing/2014/main" id="{420A8298-7B9F-4022-A34B-DA615518A7F5}"/>
              </a:ext>
            </a:extLst>
          </p:cNvPr>
          <p:cNvSpPr>
            <a:spLocks noGrp="1"/>
          </p:cNvSpPr>
          <p:nvPr>
            <p:ph type="sldNum" sz="quarter" idx="12"/>
          </p:nvPr>
        </p:nvSpPr>
        <p:spPr/>
        <p:txBody>
          <a:bodyPr/>
          <a:lstStyle/>
          <a:p>
            <a:fld id="{1469CF41-3177-4CB2-91B8-B70D7F9619F5}" type="slidenum">
              <a:rPr lang="en-GB" smtClean="0"/>
              <a:t>‹#›</a:t>
            </a:fld>
            <a:endParaRPr lang="en-GB"/>
          </a:p>
        </p:txBody>
      </p:sp>
    </p:spTree>
    <p:extLst>
      <p:ext uri="{BB962C8B-B14F-4D97-AF65-F5344CB8AC3E}">
        <p14:creationId xmlns:p14="http://schemas.microsoft.com/office/powerpoint/2010/main" val="455882891"/>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ext + Graph">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21" y="368300"/>
            <a:ext cx="5574281" cy="592779"/>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6"/>
            <a:ext cx="5564867" cy="4608511"/>
          </a:xfrm>
        </p:spPr>
        <p:txBody>
          <a:bodyPr numCol="1" spcCol="180000"/>
          <a:lstStyle>
            <a:lvl1pPr marL="0" indent="0">
              <a:buClr>
                <a:schemeClr val="bg2"/>
              </a:buClr>
              <a:buFont typeface="Arial" panose="020B0604020202020204" pitchFamily="34" charset="0"/>
              <a:buNone/>
              <a:defRPr/>
            </a:lvl1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8" y="6353142"/>
            <a:ext cx="261631" cy="136527"/>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8"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7"/>
          </a:xfrm>
          <a:prstGeom prst="rect">
            <a:avLst/>
          </a:prstGeom>
        </p:spPr>
        <p:txBody>
          <a:bodyPr anchor="b"/>
          <a:lstStyle>
            <a:lvl1pPr>
              <a:defRPr sz="800"/>
            </a:lvl1pPr>
          </a:lstStyle>
          <a:p>
            <a:r>
              <a:rPr lang="en-US"/>
              <a:t>United Against Rabies Forum Meeting - 6-8 November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5" y="6109976"/>
            <a:ext cx="1036776" cy="381653"/>
          </a:xfrm>
          <a:prstGeom prst="rect">
            <a:avLst/>
          </a:prstGeom>
        </p:spPr>
      </p:pic>
      <p:sp>
        <p:nvSpPr>
          <p:cNvPr id="3" name="Chart Placeholder 2">
            <a:extLst>
              <a:ext uri="{FF2B5EF4-FFF2-40B4-BE49-F238E27FC236}">
                <a16:creationId xmlns:a16="http://schemas.microsoft.com/office/drawing/2014/main" id="{5F41B758-C970-D84A-B3ED-8A3CB892A835}"/>
              </a:ext>
            </a:extLst>
          </p:cNvPr>
          <p:cNvSpPr>
            <a:spLocks noGrp="1"/>
          </p:cNvSpPr>
          <p:nvPr>
            <p:ph type="chart" sz="quarter" idx="14" hasCustomPrompt="1"/>
          </p:nvPr>
        </p:nvSpPr>
        <p:spPr>
          <a:xfrm>
            <a:off x="6762752" y="366372"/>
            <a:ext cx="4913313" cy="5547067"/>
          </a:xfrm>
        </p:spPr>
        <p:txBody>
          <a:bodyPr anchor="ctr">
            <a:normAutofit/>
          </a:bodyPr>
          <a:lstStyle>
            <a:lvl1pPr algn="ctr">
              <a:defRPr sz="1600">
                <a:solidFill>
                  <a:schemeClr val="bg1">
                    <a:lumMod val="50000"/>
                  </a:schemeClr>
                </a:solidFill>
              </a:defRPr>
            </a:lvl1pPr>
          </a:lstStyle>
          <a:p>
            <a:r>
              <a:rPr lang="en-GB"/>
              <a:t>Click icon to add graph</a:t>
            </a:r>
          </a:p>
        </p:txBody>
      </p:sp>
    </p:spTree>
    <p:extLst>
      <p:ext uri="{BB962C8B-B14F-4D97-AF65-F5344CB8AC3E}">
        <p14:creationId xmlns:p14="http://schemas.microsoft.com/office/powerpoint/2010/main" val="270224445"/>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ext + Graph + Key Sta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21" y="368300"/>
            <a:ext cx="5574281" cy="592779"/>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5"/>
            <a:ext cx="5564867" cy="2951067"/>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8" y="6353142"/>
            <a:ext cx="261631" cy="136527"/>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8"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7"/>
          </a:xfrm>
          <a:prstGeom prst="rect">
            <a:avLst/>
          </a:prstGeom>
        </p:spPr>
        <p:txBody>
          <a:bodyPr anchor="b"/>
          <a:lstStyle>
            <a:lvl1pPr>
              <a:defRPr sz="800"/>
            </a:lvl1pPr>
          </a:lstStyle>
          <a:p>
            <a:r>
              <a:rPr lang="en-US"/>
              <a:t>United Against Rabies Forum Meeting - 6-8 November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5" y="6109976"/>
            <a:ext cx="1036776" cy="381653"/>
          </a:xfrm>
          <a:prstGeom prst="rect">
            <a:avLst/>
          </a:prstGeom>
        </p:spPr>
      </p:pic>
      <p:sp>
        <p:nvSpPr>
          <p:cNvPr id="3" name="Chart Placeholder 2">
            <a:extLst>
              <a:ext uri="{FF2B5EF4-FFF2-40B4-BE49-F238E27FC236}">
                <a16:creationId xmlns:a16="http://schemas.microsoft.com/office/drawing/2014/main" id="{5F41B758-C970-D84A-B3ED-8A3CB892A835}"/>
              </a:ext>
            </a:extLst>
          </p:cNvPr>
          <p:cNvSpPr>
            <a:spLocks noGrp="1"/>
          </p:cNvSpPr>
          <p:nvPr>
            <p:ph type="chart" sz="quarter" idx="14" hasCustomPrompt="1"/>
          </p:nvPr>
        </p:nvSpPr>
        <p:spPr>
          <a:xfrm>
            <a:off x="6762752" y="366372"/>
            <a:ext cx="4913313" cy="5547067"/>
          </a:xfrm>
        </p:spPr>
        <p:txBody>
          <a:bodyPr anchor="ctr">
            <a:normAutofit/>
          </a:bodyPr>
          <a:lstStyle>
            <a:lvl1pPr algn="ctr">
              <a:defRPr sz="1600">
                <a:solidFill>
                  <a:schemeClr val="bg1">
                    <a:lumMod val="50000"/>
                  </a:schemeClr>
                </a:solidFill>
              </a:defRPr>
            </a:lvl1pPr>
          </a:lstStyle>
          <a:p>
            <a:r>
              <a:rPr lang="en-GB"/>
              <a:t>Click icon to add graph</a:t>
            </a:r>
          </a:p>
        </p:txBody>
      </p:sp>
      <p:sp>
        <p:nvSpPr>
          <p:cNvPr id="12" name="Table Placeholder 13">
            <a:extLst>
              <a:ext uri="{FF2B5EF4-FFF2-40B4-BE49-F238E27FC236}">
                <a16:creationId xmlns:a16="http://schemas.microsoft.com/office/drawing/2014/main" id="{0471F0B8-12A0-7A45-8C7A-E02063FE5C87}"/>
              </a:ext>
            </a:extLst>
          </p:cNvPr>
          <p:cNvSpPr>
            <a:spLocks noGrp="1"/>
          </p:cNvSpPr>
          <p:nvPr>
            <p:ph type="tbl" sz="quarter" idx="16" hasCustomPrompt="1"/>
          </p:nvPr>
        </p:nvSpPr>
        <p:spPr>
          <a:xfrm>
            <a:off x="531813" y="4531665"/>
            <a:ext cx="5564187" cy="1381775"/>
          </a:xfrm>
        </p:spPr>
        <p:txBody>
          <a:bodyPr anchor="ctr">
            <a:normAutofit/>
          </a:bodyPr>
          <a:lstStyle>
            <a:lvl1pPr algn="ctr">
              <a:defRPr sz="1600">
                <a:solidFill>
                  <a:schemeClr val="bg1">
                    <a:lumMod val="50000"/>
                  </a:schemeClr>
                </a:solidFill>
              </a:defRPr>
            </a:lvl1pPr>
          </a:lstStyle>
          <a:p>
            <a:r>
              <a:rPr lang="en-GB"/>
              <a:t>Click here to insert table of key statistics</a:t>
            </a:r>
          </a:p>
        </p:txBody>
      </p:sp>
    </p:spTree>
    <p:extLst>
      <p:ext uri="{BB962C8B-B14F-4D97-AF65-F5344CB8AC3E}">
        <p14:creationId xmlns:p14="http://schemas.microsoft.com/office/powerpoint/2010/main" val="3606287850"/>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Headshots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9"/>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8" y="6353142"/>
            <a:ext cx="261631" cy="136527"/>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8"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7"/>
          </a:xfrm>
          <a:prstGeom prst="rect">
            <a:avLst/>
          </a:prstGeom>
        </p:spPr>
        <p:txBody>
          <a:bodyPr anchor="b"/>
          <a:lstStyle>
            <a:lvl1pPr>
              <a:defRPr sz="800"/>
            </a:lvl1pPr>
          </a:lstStyle>
          <a:p>
            <a:r>
              <a:rPr lang="en-US"/>
              <a:t>United Against Rabies Forum Meeting - 6-8 November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5"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9" y="961079"/>
            <a:ext cx="11154344" cy="343847"/>
          </a:xfrm>
        </p:spPr>
        <p:txBody>
          <a:bodyPr/>
          <a:lstStyle>
            <a:lvl1pPr>
              <a:defRPr>
                <a:solidFill>
                  <a:schemeClr val="bg2"/>
                </a:solidFill>
              </a:defRPr>
            </a:lvl1pPr>
          </a:lstStyle>
          <a:p>
            <a:pPr lvl="0"/>
            <a:r>
              <a:rPr lang="en-GB"/>
              <a:t>Click to edit Master text styles</a:t>
            </a:r>
          </a:p>
        </p:txBody>
      </p:sp>
      <p:sp>
        <p:nvSpPr>
          <p:cNvPr id="9" name="Picture Placeholder 9">
            <a:extLst>
              <a:ext uri="{FF2B5EF4-FFF2-40B4-BE49-F238E27FC236}">
                <a16:creationId xmlns:a16="http://schemas.microsoft.com/office/drawing/2014/main" id="{F7144900-27CB-F8C8-8750-EBFD50556D3C}"/>
              </a:ext>
            </a:extLst>
          </p:cNvPr>
          <p:cNvSpPr>
            <a:spLocks noGrp="1"/>
          </p:cNvSpPr>
          <p:nvPr>
            <p:ph type="pic" sz="quarter" idx="20" hasCustomPrompt="1"/>
          </p:nvPr>
        </p:nvSpPr>
        <p:spPr>
          <a:xfrm>
            <a:off x="515938" y="1738604"/>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1">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1" name="Picture Placeholder 9">
            <a:extLst>
              <a:ext uri="{FF2B5EF4-FFF2-40B4-BE49-F238E27FC236}">
                <a16:creationId xmlns:a16="http://schemas.microsoft.com/office/drawing/2014/main" id="{BA371966-686F-3873-1B61-8D4F2F1781AB}"/>
              </a:ext>
            </a:extLst>
          </p:cNvPr>
          <p:cNvSpPr>
            <a:spLocks noGrp="1"/>
          </p:cNvSpPr>
          <p:nvPr>
            <p:ph type="pic" sz="quarter" idx="21" hasCustomPrompt="1"/>
          </p:nvPr>
        </p:nvSpPr>
        <p:spPr>
          <a:xfrm>
            <a:off x="6409056" y="1738604"/>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1">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2" name="Text Placeholder 15">
            <a:extLst>
              <a:ext uri="{FF2B5EF4-FFF2-40B4-BE49-F238E27FC236}">
                <a16:creationId xmlns:a16="http://schemas.microsoft.com/office/drawing/2014/main" id="{71BA048F-6972-4609-34F2-EF8FDBBDBB0C}"/>
              </a:ext>
            </a:extLst>
          </p:cNvPr>
          <p:cNvSpPr>
            <a:spLocks noGrp="1"/>
          </p:cNvSpPr>
          <p:nvPr>
            <p:ph type="body" sz="quarter" idx="22"/>
          </p:nvPr>
        </p:nvSpPr>
        <p:spPr>
          <a:xfrm>
            <a:off x="8234278" y="1915486"/>
            <a:ext cx="3355743" cy="1163607"/>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189" indent="0">
              <a:buNone/>
              <a:defRPr sz="1100"/>
            </a:lvl2pPr>
            <a:lvl3pPr marL="914377" indent="0">
              <a:buNone/>
              <a:defRPr sz="1100"/>
            </a:lvl3pPr>
            <a:lvl4pPr marL="1371566" indent="0">
              <a:buNone/>
              <a:defRPr sz="1100"/>
            </a:lvl4pPr>
            <a:lvl5pPr marL="1828754" indent="0">
              <a:buNone/>
              <a:defRPr sz="1100"/>
            </a:lvl5pPr>
          </a:lstStyle>
          <a:p>
            <a:pPr lvl="0"/>
            <a:r>
              <a:rPr lang="en-GB"/>
              <a:t>Click to edit Master text styles</a:t>
            </a:r>
          </a:p>
        </p:txBody>
      </p:sp>
      <p:sp>
        <p:nvSpPr>
          <p:cNvPr id="17" name="Picture Placeholder 9">
            <a:extLst>
              <a:ext uri="{FF2B5EF4-FFF2-40B4-BE49-F238E27FC236}">
                <a16:creationId xmlns:a16="http://schemas.microsoft.com/office/drawing/2014/main" id="{224FF60B-6BD0-9B1E-2959-11D6263640AF}"/>
              </a:ext>
            </a:extLst>
          </p:cNvPr>
          <p:cNvSpPr>
            <a:spLocks noGrp="1"/>
          </p:cNvSpPr>
          <p:nvPr>
            <p:ph type="pic" sz="quarter" idx="25" hasCustomPrompt="1"/>
          </p:nvPr>
        </p:nvSpPr>
        <p:spPr>
          <a:xfrm>
            <a:off x="515938" y="3998564"/>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1">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8" name="Picture Placeholder 9">
            <a:extLst>
              <a:ext uri="{FF2B5EF4-FFF2-40B4-BE49-F238E27FC236}">
                <a16:creationId xmlns:a16="http://schemas.microsoft.com/office/drawing/2014/main" id="{2DB6CCCB-718D-70C8-7A09-2EE0D7144525}"/>
              </a:ext>
            </a:extLst>
          </p:cNvPr>
          <p:cNvSpPr>
            <a:spLocks noGrp="1"/>
          </p:cNvSpPr>
          <p:nvPr>
            <p:ph type="pic" sz="quarter" idx="27" hasCustomPrompt="1"/>
          </p:nvPr>
        </p:nvSpPr>
        <p:spPr>
          <a:xfrm>
            <a:off x="6409056" y="3998564"/>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1">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9" name="Text Placeholder 15">
            <a:extLst>
              <a:ext uri="{FF2B5EF4-FFF2-40B4-BE49-F238E27FC236}">
                <a16:creationId xmlns:a16="http://schemas.microsoft.com/office/drawing/2014/main" id="{B6878B28-F503-455B-0FEA-80DE70905427}"/>
              </a:ext>
            </a:extLst>
          </p:cNvPr>
          <p:cNvSpPr>
            <a:spLocks noGrp="1"/>
          </p:cNvSpPr>
          <p:nvPr>
            <p:ph type="body" sz="quarter" idx="28"/>
          </p:nvPr>
        </p:nvSpPr>
        <p:spPr>
          <a:xfrm>
            <a:off x="8234278" y="4175447"/>
            <a:ext cx="3355743" cy="1163607"/>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189" indent="0">
              <a:buNone/>
              <a:defRPr sz="1100"/>
            </a:lvl2pPr>
            <a:lvl3pPr marL="914377" indent="0">
              <a:buNone/>
              <a:defRPr sz="1100"/>
            </a:lvl3pPr>
            <a:lvl4pPr marL="1371566" indent="0">
              <a:buNone/>
              <a:defRPr sz="1100"/>
            </a:lvl4pPr>
            <a:lvl5pPr marL="1828754" indent="0">
              <a:buNone/>
              <a:defRPr sz="1100"/>
            </a:lvl5pPr>
          </a:lstStyle>
          <a:p>
            <a:pPr lvl="0"/>
            <a:r>
              <a:rPr lang="en-GB"/>
              <a:t>Click to edit Master text styles</a:t>
            </a:r>
          </a:p>
        </p:txBody>
      </p:sp>
      <p:sp>
        <p:nvSpPr>
          <p:cNvPr id="20" name="Text Placeholder 15">
            <a:extLst>
              <a:ext uri="{FF2B5EF4-FFF2-40B4-BE49-F238E27FC236}">
                <a16:creationId xmlns:a16="http://schemas.microsoft.com/office/drawing/2014/main" id="{AAADD6C4-F1D9-F92B-C5FD-4B4DA8B17CF1}"/>
              </a:ext>
            </a:extLst>
          </p:cNvPr>
          <p:cNvSpPr>
            <a:spLocks noGrp="1"/>
          </p:cNvSpPr>
          <p:nvPr>
            <p:ph type="body" sz="quarter" idx="29"/>
          </p:nvPr>
        </p:nvSpPr>
        <p:spPr>
          <a:xfrm>
            <a:off x="2333197" y="1915486"/>
            <a:ext cx="3355743" cy="1163607"/>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189" indent="0">
              <a:buNone/>
              <a:defRPr sz="1100"/>
            </a:lvl2pPr>
            <a:lvl3pPr marL="914377" indent="0">
              <a:buNone/>
              <a:defRPr sz="1100"/>
            </a:lvl3pPr>
            <a:lvl4pPr marL="1371566" indent="0">
              <a:buNone/>
              <a:defRPr sz="1100"/>
            </a:lvl4pPr>
            <a:lvl5pPr marL="1828754" indent="0">
              <a:buNone/>
              <a:defRPr sz="1100"/>
            </a:lvl5pPr>
          </a:lstStyle>
          <a:p>
            <a:pPr lvl="0"/>
            <a:r>
              <a:rPr lang="en-GB"/>
              <a:t>Click to edit Master text styles</a:t>
            </a:r>
          </a:p>
        </p:txBody>
      </p:sp>
      <p:sp>
        <p:nvSpPr>
          <p:cNvPr id="21" name="Text Placeholder 15">
            <a:extLst>
              <a:ext uri="{FF2B5EF4-FFF2-40B4-BE49-F238E27FC236}">
                <a16:creationId xmlns:a16="http://schemas.microsoft.com/office/drawing/2014/main" id="{A5E09E69-6CAD-B355-9823-320AB8FAE66F}"/>
              </a:ext>
            </a:extLst>
          </p:cNvPr>
          <p:cNvSpPr>
            <a:spLocks noGrp="1"/>
          </p:cNvSpPr>
          <p:nvPr>
            <p:ph type="body" sz="quarter" idx="30"/>
          </p:nvPr>
        </p:nvSpPr>
        <p:spPr>
          <a:xfrm>
            <a:off x="2333197" y="4175447"/>
            <a:ext cx="3355743" cy="1163607"/>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189" indent="0">
              <a:buNone/>
              <a:defRPr sz="1100"/>
            </a:lvl2pPr>
            <a:lvl3pPr marL="914377" indent="0">
              <a:buNone/>
              <a:defRPr sz="1100"/>
            </a:lvl3pPr>
            <a:lvl4pPr marL="1371566" indent="0">
              <a:buNone/>
              <a:defRPr sz="1100"/>
            </a:lvl4pPr>
            <a:lvl5pPr marL="1828754" indent="0">
              <a:buNone/>
              <a:defRPr sz="1100"/>
            </a:lvl5pPr>
          </a:lstStyle>
          <a:p>
            <a:pPr lvl="0"/>
            <a:r>
              <a:rPr lang="en-GB"/>
              <a:t>Click to edit Master text styles</a:t>
            </a:r>
          </a:p>
        </p:txBody>
      </p:sp>
    </p:spTree>
    <p:extLst>
      <p:ext uri="{BB962C8B-B14F-4D97-AF65-F5344CB8AC3E}">
        <p14:creationId xmlns:p14="http://schemas.microsoft.com/office/powerpoint/2010/main" val="723212223"/>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Headshots x9">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9"/>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8" y="6353142"/>
            <a:ext cx="261631" cy="136527"/>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8"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7"/>
          </a:xfrm>
          <a:prstGeom prst="rect">
            <a:avLst/>
          </a:prstGeom>
        </p:spPr>
        <p:txBody>
          <a:bodyPr anchor="b"/>
          <a:lstStyle>
            <a:lvl1pPr>
              <a:defRPr sz="800"/>
            </a:lvl1pPr>
          </a:lstStyle>
          <a:p>
            <a:r>
              <a:rPr lang="en-US"/>
              <a:t>United Against Rabies Forum Meeting - 6-8 November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5"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9" y="961079"/>
            <a:ext cx="11154344" cy="343847"/>
          </a:xfrm>
        </p:spPr>
        <p:txBody>
          <a:bodyPr/>
          <a:lstStyle>
            <a:lvl1pPr>
              <a:defRPr>
                <a:solidFill>
                  <a:schemeClr val="bg2"/>
                </a:solidFill>
              </a:defRPr>
            </a:lvl1pPr>
          </a:lstStyle>
          <a:p>
            <a:pPr lvl="0"/>
            <a:r>
              <a:rPr lang="en-GB"/>
              <a:t>Click to edit Master text styles</a:t>
            </a:r>
          </a:p>
        </p:txBody>
      </p:sp>
      <p:sp>
        <p:nvSpPr>
          <p:cNvPr id="22" name="Picture Placeholder 9">
            <a:extLst>
              <a:ext uri="{FF2B5EF4-FFF2-40B4-BE49-F238E27FC236}">
                <a16:creationId xmlns:a16="http://schemas.microsoft.com/office/drawing/2014/main" id="{9DD9632F-ADC6-0F07-8F3F-62F1AF846E10}"/>
              </a:ext>
            </a:extLst>
          </p:cNvPr>
          <p:cNvSpPr>
            <a:spLocks noGrp="1"/>
          </p:cNvSpPr>
          <p:nvPr>
            <p:ph type="pic" sz="quarter" idx="20" hasCustomPrompt="1"/>
          </p:nvPr>
        </p:nvSpPr>
        <p:spPr>
          <a:xfrm>
            <a:off x="515939" y="1711995"/>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23" name="Text Placeholder 15">
            <a:extLst>
              <a:ext uri="{FF2B5EF4-FFF2-40B4-BE49-F238E27FC236}">
                <a16:creationId xmlns:a16="http://schemas.microsoft.com/office/drawing/2014/main" id="{A6BDD17B-1F38-C02C-FBE9-A0D8E16AB19C}"/>
              </a:ext>
            </a:extLst>
          </p:cNvPr>
          <p:cNvSpPr>
            <a:spLocks noGrp="1"/>
          </p:cNvSpPr>
          <p:nvPr>
            <p:ph type="body" sz="quarter" idx="15"/>
          </p:nvPr>
        </p:nvSpPr>
        <p:spPr>
          <a:xfrm>
            <a:off x="1699412" y="1711995"/>
            <a:ext cx="2116757" cy="987159"/>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189" indent="0">
              <a:buNone/>
              <a:defRPr sz="1100"/>
            </a:lvl2pPr>
            <a:lvl3pPr marL="914377" indent="0">
              <a:buNone/>
              <a:defRPr sz="1100"/>
            </a:lvl3pPr>
            <a:lvl4pPr marL="1371566" indent="0">
              <a:buNone/>
              <a:defRPr sz="1100"/>
            </a:lvl4pPr>
            <a:lvl5pPr marL="1828754" indent="0">
              <a:buNone/>
              <a:defRPr sz="1100"/>
            </a:lvl5pPr>
          </a:lstStyle>
          <a:p>
            <a:pPr lvl="0"/>
            <a:r>
              <a:rPr lang="en-GB"/>
              <a:t>Click to edit Master text styles</a:t>
            </a:r>
          </a:p>
        </p:txBody>
      </p:sp>
      <p:sp>
        <p:nvSpPr>
          <p:cNvPr id="24" name="Picture Placeholder 9">
            <a:extLst>
              <a:ext uri="{FF2B5EF4-FFF2-40B4-BE49-F238E27FC236}">
                <a16:creationId xmlns:a16="http://schemas.microsoft.com/office/drawing/2014/main" id="{25EC710C-2932-CFFF-F55D-955597F0FB30}"/>
              </a:ext>
            </a:extLst>
          </p:cNvPr>
          <p:cNvSpPr>
            <a:spLocks noGrp="1"/>
          </p:cNvSpPr>
          <p:nvPr>
            <p:ph type="pic" sz="quarter" idx="21" hasCustomPrompt="1"/>
          </p:nvPr>
        </p:nvSpPr>
        <p:spPr>
          <a:xfrm>
            <a:off x="4335798" y="1711995"/>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25" name="Text Placeholder 15">
            <a:extLst>
              <a:ext uri="{FF2B5EF4-FFF2-40B4-BE49-F238E27FC236}">
                <a16:creationId xmlns:a16="http://schemas.microsoft.com/office/drawing/2014/main" id="{247CB122-DF3E-CDA7-027B-26E525434AE2}"/>
              </a:ext>
            </a:extLst>
          </p:cNvPr>
          <p:cNvSpPr>
            <a:spLocks noGrp="1"/>
          </p:cNvSpPr>
          <p:nvPr>
            <p:ph type="body" sz="quarter" idx="22"/>
          </p:nvPr>
        </p:nvSpPr>
        <p:spPr>
          <a:xfrm>
            <a:off x="5527233" y="1711995"/>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189" indent="0">
              <a:buNone/>
              <a:defRPr sz="1100"/>
            </a:lvl2pPr>
            <a:lvl3pPr marL="914377" indent="0">
              <a:buNone/>
              <a:defRPr sz="1100"/>
            </a:lvl3pPr>
            <a:lvl4pPr marL="1371566" indent="0">
              <a:buNone/>
              <a:defRPr sz="1100"/>
            </a:lvl4pPr>
            <a:lvl5pPr marL="1828754" indent="0">
              <a:buNone/>
              <a:defRPr sz="1100"/>
            </a:lvl5pPr>
          </a:lstStyle>
          <a:p>
            <a:pPr lvl="0"/>
            <a:r>
              <a:rPr lang="en-GB"/>
              <a:t>Click to edit Master text styles</a:t>
            </a:r>
          </a:p>
        </p:txBody>
      </p:sp>
      <p:sp>
        <p:nvSpPr>
          <p:cNvPr id="40" name="Picture Placeholder 9">
            <a:extLst>
              <a:ext uri="{FF2B5EF4-FFF2-40B4-BE49-F238E27FC236}">
                <a16:creationId xmlns:a16="http://schemas.microsoft.com/office/drawing/2014/main" id="{27971BF0-784D-F3CF-2C6F-CA5180542041}"/>
              </a:ext>
            </a:extLst>
          </p:cNvPr>
          <p:cNvSpPr>
            <a:spLocks noGrp="1"/>
          </p:cNvSpPr>
          <p:nvPr>
            <p:ph type="pic" sz="quarter" idx="23" hasCustomPrompt="1"/>
          </p:nvPr>
        </p:nvSpPr>
        <p:spPr>
          <a:xfrm>
            <a:off x="8220026" y="1711995"/>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1" name="Text Placeholder 15">
            <a:extLst>
              <a:ext uri="{FF2B5EF4-FFF2-40B4-BE49-F238E27FC236}">
                <a16:creationId xmlns:a16="http://schemas.microsoft.com/office/drawing/2014/main" id="{0B2CA69D-267F-C90D-4248-B4C35F26DF79}"/>
              </a:ext>
            </a:extLst>
          </p:cNvPr>
          <p:cNvSpPr>
            <a:spLocks noGrp="1"/>
          </p:cNvSpPr>
          <p:nvPr>
            <p:ph type="body" sz="quarter" idx="24"/>
          </p:nvPr>
        </p:nvSpPr>
        <p:spPr>
          <a:xfrm>
            <a:off x="9411461" y="1711995"/>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189" indent="0">
              <a:buNone/>
              <a:defRPr sz="1100"/>
            </a:lvl2pPr>
            <a:lvl3pPr marL="914377" indent="0">
              <a:buNone/>
              <a:defRPr sz="1100"/>
            </a:lvl3pPr>
            <a:lvl4pPr marL="1371566" indent="0">
              <a:buNone/>
              <a:defRPr sz="1100"/>
            </a:lvl4pPr>
            <a:lvl5pPr marL="1828754" indent="0">
              <a:buNone/>
              <a:defRPr sz="1100"/>
            </a:lvl5pPr>
          </a:lstStyle>
          <a:p>
            <a:pPr lvl="0"/>
            <a:r>
              <a:rPr lang="en-GB"/>
              <a:t>Click to edit Master text styles</a:t>
            </a:r>
          </a:p>
        </p:txBody>
      </p:sp>
      <p:sp>
        <p:nvSpPr>
          <p:cNvPr id="42" name="Picture Placeholder 9">
            <a:extLst>
              <a:ext uri="{FF2B5EF4-FFF2-40B4-BE49-F238E27FC236}">
                <a16:creationId xmlns:a16="http://schemas.microsoft.com/office/drawing/2014/main" id="{5897A2C1-9865-7BB8-2197-358370EFD4AC}"/>
              </a:ext>
            </a:extLst>
          </p:cNvPr>
          <p:cNvSpPr>
            <a:spLocks noGrp="1"/>
          </p:cNvSpPr>
          <p:nvPr>
            <p:ph type="pic" sz="quarter" idx="25" hasCustomPrompt="1"/>
          </p:nvPr>
        </p:nvSpPr>
        <p:spPr>
          <a:xfrm>
            <a:off x="515939" y="3155669"/>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3" name="Text Placeholder 15">
            <a:extLst>
              <a:ext uri="{FF2B5EF4-FFF2-40B4-BE49-F238E27FC236}">
                <a16:creationId xmlns:a16="http://schemas.microsoft.com/office/drawing/2014/main" id="{62920B1E-EBA9-626D-6305-A1ADAE904D1A}"/>
              </a:ext>
            </a:extLst>
          </p:cNvPr>
          <p:cNvSpPr>
            <a:spLocks noGrp="1"/>
          </p:cNvSpPr>
          <p:nvPr>
            <p:ph type="body" sz="quarter" idx="26"/>
          </p:nvPr>
        </p:nvSpPr>
        <p:spPr>
          <a:xfrm>
            <a:off x="1699412" y="3155669"/>
            <a:ext cx="2116757" cy="987159"/>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189" indent="0">
              <a:buNone/>
              <a:defRPr sz="1100"/>
            </a:lvl2pPr>
            <a:lvl3pPr marL="914377" indent="0">
              <a:buNone/>
              <a:defRPr sz="1100"/>
            </a:lvl3pPr>
            <a:lvl4pPr marL="1371566" indent="0">
              <a:buNone/>
              <a:defRPr sz="1100"/>
            </a:lvl4pPr>
            <a:lvl5pPr marL="1828754" indent="0">
              <a:buNone/>
              <a:defRPr sz="1100"/>
            </a:lvl5pPr>
          </a:lstStyle>
          <a:p>
            <a:pPr lvl="0"/>
            <a:r>
              <a:rPr lang="en-GB"/>
              <a:t>Click to edit Master text styles</a:t>
            </a:r>
          </a:p>
        </p:txBody>
      </p:sp>
      <p:sp>
        <p:nvSpPr>
          <p:cNvPr id="44" name="Picture Placeholder 9">
            <a:extLst>
              <a:ext uri="{FF2B5EF4-FFF2-40B4-BE49-F238E27FC236}">
                <a16:creationId xmlns:a16="http://schemas.microsoft.com/office/drawing/2014/main" id="{544F1E77-8814-8A3B-D86A-076D4023ACA7}"/>
              </a:ext>
            </a:extLst>
          </p:cNvPr>
          <p:cNvSpPr>
            <a:spLocks noGrp="1"/>
          </p:cNvSpPr>
          <p:nvPr>
            <p:ph type="pic" sz="quarter" idx="27" hasCustomPrompt="1"/>
          </p:nvPr>
        </p:nvSpPr>
        <p:spPr>
          <a:xfrm>
            <a:off x="4335798" y="3155669"/>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5" name="Text Placeholder 15">
            <a:extLst>
              <a:ext uri="{FF2B5EF4-FFF2-40B4-BE49-F238E27FC236}">
                <a16:creationId xmlns:a16="http://schemas.microsoft.com/office/drawing/2014/main" id="{C7619CC2-0DAA-26FC-AEAA-30394D48883A}"/>
              </a:ext>
            </a:extLst>
          </p:cNvPr>
          <p:cNvSpPr>
            <a:spLocks noGrp="1"/>
          </p:cNvSpPr>
          <p:nvPr>
            <p:ph type="body" sz="quarter" idx="28"/>
          </p:nvPr>
        </p:nvSpPr>
        <p:spPr>
          <a:xfrm>
            <a:off x="5527233" y="3155668"/>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189" indent="0">
              <a:buNone/>
              <a:defRPr sz="1100"/>
            </a:lvl2pPr>
            <a:lvl3pPr marL="914377" indent="0">
              <a:buNone/>
              <a:defRPr sz="1100"/>
            </a:lvl3pPr>
            <a:lvl4pPr marL="1371566" indent="0">
              <a:buNone/>
              <a:defRPr sz="1100"/>
            </a:lvl4pPr>
            <a:lvl5pPr marL="1828754" indent="0">
              <a:buNone/>
              <a:defRPr sz="1100"/>
            </a:lvl5pPr>
          </a:lstStyle>
          <a:p>
            <a:pPr lvl="0"/>
            <a:r>
              <a:rPr lang="en-GB"/>
              <a:t>Click to edit Master text styles</a:t>
            </a:r>
          </a:p>
        </p:txBody>
      </p:sp>
      <p:sp>
        <p:nvSpPr>
          <p:cNvPr id="46" name="Picture Placeholder 9">
            <a:extLst>
              <a:ext uri="{FF2B5EF4-FFF2-40B4-BE49-F238E27FC236}">
                <a16:creationId xmlns:a16="http://schemas.microsoft.com/office/drawing/2014/main" id="{8FAFCD1B-5A84-929A-D622-CC609C41B001}"/>
              </a:ext>
            </a:extLst>
          </p:cNvPr>
          <p:cNvSpPr>
            <a:spLocks noGrp="1"/>
          </p:cNvSpPr>
          <p:nvPr>
            <p:ph type="pic" sz="quarter" idx="29" hasCustomPrompt="1"/>
          </p:nvPr>
        </p:nvSpPr>
        <p:spPr>
          <a:xfrm>
            <a:off x="8220026" y="3155669"/>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7" name="Text Placeholder 15">
            <a:extLst>
              <a:ext uri="{FF2B5EF4-FFF2-40B4-BE49-F238E27FC236}">
                <a16:creationId xmlns:a16="http://schemas.microsoft.com/office/drawing/2014/main" id="{32DEC219-4AAE-290C-5636-F26705700111}"/>
              </a:ext>
            </a:extLst>
          </p:cNvPr>
          <p:cNvSpPr>
            <a:spLocks noGrp="1"/>
          </p:cNvSpPr>
          <p:nvPr>
            <p:ph type="body" sz="quarter" idx="30"/>
          </p:nvPr>
        </p:nvSpPr>
        <p:spPr>
          <a:xfrm>
            <a:off x="9411461" y="3155668"/>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189" indent="0">
              <a:buNone/>
              <a:defRPr sz="1100"/>
            </a:lvl2pPr>
            <a:lvl3pPr marL="914377" indent="0">
              <a:buNone/>
              <a:defRPr sz="1100"/>
            </a:lvl3pPr>
            <a:lvl4pPr marL="1371566" indent="0">
              <a:buNone/>
              <a:defRPr sz="1100"/>
            </a:lvl4pPr>
            <a:lvl5pPr marL="1828754" indent="0">
              <a:buNone/>
              <a:defRPr sz="1100"/>
            </a:lvl5pPr>
          </a:lstStyle>
          <a:p>
            <a:pPr lvl="0"/>
            <a:r>
              <a:rPr lang="en-GB"/>
              <a:t>Click to edit Master text styles</a:t>
            </a:r>
          </a:p>
        </p:txBody>
      </p:sp>
      <p:sp>
        <p:nvSpPr>
          <p:cNvPr id="48" name="Picture Placeholder 9">
            <a:extLst>
              <a:ext uri="{FF2B5EF4-FFF2-40B4-BE49-F238E27FC236}">
                <a16:creationId xmlns:a16="http://schemas.microsoft.com/office/drawing/2014/main" id="{B2CF404E-74E2-7F8B-678B-6E7F764D9BF2}"/>
              </a:ext>
            </a:extLst>
          </p:cNvPr>
          <p:cNvSpPr>
            <a:spLocks noGrp="1"/>
          </p:cNvSpPr>
          <p:nvPr>
            <p:ph type="pic" sz="quarter" idx="31" hasCustomPrompt="1"/>
          </p:nvPr>
        </p:nvSpPr>
        <p:spPr>
          <a:xfrm>
            <a:off x="515939" y="4599458"/>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9" name="Text Placeholder 15">
            <a:extLst>
              <a:ext uri="{FF2B5EF4-FFF2-40B4-BE49-F238E27FC236}">
                <a16:creationId xmlns:a16="http://schemas.microsoft.com/office/drawing/2014/main" id="{494146F5-9D36-2EF7-388E-A72B6DA0D9BB}"/>
              </a:ext>
            </a:extLst>
          </p:cNvPr>
          <p:cNvSpPr>
            <a:spLocks noGrp="1"/>
          </p:cNvSpPr>
          <p:nvPr>
            <p:ph type="body" sz="quarter" idx="32"/>
          </p:nvPr>
        </p:nvSpPr>
        <p:spPr>
          <a:xfrm>
            <a:off x="1699412" y="4599458"/>
            <a:ext cx="2116757" cy="987159"/>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189" indent="0">
              <a:buNone/>
              <a:defRPr sz="1100"/>
            </a:lvl2pPr>
            <a:lvl3pPr marL="914377" indent="0">
              <a:buNone/>
              <a:defRPr sz="1100"/>
            </a:lvl3pPr>
            <a:lvl4pPr marL="1371566" indent="0">
              <a:buNone/>
              <a:defRPr sz="1100"/>
            </a:lvl4pPr>
            <a:lvl5pPr marL="1828754" indent="0">
              <a:buNone/>
              <a:defRPr sz="1100"/>
            </a:lvl5pPr>
          </a:lstStyle>
          <a:p>
            <a:pPr lvl="0"/>
            <a:r>
              <a:rPr lang="en-GB"/>
              <a:t>Click to edit Master text styles</a:t>
            </a:r>
          </a:p>
        </p:txBody>
      </p:sp>
      <p:sp>
        <p:nvSpPr>
          <p:cNvPr id="50" name="Picture Placeholder 9">
            <a:extLst>
              <a:ext uri="{FF2B5EF4-FFF2-40B4-BE49-F238E27FC236}">
                <a16:creationId xmlns:a16="http://schemas.microsoft.com/office/drawing/2014/main" id="{B71BEAAD-C8C5-6988-5CBE-F7E302410597}"/>
              </a:ext>
            </a:extLst>
          </p:cNvPr>
          <p:cNvSpPr>
            <a:spLocks noGrp="1"/>
          </p:cNvSpPr>
          <p:nvPr>
            <p:ph type="pic" sz="quarter" idx="33" hasCustomPrompt="1"/>
          </p:nvPr>
        </p:nvSpPr>
        <p:spPr>
          <a:xfrm>
            <a:off x="4335798" y="4599458"/>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1" name="Text Placeholder 15">
            <a:extLst>
              <a:ext uri="{FF2B5EF4-FFF2-40B4-BE49-F238E27FC236}">
                <a16:creationId xmlns:a16="http://schemas.microsoft.com/office/drawing/2014/main" id="{138E6919-019E-02BB-5D0D-FF9C12142411}"/>
              </a:ext>
            </a:extLst>
          </p:cNvPr>
          <p:cNvSpPr>
            <a:spLocks noGrp="1"/>
          </p:cNvSpPr>
          <p:nvPr>
            <p:ph type="body" sz="quarter" idx="34"/>
          </p:nvPr>
        </p:nvSpPr>
        <p:spPr>
          <a:xfrm>
            <a:off x="5527233" y="4599456"/>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189" indent="0">
              <a:buNone/>
              <a:defRPr sz="1100"/>
            </a:lvl2pPr>
            <a:lvl3pPr marL="914377" indent="0">
              <a:buNone/>
              <a:defRPr sz="1100"/>
            </a:lvl3pPr>
            <a:lvl4pPr marL="1371566" indent="0">
              <a:buNone/>
              <a:defRPr sz="1100"/>
            </a:lvl4pPr>
            <a:lvl5pPr marL="1828754" indent="0">
              <a:buNone/>
              <a:defRPr sz="1100"/>
            </a:lvl5pPr>
          </a:lstStyle>
          <a:p>
            <a:pPr lvl="0"/>
            <a:r>
              <a:rPr lang="en-GB"/>
              <a:t>Click to edit Master text styles</a:t>
            </a:r>
          </a:p>
        </p:txBody>
      </p:sp>
      <p:sp>
        <p:nvSpPr>
          <p:cNvPr id="52" name="Picture Placeholder 9">
            <a:extLst>
              <a:ext uri="{FF2B5EF4-FFF2-40B4-BE49-F238E27FC236}">
                <a16:creationId xmlns:a16="http://schemas.microsoft.com/office/drawing/2014/main" id="{50AEE6D7-E551-8465-B986-00D61EB9730A}"/>
              </a:ext>
            </a:extLst>
          </p:cNvPr>
          <p:cNvSpPr>
            <a:spLocks noGrp="1"/>
          </p:cNvSpPr>
          <p:nvPr>
            <p:ph type="pic" sz="quarter" idx="35" hasCustomPrompt="1"/>
          </p:nvPr>
        </p:nvSpPr>
        <p:spPr>
          <a:xfrm>
            <a:off x="8220026" y="4599458"/>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3" name="Text Placeholder 15">
            <a:extLst>
              <a:ext uri="{FF2B5EF4-FFF2-40B4-BE49-F238E27FC236}">
                <a16:creationId xmlns:a16="http://schemas.microsoft.com/office/drawing/2014/main" id="{EABA07AD-B083-3DC8-2E9C-6607785D0D9F}"/>
              </a:ext>
            </a:extLst>
          </p:cNvPr>
          <p:cNvSpPr>
            <a:spLocks noGrp="1"/>
          </p:cNvSpPr>
          <p:nvPr>
            <p:ph type="body" sz="quarter" idx="36"/>
          </p:nvPr>
        </p:nvSpPr>
        <p:spPr>
          <a:xfrm>
            <a:off x="9411461" y="4599456"/>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189" indent="0">
              <a:buNone/>
              <a:defRPr sz="1100"/>
            </a:lvl2pPr>
            <a:lvl3pPr marL="914377" indent="0">
              <a:buNone/>
              <a:defRPr sz="1100"/>
            </a:lvl3pPr>
            <a:lvl4pPr marL="1371566" indent="0">
              <a:buNone/>
              <a:defRPr sz="1100"/>
            </a:lvl4pPr>
            <a:lvl5pPr marL="1828754" indent="0">
              <a:buNone/>
              <a:defRPr sz="1100"/>
            </a:lvl5pPr>
          </a:lstStyle>
          <a:p>
            <a:pPr lvl="0"/>
            <a:r>
              <a:rPr lang="en-GB"/>
              <a:t>Click to edit Master text styles</a:t>
            </a:r>
          </a:p>
        </p:txBody>
      </p:sp>
    </p:spTree>
    <p:extLst>
      <p:ext uri="{BB962C8B-B14F-4D97-AF65-F5344CB8AC3E}">
        <p14:creationId xmlns:p14="http://schemas.microsoft.com/office/powerpoint/2010/main" val="1253092418"/>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Headshots x1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9"/>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8" y="6353142"/>
            <a:ext cx="261631" cy="136527"/>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8"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7"/>
          </a:xfrm>
          <a:prstGeom prst="rect">
            <a:avLst/>
          </a:prstGeom>
        </p:spPr>
        <p:txBody>
          <a:bodyPr anchor="b"/>
          <a:lstStyle>
            <a:lvl1pPr>
              <a:defRPr sz="800"/>
            </a:lvl1pPr>
          </a:lstStyle>
          <a:p>
            <a:r>
              <a:rPr lang="en-US"/>
              <a:t>United Against Rabies Forum Meeting - 6-8 November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5"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9" y="961079"/>
            <a:ext cx="11154344" cy="343847"/>
          </a:xfrm>
        </p:spPr>
        <p:txBody>
          <a:bodyPr/>
          <a:lstStyle>
            <a:lvl1pPr>
              <a:defRPr>
                <a:solidFill>
                  <a:schemeClr val="bg2"/>
                </a:solidFill>
              </a:defRPr>
            </a:lvl1pPr>
          </a:lstStyle>
          <a:p>
            <a:pPr lvl="0"/>
            <a:r>
              <a:rPr lang="en-GB"/>
              <a:t>Click to edit Master text styles</a:t>
            </a:r>
          </a:p>
        </p:txBody>
      </p:sp>
      <p:sp>
        <p:nvSpPr>
          <p:cNvPr id="22" name="Picture Placeholder 9">
            <a:extLst>
              <a:ext uri="{FF2B5EF4-FFF2-40B4-BE49-F238E27FC236}">
                <a16:creationId xmlns:a16="http://schemas.microsoft.com/office/drawing/2014/main" id="{9DD9632F-ADC6-0F07-8F3F-62F1AF846E10}"/>
              </a:ext>
            </a:extLst>
          </p:cNvPr>
          <p:cNvSpPr>
            <a:spLocks noGrp="1"/>
          </p:cNvSpPr>
          <p:nvPr>
            <p:ph type="pic" sz="quarter" idx="20" hasCustomPrompt="1"/>
          </p:nvPr>
        </p:nvSpPr>
        <p:spPr>
          <a:xfrm>
            <a:off x="515939" y="1711995"/>
            <a:ext cx="840423" cy="84042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23" name="Text Placeholder 15">
            <a:extLst>
              <a:ext uri="{FF2B5EF4-FFF2-40B4-BE49-F238E27FC236}">
                <a16:creationId xmlns:a16="http://schemas.microsoft.com/office/drawing/2014/main" id="{A6BDD17B-1F38-C02C-FBE9-A0D8E16AB19C}"/>
              </a:ext>
            </a:extLst>
          </p:cNvPr>
          <p:cNvSpPr>
            <a:spLocks noGrp="1"/>
          </p:cNvSpPr>
          <p:nvPr>
            <p:ph type="body" sz="quarter" idx="15"/>
          </p:nvPr>
        </p:nvSpPr>
        <p:spPr>
          <a:xfrm>
            <a:off x="1596369" y="1711995"/>
            <a:ext cx="2396513" cy="840423"/>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189" indent="0">
              <a:buNone/>
              <a:defRPr sz="1100"/>
            </a:lvl2pPr>
            <a:lvl3pPr marL="914377" indent="0">
              <a:buNone/>
              <a:defRPr sz="1100"/>
            </a:lvl3pPr>
            <a:lvl4pPr marL="1371566" indent="0">
              <a:buNone/>
              <a:defRPr sz="1100"/>
            </a:lvl4pPr>
            <a:lvl5pPr marL="1828754" indent="0">
              <a:buNone/>
              <a:defRPr sz="1100"/>
            </a:lvl5pPr>
          </a:lstStyle>
          <a:p>
            <a:pPr lvl="0"/>
            <a:r>
              <a:rPr lang="en-GB"/>
              <a:t>Click to edit Master text styles</a:t>
            </a:r>
          </a:p>
        </p:txBody>
      </p:sp>
      <p:sp>
        <p:nvSpPr>
          <p:cNvPr id="39" name="Picture Placeholder 9">
            <a:extLst>
              <a:ext uri="{FF2B5EF4-FFF2-40B4-BE49-F238E27FC236}">
                <a16:creationId xmlns:a16="http://schemas.microsoft.com/office/drawing/2014/main" id="{0A36E1BF-5D7A-3667-C65B-2DB32E2BD388}"/>
              </a:ext>
            </a:extLst>
          </p:cNvPr>
          <p:cNvSpPr>
            <a:spLocks noGrp="1"/>
          </p:cNvSpPr>
          <p:nvPr>
            <p:ph type="pic" sz="quarter" idx="43" hasCustomPrompt="1"/>
          </p:nvPr>
        </p:nvSpPr>
        <p:spPr>
          <a:xfrm>
            <a:off x="515939" y="2786398"/>
            <a:ext cx="840423" cy="84042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4" name="Text Placeholder 15">
            <a:extLst>
              <a:ext uri="{FF2B5EF4-FFF2-40B4-BE49-F238E27FC236}">
                <a16:creationId xmlns:a16="http://schemas.microsoft.com/office/drawing/2014/main" id="{A3EF6248-9648-B0CE-3E04-C8F8A63036EA}"/>
              </a:ext>
            </a:extLst>
          </p:cNvPr>
          <p:cNvSpPr>
            <a:spLocks noGrp="1"/>
          </p:cNvSpPr>
          <p:nvPr>
            <p:ph type="body" sz="quarter" idx="44"/>
          </p:nvPr>
        </p:nvSpPr>
        <p:spPr>
          <a:xfrm>
            <a:off x="1596369" y="2791091"/>
            <a:ext cx="2396513" cy="840423"/>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189" indent="0">
              <a:buNone/>
              <a:defRPr sz="1100"/>
            </a:lvl2pPr>
            <a:lvl3pPr marL="914377" indent="0">
              <a:buNone/>
              <a:defRPr sz="1100"/>
            </a:lvl3pPr>
            <a:lvl4pPr marL="1371566" indent="0">
              <a:buNone/>
              <a:defRPr sz="1100"/>
            </a:lvl4pPr>
            <a:lvl5pPr marL="1828754" indent="0">
              <a:buNone/>
              <a:defRPr sz="1100"/>
            </a:lvl5pPr>
          </a:lstStyle>
          <a:p>
            <a:pPr lvl="0"/>
            <a:r>
              <a:rPr lang="en-GB"/>
              <a:t>Click to edit Master text styles</a:t>
            </a:r>
          </a:p>
        </p:txBody>
      </p:sp>
      <p:sp>
        <p:nvSpPr>
          <p:cNvPr id="55" name="Picture Placeholder 9">
            <a:extLst>
              <a:ext uri="{FF2B5EF4-FFF2-40B4-BE49-F238E27FC236}">
                <a16:creationId xmlns:a16="http://schemas.microsoft.com/office/drawing/2014/main" id="{C5444EBA-19D0-8678-BDDD-147CE44BC1E1}"/>
              </a:ext>
            </a:extLst>
          </p:cNvPr>
          <p:cNvSpPr>
            <a:spLocks noGrp="1"/>
          </p:cNvSpPr>
          <p:nvPr>
            <p:ph type="pic" sz="quarter" idx="45" hasCustomPrompt="1"/>
          </p:nvPr>
        </p:nvSpPr>
        <p:spPr>
          <a:xfrm>
            <a:off x="515939" y="3870187"/>
            <a:ext cx="840423" cy="84042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6" name="Text Placeholder 15">
            <a:extLst>
              <a:ext uri="{FF2B5EF4-FFF2-40B4-BE49-F238E27FC236}">
                <a16:creationId xmlns:a16="http://schemas.microsoft.com/office/drawing/2014/main" id="{7D5C4711-97F4-DDD0-D960-DEDF44E5F474}"/>
              </a:ext>
            </a:extLst>
          </p:cNvPr>
          <p:cNvSpPr>
            <a:spLocks noGrp="1"/>
          </p:cNvSpPr>
          <p:nvPr>
            <p:ph type="body" sz="quarter" idx="46"/>
          </p:nvPr>
        </p:nvSpPr>
        <p:spPr>
          <a:xfrm>
            <a:off x="1596369" y="3870187"/>
            <a:ext cx="2396513" cy="840423"/>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189" indent="0">
              <a:buNone/>
              <a:defRPr sz="1100"/>
            </a:lvl2pPr>
            <a:lvl3pPr marL="914377" indent="0">
              <a:buNone/>
              <a:defRPr sz="1100"/>
            </a:lvl3pPr>
            <a:lvl4pPr marL="1371566" indent="0">
              <a:buNone/>
              <a:defRPr sz="1100"/>
            </a:lvl4pPr>
            <a:lvl5pPr marL="1828754" indent="0">
              <a:buNone/>
              <a:defRPr sz="1100"/>
            </a:lvl5pPr>
          </a:lstStyle>
          <a:p>
            <a:pPr lvl="0"/>
            <a:r>
              <a:rPr lang="en-GB"/>
              <a:t>Click to edit Master text styles</a:t>
            </a:r>
          </a:p>
        </p:txBody>
      </p:sp>
      <p:sp>
        <p:nvSpPr>
          <p:cNvPr id="57" name="Picture Placeholder 9">
            <a:extLst>
              <a:ext uri="{FF2B5EF4-FFF2-40B4-BE49-F238E27FC236}">
                <a16:creationId xmlns:a16="http://schemas.microsoft.com/office/drawing/2014/main" id="{E65DD9AF-BC5A-0D6D-203A-19C299826DFB}"/>
              </a:ext>
            </a:extLst>
          </p:cNvPr>
          <p:cNvSpPr>
            <a:spLocks noGrp="1"/>
          </p:cNvSpPr>
          <p:nvPr>
            <p:ph type="pic" sz="quarter" idx="47" hasCustomPrompt="1"/>
          </p:nvPr>
        </p:nvSpPr>
        <p:spPr>
          <a:xfrm>
            <a:off x="515939" y="4949285"/>
            <a:ext cx="840423" cy="84042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8" name="Text Placeholder 15">
            <a:extLst>
              <a:ext uri="{FF2B5EF4-FFF2-40B4-BE49-F238E27FC236}">
                <a16:creationId xmlns:a16="http://schemas.microsoft.com/office/drawing/2014/main" id="{50F33994-9EA1-2A51-A537-50F4FB57B23A}"/>
              </a:ext>
            </a:extLst>
          </p:cNvPr>
          <p:cNvSpPr>
            <a:spLocks noGrp="1"/>
          </p:cNvSpPr>
          <p:nvPr>
            <p:ph type="body" sz="quarter" idx="48"/>
          </p:nvPr>
        </p:nvSpPr>
        <p:spPr>
          <a:xfrm>
            <a:off x="1596369" y="4949285"/>
            <a:ext cx="2396513" cy="840423"/>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189" indent="0">
              <a:buNone/>
              <a:defRPr sz="1100"/>
            </a:lvl2pPr>
            <a:lvl3pPr marL="914377" indent="0">
              <a:buNone/>
              <a:defRPr sz="1100"/>
            </a:lvl3pPr>
            <a:lvl4pPr marL="1371566" indent="0">
              <a:buNone/>
              <a:defRPr sz="1100"/>
            </a:lvl4pPr>
            <a:lvl5pPr marL="1828754" indent="0">
              <a:buNone/>
              <a:defRPr sz="1100"/>
            </a:lvl5pPr>
          </a:lstStyle>
          <a:p>
            <a:pPr lvl="0"/>
            <a:r>
              <a:rPr lang="en-GB"/>
              <a:t>Click to edit Master text styles</a:t>
            </a:r>
          </a:p>
        </p:txBody>
      </p:sp>
      <p:sp>
        <p:nvSpPr>
          <p:cNvPr id="59" name="Picture Placeholder 9">
            <a:extLst>
              <a:ext uri="{FF2B5EF4-FFF2-40B4-BE49-F238E27FC236}">
                <a16:creationId xmlns:a16="http://schemas.microsoft.com/office/drawing/2014/main" id="{F4BC789A-02DE-1B25-C17D-56031BFFAC79}"/>
              </a:ext>
            </a:extLst>
          </p:cNvPr>
          <p:cNvSpPr>
            <a:spLocks noGrp="1"/>
          </p:cNvSpPr>
          <p:nvPr>
            <p:ph type="pic" sz="quarter" idx="49" hasCustomPrompt="1"/>
          </p:nvPr>
        </p:nvSpPr>
        <p:spPr>
          <a:xfrm>
            <a:off x="4357530" y="1711995"/>
            <a:ext cx="840423" cy="84042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0" name="Text Placeholder 15">
            <a:extLst>
              <a:ext uri="{FF2B5EF4-FFF2-40B4-BE49-F238E27FC236}">
                <a16:creationId xmlns:a16="http://schemas.microsoft.com/office/drawing/2014/main" id="{397D8B8C-1AD2-D2A1-C4BA-DC06F2B6EF69}"/>
              </a:ext>
            </a:extLst>
          </p:cNvPr>
          <p:cNvSpPr>
            <a:spLocks noGrp="1"/>
          </p:cNvSpPr>
          <p:nvPr>
            <p:ph type="body" sz="quarter" idx="50"/>
          </p:nvPr>
        </p:nvSpPr>
        <p:spPr>
          <a:xfrm>
            <a:off x="5437960" y="1711995"/>
            <a:ext cx="2396513" cy="840423"/>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189" indent="0">
              <a:buNone/>
              <a:defRPr sz="1100"/>
            </a:lvl2pPr>
            <a:lvl3pPr marL="914377" indent="0">
              <a:buNone/>
              <a:defRPr sz="1100"/>
            </a:lvl3pPr>
            <a:lvl4pPr marL="1371566" indent="0">
              <a:buNone/>
              <a:defRPr sz="1100"/>
            </a:lvl4pPr>
            <a:lvl5pPr marL="1828754" indent="0">
              <a:buNone/>
              <a:defRPr sz="1100"/>
            </a:lvl5pPr>
          </a:lstStyle>
          <a:p>
            <a:pPr lvl="0"/>
            <a:r>
              <a:rPr lang="en-GB"/>
              <a:t>Click to edit Master text styles</a:t>
            </a:r>
          </a:p>
        </p:txBody>
      </p:sp>
      <p:sp>
        <p:nvSpPr>
          <p:cNvPr id="61" name="Picture Placeholder 9">
            <a:extLst>
              <a:ext uri="{FF2B5EF4-FFF2-40B4-BE49-F238E27FC236}">
                <a16:creationId xmlns:a16="http://schemas.microsoft.com/office/drawing/2014/main" id="{96F24F90-0E84-D6E6-53DE-5CA754BCC220}"/>
              </a:ext>
            </a:extLst>
          </p:cNvPr>
          <p:cNvSpPr>
            <a:spLocks noGrp="1"/>
          </p:cNvSpPr>
          <p:nvPr>
            <p:ph type="pic" sz="quarter" idx="51" hasCustomPrompt="1"/>
          </p:nvPr>
        </p:nvSpPr>
        <p:spPr>
          <a:xfrm>
            <a:off x="4357530" y="2786398"/>
            <a:ext cx="840423" cy="84042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2" name="Text Placeholder 15">
            <a:extLst>
              <a:ext uri="{FF2B5EF4-FFF2-40B4-BE49-F238E27FC236}">
                <a16:creationId xmlns:a16="http://schemas.microsoft.com/office/drawing/2014/main" id="{FEE53D37-03B9-FEA3-D9B3-377C5ACE8FBB}"/>
              </a:ext>
            </a:extLst>
          </p:cNvPr>
          <p:cNvSpPr>
            <a:spLocks noGrp="1"/>
          </p:cNvSpPr>
          <p:nvPr>
            <p:ph type="body" sz="quarter" idx="52"/>
          </p:nvPr>
        </p:nvSpPr>
        <p:spPr>
          <a:xfrm>
            <a:off x="5437960" y="2791091"/>
            <a:ext cx="2396513" cy="840423"/>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189" indent="0">
              <a:buNone/>
              <a:defRPr sz="1100"/>
            </a:lvl2pPr>
            <a:lvl3pPr marL="914377" indent="0">
              <a:buNone/>
              <a:defRPr sz="1100"/>
            </a:lvl3pPr>
            <a:lvl4pPr marL="1371566" indent="0">
              <a:buNone/>
              <a:defRPr sz="1100"/>
            </a:lvl4pPr>
            <a:lvl5pPr marL="1828754" indent="0">
              <a:buNone/>
              <a:defRPr sz="1100"/>
            </a:lvl5pPr>
          </a:lstStyle>
          <a:p>
            <a:pPr lvl="0"/>
            <a:r>
              <a:rPr lang="en-GB"/>
              <a:t>Click to edit Master text styles</a:t>
            </a:r>
          </a:p>
        </p:txBody>
      </p:sp>
      <p:sp>
        <p:nvSpPr>
          <p:cNvPr id="63" name="Picture Placeholder 9">
            <a:extLst>
              <a:ext uri="{FF2B5EF4-FFF2-40B4-BE49-F238E27FC236}">
                <a16:creationId xmlns:a16="http://schemas.microsoft.com/office/drawing/2014/main" id="{D91880C0-5866-3A2D-E9A1-293A080C3CBC}"/>
              </a:ext>
            </a:extLst>
          </p:cNvPr>
          <p:cNvSpPr>
            <a:spLocks noGrp="1"/>
          </p:cNvSpPr>
          <p:nvPr>
            <p:ph type="pic" sz="quarter" idx="53" hasCustomPrompt="1"/>
          </p:nvPr>
        </p:nvSpPr>
        <p:spPr>
          <a:xfrm>
            <a:off x="4357530" y="3870187"/>
            <a:ext cx="840423" cy="84042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4" name="Text Placeholder 15">
            <a:extLst>
              <a:ext uri="{FF2B5EF4-FFF2-40B4-BE49-F238E27FC236}">
                <a16:creationId xmlns:a16="http://schemas.microsoft.com/office/drawing/2014/main" id="{68479F4A-C40B-C6DF-03E8-C507FF3D4573}"/>
              </a:ext>
            </a:extLst>
          </p:cNvPr>
          <p:cNvSpPr>
            <a:spLocks noGrp="1"/>
          </p:cNvSpPr>
          <p:nvPr>
            <p:ph type="body" sz="quarter" idx="54"/>
          </p:nvPr>
        </p:nvSpPr>
        <p:spPr>
          <a:xfrm>
            <a:off x="5437960" y="3870187"/>
            <a:ext cx="2396513" cy="840423"/>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189" indent="0">
              <a:buNone/>
              <a:defRPr sz="1100"/>
            </a:lvl2pPr>
            <a:lvl3pPr marL="914377" indent="0">
              <a:buNone/>
              <a:defRPr sz="1100"/>
            </a:lvl3pPr>
            <a:lvl4pPr marL="1371566" indent="0">
              <a:buNone/>
              <a:defRPr sz="1100"/>
            </a:lvl4pPr>
            <a:lvl5pPr marL="1828754" indent="0">
              <a:buNone/>
              <a:defRPr sz="1100"/>
            </a:lvl5pPr>
          </a:lstStyle>
          <a:p>
            <a:pPr lvl="0"/>
            <a:r>
              <a:rPr lang="en-GB"/>
              <a:t>Click to edit Master text styles</a:t>
            </a:r>
          </a:p>
        </p:txBody>
      </p:sp>
      <p:sp>
        <p:nvSpPr>
          <p:cNvPr id="65" name="Picture Placeholder 9">
            <a:extLst>
              <a:ext uri="{FF2B5EF4-FFF2-40B4-BE49-F238E27FC236}">
                <a16:creationId xmlns:a16="http://schemas.microsoft.com/office/drawing/2014/main" id="{C62DBBD6-D33E-DF74-5AE8-96D1913C8C20}"/>
              </a:ext>
            </a:extLst>
          </p:cNvPr>
          <p:cNvSpPr>
            <a:spLocks noGrp="1"/>
          </p:cNvSpPr>
          <p:nvPr>
            <p:ph type="pic" sz="quarter" idx="55" hasCustomPrompt="1"/>
          </p:nvPr>
        </p:nvSpPr>
        <p:spPr>
          <a:xfrm>
            <a:off x="4357530" y="4949285"/>
            <a:ext cx="840423" cy="84042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6" name="Text Placeholder 15">
            <a:extLst>
              <a:ext uri="{FF2B5EF4-FFF2-40B4-BE49-F238E27FC236}">
                <a16:creationId xmlns:a16="http://schemas.microsoft.com/office/drawing/2014/main" id="{05529239-A4B5-258D-03F5-01D3ADFE8873}"/>
              </a:ext>
            </a:extLst>
          </p:cNvPr>
          <p:cNvSpPr>
            <a:spLocks noGrp="1"/>
          </p:cNvSpPr>
          <p:nvPr>
            <p:ph type="body" sz="quarter" idx="56"/>
          </p:nvPr>
        </p:nvSpPr>
        <p:spPr>
          <a:xfrm>
            <a:off x="5437960" y="4949285"/>
            <a:ext cx="2396513" cy="840423"/>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189" indent="0">
              <a:buNone/>
              <a:defRPr sz="1100"/>
            </a:lvl2pPr>
            <a:lvl3pPr marL="914377" indent="0">
              <a:buNone/>
              <a:defRPr sz="1100"/>
            </a:lvl3pPr>
            <a:lvl4pPr marL="1371566" indent="0">
              <a:buNone/>
              <a:defRPr sz="1100"/>
            </a:lvl4pPr>
            <a:lvl5pPr marL="1828754" indent="0">
              <a:buNone/>
              <a:defRPr sz="1100"/>
            </a:lvl5pPr>
          </a:lstStyle>
          <a:p>
            <a:pPr lvl="0"/>
            <a:r>
              <a:rPr lang="en-GB"/>
              <a:t>Click to edit Master text styles</a:t>
            </a:r>
          </a:p>
        </p:txBody>
      </p:sp>
      <p:sp>
        <p:nvSpPr>
          <p:cNvPr id="67" name="Picture Placeholder 9">
            <a:extLst>
              <a:ext uri="{FF2B5EF4-FFF2-40B4-BE49-F238E27FC236}">
                <a16:creationId xmlns:a16="http://schemas.microsoft.com/office/drawing/2014/main" id="{114AD459-859C-6C0F-FB75-4B02606E57BB}"/>
              </a:ext>
            </a:extLst>
          </p:cNvPr>
          <p:cNvSpPr>
            <a:spLocks noGrp="1"/>
          </p:cNvSpPr>
          <p:nvPr>
            <p:ph type="pic" sz="quarter" idx="57" hasCustomPrompt="1"/>
          </p:nvPr>
        </p:nvSpPr>
        <p:spPr>
          <a:xfrm>
            <a:off x="8199122" y="1711995"/>
            <a:ext cx="840423" cy="84042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8" name="Text Placeholder 15">
            <a:extLst>
              <a:ext uri="{FF2B5EF4-FFF2-40B4-BE49-F238E27FC236}">
                <a16:creationId xmlns:a16="http://schemas.microsoft.com/office/drawing/2014/main" id="{4EAF0426-CCDA-221A-38EC-BBD417EBF569}"/>
              </a:ext>
            </a:extLst>
          </p:cNvPr>
          <p:cNvSpPr>
            <a:spLocks noGrp="1"/>
          </p:cNvSpPr>
          <p:nvPr>
            <p:ph type="body" sz="quarter" idx="58"/>
          </p:nvPr>
        </p:nvSpPr>
        <p:spPr>
          <a:xfrm>
            <a:off x="9279552" y="1711995"/>
            <a:ext cx="2396513" cy="840423"/>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189" indent="0">
              <a:buNone/>
              <a:defRPr sz="1100"/>
            </a:lvl2pPr>
            <a:lvl3pPr marL="914377" indent="0">
              <a:buNone/>
              <a:defRPr sz="1100"/>
            </a:lvl3pPr>
            <a:lvl4pPr marL="1371566" indent="0">
              <a:buNone/>
              <a:defRPr sz="1100"/>
            </a:lvl4pPr>
            <a:lvl5pPr marL="1828754" indent="0">
              <a:buNone/>
              <a:defRPr sz="1100"/>
            </a:lvl5pPr>
          </a:lstStyle>
          <a:p>
            <a:pPr lvl="0"/>
            <a:r>
              <a:rPr lang="en-GB"/>
              <a:t>Click to edit Master text styles</a:t>
            </a:r>
          </a:p>
        </p:txBody>
      </p:sp>
      <p:sp>
        <p:nvSpPr>
          <p:cNvPr id="69" name="Picture Placeholder 9">
            <a:extLst>
              <a:ext uri="{FF2B5EF4-FFF2-40B4-BE49-F238E27FC236}">
                <a16:creationId xmlns:a16="http://schemas.microsoft.com/office/drawing/2014/main" id="{EF2E7661-7F3A-851E-C60B-815DA8CE2A18}"/>
              </a:ext>
            </a:extLst>
          </p:cNvPr>
          <p:cNvSpPr>
            <a:spLocks noGrp="1"/>
          </p:cNvSpPr>
          <p:nvPr>
            <p:ph type="pic" sz="quarter" idx="59" hasCustomPrompt="1"/>
          </p:nvPr>
        </p:nvSpPr>
        <p:spPr>
          <a:xfrm>
            <a:off x="8199122" y="2786398"/>
            <a:ext cx="840423" cy="84042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70" name="Text Placeholder 15">
            <a:extLst>
              <a:ext uri="{FF2B5EF4-FFF2-40B4-BE49-F238E27FC236}">
                <a16:creationId xmlns:a16="http://schemas.microsoft.com/office/drawing/2014/main" id="{8748A2D7-29EB-EEF8-E6A5-383DA278969D}"/>
              </a:ext>
            </a:extLst>
          </p:cNvPr>
          <p:cNvSpPr>
            <a:spLocks noGrp="1"/>
          </p:cNvSpPr>
          <p:nvPr>
            <p:ph type="body" sz="quarter" idx="60"/>
          </p:nvPr>
        </p:nvSpPr>
        <p:spPr>
          <a:xfrm>
            <a:off x="9279552" y="2791091"/>
            <a:ext cx="2396513" cy="840423"/>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189" indent="0">
              <a:buNone/>
              <a:defRPr sz="1100"/>
            </a:lvl2pPr>
            <a:lvl3pPr marL="914377" indent="0">
              <a:buNone/>
              <a:defRPr sz="1100"/>
            </a:lvl3pPr>
            <a:lvl4pPr marL="1371566" indent="0">
              <a:buNone/>
              <a:defRPr sz="1100"/>
            </a:lvl4pPr>
            <a:lvl5pPr marL="1828754" indent="0">
              <a:buNone/>
              <a:defRPr sz="1100"/>
            </a:lvl5pPr>
          </a:lstStyle>
          <a:p>
            <a:pPr lvl="0"/>
            <a:r>
              <a:rPr lang="en-GB"/>
              <a:t>Click to edit Master text styles</a:t>
            </a:r>
          </a:p>
        </p:txBody>
      </p:sp>
      <p:sp>
        <p:nvSpPr>
          <p:cNvPr id="71" name="Picture Placeholder 9">
            <a:extLst>
              <a:ext uri="{FF2B5EF4-FFF2-40B4-BE49-F238E27FC236}">
                <a16:creationId xmlns:a16="http://schemas.microsoft.com/office/drawing/2014/main" id="{E88761E4-7653-636A-0723-500AE4782BC6}"/>
              </a:ext>
            </a:extLst>
          </p:cNvPr>
          <p:cNvSpPr>
            <a:spLocks noGrp="1"/>
          </p:cNvSpPr>
          <p:nvPr>
            <p:ph type="pic" sz="quarter" idx="61" hasCustomPrompt="1"/>
          </p:nvPr>
        </p:nvSpPr>
        <p:spPr>
          <a:xfrm>
            <a:off x="8199122" y="3870187"/>
            <a:ext cx="840423" cy="84042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72" name="Text Placeholder 15">
            <a:extLst>
              <a:ext uri="{FF2B5EF4-FFF2-40B4-BE49-F238E27FC236}">
                <a16:creationId xmlns:a16="http://schemas.microsoft.com/office/drawing/2014/main" id="{B10E2844-BD47-9C07-357D-9EA651BBCA67}"/>
              </a:ext>
            </a:extLst>
          </p:cNvPr>
          <p:cNvSpPr>
            <a:spLocks noGrp="1"/>
          </p:cNvSpPr>
          <p:nvPr>
            <p:ph type="body" sz="quarter" idx="62"/>
          </p:nvPr>
        </p:nvSpPr>
        <p:spPr>
          <a:xfrm>
            <a:off x="9279552" y="3870187"/>
            <a:ext cx="2396513" cy="840423"/>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189" indent="0">
              <a:buNone/>
              <a:defRPr sz="1100"/>
            </a:lvl2pPr>
            <a:lvl3pPr marL="914377" indent="0">
              <a:buNone/>
              <a:defRPr sz="1100"/>
            </a:lvl3pPr>
            <a:lvl4pPr marL="1371566" indent="0">
              <a:buNone/>
              <a:defRPr sz="1100"/>
            </a:lvl4pPr>
            <a:lvl5pPr marL="1828754" indent="0">
              <a:buNone/>
              <a:defRPr sz="1100"/>
            </a:lvl5pPr>
          </a:lstStyle>
          <a:p>
            <a:pPr lvl="0"/>
            <a:r>
              <a:rPr lang="en-GB"/>
              <a:t>Click to edit Master text styles</a:t>
            </a:r>
          </a:p>
        </p:txBody>
      </p:sp>
      <p:sp>
        <p:nvSpPr>
          <p:cNvPr id="73" name="Picture Placeholder 9">
            <a:extLst>
              <a:ext uri="{FF2B5EF4-FFF2-40B4-BE49-F238E27FC236}">
                <a16:creationId xmlns:a16="http://schemas.microsoft.com/office/drawing/2014/main" id="{310F2473-00CD-C33D-50C3-3F40271F3927}"/>
              </a:ext>
            </a:extLst>
          </p:cNvPr>
          <p:cNvSpPr>
            <a:spLocks noGrp="1"/>
          </p:cNvSpPr>
          <p:nvPr>
            <p:ph type="pic" sz="quarter" idx="63" hasCustomPrompt="1"/>
          </p:nvPr>
        </p:nvSpPr>
        <p:spPr>
          <a:xfrm>
            <a:off x="8199122" y="4949285"/>
            <a:ext cx="840423" cy="84042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74" name="Text Placeholder 15">
            <a:extLst>
              <a:ext uri="{FF2B5EF4-FFF2-40B4-BE49-F238E27FC236}">
                <a16:creationId xmlns:a16="http://schemas.microsoft.com/office/drawing/2014/main" id="{789611C4-8E98-E2CF-35EB-922860C66E00}"/>
              </a:ext>
            </a:extLst>
          </p:cNvPr>
          <p:cNvSpPr>
            <a:spLocks noGrp="1"/>
          </p:cNvSpPr>
          <p:nvPr>
            <p:ph type="body" sz="quarter" idx="64"/>
          </p:nvPr>
        </p:nvSpPr>
        <p:spPr>
          <a:xfrm>
            <a:off x="9279552" y="4949285"/>
            <a:ext cx="2396513" cy="840423"/>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189" indent="0">
              <a:buNone/>
              <a:defRPr sz="1100"/>
            </a:lvl2pPr>
            <a:lvl3pPr marL="914377" indent="0">
              <a:buNone/>
              <a:defRPr sz="1100"/>
            </a:lvl3pPr>
            <a:lvl4pPr marL="1371566" indent="0">
              <a:buNone/>
              <a:defRPr sz="1100"/>
            </a:lvl4pPr>
            <a:lvl5pPr marL="1828754" indent="0">
              <a:buNone/>
              <a:defRPr sz="1100"/>
            </a:lvl5pPr>
          </a:lstStyle>
          <a:p>
            <a:pPr lvl="0"/>
            <a:r>
              <a:rPr lang="en-GB"/>
              <a:t>Click to edit Master text styles</a:t>
            </a:r>
          </a:p>
        </p:txBody>
      </p:sp>
    </p:spTree>
    <p:extLst>
      <p:ext uri="{BB962C8B-B14F-4D97-AF65-F5344CB8AC3E}">
        <p14:creationId xmlns:p14="http://schemas.microsoft.com/office/powerpoint/2010/main" val="2086106562"/>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9"/>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8" y="6353142"/>
            <a:ext cx="261631" cy="136527"/>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8"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7"/>
          </a:xfrm>
          <a:prstGeom prst="rect">
            <a:avLst/>
          </a:prstGeom>
        </p:spPr>
        <p:txBody>
          <a:bodyPr anchor="b"/>
          <a:lstStyle>
            <a:lvl1pPr>
              <a:defRPr sz="800"/>
            </a:lvl1pPr>
          </a:lstStyle>
          <a:p>
            <a:r>
              <a:rPr lang="en-US"/>
              <a:t>United Against Rabies Forum Meeting - 6-8 November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5"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9" y="961079"/>
            <a:ext cx="11154344" cy="343847"/>
          </a:xfrm>
        </p:spPr>
        <p:txBody>
          <a:bodyPr/>
          <a:lstStyle>
            <a:lvl1pPr>
              <a:defRPr>
                <a:solidFill>
                  <a:schemeClr val="bg2"/>
                </a:solidFill>
              </a:defRPr>
            </a:lvl1pPr>
          </a:lstStyle>
          <a:p>
            <a:pPr lvl="0"/>
            <a:r>
              <a:rPr lang="en-GB"/>
              <a:t>Click to edit Master text styles</a:t>
            </a:r>
          </a:p>
        </p:txBody>
      </p:sp>
      <p:sp>
        <p:nvSpPr>
          <p:cNvPr id="33" name="Text Placeholder 8">
            <a:extLst>
              <a:ext uri="{FF2B5EF4-FFF2-40B4-BE49-F238E27FC236}">
                <a16:creationId xmlns:a16="http://schemas.microsoft.com/office/drawing/2014/main" id="{81187F35-DC43-A850-FE4F-7D60E8ED7A96}"/>
              </a:ext>
            </a:extLst>
          </p:cNvPr>
          <p:cNvSpPr>
            <a:spLocks noGrp="1"/>
          </p:cNvSpPr>
          <p:nvPr>
            <p:ph type="body" idx="13"/>
          </p:nvPr>
        </p:nvSpPr>
        <p:spPr>
          <a:xfrm>
            <a:off x="531133" y="1708831"/>
            <a:ext cx="11144931" cy="4204608"/>
          </a:xfrm>
        </p:spPr>
        <p:txBody>
          <a:bodyPr numCol="2" spcCol="360000">
            <a:normAutofit/>
          </a:bodyPr>
          <a:lstStyle>
            <a:lvl1pPr marL="457189" indent="-457189">
              <a:spcBef>
                <a:spcPts val="1800"/>
              </a:spcBef>
              <a:spcAft>
                <a:spcPts val="600"/>
              </a:spcAft>
              <a:buClr>
                <a:schemeClr val="bg2"/>
              </a:buClr>
              <a:buFont typeface="+mj-lt"/>
              <a:buAutoNum type="arabicPeriod"/>
              <a:defRPr sz="2400" b="1">
                <a:solidFill>
                  <a:schemeClr val="tx2">
                    <a:lumMod val="50000"/>
                  </a:schemeClr>
                </a:solidFill>
              </a:defRPr>
            </a:lvl1pPr>
            <a:lvl2pPr>
              <a:spcAft>
                <a:spcPts val="600"/>
              </a:spcAft>
              <a:defRPr sz="2000" b="1">
                <a:solidFill>
                  <a:schemeClr val="tx2">
                    <a:lumMod val="50000"/>
                  </a:schemeClr>
                </a:solidFill>
              </a:defRPr>
            </a:lvl2pPr>
            <a:lvl3pPr>
              <a:defRPr sz="2000" b="1">
                <a:solidFill>
                  <a:schemeClr val="tx2">
                    <a:lumMod val="50000"/>
                  </a:schemeClr>
                </a:solidFill>
              </a:defRPr>
            </a:lvl3pPr>
            <a:lvl4pPr>
              <a:defRPr sz="1800" b="1">
                <a:solidFill>
                  <a:schemeClr val="tx2">
                    <a:lumMod val="50000"/>
                  </a:schemeClr>
                </a:solidFill>
              </a:defRPr>
            </a:lvl4pPr>
            <a:lvl5pPr>
              <a:defRPr sz="1800" b="1">
                <a:solidFill>
                  <a:schemeClr val="tx2">
                    <a:lumMod val="50000"/>
                  </a:schemeClr>
                </a:solidFill>
              </a:defRPr>
            </a:lvl5pPr>
          </a:lstStyle>
          <a:p>
            <a:pPr lvl="0"/>
            <a:r>
              <a:rPr lang="en-GB"/>
              <a:t>Click to edit Master text styles</a:t>
            </a:r>
          </a:p>
          <a:p>
            <a:pPr lvl="1"/>
            <a:r>
              <a:rPr lang="en-GB"/>
              <a:t>Second level</a:t>
            </a:r>
          </a:p>
        </p:txBody>
      </p:sp>
    </p:spTree>
    <p:extLst>
      <p:ext uri="{BB962C8B-B14F-4D97-AF65-F5344CB8AC3E}">
        <p14:creationId xmlns:p14="http://schemas.microsoft.com/office/powerpoint/2010/main" val="1605638160"/>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20" y="368300"/>
            <a:ext cx="6275323" cy="592779"/>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8" y="6353142"/>
            <a:ext cx="261631" cy="136527"/>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8"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7"/>
          </a:xfrm>
          <a:prstGeom prst="rect">
            <a:avLst/>
          </a:prstGeom>
        </p:spPr>
        <p:txBody>
          <a:bodyPr anchor="b"/>
          <a:lstStyle>
            <a:lvl1pPr>
              <a:defRPr sz="800"/>
            </a:lvl1pPr>
          </a:lstStyle>
          <a:p>
            <a:r>
              <a:rPr lang="en-US"/>
              <a:t>United Against Rabies Forum Meeting - 6-8 November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5"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9" y="961079"/>
            <a:ext cx="6275323" cy="343847"/>
          </a:xfrm>
        </p:spPr>
        <p:txBody>
          <a:bodyPr/>
          <a:lstStyle>
            <a:lvl1pPr>
              <a:defRPr>
                <a:solidFill>
                  <a:schemeClr val="bg2"/>
                </a:solidFill>
              </a:defRPr>
            </a:lvl1pPr>
          </a:lstStyle>
          <a:p>
            <a:pPr lvl="0"/>
            <a:r>
              <a:rPr lang="en-GB"/>
              <a:t>Click to edit Master text styles</a:t>
            </a:r>
          </a:p>
        </p:txBody>
      </p:sp>
      <p:sp>
        <p:nvSpPr>
          <p:cNvPr id="33" name="Text Placeholder 8">
            <a:extLst>
              <a:ext uri="{FF2B5EF4-FFF2-40B4-BE49-F238E27FC236}">
                <a16:creationId xmlns:a16="http://schemas.microsoft.com/office/drawing/2014/main" id="{81187F35-DC43-A850-FE4F-7D60E8ED7A96}"/>
              </a:ext>
            </a:extLst>
          </p:cNvPr>
          <p:cNvSpPr>
            <a:spLocks noGrp="1"/>
          </p:cNvSpPr>
          <p:nvPr>
            <p:ph type="body" idx="13"/>
          </p:nvPr>
        </p:nvSpPr>
        <p:spPr>
          <a:xfrm>
            <a:off x="531133" y="1708831"/>
            <a:ext cx="5376371" cy="4204608"/>
          </a:xfrm>
        </p:spPr>
        <p:txBody>
          <a:bodyPr numCol="1" spcCol="360000">
            <a:normAutofit/>
          </a:bodyPr>
          <a:lstStyle>
            <a:lvl1pPr marL="457189" indent="-457189">
              <a:spcBef>
                <a:spcPts val="600"/>
              </a:spcBef>
              <a:spcAft>
                <a:spcPts val="600"/>
              </a:spcAft>
              <a:buClr>
                <a:schemeClr val="bg2"/>
              </a:buClr>
              <a:buFont typeface="+mj-lt"/>
              <a:buAutoNum type="arabicPeriod"/>
              <a:defRPr sz="2400" b="1">
                <a:solidFill>
                  <a:schemeClr val="tx2">
                    <a:lumMod val="50000"/>
                  </a:schemeClr>
                </a:solidFill>
              </a:defRPr>
            </a:lvl1pPr>
            <a:lvl2pPr>
              <a:spcAft>
                <a:spcPts val="600"/>
              </a:spcAft>
              <a:defRPr sz="2000" b="1">
                <a:solidFill>
                  <a:schemeClr val="tx2">
                    <a:lumMod val="50000"/>
                  </a:schemeClr>
                </a:solidFill>
              </a:defRPr>
            </a:lvl2pPr>
            <a:lvl3pPr>
              <a:defRPr sz="2000" b="1">
                <a:solidFill>
                  <a:schemeClr val="tx2">
                    <a:lumMod val="50000"/>
                  </a:schemeClr>
                </a:solidFill>
              </a:defRPr>
            </a:lvl3pPr>
            <a:lvl4pPr>
              <a:defRPr sz="1800" b="1">
                <a:solidFill>
                  <a:schemeClr val="tx2">
                    <a:lumMod val="50000"/>
                  </a:schemeClr>
                </a:solidFill>
              </a:defRPr>
            </a:lvl4pPr>
            <a:lvl5pPr>
              <a:defRPr sz="1800" b="1">
                <a:solidFill>
                  <a:schemeClr val="tx2">
                    <a:lumMod val="50000"/>
                  </a:schemeClr>
                </a:solidFill>
              </a:defRPr>
            </a:lvl5pPr>
          </a:lstStyle>
          <a:p>
            <a:pPr lvl="0"/>
            <a:r>
              <a:rPr lang="en-GB"/>
              <a:t>Click to edit Master text styles</a:t>
            </a:r>
          </a:p>
          <a:p>
            <a:pPr lvl="1"/>
            <a:r>
              <a:rPr lang="en-GB"/>
              <a:t>Second level</a:t>
            </a:r>
          </a:p>
        </p:txBody>
      </p:sp>
      <p:sp>
        <p:nvSpPr>
          <p:cNvPr id="11" name="Text Placeholder 8">
            <a:extLst>
              <a:ext uri="{FF2B5EF4-FFF2-40B4-BE49-F238E27FC236}">
                <a16:creationId xmlns:a16="http://schemas.microsoft.com/office/drawing/2014/main" id="{91F8B0E5-465B-1592-BFB3-5F01C3B0E690}"/>
              </a:ext>
            </a:extLst>
          </p:cNvPr>
          <p:cNvSpPr>
            <a:spLocks noGrp="1"/>
          </p:cNvSpPr>
          <p:nvPr>
            <p:ph type="body" idx="15" hasCustomPrompt="1"/>
          </p:nvPr>
        </p:nvSpPr>
        <p:spPr>
          <a:xfrm>
            <a:off x="6132638" y="1708831"/>
            <a:ext cx="664405" cy="4204608"/>
          </a:xfrm>
        </p:spPr>
        <p:txBody>
          <a:bodyPr numCol="1" spcCol="360000">
            <a:normAutofit/>
          </a:bodyPr>
          <a:lstStyle>
            <a:lvl1pPr marL="0" indent="0" algn="r">
              <a:spcBef>
                <a:spcPts val="600"/>
              </a:spcBef>
              <a:spcAft>
                <a:spcPts val="600"/>
              </a:spcAft>
              <a:buClr>
                <a:schemeClr val="bg2"/>
              </a:buClr>
              <a:buFont typeface="+mj-lt"/>
              <a:buNone/>
              <a:defRPr sz="2400" b="0">
                <a:solidFill>
                  <a:schemeClr val="tx2">
                    <a:lumMod val="50000"/>
                  </a:schemeClr>
                </a:solidFill>
              </a:defRPr>
            </a:lvl1pPr>
            <a:lvl2pPr>
              <a:spcAft>
                <a:spcPts val="600"/>
              </a:spcAft>
              <a:defRPr sz="2000" b="1">
                <a:solidFill>
                  <a:schemeClr val="tx2">
                    <a:lumMod val="50000"/>
                  </a:schemeClr>
                </a:solidFill>
              </a:defRPr>
            </a:lvl2pPr>
            <a:lvl3pPr>
              <a:defRPr sz="2000" b="1">
                <a:solidFill>
                  <a:schemeClr val="tx2">
                    <a:lumMod val="50000"/>
                  </a:schemeClr>
                </a:solidFill>
              </a:defRPr>
            </a:lvl3pPr>
            <a:lvl4pPr>
              <a:defRPr sz="1800" b="1">
                <a:solidFill>
                  <a:schemeClr val="tx2">
                    <a:lumMod val="50000"/>
                  </a:schemeClr>
                </a:solidFill>
              </a:defRPr>
            </a:lvl4pPr>
            <a:lvl5pPr>
              <a:defRPr sz="1800" b="1">
                <a:solidFill>
                  <a:schemeClr val="tx2">
                    <a:lumMod val="50000"/>
                  </a:schemeClr>
                </a:solidFill>
              </a:defRPr>
            </a:lvl5pPr>
          </a:lstStyle>
          <a:p>
            <a:pPr lvl="0"/>
            <a:r>
              <a:rPr lang="en-GB"/>
              <a:t>X</a:t>
            </a:r>
          </a:p>
          <a:p>
            <a:pPr lvl="0"/>
            <a:endParaRPr lang="en-GB"/>
          </a:p>
        </p:txBody>
      </p:sp>
      <p:sp>
        <p:nvSpPr>
          <p:cNvPr id="12" name="Picture Placeholder 2">
            <a:extLst>
              <a:ext uri="{FF2B5EF4-FFF2-40B4-BE49-F238E27FC236}">
                <a16:creationId xmlns:a16="http://schemas.microsoft.com/office/drawing/2014/main" id="{EA8C7E29-42A4-2542-6547-ACCD8C92B2B5}"/>
              </a:ext>
            </a:extLst>
          </p:cNvPr>
          <p:cNvSpPr>
            <a:spLocks noGrp="1"/>
          </p:cNvSpPr>
          <p:nvPr>
            <p:ph type="pic" sz="quarter" idx="24"/>
          </p:nvPr>
        </p:nvSpPr>
        <p:spPr>
          <a:xfrm>
            <a:off x="7368540" y="366372"/>
            <a:ext cx="4307523" cy="5530549"/>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Tree>
    <p:extLst>
      <p:ext uri="{BB962C8B-B14F-4D97-AF65-F5344CB8AC3E}">
        <p14:creationId xmlns:p14="http://schemas.microsoft.com/office/powerpoint/2010/main" val="4047314231"/>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9"/>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8" y="6353142"/>
            <a:ext cx="261631" cy="136527"/>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8"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7"/>
          </a:xfrm>
          <a:prstGeom prst="rect">
            <a:avLst/>
          </a:prstGeom>
        </p:spPr>
        <p:txBody>
          <a:bodyPr anchor="b"/>
          <a:lstStyle>
            <a:lvl1pPr>
              <a:defRPr sz="800"/>
            </a:lvl1pPr>
          </a:lstStyle>
          <a:p>
            <a:r>
              <a:rPr lang="en-US"/>
              <a:t>United Against Rabies Forum Meeting - 6-8 November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5" y="6109976"/>
            <a:ext cx="1036776" cy="381653"/>
          </a:xfrm>
          <a:prstGeom prst="rect">
            <a:avLst/>
          </a:prstGeom>
        </p:spPr>
      </p:pic>
    </p:spTree>
    <p:extLst>
      <p:ext uri="{BB962C8B-B14F-4D97-AF65-F5344CB8AC3E}">
        <p14:creationId xmlns:p14="http://schemas.microsoft.com/office/powerpoint/2010/main" val="890810593"/>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itle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9"/>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8" y="6353142"/>
            <a:ext cx="261631" cy="136527"/>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8"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7"/>
          </a:xfrm>
          <a:prstGeom prst="rect">
            <a:avLst/>
          </a:prstGeom>
        </p:spPr>
        <p:txBody>
          <a:bodyPr anchor="b"/>
          <a:lstStyle>
            <a:lvl1pPr>
              <a:defRPr sz="800"/>
            </a:lvl1pPr>
          </a:lstStyle>
          <a:p>
            <a:r>
              <a:rPr lang="en-US"/>
              <a:t>United Against Rabies Forum Meeting - 6-8 November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5"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9" y="961079"/>
            <a:ext cx="11154344" cy="343847"/>
          </a:xfrm>
        </p:spPr>
        <p:txBody>
          <a:bodyPr/>
          <a:lstStyle>
            <a:lvl1pPr>
              <a:defRPr>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4265590168"/>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8" y="6353142"/>
            <a:ext cx="261631" cy="136527"/>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8"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7"/>
          </a:xfrm>
          <a:prstGeom prst="rect">
            <a:avLst/>
          </a:prstGeom>
        </p:spPr>
        <p:txBody>
          <a:bodyPr anchor="b"/>
          <a:lstStyle>
            <a:lvl1pPr>
              <a:defRPr sz="800"/>
            </a:lvl1pPr>
          </a:lstStyle>
          <a:p>
            <a:r>
              <a:rPr lang="en-US"/>
              <a:t>United Against Rabies Forum Meeting - 6-8 November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5" y="6109976"/>
            <a:ext cx="1036776" cy="381653"/>
          </a:xfrm>
          <a:prstGeom prst="rect">
            <a:avLst/>
          </a:prstGeom>
        </p:spPr>
      </p:pic>
    </p:spTree>
    <p:extLst>
      <p:ext uri="{BB962C8B-B14F-4D97-AF65-F5344CB8AC3E}">
        <p14:creationId xmlns:p14="http://schemas.microsoft.com/office/powerpoint/2010/main" val="113616693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text">
    <p:spTree>
      <p:nvGrpSpPr>
        <p:cNvPr id="1" name=""/>
        <p:cNvGrpSpPr/>
        <p:nvPr/>
      </p:nvGrpSpPr>
      <p:grpSpPr>
        <a:xfrm>
          <a:off x="0" y="0"/>
          <a:ext cx="0" cy="0"/>
          <a:chOff x="0" y="0"/>
          <a:chExt cx="0" cy="0"/>
        </a:xfrm>
      </p:grpSpPr>
      <p:sp>
        <p:nvSpPr>
          <p:cNvPr id="13" name="Rectángulo 9"/>
          <p:cNvSpPr/>
          <p:nvPr userDrawn="1"/>
        </p:nvSpPr>
        <p:spPr>
          <a:xfrm>
            <a:off x="0" y="0"/>
            <a:ext cx="12187995" cy="108000"/>
          </a:xfrm>
          <a:prstGeom prst="rect">
            <a:avLst/>
          </a:prstGeom>
          <a:gradFill rotWithShape="1">
            <a:gsLst>
              <a:gs pos="0">
                <a:srgbClr val="A50021"/>
              </a:gs>
              <a:gs pos="100000">
                <a:srgbClr val="636463"/>
              </a:gs>
            </a:gsLst>
            <a:lin ang="16200000" scaled="0"/>
          </a:gradFill>
          <a:ln w="952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srgbClr val="F3EBDD"/>
              </a:solidFill>
              <a:effectLst/>
              <a:uLnTx/>
              <a:uFillTx/>
              <a:latin typeface="Arial"/>
              <a:ea typeface="+mn-ea"/>
              <a:cs typeface="+mn-cs"/>
            </a:endParaRPr>
          </a:p>
        </p:txBody>
      </p:sp>
      <p:sp>
        <p:nvSpPr>
          <p:cNvPr id="6" name="Rectangle 2"/>
          <p:cNvSpPr>
            <a:spLocks noGrp="1" noChangeArrowheads="1"/>
          </p:cNvSpPr>
          <p:nvPr>
            <p:ph type="title"/>
          </p:nvPr>
        </p:nvSpPr>
        <p:spPr bwMode="auto">
          <a:xfrm>
            <a:off x="609600" y="274638"/>
            <a:ext cx="10972800" cy="90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defRPr>
                <a:solidFill>
                  <a:srgbClr val="A50021"/>
                </a:solidFill>
              </a:defRPr>
            </a:lvl1pPr>
          </a:lstStyle>
          <a:p>
            <a:pPr lvl="0"/>
            <a:r>
              <a:rPr lang="fr-FR"/>
              <a:t>Cliquez pour modifier le style du titre</a:t>
            </a:r>
          </a:p>
        </p:txBody>
      </p:sp>
      <p:sp>
        <p:nvSpPr>
          <p:cNvPr id="7" name="Rectangle 3"/>
          <p:cNvSpPr>
            <a:spLocks noGrp="1" noChangeArrowheads="1"/>
          </p:cNvSpPr>
          <p:nvPr>
            <p:ph idx="1"/>
          </p:nvPr>
        </p:nvSpPr>
        <p:spPr bwMode="auto">
          <a:xfrm>
            <a:off x="609600" y="1600212"/>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defRPr sz="3000"/>
            </a:lvl1pPr>
            <a:lvl2pPr>
              <a:defRPr sz="2800"/>
            </a:lvl2pPr>
            <a:lvl3pPr>
              <a:defRPr sz="2400">
                <a:latin typeface="Arial" panose="020B0604020202020204" pitchFamily="34" charset="0"/>
                <a:cs typeface="Arial" panose="020B0604020202020204" pitchFamily="34" charset="0"/>
              </a:defRPr>
            </a:lvl3pPr>
            <a:lvl4pPr>
              <a:defRPr sz="2000"/>
            </a:lvl4pPr>
            <a:lvl5pPr>
              <a:defRPr sz="18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8" name="Espace réservé du texte 4"/>
          <p:cNvSpPr>
            <a:spLocks noGrp="1"/>
          </p:cNvSpPr>
          <p:nvPr>
            <p:ph type="body" sz="quarter" idx="12" hasCustomPrompt="1"/>
          </p:nvPr>
        </p:nvSpPr>
        <p:spPr>
          <a:xfrm>
            <a:off x="624417" y="908720"/>
            <a:ext cx="10944191" cy="504056"/>
          </a:xfrm>
          <a:noFill/>
        </p:spPr>
        <p:txBody>
          <a:bodyPr/>
          <a:lstStyle>
            <a:lvl1pPr marL="0" indent="0" algn="ctr" rtl="0" eaLnBrk="0" fontAlgn="base" hangingPunct="0">
              <a:spcBef>
                <a:spcPct val="0"/>
              </a:spcBef>
              <a:spcAft>
                <a:spcPct val="0"/>
              </a:spcAft>
              <a:buNone/>
              <a:defRPr lang="fr-FR" sz="2400" b="0" i="1" kern="1200" dirty="0" smtClean="0">
                <a:solidFill>
                  <a:srgbClr val="636463"/>
                </a:solidFill>
                <a:latin typeface="Arial"/>
                <a:ea typeface="+mn-ea"/>
                <a:cs typeface="+mn-cs"/>
              </a:defRPr>
            </a:lvl1pPr>
          </a:lstStyle>
          <a:p>
            <a:pPr lvl="0"/>
            <a:r>
              <a:rPr lang="fr-FR" err="1"/>
              <a:t>Subtitle</a:t>
            </a:r>
            <a:r>
              <a:rPr lang="fr-FR"/>
              <a:t> </a:t>
            </a:r>
          </a:p>
        </p:txBody>
      </p:sp>
    </p:spTree>
    <p:extLst>
      <p:ext uri="{BB962C8B-B14F-4D97-AF65-F5344CB8AC3E}">
        <p14:creationId xmlns:p14="http://schemas.microsoft.com/office/powerpoint/2010/main" val="312786450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C653B8-D8AC-4988-A5FD-13A370AF9214}"/>
              </a:ext>
            </a:extLst>
          </p:cNvPr>
          <p:cNvSpPr>
            <a:spLocks noGrp="1"/>
          </p:cNvSpPr>
          <p:nvPr>
            <p:ph type="title"/>
          </p:nvPr>
        </p:nvSpPr>
        <p:spPr>
          <a:xfrm>
            <a:off x="839788" y="365125"/>
            <a:ext cx="10515600" cy="1325563"/>
          </a:xfrm>
        </p:spPr>
        <p:txBody>
          <a:bodyPr/>
          <a:lstStyle/>
          <a:p>
            <a:r>
              <a:rPr lang="en-US"/>
              <a:t>Click to edit Master title style</a:t>
            </a:r>
            <a:endParaRPr lang="en-AU"/>
          </a:p>
        </p:txBody>
      </p:sp>
      <p:sp>
        <p:nvSpPr>
          <p:cNvPr id="3" name="Text Placeholder 2">
            <a:extLst>
              <a:ext uri="{FF2B5EF4-FFF2-40B4-BE49-F238E27FC236}">
                <a16:creationId xmlns:a16="http://schemas.microsoft.com/office/drawing/2014/main" id="{8C915957-6841-43E5-8FA4-8F03E321742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B765BEC-A7AD-4D35-8686-BBA4C1473338}"/>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Text Placeholder 4">
            <a:extLst>
              <a:ext uri="{FF2B5EF4-FFF2-40B4-BE49-F238E27FC236}">
                <a16:creationId xmlns:a16="http://schemas.microsoft.com/office/drawing/2014/main" id="{5661B7FE-0996-4F24-BA2D-000EC493C52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E701D5E-D398-4581-85EF-EAC473EE744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7" name="Date Placeholder 6">
            <a:extLst>
              <a:ext uri="{FF2B5EF4-FFF2-40B4-BE49-F238E27FC236}">
                <a16:creationId xmlns:a16="http://schemas.microsoft.com/office/drawing/2014/main" id="{6E759883-784E-4E60-81B8-D4B5733F9C60}"/>
              </a:ext>
            </a:extLst>
          </p:cNvPr>
          <p:cNvSpPr>
            <a:spLocks noGrp="1"/>
          </p:cNvSpPr>
          <p:nvPr>
            <p:ph type="dt" sz="half" idx="10"/>
          </p:nvPr>
        </p:nvSpPr>
        <p:spPr/>
        <p:txBody>
          <a:bodyPr/>
          <a:lstStyle/>
          <a:p>
            <a:fld id="{D7B88623-B402-4EE7-A5C2-06C9FC1BA44C}" type="datetime1">
              <a:rPr lang="en-AU" smtClean="0"/>
              <a:t>9/12/2024</a:t>
            </a:fld>
            <a:endParaRPr lang="en-AU"/>
          </a:p>
        </p:txBody>
      </p:sp>
      <p:sp>
        <p:nvSpPr>
          <p:cNvPr id="8" name="Footer Placeholder 7">
            <a:extLst>
              <a:ext uri="{FF2B5EF4-FFF2-40B4-BE49-F238E27FC236}">
                <a16:creationId xmlns:a16="http://schemas.microsoft.com/office/drawing/2014/main" id="{A19FACF9-EAB3-42BD-9A0F-D7C27A228D20}"/>
              </a:ext>
            </a:extLst>
          </p:cNvPr>
          <p:cNvSpPr>
            <a:spLocks noGrp="1"/>
          </p:cNvSpPr>
          <p:nvPr>
            <p:ph type="ftr" sz="quarter" idx="11"/>
          </p:nvPr>
        </p:nvSpPr>
        <p:spPr/>
        <p:txBody>
          <a:bodyPr/>
          <a:lstStyle/>
          <a:p>
            <a:endParaRPr lang="en-AU"/>
          </a:p>
        </p:txBody>
      </p:sp>
      <p:sp>
        <p:nvSpPr>
          <p:cNvPr id="9" name="Slide Number Placeholder 8">
            <a:extLst>
              <a:ext uri="{FF2B5EF4-FFF2-40B4-BE49-F238E27FC236}">
                <a16:creationId xmlns:a16="http://schemas.microsoft.com/office/drawing/2014/main" id="{BB6470D6-21C3-4C6E-B23E-31AE868BAB9A}"/>
              </a:ext>
            </a:extLst>
          </p:cNvPr>
          <p:cNvSpPr>
            <a:spLocks noGrp="1"/>
          </p:cNvSpPr>
          <p:nvPr>
            <p:ph type="sldNum" sz="quarter" idx="12"/>
          </p:nvPr>
        </p:nvSpPr>
        <p:spPr/>
        <p:txBody>
          <a:bodyPr/>
          <a:lstStyle/>
          <a:p>
            <a:fld id="{33ECF85F-2FE6-4C40-9C0D-695BD934DCA6}" type="slidenum">
              <a:rPr lang="en-AU" smtClean="0"/>
              <a:t>‹#›</a:t>
            </a:fld>
            <a:endParaRPr lang="en-AU"/>
          </a:p>
        </p:txBody>
      </p:sp>
    </p:spTree>
    <p:extLst>
      <p:ext uri="{BB962C8B-B14F-4D97-AF65-F5344CB8AC3E}">
        <p14:creationId xmlns:p14="http://schemas.microsoft.com/office/powerpoint/2010/main" val="1989066366"/>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Title Only – Dark">
    <p:bg>
      <p:bgPr>
        <a:solidFill>
          <a:schemeClr val="tx2">
            <a:lumMod val="75000"/>
          </a:schemeClr>
        </a:solidFill>
        <a:effectLst/>
      </p:bgPr>
    </p:bg>
    <p:spTree>
      <p:nvGrpSpPr>
        <p:cNvPr id="1" name=""/>
        <p:cNvGrpSpPr/>
        <p:nvPr/>
      </p:nvGrpSpPr>
      <p:grpSpPr>
        <a:xfrm>
          <a:off x="0" y="0"/>
          <a:ext cx="0" cy="0"/>
          <a:chOff x="0" y="0"/>
          <a:chExt cx="0" cy="0"/>
        </a:xfrm>
      </p:grpSpPr>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lvl1pPr>
              <a:defRPr>
                <a:solidFill>
                  <a:schemeClr val="bg1"/>
                </a:solidFill>
              </a:defRPr>
            </a:lvl1p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solidFill>
                  <a:schemeClr val="bg1">
                    <a:lumMod val="85000"/>
                  </a:schemeClr>
                </a:solidFill>
              </a:defRPr>
            </a:lvl1pPr>
          </a:lstStyle>
          <a:p>
            <a:fld id="{AB746B08-255A-2748-8A21-40BE94A17FD1}" type="slidenum">
              <a:rPr lang="en-GB" smtClean="0"/>
              <a:pPr/>
              <a:t>‹#›</a:t>
            </a:fld>
            <a:endParaRPr lang="en-GB"/>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solidFill>
                  <a:schemeClr val="bg1">
                    <a:lumMod val="85000"/>
                  </a:schemeClr>
                </a:solidFill>
              </a:defRPr>
            </a:lvl1pPr>
          </a:lstStyle>
          <a:p>
            <a:r>
              <a:rPr lang="en-US"/>
              <a:t>United Against Rabies Forum Meeting - 6-8 November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4027270113"/>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Large Key Stat">
    <p:bg>
      <p:bgPr>
        <a:blipFill dpi="0" rotWithShape="1">
          <a:blip r:embed="rId2">
            <a:lum/>
            <a:extLst>
              <a:ext uri="{28A0092B-C50C-407E-A947-70E740481C1C}">
                <a14:useLocalDpi xmlns:a14="http://schemas.microsoft.com/office/drawing/2010/main"/>
              </a:ext>
            </a:extLst>
          </a:blip>
          <a:srcRect/>
          <a:stretch>
            <a:fillRect t="-3000" b="-3000"/>
          </a:stretch>
        </a:blip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9290FAF2-2869-2B9B-5880-4EE57045BC4F}"/>
              </a:ext>
            </a:extLst>
          </p:cNvPr>
          <p:cNvSpPr>
            <a:spLocks noGrp="1"/>
          </p:cNvSpPr>
          <p:nvPr>
            <p:ph type="title" hasCustomPrompt="1"/>
          </p:nvPr>
        </p:nvSpPr>
        <p:spPr>
          <a:xfrm>
            <a:off x="518828" y="1249683"/>
            <a:ext cx="11208352" cy="2690816"/>
          </a:xfrm>
          <a:prstGeom prst="rect">
            <a:avLst/>
          </a:prstGeom>
        </p:spPr>
        <p:txBody>
          <a:bodyPr vert="horz" lIns="0" tIns="0" rIns="0" bIns="0" rtlCol="0" anchor="b">
            <a:noAutofit/>
          </a:bodyPr>
          <a:lstStyle>
            <a:lvl1pPr>
              <a:defRPr sz="11500">
                <a:solidFill>
                  <a:schemeClr val="bg1"/>
                </a:solidFill>
              </a:defRPr>
            </a:lvl1pPr>
          </a:lstStyle>
          <a:p>
            <a:r>
              <a:rPr lang="en-GB"/>
              <a:t>XXXXXX</a:t>
            </a:r>
          </a:p>
        </p:txBody>
      </p:sp>
      <p:sp>
        <p:nvSpPr>
          <p:cNvPr id="8" name="Slide Number Placeholder 2">
            <a:extLst>
              <a:ext uri="{FF2B5EF4-FFF2-40B4-BE49-F238E27FC236}">
                <a16:creationId xmlns:a16="http://schemas.microsoft.com/office/drawing/2014/main" id="{0F9BA01A-4636-2441-F8D0-2E265BF7D8B4}"/>
              </a:ext>
            </a:extLst>
          </p:cNvPr>
          <p:cNvSpPr>
            <a:spLocks noGrp="1"/>
          </p:cNvSpPr>
          <p:nvPr>
            <p:ph type="sldNum" sz="quarter" idx="12"/>
          </p:nvPr>
        </p:nvSpPr>
        <p:spPr>
          <a:xfrm>
            <a:off x="515937" y="6353142"/>
            <a:ext cx="261630" cy="136526"/>
          </a:xfrm>
          <a:prstGeom prst="rect">
            <a:avLst/>
          </a:prstGeom>
        </p:spPr>
        <p:txBody>
          <a:bodyPr anchor="b"/>
          <a:lstStyle>
            <a:lvl1pPr>
              <a:defRPr sz="800">
                <a:solidFill>
                  <a:schemeClr val="bg1">
                    <a:lumMod val="85000"/>
                  </a:schemeClr>
                </a:solidFill>
              </a:defRPr>
            </a:lvl1pPr>
          </a:lstStyle>
          <a:p>
            <a:fld id="{AB746B08-255A-2748-8A21-40BE94A17FD1}" type="slidenum">
              <a:rPr lang="en-GB" smtClean="0"/>
              <a:pPr/>
              <a:t>‹#›</a:t>
            </a:fld>
            <a:endParaRPr lang="en-GB"/>
          </a:p>
        </p:txBody>
      </p:sp>
      <p:cxnSp>
        <p:nvCxnSpPr>
          <p:cNvPr id="12" name="Straight Connector 11">
            <a:extLst>
              <a:ext uri="{FF2B5EF4-FFF2-40B4-BE49-F238E27FC236}">
                <a16:creationId xmlns:a16="http://schemas.microsoft.com/office/drawing/2014/main" id="{AC751308-8682-E296-A343-1719555B3C95}"/>
              </a:ext>
            </a:extLst>
          </p:cNvPr>
          <p:cNvCxnSpPr>
            <a:cxnSpLocks/>
          </p:cNvCxnSpPr>
          <p:nvPr userDrawn="1"/>
        </p:nvCxnSpPr>
        <p:spPr>
          <a:xfrm>
            <a:off x="515937" y="6293461"/>
            <a:ext cx="1001979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3" name="Footer Placeholder 1">
            <a:extLst>
              <a:ext uri="{FF2B5EF4-FFF2-40B4-BE49-F238E27FC236}">
                <a16:creationId xmlns:a16="http://schemas.microsoft.com/office/drawing/2014/main" id="{A1AFB23D-B299-93C8-2304-575B5ED93621}"/>
              </a:ext>
            </a:extLst>
          </p:cNvPr>
          <p:cNvSpPr>
            <a:spLocks noGrp="1"/>
          </p:cNvSpPr>
          <p:nvPr>
            <p:ph type="ftr" sz="quarter" idx="11"/>
          </p:nvPr>
        </p:nvSpPr>
        <p:spPr>
          <a:xfrm>
            <a:off x="777567" y="6353142"/>
            <a:ext cx="4114800" cy="136526"/>
          </a:xfrm>
          <a:prstGeom prst="rect">
            <a:avLst/>
          </a:prstGeom>
        </p:spPr>
        <p:txBody>
          <a:bodyPr anchor="b"/>
          <a:lstStyle>
            <a:lvl1pPr>
              <a:defRPr sz="800">
                <a:solidFill>
                  <a:schemeClr val="bg1">
                    <a:lumMod val="85000"/>
                  </a:schemeClr>
                </a:solidFill>
              </a:defRPr>
            </a:lvl1pPr>
          </a:lstStyle>
          <a:p>
            <a:r>
              <a:rPr lang="en-US"/>
              <a:t>United Against Rabies Forum Meeting - 6-8 November 2023</a:t>
            </a:r>
            <a:endParaRPr lang="en-GB"/>
          </a:p>
        </p:txBody>
      </p:sp>
      <p:pic>
        <p:nvPicPr>
          <p:cNvPr id="15" name="Picture 11">
            <a:extLst>
              <a:ext uri="{FF2B5EF4-FFF2-40B4-BE49-F238E27FC236}">
                <a16:creationId xmlns:a16="http://schemas.microsoft.com/office/drawing/2014/main" id="{A4BBC3E9-F3A2-C188-5A3A-9D714331C860}"/>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633506" y="6109976"/>
            <a:ext cx="1036776" cy="381653"/>
          </a:xfrm>
          <a:prstGeom prst="rect">
            <a:avLst/>
          </a:prstGeom>
        </p:spPr>
      </p:pic>
      <p:sp>
        <p:nvSpPr>
          <p:cNvPr id="16" name="Text Placeholder 6">
            <a:extLst>
              <a:ext uri="{FF2B5EF4-FFF2-40B4-BE49-F238E27FC236}">
                <a16:creationId xmlns:a16="http://schemas.microsoft.com/office/drawing/2014/main" id="{64AB32E5-85C1-B8E6-505F-2580C9B2E9EE}"/>
              </a:ext>
            </a:extLst>
          </p:cNvPr>
          <p:cNvSpPr>
            <a:spLocks noGrp="1"/>
          </p:cNvSpPr>
          <p:nvPr>
            <p:ph type="body" sz="quarter" idx="16"/>
          </p:nvPr>
        </p:nvSpPr>
        <p:spPr>
          <a:xfrm>
            <a:off x="515936" y="4053840"/>
            <a:ext cx="6364924" cy="1668779"/>
          </a:xfrm>
        </p:spPr>
        <p:txBody>
          <a:bodyPr>
            <a:noAutofit/>
          </a:bodyPr>
          <a:lstStyle>
            <a:lvl1pPr>
              <a:defRPr sz="2400" b="1">
                <a:solidFill>
                  <a:schemeClr val="bg1"/>
                </a:solidFill>
              </a:defRPr>
            </a:lvl1pPr>
          </a:lstStyle>
          <a:p>
            <a:pPr lvl="0"/>
            <a:r>
              <a:rPr lang="en-GB"/>
              <a:t>Click to edit Master text styles</a:t>
            </a:r>
          </a:p>
        </p:txBody>
      </p:sp>
    </p:spTree>
    <p:extLst>
      <p:ext uri="{BB962C8B-B14F-4D97-AF65-F5344CB8AC3E}">
        <p14:creationId xmlns:p14="http://schemas.microsoft.com/office/powerpoint/2010/main" val="3964274966"/>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userDrawn="1">
  <p:cSld name="Title Slide + Image">
    <p:bg>
      <p:bgPr>
        <a:blipFill dpi="0" rotWithShape="1">
          <a:blip r:embed="rId2">
            <a:lum/>
            <a:extLst>
              <a:ext uri="{28A0092B-C50C-407E-A947-70E740481C1C}">
                <a14:useLocalDpi xmlns:a14="http://schemas.microsoft.com/office/drawing/2010/main"/>
              </a:ext>
            </a:extLst>
          </a:blip>
          <a:srcRect/>
          <a:stretch>
            <a:fillRect t="-3000" b="-3000"/>
          </a:stretch>
        </a:blipFill>
        <a:effectLst/>
      </p:bgPr>
    </p:bg>
    <p:spTree>
      <p:nvGrpSpPr>
        <p:cNvPr id="1" name=""/>
        <p:cNvGrpSpPr/>
        <p:nvPr/>
      </p:nvGrpSpPr>
      <p:grpSpPr>
        <a:xfrm>
          <a:off x="0" y="0"/>
          <a:ext cx="0" cy="0"/>
          <a:chOff x="0" y="0"/>
          <a:chExt cx="0" cy="0"/>
        </a:xfrm>
      </p:grpSpPr>
      <p:sp>
        <p:nvSpPr>
          <p:cNvPr id="7" name="Picture Placeholder 14">
            <a:extLst>
              <a:ext uri="{FF2B5EF4-FFF2-40B4-BE49-F238E27FC236}">
                <a16:creationId xmlns:a16="http://schemas.microsoft.com/office/drawing/2014/main" id="{86A756F5-203A-4C4F-9479-348B2905A666}"/>
              </a:ext>
            </a:extLst>
          </p:cNvPr>
          <p:cNvSpPr>
            <a:spLocks noGrp="1"/>
          </p:cNvSpPr>
          <p:nvPr>
            <p:ph type="pic" sz="quarter" idx="18" hasCustomPrompt="1"/>
          </p:nvPr>
        </p:nvSpPr>
        <p:spPr>
          <a:xfrm>
            <a:off x="5501514" y="0"/>
            <a:ext cx="6690486" cy="6858000"/>
          </a:xfrm>
          <a:custGeom>
            <a:avLst/>
            <a:gdLst>
              <a:gd name="connsiteX0" fmla="*/ 0 w 7942912"/>
              <a:gd name="connsiteY0" fmla="*/ 0 h 6858000"/>
              <a:gd name="connsiteX1" fmla="*/ 7942912 w 7942912"/>
              <a:gd name="connsiteY1" fmla="*/ 0 h 6858000"/>
              <a:gd name="connsiteX2" fmla="*/ 7942912 w 7942912"/>
              <a:gd name="connsiteY2" fmla="*/ 6858000 h 6858000"/>
              <a:gd name="connsiteX3" fmla="*/ 704040 w 7942912"/>
              <a:gd name="connsiteY3" fmla="*/ 6858000 h 6858000"/>
              <a:gd name="connsiteX4" fmla="*/ 704040 w 7942912"/>
              <a:gd name="connsiteY4" fmla="*/ 704067 h 6858000"/>
              <a:gd name="connsiteX5" fmla="*/ 141865 w 7942912"/>
              <a:gd name="connsiteY5" fmla="*/ 1430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42912" h="6858000">
                <a:moveTo>
                  <a:pt x="0" y="0"/>
                </a:moveTo>
                <a:lnTo>
                  <a:pt x="7942912" y="0"/>
                </a:lnTo>
                <a:lnTo>
                  <a:pt x="7942912" y="6858000"/>
                </a:lnTo>
                <a:lnTo>
                  <a:pt x="704040" y="6858000"/>
                </a:lnTo>
                <a:lnTo>
                  <a:pt x="704040" y="704067"/>
                </a:lnTo>
                <a:cubicBezTo>
                  <a:pt x="704040" y="363826"/>
                  <a:pt x="462698" y="79953"/>
                  <a:pt x="141865" y="14301"/>
                </a:cubicBezTo>
                <a:close/>
              </a:path>
            </a:pathLst>
          </a:custGeom>
          <a:solidFill>
            <a:schemeClr val="bg1">
              <a:lumMod val="85000"/>
            </a:schemeClr>
          </a:solidFill>
        </p:spPr>
        <p:txBody>
          <a:bodyPr wrap="square" anchor="ctr">
            <a:noAutofit/>
          </a:bodyPr>
          <a:lstStyle>
            <a:lvl1pPr marL="0" indent="0" algn="ctr">
              <a:buNone/>
              <a:defRPr sz="1600">
                <a:solidFill>
                  <a:schemeClr val="bg1">
                    <a:lumMod val="50000"/>
                  </a:schemeClr>
                </a:solidFill>
              </a:defRPr>
            </a:lvl1pPr>
          </a:lstStyle>
          <a:p>
            <a:r>
              <a:rPr lang="en-GB"/>
              <a:t>Click icon to insert picture</a:t>
            </a:r>
          </a:p>
        </p:txBody>
      </p:sp>
      <p:sp>
        <p:nvSpPr>
          <p:cNvPr id="3" name="Text Placeholder 2">
            <a:extLst>
              <a:ext uri="{FF2B5EF4-FFF2-40B4-BE49-F238E27FC236}">
                <a16:creationId xmlns:a16="http://schemas.microsoft.com/office/drawing/2014/main" id="{9D4F144B-74C7-A148-8E87-6034061E0CB6}"/>
              </a:ext>
            </a:extLst>
          </p:cNvPr>
          <p:cNvSpPr>
            <a:spLocks noGrp="1"/>
          </p:cNvSpPr>
          <p:nvPr>
            <p:ph type="body" sz="quarter" idx="10" hasCustomPrompt="1"/>
          </p:nvPr>
        </p:nvSpPr>
        <p:spPr>
          <a:xfrm>
            <a:off x="515939" y="1700213"/>
            <a:ext cx="4692628" cy="234609"/>
          </a:xfrm>
        </p:spPr>
        <p:txBody>
          <a:bodyPr>
            <a:normAutofit/>
          </a:bodyPr>
          <a:lstStyle>
            <a:lvl1pPr>
              <a:defRPr sz="1400" spc="300">
                <a:solidFill>
                  <a:schemeClr val="bg1"/>
                </a:solidFill>
              </a:defRPr>
            </a:lvl1pPr>
          </a:lstStyle>
          <a:p>
            <a:pPr lvl="0"/>
            <a:r>
              <a:rPr lang="en-GB"/>
              <a:t>SUBTITLE GOES HERE: TYPE IN CAPITALS</a:t>
            </a:r>
          </a:p>
        </p:txBody>
      </p:sp>
      <p:sp>
        <p:nvSpPr>
          <p:cNvPr id="9" name="Title 8">
            <a:extLst>
              <a:ext uri="{FF2B5EF4-FFF2-40B4-BE49-F238E27FC236}">
                <a16:creationId xmlns:a16="http://schemas.microsoft.com/office/drawing/2014/main" id="{89FFAF13-E12B-E54E-B2B2-5142A884DB82}"/>
              </a:ext>
            </a:extLst>
          </p:cNvPr>
          <p:cNvSpPr>
            <a:spLocks noGrp="1"/>
          </p:cNvSpPr>
          <p:nvPr>
            <p:ph type="title"/>
          </p:nvPr>
        </p:nvSpPr>
        <p:spPr>
          <a:xfrm>
            <a:off x="521719" y="2309427"/>
            <a:ext cx="4692628" cy="2518484"/>
          </a:xfrm>
        </p:spPr>
        <p:txBody>
          <a:bodyPr>
            <a:noAutofit/>
          </a:bodyPr>
          <a:lstStyle>
            <a:lvl1pPr>
              <a:lnSpc>
                <a:spcPct val="90000"/>
              </a:lnSpc>
              <a:defRPr sz="6000">
                <a:solidFill>
                  <a:schemeClr val="bg1"/>
                </a:solidFill>
              </a:defRPr>
            </a:lvl1pPr>
          </a:lstStyle>
          <a:p>
            <a:r>
              <a:rPr lang="en-US"/>
              <a:t>Click to edit Master title style</a:t>
            </a:r>
            <a:endParaRPr lang="en-GB"/>
          </a:p>
        </p:txBody>
      </p:sp>
      <p:sp>
        <p:nvSpPr>
          <p:cNvPr id="10" name="Text Placeholder 2">
            <a:extLst>
              <a:ext uri="{FF2B5EF4-FFF2-40B4-BE49-F238E27FC236}">
                <a16:creationId xmlns:a16="http://schemas.microsoft.com/office/drawing/2014/main" id="{9878A746-9E85-F24C-AD58-8F45F83396CC}"/>
              </a:ext>
            </a:extLst>
          </p:cNvPr>
          <p:cNvSpPr>
            <a:spLocks noGrp="1"/>
          </p:cNvSpPr>
          <p:nvPr>
            <p:ph type="body" sz="quarter" idx="11" hasCustomPrompt="1"/>
          </p:nvPr>
        </p:nvSpPr>
        <p:spPr>
          <a:xfrm>
            <a:off x="515939" y="5721999"/>
            <a:ext cx="4692628" cy="187359"/>
          </a:xfrm>
        </p:spPr>
        <p:txBody>
          <a:bodyPr anchor="b">
            <a:spAutoFit/>
          </a:bodyPr>
          <a:lstStyle>
            <a:lvl1pPr>
              <a:defRPr sz="1200" spc="0">
                <a:solidFill>
                  <a:schemeClr val="bg1"/>
                </a:solidFill>
              </a:defRPr>
            </a:lvl1pPr>
          </a:lstStyle>
          <a:p>
            <a:pPr lvl="0"/>
            <a:r>
              <a:rPr lang="en-GB"/>
              <a:t>Subtitle goes here</a:t>
            </a:r>
          </a:p>
        </p:txBody>
      </p:sp>
      <p:sp>
        <p:nvSpPr>
          <p:cNvPr id="11" name="Text Placeholder 2">
            <a:extLst>
              <a:ext uri="{FF2B5EF4-FFF2-40B4-BE49-F238E27FC236}">
                <a16:creationId xmlns:a16="http://schemas.microsoft.com/office/drawing/2014/main" id="{7AFD6BA4-8A31-2C45-81C0-67141C06959C}"/>
              </a:ext>
            </a:extLst>
          </p:cNvPr>
          <p:cNvSpPr txBox="1">
            <a:spLocks/>
          </p:cNvSpPr>
          <p:nvPr userDrawn="1"/>
        </p:nvSpPr>
        <p:spPr>
          <a:xfrm>
            <a:off x="515938" y="6173816"/>
            <a:ext cx="1303626" cy="315884"/>
          </a:xfrm>
          <a:prstGeom prst="rect">
            <a:avLst/>
          </a:prstGeom>
        </p:spPr>
        <p:txBody>
          <a:bodyPr lIns="0" tIns="0" rIns="0" bIns="0" anchor="b"/>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GB" sz="1800" b="1">
                <a:solidFill>
                  <a:schemeClr val="bg2"/>
                </a:solidFill>
              </a:rPr>
              <a:t>gavi.org</a:t>
            </a:r>
          </a:p>
        </p:txBody>
      </p:sp>
      <p:sp>
        <p:nvSpPr>
          <p:cNvPr id="14" name="Text Placeholder 13">
            <a:extLst>
              <a:ext uri="{FF2B5EF4-FFF2-40B4-BE49-F238E27FC236}">
                <a16:creationId xmlns:a16="http://schemas.microsoft.com/office/drawing/2014/main" id="{C10119D7-2EC9-4840-AC33-164E7101833C}"/>
              </a:ext>
            </a:extLst>
          </p:cNvPr>
          <p:cNvSpPr>
            <a:spLocks noGrp="1"/>
          </p:cNvSpPr>
          <p:nvPr>
            <p:ph type="body" sz="quarter" idx="19" hasCustomPrompt="1"/>
          </p:nvPr>
        </p:nvSpPr>
        <p:spPr>
          <a:xfrm>
            <a:off x="10351263" y="443457"/>
            <a:ext cx="1324800" cy="486000"/>
          </a:xfrm>
          <a:blipFill>
            <a:blip r:embed="rId3">
              <a:extLst>
                <a:ext uri="{96DAC541-7B7A-43D3-8B79-37D633B846F1}">
                  <asvg:svgBlip xmlns:asvg="http://schemas.microsoft.com/office/drawing/2016/SVG/main" r:embed="rId4"/>
                </a:ext>
              </a:extLst>
            </a:blip>
            <a:stretch>
              <a:fillRect/>
            </a:stretch>
          </a:blipFill>
        </p:spPr>
        <p:txBody>
          <a:bodyPr/>
          <a:lstStyle/>
          <a:p>
            <a:pPr lvl="0"/>
            <a:r>
              <a:rPr lang="en-GB"/>
              <a:t> </a:t>
            </a:r>
          </a:p>
        </p:txBody>
      </p:sp>
    </p:spTree>
    <p:extLst>
      <p:ext uri="{BB962C8B-B14F-4D97-AF65-F5344CB8AC3E}">
        <p14:creationId xmlns:p14="http://schemas.microsoft.com/office/powerpoint/2010/main" val="999424668"/>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2" spcCol="54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United Against Rabies Forum Meeting - 6-8 November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3677580082"/>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ext + Quot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63869"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8" name="Slide Number Placeholder 2">
            <a:extLst>
              <a:ext uri="{FF2B5EF4-FFF2-40B4-BE49-F238E27FC236}">
                <a16:creationId xmlns:a16="http://schemas.microsoft.com/office/drawing/2014/main" id="{8D67BD3D-5E5B-2957-7B72-B286DEA69454}"/>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9" name="Straight Connector 18">
            <a:extLst>
              <a:ext uri="{FF2B5EF4-FFF2-40B4-BE49-F238E27FC236}">
                <a16:creationId xmlns:a16="http://schemas.microsoft.com/office/drawing/2014/main" id="{11DD0B93-9CA3-DE96-64E9-7FECBAD37972}"/>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0" name="Footer Placeholder 1">
            <a:extLst>
              <a:ext uri="{FF2B5EF4-FFF2-40B4-BE49-F238E27FC236}">
                <a16:creationId xmlns:a16="http://schemas.microsoft.com/office/drawing/2014/main" id="{F3526303-0969-95FB-D8FA-0C9E3916524B}"/>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United Against Rabies Forum Meeting - 6-8 November 2023</a:t>
            </a:r>
            <a:endParaRPr lang="en-GB"/>
          </a:p>
        </p:txBody>
      </p:sp>
      <p:pic>
        <p:nvPicPr>
          <p:cNvPr id="21" name="Picture 11">
            <a:extLst>
              <a:ext uri="{FF2B5EF4-FFF2-40B4-BE49-F238E27FC236}">
                <a16:creationId xmlns:a16="http://schemas.microsoft.com/office/drawing/2014/main" id="{24A4E3D3-8EF4-A80C-4780-9639C12D4E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2" name="Text Placeholder 8">
            <a:extLst>
              <a:ext uri="{FF2B5EF4-FFF2-40B4-BE49-F238E27FC236}">
                <a16:creationId xmlns:a16="http://schemas.microsoft.com/office/drawing/2014/main" id="{6DFBA0EA-6763-E017-8DB4-792094E59657}"/>
              </a:ext>
            </a:extLst>
          </p:cNvPr>
          <p:cNvSpPr>
            <a:spLocks noGrp="1"/>
          </p:cNvSpPr>
          <p:nvPr>
            <p:ph type="body" idx="21"/>
          </p:nvPr>
        </p:nvSpPr>
        <p:spPr>
          <a:xfrm>
            <a:off x="6652260" y="1304924"/>
            <a:ext cx="5033328" cy="4608501"/>
          </a:xfrm>
        </p:spPr>
        <p:txBody>
          <a:bodyPr numCol="1" spcCol="180000">
            <a:noAutofit/>
          </a:bodyPr>
          <a:lstStyle>
            <a:lvl1pPr marL="0" indent="0">
              <a:spcAft>
                <a:spcPts val="1200"/>
              </a:spcAft>
              <a:buClr>
                <a:schemeClr val="bg2"/>
              </a:buClr>
              <a:buFont typeface="Arial" panose="020B0604020202020204" pitchFamily="34" charset="0"/>
              <a:buNone/>
              <a:defRPr sz="2400" b="1">
                <a:solidFill>
                  <a:schemeClr val="accent4"/>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Tree>
    <p:extLst>
      <p:ext uri="{BB962C8B-B14F-4D97-AF65-F5344CB8AC3E}">
        <p14:creationId xmlns:p14="http://schemas.microsoft.com/office/powerpoint/2010/main" val="4175922928"/>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Text + Image 1">
    <p:spTree>
      <p:nvGrpSpPr>
        <p:cNvPr id="1" name=""/>
        <p:cNvGrpSpPr/>
        <p:nvPr/>
      </p:nvGrpSpPr>
      <p:grpSpPr>
        <a:xfrm>
          <a:off x="0" y="0"/>
          <a:ext cx="0" cy="0"/>
          <a:chOff x="0" y="0"/>
          <a:chExt cx="0" cy="0"/>
        </a:xfrm>
      </p:grpSpPr>
      <p:sp>
        <p:nvSpPr>
          <p:cNvPr id="12" name="Picture Placeholder 27">
            <a:extLst>
              <a:ext uri="{FF2B5EF4-FFF2-40B4-BE49-F238E27FC236}">
                <a16:creationId xmlns:a16="http://schemas.microsoft.com/office/drawing/2014/main" id="{1426049D-A517-EA42-AFCA-8DDB22C6BA37}"/>
              </a:ext>
            </a:extLst>
          </p:cNvPr>
          <p:cNvSpPr>
            <a:spLocks noGrp="1"/>
          </p:cNvSpPr>
          <p:nvPr>
            <p:ph type="pic" sz="quarter" idx="15" hasCustomPrompt="1"/>
          </p:nvPr>
        </p:nvSpPr>
        <p:spPr>
          <a:xfrm>
            <a:off x="6495588" y="-10508"/>
            <a:ext cx="5711376" cy="6879020"/>
          </a:xfrm>
          <a:custGeom>
            <a:avLst/>
            <a:gdLst>
              <a:gd name="connsiteX0" fmla="*/ 0 w 7962406"/>
              <a:gd name="connsiteY0" fmla="*/ 0 h 6857999"/>
              <a:gd name="connsiteX1" fmla="*/ 7962406 w 7962406"/>
              <a:gd name="connsiteY1" fmla="*/ 0 h 6857999"/>
              <a:gd name="connsiteX2" fmla="*/ 7962406 w 7962406"/>
              <a:gd name="connsiteY2" fmla="*/ 6857999 h 6857999"/>
              <a:gd name="connsiteX3" fmla="*/ 1019785 w 7962406"/>
              <a:gd name="connsiteY3" fmla="*/ 6857999 h 6857999"/>
              <a:gd name="connsiteX4" fmla="*/ 0 w 7962406"/>
              <a:gd name="connsiteY4" fmla="*/ 5838214 h 6857999"/>
              <a:gd name="connsiteX0" fmla="*/ 0 w 7962406"/>
              <a:gd name="connsiteY0" fmla="*/ 0 h 6857999"/>
              <a:gd name="connsiteX1" fmla="*/ 6039013 w 7962406"/>
              <a:gd name="connsiteY1" fmla="*/ 84083 h 6857999"/>
              <a:gd name="connsiteX2" fmla="*/ 7962406 w 7962406"/>
              <a:gd name="connsiteY2" fmla="*/ 6857999 h 6857999"/>
              <a:gd name="connsiteX3" fmla="*/ 1019785 w 7962406"/>
              <a:gd name="connsiteY3" fmla="*/ 6857999 h 6857999"/>
              <a:gd name="connsiteX4" fmla="*/ 0 w 7962406"/>
              <a:gd name="connsiteY4" fmla="*/ 5838214 h 6857999"/>
              <a:gd name="connsiteX5" fmla="*/ 0 w 7962406"/>
              <a:gd name="connsiteY5" fmla="*/ 0 h 6857999"/>
              <a:gd name="connsiteX0" fmla="*/ 0 w 7962406"/>
              <a:gd name="connsiteY0" fmla="*/ 10510 h 6868509"/>
              <a:gd name="connsiteX1" fmla="*/ 6144117 w 7962406"/>
              <a:gd name="connsiteY1" fmla="*/ 0 h 6868509"/>
              <a:gd name="connsiteX2" fmla="*/ 7962406 w 7962406"/>
              <a:gd name="connsiteY2" fmla="*/ 6868509 h 6868509"/>
              <a:gd name="connsiteX3" fmla="*/ 1019785 w 7962406"/>
              <a:gd name="connsiteY3" fmla="*/ 6868509 h 6868509"/>
              <a:gd name="connsiteX4" fmla="*/ 0 w 7962406"/>
              <a:gd name="connsiteY4" fmla="*/ 5848724 h 6868509"/>
              <a:gd name="connsiteX5" fmla="*/ 0 w 7962406"/>
              <a:gd name="connsiteY5" fmla="*/ 10510 h 6868509"/>
              <a:gd name="connsiteX0" fmla="*/ 0 w 6144117"/>
              <a:gd name="connsiteY0" fmla="*/ 10510 h 6868509"/>
              <a:gd name="connsiteX1" fmla="*/ 6144117 w 6144117"/>
              <a:gd name="connsiteY1" fmla="*/ 0 h 6868509"/>
              <a:gd name="connsiteX2" fmla="*/ 5660640 w 6144117"/>
              <a:gd name="connsiteY2" fmla="*/ 6563709 h 6868509"/>
              <a:gd name="connsiteX3" fmla="*/ 1019785 w 6144117"/>
              <a:gd name="connsiteY3" fmla="*/ 6868509 h 6868509"/>
              <a:gd name="connsiteX4" fmla="*/ 0 w 6144117"/>
              <a:gd name="connsiteY4" fmla="*/ 5848724 h 6868509"/>
              <a:gd name="connsiteX5" fmla="*/ 0 w 6144117"/>
              <a:gd name="connsiteY5" fmla="*/ 10510 h 6868509"/>
              <a:gd name="connsiteX0" fmla="*/ 0 w 6154626"/>
              <a:gd name="connsiteY0" fmla="*/ 10510 h 6879020"/>
              <a:gd name="connsiteX1" fmla="*/ 6144117 w 6154626"/>
              <a:gd name="connsiteY1" fmla="*/ 0 h 6879020"/>
              <a:gd name="connsiteX2" fmla="*/ 6154626 w 6154626"/>
              <a:gd name="connsiteY2" fmla="*/ 6879020 h 6879020"/>
              <a:gd name="connsiteX3" fmla="*/ 1019785 w 6154626"/>
              <a:gd name="connsiteY3" fmla="*/ 6868509 h 6879020"/>
              <a:gd name="connsiteX4" fmla="*/ 0 w 6154626"/>
              <a:gd name="connsiteY4" fmla="*/ 5848724 h 6879020"/>
              <a:gd name="connsiteX5" fmla="*/ 0 w 6154626"/>
              <a:gd name="connsiteY5" fmla="*/ 10510 h 6879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54626" h="6879020">
                <a:moveTo>
                  <a:pt x="0" y="10510"/>
                </a:moveTo>
                <a:lnTo>
                  <a:pt x="6144117" y="0"/>
                </a:lnTo>
                <a:lnTo>
                  <a:pt x="6154626" y="6879020"/>
                </a:lnTo>
                <a:lnTo>
                  <a:pt x="1019785" y="6868509"/>
                </a:lnTo>
                <a:cubicBezTo>
                  <a:pt x="456573" y="6868509"/>
                  <a:pt x="0" y="6411936"/>
                  <a:pt x="0" y="5848724"/>
                </a:cubicBezTo>
                <a:lnTo>
                  <a:pt x="0" y="10510"/>
                </a:lnTo>
                <a:close/>
              </a:path>
            </a:pathLst>
          </a:custGeom>
          <a:solidFill>
            <a:schemeClr val="bg1">
              <a:lumMod val="85000"/>
            </a:schemeClr>
          </a:solidFill>
        </p:spPr>
        <p:txBody>
          <a:bodyPr wrap="square" anchor="ctr">
            <a:noAutofit/>
          </a:bodyPr>
          <a:lstStyle>
            <a:lvl1pPr marL="0" indent="0" algn="ctr">
              <a:buNone/>
              <a:defRPr>
                <a:solidFill>
                  <a:schemeClr val="bg1">
                    <a:lumMod val="50000"/>
                  </a:schemeClr>
                </a:solidFill>
              </a:defRPr>
            </a:lvl1pPr>
          </a:lstStyle>
          <a:p>
            <a:r>
              <a:rPr lang="en-GB"/>
              <a:t>Click icon to insert picture</a:t>
            </a:r>
          </a:p>
        </p:txBody>
      </p:sp>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5580063"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United Against Rabies Forum Meeting - 6-8 November 2023</a:t>
            </a:r>
            <a:endParaRPr lang="en-GB"/>
          </a:p>
        </p:txBody>
      </p:sp>
      <p:sp>
        <p:nvSpPr>
          <p:cNvPr id="5" name="Text Placeholder 4">
            <a:extLst>
              <a:ext uri="{FF2B5EF4-FFF2-40B4-BE49-F238E27FC236}">
                <a16:creationId xmlns:a16="http://schemas.microsoft.com/office/drawing/2014/main" id="{0CE04A98-CDC1-2043-A233-CAA53ED2E1A4}"/>
              </a:ext>
            </a:extLst>
          </p:cNvPr>
          <p:cNvSpPr>
            <a:spLocks noGrp="1"/>
          </p:cNvSpPr>
          <p:nvPr>
            <p:ph type="body" sz="quarter" idx="16" hasCustomPrompt="1"/>
          </p:nvPr>
        </p:nvSpPr>
        <p:spPr>
          <a:xfrm>
            <a:off x="10643129"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Tree>
    <p:extLst>
      <p:ext uri="{BB962C8B-B14F-4D97-AF65-F5344CB8AC3E}">
        <p14:creationId xmlns:p14="http://schemas.microsoft.com/office/powerpoint/2010/main" val="1985362908"/>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Graph">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lvl1pPr>
              <a:defRPr>
                <a:solidFill>
                  <a:schemeClr val="tx2"/>
                </a:solidFill>
              </a:defRPr>
            </a:lvl1p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United Against Rabies Forum Meeting - 6-8 November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6" name="Chart Placeholder 5">
            <a:extLst>
              <a:ext uri="{FF2B5EF4-FFF2-40B4-BE49-F238E27FC236}">
                <a16:creationId xmlns:a16="http://schemas.microsoft.com/office/drawing/2014/main" id="{D54A1155-34EB-A04A-AA96-8DCEA2A0B8AF}"/>
              </a:ext>
            </a:extLst>
          </p:cNvPr>
          <p:cNvSpPr>
            <a:spLocks noGrp="1"/>
          </p:cNvSpPr>
          <p:nvPr>
            <p:ph type="chart" sz="quarter" idx="13" hasCustomPrompt="1"/>
          </p:nvPr>
        </p:nvSpPr>
        <p:spPr>
          <a:xfrm>
            <a:off x="515938" y="1304925"/>
            <a:ext cx="11160125" cy="4608513"/>
          </a:xfrm>
        </p:spPr>
        <p:txBody>
          <a:bodyPr anchor="ctr">
            <a:normAutofit/>
          </a:bodyPr>
          <a:lstStyle>
            <a:lvl1pPr algn="ctr">
              <a:defRPr sz="1600">
                <a:solidFill>
                  <a:schemeClr val="bg1">
                    <a:lumMod val="50000"/>
                  </a:schemeClr>
                </a:solidFill>
              </a:defRPr>
            </a:lvl1pPr>
          </a:lstStyle>
          <a:p>
            <a:r>
              <a:rPr lang="en-GB"/>
              <a:t>Click icon to add graph</a:t>
            </a:r>
          </a:p>
        </p:txBody>
      </p:sp>
    </p:spTree>
    <p:extLst>
      <p:ext uri="{BB962C8B-B14F-4D97-AF65-F5344CB8AC3E}">
        <p14:creationId xmlns:p14="http://schemas.microsoft.com/office/powerpoint/2010/main" val="3538027651"/>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United Against Rabies Forum Meeting - 6-8 November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3077850374"/>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Icons x5">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United Against Rabies Forum Meeting - 6-8 November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Picture Placeholder 3">
            <a:extLst>
              <a:ext uri="{FF2B5EF4-FFF2-40B4-BE49-F238E27FC236}">
                <a16:creationId xmlns:a16="http://schemas.microsoft.com/office/drawing/2014/main" id="{78B95D78-F57A-6D40-A841-7D1E3B08277B}"/>
              </a:ext>
            </a:extLst>
          </p:cNvPr>
          <p:cNvSpPr>
            <a:spLocks noGrp="1"/>
          </p:cNvSpPr>
          <p:nvPr>
            <p:ph type="pic" sz="quarter" idx="13"/>
          </p:nvPr>
        </p:nvSpPr>
        <p:spPr>
          <a:xfrm>
            <a:off x="515938"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9"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47" name="Picture Placeholder 3">
            <a:extLst>
              <a:ext uri="{FF2B5EF4-FFF2-40B4-BE49-F238E27FC236}">
                <a16:creationId xmlns:a16="http://schemas.microsoft.com/office/drawing/2014/main" id="{F48D299A-6257-AC74-0FD7-6D22E29A5C4F}"/>
              </a:ext>
            </a:extLst>
          </p:cNvPr>
          <p:cNvSpPr>
            <a:spLocks noGrp="1"/>
          </p:cNvSpPr>
          <p:nvPr>
            <p:ph type="pic" sz="quarter" idx="17"/>
          </p:nvPr>
        </p:nvSpPr>
        <p:spPr>
          <a:xfrm>
            <a:off x="2802689"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48" name="Text Placeholder 6">
            <a:extLst>
              <a:ext uri="{FF2B5EF4-FFF2-40B4-BE49-F238E27FC236}">
                <a16:creationId xmlns:a16="http://schemas.microsoft.com/office/drawing/2014/main" id="{9E3D1709-B9E8-6689-9456-9D1A08D7BAA7}"/>
              </a:ext>
            </a:extLst>
          </p:cNvPr>
          <p:cNvSpPr>
            <a:spLocks noGrp="1"/>
          </p:cNvSpPr>
          <p:nvPr>
            <p:ph type="body" sz="quarter" idx="18"/>
          </p:nvPr>
        </p:nvSpPr>
        <p:spPr>
          <a:xfrm>
            <a:off x="2802689"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49" name="Text Placeholder 6">
            <a:extLst>
              <a:ext uri="{FF2B5EF4-FFF2-40B4-BE49-F238E27FC236}">
                <a16:creationId xmlns:a16="http://schemas.microsoft.com/office/drawing/2014/main" id="{C714C56E-261C-2C43-2BCC-4B86E64EE017}"/>
              </a:ext>
            </a:extLst>
          </p:cNvPr>
          <p:cNvSpPr>
            <a:spLocks noGrp="1"/>
          </p:cNvSpPr>
          <p:nvPr>
            <p:ph type="body" sz="quarter" idx="19"/>
          </p:nvPr>
        </p:nvSpPr>
        <p:spPr>
          <a:xfrm>
            <a:off x="2802689"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0" name="Picture Placeholder 3">
            <a:extLst>
              <a:ext uri="{FF2B5EF4-FFF2-40B4-BE49-F238E27FC236}">
                <a16:creationId xmlns:a16="http://schemas.microsoft.com/office/drawing/2014/main" id="{7BD682FD-9976-0C80-A887-A4D6D2E292BF}"/>
              </a:ext>
            </a:extLst>
          </p:cNvPr>
          <p:cNvSpPr>
            <a:spLocks noGrp="1"/>
          </p:cNvSpPr>
          <p:nvPr>
            <p:ph type="pic" sz="quarter" idx="20"/>
          </p:nvPr>
        </p:nvSpPr>
        <p:spPr>
          <a:xfrm>
            <a:off x="5089439"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1" name="Text Placeholder 6">
            <a:extLst>
              <a:ext uri="{FF2B5EF4-FFF2-40B4-BE49-F238E27FC236}">
                <a16:creationId xmlns:a16="http://schemas.microsoft.com/office/drawing/2014/main" id="{A9A5BE6C-6EDB-FAB6-4644-C243D0C50113}"/>
              </a:ext>
            </a:extLst>
          </p:cNvPr>
          <p:cNvSpPr>
            <a:spLocks noGrp="1"/>
          </p:cNvSpPr>
          <p:nvPr>
            <p:ph type="body" sz="quarter" idx="21"/>
          </p:nvPr>
        </p:nvSpPr>
        <p:spPr>
          <a:xfrm>
            <a:off x="5089439"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2" name="Text Placeholder 6">
            <a:extLst>
              <a:ext uri="{FF2B5EF4-FFF2-40B4-BE49-F238E27FC236}">
                <a16:creationId xmlns:a16="http://schemas.microsoft.com/office/drawing/2014/main" id="{CB0F2787-5A74-A6DE-F13C-3D79E01FA602}"/>
              </a:ext>
            </a:extLst>
          </p:cNvPr>
          <p:cNvSpPr>
            <a:spLocks noGrp="1"/>
          </p:cNvSpPr>
          <p:nvPr>
            <p:ph type="body" sz="quarter" idx="22"/>
          </p:nvPr>
        </p:nvSpPr>
        <p:spPr>
          <a:xfrm>
            <a:off x="5089439"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3" name="Picture Placeholder 3">
            <a:extLst>
              <a:ext uri="{FF2B5EF4-FFF2-40B4-BE49-F238E27FC236}">
                <a16:creationId xmlns:a16="http://schemas.microsoft.com/office/drawing/2014/main" id="{201E793D-C775-4026-041E-34664EC7CB24}"/>
              </a:ext>
            </a:extLst>
          </p:cNvPr>
          <p:cNvSpPr>
            <a:spLocks noGrp="1"/>
          </p:cNvSpPr>
          <p:nvPr>
            <p:ph type="pic" sz="quarter" idx="23"/>
          </p:nvPr>
        </p:nvSpPr>
        <p:spPr>
          <a:xfrm>
            <a:off x="7376189"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4" name="Text Placeholder 6">
            <a:extLst>
              <a:ext uri="{FF2B5EF4-FFF2-40B4-BE49-F238E27FC236}">
                <a16:creationId xmlns:a16="http://schemas.microsoft.com/office/drawing/2014/main" id="{804BD5F4-CAC4-3B9A-26F3-C0C1833171E1}"/>
              </a:ext>
            </a:extLst>
          </p:cNvPr>
          <p:cNvSpPr>
            <a:spLocks noGrp="1"/>
          </p:cNvSpPr>
          <p:nvPr>
            <p:ph type="body" sz="quarter" idx="24"/>
          </p:nvPr>
        </p:nvSpPr>
        <p:spPr>
          <a:xfrm>
            <a:off x="7376189"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5" name="Text Placeholder 6">
            <a:extLst>
              <a:ext uri="{FF2B5EF4-FFF2-40B4-BE49-F238E27FC236}">
                <a16:creationId xmlns:a16="http://schemas.microsoft.com/office/drawing/2014/main" id="{B233CA27-29C3-9FC3-D859-9E09C4A5F850}"/>
              </a:ext>
            </a:extLst>
          </p:cNvPr>
          <p:cNvSpPr>
            <a:spLocks noGrp="1"/>
          </p:cNvSpPr>
          <p:nvPr>
            <p:ph type="body" sz="quarter" idx="25"/>
          </p:nvPr>
        </p:nvSpPr>
        <p:spPr>
          <a:xfrm>
            <a:off x="7376189"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6" name="Picture Placeholder 3">
            <a:extLst>
              <a:ext uri="{FF2B5EF4-FFF2-40B4-BE49-F238E27FC236}">
                <a16:creationId xmlns:a16="http://schemas.microsoft.com/office/drawing/2014/main" id="{8B57295D-E6CF-D31C-B144-FCA5CB14DF6B}"/>
              </a:ext>
            </a:extLst>
          </p:cNvPr>
          <p:cNvSpPr>
            <a:spLocks noGrp="1"/>
          </p:cNvSpPr>
          <p:nvPr>
            <p:ph type="pic" sz="quarter" idx="26"/>
          </p:nvPr>
        </p:nvSpPr>
        <p:spPr>
          <a:xfrm>
            <a:off x="9662939"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7" name="Text Placeholder 6">
            <a:extLst>
              <a:ext uri="{FF2B5EF4-FFF2-40B4-BE49-F238E27FC236}">
                <a16:creationId xmlns:a16="http://schemas.microsoft.com/office/drawing/2014/main" id="{AD0246CA-EA99-001F-02B9-8BA52DCE7337}"/>
              </a:ext>
            </a:extLst>
          </p:cNvPr>
          <p:cNvSpPr>
            <a:spLocks noGrp="1"/>
          </p:cNvSpPr>
          <p:nvPr>
            <p:ph type="body" sz="quarter" idx="27"/>
          </p:nvPr>
        </p:nvSpPr>
        <p:spPr>
          <a:xfrm>
            <a:off x="9662940"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8" name="Text Placeholder 6">
            <a:extLst>
              <a:ext uri="{FF2B5EF4-FFF2-40B4-BE49-F238E27FC236}">
                <a16:creationId xmlns:a16="http://schemas.microsoft.com/office/drawing/2014/main" id="{3D355FF6-773D-9D18-B07A-AFAED992F8C9}"/>
              </a:ext>
            </a:extLst>
          </p:cNvPr>
          <p:cNvSpPr>
            <a:spLocks noGrp="1"/>
          </p:cNvSpPr>
          <p:nvPr>
            <p:ph type="body" sz="quarter" idx="28"/>
          </p:nvPr>
        </p:nvSpPr>
        <p:spPr>
          <a:xfrm>
            <a:off x="9662940"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4227695748"/>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Thank You">
    <p:bg>
      <p:bgPr>
        <a:blipFill dpi="0" rotWithShape="1">
          <a:blip r:embed="rId2">
            <a:lum/>
            <a:extLst>
              <a:ext uri="{28A0092B-C50C-407E-A947-70E740481C1C}">
                <a14:useLocalDpi xmlns:a14="http://schemas.microsoft.com/office/drawing/2010/main"/>
              </a:ext>
            </a:extLst>
          </a:blip>
          <a:srcRect/>
          <a:stretch>
            <a:fillRect t="-3000" b="-3000"/>
          </a:stretch>
        </a:blipFill>
        <a:effectLst/>
      </p:bgPr>
    </p:bg>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52467373-D57C-F842-8976-B87DEFBE83BE}"/>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361533" y="441777"/>
            <a:ext cx="1304260" cy="487680"/>
          </a:xfrm>
          <a:prstGeom prst="rect">
            <a:avLst/>
          </a:prstGeom>
        </p:spPr>
      </p:pic>
      <p:sp>
        <p:nvSpPr>
          <p:cNvPr id="9" name="Title 8">
            <a:extLst>
              <a:ext uri="{FF2B5EF4-FFF2-40B4-BE49-F238E27FC236}">
                <a16:creationId xmlns:a16="http://schemas.microsoft.com/office/drawing/2014/main" id="{89FFAF13-E12B-E54E-B2B2-5142A884DB82}"/>
              </a:ext>
            </a:extLst>
          </p:cNvPr>
          <p:cNvSpPr>
            <a:spLocks noGrp="1"/>
          </p:cNvSpPr>
          <p:nvPr>
            <p:ph type="title" hasCustomPrompt="1"/>
          </p:nvPr>
        </p:nvSpPr>
        <p:spPr>
          <a:xfrm>
            <a:off x="521719" y="2936557"/>
            <a:ext cx="11154344" cy="984885"/>
          </a:xfrm>
        </p:spPr>
        <p:txBody>
          <a:bodyPr anchor="ctr">
            <a:spAutoFit/>
          </a:bodyPr>
          <a:lstStyle>
            <a:lvl1pPr>
              <a:lnSpc>
                <a:spcPct val="80000"/>
              </a:lnSpc>
              <a:defRPr sz="8000">
                <a:solidFill>
                  <a:schemeClr val="bg1"/>
                </a:solidFill>
              </a:defRPr>
            </a:lvl1pPr>
          </a:lstStyle>
          <a:p>
            <a:r>
              <a:rPr lang="en-GB"/>
              <a:t>Thank you</a:t>
            </a:r>
          </a:p>
        </p:txBody>
      </p:sp>
    </p:spTree>
    <p:extLst>
      <p:ext uri="{BB962C8B-B14F-4D97-AF65-F5344CB8AC3E}">
        <p14:creationId xmlns:p14="http://schemas.microsoft.com/office/powerpoint/2010/main" val="362467594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A8575C-F152-4D43-9E66-D87156CE5039}"/>
              </a:ext>
            </a:extLst>
          </p:cNvPr>
          <p:cNvSpPr>
            <a:spLocks noGrp="1"/>
          </p:cNvSpPr>
          <p:nvPr>
            <p:ph type="title"/>
          </p:nvPr>
        </p:nvSpPr>
        <p:spPr/>
        <p:txBody>
          <a:bodyPr/>
          <a:lstStyle/>
          <a:p>
            <a:r>
              <a:rPr lang="en-US"/>
              <a:t>Click to edit Master title style</a:t>
            </a:r>
            <a:endParaRPr lang="en-AU"/>
          </a:p>
        </p:txBody>
      </p:sp>
      <p:sp>
        <p:nvSpPr>
          <p:cNvPr id="3" name="Date Placeholder 2">
            <a:extLst>
              <a:ext uri="{FF2B5EF4-FFF2-40B4-BE49-F238E27FC236}">
                <a16:creationId xmlns:a16="http://schemas.microsoft.com/office/drawing/2014/main" id="{B83C9D01-EFBC-41A6-823B-0759ADFC3846}"/>
              </a:ext>
            </a:extLst>
          </p:cNvPr>
          <p:cNvSpPr>
            <a:spLocks noGrp="1"/>
          </p:cNvSpPr>
          <p:nvPr>
            <p:ph type="dt" sz="half" idx="10"/>
          </p:nvPr>
        </p:nvSpPr>
        <p:spPr/>
        <p:txBody>
          <a:bodyPr/>
          <a:lstStyle/>
          <a:p>
            <a:fld id="{64DE659C-9D51-47EC-AB95-660E23C4B5EE}" type="datetime1">
              <a:rPr lang="en-AU" smtClean="0"/>
              <a:t>9/12/2024</a:t>
            </a:fld>
            <a:endParaRPr lang="en-AU"/>
          </a:p>
        </p:txBody>
      </p:sp>
      <p:sp>
        <p:nvSpPr>
          <p:cNvPr id="4" name="Footer Placeholder 3">
            <a:extLst>
              <a:ext uri="{FF2B5EF4-FFF2-40B4-BE49-F238E27FC236}">
                <a16:creationId xmlns:a16="http://schemas.microsoft.com/office/drawing/2014/main" id="{FD8DEC69-D196-4209-99A1-068E1CBB529E}"/>
              </a:ext>
            </a:extLst>
          </p:cNvPr>
          <p:cNvSpPr>
            <a:spLocks noGrp="1"/>
          </p:cNvSpPr>
          <p:nvPr>
            <p:ph type="ftr" sz="quarter" idx="11"/>
          </p:nvPr>
        </p:nvSpPr>
        <p:spPr/>
        <p:txBody>
          <a:bodyPr/>
          <a:lstStyle/>
          <a:p>
            <a:endParaRPr lang="en-AU"/>
          </a:p>
        </p:txBody>
      </p:sp>
      <p:sp>
        <p:nvSpPr>
          <p:cNvPr id="5" name="Slide Number Placeholder 4">
            <a:extLst>
              <a:ext uri="{FF2B5EF4-FFF2-40B4-BE49-F238E27FC236}">
                <a16:creationId xmlns:a16="http://schemas.microsoft.com/office/drawing/2014/main" id="{21E4E624-EEC3-413C-9782-8AD9D0D04543}"/>
              </a:ext>
            </a:extLst>
          </p:cNvPr>
          <p:cNvSpPr>
            <a:spLocks noGrp="1"/>
          </p:cNvSpPr>
          <p:nvPr>
            <p:ph type="sldNum" sz="quarter" idx="12"/>
          </p:nvPr>
        </p:nvSpPr>
        <p:spPr/>
        <p:txBody>
          <a:bodyPr/>
          <a:lstStyle/>
          <a:p>
            <a:fld id="{33ECF85F-2FE6-4C40-9C0D-695BD934DCA6}" type="slidenum">
              <a:rPr lang="en-AU" smtClean="0"/>
              <a:t>‹#›</a:t>
            </a:fld>
            <a:endParaRPr lang="en-AU"/>
          </a:p>
        </p:txBody>
      </p:sp>
    </p:spTree>
    <p:extLst>
      <p:ext uri="{BB962C8B-B14F-4D97-AF65-F5344CB8AC3E}">
        <p14:creationId xmlns:p14="http://schemas.microsoft.com/office/powerpoint/2010/main" val="2825663048"/>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Section Divider + Image">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85DA45A5-9E96-A540-A7CB-C6C50E73A72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5558"/>
            <a:ext cx="1304260" cy="480118"/>
          </a:xfrm>
          <a:prstGeom prst="rect">
            <a:avLst/>
          </a:prstGeom>
        </p:spPr>
      </p:pic>
      <p:sp>
        <p:nvSpPr>
          <p:cNvPr id="9" name="Picture Placeholder 4">
            <a:extLst>
              <a:ext uri="{FF2B5EF4-FFF2-40B4-BE49-F238E27FC236}">
                <a16:creationId xmlns:a16="http://schemas.microsoft.com/office/drawing/2014/main" id="{45CF2AFF-6382-CC47-A9B2-6962575BD2AF}"/>
              </a:ext>
            </a:extLst>
          </p:cNvPr>
          <p:cNvSpPr>
            <a:spLocks noGrp="1"/>
          </p:cNvSpPr>
          <p:nvPr>
            <p:ph type="pic" sz="quarter" idx="10"/>
          </p:nvPr>
        </p:nvSpPr>
        <p:spPr>
          <a:xfrm>
            <a:off x="-2" y="0"/>
            <a:ext cx="6096001" cy="6858000"/>
          </a:xfrm>
          <a:prstGeom prst="round1Rect">
            <a:avLst>
              <a:gd name="adj" fmla="val 14462"/>
            </a:avLst>
          </a:prstGeom>
          <a:solidFill>
            <a:schemeClr val="bg1">
              <a:lumMod val="85000"/>
            </a:schemeClr>
          </a:solidFill>
        </p:spPr>
        <p:txBody>
          <a:bodyPr anchor="ctr">
            <a:normAutofit/>
          </a:bodyPr>
          <a:lstStyle>
            <a:lvl1pPr algn="ctr">
              <a:defRPr sz="1600">
                <a:solidFill>
                  <a:schemeClr val="bg1">
                    <a:lumMod val="50000"/>
                  </a:schemeClr>
                </a:solidFill>
              </a:defRPr>
            </a:lvl1pPr>
          </a:lstStyle>
          <a:p>
            <a:r>
              <a:rPr lang="en-US"/>
              <a:t>Click icon to add picture</a:t>
            </a:r>
            <a:endParaRPr lang="en-GB"/>
          </a:p>
        </p:txBody>
      </p:sp>
      <p:sp>
        <p:nvSpPr>
          <p:cNvPr id="8" name="Text Placeholder 29">
            <a:extLst>
              <a:ext uri="{FF2B5EF4-FFF2-40B4-BE49-F238E27FC236}">
                <a16:creationId xmlns:a16="http://schemas.microsoft.com/office/drawing/2014/main" id="{0061CA4A-3267-0A05-192C-5D4306FFB822}"/>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tx2"/>
                </a:solidFill>
              </a:defRPr>
            </a:lvl1pPr>
          </a:lstStyle>
          <a:p>
            <a:pPr lvl="0"/>
            <a:r>
              <a:rPr lang="en-GB"/>
              <a:t>Section title goes here</a:t>
            </a:r>
          </a:p>
        </p:txBody>
      </p:sp>
      <p:sp>
        <p:nvSpPr>
          <p:cNvPr id="10" name="Text Placeholder 31">
            <a:extLst>
              <a:ext uri="{FF2B5EF4-FFF2-40B4-BE49-F238E27FC236}">
                <a16:creationId xmlns:a16="http://schemas.microsoft.com/office/drawing/2014/main" id="{1A9FCAB2-BA25-DBAB-7A6E-265C863487B9}"/>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tx2">
                    <a:lumMod val="50000"/>
                  </a:schemeClr>
                </a:solidFill>
              </a:defRPr>
            </a:lvl1pPr>
          </a:lstStyle>
          <a:p>
            <a:pPr lvl="0"/>
            <a:r>
              <a:rPr lang="en-GB"/>
              <a:t>SUBTITLE GOES HERE: TYPE IN CAPITALS</a:t>
            </a:r>
          </a:p>
        </p:txBody>
      </p:sp>
    </p:spTree>
    <p:extLst>
      <p:ext uri="{BB962C8B-B14F-4D97-AF65-F5344CB8AC3E}">
        <p14:creationId xmlns:p14="http://schemas.microsoft.com/office/powerpoint/2010/main" val="1069977542"/>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1184252497"/>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2" spcCol="54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496444967"/>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2 Column Bulle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2" spcCol="360000"/>
          <a:lstStyle>
            <a:lvl1pPr marL="342900" indent="-342900">
              <a:buClr>
                <a:schemeClr val="bg2"/>
              </a:buClr>
              <a:buFont typeface="Arial" panose="020B0604020202020204" pitchFamily="34" charset="0"/>
              <a:buChar char="•"/>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954710218"/>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2 Column Number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2" spcCol="360000"/>
          <a:lstStyle>
            <a:lvl1pPr marL="457200" indent="-457200">
              <a:buClr>
                <a:schemeClr val="bg2"/>
              </a:buClr>
              <a:buFont typeface="+mj-lt"/>
              <a:buAutoNum type="arabicPeriod"/>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2275501939"/>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ext Slide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708830"/>
            <a:ext cx="11144930" cy="4204608"/>
          </a:xfrm>
        </p:spPr>
        <p:txBody>
          <a:bodyPr numCol="2" spcCol="54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213175373"/>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2 Column Bullets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708830"/>
            <a:ext cx="11144930" cy="4204608"/>
          </a:xfrm>
        </p:spPr>
        <p:txBody>
          <a:bodyPr numCol="2" spcCol="360000"/>
          <a:lstStyle>
            <a:lvl1pPr marL="342900" indent="-342900">
              <a:buClr>
                <a:schemeClr val="bg2"/>
              </a:buClr>
              <a:buFont typeface="Arial" panose="020B0604020202020204" pitchFamily="34" charset="0"/>
              <a:buChar char="•"/>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3937831469"/>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2 Column Numbers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708830"/>
            <a:ext cx="11144930" cy="4204608"/>
          </a:xfrm>
        </p:spPr>
        <p:txBody>
          <a:bodyPr numCol="2" spcCol="360000"/>
          <a:lstStyle>
            <a:lvl1pPr marL="457200" indent="-457200">
              <a:buClr>
                <a:schemeClr val="bg2"/>
              </a:buClr>
              <a:buFont typeface="+mj-lt"/>
              <a:buAutoNum type="arabicPeriod"/>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271462883"/>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ext Sections x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23534" y="1319651"/>
            <a:ext cx="5358213" cy="343847"/>
          </a:xfrm>
        </p:spPr>
        <p:txBody>
          <a:bodyPr>
            <a:normAutofit/>
          </a:bodyPr>
          <a:lstStyle>
            <a:lvl1pPr>
              <a:defRPr sz="1800" b="1">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Text Placeholder 8">
            <a:extLst>
              <a:ext uri="{FF2B5EF4-FFF2-40B4-BE49-F238E27FC236}">
                <a16:creationId xmlns:a16="http://schemas.microsoft.com/office/drawing/2014/main" id="{E867F760-C803-3AA5-7534-42750FD6DB15}"/>
              </a:ext>
            </a:extLst>
          </p:cNvPr>
          <p:cNvSpPr>
            <a:spLocks noGrp="1"/>
          </p:cNvSpPr>
          <p:nvPr>
            <p:ph type="body" idx="13"/>
          </p:nvPr>
        </p:nvSpPr>
        <p:spPr>
          <a:xfrm>
            <a:off x="531132" y="1708830"/>
            <a:ext cx="5343019"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8" name="Text Placeholder 6">
            <a:extLst>
              <a:ext uri="{FF2B5EF4-FFF2-40B4-BE49-F238E27FC236}">
                <a16:creationId xmlns:a16="http://schemas.microsoft.com/office/drawing/2014/main" id="{87E7DAA2-4D74-8F73-20DD-AB5A220C5D1B}"/>
              </a:ext>
            </a:extLst>
          </p:cNvPr>
          <p:cNvSpPr>
            <a:spLocks noGrp="1"/>
          </p:cNvSpPr>
          <p:nvPr>
            <p:ph type="body" sz="quarter" idx="15"/>
          </p:nvPr>
        </p:nvSpPr>
        <p:spPr>
          <a:xfrm>
            <a:off x="6317851" y="1319651"/>
            <a:ext cx="5358213" cy="343847"/>
          </a:xfrm>
        </p:spPr>
        <p:txBody>
          <a:bodyPr>
            <a:normAutofit/>
          </a:bodyPr>
          <a:lstStyle>
            <a:lvl1pPr>
              <a:defRPr sz="1800" b="1">
                <a:solidFill>
                  <a:schemeClr val="bg2"/>
                </a:solidFill>
              </a:defRPr>
            </a:lvl1pPr>
          </a:lstStyle>
          <a:p>
            <a:pPr lvl="0"/>
            <a:r>
              <a:rPr lang="en-GB"/>
              <a:t>Click to edit Master text styles</a:t>
            </a:r>
          </a:p>
        </p:txBody>
      </p:sp>
      <p:sp>
        <p:nvSpPr>
          <p:cNvPr id="19" name="Text Placeholder 8">
            <a:extLst>
              <a:ext uri="{FF2B5EF4-FFF2-40B4-BE49-F238E27FC236}">
                <a16:creationId xmlns:a16="http://schemas.microsoft.com/office/drawing/2014/main" id="{1E0345EA-841F-0CDC-4D3D-6F8A441AA78F}"/>
              </a:ext>
            </a:extLst>
          </p:cNvPr>
          <p:cNvSpPr>
            <a:spLocks noGrp="1"/>
          </p:cNvSpPr>
          <p:nvPr>
            <p:ph type="body" idx="16"/>
          </p:nvPr>
        </p:nvSpPr>
        <p:spPr>
          <a:xfrm>
            <a:off x="6333045" y="1708830"/>
            <a:ext cx="5343019"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1378404186"/>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ext Section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9" y="1319651"/>
            <a:ext cx="3495194" cy="343847"/>
          </a:xfrm>
        </p:spPr>
        <p:txBody>
          <a:bodyPr>
            <a:normAutofit/>
          </a:bodyPr>
          <a:lstStyle>
            <a:lvl1pPr>
              <a:defRPr sz="1800" b="1">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Text Placeholder 8">
            <a:extLst>
              <a:ext uri="{FF2B5EF4-FFF2-40B4-BE49-F238E27FC236}">
                <a16:creationId xmlns:a16="http://schemas.microsoft.com/office/drawing/2014/main" id="{E867F760-C803-3AA5-7534-42750FD6DB15}"/>
              </a:ext>
            </a:extLst>
          </p:cNvPr>
          <p:cNvSpPr>
            <a:spLocks noGrp="1"/>
          </p:cNvSpPr>
          <p:nvPr>
            <p:ph type="body" idx="13"/>
          </p:nvPr>
        </p:nvSpPr>
        <p:spPr>
          <a:xfrm>
            <a:off x="531132" y="1708830"/>
            <a:ext cx="3485283"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0" name="Text Placeholder 6">
            <a:extLst>
              <a:ext uri="{FF2B5EF4-FFF2-40B4-BE49-F238E27FC236}">
                <a16:creationId xmlns:a16="http://schemas.microsoft.com/office/drawing/2014/main" id="{3FBFCDEF-6E12-C006-44B4-B2738D079269}"/>
              </a:ext>
            </a:extLst>
          </p:cNvPr>
          <p:cNvSpPr>
            <a:spLocks noGrp="1"/>
          </p:cNvSpPr>
          <p:nvPr>
            <p:ph type="body" sz="quarter" idx="15"/>
          </p:nvPr>
        </p:nvSpPr>
        <p:spPr>
          <a:xfrm>
            <a:off x="4380334" y="1319651"/>
            <a:ext cx="3495194" cy="343847"/>
          </a:xfrm>
        </p:spPr>
        <p:txBody>
          <a:bodyPr>
            <a:normAutofit/>
          </a:bodyPr>
          <a:lstStyle>
            <a:lvl1pPr>
              <a:defRPr sz="1800" b="1">
                <a:solidFill>
                  <a:schemeClr val="bg2"/>
                </a:solidFill>
              </a:defRPr>
            </a:lvl1pPr>
          </a:lstStyle>
          <a:p>
            <a:pPr lvl="0"/>
            <a:r>
              <a:rPr lang="en-GB"/>
              <a:t>Click to edit Master text styles</a:t>
            </a:r>
          </a:p>
        </p:txBody>
      </p:sp>
      <p:sp>
        <p:nvSpPr>
          <p:cNvPr id="21" name="Text Placeholder 8">
            <a:extLst>
              <a:ext uri="{FF2B5EF4-FFF2-40B4-BE49-F238E27FC236}">
                <a16:creationId xmlns:a16="http://schemas.microsoft.com/office/drawing/2014/main" id="{3B5895DB-1292-CE69-F1CC-CA026DACAC13}"/>
              </a:ext>
            </a:extLst>
          </p:cNvPr>
          <p:cNvSpPr>
            <a:spLocks noGrp="1"/>
          </p:cNvSpPr>
          <p:nvPr>
            <p:ph type="body" idx="16"/>
          </p:nvPr>
        </p:nvSpPr>
        <p:spPr>
          <a:xfrm>
            <a:off x="4395527" y="1708830"/>
            <a:ext cx="3485283"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2" name="Text Placeholder 6">
            <a:extLst>
              <a:ext uri="{FF2B5EF4-FFF2-40B4-BE49-F238E27FC236}">
                <a16:creationId xmlns:a16="http://schemas.microsoft.com/office/drawing/2014/main" id="{4394A274-82C6-2D1C-8004-8E7FF7B76E26}"/>
              </a:ext>
            </a:extLst>
          </p:cNvPr>
          <p:cNvSpPr>
            <a:spLocks noGrp="1"/>
          </p:cNvSpPr>
          <p:nvPr>
            <p:ph type="body" sz="quarter" idx="17"/>
          </p:nvPr>
        </p:nvSpPr>
        <p:spPr>
          <a:xfrm>
            <a:off x="8169806" y="1319651"/>
            <a:ext cx="3495194" cy="343847"/>
          </a:xfrm>
        </p:spPr>
        <p:txBody>
          <a:bodyPr>
            <a:normAutofit/>
          </a:bodyPr>
          <a:lstStyle>
            <a:lvl1pPr>
              <a:defRPr sz="1800" b="1">
                <a:solidFill>
                  <a:schemeClr val="bg2"/>
                </a:solidFill>
              </a:defRPr>
            </a:lvl1pPr>
          </a:lstStyle>
          <a:p>
            <a:pPr lvl="0"/>
            <a:r>
              <a:rPr lang="en-GB"/>
              <a:t>Click to edit Master text styles</a:t>
            </a:r>
          </a:p>
        </p:txBody>
      </p:sp>
      <p:sp>
        <p:nvSpPr>
          <p:cNvPr id="23" name="Text Placeholder 8">
            <a:extLst>
              <a:ext uri="{FF2B5EF4-FFF2-40B4-BE49-F238E27FC236}">
                <a16:creationId xmlns:a16="http://schemas.microsoft.com/office/drawing/2014/main" id="{B32BCAEC-CD76-D152-C494-48F60F7BFD47}"/>
              </a:ext>
            </a:extLst>
          </p:cNvPr>
          <p:cNvSpPr>
            <a:spLocks noGrp="1"/>
          </p:cNvSpPr>
          <p:nvPr>
            <p:ph type="body" idx="18"/>
          </p:nvPr>
        </p:nvSpPr>
        <p:spPr>
          <a:xfrm>
            <a:off x="8184999" y="1708830"/>
            <a:ext cx="3485283"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413668014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E8AF178-07F9-4CA7-95FC-A20046D100D7}"/>
              </a:ext>
            </a:extLst>
          </p:cNvPr>
          <p:cNvSpPr>
            <a:spLocks noGrp="1"/>
          </p:cNvSpPr>
          <p:nvPr>
            <p:ph type="dt" sz="half" idx="10"/>
          </p:nvPr>
        </p:nvSpPr>
        <p:spPr/>
        <p:txBody>
          <a:bodyPr/>
          <a:lstStyle/>
          <a:p>
            <a:fld id="{EDA1F870-7836-46B5-95C5-3E5D01EAFAC9}" type="datetime1">
              <a:rPr lang="en-AU" smtClean="0"/>
              <a:t>9/12/2024</a:t>
            </a:fld>
            <a:endParaRPr lang="en-AU"/>
          </a:p>
        </p:txBody>
      </p:sp>
      <p:sp>
        <p:nvSpPr>
          <p:cNvPr id="3" name="Footer Placeholder 2">
            <a:extLst>
              <a:ext uri="{FF2B5EF4-FFF2-40B4-BE49-F238E27FC236}">
                <a16:creationId xmlns:a16="http://schemas.microsoft.com/office/drawing/2014/main" id="{B88F9862-05E1-41EC-9B46-553472A286A5}"/>
              </a:ext>
            </a:extLst>
          </p:cNvPr>
          <p:cNvSpPr>
            <a:spLocks noGrp="1"/>
          </p:cNvSpPr>
          <p:nvPr>
            <p:ph type="ftr" sz="quarter" idx="11"/>
          </p:nvPr>
        </p:nvSpPr>
        <p:spPr/>
        <p:txBody>
          <a:bodyPr/>
          <a:lstStyle/>
          <a:p>
            <a:endParaRPr lang="en-AU"/>
          </a:p>
        </p:txBody>
      </p:sp>
      <p:sp>
        <p:nvSpPr>
          <p:cNvPr id="4" name="Slide Number Placeholder 3">
            <a:extLst>
              <a:ext uri="{FF2B5EF4-FFF2-40B4-BE49-F238E27FC236}">
                <a16:creationId xmlns:a16="http://schemas.microsoft.com/office/drawing/2014/main" id="{399DF223-A880-4BEF-8B4F-D3FF240F1032}"/>
              </a:ext>
            </a:extLst>
          </p:cNvPr>
          <p:cNvSpPr>
            <a:spLocks noGrp="1"/>
          </p:cNvSpPr>
          <p:nvPr>
            <p:ph type="sldNum" sz="quarter" idx="12"/>
          </p:nvPr>
        </p:nvSpPr>
        <p:spPr/>
        <p:txBody>
          <a:bodyPr/>
          <a:lstStyle/>
          <a:p>
            <a:fld id="{33ECF85F-2FE6-4C40-9C0D-695BD934DCA6}" type="slidenum">
              <a:rPr lang="en-AU" smtClean="0"/>
              <a:t>‹#›</a:t>
            </a:fld>
            <a:endParaRPr lang="en-AU"/>
          </a:p>
        </p:txBody>
      </p:sp>
    </p:spTree>
    <p:extLst>
      <p:ext uri="{BB962C8B-B14F-4D97-AF65-F5344CB8AC3E}">
        <p14:creationId xmlns:p14="http://schemas.microsoft.com/office/powerpoint/2010/main" val="655079566"/>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Box Text x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29" name="Rounded Rectangle 28">
            <a:extLst>
              <a:ext uri="{FF2B5EF4-FFF2-40B4-BE49-F238E27FC236}">
                <a16:creationId xmlns:a16="http://schemas.microsoft.com/office/drawing/2014/main" id="{034B91B1-8758-0946-BB4D-13DA0D9CFAE1}"/>
              </a:ext>
            </a:extLst>
          </p:cNvPr>
          <p:cNvSpPr/>
          <p:nvPr userDrawn="1"/>
        </p:nvSpPr>
        <p:spPr>
          <a:xfrm>
            <a:off x="6241145" y="1191566"/>
            <a:ext cx="5434921"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sp>
        <p:nvSpPr>
          <p:cNvPr id="30" name="Rounded Rectangle 29">
            <a:extLst>
              <a:ext uri="{FF2B5EF4-FFF2-40B4-BE49-F238E27FC236}">
                <a16:creationId xmlns:a16="http://schemas.microsoft.com/office/drawing/2014/main" id="{6FD39105-B790-2C4F-B73F-33A5D9995EDE}"/>
              </a:ext>
            </a:extLst>
          </p:cNvPr>
          <p:cNvSpPr/>
          <p:nvPr userDrawn="1"/>
        </p:nvSpPr>
        <p:spPr>
          <a:xfrm>
            <a:off x="515936" y="1191566"/>
            <a:ext cx="5434921"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sp>
        <p:nvSpPr>
          <p:cNvPr id="31" name="Text Placeholder 6">
            <a:extLst>
              <a:ext uri="{FF2B5EF4-FFF2-40B4-BE49-F238E27FC236}">
                <a16:creationId xmlns:a16="http://schemas.microsoft.com/office/drawing/2014/main" id="{39DFE4E8-481D-4E4A-B357-9B609A673B06}"/>
              </a:ext>
            </a:extLst>
          </p:cNvPr>
          <p:cNvSpPr>
            <a:spLocks noGrp="1"/>
          </p:cNvSpPr>
          <p:nvPr>
            <p:ph type="body" sz="quarter" idx="14" hasCustomPrompt="1"/>
          </p:nvPr>
        </p:nvSpPr>
        <p:spPr>
          <a:xfrm>
            <a:off x="715167" y="1378325"/>
            <a:ext cx="5036457"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32" name="Text Placeholder 6">
            <a:extLst>
              <a:ext uri="{FF2B5EF4-FFF2-40B4-BE49-F238E27FC236}">
                <a16:creationId xmlns:a16="http://schemas.microsoft.com/office/drawing/2014/main" id="{79EED86D-C792-B740-BC35-66A672B07629}"/>
              </a:ext>
            </a:extLst>
          </p:cNvPr>
          <p:cNvSpPr>
            <a:spLocks noGrp="1"/>
          </p:cNvSpPr>
          <p:nvPr>
            <p:ph type="body" sz="quarter" idx="15"/>
          </p:nvPr>
        </p:nvSpPr>
        <p:spPr>
          <a:xfrm>
            <a:off x="715167" y="2154362"/>
            <a:ext cx="5036457"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CE98006B-2C07-2C4F-A8AC-A5AC433ED89C}"/>
              </a:ext>
            </a:extLst>
          </p:cNvPr>
          <p:cNvSpPr>
            <a:spLocks noGrp="1"/>
          </p:cNvSpPr>
          <p:nvPr>
            <p:ph type="body" sz="quarter" idx="16"/>
          </p:nvPr>
        </p:nvSpPr>
        <p:spPr>
          <a:xfrm>
            <a:off x="715167" y="1597378"/>
            <a:ext cx="5036457" cy="382134"/>
          </a:xfrm>
        </p:spPr>
        <p:txBody>
          <a:bodyPr/>
          <a:lstStyle>
            <a:lvl1pPr>
              <a:defRPr b="1">
                <a:solidFill>
                  <a:schemeClr val="bg2"/>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40C03D58-F9E4-0944-BD0B-946EEFB24768}"/>
              </a:ext>
            </a:extLst>
          </p:cNvPr>
          <p:cNvSpPr>
            <a:spLocks noGrp="1"/>
          </p:cNvSpPr>
          <p:nvPr>
            <p:ph type="body" sz="quarter" idx="17" hasCustomPrompt="1"/>
          </p:nvPr>
        </p:nvSpPr>
        <p:spPr>
          <a:xfrm>
            <a:off x="6440376" y="1378325"/>
            <a:ext cx="5036457"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35" name="Text Placeholder 6">
            <a:extLst>
              <a:ext uri="{FF2B5EF4-FFF2-40B4-BE49-F238E27FC236}">
                <a16:creationId xmlns:a16="http://schemas.microsoft.com/office/drawing/2014/main" id="{80BF694F-37D7-D44B-8712-1767A33CD12F}"/>
              </a:ext>
            </a:extLst>
          </p:cNvPr>
          <p:cNvSpPr>
            <a:spLocks noGrp="1"/>
          </p:cNvSpPr>
          <p:nvPr>
            <p:ph type="body" sz="quarter" idx="18"/>
          </p:nvPr>
        </p:nvSpPr>
        <p:spPr>
          <a:xfrm>
            <a:off x="6440376" y="2154362"/>
            <a:ext cx="5036457"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6" name="Text Placeholder 6">
            <a:extLst>
              <a:ext uri="{FF2B5EF4-FFF2-40B4-BE49-F238E27FC236}">
                <a16:creationId xmlns:a16="http://schemas.microsoft.com/office/drawing/2014/main" id="{1C6985EF-42F3-0D40-99CA-20F5F21446FE}"/>
              </a:ext>
            </a:extLst>
          </p:cNvPr>
          <p:cNvSpPr>
            <a:spLocks noGrp="1"/>
          </p:cNvSpPr>
          <p:nvPr>
            <p:ph type="body" sz="quarter" idx="19"/>
          </p:nvPr>
        </p:nvSpPr>
        <p:spPr>
          <a:xfrm>
            <a:off x="6440376" y="1597378"/>
            <a:ext cx="5036457" cy="382134"/>
          </a:xfrm>
        </p:spPr>
        <p:txBody>
          <a:bodyPr/>
          <a:lstStyle>
            <a:lvl1pPr>
              <a:defRPr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1466590767"/>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Box Text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0" name="Rounded Rectangle 29">
            <a:extLst>
              <a:ext uri="{FF2B5EF4-FFF2-40B4-BE49-F238E27FC236}">
                <a16:creationId xmlns:a16="http://schemas.microsoft.com/office/drawing/2014/main" id="{6FD39105-B790-2C4F-B73F-33A5D9995EDE}"/>
              </a:ext>
            </a:extLst>
          </p:cNvPr>
          <p:cNvSpPr/>
          <p:nvPr userDrawn="1"/>
        </p:nvSpPr>
        <p:spPr>
          <a:xfrm>
            <a:off x="515935" y="1191566"/>
            <a:ext cx="3604651"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sp>
        <p:nvSpPr>
          <p:cNvPr id="31" name="Text Placeholder 6">
            <a:extLst>
              <a:ext uri="{FF2B5EF4-FFF2-40B4-BE49-F238E27FC236}">
                <a16:creationId xmlns:a16="http://schemas.microsoft.com/office/drawing/2014/main" id="{39DFE4E8-481D-4E4A-B357-9B609A673B06}"/>
              </a:ext>
            </a:extLst>
          </p:cNvPr>
          <p:cNvSpPr>
            <a:spLocks noGrp="1"/>
          </p:cNvSpPr>
          <p:nvPr>
            <p:ph type="body" sz="quarter" idx="14" hasCustomPrompt="1"/>
          </p:nvPr>
        </p:nvSpPr>
        <p:spPr>
          <a:xfrm>
            <a:off x="715167" y="1378325"/>
            <a:ext cx="3214437"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32" name="Text Placeholder 6">
            <a:extLst>
              <a:ext uri="{FF2B5EF4-FFF2-40B4-BE49-F238E27FC236}">
                <a16:creationId xmlns:a16="http://schemas.microsoft.com/office/drawing/2014/main" id="{79EED86D-C792-B740-BC35-66A672B07629}"/>
              </a:ext>
            </a:extLst>
          </p:cNvPr>
          <p:cNvSpPr>
            <a:spLocks noGrp="1"/>
          </p:cNvSpPr>
          <p:nvPr>
            <p:ph type="body" sz="quarter" idx="15"/>
          </p:nvPr>
        </p:nvSpPr>
        <p:spPr>
          <a:xfrm>
            <a:off x="715167" y="2154362"/>
            <a:ext cx="3214437"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CE98006B-2C07-2C4F-A8AC-A5AC433ED89C}"/>
              </a:ext>
            </a:extLst>
          </p:cNvPr>
          <p:cNvSpPr>
            <a:spLocks noGrp="1"/>
          </p:cNvSpPr>
          <p:nvPr>
            <p:ph type="body" sz="quarter" idx="16"/>
          </p:nvPr>
        </p:nvSpPr>
        <p:spPr>
          <a:xfrm>
            <a:off x="715167" y="1597378"/>
            <a:ext cx="3214437" cy="382134"/>
          </a:xfrm>
        </p:spPr>
        <p:txBody>
          <a:bodyPr/>
          <a:lstStyle>
            <a:lvl1pPr>
              <a:defRPr b="1">
                <a:solidFill>
                  <a:schemeClr val="bg2"/>
                </a:solidFill>
              </a:defRPr>
            </a:lvl1pPr>
          </a:lstStyle>
          <a:p>
            <a:pPr lvl="0"/>
            <a:r>
              <a:rPr lang="en-GB"/>
              <a:t>Click to edit Master text styles</a:t>
            </a:r>
          </a:p>
        </p:txBody>
      </p:sp>
      <p:sp>
        <p:nvSpPr>
          <p:cNvPr id="26" name="Rounded Rectangle 25">
            <a:extLst>
              <a:ext uri="{FF2B5EF4-FFF2-40B4-BE49-F238E27FC236}">
                <a16:creationId xmlns:a16="http://schemas.microsoft.com/office/drawing/2014/main" id="{A64DF4DD-379B-FE5B-85E1-F80F85D07E89}"/>
              </a:ext>
            </a:extLst>
          </p:cNvPr>
          <p:cNvSpPr/>
          <p:nvPr userDrawn="1"/>
        </p:nvSpPr>
        <p:spPr>
          <a:xfrm>
            <a:off x="4290784" y="1191566"/>
            <a:ext cx="3604650"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sp>
        <p:nvSpPr>
          <p:cNvPr id="27" name="Text Placeholder 6">
            <a:extLst>
              <a:ext uri="{FF2B5EF4-FFF2-40B4-BE49-F238E27FC236}">
                <a16:creationId xmlns:a16="http://schemas.microsoft.com/office/drawing/2014/main" id="{602ADDF3-C22C-9F63-2736-9FAAEA9A1E97}"/>
              </a:ext>
            </a:extLst>
          </p:cNvPr>
          <p:cNvSpPr>
            <a:spLocks noGrp="1"/>
          </p:cNvSpPr>
          <p:nvPr>
            <p:ph type="body" sz="quarter" idx="17" hasCustomPrompt="1"/>
          </p:nvPr>
        </p:nvSpPr>
        <p:spPr>
          <a:xfrm>
            <a:off x="4490015" y="1378325"/>
            <a:ext cx="3201361"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28" name="Text Placeholder 6">
            <a:extLst>
              <a:ext uri="{FF2B5EF4-FFF2-40B4-BE49-F238E27FC236}">
                <a16:creationId xmlns:a16="http://schemas.microsoft.com/office/drawing/2014/main" id="{EC84208B-5390-D845-9BFC-BBE060B525EC}"/>
              </a:ext>
            </a:extLst>
          </p:cNvPr>
          <p:cNvSpPr>
            <a:spLocks noGrp="1"/>
          </p:cNvSpPr>
          <p:nvPr>
            <p:ph type="body" sz="quarter" idx="18"/>
          </p:nvPr>
        </p:nvSpPr>
        <p:spPr>
          <a:xfrm>
            <a:off x="4490015" y="2154362"/>
            <a:ext cx="3201361"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7" name="Text Placeholder 6">
            <a:extLst>
              <a:ext uri="{FF2B5EF4-FFF2-40B4-BE49-F238E27FC236}">
                <a16:creationId xmlns:a16="http://schemas.microsoft.com/office/drawing/2014/main" id="{62DC5739-6579-EFF5-5EE5-B79F9F4E344F}"/>
              </a:ext>
            </a:extLst>
          </p:cNvPr>
          <p:cNvSpPr>
            <a:spLocks noGrp="1"/>
          </p:cNvSpPr>
          <p:nvPr>
            <p:ph type="body" sz="quarter" idx="19"/>
          </p:nvPr>
        </p:nvSpPr>
        <p:spPr>
          <a:xfrm>
            <a:off x="4490015" y="1597378"/>
            <a:ext cx="3201361" cy="382134"/>
          </a:xfrm>
        </p:spPr>
        <p:txBody>
          <a:bodyPr/>
          <a:lstStyle>
            <a:lvl1pPr>
              <a:defRPr b="1">
                <a:solidFill>
                  <a:schemeClr val="bg2"/>
                </a:solidFill>
              </a:defRPr>
            </a:lvl1pPr>
          </a:lstStyle>
          <a:p>
            <a:pPr lvl="0"/>
            <a:r>
              <a:rPr lang="en-GB"/>
              <a:t>Click to edit Master text styles</a:t>
            </a:r>
          </a:p>
        </p:txBody>
      </p:sp>
      <p:sp>
        <p:nvSpPr>
          <p:cNvPr id="38" name="Rounded Rectangle 37">
            <a:extLst>
              <a:ext uri="{FF2B5EF4-FFF2-40B4-BE49-F238E27FC236}">
                <a16:creationId xmlns:a16="http://schemas.microsoft.com/office/drawing/2014/main" id="{A0FC7906-8744-F3F8-AA4F-08ADB6E6D43E}"/>
              </a:ext>
            </a:extLst>
          </p:cNvPr>
          <p:cNvSpPr/>
          <p:nvPr userDrawn="1"/>
        </p:nvSpPr>
        <p:spPr>
          <a:xfrm>
            <a:off x="8065632" y="1191566"/>
            <a:ext cx="3604650"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sp>
        <p:nvSpPr>
          <p:cNvPr id="39" name="Text Placeholder 6">
            <a:extLst>
              <a:ext uri="{FF2B5EF4-FFF2-40B4-BE49-F238E27FC236}">
                <a16:creationId xmlns:a16="http://schemas.microsoft.com/office/drawing/2014/main" id="{F3AC3934-9579-D587-96AD-27B72F22B277}"/>
              </a:ext>
            </a:extLst>
          </p:cNvPr>
          <p:cNvSpPr>
            <a:spLocks noGrp="1"/>
          </p:cNvSpPr>
          <p:nvPr>
            <p:ph type="body" sz="quarter" idx="20" hasCustomPrompt="1"/>
          </p:nvPr>
        </p:nvSpPr>
        <p:spPr>
          <a:xfrm>
            <a:off x="8264863" y="1378325"/>
            <a:ext cx="3211970"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40" name="Text Placeholder 6">
            <a:extLst>
              <a:ext uri="{FF2B5EF4-FFF2-40B4-BE49-F238E27FC236}">
                <a16:creationId xmlns:a16="http://schemas.microsoft.com/office/drawing/2014/main" id="{37A42317-1A24-1AA6-D076-0E969CCF8BE8}"/>
              </a:ext>
            </a:extLst>
          </p:cNvPr>
          <p:cNvSpPr>
            <a:spLocks noGrp="1"/>
          </p:cNvSpPr>
          <p:nvPr>
            <p:ph type="body" sz="quarter" idx="21"/>
          </p:nvPr>
        </p:nvSpPr>
        <p:spPr>
          <a:xfrm>
            <a:off x="8264863" y="2154362"/>
            <a:ext cx="3211970"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41" name="Text Placeholder 6">
            <a:extLst>
              <a:ext uri="{FF2B5EF4-FFF2-40B4-BE49-F238E27FC236}">
                <a16:creationId xmlns:a16="http://schemas.microsoft.com/office/drawing/2014/main" id="{ADCC5B80-D27A-2762-3E95-436EEE5A0DE7}"/>
              </a:ext>
            </a:extLst>
          </p:cNvPr>
          <p:cNvSpPr>
            <a:spLocks noGrp="1"/>
          </p:cNvSpPr>
          <p:nvPr>
            <p:ph type="body" sz="quarter" idx="22"/>
          </p:nvPr>
        </p:nvSpPr>
        <p:spPr>
          <a:xfrm>
            <a:off x="8264863" y="1597378"/>
            <a:ext cx="3211970" cy="382134"/>
          </a:xfrm>
        </p:spPr>
        <p:txBody>
          <a:bodyPr/>
          <a:lstStyle>
            <a:lvl1pPr>
              <a:defRPr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590569777"/>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Icon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9" y="3319670"/>
            <a:ext cx="3287436" cy="2593767"/>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2874301"/>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A5AC520F-8595-0F44-99A9-F0873ACA435F}"/>
              </a:ext>
            </a:extLst>
          </p:cNvPr>
          <p:cNvSpPr>
            <a:spLocks noGrp="1"/>
          </p:cNvSpPr>
          <p:nvPr>
            <p:ph type="body" sz="quarter" idx="18"/>
          </p:nvPr>
        </p:nvSpPr>
        <p:spPr>
          <a:xfrm>
            <a:off x="4452282" y="3319670"/>
            <a:ext cx="3287436" cy="2593767"/>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4452282" y="2874301"/>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AD30B9DC-1666-7446-9DFD-F674A273B468}"/>
              </a:ext>
            </a:extLst>
          </p:cNvPr>
          <p:cNvSpPr>
            <a:spLocks noGrp="1"/>
          </p:cNvSpPr>
          <p:nvPr>
            <p:ph type="body" sz="quarter" idx="21"/>
          </p:nvPr>
        </p:nvSpPr>
        <p:spPr>
          <a:xfrm>
            <a:off x="8382846" y="3326198"/>
            <a:ext cx="3287436" cy="2593767"/>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C7816D18-C579-DE44-B3B4-5D38198139F6}"/>
              </a:ext>
            </a:extLst>
          </p:cNvPr>
          <p:cNvSpPr>
            <a:spLocks noGrp="1"/>
          </p:cNvSpPr>
          <p:nvPr>
            <p:ph type="body" sz="quarter" idx="22"/>
          </p:nvPr>
        </p:nvSpPr>
        <p:spPr>
          <a:xfrm>
            <a:off x="8382846" y="2880829"/>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20" name="Picture Placeholder 3">
            <a:extLst>
              <a:ext uri="{FF2B5EF4-FFF2-40B4-BE49-F238E27FC236}">
                <a16:creationId xmlns:a16="http://schemas.microsoft.com/office/drawing/2014/main" id="{319B0B18-4860-DA36-3440-4533856C9139}"/>
              </a:ext>
            </a:extLst>
          </p:cNvPr>
          <p:cNvSpPr>
            <a:spLocks noGrp="1"/>
          </p:cNvSpPr>
          <p:nvPr>
            <p:ph type="pic" sz="quarter" idx="13"/>
          </p:nvPr>
        </p:nvSpPr>
        <p:spPr>
          <a:xfrm>
            <a:off x="515938" y="1624205"/>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21" name="Picture Placeholder 3">
            <a:extLst>
              <a:ext uri="{FF2B5EF4-FFF2-40B4-BE49-F238E27FC236}">
                <a16:creationId xmlns:a16="http://schemas.microsoft.com/office/drawing/2014/main" id="{BF99AA58-9FC0-03DF-8208-27BED5F44ED6}"/>
              </a:ext>
            </a:extLst>
          </p:cNvPr>
          <p:cNvSpPr>
            <a:spLocks noGrp="1"/>
          </p:cNvSpPr>
          <p:nvPr>
            <p:ph type="pic" sz="quarter" idx="23"/>
          </p:nvPr>
        </p:nvSpPr>
        <p:spPr>
          <a:xfrm>
            <a:off x="4458071" y="1624205"/>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22" name="Picture Placeholder 3">
            <a:extLst>
              <a:ext uri="{FF2B5EF4-FFF2-40B4-BE49-F238E27FC236}">
                <a16:creationId xmlns:a16="http://schemas.microsoft.com/office/drawing/2014/main" id="{AD148B2F-B493-BFBF-8393-261886DA3EE6}"/>
              </a:ext>
            </a:extLst>
          </p:cNvPr>
          <p:cNvSpPr>
            <a:spLocks noGrp="1"/>
          </p:cNvSpPr>
          <p:nvPr>
            <p:ph type="pic" sz="quarter" idx="24"/>
          </p:nvPr>
        </p:nvSpPr>
        <p:spPr>
          <a:xfrm>
            <a:off x="8382846" y="1624205"/>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Tree>
    <p:extLst>
      <p:ext uri="{BB962C8B-B14F-4D97-AF65-F5344CB8AC3E}">
        <p14:creationId xmlns:p14="http://schemas.microsoft.com/office/powerpoint/2010/main" val="2246140378"/>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Icons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Picture Placeholder 3">
            <a:extLst>
              <a:ext uri="{FF2B5EF4-FFF2-40B4-BE49-F238E27FC236}">
                <a16:creationId xmlns:a16="http://schemas.microsoft.com/office/drawing/2014/main" id="{78B95D78-F57A-6D40-A841-7D1E3B08277B}"/>
              </a:ext>
            </a:extLst>
          </p:cNvPr>
          <p:cNvSpPr>
            <a:spLocks noGrp="1"/>
          </p:cNvSpPr>
          <p:nvPr>
            <p:ph type="pic" sz="quarter" idx="13"/>
          </p:nvPr>
        </p:nvSpPr>
        <p:spPr>
          <a:xfrm>
            <a:off x="515938"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8"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8"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47" name="Picture Placeholder 3">
            <a:extLst>
              <a:ext uri="{FF2B5EF4-FFF2-40B4-BE49-F238E27FC236}">
                <a16:creationId xmlns:a16="http://schemas.microsoft.com/office/drawing/2014/main" id="{F48D299A-6257-AC74-0FD7-6D22E29A5C4F}"/>
              </a:ext>
            </a:extLst>
          </p:cNvPr>
          <p:cNvSpPr>
            <a:spLocks noGrp="1"/>
          </p:cNvSpPr>
          <p:nvPr>
            <p:ph type="pic" sz="quarter" idx="17"/>
          </p:nvPr>
        </p:nvSpPr>
        <p:spPr>
          <a:xfrm>
            <a:off x="3387491"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48" name="Text Placeholder 6">
            <a:extLst>
              <a:ext uri="{FF2B5EF4-FFF2-40B4-BE49-F238E27FC236}">
                <a16:creationId xmlns:a16="http://schemas.microsoft.com/office/drawing/2014/main" id="{9E3D1709-B9E8-6689-9456-9D1A08D7BAA7}"/>
              </a:ext>
            </a:extLst>
          </p:cNvPr>
          <p:cNvSpPr>
            <a:spLocks noGrp="1"/>
          </p:cNvSpPr>
          <p:nvPr>
            <p:ph type="body" sz="quarter" idx="18"/>
          </p:nvPr>
        </p:nvSpPr>
        <p:spPr>
          <a:xfrm>
            <a:off x="3387491"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49" name="Text Placeholder 6">
            <a:extLst>
              <a:ext uri="{FF2B5EF4-FFF2-40B4-BE49-F238E27FC236}">
                <a16:creationId xmlns:a16="http://schemas.microsoft.com/office/drawing/2014/main" id="{C714C56E-261C-2C43-2BCC-4B86E64EE017}"/>
              </a:ext>
            </a:extLst>
          </p:cNvPr>
          <p:cNvSpPr>
            <a:spLocks noGrp="1"/>
          </p:cNvSpPr>
          <p:nvPr>
            <p:ph type="body" sz="quarter" idx="19"/>
          </p:nvPr>
        </p:nvSpPr>
        <p:spPr>
          <a:xfrm>
            <a:off x="3387491"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0" name="Picture Placeholder 3">
            <a:extLst>
              <a:ext uri="{FF2B5EF4-FFF2-40B4-BE49-F238E27FC236}">
                <a16:creationId xmlns:a16="http://schemas.microsoft.com/office/drawing/2014/main" id="{7BD682FD-9976-0C80-A887-A4D6D2E292BF}"/>
              </a:ext>
            </a:extLst>
          </p:cNvPr>
          <p:cNvSpPr>
            <a:spLocks noGrp="1"/>
          </p:cNvSpPr>
          <p:nvPr>
            <p:ph type="pic" sz="quarter" idx="20"/>
          </p:nvPr>
        </p:nvSpPr>
        <p:spPr>
          <a:xfrm>
            <a:off x="6259044"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1" name="Text Placeholder 6">
            <a:extLst>
              <a:ext uri="{FF2B5EF4-FFF2-40B4-BE49-F238E27FC236}">
                <a16:creationId xmlns:a16="http://schemas.microsoft.com/office/drawing/2014/main" id="{A9A5BE6C-6EDB-FAB6-4644-C243D0C50113}"/>
              </a:ext>
            </a:extLst>
          </p:cNvPr>
          <p:cNvSpPr>
            <a:spLocks noGrp="1"/>
          </p:cNvSpPr>
          <p:nvPr>
            <p:ph type="body" sz="quarter" idx="21"/>
          </p:nvPr>
        </p:nvSpPr>
        <p:spPr>
          <a:xfrm>
            <a:off x="6259044"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2" name="Text Placeholder 6">
            <a:extLst>
              <a:ext uri="{FF2B5EF4-FFF2-40B4-BE49-F238E27FC236}">
                <a16:creationId xmlns:a16="http://schemas.microsoft.com/office/drawing/2014/main" id="{CB0F2787-5A74-A6DE-F13C-3D79E01FA602}"/>
              </a:ext>
            </a:extLst>
          </p:cNvPr>
          <p:cNvSpPr>
            <a:spLocks noGrp="1"/>
          </p:cNvSpPr>
          <p:nvPr>
            <p:ph type="body" sz="quarter" idx="22"/>
          </p:nvPr>
        </p:nvSpPr>
        <p:spPr>
          <a:xfrm>
            <a:off x="6259044"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3" name="Picture Placeholder 3">
            <a:extLst>
              <a:ext uri="{FF2B5EF4-FFF2-40B4-BE49-F238E27FC236}">
                <a16:creationId xmlns:a16="http://schemas.microsoft.com/office/drawing/2014/main" id="{201E793D-C775-4026-041E-34664EC7CB24}"/>
              </a:ext>
            </a:extLst>
          </p:cNvPr>
          <p:cNvSpPr>
            <a:spLocks noGrp="1"/>
          </p:cNvSpPr>
          <p:nvPr>
            <p:ph type="pic" sz="quarter" idx="23"/>
          </p:nvPr>
        </p:nvSpPr>
        <p:spPr>
          <a:xfrm>
            <a:off x="9130597"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4" name="Text Placeholder 6">
            <a:extLst>
              <a:ext uri="{FF2B5EF4-FFF2-40B4-BE49-F238E27FC236}">
                <a16:creationId xmlns:a16="http://schemas.microsoft.com/office/drawing/2014/main" id="{804BD5F4-CAC4-3B9A-26F3-C0C1833171E1}"/>
              </a:ext>
            </a:extLst>
          </p:cNvPr>
          <p:cNvSpPr>
            <a:spLocks noGrp="1"/>
          </p:cNvSpPr>
          <p:nvPr>
            <p:ph type="body" sz="quarter" idx="24"/>
          </p:nvPr>
        </p:nvSpPr>
        <p:spPr>
          <a:xfrm>
            <a:off x="9130598"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5" name="Text Placeholder 6">
            <a:extLst>
              <a:ext uri="{FF2B5EF4-FFF2-40B4-BE49-F238E27FC236}">
                <a16:creationId xmlns:a16="http://schemas.microsoft.com/office/drawing/2014/main" id="{B233CA27-29C3-9FC3-D859-9E09C4A5F850}"/>
              </a:ext>
            </a:extLst>
          </p:cNvPr>
          <p:cNvSpPr>
            <a:spLocks noGrp="1"/>
          </p:cNvSpPr>
          <p:nvPr>
            <p:ph type="body" sz="quarter" idx="25"/>
          </p:nvPr>
        </p:nvSpPr>
        <p:spPr>
          <a:xfrm>
            <a:off x="9130598"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556270320"/>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Icons x5">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Picture Placeholder 3">
            <a:extLst>
              <a:ext uri="{FF2B5EF4-FFF2-40B4-BE49-F238E27FC236}">
                <a16:creationId xmlns:a16="http://schemas.microsoft.com/office/drawing/2014/main" id="{78B95D78-F57A-6D40-A841-7D1E3B08277B}"/>
              </a:ext>
            </a:extLst>
          </p:cNvPr>
          <p:cNvSpPr>
            <a:spLocks noGrp="1"/>
          </p:cNvSpPr>
          <p:nvPr>
            <p:ph type="pic" sz="quarter" idx="13"/>
          </p:nvPr>
        </p:nvSpPr>
        <p:spPr>
          <a:xfrm>
            <a:off x="515938"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9"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47" name="Picture Placeholder 3">
            <a:extLst>
              <a:ext uri="{FF2B5EF4-FFF2-40B4-BE49-F238E27FC236}">
                <a16:creationId xmlns:a16="http://schemas.microsoft.com/office/drawing/2014/main" id="{F48D299A-6257-AC74-0FD7-6D22E29A5C4F}"/>
              </a:ext>
            </a:extLst>
          </p:cNvPr>
          <p:cNvSpPr>
            <a:spLocks noGrp="1"/>
          </p:cNvSpPr>
          <p:nvPr>
            <p:ph type="pic" sz="quarter" idx="17"/>
          </p:nvPr>
        </p:nvSpPr>
        <p:spPr>
          <a:xfrm>
            <a:off x="2802689"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48" name="Text Placeholder 6">
            <a:extLst>
              <a:ext uri="{FF2B5EF4-FFF2-40B4-BE49-F238E27FC236}">
                <a16:creationId xmlns:a16="http://schemas.microsoft.com/office/drawing/2014/main" id="{9E3D1709-B9E8-6689-9456-9D1A08D7BAA7}"/>
              </a:ext>
            </a:extLst>
          </p:cNvPr>
          <p:cNvSpPr>
            <a:spLocks noGrp="1"/>
          </p:cNvSpPr>
          <p:nvPr>
            <p:ph type="body" sz="quarter" idx="18"/>
          </p:nvPr>
        </p:nvSpPr>
        <p:spPr>
          <a:xfrm>
            <a:off x="2802689"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49" name="Text Placeholder 6">
            <a:extLst>
              <a:ext uri="{FF2B5EF4-FFF2-40B4-BE49-F238E27FC236}">
                <a16:creationId xmlns:a16="http://schemas.microsoft.com/office/drawing/2014/main" id="{C714C56E-261C-2C43-2BCC-4B86E64EE017}"/>
              </a:ext>
            </a:extLst>
          </p:cNvPr>
          <p:cNvSpPr>
            <a:spLocks noGrp="1"/>
          </p:cNvSpPr>
          <p:nvPr>
            <p:ph type="body" sz="quarter" idx="19"/>
          </p:nvPr>
        </p:nvSpPr>
        <p:spPr>
          <a:xfrm>
            <a:off x="2802689"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0" name="Picture Placeholder 3">
            <a:extLst>
              <a:ext uri="{FF2B5EF4-FFF2-40B4-BE49-F238E27FC236}">
                <a16:creationId xmlns:a16="http://schemas.microsoft.com/office/drawing/2014/main" id="{7BD682FD-9976-0C80-A887-A4D6D2E292BF}"/>
              </a:ext>
            </a:extLst>
          </p:cNvPr>
          <p:cNvSpPr>
            <a:spLocks noGrp="1"/>
          </p:cNvSpPr>
          <p:nvPr>
            <p:ph type="pic" sz="quarter" idx="20"/>
          </p:nvPr>
        </p:nvSpPr>
        <p:spPr>
          <a:xfrm>
            <a:off x="5089439"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1" name="Text Placeholder 6">
            <a:extLst>
              <a:ext uri="{FF2B5EF4-FFF2-40B4-BE49-F238E27FC236}">
                <a16:creationId xmlns:a16="http://schemas.microsoft.com/office/drawing/2014/main" id="{A9A5BE6C-6EDB-FAB6-4644-C243D0C50113}"/>
              </a:ext>
            </a:extLst>
          </p:cNvPr>
          <p:cNvSpPr>
            <a:spLocks noGrp="1"/>
          </p:cNvSpPr>
          <p:nvPr>
            <p:ph type="body" sz="quarter" idx="21"/>
          </p:nvPr>
        </p:nvSpPr>
        <p:spPr>
          <a:xfrm>
            <a:off x="5089439"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2" name="Text Placeholder 6">
            <a:extLst>
              <a:ext uri="{FF2B5EF4-FFF2-40B4-BE49-F238E27FC236}">
                <a16:creationId xmlns:a16="http://schemas.microsoft.com/office/drawing/2014/main" id="{CB0F2787-5A74-A6DE-F13C-3D79E01FA602}"/>
              </a:ext>
            </a:extLst>
          </p:cNvPr>
          <p:cNvSpPr>
            <a:spLocks noGrp="1"/>
          </p:cNvSpPr>
          <p:nvPr>
            <p:ph type="body" sz="quarter" idx="22"/>
          </p:nvPr>
        </p:nvSpPr>
        <p:spPr>
          <a:xfrm>
            <a:off x="5089439"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3" name="Picture Placeholder 3">
            <a:extLst>
              <a:ext uri="{FF2B5EF4-FFF2-40B4-BE49-F238E27FC236}">
                <a16:creationId xmlns:a16="http://schemas.microsoft.com/office/drawing/2014/main" id="{201E793D-C775-4026-041E-34664EC7CB24}"/>
              </a:ext>
            </a:extLst>
          </p:cNvPr>
          <p:cNvSpPr>
            <a:spLocks noGrp="1"/>
          </p:cNvSpPr>
          <p:nvPr>
            <p:ph type="pic" sz="quarter" idx="23"/>
          </p:nvPr>
        </p:nvSpPr>
        <p:spPr>
          <a:xfrm>
            <a:off x="7376189"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4" name="Text Placeholder 6">
            <a:extLst>
              <a:ext uri="{FF2B5EF4-FFF2-40B4-BE49-F238E27FC236}">
                <a16:creationId xmlns:a16="http://schemas.microsoft.com/office/drawing/2014/main" id="{804BD5F4-CAC4-3B9A-26F3-C0C1833171E1}"/>
              </a:ext>
            </a:extLst>
          </p:cNvPr>
          <p:cNvSpPr>
            <a:spLocks noGrp="1"/>
          </p:cNvSpPr>
          <p:nvPr>
            <p:ph type="body" sz="quarter" idx="24"/>
          </p:nvPr>
        </p:nvSpPr>
        <p:spPr>
          <a:xfrm>
            <a:off x="7376189"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5" name="Text Placeholder 6">
            <a:extLst>
              <a:ext uri="{FF2B5EF4-FFF2-40B4-BE49-F238E27FC236}">
                <a16:creationId xmlns:a16="http://schemas.microsoft.com/office/drawing/2014/main" id="{B233CA27-29C3-9FC3-D859-9E09C4A5F850}"/>
              </a:ext>
            </a:extLst>
          </p:cNvPr>
          <p:cNvSpPr>
            <a:spLocks noGrp="1"/>
          </p:cNvSpPr>
          <p:nvPr>
            <p:ph type="body" sz="quarter" idx="25"/>
          </p:nvPr>
        </p:nvSpPr>
        <p:spPr>
          <a:xfrm>
            <a:off x="7376189"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6" name="Picture Placeholder 3">
            <a:extLst>
              <a:ext uri="{FF2B5EF4-FFF2-40B4-BE49-F238E27FC236}">
                <a16:creationId xmlns:a16="http://schemas.microsoft.com/office/drawing/2014/main" id="{8B57295D-E6CF-D31C-B144-FCA5CB14DF6B}"/>
              </a:ext>
            </a:extLst>
          </p:cNvPr>
          <p:cNvSpPr>
            <a:spLocks noGrp="1"/>
          </p:cNvSpPr>
          <p:nvPr>
            <p:ph type="pic" sz="quarter" idx="26"/>
          </p:nvPr>
        </p:nvSpPr>
        <p:spPr>
          <a:xfrm>
            <a:off x="9662939"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7" name="Text Placeholder 6">
            <a:extLst>
              <a:ext uri="{FF2B5EF4-FFF2-40B4-BE49-F238E27FC236}">
                <a16:creationId xmlns:a16="http://schemas.microsoft.com/office/drawing/2014/main" id="{AD0246CA-EA99-001F-02B9-8BA52DCE7337}"/>
              </a:ext>
            </a:extLst>
          </p:cNvPr>
          <p:cNvSpPr>
            <a:spLocks noGrp="1"/>
          </p:cNvSpPr>
          <p:nvPr>
            <p:ph type="body" sz="quarter" idx="27"/>
          </p:nvPr>
        </p:nvSpPr>
        <p:spPr>
          <a:xfrm>
            <a:off x="9662940"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8" name="Text Placeholder 6">
            <a:extLst>
              <a:ext uri="{FF2B5EF4-FFF2-40B4-BE49-F238E27FC236}">
                <a16:creationId xmlns:a16="http://schemas.microsoft.com/office/drawing/2014/main" id="{3D355FF6-773D-9D18-B07A-AFAED992F8C9}"/>
              </a:ext>
            </a:extLst>
          </p:cNvPr>
          <p:cNvSpPr>
            <a:spLocks noGrp="1"/>
          </p:cNvSpPr>
          <p:nvPr>
            <p:ph type="body" sz="quarter" idx="28"/>
          </p:nvPr>
        </p:nvSpPr>
        <p:spPr>
          <a:xfrm>
            <a:off x="9662940"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1228990976"/>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Icons x4 Gri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Picture Placeholder 3">
            <a:extLst>
              <a:ext uri="{FF2B5EF4-FFF2-40B4-BE49-F238E27FC236}">
                <a16:creationId xmlns:a16="http://schemas.microsoft.com/office/drawing/2014/main" id="{78B95D78-F57A-6D40-A841-7D1E3B08277B}"/>
              </a:ext>
            </a:extLst>
          </p:cNvPr>
          <p:cNvSpPr>
            <a:spLocks noGrp="1"/>
          </p:cNvSpPr>
          <p:nvPr>
            <p:ph type="pic" sz="quarter" idx="13"/>
          </p:nvPr>
        </p:nvSpPr>
        <p:spPr>
          <a:xfrm>
            <a:off x="515938" y="1304925"/>
            <a:ext cx="869950" cy="869950"/>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1549400" y="1687057"/>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1549400" y="1304925"/>
            <a:ext cx="4143829" cy="382135"/>
          </a:xfrm>
        </p:spPr>
        <p:txBody>
          <a:bodyPr>
            <a:normAutofit/>
          </a:bodyPr>
          <a:lstStyle>
            <a:lvl1pPr>
              <a:defRPr sz="1800" b="1">
                <a:solidFill>
                  <a:schemeClr val="bg2"/>
                </a:solidFill>
              </a:defRPr>
            </a:lvl1pPr>
          </a:lstStyle>
          <a:p>
            <a:pPr lvl="0"/>
            <a:r>
              <a:rPr lang="en-GB"/>
              <a:t>Click to edit Master text styles</a:t>
            </a:r>
          </a:p>
        </p:txBody>
      </p:sp>
      <p:sp>
        <p:nvSpPr>
          <p:cNvPr id="20" name="Picture Placeholder 3">
            <a:extLst>
              <a:ext uri="{FF2B5EF4-FFF2-40B4-BE49-F238E27FC236}">
                <a16:creationId xmlns:a16="http://schemas.microsoft.com/office/drawing/2014/main" id="{D3B567E7-3D24-6F43-A35A-BBC5B9C571B7}"/>
              </a:ext>
            </a:extLst>
          </p:cNvPr>
          <p:cNvSpPr>
            <a:spLocks noGrp="1"/>
          </p:cNvSpPr>
          <p:nvPr>
            <p:ph type="pic" sz="quarter" idx="17"/>
          </p:nvPr>
        </p:nvSpPr>
        <p:spPr>
          <a:xfrm>
            <a:off x="515938" y="3786232"/>
            <a:ext cx="869950" cy="869950"/>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1" name="Text Placeholder 6">
            <a:extLst>
              <a:ext uri="{FF2B5EF4-FFF2-40B4-BE49-F238E27FC236}">
                <a16:creationId xmlns:a16="http://schemas.microsoft.com/office/drawing/2014/main" id="{93E388B6-7D3E-7F4E-89BF-34EFDCA27B09}"/>
              </a:ext>
            </a:extLst>
          </p:cNvPr>
          <p:cNvSpPr>
            <a:spLocks noGrp="1"/>
          </p:cNvSpPr>
          <p:nvPr>
            <p:ph type="body" sz="quarter" idx="18"/>
          </p:nvPr>
        </p:nvSpPr>
        <p:spPr>
          <a:xfrm>
            <a:off x="1549400" y="4168364"/>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22" name="Text Placeholder 6">
            <a:extLst>
              <a:ext uri="{FF2B5EF4-FFF2-40B4-BE49-F238E27FC236}">
                <a16:creationId xmlns:a16="http://schemas.microsoft.com/office/drawing/2014/main" id="{881671EB-257B-ED4B-947C-F1B6F4FDC869}"/>
              </a:ext>
            </a:extLst>
          </p:cNvPr>
          <p:cNvSpPr>
            <a:spLocks noGrp="1"/>
          </p:cNvSpPr>
          <p:nvPr>
            <p:ph type="body" sz="quarter" idx="19"/>
          </p:nvPr>
        </p:nvSpPr>
        <p:spPr>
          <a:xfrm>
            <a:off x="1549400" y="3786232"/>
            <a:ext cx="4143829" cy="382135"/>
          </a:xfrm>
        </p:spPr>
        <p:txBody>
          <a:bodyPr>
            <a:normAutofit/>
          </a:bodyPr>
          <a:lstStyle>
            <a:lvl1pPr>
              <a:defRPr sz="1800" b="1">
                <a:solidFill>
                  <a:schemeClr val="bg2"/>
                </a:solidFill>
              </a:defRPr>
            </a:lvl1pPr>
          </a:lstStyle>
          <a:p>
            <a:pPr lvl="0"/>
            <a:r>
              <a:rPr lang="en-GB"/>
              <a:t>Click to edit Master text styles</a:t>
            </a:r>
          </a:p>
        </p:txBody>
      </p:sp>
      <p:sp>
        <p:nvSpPr>
          <p:cNvPr id="23" name="Picture Placeholder 3">
            <a:extLst>
              <a:ext uri="{FF2B5EF4-FFF2-40B4-BE49-F238E27FC236}">
                <a16:creationId xmlns:a16="http://schemas.microsoft.com/office/drawing/2014/main" id="{92691027-CA0E-E24A-BE52-C681CD1360B7}"/>
              </a:ext>
            </a:extLst>
          </p:cNvPr>
          <p:cNvSpPr>
            <a:spLocks noGrp="1"/>
          </p:cNvSpPr>
          <p:nvPr>
            <p:ph type="pic" sz="quarter" idx="20"/>
          </p:nvPr>
        </p:nvSpPr>
        <p:spPr>
          <a:xfrm>
            <a:off x="6498773" y="1304925"/>
            <a:ext cx="869950" cy="869950"/>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4" name="Text Placeholder 6">
            <a:extLst>
              <a:ext uri="{FF2B5EF4-FFF2-40B4-BE49-F238E27FC236}">
                <a16:creationId xmlns:a16="http://schemas.microsoft.com/office/drawing/2014/main" id="{6C29C828-D0AF-8740-B636-DCE11FB0484F}"/>
              </a:ext>
            </a:extLst>
          </p:cNvPr>
          <p:cNvSpPr>
            <a:spLocks noGrp="1"/>
          </p:cNvSpPr>
          <p:nvPr>
            <p:ph type="body" sz="quarter" idx="21"/>
          </p:nvPr>
        </p:nvSpPr>
        <p:spPr>
          <a:xfrm>
            <a:off x="7532235" y="1687057"/>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25" name="Text Placeholder 6">
            <a:extLst>
              <a:ext uri="{FF2B5EF4-FFF2-40B4-BE49-F238E27FC236}">
                <a16:creationId xmlns:a16="http://schemas.microsoft.com/office/drawing/2014/main" id="{58CECF4C-60E6-054F-A58B-39ED49ED6AD2}"/>
              </a:ext>
            </a:extLst>
          </p:cNvPr>
          <p:cNvSpPr>
            <a:spLocks noGrp="1"/>
          </p:cNvSpPr>
          <p:nvPr>
            <p:ph type="body" sz="quarter" idx="22"/>
          </p:nvPr>
        </p:nvSpPr>
        <p:spPr>
          <a:xfrm>
            <a:off x="7532235" y="1304925"/>
            <a:ext cx="4143829" cy="382135"/>
          </a:xfrm>
        </p:spPr>
        <p:txBody>
          <a:bodyPr>
            <a:normAutofit/>
          </a:bodyPr>
          <a:lstStyle>
            <a:lvl1pPr>
              <a:defRPr sz="1800" b="1">
                <a:solidFill>
                  <a:schemeClr val="bg2"/>
                </a:solidFill>
              </a:defRPr>
            </a:lvl1pPr>
          </a:lstStyle>
          <a:p>
            <a:pPr lvl="0"/>
            <a:r>
              <a:rPr lang="en-GB"/>
              <a:t>Click to edit Master text styles</a:t>
            </a:r>
          </a:p>
        </p:txBody>
      </p:sp>
      <p:sp>
        <p:nvSpPr>
          <p:cNvPr id="26" name="Picture Placeholder 3">
            <a:extLst>
              <a:ext uri="{FF2B5EF4-FFF2-40B4-BE49-F238E27FC236}">
                <a16:creationId xmlns:a16="http://schemas.microsoft.com/office/drawing/2014/main" id="{CD7BB1DF-4B0D-0046-AD00-F6E58908BDED}"/>
              </a:ext>
            </a:extLst>
          </p:cNvPr>
          <p:cNvSpPr>
            <a:spLocks noGrp="1"/>
          </p:cNvSpPr>
          <p:nvPr>
            <p:ph type="pic" sz="quarter" idx="23"/>
          </p:nvPr>
        </p:nvSpPr>
        <p:spPr>
          <a:xfrm>
            <a:off x="6498773" y="3786232"/>
            <a:ext cx="869950" cy="869950"/>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7" name="Text Placeholder 6">
            <a:extLst>
              <a:ext uri="{FF2B5EF4-FFF2-40B4-BE49-F238E27FC236}">
                <a16:creationId xmlns:a16="http://schemas.microsoft.com/office/drawing/2014/main" id="{FDABD8D9-C71A-A446-8E62-82A359216E99}"/>
              </a:ext>
            </a:extLst>
          </p:cNvPr>
          <p:cNvSpPr>
            <a:spLocks noGrp="1"/>
          </p:cNvSpPr>
          <p:nvPr>
            <p:ph type="body" sz="quarter" idx="24"/>
          </p:nvPr>
        </p:nvSpPr>
        <p:spPr>
          <a:xfrm>
            <a:off x="7532235" y="4168364"/>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28" name="Text Placeholder 6">
            <a:extLst>
              <a:ext uri="{FF2B5EF4-FFF2-40B4-BE49-F238E27FC236}">
                <a16:creationId xmlns:a16="http://schemas.microsoft.com/office/drawing/2014/main" id="{0340EBB2-1491-9444-9D25-3567B2AAB22F}"/>
              </a:ext>
            </a:extLst>
          </p:cNvPr>
          <p:cNvSpPr>
            <a:spLocks noGrp="1"/>
          </p:cNvSpPr>
          <p:nvPr>
            <p:ph type="body" sz="quarter" idx="25"/>
          </p:nvPr>
        </p:nvSpPr>
        <p:spPr>
          <a:xfrm>
            <a:off x="7532235" y="3786232"/>
            <a:ext cx="4143829" cy="382135"/>
          </a:xfrm>
        </p:spPr>
        <p:txBody>
          <a:bodyPr>
            <a:normAutofit/>
          </a:bodyPr>
          <a:lstStyle>
            <a:lvl1pPr>
              <a:defRPr sz="1800"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1895544656"/>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ext + 3 Objectiv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342900" indent="-342900">
              <a:buClr>
                <a:schemeClr val="bg2"/>
              </a:buClr>
              <a:buFont typeface="Arial" panose="020B0604020202020204" pitchFamily="34" charset="0"/>
              <a:buChar char="•"/>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23" name="Round Same-side Corner of Rectangle 22">
            <a:extLst>
              <a:ext uri="{FF2B5EF4-FFF2-40B4-BE49-F238E27FC236}">
                <a16:creationId xmlns:a16="http://schemas.microsoft.com/office/drawing/2014/main" id="{16D0EA1C-2C30-674C-9E0D-D3B85EFE8B44}"/>
              </a:ext>
            </a:extLst>
          </p:cNvPr>
          <p:cNvSpPr/>
          <p:nvPr userDrawn="1"/>
        </p:nvSpPr>
        <p:spPr>
          <a:xfrm rot="5400000" flipH="1">
            <a:off x="8698709" y="2420146"/>
            <a:ext cx="1350948" cy="5635632"/>
          </a:xfrm>
          <a:prstGeom prst="round2SameRect">
            <a:avLst>
              <a:gd name="adj1" fmla="val 0"/>
              <a:gd name="adj2"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solidFill>
                <a:schemeClr val="bg1">
                  <a:lumMod val="85000"/>
                </a:schemeClr>
              </a:solidFill>
              <a:latin typeface="Arial" panose="020B0604020202020204" pitchFamily="34" charset="0"/>
            </a:endParaRPr>
          </a:p>
        </p:txBody>
      </p:sp>
      <p:sp>
        <p:nvSpPr>
          <p:cNvPr id="24" name="Text Placeholder 6">
            <a:extLst>
              <a:ext uri="{FF2B5EF4-FFF2-40B4-BE49-F238E27FC236}">
                <a16:creationId xmlns:a16="http://schemas.microsoft.com/office/drawing/2014/main" id="{0933F7F4-7E4A-AD4A-B080-3883C01BCEA1}"/>
              </a:ext>
            </a:extLst>
          </p:cNvPr>
          <p:cNvSpPr>
            <a:spLocks noGrp="1"/>
          </p:cNvSpPr>
          <p:nvPr>
            <p:ph type="body" sz="quarter" idx="27"/>
          </p:nvPr>
        </p:nvSpPr>
        <p:spPr>
          <a:xfrm>
            <a:off x="7955149" y="5013397"/>
            <a:ext cx="3715133" cy="792044"/>
          </a:xfrm>
        </p:spPr>
        <p:txBody>
          <a:bodyPr anchor="t">
            <a:normAutofit/>
          </a:bodyPr>
          <a:lstStyle>
            <a:lvl1pPr marL="179388" indent="-179388">
              <a:lnSpc>
                <a:spcPct val="110000"/>
              </a:lnSpc>
              <a:spcBef>
                <a:spcPts val="0"/>
              </a:spcBef>
              <a:spcAft>
                <a:spcPts val="600"/>
              </a:spcAft>
              <a:buFont typeface="Arial" panose="020B0604020202020204" pitchFamily="34" charset="0"/>
              <a:buChar char="•"/>
              <a:tabLst/>
              <a:defRPr sz="1400" b="1">
                <a:solidFill>
                  <a:schemeClr val="bg1"/>
                </a:solidFill>
              </a:defRPr>
            </a:lvl1pPr>
          </a:lstStyle>
          <a:p>
            <a:pPr lvl="0"/>
            <a:r>
              <a:rPr lang="en-GB"/>
              <a:t>Click to edit Master text styles</a:t>
            </a:r>
          </a:p>
        </p:txBody>
      </p:sp>
      <p:sp>
        <p:nvSpPr>
          <p:cNvPr id="25" name="Text Placeholder 6">
            <a:extLst>
              <a:ext uri="{FF2B5EF4-FFF2-40B4-BE49-F238E27FC236}">
                <a16:creationId xmlns:a16="http://schemas.microsoft.com/office/drawing/2014/main" id="{66DF01F6-3014-6E4B-AB71-62673ED7268C}"/>
              </a:ext>
            </a:extLst>
          </p:cNvPr>
          <p:cNvSpPr>
            <a:spLocks noGrp="1"/>
          </p:cNvSpPr>
          <p:nvPr>
            <p:ph type="body" sz="quarter" idx="28" hasCustomPrompt="1"/>
          </p:nvPr>
        </p:nvSpPr>
        <p:spPr>
          <a:xfrm>
            <a:off x="7955149" y="4663313"/>
            <a:ext cx="1917616" cy="249259"/>
          </a:xfrm>
        </p:spPr>
        <p:txBody>
          <a:bodyPr anchor="t">
            <a:normAutofit/>
          </a:bodyPr>
          <a:lstStyle>
            <a:lvl1pPr algn="l">
              <a:lnSpc>
                <a:spcPct val="110000"/>
              </a:lnSpc>
              <a:spcAft>
                <a:spcPts val="600"/>
              </a:spcAft>
              <a:defRPr sz="1600" b="1">
                <a:solidFill>
                  <a:schemeClr val="tx2">
                    <a:lumMod val="40000"/>
                    <a:lumOff val="60000"/>
                  </a:schemeClr>
                </a:solidFill>
              </a:defRPr>
            </a:lvl1pPr>
          </a:lstStyle>
          <a:p>
            <a:pPr lvl="0"/>
            <a:r>
              <a:rPr lang="en-GB"/>
              <a:t>Title</a:t>
            </a:r>
          </a:p>
        </p:txBody>
      </p:sp>
      <p:sp>
        <p:nvSpPr>
          <p:cNvPr id="26" name="Picture Placeholder 3">
            <a:extLst>
              <a:ext uri="{FF2B5EF4-FFF2-40B4-BE49-F238E27FC236}">
                <a16:creationId xmlns:a16="http://schemas.microsoft.com/office/drawing/2014/main" id="{E49618F2-620F-A042-9095-E7C4C137E2ED}"/>
              </a:ext>
            </a:extLst>
          </p:cNvPr>
          <p:cNvSpPr>
            <a:spLocks noGrp="1"/>
          </p:cNvSpPr>
          <p:nvPr>
            <p:ph type="pic" sz="quarter" idx="29"/>
          </p:nvPr>
        </p:nvSpPr>
        <p:spPr>
          <a:xfrm>
            <a:off x="6957092" y="4846809"/>
            <a:ext cx="767874" cy="767874"/>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7" name="Round Same-side Corner of Rectangle 26">
            <a:extLst>
              <a:ext uri="{FF2B5EF4-FFF2-40B4-BE49-F238E27FC236}">
                <a16:creationId xmlns:a16="http://schemas.microsoft.com/office/drawing/2014/main" id="{CFB215F2-B96A-D14F-B549-E8D9FA660A0B}"/>
              </a:ext>
            </a:extLst>
          </p:cNvPr>
          <p:cNvSpPr/>
          <p:nvPr userDrawn="1"/>
        </p:nvSpPr>
        <p:spPr>
          <a:xfrm rot="5400000" flipH="1">
            <a:off x="8698709" y="791363"/>
            <a:ext cx="1350948" cy="5635632"/>
          </a:xfrm>
          <a:prstGeom prst="round2SameRect">
            <a:avLst>
              <a:gd name="adj1" fmla="val 0"/>
              <a:gd name="adj2"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solidFill>
                <a:schemeClr val="bg1">
                  <a:lumMod val="85000"/>
                </a:schemeClr>
              </a:solidFill>
              <a:latin typeface="Arial" panose="020B0604020202020204" pitchFamily="34" charset="0"/>
            </a:endParaRPr>
          </a:p>
        </p:txBody>
      </p:sp>
      <p:sp>
        <p:nvSpPr>
          <p:cNvPr id="28" name="Text Placeholder 6">
            <a:extLst>
              <a:ext uri="{FF2B5EF4-FFF2-40B4-BE49-F238E27FC236}">
                <a16:creationId xmlns:a16="http://schemas.microsoft.com/office/drawing/2014/main" id="{F2701821-5C13-4746-B598-28CE9EEFDFD0}"/>
              </a:ext>
            </a:extLst>
          </p:cNvPr>
          <p:cNvSpPr>
            <a:spLocks noGrp="1"/>
          </p:cNvSpPr>
          <p:nvPr>
            <p:ph type="body" sz="quarter" idx="30"/>
          </p:nvPr>
        </p:nvSpPr>
        <p:spPr>
          <a:xfrm>
            <a:off x="7955149" y="3384614"/>
            <a:ext cx="3715133" cy="792044"/>
          </a:xfrm>
        </p:spPr>
        <p:txBody>
          <a:bodyPr anchor="t">
            <a:normAutofit/>
          </a:bodyPr>
          <a:lstStyle>
            <a:lvl1pPr marL="179388" indent="-179388">
              <a:lnSpc>
                <a:spcPct val="110000"/>
              </a:lnSpc>
              <a:spcBef>
                <a:spcPts val="0"/>
              </a:spcBef>
              <a:spcAft>
                <a:spcPts val="600"/>
              </a:spcAft>
              <a:buFont typeface="Arial" panose="020B0604020202020204" pitchFamily="34" charset="0"/>
              <a:buChar char="•"/>
              <a:tabLst/>
              <a:defRPr sz="1400" b="1">
                <a:solidFill>
                  <a:schemeClr val="bg1"/>
                </a:solidFill>
              </a:defRPr>
            </a:lvl1pPr>
          </a:lstStyle>
          <a:p>
            <a:pPr lvl="0"/>
            <a:r>
              <a:rPr lang="en-GB"/>
              <a:t>Click to edit Master text styles</a:t>
            </a:r>
          </a:p>
        </p:txBody>
      </p:sp>
      <p:sp>
        <p:nvSpPr>
          <p:cNvPr id="29" name="Text Placeholder 6">
            <a:extLst>
              <a:ext uri="{FF2B5EF4-FFF2-40B4-BE49-F238E27FC236}">
                <a16:creationId xmlns:a16="http://schemas.microsoft.com/office/drawing/2014/main" id="{8C928579-FF9D-8E4F-912D-F44BF03ECF0E}"/>
              </a:ext>
            </a:extLst>
          </p:cNvPr>
          <p:cNvSpPr>
            <a:spLocks noGrp="1"/>
          </p:cNvSpPr>
          <p:nvPr>
            <p:ph type="body" sz="quarter" idx="31" hasCustomPrompt="1"/>
          </p:nvPr>
        </p:nvSpPr>
        <p:spPr>
          <a:xfrm>
            <a:off x="7955149" y="3034530"/>
            <a:ext cx="1917616" cy="249259"/>
          </a:xfrm>
        </p:spPr>
        <p:txBody>
          <a:bodyPr anchor="t">
            <a:normAutofit/>
          </a:bodyPr>
          <a:lstStyle>
            <a:lvl1pPr algn="l">
              <a:lnSpc>
                <a:spcPct val="110000"/>
              </a:lnSpc>
              <a:spcAft>
                <a:spcPts val="600"/>
              </a:spcAft>
              <a:defRPr sz="1600" b="1">
                <a:solidFill>
                  <a:schemeClr val="tx2">
                    <a:lumMod val="40000"/>
                    <a:lumOff val="60000"/>
                  </a:schemeClr>
                </a:solidFill>
              </a:defRPr>
            </a:lvl1pPr>
          </a:lstStyle>
          <a:p>
            <a:pPr lvl="0"/>
            <a:r>
              <a:rPr lang="en-GB"/>
              <a:t>Title</a:t>
            </a:r>
          </a:p>
        </p:txBody>
      </p:sp>
      <p:sp>
        <p:nvSpPr>
          <p:cNvPr id="30" name="Picture Placeholder 3">
            <a:extLst>
              <a:ext uri="{FF2B5EF4-FFF2-40B4-BE49-F238E27FC236}">
                <a16:creationId xmlns:a16="http://schemas.microsoft.com/office/drawing/2014/main" id="{B617E54E-8C7A-E24B-A3E6-FFD196430237}"/>
              </a:ext>
            </a:extLst>
          </p:cNvPr>
          <p:cNvSpPr>
            <a:spLocks noGrp="1"/>
          </p:cNvSpPr>
          <p:nvPr>
            <p:ph type="pic" sz="quarter" idx="32"/>
          </p:nvPr>
        </p:nvSpPr>
        <p:spPr>
          <a:xfrm>
            <a:off x="6957092" y="3218026"/>
            <a:ext cx="767874" cy="767874"/>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31" name="Round Same-side Corner of Rectangle 30">
            <a:extLst>
              <a:ext uri="{FF2B5EF4-FFF2-40B4-BE49-F238E27FC236}">
                <a16:creationId xmlns:a16="http://schemas.microsoft.com/office/drawing/2014/main" id="{468DF2F5-0340-4C4E-8BAB-B68D68BDB1CC}"/>
              </a:ext>
            </a:extLst>
          </p:cNvPr>
          <p:cNvSpPr/>
          <p:nvPr userDrawn="1"/>
        </p:nvSpPr>
        <p:spPr>
          <a:xfrm rot="5400000" flipH="1">
            <a:off x="8698709" y="-837418"/>
            <a:ext cx="1350948" cy="5635632"/>
          </a:xfrm>
          <a:prstGeom prst="round2SameRect">
            <a:avLst>
              <a:gd name="adj1" fmla="val 0"/>
              <a:gd name="adj2"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solidFill>
                <a:schemeClr val="bg1">
                  <a:lumMod val="85000"/>
                </a:schemeClr>
              </a:solidFill>
              <a:latin typeface="Arial" panose="020B0604020202020204" pitchFamily="34" charset="0"/>
            </a:endParaRPr>
          </a:p>
        </p:txBody>
      </p:sp>
      <p:sp>
        <p:nvSpPr>
          <p:cNvPr id="32" name="Text Placeholder 6">
            <a:extLst>
              <a:ext uri="{FF2B5EF4-FFF2-40B4-BE49-F238E27FC236}">
                <a16:creationId xmlns:a16="http://schemas.microsoft.com/office/drawing/2014/main" id="{8297A7AF-4FD1-0044-A50C-5C0CE488521B}"/>
              </a:ext>
            </a:extLst>
          </p:cNvPr>
          <p:cNvSpPr>
            <a:spLocks noGrp="1"/>
          </p:cNvSpPr>
          <p:nvPr>
            <p:ph type="body" sz="quarter" idx="33"/>
          </p:nvPr>
        </p:nvSpPr>
        <p:spPr>
          <a:xfrm>
            <a:off x="7955149" y="1755833"/>
            <a:ext cx="3715133" cy="792044"/>
          </a:xfrm>
        </p:spPr>
        <p:txBody>
          <a:bodyPr anchor="t">
            <a:normAutofit/>
          </a:bodyPr>
          <a:lstStyle>
            <a:lvl1pPr marL="179388" indent="-179388">
              <a:lnSpc>
                <a:spcPct val="110000"/>
              </a:lnSpc>
              <a:spcBef>
                <a:spcPts val="0"/>
              </a:spcBef>
              <a:spcAft>
                <a:spcPts val="600"/>
              </a:spcAft>
              <a:buFont typeface="Arial" panose="020B0604020202020204" pitchFamily="34" charset="0"/>
              <a:buChar char="•"/>
              <a:tabLst/>
              <a:defRPr sz="1400" b="1">
                <a:solidFill>
                  <a:schemeClr val="bg1"/>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6C19D012-767E-A845-8105-4B4C4887921E}"/>
              </a:ext>
            </a:extLst>
          </p:cNvPr>
          <p:cNvSpPr>
            <a:spLocks noGrp="1"/>
          </p:cNvSpPr>
          <p:nvPr>
            <p:ph type="body" sz="quarter" idx="34" hasCustomPrompt="1"/>
          </p:nvPr>
        </p:nvSpPr>
        <p:spPr>
          <a:xfrm>
            <a:off x="7955149" y="1405749"/>
            <a:ext cx="1917616" cy="249259"/>
          </a:xfrm>
        </p:spPr>
        <p:txBody>
          <a:bodyPr anchor="t">
            <a:normAutofit/>
          </a:bodyPr>
          <a:lstStyle>
            <a:lvl1pPr algn="l">
              <a:lnSpc>
                <a:spcPct val="110000"/>
              </a:lnSpc>
              <a:spcAft>
                <a:spcPts val="600"/>
              </a:spcAft>
              <a:defRPr sz="1600" b="1">
                <a:solidFill>
                  <a:schemeClr val="tx2">
                    <a:lumMod val="40000"/>
                    <a:lumOff val="60000"/>
                  </a:schemeClr>
                </a:solidFill>
              </a:defRPr>
            </a:lvl1pPr>
          </a:lstStyle>
          <a:p>
            <a:pPr lvl="0"/>
            <a:r>
              <a:rPr lang="en-GB"/>
              <a:t>Title</a:t>
            </a:r>
          </a:p>
        </p:txBody>
      </p:sp>
      <p:sp>
        <p:nvSpPr>
          <p:cNvPr id="34" name="Picture Placeholder 3">
            <a:extLst>
              <a:ext uri="{FF2B5EF4-FFF2-40B4-BE49-F238E27FC236}">
                <a16:creationId xmlns:a16="http://schemas.microsoft.com/office/drawing/2014/main" id="{DD5DD0FD-09C0-E049-944D-E6046E4FD565}"/>
              </a:ext>
            </a:extLst>
          </p:cNvPr>
          <p:cNvSpPr>
            <a:spLocks noGrp="1"/>
          </p:cNvSpPr>
          <p:nvPr>
            <p:ph type="pic" sz="quarter" idx="35"/>
          </p:nvPr>
        </p:nvSpPr>
        <p:spPr>
          <a:xfrm>
            <a:off x="6957092" y="1589245"/>
            <a:ext cx="767874" cy="767874"/>
          </a:xfrm>
        </p:spPr>
        <p:txBody>
          <a:bodyPr anchor="ctr">
            <a:noAutofit/>
          </a:bodyPr>
          <a:lstStyle>
            <a:lvl1pPr algn="ctr">
              <a:defRPr sz="1200">
                <a:solidFill>
                  <a:schemeClr val="bg1">
                    <a:lumMod val="65000"/>
                  </a:schemeClr>
                </a:solidFill>
              </a:defRPr>
            </a:lvl1pPr>
          </a:lstStyle>
          <a:p>
            <a:r>
              <a:rPr lang="en-GB"/>
              <a:t>Click icon to add picture</a:t>
            </a:r>
          </a:p>
        </p:txBody>
      </p:sp>
    </p:spTree>
    <p:extLst>
      <p:ext uri="{BB962C8B-B14F-4D97-AF65-F5344CB8AC3E}">
        <p14:creationId xmlns:p14="http://schemas.microsoft.com/office/powerpoint/2010/main" val="3582759411"/>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Flow Chart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grpSp>
        <p:nvGrpSpPr>
          <p:cNvPr id="18" name="Group 17">
            <a:extLst>
              <a:ext uri="{FF2B5EF4-FFF2-40B4-BE49-F238E27FC236}">
                <a16:creationId xmlns:a16="http://schemas.microsoft.com/office/drawing/2014/main" id="{5498C8CE-3879-2F54-526A-4FB3BC35A614}"/>
              </a:ext>
            </a:extLst>
          </p:cNvPr>
          <p:cNvGrpSpPr/>
          <p:nvPr userDrawn="1"/>
        </p:nvGrpSpPr>
        <p:grpSpPr>
          <a:xfrm>
            <a:off x="506981" y="2354656"/>
            <a:ext cx="11169081" cy="3558782"/>
            <a:chOff x="506982" y="1923728"/>
            <a:chExt cx="8410120" cy="2679700"/>
          </a:xfrm>
        </p:grpSpPr>
        <p:pic>
          <p:nvPicPr>
            <p:cNvPr id="3" name="Graphic 2">
              <a:extLst>
                <a:ext uri="{FF2B5EF4-FFF2-40B4-BE49-F238E27FC236}">
                  <a16:creationId xmlns:a16="http://schemas.microsoft.com/office/drawing/2014/main" id="{FF8E22B8-C626-33CF-AF31-C216F153582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6859702" y="1923728"/>
              <a:ext cx="2057400" cy="2679700"/>
            </a:xfrm>
            <a:prstGeom prst="rect">
              <a:avLst/>
            </a:prstGeom>
          </p:spPr>
        </p:pic>
        <p:pic>
          <p:nvPicPr>
            <p:cNvPr id="5" name="Graphic 4">
              <a:extLst>
                <a:ext uri="{FF2B5EF4-FFF2-40B4-BE49-F238E27FC236}">
                  <a16:creationId xmlns:a16="http://schemas.microsoft.com/office/drawing/2014/main" id="{51CC370D-D55C-CF1D-A84D-FC3FD269EFA7}"/>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733662" y="1923728"/>
              <a:ext cx="2209800" cy="2679700"/>
            </a:xfrm>
            <a:prstGeom prst="rect">
              <a:avLst/>
            </a:prstGeom>
          </p:spPr>
        </p:pic>
        <p:pic>
          <p:nvPicPr>
            <p:cNvPr id="8" name="Graphic 7">
              <a:extLst>
                <a:ext uri="{FF2B5EF4-FFF2-40B4-BE49-F238E27FC236}">
                  <a16:creationId xmlns:a16="http://schemas.microsoft.com/office/drawing/2014/main" id="{0CF38F8D-CE10-398F-DC92-0410984D5CA9}"/>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2607622" y="1923728"/>
              <a:ext cx="2209800" cy="2679700"/>
            </a:xfrm>
            <a:prstGeom prst="rect">
              <a:avLst/>
            </a:prstGeom>
          </p:spPr>
        </p:pic>
        <p:pic>
          <p:nvPicPr>
            <p:cNvPr id="11" name="Graphic 10">
              <a:extLst>
                <a:ext uri="{FF2B5EF4-FFF2-40B4-BE49-F238E27FC236}">
                  <a16:creationId xmlns:a16="http://schemas.microsoft.com/office/drawing/2014/main" id="{71C8FE21-D454-2669-5018-BDB88B7A469E}"/>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506982" y="1923728"/>
              <a:ext cx="2184400" cy="2679700"/>
            </a:xfrm>
            <a:prstGeom prst="rect">
              <a:avLst/>
            </a:prstGeom>
          </p:spPr>
        </p:pic>
      </p:grpSp>
      <p:sp>
        <p:nvSpPr>
          <p:cNvPr id="20" name="Text Placeholder 8">
            <a:extLst>
              <a:ext uri="{FF2B5EF4-FFF2-40B4-BE49-F238E27FC236}">
                <a16:creationId xmlns:a16="http://schemas.microsoft.com/office/drawing/2014/main" id="{469A369E-3216-3A94-D069-C4212D6C5B2A}"/>
              </a:ext>
            </a:extLst>
          </p:cNvPr>
          <p:cNvSpPr>
            <a:spLocks noGrp="1"/>
          </p:cNvSpPr>
          <p:nvPr>
            <p:ph type="body" idx="13"/>
          </p:nvPr>
        </p:nvSpPr>
        <p:spPr>
          <a:xfrm>
            <a:off x="531133" y="1304925"/>
            <a:ext cx="11144930" cy="853194"/>
          </a:xfrm>
        </p:spPr>
        <p:txBody>
          <a:bodyPr numCol="1" spcCol="180000"/>
          <a:lstStyle>
            <a:lvl1pPr marL="0" indent="0">
              <a:spcAft>
                <a:spcPts val="600"/>
              </a:spcAft>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21" name="Text Placeholder 6">
            <a:extLst>
              <a:ext uri="{FF2B5EF4-FFF2-40B4-BE49-F238E27FC236}">
                <a16:creationId xmlns:a16="http://schemas.microsoft.com/office/drawing/2014/main" id="{8A9C1315-921F-285F-D6BD-A177DE53DC2E}"/>
              </a:ext>
            </a:extLst>
          </p:cNvPr>
          <p:cNvSpPr>
            <a:spLocks noGrp="1"/>
          </p:cNvSpPr>
          <p:nvPr>
            <p:ph type="body" sz="quarter" idx="15"/>
          </p:nvPr>
        </p:nvSpPr>
        <p:spPr>
          <a:xfrm>
            <a:off x="675643" y="3054704"/>
            <a:ext cx="2290922" cy="2745803"/>
          </a:xfrm>
        </p:spPr>
        <p:txBody>
          <a:bodyPr>
            <a:normAutofit/>
          </a:bodyPr>
          <a:lstStyle>
            <a:lvl1pPr marL="177800" indent="-177800">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22" name="Text Placeholder 6">
            <a:extLst>
              <a:ext uri="{FF2B5EF4-FFF2-40B4-BE49-F238E27FC236}">
                <a16:creationId xmlns:a16="http://schemas.microsoft.com/office/drawing/2014/main" id="{4F0999A6-8092-1A74-E3A2-26CC341F65C7}"/>
              </a:ext>
            </a:extLst>
          </p:cNvPr>
          <p:cNvSpPr>
            <a:spLocks noGrp="1"/>
          </p:cNvSpPr>
          <p:nvPr>
            <p:ph type="body" sz="quarter" idx="16"/>
          </p:nvPr>
        </p:nvSpPr>
        <p:spPr>
          <a:xfrm>
            <a:off x="675643" y="2501966"/>
            <a:ext cx="2290922" cy="443198"/>
          </a:xfrm>
        </p:spPr>
        <p:txBody>
          <a:bodyPr wrap="square" anchor="ctr">
            <a:noAutofit/>
          </a:bodyPr>
          <a:lstStyle>
            <a:lvl1pPr>
              <a:lnSpc>
                <a:spcPct val="90000"/>
              </a:lnSpc>
              <a:defRPr sz="2000" b="1">
                <a:solidFill>
                  <a:schemeClr val="bg2"/>
                </a:solidFill>
              </a:defRPr>
            </a:lvl1pPr>
          </a:lstStyle>
          <a:p>
            <a:pPr lvl="0"/>
            <a:r>
              <a:rPr lang="en-GB"/>
              <a:t>Click to edit Master text styles</a:t>
            </a:r>
          </a:p>
        </p:txBody>
      </p:sp>
      <p:sp>
        <p:nvSpPr>
          <p:cNvPr id="26" name="Text Placeholder 6">
            <a:extLst>
              <a:ext uri="{FF2B5EF4-FFF2-40B4-BE49-F238E27FC236}">
                <a16:creationId xmlns:a16="http://schemas.microsoft.com/office/drawing/2014/main" id="{F5E81801-D408-BD68-8EF8-821176E4315D}"/>
              </a:ext>
            </a:extLst>
          </p:cNvPr>
          <p:cNvSpPr>
            <a:spLocks noGrp="1"/>
          </p:cNvSpPr>
          <p:nvPr>
            <p:ph type="body" sz="quarter" idx="17"/>
          </p:nvPr>
        </p:nvSpPr>
        <p:spPr>
          <a:xfrm>
            <a:off x="3583362" y="3054704"/>
            <a:ext cx="2231105" cy="2745803"/>
          </a:xfrm>
        </p:spPr>
        <p:txBody>
          <a:bodyPr>
            <a:normAutofit/>
          </a:bodyPr>
          <a:lstStyle>
            <a:lvl1pPr marL="177800" indent="-177800">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27" name="Text Placeholder 6">
            <a:extLst>
              <a:ext uri="{FF2B5EF4-FFF2-40B4-BE49-F238E27FC236}">
                <a16:creationId xmlns:a16="http://schemas.microsoft.com/office/drawing/2014/main" id="{FE29D8EA-6114-4150-3B97-EAD0BB047B28}"/>
              </a:ext>
            </a:extLst>
          </p:cNvPr>
          <p:cNvSpPr>
            <a:spLocks noGrp="1"/>
          </p:cNvSpPr>
          <p:nvPr>
            <p:ph type="body" sz="quarter" idx="18"/>
          </p:nvPr>
        </p:nvSpPr>
        <p:spPr>
          <a:xfrm>
            <a:off x="3583362" y="2501966"/>
            <a:ext cx="2231105" cy="443198"/>
          </a:xfrm>
        </p:spPr>
        <p:txBody>
          <a:bodyPr wrap="square" anchor="ctr">
            <a:noAutofit/>
          </a:bodyPr>
          <a:lstStyle>
            <a:lvl1pPr>
              <a:lnSpc>
                <a:spcPct val="90000"/>
              </a:lnSpc>
              <a:defRPr sz="2000" b="1">
                <a:solidFill>
                  <a:schemeClr val="accent1"/>
                </a:solidFill>
              </a:defRPr>
            </a:lvl1pPr>
          </a:lstStyle>
          <a:p>
            <a:pPr lvl="0"/>
            <a:r>
              <a:rPr lang="en-GB"/>
              <a:t>Click to edit Master text styles</a:t>
            </a:r>
          </a:p>
        </p:txBody>
      </p:sp>
      <p:sp>
        <p:nvSpPr>
          <p:cNvPr id="28" name="Text Placeholder 6">
            <a:extLst>
              <a:ext uri="{FF2B5EF4-FFF2-40B4-BE49-F238E27FC236}">
                <a16:creationId xmlns:a16="http://schemas.microsoft.com/office/drawing/2014/main" id="{832C3EE2-E731-14E8-F235-F0DC107603F1}"/>
              </a:ext>
            </a:extLst>
          </p:cNvPr>
          <p:cNvSpPr>
            <a:spLocks noGrp="1"/>
          </p:cNvSpPr>
          <p:nvPr>
            <p:ph type="body" sz="quarter" idx="19"/>
          </p:nvPr>
        </p:nvSpPr>
        <p:spPr>
          <a:xfrm>
            <a:off x="6396559" y="3054704"/>
            <a:ext cx="2251850" cy="2745803"/>
          </a:xfrm>
        </p:spPr>
        <p:txBody>
          <a:bodyPr>
            <a:normAutofit/>
          </a:bodyPr>
          <a:lstStyle>
            <a:lvl1pPr marL="177800" indent="-177800">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29" name="Text Placeholder 6">
            <a:extLst>
              <a:ext uri="{FF2B5EF4-FFF2-40B4-BE49-F238E27FC236}">
                <a16:creationId xmlns:a16="http://schemas.microsoft.com/office/drawing/2014/main" id="{3514D2BC-4EB5-482F-640F-D4ECA3398E7B}"/>
              </a:ext>
            </a:extLst>
          </p:cNvPr>
          <p:cNvSpPr>
            <a:spLocks noGrp="1"/>
          </p:cNvSpPr>
          <p:nvPr>
            <p:ph type="body" sz="quarter" idx="20"/>
          </p:nvPr>
        </p:nvSpPr>
        <p:spPr>
          <a:xfrm>
            <a:off x="6396559" y="2501966"/>
            <a:ext cx="2251850" cy="443198"/>
          </a:xfrm>
        </p:spPr>
        <p:txBody>
          <a:bodyPr wrap="square" anchor="ctr">
            <a:noAutofit/>
          </a:bodyPr>
          <a:lstStyle>
            <a:lvl1pPr>
              <a:lnSpc>
                <a:spcPct val="90000"/>
              </a:lnSpc>
              <a:defRPr sz="2000" b="1">
                <a:solidFill>
                  <a:schemeClr val="accent4"/>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176B8D71-6027-E9D4-DE0B-4336DE4C8765}"/>
              </a:ext>
            </a:extLst>
          </p:cNvPr>
          <p:cNvSpPr>
            <a:spLocks noGrp="1"/>
          </p:cNvSpPr>
          <p:nvPr>
            <p:ph type="body" sz="quarter" idx="21"/>
          </p:nvPr>
        </p:nvSpPr>
        <p:spPr>
          <a:xfrm>
            <a:off x="9244461" y="3054704"/>
            <a:ext cx="2290922" cy="2745803"/>
          </a:xfrm>
        </p:spPr>
        <p:txBody>
          <a:bodyPr>
            <a:normAutofit/>
          </a:bodyPr>
          <a:lstStyle>
            <a:lvl1pPr marL="177800" indent="-177800">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006DA17C-A871-793A-2C8F-F98A0EDA8ED0}"/>
              </a:ext>
            </a:extLst>
          </p:cNvPr>
          <p:cNvSpPr>
            <a:spLocks noGrp="1"/>
          </p:cNvSpPr>
          <p:nvPr>
            <p:ph type="body" sz="quarter" idx="22"/>
          </p:nvPr>
        </p:nvSpPr>
        <p:spPr>
          <a:xfrm>
            <a:off x="9244461" y="2501966"/>
            <a:ext cx="2290922" cy="443198"/>
          </a:xfrm>
        </p:spPr>
        <p:txBody>
          <a:bodyPr wrap="square" anchor="ctr">
            <a:noAutofit/>
          </a:bodyPr>
          <a:lstStyle>
            <a:lvl1pPr>
              <a:lnSpc>
                <a:spcPct val="90000"/>
              </a:lnSpc>
              <a:defRPr sz="2000" b="1">
                <a:solidFill>
                  <a:schemeClr val="accent5"/>
                </a:solidFill>
              </a:defRPr>
            </a:lvl1pPr>
          </a:lstStyle>
          <a:p>
            <a:pPr lvl="0"/>
            <a:r>
              <a:rPr lang="en-GB"/>
              <a:t>Click to edit Master text styles</a:t>
            </a:r>
          </a:p>
        </p:txBody>
      </p:sp>
    </p:spTree>
    <p:extLst>
      <p:ext uri="{BB962C8B-B14F-4D97-AF65-F5344CB8AC3E}">
        <p14:creationId xmlns:p14="http://schemas.microsoft.com/office/powerpoint/2010/main" val="21035559"/>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ext + Quot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63869"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8" name="Slide Number Placeholder 2">
            <a:extLst>
              <a:ext uri="{FF2B5EF4-FFF2-40B4-BE49-F238E27FC236}">
                <a16:creationId xmlns:a16="http://schemas.microsoft.com/office/drawing/2014/main" id="{8D67BD3D-5E5B-2957-7B72-B286DEA69454}"/>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9" name="Straight Connector 18">
            <a:extLst>
              <a:ext uri="{FF2B5EF4-FFF2-40B4-BE49-F238E27FC236}">
                <a16:creationId xmlns:a16="http://schemas.microsoft.com/office/drawing/2014/main" id="{11DD0B93-9CA3-DE96-64E9-7FECBAD37972}"/>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0" name="Footer Placeholder 1">
            <a:extLst>
              <a:ext uri="{FF2B5EF4-FFF2-40B4-BE49-F238E27FC236}">
                <a16:creationId xmlns:a16="http://schemas.microsoft.com/office/drawing/2014/main" id="{F3526303-0969-95FB-D8FA-0C9E3916524B}"/>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21" name="Picture 11">
            <a:extLst>
              <a:ext uri="{FF2B5EF4-FFF2-40B4-BE49-F238E27FC236}">
                <a16:creationId xmlns:a16="http://schemas.microsoft.com/office/drawing/2014/main" id="{24A4E3D3-8EF4-A80C-4780-9639C12D4E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2" name="Text Placeholder 8">
            <a:extLst>
              <a:ext uri="{FF2B5EF4-FFF2-40B4-BE49-F238E27FC236}">
                <a16:creationId xmlns:a16="http://schemas.microsoft.com/office/drawing/2014/main" id="{6DFBA0EA-6763-E017-8DB4-792094E59657}"/>
              </a:ext>
            </a:extLst>
          </p:cNvPr>
          <p:cNvSpPr>
            <a:spLocks noGrp="1"/>
          </p:cNvSpPr>
          <p:nvPr>
            <p:ph type="body" idx="21"/>
          </p:nvPr>
        </p:nvSpPr>
        <p:spPr>
          <a:xfrm>
            <a:off x="6652260" y="1304924"/>
            <a:ext cx="5033328" cy="4608501"/>
          </a:xfrm>
        </p:spPr>
        <p:txBody>
          <a:bodyPr numCol="1" spcCol="180000">
            <a:noAutofit/>
          </a:bodyPr>
          <a:lstStyle>
            <a:lvl1pPr marL="0" indent="0">
              <a:spcAft>
                <a:spcPts val="1200"/>
              </a:spcAft>
              <a:buClr>
                <a:schemeClr val="bg2"/>
              </a:buClr>
              <a:buFont typeface="Arial" panose="020B0604020202020204" pitchFamily="34" charset="0"/>
              <a:buNone/>
              <a:defRPr sz="2400" b="1">
                <a:solidFill>
                  <a:schemeClr val="accent4"/>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Tree>
    <p:extLst>
      <p:ext uri="{BB962C8B-B14F-4D97-AF65-F5344CB8AC3E}">
        <p14:creationId xmlns:p14="http://schemas.microsoft.com/office/powerpoint/2010/main" val="2867411014"/>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ext, Quote + Imag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63869"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7" name="Picture Placeholder 2">
            <a:extLst>
              <a:ext uri="{FF2B5EF4-FFF2-40B4-BE49-F238E27FC236}">
                <a16:creationId xmlns:a16="http://schemas.microsoft.com/office/drawing/2014/main" id="{D7BA9708-B496-A663-CB06-FD4F2E3602E5}"/>
              </a:ext>
            </a:extLst>
          </p:cNvPr>
          <p:cNvSpPr>
            <a:spLocks noGrp="1"/>
          </p:cNvSpPr>
          <p:nvPr>
            <p:ph type="pic" sz="quarter" idx="20"/>
          </p:nvPr>
        </p:nvSpPr>
        <p:spPr>
          <a:xfrm>
            <a:off x="6359525" y="3227929"/>
            <a:ext cx="5326063" cy="2685506"/>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18" name="Slide Number Placeholder 2">
            <a:extLst>
              <a:ext uri="{FF2B5EF4-FFF2-40B4-BE49-F238E27FC236}">
                <a16:creationId xmlns:a16="http://schemas.microsoft.com/office/drawing/2014/main" id="{8D67BD3D-5E5B-2957-7B72-B286DEA69454}"/>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9" name="Straight Connector 18">
            <a:extLst>
              <a:ext uri="{FF2B5EF4-FFF2-40B4-BE49-F238E27FC236}">
                <a16:creationId xmlns:a16="http://schemas.microsoft.com/office/drawing/2014/main" id="{11DD0B93-9CA3-DE96-64E9-7FECBAD37972}"/>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0" name="Footer Placeholder 1">
            <a:extLst>
              <a:ext uri="{FF2B5EF4-FFF2-40B4-BE49-F238E27FC236}">
                <a16:creationId xmlns:a16="http://schemas.microsoft.com/office/drawing/2014/main" id="{F3526303-0969-95FB-D8FA-0C9E3916524B}"/>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21" name="Picture 11">
            <a:extLst>
              <a:ext uri="{FF2B5EF4-FFF2-40B4-BE49-F238E27FC236}">
                <a16:creationId xmlns:a16="http://schemas.microsoft.com/office/drawing/2014/main" id="{24A4E3D3-8EF4-A80C-4780-9639C12D4E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2" name="Text Placeholder 8">
            <a:extLst>
              <a:ext uri="{FF2B5EF4-FFF2-40B4-BE49-F238E27FC236}">
                <a16:creationId xmlns:a16="http://schemas.microsoft.com/office/drawing/2014/main" id="{6DFBA0EA-6763-E017-8DB4-792094E59657}"/>
              </a:ext>
            </a:extLst>
          </p:cNvPr>
          <p:cNvSpPr>
            <a:spLocks noGrp="1"/>
          </p:cNvSpPr>
          <p:nvPr>
            <p:ph type="body" idx="21"/>
          </p:nvPr>
        </p:nvSpPr>
        <p:spPr>
          <a:xfrm>
            <a:off x="6345193" y="1304925"/>
            <a:ext cx="5340395" cy="312265"/>
          </a:xfrm>
        </p:spPr>
        <p:txBody>
          <a:bodyPr numCol="1" spcCol="180000">
            <a:spAutoFit/>
          </a:bodyPr>
          <a:lstStyle>
            <a:lvl1pPr marL="0" indent="0">
              <a:spcAft>
                <a:spcPts val="600"/>
              </a:spcAft>
              <a:buClr>
                <a:schemeClr val="bg2"/>
              </a:buClr>
              <a:buFont typeface="Arial" panose="020B0604020202020204" pitchFamily="34" charset="0"/>
              <a:buNone/>
              <a:defRPr b="1">
                <a:solidFill>
                  <a:schemeClr val="accent4"/>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13" name="Text Placeholder 8">
            <a:extLst>
              <a:ext uri="{FF2B5EF4-FFF2-40B4-BE49-F238E27FC236}">
                <a16:creationId xmlns:a16="http://schemas.microsoft.com/office/drawing/2014/main" id="{4BC205A0-AF05-E822-A6D1-8E80B8895804}"/>
              </a:ext>
            </a:extLst>
          </p:cNvPr>
          <p:cNvSpPr>
            <a:spLocks noGrp="1"/>
          </p:cNvSpPr>
          <p:nvPr>
            <p:ph type="body" idx="22" hasCustomPrompt="1"/>
          </p:nvPr>
        </p:nvSpPr>
        <p:spPr>
          <a:xfrm>
            <a:off x="6345193" y="5962960"/>
            <a:ext cx="5340395" cy="140488"/>
          </a:xfrm>
        </p:spPr>
        <p:txBody>
          <a:bodyPr numCol="1" spcCol="180000">
            <a:spAutoFit/>
          </a:bodyPr>
          <a:lstStyle>
            <a:lvl1pPr marL="0" indent="0">
              <a:spcAft>
                <a:spcPts val="600"/>
              </a:spcAft>
              <a:buClr>
                <a:schemeClr val="bg2"/>
              </a:buClr>
              <a:buFont typeface="Arial" panose="020B0604020202020204" pitchFamily="34" charset="0"/>
              <a:buNone/>
              <a:defRPr sz="900" b="0">
                <a:solidFill>
                  <a:schemeClr val="bg1">
                    <a:lumMod val="65000"/>
                  </a:schemeClr>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Optional image caption</a:t>
            </a:r>
          </a:p>
        </p:txBody>
      </p:sp>
    </p:spTree>
    <p:extLst>
      <p:ext uri="{BB962C8B-B14F-4D97-AF65-F5344CB8AC3E}">
        <p14:creationId xmlns:p14="http://schemas.microsoft.com/office/powerpoint/2010/main" val="153336897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B1DA25-A6A7-467A-9C60-F4F5A62D22D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AU"/>
          </a:p>
        </p:txBody>
      </p:sp>
      <p:sp>
        <p:nvSpPr>
          <p:cNvPr id="3" name="Content Placeholder 2">
            <a:extLst>
              <a:ext uri="{FF2B5EF4-FFF2-40B4-BE49-F238E27FC236}">
                <a16:creationId xmlns:a16="http://schemas.microsoft.com/office/drawing/2014/main" id="{EE408198-9859-450E-8A60-951EDD8B5E0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Text Placeholder 3">
            <a:extLst>
              <a:ext uri="{FF2B5EF4-FFF2-40B4-BE49-F238E27FC236}">
                <a16:creationId xmlns:a16="http://schemas.microsoft.com/office/drawing/2014/main" id="{6B84F39C-1BE8-41D2-B3E2-2FAA140D330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B958552-80FB-4DB4-89D3-2E421833B2FA}"/>
              </a:ext>
            </a:extLst>
          </p:cNvPr>
          <p:cNvSpPr>
            <a:spLocks noGrp="1"/>
          </p:cNvSpPr>
          <p:nvPr>
            <p:ph type="dt" sz="half" idx="10"/>
          </p:nvPr>
        </p:nvSpPr>
        <p:spPr/>
        <p:txBody>
          <a:bodyPr/>
          <a:lstStyle/>
          <a:p>
            <a:fld id="{316FF8A7-4048-48A3-9B54-B892B5EED07C}" type="datetime1">
              <a:rPr lang="en-AU" smtClean="0"/>
              <a:t>9/12/2024</a:t>
            </a:fld>
            <a:endParaRPr lang="en-AU"/>
          </a:p>
        </p:txBody>
      </p:sp>
      <p:sp>
        <p:nvSpPr>
          <p:cNvPr id="6" name="Footer Placeholder 5">
            <a:extLst>
              <a:ext uri="{FF2B5EF4-FFF2-40B4-BE49-F238E27FC236}">
                <a16:creationId xmlns:a16="http://schemas.microsoft.com/office/drawing/2014/main" id="{BC5DE326-E331-4CF0-9E19-5AF672F50CD7}"/>
              </a:ext>
            </a:extLst>
          </p:cNvPr>
          <p:cNvSpPr>
            <a:spLocks noGrp="1"/>
          </p:cNvSpPr>
          <p:nvPr>
            <p:ph type="ftr" sz="quarter" idx="11"/>
          </p:nvPr>
        </p:nvSpPr>
        <p:spPr/>
        <p:txBody>
          <a:bodyPr/>
          <a:lstStyle/>
          <a:p>
            <a:endParaRPr lang="en-AU"/>
          </a:p>
        </p:txBody>
      </p:sp>
      <p:sp>
        <p:nvSpPr>
          <p:cNvPr id="7" name="Slide Number Placeholder 6">
            <a:extLst>
              <a:ext uri="{FF2B5EF4-FFF2-40B4-BE49-F238E27FC236}">
                <a16:creationId xmlns:a16="http://schemas.microsoft.com/office/drawing/2014/main" id="{7E991EAA-BBAD-4E65-AF0B-27112AB74300}"/>
              </a:ext>
            </a:extLst>
          </p:cNvPr>
          <p:cNvSpPr>
            <a:spLocks noGrp="1"/>
          </p:cNvSpPr>
          <p:nvPr>
            <p:ph type="sldNum" sz="quarter" idx="12"/>
          </p:nvPr>
        </p:nvSpPr>
        <p:spPr/>
        <p:txBody>
          <a:bodyPr/>
          <a:lstStyle/>
          <a:p>
            <a:fld id="{33ECF85F-2FE6-4C40-9C0D-695BD934DCA6}" type="slidenum">
              <a:rPr lang="en-AU" smtClean="0"/>
              <a:t>‹#›</a:t>
            </a:fld>
            <a:endParaRPr lang="en-AU"/>
          </a:p>
        </p:txBody>
      </p:sp>
    </p:spTree>
    <p:extLst>
      <p:ext uri="{BB962C8B-B14F-4D97-AF65-F5344CB8AC3E}">
        <p14:creationId xmlns:p14="http://schemas.microsoft.com/office/powerpoint/2010/main" val="2500908767"/>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ext + 2 Imag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 name="Picture Placeholder 2">
            <a:extLst>
              <a:ext uri="{FF2B5EF4-FFF2-40B4-BE49-F238E27FC236}">
                <a16:creationId xmlns:a16="http://schemas.microsoft.com/office/drawing/2014/main" id="{15315BB4-CEA5-4429-26F4-D4B56B8BE141}"/>
              </a:ext>
            </a:extLst>
          </p:cNvPr>
          <p:cNvSpPr>
            <a:spLocks noGrp="1"/>
          </p:cNvSpPr>
          <p:nvPr>
            <p:ph type="pic" sz="quarter" idx="19"/>
          </p:nvPr>
        </p:nvSpPr>
        <p:spPr>
          <a:xfrm>
            <a:off x="6359525" y="368300"/>
            <a:ext cx="5326063" cy="2685505"/>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17" name="Picture Placeholder 2">
            <a:extLst>
              <a:ext uri="{FF2B5EF4-FFF2-40B4-BE49-F238E27FC236}">
                <a16:creationId xmlns:a16="http://schemas.microsoft.com/office/drawing/2014/main" id="{D7BA9708-B496-A663-CB06-FD4F2E3602E5}"/>
              </a:ext>
            </a:extLst>
          </p:cNvPr>
          <p:cNvSpPr>
            <a:spLocks noGrp="1"/>
          </p:cNvSpPr>
          <p:nvPr>
            <p:ph type="pic" sz="quarter" idx="20"/>
          </p:nvPr>
        </p:nvSpPr>
        <p:spPr>
          <a:xfrm>
            <a:off x="6359525" y="3227929"/>
            <a:ext cx="5326063" cy="2685506"/>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18" name="Slide Number Placeholder 2">
            <a:extLst>
              <a:ext uri="{FF2B5EF4-FFF2-40B4-BE49-F238E27FC236}">
                <a16:creationId xmlns:a16="http://schemas.microsoft.com/office/drawing/2014/main" id="{8D67BD3D-5E5B-2957-7B72-B286DEA69454}"/>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9" name="Straight Connector 18">
            <a:extLst>
              <a:ext uri="{FF2B5EF4-FFF2-40B4-BE49-F238E27FC236}">
                <a16:creationId xmlns:a16="http://schemas.microsoft.com/office/drawing/2014/main" id="{11DD0B93-9CA3-DE96-64E9-7FECBAD37972}"/>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0" name="Footer Placeholder 1">
            <a:extLst>
              <a:ext uri="{FF2B5EF4-FFF2-40B4-BE49-F238E27FC236}">
                <a16:creationId xmlns:a16="http://schemas.microsoft.com/office/drawing/2014/main" id="{F3526303-0969-95FB-D8FA-0C9E3916524B}"/>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21" name="Picture 11">
            <a:extLst>
              <a:ext uri="{FF2B5EF4-FFF2-40B4-BE49-F238E27FC236}">
                <a16:creationId xmlns:a16="http://schemas.microsoft.com/office/drawing/2014/main" id="{24A4E3D3-8EF4-A80C-4780-9639C12D4E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2" name="Text Placeholder 8">
            <a:extLst>
              <a:ext uri="{FF2B5EF4-FFF2-40B4-BE49-F238E27FC236}">
                <a16:creationId xmlns:a16="http://schemas.microsoft.com/office/drawing/2014/main" id="{02F1485A-E0B4-C14E-58C4-9144A8FEE29C}"/>
              </a:ext>
            </a:extLst>
          </p:cNvPr>
          <p:cNvSpPr>
            <a:spLocks noGrp="1"/>
          </p:cNvSpPr>
          <p:nvPr>
            <p:ph type="body" idx="22" hasCustomPrompt="1"/>
          </p:nvPr>
        </p:nvSpPr>
        <p:spPr>
          <a:xfrm>
            <a:off x="6345193" y="5962960"/>
            <a:ext cx="5340395" cy="140488"/>
          </a:xfrm>
        </p:spPr>
        <p:txBody>
          <a:bodyPr numCol="1" spcCol="180000">
            <a:spAutoFit/>
          </a:bodyPr>
          <a:lstStyle>
            <a:lvl1pPr marL="0" indent="0">
              <a:spcAft>
                <a:spcPts val="600"/>
              </a:spcAft>
              <a:buClr>
                <a:schemeClr val="bg2"/>
              </a:buClr>
              <a:buFont typeface="Arial" panose="020B0604020202020204" pitchFamily="34" charset="0"/>
              <a:buNone/>
              <a:defRPr sz="900" b="0">
                <a:solidFill>
                  <a:schemeClr val="bg1">
                    <a:lumMod val="65000"/>
                  </a:schemeClr>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Optional image caption</a:t>
            </a:r>
          </a:p>
        </p:txBody>
      </p:sp>
    </p:spTree>
    <p:extLst>
      <p:ext uri="{BB962C8B-B14F-4D97-AF65-F5344CB8AC3E}">
        <p14:creationId xmlns:p14="http://schemas.microsoft.com/office/powerpoint/2010/main" val="1886828611"/>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ext + Image 1">
    <p:spTree>
      <p:nvGrpSpPr>
        <p:cNvPr id="1" name=""/>
        <p:cNvGrpSpPr/>
        <p:nvPr/>
      </p:nvGrpSpPr>
      <p:grpSpPr>
        <a:xfrm>
          <a:off x="0" y="0"/>
          <a:ext cx="0" cy="0"/>
          <a:chOff x="0" y="0"/>
          <a:chExt cx="0" cy="0"/>
        </a:xfrm>
      </p:grpSpPr>
      <p:sp>
        <p:nvSpPr>
          <p:cNvPr id="12" name="Picture Placeholder 27">
            <a:extLst>
              <a:ext uri="{FF2B5EF4-FFF2-40B4-BE49-F238E27FC236}">
                <a16:creationId xmlns:a16="http://schemas.microsoft.com/office/drawing/2014/main" id="{1426049D-A517-EA42-AFCA-8DDB22C6BA37}"/>
              </a:ext>
            </a:extLst>
          </p:cNvPr>
          <p:cNvSpPr>
            <a:spLocks noGrp="1"/>
          </p:cNvSpPr>
          <p:nvPr>
            <p:ph type="pic" sz="quarter" idx="15" hasCustomPrompt="1"/>
          </p:nvPr>
        </p:nvSpPr>
        <p:spPr>
          <a:xfrm>
            <a:off x="6495588" y="-10508"/>
            <a:ext cx="5711376" cy="6879020"/>
          </a:xfrm>
          <a:custGeom>
            <a:avLst/>
            <a:gdLst>
              <a:gd name="connsiteX0" fmla="*/ 0 w 7962406"/>
              <a:gd name="connsiteY0" fmla="*/ 0 h 6857999"/>
              <a:gd name="connsiteX1" fmla="*/ 7962406 w 7962406"/>
              <a:gd name="connsiteY1" fmla="*/ 0 h 6857999"/>
              <a:gd name="connsiteX2" fmla="*/ 7962406 w 7962406"/>
              <a:gd name="connsiteY2" fmla="*/ 6857999 h 6857999"/>
              <a:gd name="connsiteX3" fmla="*/ 1019785 w 7962406"/>
              <a:gd name="connsiteY3" fmla="*/ 6857999 h 6857999"/>
              <a:gd name="connsiteX4" fmla="*/ 0 w 7962406"/>
              <a:gd name="connsiteY4" fmla="*/ 5838214 h 6857999"/>
              <a:gd name="connsiteX0" fmla="*/ 0 w 7962406"/>
              <a:gd name="connsiteY0" fmla="*/ 0 h 6857999"/>
              <a:gd name="connsiteX1" fmla="*/ 6039013 w 7962406"/>
              <a:gd name="connsiteY1" fmla="*/ 84083 h 6857999"/>
              <a:gd name="connsiteX2" fmla="*/ 7962406 w 7962406"/>
              <a:gd name="connsiteY2" fmla="*/ 6857999 h 6857999"/>
              <a:gd name="connsiteX3" fmla="*/ 1019785 w 7962406"/>
              <a:gd name="connsiteY3" fmla="*/ 6857999 h 6857999"/>
              <a:gd name="connsiteX4" fmla="*/ 0 w 7962406"/>
              <a:gd name="connsiteY4" fmla="*/ 5838214 h 6857999"/>
              <a:gd name="connsiteX5" fmla="*/ 0 w 7962406"/>
              <a:gd name="connsiteY5" fmla="*/ 0 h 6857999"/>
              <a:gd name="connsiteX0" fmla="*/ 0 w 7962406"/>
              <a:gd name="connsiteY0" fmla="*/ 10510 h 6868509"/>
              <a:gd name="connsiteX1" fmla="*/ 6144117 w 7962406"/>
              <a:gd name="connsiteY1" fmla="*/ 0 h 6868509"/>
              <a:gd name="connsiteX2" fmla="*/ 7962406 w 7962406"/>
              <a:gd name="connsiteY2" fmla="*/ 6868509 h 6868509"/>
              <a:gd name="connsiteX3" fmla="*/ 1019785 w 7962406"/>
              <a:gd name="connsiteY3" fmla="*/ 6868509 h 6868509"/>
              <a:gd name="connsiteX4" fmla="*/ 0 w 7962406"/>
              <a:gd name="connsiteY4" fmla="*/ 5848724 h 6868509"/>
              <a:gd name="connsiteX5" fmla="*/ 0 w 7962406"/>
              <a:gd name="connsiteY5" fmla="*/ 10510 h 6868509"/>
              <a:gd name="connsiteX0" fmla="*/ 0 w 6144117"/>
              <a:gd name="connsiteY0" fmla="*/ 10510 h 6868509"/>
              <a:gd name="connsiteX1" fmla="*/ 6144117 w 6144117"/>
              <a:gd name="connsiteY1" fmla="*/ 0 h 6868509"/>
              <a:gd name="connsiteX2" fmla="*/ 5660640 w 6144117"/>
              <a:gd name="connsiteY2" fmla="*/ 6563709 h 6868509"/>
              <a:gd name="connsiteX3" fmla="*/ 1019785 w 6144117"/>
              <a:gd name="connsiteY3" fmla="*/ 6868509 h 6868509"/>
              <a:gd name="connsiteX4" fmla="*/ 0 w 6144117"/>
              <a:gd name="connsiteY4" fmla="*/ 5848724 h 6868509"/>
              <a:gd name="connsiteX5" fmla="*/ 0 w 6144117"/>
              <a:gd name="connsiteY5" fmla="*/ 10510 h 6868509"/>
              <a:gd name="connsiteX0" fmla="*/ 0 w 6154626"/>
              <a:gd name="connsiteY0" fmla="*/ 10510 h 6879020"/>
              <a:gd name="connsiteX1" fmla="*/ 6144117 w 6154626"/>
              <a:gd name="connsiteY1" fmla="*/ 0 h 6879020"/>
              <a:gd name="connsiteX2" fmla="*/ 6154626 w 6154626"/>
              <a:gd name="connsiteY2" fmla="*/ 6879020 h 6879020"/>
              <a:gd name="connsiteX3" fmla="*/ 1019785 w 6154626"/>
              <a:gd name="connsiteY3" fmla="*/ 6868509 h 6879020"/>
              <a:gd name="connsiteX4" fmla="*/ 0 w 6154626"/>
              <a:gd name="connsiteY4" fmla="*/ 5848724 h 6879020"/>
              <a:gd name="connsiteX5" fmla="*/ 0 w 6154626"/>
              <a:gd name="connsiteY5" fmla="*/ 10510 h 6879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54626" h="6879020">
                <a:moveTo>
                  <a:pt x="0" y="10510"/>
                </a:moveTo>
                <a:lnTo>
                  <a:pt x="6144117" y="0"/>
                </a:lnTo>
                <a:lnTo>
                  <a:pt x="6154626" y="6879020"/>
                </a:lnTo>
                <a:lnTo>
                  <a:pt x="1019785" y="6868509"/>
                </a:lnTo>
                <a:cubicBezTo>
                  <a:pt x="456573" y="6868509"/>
                  <a:pt x="0" y="6411936"/>
                  <a:pt x="0" y="5848724"/>
                </a:cubicBezTo>
                <a:lnTo>
                  <a:pt x="0" y="10510"/>
                </a:lnTo>
                <a:close/>
              </a:path>
            </a:pathLst>
          </a:custGeom>
          <a:solidFill>
            <a:schemeClr val="bg1">
              <a:lumMod val="85000"/>
            </a:schemeClr>
          </a:solidFill>
        </p:spPr>
        <p:txBody>
          <a:bodyPr wrap="square" anchor="ctr">
            <a:noAutofit/>
          </a:bodyPr>
          <a:lstStyle>
            <a:lvl1pPr marL="0" indent="0" algn="ctr">
              <a:buNone/>
              <a:defRPr>
                <a:solidFill>
                  <a:schemeClr val="bg1">
                    <a:lumMod val="50000"/>
                  </a:schemeClr>
                </a:solidFill>
              </a:defRPr>
            </a:lvl1pPr>
          </a:lstStyle>
          <a:p>
            <a:r>
              <a:rPr lang="en-GB"/>
              <a:t>Click icon to insert picture</a:t>
            </a:r>
          </a:p>
        </p:txBody>
      </p:sp>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5580063"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sp>
        <p:nvSpPr>
          <p:cNvPr id="5" name="Text Placeholder 4">
            <a:extLst>
              <a:ext uri="{FF2B5EF4-FFF2-40B4-BE49-F238E27FC236}">
                <a16:creationId xmlns:a16="http://schemas.microsoft.com/office/drawing/2014/main" id="{0CE04A98-CDC1-2043-A233-CAA53ED2E1A4}"/>
              </a:ext>
            </a:extLst>
          </p:cNvPr>
          <p:cNvSpPr>
            <a:spLocks noGrp="1"/>
          </p:cNvSpPr>
          <p:nvPr>
            <p:ph type="body" sz="quarter" idx="16" hasCustomPrompt="1"/>
          </p:nvPr>
        </p:nvSpPr>
        <p:spPr>
          <a:xfrm>
            <a:off x="10643129"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Tree>
    <p:extLst>
      <p:ext uri="{BB962C8B-B14F-4D97-AF65-F5344CB8AC3E}">
        <p14:creationId xmlns:p14="http://schemas.microsoft.com/office/powerpoint/2010/main" val="1491625887"/>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ext + Image 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5580063"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sp>
        <p:nvSpPr>
          <p:cNvPr id="5" name="Text Placeholder 4">
            <a:extLst>
              <a:ext uri="{FF2B5EF4-FFF2-40B4-BE49-F238E27FC236}">
                <a16:creationId xmlns:a16="http://schemas.microsoft.com/office/drawing/2014/main" id="{0CE04A98-CDC1-2043-A233-CAA53ED2E1A4}"/>
              </a:ext>
            </a:extLst>
          </p:cNvPr>
          <p:cNvSpPr>
            <a:spLocks noGrp="1"/>
          </p:cNvSpPr>
          <p:nvPr>
            <p:ph type="body" sz="quarter" idx="16" hasCustomPrompt="1"/>
          </p:nvPr>
        </p:nvSpPr>
        <p:spPr>
          <a:xfrm>
            <a:off x="10643129"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
        <p:nvSpPr>
          <p:cNvPr id="27" name="Picture Placeholder 26">
            <a:extLst>
              <a:ext uri="{FF2B5EF4-FFF2-40B4-BE49-F238E27FC236}">
                <a16:creationId xmlns:a16="http://schemas.microsoft.com/office/drawing/2014/main" id="{D7270696-0AB9-0445-9B12-E1B6CE40D325}"/>
              </a:ext>
            </a:extLst>
          </p:cNvPr>
          <p:cNvSpPr>
            <a:spLocks noGrp="1"/>
          </p:cNvSpPr>
          <p:nvPr>
            <p:ph type="pic" sz="quarter" idx="17"/>
          </p:nvPr>
        </p:nvSpPr>
        <p:spPr>
          <a:xfrm>
            <a:off x="5685640" y="0"/>
            <a:ext cx="6506360" cy="6858000"/>
          </a:xfrm>
          <a:custGeom>
            <a:avLst/>
            <a:gdLst>
              <a:gd name="connsiteX0" fmla="*/ 0 w 6506360"/>
              <a:gd name="connsiteY0" fmla="*/ 0 h 6858000"/>
              <a:gd name="connsiteX1" fmla="*/ 6506360 w 6506360"/>
              <a:gd name="connsiteY1" fmla="*/ 0 h 6858000"/>
              <a:gd name="connsiteX2" fmla="*/ 6506360 w 6506360"/>
              <a:gd name="connsiteY2" fmla="*/ 6858000 h 6858000"/>
              <a:gd name="connsiteX3" fmla="*/ 816590 w 6506360"/>
              <a:gd name="connsiteY3" fmla="*/ 6858000 h 6858000"/>
              <a:gd name="connsiteX4" fmla="*/ 816590 w 6506360"/>
              <a:gd name="connsiteY4" fmla="*/ 939979 h 6858000"/>
              <a:gd name="connsiteX5" fmla="*/ 57657 w 6506360"/>
              <a:gd name="connsiteY5" fmla="*/ 8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06360" h="6858000">
                <a:moveTo>
                  <a:pt x="0" y="0"/>
                </a:moveTo>
                <a:lnTo>
                  <a:pt x="6506360" y="0"/>
                </a:lnTo>
                <a:lnTo>
                  <a:pt x="6506360" y="6858000"/>
                </a:lnTo>
                <a:lnTo>
                  <a:pt x="816590" y="6858000"/>
                </a:lnTo>
                <a:lnTo>
                  <a:pt x="816590" y="939979"/>
                </a:lnTo>
                <a:cubicBezTo>
                  <a:pt x="816590" y="480656"/>
                  <a:pt x="490779" y="97429"/>
                  <a:pt x="57657" y="8800"/>
                </a:cubicBezTo>
                <a:close/>
              </a:path>
            </a:pathLst>
          </a:custGeom>
          <a:solidFill>
            <a:schemeClr val="bg1">
              <a:lumMod val="85000"/>
            </a:schemeClr>
          </a:solidFill>
        </p:spPr>
        <p:txBody>
          <a:bodyPr wrap="square" anchor="ctr">
            <a:noAutofit/>
          </a:bodyPr>
          <a:lstStyle>
            <a:lvl1pPr algn="ctr">
              <a:defRPr>
                <a:solidFill>
                  <a:schemeClr val="bg1">
                    <a:lumMod val="50000"/>
                  </a:schemeClr>
                </a:solidFill>
              </a:defRPr>
            </a:lvl1pPr>
          </a:lstStyle>
          <a:p>
            <a:r>
              <a:rPr lang="en-GB"/>
              <a:t>Click icon to add picture</a:t>
            </a:r>
          </a:p>
        </p:txBody>
      </p:sp>
      <p:sp>
        <p:nvSpPr>
          <p:cNvPr id="28" name="Text Placeholder 4">
            <a:extLst>
              <a:ext uri="{FF2B5EF4-FFF2-40B4-BE49-F238E27FC236}">
                <a16:creationId xmlns:a16="http://schemas.microsoft.com/office/drawing/2014/main" id="{7DCA613B-D18E-594C-9579-2E40707B7127}"/>
              </a:ext>
            </a:extLst>
          </p:cNvPr>
          <p:cNvSpPr>
            <a:spLocks noGrp="1"/>
          </p:cNvSpPr>
          <p:nvPr>
            <p:ph type="body" sz="quarter" idx="18" hasCustomPrompt="1"/>
          </p:nvPr>
        </p:nvSpPr>
        <p:spPr>
          <a:xfrm>
            <a:off x="10643128"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Tree>
    <p:extLst>
      <p:ext uri="{BB962C8B-B14F-4D97-AF65-F5344CB8AC3E}">
        <p14:creationId xmlns:p14="http://schemas.microsoft.com/office/powerpoint/2010/main" val="1560507213"/>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Quote + Imag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5580063"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sp>
        <p:nvSpPr>
          <p:cNvPr id="5" name="Text Placeholder 4">
            <a:extLst>
              <a:ext uri="{FF2B5EF4-FFF2-40B4-BE49-F238E27FC236}">
                <a16:creationId xmlns:a16="http://schemas.microsoft.com/office/drawing/2014/main" id="{0CE04A98-CDC1-2043-A233-CAA53ED2E1A4}"/>
              </a:ext>
            </a:extLst>
          </p:cNvPr>
          <p:cNvSpPr>
            <a:spLocks noGrp="1"/>
          </p:cNvSpPr>
          <p:nvPr>
            <p:ph type="body" sz="quarter" idx="16" hasCustomPrompt="1"/>
          </p:nvPr>
        </p:nvSpPr>
        <p:spPr>
          <a:xfrm>
            <a:off x="10643129"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
        <p:nvSpPr>
          <p:cNvPr id="27" name="Picture Placeholder 26">
            <a:extLst>
              <a:ext uri="{FF2B5EF4-FFF2-40B4-BE49-F238E27FC236}">
                <a16:creationId xmlns:a16="http://schemas.microsoft.com/office/drawing/2014/main" id="{D7270696-0AB9-0445-9B12-E1B6CE40D325}"/>
              </a:ext>
            </a:extLst>
          </p:cNvPr>
          <p:cNvSpPr>
            <a:spLocks noGrp="1"/>
          </p:cNvSpPr>
          <p:nvPr>
            <p:ph type="pic" sz="quarter" idx="17"/>
          </p:nvPr>
        </p:nvSpPr>
        <p:spPr>
          <a:xfrm>
            <a:off x="5685640" y="0"/>
            <a:ext cx="6506360" cy="6858000"/>
          </a:xfrm>
          <a:custGeom>
            <a:avLst/>
            <a:gdLst>
              <a:gd name="connsiteX0" fmla="*/ 0 w 6506360"/>
              <a:gd name="connsiteY0" fmla="*/ 0 h 6858000"/>
              <a:gd name="connsiteX1" fmla="*/ 6506360 w 6506360"/>
              <a:gd name="connsiteY1" fmla="*/ 0 h 6858000"/>
              <a:gd name="connsiteX2" fmla="*/ 6506360 w 6506360"/>
              <a:gd name="connsiteY2" fmla="*/ 6858000 h 6858000"/>
              <a:gd name="connsiteX3" fmla="*/ 816590 w 6506360"/>
              <a:gd name="connsiteY3" fmla="*/ 6858000 h 6858000"/>
              <a:gd name="connsiteX4" fmla="*/ 816590 w 6506360"/>
              <a:gd name="connsiteY4" fmla="*/ 939979 h 6858000"/>
              <a:gd name="connsiteX5" fmla="*/ 57657 w 6506360"/>
              <a:gd name="connsiteY5" fmla="*/ 8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06360" h="6858000">
                <a:moveTo>
                  <a:pt x="0" y="0"/>
                </a:moveTo>
                <a:lnTo>
                  <a:pt x="6506360" y="0"/>
                </a:lnTo>
                <a:lnTo>
                  <a:pt x="6506360" y="6858000"/>
                </a:lnTo>
                <a:lnTo>
                  <a:pt x="816590" y="6858000"/>
                </a:lnTo>
                <a:lnTo>
                  <a:pt x="816590" y="939979"/>
                </a:lnTo>
                <a:cubicBezTo>
                  <a:pt x="816590" y="480656"/>
                  <a:pt x="490779" y="97429"/>
                  <a:pt x="57657" y="8800"/>
                </a:cubicBezTo>
                <a:close/>
              </a:path>
            </a:pathLst>
          </a:custGeom>
          <a:solidFill>
            <a:schemeClr val="bg1">
              <a:lumMod val="85000"/>
            </a:schemeClr>
          </a:solidFill>
        </p:spPr>
        <p:txBody>
          <a:bodyPr wrap="square" anchor="ctr">
            <a:noAutofit/>
          </a:bodyPr>
          <a:lstStyle>
            <a:lvl1pPr algn="ctr">
              <a:defRPr>
                <a:solidFill>
                  <a:schemeClr val="bg1">
                    <a:lumMod val="50000"/>
                  </a:schemeClr>
                </a:solidFill>
              </a:defRPr>
            </a:lvl1pPr>
          </a:lstStyle>
          <a:p>
            <a:r>
              <a:rPr lang="en-GB"/>
              <a:t>Click icon to add picture</a:t>
            </a:r>
          </a:p>
        </p:txBody>
      </p:sp>
      <p:sp>
        <p:nvSpPr>
          <p:cNvPr id="28" name="Text Placeholder 4">
            <a:extLst>
              <a:ext uri="{FF2B5EF4-FFF2-40B4-BE49-F238E27FC236}">
                <a16:creationId xmlns:a16="http://schemas.microsoft.com/office/drawing/2014/main" id="{7DCA613B-D18E-594C-9579-2E40707B7127}"/>
              </a:ext>
            </a:extLst>
          </p:cNvPr>
          <p:cNvSpPr>
            <a:spLocks noGrp="1"/>
          </p:cNvSpPr>
          <p:nvPr>
            <p:ph type="body" sz="quarter" idx="18" hasCustomPrompt="1"/>
          </p:nvPr>
        </p:nvSpPr>
        <p:spPr>
          <a:xfrm>
            <a:off x="10643128"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
        <p:nvSpPr>
          <p:cNvPr id="12" name="Text Placeholder 8">
            <a:extLst>
              <a:ext uri="{FF2B5EF4-FFF2-40B4-BE49-F238E27FC236}">
                <a16:creationId xmlns:a16="http://schemas.microsoft.com/office/drawing/2014/main" id="{E2F4BDEF-FEFC-0BDD-3EB4-7710855ED6AB}"/>
              </a:ext>
            </a:extLst>
          </p:cNvPr>
          <p:cNvSpPr>
            <a:spLocks noGrp="1"/>
          </p:cNvSpPr>
          <p:nvPr>
            <p:ph type="body" idx="21"/>
          </p:nvPr>
        </p:nvSpPr>
        <p:spPr>
          <a:xfrm>
            <a:off x="515937" y="1329378"/>
            <a:ext cx="5580062" cy="4637076"/>
          </a:xfrm>
        </p:spPr>
        <p:txBody>
          <a:bodyPr numCol="1" spcCol="180000" anchor="t">
            <a:noAutofit/>
          </a:bodyPr>
          <a:lstStyle>
            <a:lvl1pPr marL="0" indent="0">
              <a:lnSpc>
                <a:spcPct val="100000"/>
              </a:lnSpc>
              <a:spcAft>
                <a:spcPts val="1800"/>
              </a:spcAft>
              <a:buClr>
                <a:schemeClr val="bg2"/>
              </a:buClr>
              <a:buFont typeface="Arial" panose="020B0604020202020204" pitchFamily="34" charset="0"/>
              <a:buNone/>
              <a:defRPr sz="2800" b="1">
                <a:solidFill>
                  <a:schemeClr val="accent4"/>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16" name="Title Placeholder 1">
            <a:extLst>
              <a:ext uri="{FF2B5EF4-FFF2-40B4-BE49-F238E27FC236}">
                <a16:creationId xmlns:a16="http://schemas.microsoft.com/office/drawing/2014/main" id="{D7D9C6B7-7323-827F-E01F-2EFDCE721461}"/>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Tree>
    <p:extLst>
      <p:ext uri="{BB962C8B-B14F-4D97-AF65-F5344CB8AC3E}">
        <p14:creationId xmlns:p14="http://schemas.microsoft.com/office/powerpoint/2010/main" val="1725450750"/>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Sections + Images x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8" y="4360961"/>
            <a:ext cx="5234437" cy="1538516"/>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8" y="3915591"/>
            <a:ext cx="5234437" cy="281103"/>
          </a:xfrm>
        </p:spPr>
        <p:txBody>
          <a:bodyPr wrap="square">
            <a:spAutoFit/>
          </a:bodyPr>
          <a:lstStyle>
            <a:lvl1pPr>
              <a:defRPr sz="1800" b="1">
                <a:solidFill>
                  <a:schemeClr val="bg2"/>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A5AC520F-8595-0F44-99A9-F0873ACA435F}"/>
              </a:ext>
            </a:extLst>
          </p:cNvPr>
          <p:cNvSpPr>
            <a:spLocks noGrp="1"/>
          </p:cNvSpPr>
          <p:nvPr>
            <p:ph type="body" sz="quarter" idx="18"/>
          </p:nvPr>
        </p:nvSpPr>
        <p:spPr>
          <a:xfrm>
            <a:off x="6441625" y="4360961"/>
            <a:ext cx="5234437" cy="1538516"/>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6441625" y="3915591"/>
            <a:ext cx="5234437" cy="281103"/>
          </a:xfrm>
        </p:spPr>
        <p:txBody>
          <a:bodyPr wrap="square">
            <a:spAutoFit/>
          </a:bodyPr>
          <a:lstStyle>
            <a:lvl1pPr>
              <a:defRPr sz="1800" b="1">
                <a:solidFill>
                  <a:schemeClr val="bg2"/>
                </a:solidFill>
              </a:defRPr>
            </a:lvl1pPr>
          </a:lstStyle>
          <a:p>
            <a:pPr lvl="0"/>
            <a:r>
              <a:rPr lang="en-GB"/>
              <a:t>Click to edit Master text styles</a:t>
            </a:r>
          </a:p>
        </p:txBody>
      </p:sp>
      <p:sp>
        <p:nvSpPr>
          <p:cNvPr id="17" name="Picture Placeholder 2">
            <a:extLst>
              <a:ext uri="{FF2B5EF4-FFF2-40B4-BE49-F238E27FC236}">
                <a16:creationId xmlns:a16="http://schemas.microsoft.com/office/drawing/2014/main" id="{4EF54ED7-3E2F-C8F7-553C-1DB155F7DBDC}"/>
              </a:ext>
            </a:extLst>
          </p:cNvPr>
          <p:cNvSpPr>
            <a:spLocks noGrp="1"/>
          </p:cNvSpPr>
          <p:nvPr>
            <p:ph type="pic" sz="quarter" idx="23"/>
          </p:nvPr>
        </p:nvSpPr>
        <p:spPr>
          <a:xfrm>
            <a:off x="515938" y="1304924"/>
            <a:ext cx="5234438" cy="2400167"/>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23" name="Picture Placeholder 2">
            <a:extLst>
              <a:ext uri="{FF2B5EF4-FFF2-40B4-BE49-F238E27FC236}">
                <a16:creationId xmlns:a16="http://schemas.microsoft.com/office/drawing/2014/main" id="{BCF59FD3-6B56-67EF-C1E8-78C92005D9AE}"/>
              </a:ext>
            </a:extLst>
          </p:cNvPr>
          <p:cNvSpPr>
            <a:spLocks noGrp="1"/>
          </p:cNvSpPr>
          <p:nvPr>
            <p:ph type="pic" sz="quarter" idx="24"/>
          </p:nvPr>
        </p:nvSpPr>
        <p:spPr>
          <a:xfrm>
            <a:off x="6441625" y="1304924"/>
            <a:ext cx="5234438" cy="2400167"/>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Tree>
    <p:extLst>
      <p:ext uri="{BB962C8B-B14F-4D97-AF65-F5344CB8AC3E}">
        <p14:creationId xmlns:p14="http://schemas.microsoft.com/office/powerpoint/2010/main" val="308563404"/>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Sections + Image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9" y="3726649"/>
            <a:ext cx="3287436" cy="2121010"/>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3281279"/>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A5AC520F-8595-0F44-99A9-F0873ACA435F}"/>
              </a:ext>
            </a:extLst>
          </p:cNvPr>
          <p:cNvSpPr>
            <a:spLocks noGrp="1"/>
          </p:cNvSpPr>
          <p:nvPr>
            <p:ph type="body" sz="quarter" idx="18"/>
          </p:nvPr>
        </p:nvSpPr>
        <p:spPr>
          <a:xfrm>
            <a:off x="4452282" y="3726649"/>
            <a:ext cx="3287436" cy="2121010"/>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4452282" y="3281279"/>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AD30B9DC-1666-7446-9DFD-F674A273B468}"/>
              </a:ext>
            </a:extLst>
          </p:cNvPr>
          <p:cNvSpPr>
            <a:spLocks noGrp="1"/>
          </p:cNvSpPr>
          <p:nvPr>
            <p:ph type="body" sz="quarter" idx="21"/>
          </p:nvPr>
        </p:nvSpPr>
        <p:spPr>
          <a:xfrm>
            <a:off x="8382846" y="3733177"/>
            <a:ext cx="3287436" cy="2121010"/>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C7816D18-C579-DE44-B3B4-5D38198139F6}"/>
              </a:ext>
            </a:extLst>
          </p:cNvPr>
          <p:cNvSpPr>
            <a:spLocks noGrp="1"/>
          </p:cNvSpPr>
          <p:nvPr>
            <p:ph type="body" sz="quarter" idx="22"/>
          </p:nvPr>
        </p:nvSpPr>
        <p:spPr>
          <a:xfrm>
            <a:off x="8382846" y="3287807"/>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17" name="Picture Placeholder 2">
            <a:extLst>
              <a:ext uri="{FF2B5EF4-FFF2-40B4-BE49-F238E27FC236}">
                <a16:creationId xmlns:a16="http://schemas.microsoft.com/office/drawing/2014/main" id="{4EF54ED7-3E2F-C8F7-553C-1DB155F7DBDC}"/>
              </a:ext>
            </a:extLst>
          </p:cNvPr>
          <p:cNvSpPr>
            <a:spLocks noGrp="1"/>
          </p:cNvSpPr>
          <p:nvPr>
            <p:ph type="pic" sz="quarter" idx="23"/>
          </p:nvPr>
        </p:nvSpPr>
        <p:spPr>
          <a:xfrm>
            <a:off x="515938" y="1304925"/>
            <a:ext cx="3287437" cy="1826421"/>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23" name="Picture Placeholder 2">
            <a:extLst>
              <a:ext uri="{FF2B5EF4-FFF2-40B4-BE49-F238E27FC236}">
                <a16:creationId xmlns:a16="http://schemas.microsoft.com/office/drawing/2014/main" id="{BCF59FD3-6B56-67EF-C1E8-78C92005D9AE}"/>
              </a:ext>
            </a:extLst>
          </p:cNvPr>
          <p:cNvSpPr>
            <a:spLocks noGrp="1"/>
          </p:cNvSpPr>
          <p:nvPr>
            <p:ph type="pic" sz="quarter" idx="24"/>
          </p:nvPr>
        </p:nvSpPr>
        <p:spPr>
          <a:xfrm>
            <a:off x="4452281" y="1304925"/>
            <a:ext cx="3287437" cy="1826421"/>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24" name="Picture Placeholder 2">
            <a:extLst>
              <a:ext uri="{FF2B5EF4-FFF2-40B4-BE49-F238E27FC236}">
                <a16:creationId xmlns:a16="http://schemas.microsoft.com/office/drawing/2014/main" id="{AA59D731-0D13-EB6C-7B10-1B59D3D8C5AA}"/>
              </a:ext>
            </a:extLst>
          </p:cNvPr>
          <p:cNvSpPr>
            <a:spLocks noGrp="1"/>
          </p:cNvSpPr>
          <p:nvPr>
            <p:ph type="pic" sz="quarter" idx="25"/>
          </p:nvPr>
        </p:nvSpPr>
        <p:spPr>
          <a:xfrm>
            <a:off x="8388626" y="1304925"/>
            <a:ext cx="3287437" cy="1826421"/>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Tree>
    <p:extLst>
      <p:ext uri="{BB962C8B-B14F-4D97-AF65-F5344CB8AC3E}">
        <p14:creationId xmlns:p14="http://schemas.microsoft.com/office/powerpoint/2010/main" val="918511884"/>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Key Stat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4050217"/>
            <a:ext cx="3287436" cy="1188251"/>
          </a:xfrm>
        </p:spPr>
        <p:txBody>
          <a:bodyPr>
            <a:noAutofit/>
          </a:bodyPr>
          <a:lstStyle>
            <a:lvl1pPr>
              <a:defRPr sz="1800" b="1">
                <a:solidFill>
                  <a:schemeClr val="bg2"/>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4452282" y="4050217"/>
            <a:ext cx="3287436" cy="1188251"/>
          </a:xfrm>
        </p:spPr>
        <p:txBody>
          <a:bodyPr>
            <a:noAutofit/>
          </a:bodyPr>
          <a:lstStyle>
            <a:lvl1pPr>
              <a:defRPr sz="1800" b="1">
                <a:solidFill>
                  <a:schemeClr val="bg2"/>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C7816D18-C579-DE44-B3B4-5D38198139F6}"/>
              </a:ext>
            </a:extLst>
          </p:cNvPr>
          <p:cNvSpPr>
            <a:spLocks noGrp="1"/>
          </p:cNvSpPr>
          <p:nvPr>
            <p:ph type="body" sz="quarter" idx="22"/>
          </p:nvPr>
        </p:nvSpPr>
        <p:spPr>
          <a:xfrm>
            <a:off x="8382846" y="4056745"/>
            <a:ext cx="3287436" cy="1188251"/>
          </a:xfrm>
        </p:spPr>
        <p:txBody>
          <a:bodyPr>
            <a:noAutofit/>
          </a:bodyPr>
          <a:lstStyle>
            <a:lvl1pPr>
              <a:defRPr sz="1800" b="1">
                <a:solidFill>
                  <a:schemeClr val="bg2"/>
                </a:solidFill>
              </a:defRPr>
            </a:lvl1pPr>
          </a:lstStyle>
          <a:p>
            <a:pPr lvl="0"/>
            <a:r>
              <a:rPr lang="en-GB"/>
              <a:t>Click to edit Master text styles</a:t>
            </a:r>
          </a:p>
        </p:txBody>
      </p:sp>
      <p:sp>
        <p:nvSpPr>
          <p:cNvPr id="17" name="Text Placeholder 6">
            <a:extLst>
              <a:ext uri="{FF2B5EF4-FFF2-40B4-BE49-F238E27FC236}">
                <a16:creationId xmlns:a16="http://schemas.microsoft.com/office/drawing/2014/main" id="{B0250E06-295E-B6E6-95C4-089EF7886C76}"/>
              </a:ext>
            </a:extLst>
          </p:cNvPr>
          <p:cNvSpPr>
            <a:spLocks noGrp="1"/>
          </p:cNvSpPr>
          <p:nvPr>
            <p:ph type="body" sz="quarter" idx="25" hasCustomPrompt="1"/>
          </p:nvPr>
        </p:nvSpPr>
        <p:spPr>
          <a:xfrm>
            <a:off x="515939" y="2881801"/>
            <a:ext cx="3287436" cy="1115264"/>
          </a:xfrm>
        </p:spPr>
        <p:txBody>
          <a:bodyPr anchor="b">
            <a:normAutofit/>
          </a:bodyPr>
          <a:lstStyle>
            <a:lvl1pPr>
              <a:defRPr sz="6600" b="1">
                <a:solidFill>
                  <a:schemeClr val="bg2"/>
                </a:solidFill>
              </a:defRPr>
            </a:lvl1pPr>
          </a:lstStyle>
          <a:p>
            <a:pPr lvl="0"/>
            <a:r>
              <a:rPr lang="en-GB"/>
              <a:t>XXXX</a:t>
            </a:r>
          </a:p>
        </p:txBody>
      </p:sp>
      <p:sp>
        <p:nvSpPr>
          <p:cNvPr id="23" name="Text Placeholder 6">
            <a:extLst>
              <a:ext uri="{FF2B5EF4-FFF2-40B4-BE49-F238E27FC236}">
                <a16:creationId xmlns:a16="http://schemas.microsoft.com/office/drawing/2014/main" id="{41638B5E-8DB0-EAFF-0CF3-8812AF05A9BF}"/>
              </a:ext>
            </a:extLst>
          </p:cNvPr>
          <p:cNvSpPr>
            <a:spLocks noGrp="1"/>
          </p:cNvSpPr>
          <p:nvPr>
            <p:ph type="body" sz="quarter" idx="26" hasCustomPrompt="1"/>
          </p:nvPr>
        </p:nvSpPr>
        <p:spPr>
          <a:xfrm>
            <a:off x="4449392" y="2881801"/>
            <a:ext cx="3287436" cy="1115264"/>
          </a:xfrm>
        </p:spPr>
        <p:txBody>
          <a:bodyPr anchor="b">
            <a:normAutofit/>
          </a:bodyPr>
          <a:lstStyle>
            <a:lvl1pPr>
              <a:defRPr sz="6600" b="1">
                <a:solidFill>
                  <a:schemeClr val="bg2"/>
                </a:solidFill>
              </a:defRPr>
            </a:lvl1pPr>
          </a:lstStyle>
          <a:p>
            <a:pPr lvl="0"/>
            <a:r>
              <a:rPr lang="en-GB"/>
              <a:t>XXXX</a:t>
            </a:r>
          </a:p>
        </p:txBody>
      </p:sp>
      <p:sp>
        <p:nvSpPr>
          <p:cNvPr id="24" name="Text Placeholder 6">
            <a:extLst>
              <a:ext uri="{FF2B5EF4-FFF2-40B4-BE49-F238E27FC236}">
                <a16:creationId xmlns:a16="http://schemas.microsoft.com/office/drawing/2014/main" id="{248EBF9A-10A9-92FA-05B2-3A9523883401}"/>
              </a:ext>
            </a:extLst>
          </p:cNvPr>
          <p:cNvSpPr>
            <a:spLocks noGrp="1"/>
          </p:cNvSpPr>
          <p:nvPr>
            <p:ph type="body" sz="quarter" idx="27" hasCustomPrompt="1"/>
          </p:nvPr>
        </p:nvSpPr>
        <p:spPr>
          <a:xfrm>
            <a:off x="8382846" y="2881801"/>
            <a:ext cx="3287436" cy="1115264"/>
          </a:xfrm>
        </p:spPr>
        <p:txBody>
          <a:bodyPr anchor="b">
            <a:normAutofit/>
          </a:bodyPr>
          <a:lstStyle>
            <a:lvl1pPr>
              <a:defRPr sz="6600" b="1">
                <a:solidFill>
                  <a:schemeClr val="bg2"/>
                </a:solidFill>
              </a:defRPr>
            </a:lvl1pPr>
          </a:lstStyle>
          <a:p>
            <a:pPr lvl="0"/>
            <a:r>
              <a:rPr lang="en-GB"/>
              <a:t>XXXX</a:t>
            </a:r>
          </a:p>
        </p:txBody>
      </p:sp>
      <p:sp>
        <p:nvSpPr>
          <p:cNvPr id="20" name="Text Placeholder 8">
            <a:extLst>
              <a:ext uri="{FF2B5EF4-FFF2-40B4-BE49-F238E27FC236}">
                <a16:creationId xmlns:a16="http://schemas.microsoft.com/office/drawing/2014/main" id="{D2E71522-4C4D-EAC4-2A71-F45B1F18D569}"/>
              </a:ext>
            </a:extLst>
          </p:cNvPr>
          <p:cNvSpPr>
            <a:spLocks noGrp="1"/>
          </p:cNvSpPr>
          <p:nvPr>
            <p:ph type="body" idx="13"/>
          </p:nvPr>
        </p:nvSpPr>
        <p:spPr>
          <a:xfrm>
            <a:off x="531133" y="1304925"/>
            <a:ext cx="11144930" cy="1369692"/>
          </a:xfrm>
        </p:spPr>
        <p:txBody>
          <a:bodyPr numCol="1" spcCol="180000">
            <a:normAutofit/>
          </a:bodyPr>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Tree>
    <p:extLst>
      <p:ext uri="{BB962C8B-B14F-4D97-AF65-F5344CB8AC3E}">
        <p14:creationId xmlns:p14="http://schemas.microsoft.com/office/powerpoint/2010/main" val="1619581112"/>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Key Stats x5">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62" name="Title Placeholder 1">
            <a:extLst>
              <a:ext uri="{FF2B5EF4-FFF2-40B4-BE49-F238E27FC236}">
                <a16:creationId xmlns:a16="http://schemas.microsoft.com/office/drawing/2014/main" id="{14F0825D-90B8-6120-7F14-9DC0960BC9E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63" name="Text Placeholder 6">
            <a:extLst>
              <a:ext uri="{FF2B5EF4-FFF2-40B4-BE49-F238E27FC236}">
                <a16:creationId xmlns:a16="http://schemas.microsoft.com/office/drawing/2014/main" id="{AF40E274-F0AF-0436-1F33-86E04DCC0DAA}"/>
              </a:ext>
            </a:extLst>
          </p:cNvPr>
          <p:cNvSpPr>
            <a:spLocks noGrp="1"/>
          </p:cNvSpPr>
          <p:nvPr>
            <p:ph type="body" sz="quarter" idx="25" hasCustomPrompt="1"/>
          </p:nvPr>
        </p:nvSpPr>
        <p:spPr>
          <a:xfrm>
            <a:off x="515939" y="2931453"/>
            <a:ext cx="2007342" cy="844151"/>
          </a:xfrm>
        </p:spPr>
        <p:txBody>
          <a:bodyPr anchor="b">
            <a:normAutofit/>
          </a:bodyPr>
          <a:lstStyle>
            <a:lvl1pPr>
              <a:defRPr sz="4600" b="1">
                <a:solidFill>
                  <a:schemeClr val="bg2"/>
                </a:solidFill>
              </a:defRPr>
            </a:lvl1pPr>
          </a:lstStyle>
          <a:p>
            <a:pPr lvl="0"/>
            <a:r>
              <a:rPr lang="en-GB"/>
              <a:t>XXXXX</a:t>
            </a:r>
          </a:p>
        </p:txBody>
      </p:sp>
      <p:sp>
        <p:nvSpPr>
          <p:cNvPr id="64" name="Text Placeholder 8">
            <a:extLst>
              <a:ext uri="{FF2B5EF4-FFF2-40B4-BE49-F238E27FC236}">
                <a16:creationId xmlns:a16="http://schemas.microsoft.com/office/drawing/2014/main" id="{DB2C3DC3-9DBF-095B-1AEB-4513EE50C647}"/>
              </a:ext>
            </a:extLst>
          </p:cNvPr>
          <p:cNvSpPr>
            <a:spLocks noGrp="1"/>
          </p:cNvSpPr>
          <p:nvPr>
            <p:ph type="body" idx="13"/>
          </p:nvPr>
        </p:nvSpPr>
        <p:spPr>
          <a:xfrm>
            <a:off x="531133" y="1304924"/>
            <a:ext cx="11144930" cy="1566849"/>
          </a:xfrm>
        </p:spPr>
        <p:txBody>
          <a:bodyPr numCol="1" spcCol="180000">
            <a:normAutofit/>
          </a:bodyPr>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65" name="Text Placeholder 6">
            <a:extLst>
              <a:ext uri="{FF2B5EF4-FFF2-40B4-BE49-F238E27FC236}">
                <a16:creationId xmlns:a16="http://schemas.microsoft.com/office/drawing/2014/main" id="{EBBD32EE-C0FF-E8CB-43E3-315A609AEFE7}"/>
              </a:ext>
            </a:extLst>
          </p:cNvPr>
          <p:cNvSpPr>
            <a:spLocks noGrp="1"/>
          </p:cNvSpPr>
          <p:nvPr>
            <p:ph type="body" sz="quarter" idx="16"/>
          </p:nvPr>
        </p:nvSpPr>
        <p:spPr>
          <a:xfrm>
            <a:off x="515939"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6" name="Text Placeholder 6">
            <a:extLst>
              <a:ext uri="{FF2B5EF4-FFF2-40B4-BE49-F238E27FC236}">
                <a16:creationId xmlns:a16="http://schemas.microsoft.com/office/drawing/2014/main" id="{9E2EB64B-500A-8201-8F3F-287FDE60FB19}"/>
              </a:ext>
            </a:extLst>
          </p:cNvPr>
          <p:cNvSpPr>
            <a:spLocks noGrp="1"/>
          </p:cNvSpPr>
          <p:nvPr>
            <p:ph type="body" sz="quarter" idx="19"/>
          </p:nvPr>
        </p:nvSpPr>
        <p:spPr>
          <a:xfrm>
            <a:off x="2802689"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7" name="Text Placeholder 6">
            <a:extLst>
              <a:ext uri="{FF2B5EF4-FFF2-40B4-BE49-F238E27FC236}">
                <a16:creationId xmlns:a16="http://schemas.microsoft.com/office/drawing/2014/main" id="{709BC01A-3AFB-CE31-0E4A-EE885FE2D5A4}"/>
              </a:ext>
            </a:extLst>
          </p:cNvPr>
          <p:cNvSpPr>
            <a:spLocks noGrp="1"/>
          </p:cNvSpPr>
          <p:nvPr>
            <p:ph type="body" sz="quarter" idx="22"/>
          </p:nvPr>
        </p:nvSpPr>
        <p:spPr>
          <a:xfrm>
            <a:off x="5089439"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8" name="Text Placeholder 6">
            <a:extLst>
              <a:ext uri="{FF2B5EF4-FFF2-40B4-BE49-F238E27FC236}">
                <a16:creationId xmlns:a16="http://schemas.microsoft.com/office/drawing/2014/main" id="{CD03EE5B-6B86-7B77-E541-93CE05115235}"/>
              </a:ext>
            </a:extLst>
          </p:cNvPr>
          <p:cNvSpPr>
            <a:spLocks noGrp="1"/>
          </p:cNvSpPr>
          <p:nvPr>
            <p:ph type="body" sz="quarter" idx="28"/>
          </p:nvPr>
        </p:nvSpPr>
        <p:spPr>
          <a:xfrm>
            <a:off x="7376189"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9" name="Text Placeholder 6">
            <a:extLst>
              <a:ext uri="{FF2B5EF4-FFF2-40B4-BE49-F238E27FC236}">
                <a16:creationId xmlns:a16="http://schemas.microsoft.com/office/drawing/2014/main" id="{F9CB884D-6999-7DC7-1825-FC60BEC935BD}"/>
              </a:ext>
            </a:extLst>
          </p:cNvPr>
          <p:cNvSpPr>
            <a:spLocks noGrp="1"/>
          </p:cNvSpPr>
          <p:nvPr>
            <p:ph type="body" sz="quarter" idx="29"/>
          </p:nvPr>
        </p:nvSpPr>
        <p:spPr>
          <a:xfrm>
            <a:off x="9662940"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70" name="Text Placeholder 6">
            <a:extLst>
              <a:ext uri="{FF2B5EF4-FFF2-40B4-BE49-F238E27FC236}">
                <a16:creationId xmlns:a16="http://schemas.microsoft.com/office/drawing/2014/main" id="{F03D69DA-4061-E20B-1262-8A9F09B92D26}"/>
              </a:ext>
            </a:extLst>
          </p:cNvPr>
          <p:cNvSpPr>
            <a:spLocks noGrp="1"/>
          </p:cNvSpPr>
          <p:nvPr>
            <p:ph type="body" sz="quarter" idx="30" hasCustomPrompt="1"/>
          </p:nvPr>
        </p:nvSpPr>
        <p:spPr>
          <a:xfrm>
            <a:off x="2790107" y="2931453"/>
            <a:ext cx="2007342" cy="844151"/>
          </a:xfrm>
        </p:spPr>
        <p:txBody>
          <a:bodyPr anchor="b">
            <a:normAutofit/>
          </a:bodyPr>
          <a:lstStyle>
            <a:lvl1pPr>
              <a:defRPr sz="4600" b="1">
                <a:solidFill>
                  <a:schemeClr val="bg2"/>
                </a:solidFill>
              </a:defRPr>
            </a:lvl1pPr>
          </a:lstStyle>
          <a:p>
            <a:pPr lvl="0"/>
            <a:r>
              <a:rPr lang="en-GB"/>
              <a:t>XXXXX</a:t>
            </a:r>
          </a:p>
        </p:txBody>
      </p:sp>
      <p:sp>
        <p:nvSpPr>
          <p:cNvPr id="71" name="Text Placeholder 6">
            <a:extLst>
              <a:ext uri="{FF2B5EF4-FFF2-40B4-BE49-F238E27FC236}">
                <a16:creationId xmlns:a16="http://schemas.microsoft.com/office/drawing/2014/main" id="{4DA3F266-6EB8-18CF-146E-FCE0EE2BCCED}"/>
              </a:ext>
            </a:extLst>
          </p:cNvPr>
          <p:cNvSpPr>
            <a:spLocks noGrp="1"/>
          </p:cNvSpPr>
          <p:nvPr>
            <p:ph type="body" sz="quarter" idx="31" hasCustomPrompt="1"/>
          </p:nvPr>
        </p:nvSpPr>
        <p:spPr>
          <a:xfrm>
            <a:off x="5064275" y="2931453"/>
            <a:ext cx="2007342" cy="844151"/>
          </a:xfrm>
        </p:spPr>
        <p:txBody>
          <a:bodyPr anchor="b">
            <a:normAutofit/>
          </a:bodyPr>
          <a:lstStyle>
            <a:lvl1pPr>
              <a:defRPr sz="4600" b="1">
                <a:solidFill>
                  <a:schemeClr val="bg2"/>
                </a:solidFill>
              </a:defRPr>
            </a:lvl1pPr>
          </a:lstStyle>
          <a:p>
            <a:pPr lvl="0"/>
            <a:r>
              <a:rPr lang="en-GB"/>
              <a:t>XXXXX</a:t>
            </a:r>
          </a:p>
        </p:txBody>
      </p:sp>
      <p:sp>
        <p:nvSpPr>
          <p:cNvPr id="72" name="Text Placeholder 6">
            <a:extLst>
              <a:ext uri="{FF2B5EF4-FFF2-40B4-BE49-F238E27FC236}">
                <a16:creationId xmlns:a16="http://schemas.microsoft.com/office/drawing/2014/main" id="{ABAC94EC-4D3A-CEAC-3763-AE5EBA842951}"/>
              </a:ext>
            </a:extLst>
          </p:cNvPr>
          <p:cNvSpPr>
            <a:spLocks noGrp="1"/>
          </p:cNvSpPr>
          <p:nvPr>
            <p:ph type="body" sz="quarter" idx="32" hasCustomPrompt="1"/>
          </p:nvPr>
        </p:nvSpPr>
        <p:spPr>
          <a:xfrm>
            <a:off x="7376189" y="2931453"/>
            <a:ext cx="2007342" cy="844151"/>
          </a:xfrm>
        </p:spPr>
        <p:txBody>
          <a:bodyPr anchor="b">
            <a:normAutofit/>
          </a:bodyPr>
          <a:lstStyle>
            <a:lvl1pPr>
              <a:defRPr sz="4600" b="1">
                <a:solidFill>
                  <a:schemeClr val="bg2"/>
                </a:solidFill>
              </a:defRPr>
            </a:lvl1pPr>
          </a:lstStyle>
          <a:p>
            <a:pPr lvl="0"/>
            <a:r>
              <a:rPr lang="en-GB"/>
              <a:t>XXXXX</a:t>
            </a:r>
          </a:p>
        </p:txBody>
      </p:sp>
      <p:sp>
        <p:nvSpPr>
          <p:cNvPr id="73" name="Text Placeholder 6">
            <a:extLst>
              <a:ext uri="{FF2B5EF4-FFF2-40B4-BE49-F238E27FC236}">
                <a16:creationId xmlns:a16="http://schemas.microsoft.com/office/drawing/2014/main" id="{CB8F9A8E-E04A-1CA2-A320-7A4AE6F70DD9}"/>
              </a:ext>
            </a:extLst>
          </p:cNvPr>
          <p:cNvSpPr>
            <a:spLocks noGrp="1"/>
          </p:cNvSpPr>
          <p:nvPr>
            <p:ph type="body" sz="quarter" idx="33" hasCustomPrompt="1"/>
          </p:nvPr>
        </p:nvSpPr>
        <p:spPr>
          <a:xfrm>
            <a:off x="9662940" y="2931453"/>
            <a:ext cx="2007342" cy="844151"/>
          </a:xfrm>
        </p:spPr>
        <p:txBody>
          <a:bodyPr anchor="b">
            <a:normAutofit/>
          </a:bodyPr>
          <a:lstStyle>
            <a:lvl1pPr>
              <a:defRPr sz="4600" b="1">
                <a:solidFill>
                  <a:schemeClr val="bg2"/>
                </a:solidFill>
              </a:defRPr>
            </a:lvl1pPr>
          </a:lstStyle>
          <a:p>
            <a:pPr lvl="0"/>
            <a:r>
              <a:rPr lang="en-GB"/>
              <a:t>XXXXX</a:t>
            </a:r>
          </a:p>
        </p:txBody>
      </p:sp>
    </p:spTree>
    <p:extLst>
      <p:ext uri="{BB962C8B-B14F-4D97-AF65-F5344CB8AC3E}">
        <p14:creationId xmlns:p14="http://schemas.microsoft.com/office/powerpoint/2010/main" val="310524681"/>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imeline/Milestones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graphicFrame>
        <p:nvGraphicFramePr>
          <p:cNvPr id="48" name="Table 47">
            <a:extLst>
              <a:ext uri="{FF2B5EF4-FFF2-40B4-BE49-F238E27FC236}">
                <a16:creationId xmlns:a16="http://schemas.microsoft.com/office/drawing/2014/main" id="{B7F29198-E920-459C-2862-C2C7FB6FEB65}"/>
              </a:ext>
            </a:extLst>
          </p:cNvPr>
          <p:cNvGraphicFramePr>
            <a:graphicFrameLocks noGrp="1"/>
          </p:cNvGraphicFramePr>
          <p:nvPr userDrawn="1">
            <p:extLst>
              <p:ext uri="{D42A27DB-BD31-4B8C-83A1-F6EECF244321}">
                <p14:modId xmlns:p14="http://schemas.microsoft.com/office/powerpoint/2010/main" val="2545069581"/>
              </p:ext>
            </p:extLst>
          </p:nvPr>
        </p:nvGraphicFramePr>
        <p:xfrm>
          <a:off x="606585" y="2278196"/>
          <a:ext cx="11007608" cy="3618726"/>
        </p:xfrm>
        <a:graphic>
          <a:graphicData uri="http://schemas.openxmlformats.org/drawingml/2006/table">
            <a:tbl>
              <a:tblPr bandCol="1">
                <a:tableStyleId>{2D5ABB26-0587-4C30-8999-92F81FD0307C}</a:tableStyleId>
              </a:tblPr>
              <a:tblGrid>
                <a:gridCol w="2751902">
                  <a:extLst>
                    <a:ext uri="{9D8B030D-6E8A-4147-A177-3AD203B41FA5}">
                      <a16:colId xmlns:a16="http://schemas.microsoft.com/office/drawing/2014/main" val="4151945498"/>
                    </a:ext>
                  </a:extLst>
                </a:gridCol>
                <a:gridCol w="2751902">
                  <a:extLst>
                    <a:ext uri="{9D8B030D-6E8A-4147-A177-3AD203B41FA5}">
                      <a16:colId xmlns:a16="http://schemas.microsoft.com/office/drawing/2014/main" val="1382627474"/>
                    </a:ext>
                  </a:extLst>
                </a:gridCol>
                <a:gridCol w="2751902">
                  <a:extLst>
                    <a:ext uri="{9D8B030D-6E8A-4147-A177-3AD203B41FA5}">
                      <a16:colId xmlns:a16="http://schemas.microsoft.com/office/drawing/2014/main" val="2312284562"/>
                    </a:ext>
                  </a:extLst>
                </a:gridCol>
                <a:gridCol w="2751902">
                  <a:extLst>
                    <a:ext uri="{9D8B030D-6E8A-4147-A177-3AD203B41FA5}">
                      <a16:colId xmlns:a16="http://schemas.microsoft.com/office/drawing/2014/main" val="380964293"/>
                    </a:ext>
                  </a:extLst>
                </a:gridCol>
              </a:tblGrid>
              <a:tr h="3618726">
                <a:tc>
                  <a:txBody>
                    <a:bodyPr/>
                    <a:lstStyle/>
                    <a:p>
                      <a:pPr marL="0" algn="l" defTabSz="914400" rtl="0" eaLnBrk="1" latinLnBrk="0" hangingPunct="1">
                        <a:lnSpc>
                          <a:spcPct val="120000"/>
                        </a:lnSpc>
                        <a:spcAft>
                          <a:spcPts val="2400"/>
                        </a:spcAft>
                      </a:pPr>
                      <a:endParaRPr lang="en-US" sz="1000" b="0" i="0" kern="1200">
                        <a:solidFill>
                          <a:schemeClr val="tx1"/>
                        </a:solidFill>
                        <a:latin typeface="Arial" panose="020B0604020202020204" pitchFamily="34" charset="0"/>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b="0" i="0" kern="1200">
                        <a:solidFill>
                          <a:schemeClr val="tx1"/>
                        </a:solidFill>
                        <a:latin typeface="Arial" panose="020B0604020202020204" pitchFamily="34" charset="0"/>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b="0" i="0" kern="1200">
                        <a:solidFill>
                          <a:schemeClr val="tx1"/>
                        </a:solidFill>
                        <a:latin typeface="Arial" panose="020B0604020202020204" pitchFamily="34" charset="0"/>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b="0" i="0" kern="1200">
                        <a:solidFill>
                          <a:schemeClr val="tx1"/>
                        </a:solidFill>
                        <a:latin typeface="Arial" panose="020B0604020202020204" pitchFamily="34" charset="0"/>
                        <a:ea typeface="+mn-ea"/>
                        <a:cs typeface="+mn-cs"/>
                      </a:endParaRPr>
                    </a:p>
                  </a:txBody>
                  <a:tcPr marL="174642" marR="174642" marT="218274" marB="174619">
                    <a:solidFill>
                      <a:schemeClr val="bg1">
                        <a:lumMod val="95000"/>
                      </a:schemeClr>
                    </a:solidFill>
                  </a:tcPr>
                </a:tc>
                <a:extLst>
                  <a:ext uri="{0D108BD9-81ED-4DB2-BD59-A6C34878D82A}">
                    <a16:rowId xmlns:a16="http://schemas.microsoft.com/office/drawing/2014/main" val="3469904028"/>
                  </a:ext>
                </a:extLst>
              </a:tr>
            </a:tbl>
          </a:graphicData>
        </a:graphic>
      </p:graphicFrame>
      <p:sp>
        <p:nvSpPr>
          <p:cNvPr id="49" name="object 14">
            <a:extLst>
              <a:ext uri="{FF2B5EF4-FFF2-40B4-BE49-F238E27FC236}">
                <a16:creationId xmlns:a16="http://schemas.microsoft.com/office/drawing/2014/main" id="{A52E1F34-96C7-3C86-48A7-FAB9C405C20B}"/>
              </a:ext>
            </a:extLst>
          </p:cNvPr>
          <p:cNvSpPr/>
          <p:nvPr userDrawn="1"/>
        </p:nvSpPr>
        <p:spPr>
          <a:xfrm>
            <a:off x="577805" y="2278195"/>
            <a:ext cx="11036388" cy="45719"/>
          </a:xfrm>
          <a:custGeom>
            <a:avLst/>
            <a:gdLst/>
            <a:ahLst/>
            <a:cxnLst/>
            <a:rect l="l" t="t" r="r" b="b"/>
            <a:pathLst>
              <a:path w="18209260">
                <a:moveTo>
                  <a:pt x="0" y="0"/>
                </a:moveTo>
                <a:lnTo>
                  <a:pt x="18208869" y="0"/>
                </a:lnTo>
              </a:path>
            </a:pathLst>
          </a:custGeom>
          <a:ln w="9525">
            <a:solidFill>
              <a:schemeClr val="bg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7" y="222114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1" name="Oval 50">
            <a:extLst>
              <a:ext uri="{FF2B5EF4-FFF2-40B4-BE49-F238E27FC236}">
                <a16:creationId xmlns:a16="http://schemas.microsoft.com/office/drawing/2014/main" id="{47D58FC1-83B9-3BAD-C3EF-06E8D5DE120F}"/>
              </a:ext>
            </a:extLst>
          </p:cNvPr>
          <p:cNvSpPr>
            <a:spLocks noChangeAspect="1"/>
          </p:cNvSpPr>
          <p:nvPr userDrawn="1"/>
        </p:nvSpPr>
        <p:spPr>
          <a:xfrm>
            <a:off x="3460438" y="222114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2" name="Oval 51">
            <a:extLst>
              <a:ext uri="{FF2B5EF4-FFF2-40B4-BE49-F238E27FC236}">
                <a16:creationId xmlns:a16="http://schemas.microsoft.com/office/drawing/2014/main" id="{9D582DFC-3D0D-D5F8-AA6B-5676C8C4B3BF}"/>
              </a:ext>
            </a:extLst>
          </p:cNvPr>
          <p:cNvSpPr>
            <a:spLocks noChangeAspect="1"/>
          </p:cNvSpPr>
          <p:nvPr userDrawn="1"/>
        </p:nvSpPr>
        <p:spPr>
          <a:xfrm>
            <a:off x="6227970" y="222114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3" name="Oval 52">
            <a:extLst>
              <a:ext uri="{FF2B5EF4-FFF2-40B4-BE49-F238E27FC236}">
                <a16:creationId xmlns:a16="http://schemas.microsoft.com/office/drawing/2014/main" id="{DF486150-9219-560A-8B4F-FB551F786E68}"/>
              </a:ext>
            </a:extLst>
          </p:cNvPr>
          <p:cNvSpPr>
            <a:spLocks noChangeAspect="1"/>
          </p:cNvSpPr>
          <p:nvPr userDrawn="1"/>
        </p:nvSpPr>
        <p:spPr>
          <a:xfrm>
            <a:off x="8985924" y="222114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7" y="1818875"/>
            <a:ext cx="2767426" cy="300442"/>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5" name="Text Placeholder 71">
            <a:extLst>
              <a:ext uri="{FF2B5EF4-FFF2-40B4-BE49-F238E27FC236}">
                <a16:creationId xmlns:a16="http://schemas.microsoft.com/office/drawing/2014/main" id="{799F0539-8B24-4E4B-EF4C-121B551D8BA3}"/>
              </a:ext>
            </a:extLst>
          </p:cNvPr>
          <p:cNvSpPr>
            <a:spLocks noGrp="1"/>
          </p:cNvSpPr>
          <p:nvPr>
            <p:ph type="body" sz="quarter" idx="16" hasCustomPrompt="1"/>
          </p:nvPr>
        </p:nvSpPr>
        <p:spPr>
          <a:xfrm>
            <a:off x="3344603" y="1818875"/>
            <a:ext cx="2746295" cy="300442"/>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6" name="Text Placeholder 71">
            <a:extLst>
              <a:ext uri="{FF2B5EF4-FFF2-40B4-BE49-F238E27FC236}">
                <a16:creationId xmlns:a16="http://schemas.microsoft.com/office/drawing/2014/main" id="{9DFB2CE5-A177-E72D-3CD4-2646E4DCE502}"/>
              </a:ext>
            </a:extLst>
          </p:cNvPr>
          <p:cNvSpPr>
            <a:spLocks noGrp="1"/>
          </p:cNvSpPr>
          <p:nvPr>
            <p:ph type="body" sz="quarter" idx="18" hasCustomPrompt="1"/>
          </p:nvPr>
        </p:nvSpPr>
        <p:spPr>
          <a:xfrm>
            <a:off x="6100141" y="1818875"/>
            <a:ext cx="2745959" cy="300442"/>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7" name="Text Placeholder 71">
            <a:extLst>
              <a:ext uri="{FF2B5EF4-FFF2-40B4-BE49-F238E27FC236}">
                <a16:creationId xmlns:a16="http://schemas.microsoft.com/office/drawing/2014/main" id="{7A262EC1-F639-E81C-3343-3DA348DA9266}"/>
              </a:ext>
            </a:extLst>
          </p:cNvPr>
          <p:cNvSpPr>
            <a:spLocks noGrp="1"/>
          </p:cNvSpPr>
          <p:nvPr>
            <p:ph type="body" sz="quarter" idx="20" hasCustomPrompt="1"/>
          </p:nvPr>
        </p:nvSpPr>
        <p:spPr>
          <a:xfrm>
            <a:off x="8846100" y="1818875"/>
            <a:ext cx="2773719" cy="300442"/>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8" name="Text Placeholder 4">
            <a:extLst>
              <a:ext uri="{FF2B5EF4-FFF2-40B4-BE49-F238E27FC236}">
                <a16:creationId xmlns:a16="http://schemas.microsoft.com/office/drawing/2014/main" id="{0FE60C61-D20F-0DE2-38DC-62D2FAD38472}"/>
              </a:ext>
            </a:extLst>
          </p:cNvPr>
          <p:cNvSpPr>
            <a:spLocks noGrp="1"/>
          </p:cNvSpPr>
          <p:nvPr>
            <p:ph type="body" sz="quarter" idx="29"/>
          </p:nvPr>
        </p:nvSpPr>
        <p:spPr>
          <a:xfrm>
            <a:off x="606471"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59" name="Text Placeholder 4">
            <a:extLst>
              <a:ext uri="{FF2B5EF4-FFF2-40B4-BE49-F238E27FC236}">
                <a16:creationId xmlns:a16="http://schemas.microsoft.com/office/drawing/2014/main" id="{7F661011-0524-7D80-F0B1-7EB66B450ADE}"/>
              </a:ext>
            </a:extLst>
          </p:cNvPr>
          <p:cNvSpPr>
            <a:spLocks noGrp="1"/>
          </p:cNvSpPr>
          <p:nvPr>
            <p:ph type="body" sz="quarter" idx="30"/>
          </p:nvPr>
        </p:nvSpPr>
        <p:spPr>
          <a:xfrm>
            <a:off x="3361059"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0" name="Text Placeholder 4">
            <a:extLst>
              <a:ext uri="{FF2B5EF4-FFF2-40B4-BE49-F238E27FC236}">
                <a16:creationId xmlns:a16="http://schemas.microsoft.com/office/drawing/2014/main" id="{5F501377-4DE1-C96B-B5CB-4675C424B7FF}"/>
              </a:ext>
            </a:extLst>
          </p:cNvPr>
          <p:cNvSpPr>
            <a:spLocks noGrp="1"/>
          </p:cNvSpPr>
          <p:nvPr>
            <p:ph type="body" sz="quarter" idx="31"/>
          </p:nvPr>
        </p:nvSpPr>
        <p:spPr>
          <a:xfrm>
            <a:off x="6100140"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1" name="Text Placeholder 4">
            <a:extLst>
              <a:ext uri="{FF2B5EF4-FFF2-40B4-BE49-F238E27FC236}">
                <a16:creationId xmlns:a16="http://schemas.microsoft.com/office/drawing/2014/main" id="{71120A03-3A4D-1301-C17A-86C4C1605881}"/>
              </a:ext>
            </a:extLst>
          </p:cNvPr>
          <p:cNvSpPr>
            <a:spLocks noGrp="1"/>
          </p:cNvSpPr>
          <p:nvPr>
            <p:ph type="body" sz="quarter" idx="32"/>
          </p:nvPr>
        </p:nvSpPr>
        <p:spPr>
          <a:xfrm>
            <a:off x="8848429"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1634941594"/>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imeline/Milestones x5">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graphicFrame>
        <p:nvGraphicFramePr>
          <p:cNvPr id="48" name="Table 47">
            <a:extLst>
              <a:ext uri="{FF2B5EF4-FFF2-40B4-BE49-F238E27FC236}">
                <a16:creationId xmlns:a16="http://schemas.microsoft.com/office/drawing/2014/main" id="{B7F29198-E920-459C-2862-C2C7FB6FEB65}"/>
              </a:ext>
            </a:extLst>
          </p:cNvPr>
          <p:cNvGraphicFramePr>
            <a:graphicFrameLocks noGrp="1"/>
          </p:cNvGraphicFramePr>
          <p:nvPr userDrawn="1">
            <p:extLst>
              <p:ext uri="{D42A27DB-BD31-4B8C-83A1-F6EECF244321}">
                <p14:modId xmlns:p14="http://schemas.microsoft.com/office/powerpoint/2010/main" val="1495489908"/>
              </p:ext>
            </p:extLst>
          </p:nvPr>
        </p:nvGraphicFramePr>
        <p:xfrm>
          <a:off x="606585" y="2265316"/>
          <a:ext cx="11007610" cy="3618719"/>
        </p:xfrm>
        <a:graphic>
          <a:graphicData uri="http://schemas.openxmlformats.org/drawingml/2006/table">
            <a:tbl>
              <a:tblPr bandCol="1">
                <a:tableStyleId>{2D5ABB26-0587-4C30-8999-92F81FD0307C}</a:tableStyleId>
              </a:tblPr>
              <a:tblGrid>
                <a:gridCol w="2201522">
                  <a:extLst>
                    <a:ext uri="{9D8B030D-6E8A-4147-A177-3AD203B41FA5}">
                      <a16:colId xmlns:a16="http://schemas.microsoft.com/office/drawing/2014/main" val="4151945498"/>
                    </a:ext>
                  </a:extLst>
                </a:gridCol>
                <a:gridCol w="2201522">
                  <a:extLst>
                    <a:ext uri="{9D8B030D-6E8A-4147-A177-3AD203B41FA5}">
                      <a16:colId xmlns:a16="http://schemas.microsoft.com/office/drawing/2014/main" val="1382627474"/>
                    </a:ext>
                  </a:extLst>
                </a:gridCol>
                <a:gridCol w="2201522">
                  <a:extLst>
                    <a:ext uri="{9D8B030D-6E8A-4147-A177-3AD203B41FA5}">
                      <a16:colId xmlns:a16="http://schemas.microsoft.com/office/drawing/2014/main" val="2312284562"/>
                    </a:ext>
                  </a:extLst>
                </a:gridCol>
                <a:gridCol w="2201522">
                  <a:extLst>
                    <a:ext uri="{9D8B030D-6E8A-4147-A177-3AD203B41FA5}">
                      <a16:colId xmlns:a16="http://schemas.microsoft.com/office/drawing/2014/main" val="380964293"/>
                    </a:ext>
                  </a:extLst>
                </a:gridCol>
                <a:gridCol w="2201522">
                  <a:extLst>
                    <a:ext uri="{9D8B030D-6E8A-4147-A177-3AD203B41FA5}">
                      <a16:colId xmlns:a16="http://schemas.microsoft.com/office/drawing/2014/main" val="2456329606"/>
                    </a:ext>
                  </a:extLst>
                </a:gridCol>
              </a:tblGrid>
              <a:tr h="3618719">
                <a:tc>
                  <a:txBody>
                    <a:bodyPr/>
                    <a:lstStyle/>
                    <a:p>
                      <a:pPr marL="0" algn="l" defTabSz="914400" rtl="0" eaLnBrk="1" latinLnBrk="0" hangingPunct="1">
                        <a:lnSpc>
                          <a:spcPct val="120000"/>
                        </a:lnSpc>
                        <a:spcAft>
                          <a:spcPts val="2400"/>
                        </a:spcAft>
                      </a:pPr>
                      <a:endParaRPr lang="en-US" sz="1000" b="0" i="0" kern="1200">
                        <a:solidFill>
                          <a:schemeClr val="tx1"/>
                        </a:solidFill>
                        <a:latin typeface="Arial" panose="020B0604020202020204" pitchFamily="34" charset="0"/>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b="0" i="0" kern="1200">
                        <a:solidFill>
                          <a:schemeClr val="tx1"/>
                        </a:solidFill>
                        <a:latin typeface="Arial" panose="020B0604020202020204" pitchFamily="34" charset="0"/>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b="0" i="0" kern="1200">
                        <a:solidFill>
                          <a:schemeClr val="tx1"/>
                        </a:solidFill>
                        <a:latin typeface="Arial" panose="020B0604020202020204" pitchFamily="34" charset="0"/>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b="0" i="0" kern="1200">
                        <a:solidFill>
                          <a:schemeClr val="tx1"/>
                        </a:solidFill>
                        <a:latin typeface="Arial" panose="020B0604020202020204" pitchFamily="34" charset="0"/>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b="0" i="0" kern="1200">
                        <a:solidFill>
                          <a:schemeClr val="tx1"/>
                        </a:solidFill>
                        <a:latin typeface="Arial" panose="020B0604020202020204" pitchFamily="34" charset="0"/>
                        <a:ea typeface="+mn-ea"/>
                        <a:cs typeface="+mn-cs"/>
                      </a:endParaRPr>
                    </a:p>
                  </a:txBody>
                  <a:tcPr marL="174642" marR="174642" marT="218274" marB="174619">
                    <a:noFill/>
                  </a:tcPr>
                </a:tc>
                <a:extLst>
                  <a:ext uri="{0D108BD9-81ED-4DB2-BD59-A6C34878D82A}">
                    <a16:rowId xmlns:a16="http://schemas.microsoft.com/office/drawing/2014/main" val="3469904028"/>
                  </a:ext>
                </a:extLst>
              </a:tr>
            </a:tbl>
          </a:graphicData>
        </a:graphic>
      </p:graphicFrame>
      <p:sp>
        <p:nvSpPr>
          <p:cNvPr id="49" name="object 14">
            <a:extLst>
              <a:ext uri="{FF2B5EF4-FFF2-40B4-BE49-F238E27FC236}">
                <a16:creationId xmlns:a16="http://schemas.microsoft.com/office/drawing/2014/main" id="{A52E1F34-96C7-3C86-48A7-FAB9C405C20B}"/>
              </a:ext>
            </a:extLst>
          </p:cNvPr>
          <p:cNvSpPr/>
          <p:nvPr userDrawn="1"/>
        </p:nvSpPr>
        <p:spPr>
          <a:xfrm>
            <a:off x="577805" y="2265316"/>
            <a:ext cx="11042014" cy="0"/>
          </a:xfrm>
          <a:custGeom>
            <a:avLst/>
            <a:gdLst/>
            <a:ahLst/>
            <a:cxnLst/>
            <a:rect l="l" t="t" r="r" b="b"/>
            <a:pathLst>
              <a:path w="18209260">
                <a:moveTo>
                  <a:pt x="0" y="0"/>
                </a:moveTo>
                <a:lnTo>
                  <a:pt x="18208869" y="0"/>
                </a:lnTo>
              </a:path>
            </a:pathLst>
          </a:custGeom>
          <a:ln w="9525">
            <a:solidFill>
              <a:schemeClr val="bg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7"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1" name="Oval 50">
            <a:extLst>
              <a:ext uri="{FF2B5EF4-FFF2-40B4-BE49-F238E27FC236}">
                <a16:creationId xmlns:a16="http://schemas.microsoft.com/office/drawing/2014/main" id="{47D58FC1-83B9-3BAD-C3EF-06E8D5DE120F}"/>
              </a:ext>
            </a:extLst>
          </p:cNvPr>
          <p:cNvSpPr>
            <a:spLocks noChangeAspect="1"/>
          </p:cNvSpPr>
          <p:nvPr userDrawn="1"/>
        </p:nvSpPr>
        <p:spPr>
          <a:xfrm>
            <a:off x="2892295"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7" y="1805995"/>
            <a:ext cx="2217229"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5" name="Text Placeholder 71">
            <a:extLst>
              <a:ext uri="{FF2B5EF4-FFF2-40B4-BE49-F238E27FC236}">
                <a16:creationId xmlns:a16="http://schemas.microsoft.com/office/drawing/2014/main" id="{799F0539-8B24-4E4B-EF4C-121B551D8BA3}"/>
              </a:ext>
            </a:extLst>
          </p:cNvPr>
          <p:cNvSpPr>
            <a:spLocks noGrp="1"/>
          </p:cNvSpPr>
          <p:nvPr>
            <p:ph type="body" sz="quarter" idx="16" hasCustomPrompt="1"/>
          </p:nvPr>
        </p:nvSpPr>
        <p:spPr>
          <a:xfrm>
            <a:off x="2789882" y="1805995"/>
            <a:ext cx="2200300"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8" name="Text Placeholder 4">
            <a:extLst>
              <a:ext uri="{FF2B5EF4-FFF2-40B4-BE49-F238E27FC236}">
                <a16:creationId xmlns:a16="http://schemas.microsoft.com/office/drawing/2014/main" id="{0FE60C61-D20F-0DE2-38DC-62D2FAD38472}"/>
              </a:ext>
            </a:extLst>
          </p:cNvPr>
          <p:cNvSpPr>
            <a:spLocks noGrp="1"/>
          </p:cNvSpPr>
          <p:nvPr>
            <p:ph type="body" sz="quarter" idx="29"/>
          </p:nvPr>
        </p:nvSpPr>
        <p:spPr>
          <a:xfrm>
            <a:off x="606471" y="2567720"/>
            <a:ext cx="2193481"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59" name="Text Placeholder 4">
            <a:extLst>
              <a:ext uri="{FF2B5EF4-FFF2-40B4-BE49-F238E27FC236}">
                <a16:creationId xmlns:a16="http://schemas.microsoft.com/office/drawing/2014/main" id="{7F661011-0524-7D80-F0B1-7EB66B450ADE}"/>
              </a:ext>
            </a:extLst>
          </p:cNvPr>
          <p:cNvSpPr>
            <a:spLocks noGrp="1"/>
          </p:cNvSpPr>
          <p:nvPr>
            <p:ph type="body" sz="quarter" idx="30"/>
          </p:nvPr>
        </p:nvSpPr>
        <p:spPr>
          <a:xfrm>
            <a:off x="2806338" y="2567720"/>
            <a:ext cx="2193482"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3" name="Oval 22">
            <a:extLst>
              <a:ext uri="{FF2B5EF4-FFF2-40B4-BE49-F238E27FC236}">
                <a16:creationId xmlns:a16="http://schemas.microsoft.com/office/drawing/2014/main" id="{52428D8F-1413-2F6F-66F0-EA64E72C6F19}"/>
              </a:ext>
            </a:extLst>
          </p:cNvPr>
          <p:cNvSpPr>
            <a:spLocks noChangeAspect="1"/>
          </p:cNvSpPr>
          <p:nvPr userDrawn="1"/>
        </p:nvSpPr>
        <p:spPr>
          <a:xfrm>
            <a:off x="5108619"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24" name="Text Placeholder 71">
            <a:extLst>
              <a:ext uri="{FF2B5EF4-FFF2-40B4-BE49-F238E27FC236}">
                <a16:creationId xmlns:a16="http://schemas.microsoft.com/office/drawing/2014/main" id="{ED2B6425-619B-AFAF-1CF5-12D51DA09538}"/>
              </a:ext>
            </a:extLst>
          </p:cNvPr>
          <p:cNvSpPr>
            <a:spLocks noGrp="1"/>
          </p:cNvSpPr>
          <p:nvPr>
            <p:ph type="body" sz="quarter" idx="33" hasCustomPrompt="1"/>
          </p:nvPr>
        </p:nvSpPr>
        <p:spPr>
          <a:xfrm>
            <a:off x="5006206" y="1805995"/>
            <a:ext cx="2200300"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25" name="Text Placeholder 4">
            <a:extLst>
              <a:ext uri="{FF2B5EF4-FFF2-40B4-BE49-F238E27FC236}">
                <a16:creationId xmlns:a16="http://schemas.microsoft.com/office/drawing/2014/main" id="{42048595-A0EA-7BB4-A2D8-622DB0779CAC}"/>
              </a:ext>
            </a:extLst>
          </p:cNvPr>
          <p:cNvSpPr>
            <a:spLocks noGrp="1"/>
          </p:cNvSpPr>
          <p:nvPr>
            <p:ph type="body" sz="quarter" idx="34"/>
          </p:nvPr>
        </p:nvSpPr>
        <p:spPr>
          <a:xfrm>
            <a:off x="5022662" y="2567720"/>
            <a:ext cx="2193482"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Oval 25">
            <a:extLst>
              <a:ext uri="{FF2B5EF4-FFF2-40B4-BE49-F238E27FC236}">
                <a16:creationId xmlns:a16="http://schemas.microsoft.com/office/drawing/2014/main" id="{E31A4FAF-CCB7-1F56-BEE2-622CF1A54FAB}"/>
              </a:ext>
            </a:extLst>
          </p:cNvPr>
          <p:cNvSpPr>
            <a:spLocks noChangeAspect="1"/>
          </p:cNvSpPr>
          <p:nvPr userDrawn="1"/>
        </p:nvSpPr>
        <p:spPr>
          <a:xfrm>
            <a:off x="7304231"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27" name="Text Placeholder 71">
            <a:extLst>
              <a:ext uri="{FF2B5EF4-FFF2-40B4-BE49-F238E27FC236}">
                <a16:creationId xmlns:a16="http://schemas.microsoft.com/office/drawing/2014/main" id="{AD33553F-FF2E-A084-58B1-CABD32043C6D}"/>
              </a:ext>
            </a:extLst>
          </p:cNvPr>
          <p:cNvSpPr>
            <a:spLocks noGrp="1"/>
          </p:cNvSpPr>
          <p:nvPr>
            <p:ph type="body" sz="quarter" idx="35" hasCustomPrompt="1"/>
          </p:nvPr>
        </p:nvSpPr>
        <p:spPr>
          <a:xfrm>
            <a:off x="7201818" y="1805995"/>
            <a:ext cx="2200300"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28" name="Text Placeholder 4">
            <a:extLst>
              <a:ext uri="{FF2B5EF4-FFF2-40B4-BE49-F238E27FC236}">
                <a16:creationId xmlns:a16="http://schemas.microsoft.com/office/drawing/2014/main" id="{E55650A2-C067-405B-1B74-AC970B406C55}"/>
              </a:ext>
            </a:extLst>
          </p:cNvPr>
          <p:cNvSpPr>
            <a:spLocks noGrp="1"/>
          </p:cNvSpPr>
          <p:nvPr>
            <p:ph type="body" sz="quarter" idx="36"/>
          </p:nvPr>
        </p:nvSpPr>
        <p:spPr>
          <a:xfrm>
            <a:off x="7218274" y="2567720"/>
            <a:ext cx="2193482"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9" name="Oval 28">
            <a:extLst>
              <a:ext uri="{FF2B5EF4-FFF2-40B4-BE49-F238E27FC236}">
                <a16:creationId xmlns:a16="http://schemas.microsoft.com/office/drawing/2014/main" id="{965D2802-7493-9694-05E4-80CC2EF9B231}"/>
              </a:ext>
            </a:extLst>
          </p:cNvPr>
          <p:cNvSpPr>
            <a:spLocks noChangeAspect="1"/>
          </p:cNvSpPr>
          <p:nvPr userDrawn="1"/>
        </p:nvSpPr>
        <p:spPr>
          <a:xfrm>
            <a:off x="9512554"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30" name="Text Placeholder 71">
            <a:extLst>
              <a:ext uri="{FF2B5EF4-FFF2-40B4-BE49-F238E27FC236}">
                <a16:creationId xmlns:a16="http://schemas.microsoft.com/office/drawing/2014/main" id="{71110D7A-CD1D-2C97-57A0-9A17C8D3134A}"/>
              </a:ext>
            </a:extLst>
          </p:cNvPr>
          <p:cNvSpPr>
            <a:spLocks noGrp="1"/>
          </p:cNvSpPr>
          <p:nvPr>
            <p:ph type="body" sz="quarter" idx="37" hasCustomPrompt="1"/>
          </p:nvPr>
        </p:nvSpPr>
        <p:spPr>
          <a:xfrm>
            <a:off x="9410141" y="1805995"/>
            <a:ext cx="2200300"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31" name="Text Placeholder 4">
            <a:extLst>
              <a:ext uri="{FF2B5EF4-FFF2-40B4-BE49-F238E27FC236}">
                <a16:creationId xmlns:a16="http://schemas.microsoft.com/office/drawing/2014/main" id="{4E1F3181-D3F3-3AA6-E3A7-A60D86BCE4F3}"/>
              </a:ext>
            </a:extLst>
          </p:cNvPr>
          <p:cNvSpPr>
            <a:spLocks noGrp="1"/>
          </p:cNvSpPr>
          <p:nvPr>
            <p:ph type="body" sz="quarter" idx="38"/>
          </p:nvPr>
        </p:nvSpPr>
        <p:spPr>
          <a:xfrm>
            <a:off x="9426597" y="2567720"/>
            <a:ext cx="2193482"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358944895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BCB7C2-92D3-45AB-AA9D-3F6E7319E66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AU"/>
          </a:p>
        </p:txBody>
      </p:sp>
      <p:sp>
        <p:nvSpPr>
          <p:cNvPr id="3" name="Picture Placeholder 2">
            <a:extLst>
              <a:ext uri="{FF2B5EF4-FFF2-40B4-BE49-F238E27FC236}">
                <a16:creationId xmlns:a16="http://schemas.microsoft.com/office/drawing/2014/main" id="{85F2C2F6-AB0B-45B9-83DB-878CAF90C86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AU"/>
          </a:p>
        </p:txBody>
      </p:sp>
      <p:sp>
        <p:nvSpPr>
          <p:cNvPr id="4" name="Text Placeholder 3">
            <a:extLst>
              <a:ext uri="{FF2B5EF4-FFF2-40B4-BE49-F238E27FC236}">
                <a16:creationId xmlns:a16="http://schemas.microsoft.com/office/drawing/2014/main" id="{0FFDEC38-AEEF-4798-9B0D-F8FFC43B843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AA59457-8F38-4AE4-B8D4-B1A7096FAB3F}"/>
              </a:ext>
            </a:extLst>
          </p:cNvPr>
          <p:cNvSpPr>
            <a:spLocks noGrp="1"/>
          </p:cNvSpPr>
          <p:nvPr>
            <p:ph type="dt" sz="half" idx="10"/>
          </p:nvPr>
        </p:nvSpPr>
        <p:spPr/>
        <p:txBody>
          <a:bodyPr/>
          <a:lstStyle/>
          <a:p>
            <a:fld id="{26E09134-F78D-448B-876B-771CB69FC64F}" type="datetime1">
              <a:rPr lang="en-AU" smtClean="0"/>
              <a:t>9/12/2024</a:t>
            </a:fld>
            <a:endParaRPr lang="en-AU"/>
          </a:p>
        </p:txBody>
      </p:sp>
      <p:sp>
        <p:nvSpPr>
          <p:cNvPr id="6" name="Footer Placeholder 5">
            <a:extLst>
              <a:ext uri="{FF2B5EF4-FFF2-40B4-BE49-F238E27FC236}">
                <a16:creationId xmlns:a16="http://schemas.microsoft.com/office/drawing/2014/main" id="{AF23242F-9649-4D3B-AA69-A8A918C4F2D8}"/>
              </a:ext>
            </a:extLst>
          </p:cNvPr>
          <p:cNvSpPr>
            <a:spLocks noGrp="1"/>
          </p:cNvSpPr>
          <p:nvPr>
            <p:ph type="ftr" sz="quarter" idx="11"/>
          </p:nvPr>
        </p:nvSpPr>
        <p:spPr/>
        <p:txBody>
          <a:bodyPr/>
          <a:lstStyle/>
          <a:p>
            <a:endParaRPr lang="en-AU"/>
          </a:p>
        </p:txBody>
      </p:sp>
      <p:sp>
        <p:nvSpPr>
          <p:cNvPr id="7" name="Slide Number Placeholder 6">
            <a:extLst>
              <a:ext uri="{FF2B5EF4-FFF2-40B4-BE49-F238E27FC236}">
                <a16:creationId xmlns:a16="http://schemas.microsoft.com/office/drawing/2014/main" id="{2BA06172-3C11-4E95-9DE6-FC080441C8C6}"/>
              </a:ext>
            </a:extLst>
          </p:cNvPr>
          <p:cNvSpPr>
            <a:spLocks noGrp="1"/>
          </p:cNvSpPr>
          <p:nvPr>
            <p:ph type="sldNum" sz="quarter" idx="12"/>
          </p:nvPr>
        </p:nvSpPr>
        <p:spPr/>
        <p:txBody>
          <a:bodyPr/>
          <a:lstStyle/>
          <a:p>
            <a:fld id="{33ECF85F-2FE6-4C40-9C0D-695BD934DCA6}" type="slidenum">
              <a:rPr lang="en-AU" smtClean="0"/>
              <a:t>‹#›</a:t>
            </a:fld>
            <a:endParaRPr lang="en-AU"/>
          </a:p>
        </p:txBody>
      </p:sp>
    </p:spTree>
    <p:extLst>
      <p:ext uri="{BB962C8B-B14F-4D97-AF65-F5344CB8AC3E}">
        <p14:creationId xmlns:p14="http://schemas.microsoft.com/office/powerpoint/2010/main" val="599900699"/>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imeline/Milestones x6">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graphicFrame>
        <p:nvGraphicFramePr>
          <p:cNvPr id="48" name="Table 47">
            <a:extLst>
              <a:ext uri="{FF2B5EF4-FFF2-40B4-BE49-F238E27FC236}">
                <a16:creationId xmlns:a16="http://schemas.microsoft.com/office/drawing/2014/main" id="{B7F29198-E920-459C-2862-C2C7FB6FEB65}"/>
              </a:ext>
            </a:extLst>
          </p:cNvPr>
          <p:cNvGraphicFramePr>
            <a:graphicFrameLocks noGrp="1"/>
          </p:cNvGraphicFramePr>
          <p:nvPr userDrawn="1">
            <p:extLst>
              <p:ext uri="{D42A27DB-BD31-4B8C-83A1-F6EECF244321}">
                <p14:modId xmlns:p14="http://schemas.microsoft.com/office/powerpoint/2010/main" val="3220648469"/>
              </p:ext>
            </p:extLst>
          </p:nvPr>
        </p:nvGraphicFramePr>
        <p:xfrm>
          <a:off x="577178" y="2265316"/>
          <a:ext cx="11007612" cy="3618719"/>
        </p:xfrm>
        <a:graphic>
          <a:graphicData uri="http://schemas.openxmlformats.org/drawingml/2006/table">
            <a:tbl>
              <a:tblPr bandCol="1">
                <a:tableStyleId>{2D5ABB26-0587-4C30-8999-92F81FD0307C}</a:tableStyleId>
              </a:tblPr>
              <a:tblGrid>
                <a:gridCol w="1834602">
                  <a:extLst>
                    <a:ext uri="{9D8B030D-6E8A-4147-A177-3AD203B41FA5}">
                      <a16:colId xmlns:a16="http://schemas.microsoft.com/office/drawing/2014/main" val="4151945498"/>
                    </a:ext>
                  </a:extLst>
                </a:gridCol>
                <a:gridCol w="1834602">
                  <a:extLst>
                    <a:ext uri="{9D8B030D-6E8A-4147-A177-3AD203B41FA5}">
                      <a16:colId xmlns:a16="http://schemas.microsoft.com/office/drawing/2014/main" val="1382627474"/>
                    </a:ext>
                  </a:extLst>
                </a:gridCol>
                <a:gridCol w="1834602">
                  <a:extLst>
                    <a:ext uri="{9D8B030D-6E8A-4147-A177-3AD203B41FA5}">
                      <a16:colId xmlns:a16="http://schemas.microsoft.com/office/drawing/2014/main" val="2312284562"/>
                    </a:ext>
                  </a:extLst>
                </a:gridCol>
                <a:gridCol w="1834602">
                  <a:extLst>
                    <a:ext uri="{9D8B030D-6E8A-4147-A177-3AD203B41FA5}">
                      <a16:colId xmlns:a16="http://schemas.microsoft.com/office/drawing/2014/main" val="380964293"/>
                    </a:ext>
                  </a:extLst>
                </a:gridCol>
                <a:gridCol w="1834602">
                  <a:extLst>
                    <a:ext uri="{9D8B030D-6E8A-4147-A177-3AD203B41FA5}">
                      <a16:colId xmlns:a16="http://schemas.microsoft.com/office/drawing/2014/main" val="2456329606"/>
                    </a:ext>
                  </a:extLst>
                </a:gridCol>
                <a:gridCol w="1834602">
                  <a:extLst>
                    <a:ext uri="{9D8B030D-6E8A-4147-A177-3AD203B41FA5}">
                      <a16:colId xmlns:a16="http://schemas.microsoft.com/office/drawing/2014/main" val="2168740535"/>
                    </a:ext>
                  </a:extLst>
                </a:gridCol>
              </a:tblGrid>
              <a:tr h="3618719">
                <a:tc>
                  <a:txBody>
                    <a:bodyPr/>
                    <a:lstStyle/>
                    <a:p>
                      <a:pPr marL="0" algn="l" defTabSz="914400" rtl="0" eaLnBrk="1" latinLnBrk="0" hangingPunct="1">
                        <a:lnSpc>
                          <a:spcPct val="120000"/>
                        </a:lnSpc>
                        <a:spcAft>
                          <a:spcPts val="2400"/>
                        </a:spcAft>
                      </a:pPr>
                      <a:endParaRPr lang="en-US" sz="1000" b="0" i="0" kern="1200">
                        <a:solidFill>
                          <a:schemeClr val="tx1"/>
                        </a:solidFill>
                        <a:latin typeface="Arial" panose="020B0604020202020204" pitchFamily="34" charset="0"/>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b="0" i="0" kern="1200">
                        <a:solidFill>
                          <a:schemeClr val="tx1"/>
                        </a:solidFill>
                        <a:latin typeface="Arial" panose="020B0604020202020204" pitchFamily="34" charset="0"/>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b="0" i="0" kern="1200">
                        <a:solidFill>
                          <a:schemeClr val="tx1"/>
                        </a:solidFill>
                        <a:latin typeface="Arial" panose="020B0604020202020204" pitchFamily="34" charset="0"/>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b="0" i="0" kern="1200">
                        <a:solidFill>
                          <a:schemeClr val="tx1"/>
                        </a:solidFill>
                        <a:latin typeface="Arial" panose="020B0604020202020204" pitchFamily="34" charset="0"/>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b="0" i="0" kern="1200">
                        <a:solidFill>
                          <a:schemeClr val="tx1"/>
                        </a:solidFill>
                        <a:latin typeface="Arial" panose="020B0604020202020204" pitchFamily="34" charset="0"/>
                        <a:ea typeface="+mn-ea"/>
                        <a:cs typeface="+mn-cs"/>
                      </a:endParaRPr>
                    </a:p>
                  </a:txBody>
                  <a:tcPr marL="174642" marR="174642" marT="218274" marB="174619">
                    <a:noFill/>
                  </a:tcPr>
                </a:tc>
                <a:tc>
                  <a:txBody>
                    <a:bodyPr/>
                    <a:lstStyle/>
                    <a:p>
                      <a:pPr marL="0" algn="l" defTabSz="914400" rtl="0" eaLnBrk="1" latinLnBrk="0" hangingPunct="1">
                        <a:lnSpc>
                          <a:spcPct val="120000"/>
                        </a:lnSpc>
                        <a:spcAft>
                          <a:spcPts val="2400"/>
                        </a:spcAft>
                      </a:pPr>
                      <a:endParaRPr lang="en-US" sz="1000" b="0" i="0" kern="1200">
                        <a:solidFill>
                          <a:schemeClr val="tx1"/>
                        </a:solidFill>
                        <a:latin typeface="Arial" panose="020B0604020202020204" pitchFamily="34" charset="0"/>
                        <a:ea typeface="+mn-ea"/>
                        <a:cs typeface="+mn-cs"/>
                      </a:endParaRPr>
                    </a:p>
                  </a:txBody>
                  <a:tcPr marL="174642" marR="174642" marT="218274" marB="174619">
                    <a:solidFill>
                      <a:schemeClr val="bg1">
                        <a:lumMod val="95000"/>
                      </a:schemeClr>
                    </a:solidFill>
                  </a:tcPr>
                </a:tc>
                <a:extLst>
                  <a:ext uri="{0D108BD9-81ED-4DB2-BD59-A6C34878D82A}">
                    <a16:rowId xmlns:a16="http://schemas.microsoft.com/office/drawing/2014/main" val="3469904028"/>
                  </a:ext>
                </a:extLst>
              </a:tr>
            </a:tbl>
          </a:graphicData>
        </a:graphic>
      </p:graphicFrame>
      <p:sp>
        <p:nvSpPr>
          <p:cNvPr id="49" name="object 14">
            <a:extLst>
              <a:ext uri="{FF2B5EF4-FFF2-40B4-BE49-F238E27FC236}">
                <a16:creationId xmlns:a16="http://schemas.microsoft.com/office/drawing/2014/main" id="{A52E1F34-96C7-3C86-48A7-FAB9C405C20B}"/>
              </a:ext>
            </a:extLst>
          </p:cNvPr>
          <p:cNvSpPr/>
          <p:nvPr userDrawn="1"/>
        </p:nvSpPr>
        <p:spPr>
          <a:xfrm>
            <a:off x="577805" y="2265315"/>
            <a:ext cx="11006985" cy="45719"/>
          </a:xfrm>
          <a:custGeom>
            <a:avLst/>
            <a:gdLst/>
            <a:ahLst/>
            <a:cxnLst/>
            <a:rect l="l" t="t" r="r" b="b"/>
            <a:pathLst>
              <a:path w="18209260">
                <a:moveTo>
                  <a:pt x="0" y="0"/>
                </a:moveTo>
                <a:lnTo>
                  <a:pt x="18208869" y="0"/>
                </a:lnTo>
              </a:path>
            </a:pathLst>
          </a:custGeom>
          <a:ln w="9525">
            <a:solidFill>
              <a:schemeClr val="bg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7"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7"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8" name="Text Placeholder 4">
            <a:extLst>
              <a:ext uri="{FF2B5EF4-FFF2-40B4-BE49-F238E27FC236}">
                <a16:creationId xmlns:a16="http://schemas.microsoft.com/office/drawing/2014/main" id="{0FE60C61-D20F-0DE2-38DC-62D2FAD38472}"/>
              </a:ext>
            </a:extLst>
          </p:cNvPr>
          <p:cNvSpPr>
            <a:spLocks noGrp="1"/>
          </p:cNvSpPr>
          <p:nvPr>
            <p:ph type="body" sz="quarter" idx="29"/>
          </p:nvPr>
        </p:nvSpPr>
        <p:spPr>
          <a:xfrm>
            <a:off x="577178"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2" name="Oval 61">
            <a:extLst>
              <a:ext uri="{FF2B5EF4-FFF2-40B4-BE49-F238E27FC236}">
                <a16:creationId xmlns:a16="http://schemas.microsoft.com/office/drawing/2014/main" id="{178D6D93-FD32-F6AE-2A57-61C348C02B3E}"/>
              </a:ext>
            </a:extLst>
          </p:cNvPr>
          <p:cNvSpPr>
            <a:spLocks noChangeAspect="1"/>
          </p:cNvSpPr>
          <p:nvPr userDrawn="1"/>
        </p:nvSpPr>
        <p:spPr>
          <a:xfrm>
            <a:off x="2515019"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63" name="Text Placeholder 71">
            <a:extLst>
              <a:ext uri="{FF2B5EF4-FFF2-40B4-BE49-F238E27FC236}">
                <a16:creationId xmlns:a16="http://schemas.microsoft.com/office/drawing/2014/main" id="{21AE5853-8A99-8A93-1D01-2F7FCE23E3DD}"/>
              </a:ext>
            </a:extLst>
          </p:cNvPr>
          <p:cNvSpPr>
            <a:spLocks noGrp="1"/>
          </p:cNvSpPr>
          <p:nvPr>
            <p:ph type="body" sz="quarter" idx="30" hasCustomPrompt="1"/>
          </p:nvPr>
        </p:nvSpPr>
        <p:spPr>
          <a:xfrm>
            <a:off x="2411179"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64" name="Text Placeholder 4">
            <a:extLst>
              <a:ext uri="{FF2B5EF4-FFF2-40B4-BE49-F238E27FC236}">
                <a16:creationId xmlns:a16="http://schemas.microsoft.com/office/drawing/2014/main" id="{1AA430BA-739B-1F40-97FF-53B14467EF88}"/>
              </a:ext>
            </a:extLst>
          </p:cNvPr>
          <p:cNvSpPr>
            <a:spLocks noGrp="1"/>
          </p:cNvSpPr>
          <p:nvPr>
            <p:ph type="body" sz="quarter" idx="31"/>
          </p:nvPr>
        </p:nvSpPr>
        <p:spPr>
          <a:xfrm>
            <a:off x="2411180"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5" name="Oval 64">
            <a:extLst>
              <a:ext uri="{FF2B5EF4-FFF2-40B4-BE49-F238E27FC236}">
                <a16:creationId xmlns:a16="http://schemas.microsoft.com/office/drawing/2014/main" id="{DC0E5BE5-8378-48E2-C8D1-F22E49536780}"/>
              </a:ext>
            </a:extLst>
          </p:cNvPr>
          <p:cNvSpPr>
            <a:spLocks noChangeAspect="1"/>
          </p:cNvSpPr>
          <p:nvPr userDrawn="1"/>
        </p:nvSpPr>
        <p:spPr>
          <a:xfrm>
            <a:off x="4364033"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66" name="Text Placeholder 71">
            <a:extLst>
              <a:ext uri="{FF2B5EF4-FFF2-40B4-BE49-F238E27FC236}">
                <a16:creationId xmlns:a16="http://schemas.microsoft.com/office/drawing/2014/main" id="{DDCEF4C9-0B45-4A5E-2D03-31D3672575C4}"/>
              </a:ext>
            </a:extLst>
          </p:cNvPr>
          <p:cNvSpPr>
            <a:spLocks noGrp="1"/>
          </p:cNvSpPr>
          <p:nvPr>
            <p:ph type="body" sz="quarter" idx="32" hasCustomPrompt="1"/>
          </p:nvPr>
        </p:nvSpPr>
        <p:spPr>
          <a:xfrm>
            <a:off x="4260193"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67" name="Text Placeholder 4">
            <a:extLst>
              <a:ext uri="{FF2B5EF4-FFF2-40B4-BE49-F238E27FC236}">
                <a16:creationId xmlns:a16="http://schemas.microsoft.com/office/drawing/2014/main" id="{B994265A-DDDF-4B03-8D82-FB42EFBCBCE6}"/>
              </a:ext>
            </a:extLst>
          </p:cNvPr>
          <p:cNvSpPr>
            <a:spLocks noGrp="1"/>
          </p:cNvSpPr>
          <p:nvPr>
            <p:ph type="body" sz="quarter" idx="33"/>
          </p:nvPr>
        </p:nvSpPr>
        <p:spPr>
          <a:xfrm>
            <a:off x="4260194"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8" name="Oval 67">
            <a:extLst>
              <a:ext uri="{FF2B5EF4-FFF2-40B4-BE49-F238E27FC236}">
                <a16:creationId xmlns:a16="http://schemas.microsoft.com/office/drawing/2014/main" id="{0F31CF81-312F-837D-5714-92C7014354C5}"/>
              </a:ext>
            </a:extLst>
          </p:cNvPr>
          <p:cNvSpPr>
            <a:spLocks noChangeAspect="1"/>
          </p:cNvSpPr>
          <p:nvPr userDrawn="1"/>
        </p:nvSpPr>
        <p:spPr>
          <a:xfrm>
            <a:off x="6199839"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69" name="Text Placeholder 71">
            <a:extLst>
              <a:ext uri="{FF2B5EF4-FFF2-40B4-BE49-F238E27FC236}">
                <a16:creationId xmlns:a16="http://schemas.microsoft.com/office/drawing/2014/main" id="{62AEAA69-3020-A0FF-5608-7AFD7A5D2986}"/>
              </a:ext>
            </a:extLst>
          </p:cNvPr>
          <p:cNvSpPr>
            <a:spLocks noGrp="1"/>
          </p:cNvSpPr>
          <p:nvPr>
            <p:ph type="body" sz="quarter" idx="34" hasCustomPrompt="1"/>
          </p:nvPr>
        </p:nvSpPr>
        <p:spPr>
          <a:xfrm>
            <a:off x="6095999"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70" name="Text Placeholder 4">
            <a:extLst>
              <a:ext uri="{FF2B5EF4-FFF2-40B4-BE49-F238E27FC236}">
                <a16:creationId xmlns:a16="http://schemas.microsoft.com/office/drawing/2014/main" id="{79626162-0EE9-3BA8-0CDF-67028FE32F18}"/>
              </a:ext>
            </a:extLst>
          </p:cNvPr>
          <p:cNvSpPr>
            <a:spLocks noGrp="1"/>
          </p:cNvSpPr>
          <p:nvPr>
            <p:ph type="body" sz="quarter" idx="35"/>
          </p:nvPr>
        </p:nvSpPr>
        <p:spPr>
          <a:xfrm>
            <a:off x="6096000"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71" name="Oval 70">
            <a:extLst>
              <a:ext uri="{FF2B5EF4-FFF2-40B4-BE49-F238E27FC236}">
                <a16:creationId xmlns:a16="http://schemas.microsoft.com/office/drawing/2014/main" id="{D4AB8F32-B492-2CD9-826C-E5C5378592C9}"/>
              </a:ext>
            </a:extLst>
          </p:cNvPr>
          <p:cNvSpPr>
            <a:spLocks noChangeAspect="1"/>
          </p:cNvSpPr>
          <p:nvPr userDrawn="1"/>
        </p:nvSpPr>
        <p:spPr>
          <a:xfrm>
            <a:off x="8035644"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72" name="Text Placeholder 71">
            <a:extLst>
              <a:ext uri="{FF2B5EF4-FFF2-40B4-BE49-F238E27FC236}">
                <a16:creationId xmlns:a16="http://schemas.microsoft.com/office/drawing/2014/main" id="{3F1D7A91-7111-6E5C-279C-1B1D96950821}"/>
              </a:ext>
            </a:extLst>
          </p:cNvPr>
          <p:cNvSpPr>
            <a:spLocks noGrp="1"/>
          </p:cNvSpPr>
          <p:nvPr>
            <p:ph type="body" sz="quarter" idx="36" hasCustomPrompt="1"/>
          </p:nvPr>
        </p:nvSpPr>
        <p:spPr>
          <a:xfrm>
            <a:off x="7931804"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73" name="Text Placeholder 4">
            <a:extLst>
              <a:ext uri="{FF2B5EF4-FFF2-40B4-BE49-F238E27FC236}">
                <a16:creationId xmlns:a16="http://schemas.microsoft.com/office/drawing/2014/main" id="{0E2562B9-545B-AF00-D9F9-44E167A11B93}"/>
              </a:ext>
            </a:extLst>
          </p:cNvPr>
          <p:cNvSpPr>
            <a:spLocks noGrp="1"/>
          </p:cNvSpPr>
          <p:nvPr>
            <p:ph type="body" sz="quarter" idx="37"/>
          </p:nvPr>
        </p:nvSpPr>
        <p:spPr>
          <a:xfrm>
            <a:off x="7931805"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74" name="Oval 73">
            <a:extLst>
              <a:ext uri="{FF2B5EF4-FFF2-40B4-BE49-F238E27FC236}">
                <a16:creationId xmlns:a16="http://schemas.microsoft.com/office/drawing/2014/main" id="{A45C6367-A74F-1C2C-672E-F2E6078D3C68}"/>
              </a:ext>
            </a:extLst>
          </p:cNvPr>
          <p:cNvSpPr>
            <a:spLocks noChangeAspect="1"/>
          </p:cNvSpPr>
          <p:nvPr userDrawn="1"/>
        </p:nvSpPr>
        <p:spPr>
          <a:xfrm>
            <a:off x="9847196"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75" name="Text Placeholder 71">
            <a:extLst>
              <a:ext uri="{FF2B5EF4-FFF2-40B4-BE49-F238E27FC236}">
                <a16:creationId xmlns:a16="http://schemas.microsoft.com/office/drawing/2014/main" id="{5865903F-F98B-94C0-7563-3A297E41DA2E}"/>
              </a:ext>
            </a:extLst>
          </p:cNvPr>
          <p:cNvSpPr>
            <a:spLocks noGrp="1"/>
          </p:cNvSpPr>
          <p:nvPr>
            <p:ph type="body" sz="quarter" idx="38" hasCustomPrompt="1"/>
          </p:nvPr>
        </p:nvSpPr>
        <p:spPr>
          <a:xfrm>
            <a:off x="9743356"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76" name="Text Placeholder 4">
            <a:extLst>
              <a:ext uri="{FF2B5EF4-FFF2-40B4-BE49-F238E27FC236}">
                <a16:creationId xmlns:a16="http://schemas.microsoft.com/office/drawing/2014/main" id="{CAB912CE-814A-19EE-2402-D55C72FA588E}"/>
              </a:ext>
            </a:extLst>
          </p:cNvPr>
          <p:cNvSpPr>
            <a:spLocks noGrp="1"/>
          </p:cNvSpPr>
          <p:nvPr>
            <p:ph type="body" sz="quarter" idx="39"/>
          </p:nvPr>
        </p:nvSpPr>
        <p:spPr>
          <a:xfrm>
            <a:off x="9743357"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2635124871"/>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Annual Timeline">
    <p:spTree>
      <p:nvGrpSpPr>
        <p:cNvPr id="1" name=""/>
        <p:cNvGrpSpPr/>
        <p:nvPr/>
      </p:nvGrpSpPr>
      <p:grpSpPr>
        <a:xfrm>
          <a:off x="0" y="0"/>
          <a:ext cx="0" cy="0"/>
          <a:chOff x="0" y="0"/>
          <a:chExt cx="0" cy="0"/>
        </a:xfrm>
      </p:grpSpPr>
      <p:graphicFrame>
        <p:nvGraphicFramePr>
          <p:cNvPr id="30" name="Table 29">
            <a:extLst>
              <a:ext uri="{FF2B5EF4-FFF2-40B4-BE49-F238E27FC236}">
                <a16:creationId xmlns:a16="http://schemas.microsoft.com/office/drawing/2014/main" id="{803BAA2C-9254-B18D-A058-251E52C66E89}"/>
              </a:ext>
            </a:extLst>
          </p:cNvPr>
          <p:cNvGraphicFramePr>
            <a:graphicFrameLocks noGrp="1"/>
          </p:cNvGraphicFramePr>
          <p:nvPr userDrawn="1">
            <p:extLst>
              <p:ext uri="{D42A27DB-BD31-4B8C-83A1-F6EECF244321}">
                <p14:modId xmlns:p14="http://schemas.microsoft.com/office/powerpoint/2010/main" val="4106880639"/>
              </p:ext>
            </p:extLst>
          </p:nvPr>
        </p:nvGraphicFramePr>
        <p:xfrm>
          <a:off x="606585" y="2278196"/>
          <a:ext cx="11007612" cy="3618726"/>
        </p:xfrm>
        <a:graphic>
          <a:graphicData uri="http://schemas.openxmlformats.org/drawingml/2006/table">
            <a:tbl>
              <a:tblPr bandCol="1">
                <a:tableStyleId>{2D5ABB26-0587-4C30-8999-92F81FD0307C}</a:tableStyleId>
              </a:tblPr>
              <a:tblGrid>
                <a:gridCol w="917301">
                  <a:extLst>
                    <a:ext uri="{9D8B030D-6E8A-4147-A177-3AD203B41FA5}">
                      <a16:colId xmlns:a16="http://schemas.microsoft.com/office/drawing/2014/main" val="4151945498"/>
                    </a:ext>
                  </a:extLst>
                </a:gridCol>
                <a:gridCol w="917301">
                  <a:extLst>
                    <a:ext uri="{9D8B030D-6E8A-4147-A177-3AD203B41FA5}">
                      <a16:colId xmlns:a16="http://schemas.microsoft.com/office/drawing/2014/main" val="1382627474"/>
                    </a:ext>
                  </a:extLst>
                </a:gridCol>
                <a:gridCol w="917301">
                  <a:extLst>
                    <a:ext uri="{9D8B030D-6E8A-4147-A177-3AD203B41FA5}">
                      <a16:colId xmlns:a16="http://schemas.microsoft.com/office/drawing/2014/main" val="2312284562"/>
                    </a:ext>
                  </a:extLst>
                </a:gridCol>
                <a:gridCol w="917301">
                  <a:extLst>
                    <a:ext uri="{9D8B030D-6E8A-4147-A177-3AD203B41FA5}">
                      <a16:colId xmlns:a16="http://schemas.microsoft.com/office/drawing/2014/main" val="380964293"/>
                    </a:ext>
                  </a:extLst>
                </a:gridCol>
                <a:gridCol w="917301">
                  <a:extLst>
                    <a:ext uri="{9D8B030D-6E8A-4147-A177-3AD203B41FA5}">
                      <a16:colId xmlns:a16="http://schemas.microsoft.com/office/drawing/2014/main" val="2227914870"/>
                    </a:ext>
                  </a:extLst>
                </a:gridCol>
                <a:gridCol w="917301">
                  <a:extLst>
                    <a:ext uri="{9D8B030D-6E8A-4147-A177-3AD203B41FA5}">
                      <a16:colId xmlns:a16="http://schemas.microsoft.com/office/drawing/2014/main" val="2386396939"/>
                    </a:ext>
                  </a:extLst>
                </a:gridCol>
                <a:gridCol w="917301">
                  <a:extLst>
                    <a:ext uri="{9D8B030D-6E8A-4147-A177-3AD203B41FA5}">
                      <a16:colId xmlns:a16="http://schemas.microsoft.com/office/drawing/2014/main" val="1442862435"/>
                    </a:ext>
                  </a:extLst>
                </a:gridCol>
                <a:gridCol w="917301">
                  <a:extLst>
                    <a:ext uri="{9D8B030D-6E8A-4147-A177-3AD203B41FA5}">
                      <a16:colId xmlns:a16="http://schemas.microsoft.com/office/drawing/2014/main" val="2496167856"/>
                    </a:ext>
                  </a:extLst>
                </a:gridCol>
                <a:gridCol w="917301">
                  <a:extLst>
                    <a:ext uri="{9D8B030D-6E8A-4147-A177-3AD203B41FA5}">
                      <a16:colId xmlns:a16="http://schemas.microsoft.com/office/drawing/2014/main" val="936398145"/>
                    </a:ext>
                  </a:extLst>
                </a:gridCol>
                <a:gridCol w="917301">
                  <a:extLst>
                    <a:ext uri="{9D8B030D-6E8A-4147-A177-3AD203B41FA5}">
                      <a16:colId xmlns:a16="http://schemas.microsoft.com/office/drawing/2014/main" val="3251811526"/>
                    </a:ext>
                  </a:extLst>
                </a:gridCol>
                <a:gridCol w="917301">
                  <a:extLst>
                    <a:ext uri="{9D8B030D-6E8A-4147-A177-3AD203B41FA5}">
                      <a16:colId xmlns:a16="http://schemas.microsoft.com/office/drawing/2014/main" val="2298212362"/>
                    </a:ext>
                  </a:extLst>
                </a:gridCol>
                <a:gridCol w="917301">
                  <a:extLst>
                    <a:ext uri="{9D8B030D-6E8A-4147-A177-3AD203B41FA5}">
                      <a16:colId xmlns:a16="http://schemas.microsoft.com/office/drawing/2014/main" val="1474312375"/>
                    </a:ext>
                  </a:extLst>
                </a:gridCol>
              </a:tblGrid>
              <a:tr h="3618726">
                <a:tc>
                  <a:txBody>
                    <a:bodyPr/>
                    <a:lstStyle/>
                    <a:p>
                      <a:pPr marL="0" algn="l" defTabSz="914400" rtl="0" eaLnBrk="1" latinLnBrk="0" hangingPunct="1">
                        <a:lnSpc>
                          <a:spcPct val="120000"/>
                        </a:lnSpc>
                        <a:spcAft>
                          <a:spcPts val="2400"/>
                        </a:spcAft>
                      </a:pPr>
                      <a:endParaRPr lang="en-US" sz="1000" b="0" i="0" kern="1200">
                        <a:solidFill>
                          <a:schemeClr val="tx1"/>
                        </a:solidFill>
                        <a:latin typeface="Arial" panose="020B0604020202020204" pitchFamily="34" charset="0"/>
                        <a:ea typeface="+mn-ea"/>
                        <a:cs typeface="+mn-cs"/>
                      </a:endParaRPr>
                    </a:p>
                  </a:txBody>
                  <a:tcPr marL="174642" marR="174642" marT="218274" marB="174619">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b="0" i="0" kern="1200">
                        <a:solidFill>
                          <a:schemeClr val="tx1"/>
                        </a:solidFill>
                        <a:latin typeface="Arial" panose="020B0604020202020204" pitchFamily="34" charset="0"/>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b="0" i="0" kern="1200">
                        <a:solidFill>
                          <a:schemeClr val="tx1"/>
                        </a:solidFill>
                        <a:latin typeface="Arial" panose="020B0604020202020204" pitchFamily="34" charset="0"/>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b="0" i="0" kern="1200">
                        <a:solidFill>
                          <a:schemeClr val="tx1"/>
                        </a:solidFill>
                        <a:latin typeface="Arial" panose="020B0604020202020204" pitchFamily="34" charset="0"/>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b="0" i="0" kern="1200">
                        <a:solidFill>
                          <a:schemeClr val="tx1"/>
                        </a:solidFill>
                        <a:latin typeface="Arial" panose="020B0604020202020204" pitchFamily="34" charset="0"/>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b="0" i="0" kern="1200">
                        <a:solidFill>
                          <a:schemeClr val="tx1"/>
                        </a:solidFill>
                        <a:latin typeface="Arial" panose="020B0604020202020204" pitchFamily="34" charset="0"/>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b="0" i="0" kern="1200">
                        <a:solidFill>
                          <a:schemeClr val="tx1"/>
                        </a:solidFill>
                        <a:latin typeface="Arial" panose="020B0604020202020204" pitchFamily="34" charset="0"/>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b="0" i="0" kern="1200">
                        <a:solidFill>
                          <a:schemeClr val="tx1"/>
                        </a:solidFill>
                        <a:latin typeface="Arial" panose="020B0604020202020204" pitchFamily="34" charset="0"/>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b="0" i="0" kern="1200">
                        <a:solidFill>
                          <a:schemeClr val="tx1"/>
                        </a:solidFill>
                        <a:latin typeface="Arial" panose="020B0604020202020204" pitchFamily="34" charset="0"/>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b="0" i="0" kern="1200">
                        <a:solidFill>
                          <a:schemeClr val="tx1"/>
                        </a:solidFill>
                        <a:latin typeface="Arial" panose="020B0604020202020204" pitchFamily="34" charset="0"/>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b="0" i="0" kern="1200">
                        <a:solidFill>
                          <a:schemeClr val="tx1"/>
                        </a:solidFill>
                        <a:latin typeface="Arial" panose="020B0604020202020204" pitchFamily="34" charset="0"/>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b="0" i="0" kern="1200">
                        <a:solidFill>
                          <a:schemeClr val="tx1"/>
                        </a:solidFill>
                        <a:latin typeface="Arial" panose="020B0604020202020204" pitchFamily="34" charset="0"/>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noFill/>
                  </a:tcPr>
                </a:tc>
                <a:extLst>
                  <a:ext uri="{0D108BD9-81ED-4DB2-BD59-A6C34878D82A}">
                    <a16:rowId xmlns:a16="http://schemas.microsoft.com/office/drawing/2014/main" val="3469904028"/>
                  </a:ext>
                </a:extLst>
              </a:tr>
            </a:tbl>
          </a:graphicData>
        </a:graphic>
      </p:graphicFrame>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49" name="object 14">
            <a:extLst>
              <a:ext uri="{FF2B5EF4-FFF2-40B4-BE49-F238E27FC236}">
                <a16:creationId xmlns:a16="http://schemas.microsoft.com/office/drawing/2014/main" id="{A52E1F34-96C7-3C86-48A7-FAB9C405C20B}"/>
              </a:ext>
            </a:extLst>
          </p:cNvPr>
          <p:cNvSpPr/>
          <p:nvPr userDrawn="1"/>
        </p:nvSpPr>
        <p:spPr>
          <a:xfrm>
            <a:off x="577805" y="2278195"/>
            <a:ext cx="11036388" cy="45719"/>
          </a:xfrm>
          <a:custGeom>
            <a:avLst/>
            <a:gdLst/>
            <a:ahLst/>
            <a:cxnLst/>
            <a:rect l="l" t="t" r="r" b="b"/>
            <a:pathLst>
              <a:path w="18209260">
                <a:moveTo>
                  <a:pt x="0" y="0"/>
                </a:moveTo>
                <a:lnTo>
                  <a:pt x="18208869" y="0"/>
                </a:lnTo>
              </a:path>
            </a:pathLst>
          </a:custGeom>
          <a:ln w="9525">
            <a:solidFill>
              <a:schemeClr val="tx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7"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1" name="Oval 50">
            <a:extLst>
              <a:ext uri="{FF2B5EF4-FFF2-40B4-BE49-F238E27FC236}">
                <a16:creationId xmlns:a16="http://schemas.microsoft.com/office/drawing/2014/main" id="{47D58FC1-83B9-3BAD-C3EF-06E8D5DE120F}"/>
              </a:ext>
            </a:extLst>
          </p:cNvPr>
          <p:cNvSpPr>
            <a:spLocks noChangeAspect="1"/>
          </p:cNvSpPr>
          <p:nvPr userDrawn="1"/>
        </p:nvSpPr>
        <p:spPr>
          <a:xfrm>
            <a:off x="3460438"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2" name="Oval 51">
            <a:extLst>
              <a:ext uri="{FF2B5EF4-FFF2-40B4-BE49-F238E27FC236}">
                <a16:creationId xmlns:a16="http://schemas.microsoft.com/office/drawing/2014/main" id="{9D582DFC-3D0D-D5F8-AA6B-5676C8C4B3BF}"/>
              </a:ext>
            </a:extLst>
          </p:cNvPr>
          <p:cNvSpPr>
            <a:spLocks noChangeAspect="1"/>
          </p:cNvSpPr>
          <p:nvPr userDrawn="1"/>
        </p:nvSpPr>
        <p:spPr>
          <a:xfrm>
            <a:off x="6227970"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3" name="Oval 52">
            <a:extLst>
              <a:ext uri="{FF2B5EF4-FFF2-40B4-BE49-F238E27FC236}">
                <a16:creationId xmlns:a16="http://schemas.microsoft.com/office/drawing/2014/main" id="{DF486150-9219-560A-8B4F-FB551F786E68}"/>
              </a:ext>
            </a:extLst>
          </p:cNvPr>
          <p:cNvSpPr>
            <a:spLocks noChangeAspect="1"/>
          </p:cNvSpPr>
          <p:nvPr userDrawn="1"/>
        </p:nvSpPr>
        <p:spPr>
          <a:xfrm>
            <a:off x="8985924"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7" y="1818875"/>
            <a:ext cx="2767426" cy="300442"/>
          </a:xfrm>
        </p:spPr>
        <p:txBody>
          <a:bodyPr lIns="108000" rIns="288000" anchor="b" anchorCtr="0">
            <a:noAutofit/>
          </a:bodyPr>
          <a:lstStyle>
            <a:lvl1pPr>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55" name="Text Placeholder 71">
            <a:extLst>
              <a:ext uri="{FF2B5EF4-FFF2-40B4-BE49-F238E27FC236}">
                <a16:creationId xmlns:a16="http://schemas.microsoft.com/office/drawing/2014/main" id="{799F0539-8B24-4E4B-EF4C-121B551D8BA3}"/>
              </a:ext>
            </a:extLst>
          </p:cNvPr>
          <p:cNvSpPr>
            <a:spLocks noGrp="1"/>
          </p:cNvSpPr>
          <p:nvPr>
            <p:ph type="body" sz="quarter" idx="16" hasCustomPrompt="1"/>
          </p:nvPr>
        </p:nvSpPr>
        <p:spPr>
          <a:xfrm>
            <a:off x="3344603" y="1818875"/>
            <a:ext cx="2746295" cy="300442"/>
          </a:xfrm>
        </p:spPr>
        <p:txBody>
          <a:bodyPr lIns="108000" rIns="288000" anchor="b" anchorCtr="0">
            <a:noAutofit/>
          </a:bodyPr>
          <a:lstStyle>
            <a:lvl1pPr marL="0" marR="0" indent="0" algn="l" defTabSz="914400" rtl="0" eaLnBrk="1" fontAlgn="auto" latinLnBrk="0" hangingPunct="1">
              <a:lnSpc>
                <a:spcPct val="110000"/>
              </a:lnSpc>
              <a:spcBef>
                <a:spcPts val="0"/>
              </a:spcBef>
              <a:spcAft>
                <a:spcPts val="1200"/>
              </a:spcAft>
              <a:buClrTx/>
              <a:buSzTx/>
              <a:buFont typeface="Arial" panose="020B0604020202020204" pitchFamily="34" charset="0"/>
              <a:buNone/>
              <a:tabLst/>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56" name="Text Placeholder 71">
            <a:extLst>
              <a:ext uri="{FF2B5EF4-FFF2-40B4-BE49-F238E27FC236}">
                <a16:creationId xmlns:a16="http://schemas.microsoft.com/office/drawing/2014/main" id="{9DFB2CE5-A177-E72D-3CD4-2646E4DCE502}"/>
              </a:ext>
            </a:extLst>
          </p:cNvPr>
          <p:cNvSpPr>
            <a:spLocks noGrp="1"/>
          </p:cNvSpPr>
          <p:nvPr>
            <p:ph type="body" sz="quarter" idx="18" hasCustomPrompt="1"/>
          </p:nvPr>
        </p:nvSpPr>
        <p:spPr>
          <a:xfrm>
            <a:off x="6100141" y="1818875"/>
            <a:ext cx="2745959" cy="300442"/>
          </a:xfrm>
        </p:spPr>
        <p:txBody>
          <a:bodyPr lIns="108000" rIns="288000" anchor="b" anchorCtr="0">
            <a:noAutofit/>
          </a:bodyPr>
          <a:lstStyle>
            <a:lvl1pPr>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57" name="Text Placeholder 71">
            <a:extLst>
              <a:ext uri="{FF2B5EF4-FFF2-40B4-BE49-F238E27FC236}">
                <a16:creationId xmlns:a16="http://schemas.microsoft.com/office/drawing/2014/main" id="{7A262EC1-F639-E81C-3343-3DA348DA9266}"/>
              </a:ext>
            </a:extLst>
          </p:cNvPr>
          <p:cNvSpPr>
            <a:spLocks noGrp="1"/>
          </p:cNvSpPr>
          <p:nvPr>
            <p:ph type="body" sz="quarter" idx="20" hasCustomPrompt="1"/>
          </p:nvPr>
        </p:nvSpPr>
        <p:spPr>
          <a:xfrm>
            <a:off x="8846100" y="1818875"/>
            <a:ext cx="2773719" cy="300442"/>
          </a:xfrm>
        </p:spPr>
        <p:txBody>
          <a:bodyPr lIns="108000" rIns="288000" anchor="b" anchorCtr="0">
            <a:noAutofit/>
          </a:bodyPr>
          <a:lstStyle>
            <a:lvl1pPr>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23" name="Text Placeholder 2">
            <a:extLst>
              <a:ext uri="{FF2B5EF4-FFF2-40B4-BE49-F238E27FC236}">
                <a16:creationId xmlns:a16="http://schemas.microsoft.com/office/drawing/2014/main" id="{3031F97C-D610-4D45-F78B-D175D9A0E755}"/>
              </a:ext>
            </a:extLst>
          </p:cNvPr>
          <p:cNvSpPr>
            <a:spLocks noGrp="1"/>
          </p:cNvSpPr>
          <p:nvPr>
            <p:ph type="body" sz="quarter" idx="47"/>
          </p:nvPr>
        </p:nvSpPr>
        <p:spPr>
          <a:xfrm>
            <a:off x="3485839" y="2583275"/>
            <a:ext cx="8012329" cy="380567"/>
          </a:xfrm>
          <a:prstGeom prst="roundRect">
            <a:avLst>
              <a:gd name="adj" fmla="val 50000"/>
            </a:avLst>
          </a:prstGeom>
          <a:solidFill>
            <a:srgbClr val="E6E6E6"/>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tx2">
                    <a:lumMod val="50000"/>
                  </a:schemeClr>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4" name="Text Placeholder 2">
            <a:extLst>
              <a:ext uri="{FF2B5EF4-FFF2-40B4-BE49-F238E27FC236}">
                <a16:creationId xmlns:a16="http://schemas.microsoft.com/office/drawing/2014/main" id="{1FF72A2C-EC93-1960-E000-9D1BE3C473D1}"/>
              </a:ext>
            </a:extLst>
          </p:cNvPr>
          <p:cNvSpPr>
            <a:spLocks noGrp="1"/>
          </p:cNvSpPr>
          <p:nvPr>
            <p:ph type="body" sz="quarter" idx="48"/>
          </p:nvPr>
        </p:nvSpPr>
        <p:spPr>
          <a:xfrm>
            <a:off x="718374" y="2588233"/>
            <a:ext cx="2451893" cy="380567"/>
          </a:xfrm>
          <a:prstGeom prst="roundRect">
            <a:avLst>
              <a:gd name="adj" fmla="val 50000"/>
            </a:avLst>
          </a:prstGeom>
          <a:solidFill>
            <a:schemeClr val="bg2"/>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5" name="Text Placeholder 2">
            <a:extLst>
              <a:ext uri="{FF2B5EF4-FFF2-40B4-BE49-F238E27FC236}">
                <a16:creationId xmlns:a16="http://schemas.microsoft.com/office/drawing/2014/main" id="{7B3311CB-DC37-BF2B-8E33-872990686A6F}"/>
              </a:ext>
            </a:extLst>
          </p:cNvPr>
          <p:cNvSpPr>
            <a:spLocks noGrp="1"/>
          </p:cNvSpPr>
          <p:nvPr>
            <p:ph type="body" sz="quarter" idx="49"/>
          </p:nvPr>
        </p:nvSpPr>
        <p:spPr>
          <a:xfrm>
            <a:off x="9020770" y="3112528"/>
            <a:ext cx="2477398" cy="380567"/>
          </a:xfrm>
          <a:prstGeom prst="roundRect">
            <a:avLst>
              <a:gd name="adj" fmla="val 50000"/>
            </a:avLst>
          </a:prstGeom>
          <a:solidFill>
            <a:schemeClr val="bg2"/>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6" name="Text Placeholder 2">
            <a:extLst>
              <a:ext uri="{FF2B5EF4-FFF2-40B4-BE49-F238E27FC236}">
                <a16:creationId xmlns:a16="http://schemas.microsoft.com/office/drawing/2014/main" id="{4C6A5BFA-3D10-182C-1A20-2F9F25DA5EC7}"/>
              </a:ext>
            </a:extLst>
          </p:cNvPr>
          <p:cNvSpPr>
            <a:spLocks noGrp="1"/>
          </p:cNvSpPr>
          <p:nvPr>
            <p:ph type="body" sz="quarter" idx="50"/>
          </p:nvPr>
        </p:nvSpPr>
        <p:spPr>
          <a:xfrm>
            <a:off x="718374" y="3112528"/>
            <a:ext cx="8012329" cy="380567"/>
          </a:xfrm>
          <a:prstGeom prst="roundRect">
            <a:avLst>
              <a:gd name="adj" fmla="val 50000"/>
            </a:avLst>
          </a:prstGeom>
          <a:solidFill>
            <a:srgbClr val="E6E6E6"/>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tx2">
                    <a:lumMod val="50000"/>
                  </a:schemeClr>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7" name="Text Placeholder 2">
            <a:extLst>
              <a:ext uri="{FF2B5EF4-FFF2-40B4-BE49-F238E27FC236}">
                <a16:creationId xmlns:a16="http://schemas.microsoft.com/office/drawing/2014/main" id="{63D306BC-6AA0-5B15-EAD0-1C4B6C007AE2}"/>
              </a:ext>
            </a:extLst>
          </p:cNvPr>
          <p:cNvSpPr>
            <a:spLocks noGrp="1"/>
          </p:cNvSpPr>
          <p:nvPr>
            <p:ph type="body" sz="quarter" idx="52"/>
          </p:nvPr>
        </p:nvSpPr>
        <p:spPr>
          <a:xfrm>
            <a:off x="718374" y="3636823"/>
            <a:ext cx="10779794" cy="380567"/>
          </a:xfrm>
          <a:prstGeom prst="roundRect">
            <a:avLst>
              <a:gd name="adj" fmla="val 50000"/>
            </a:avLst>
          </a:prstGeom>
          <a:solidFill>
            <a:schemeClr val="tx2"/>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8" name="Text Placeholder 2">
            <a:extLst>
              <a:ext uri="{FF2B5EF4-FFF2-40B4-BE49-F238E27FC236}">
                <a16:creationId xmlns:a16="http://schemas.microsoft.com/office/drawing/2014/main" id="{2F279148-11D1-D193-7504-E15A8DBBB7ED}"/>
              </a:ext>
            </a:extLst>
          </p:cNvPr>
          <p:cNvSpPr>
            <a:spLocks noGrp="1"/>
          </p:cNvSpPr>
          <p:nvPr>
            <p:ph type="body" sz="quarter" idx="54"/>
          </p:nvPr>
        </p:nvSpPr>
        <p:spPr>
          <a:xfrm>
            <a:off x="1947773" y="4161117"/>
            <a:ext cx="9537643" cy="380567"/>
          </a:xfrm>
          <a:prstGeom prst="roundRect">
            <a:avLst>
              <a:gd name="adj" fmla="val 50000"/>
            </a:avLst>
          </a:prstGeom>
          <a:solidFill>
            <a:srgbClr val="E6E6E6"/>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tx2">
                    <a:lumMod val="50000"/>
                  </a:schemeClr>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9" name="Text Placeholder 2">
            <a:extLst>
              <a:ext uri="{FF2B5EF4-FFF2-40B4-BE49-F238E27FC236}">
                <a16:creationId xmlns:a16="http://schemas.microsoft.com/office/drawing/2014/main" id="{B7F7FC01-6091-5D90-D333-FA5671F43B8E}"/>
              </a:ext>
            </a:extLst>
          </p:cNvPr>
          <p:cNvSpPr>
            <a:spLocks noGrp="1"/>
          </p:cNvSpPr>
          <p:nvPr>
            <p:ph type="body" sz="quarter" idx="56"/>
          </p:nvPr>
        </p:nvSpPr>
        <p:spPr>
          <a:xfrm>
            <a:off x="7492654" y="4685411"/>
            <a:ext cx="3986410" cy="380567"/>
          </a:xfrm>
          <a:prstGeom prst="roundRect">
            <a:avLst>
              <a:gd name="adj" fmla="val 50000"/>
            </a:avLst>
          </a:prstGeom>
          <a:solidFill>
            <a:schemeClr val="accent5"/>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Tree>
    <p:extLst>
      <p:ext uri="{BB962C8B-B14F-4D97-AF65-F5344CB8AC3E}">
        <p14:creationId xmlns:p14="http://schemas.microsoft.com/office/powerpoint/2010/main" val="1128838393"/>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5" name="Text Placeholder 8">
            <a:extLst>
              <a:ext uri="{FF2B5EF4-FFF2-40B4-BE49-F238E27FC236}">
                <a16:creationId xmlns:a16="http://schemas.microsoft.com/office/drawing/2014/main" id="{645879FE-583A-DE44-88BA-EB276A69E0F6}"/>
              </a:ext>
            </a:extLst>
          </p:cNvPr>
          <p:cNvSpPr>
            <a:spLocks noGrp="1"/>
          </p:cNvSpPr>
          <p:nvPr>
            <p:ph type="body" idx="13"/>
          </p:nvPr>
        </p:nvSpPr>
        <p:spPr>
          <a:xfrm>
            <a:off x="531133" y="1304925"/>
            <a:ext cx="11144930" cy="592778"/>
          </a:xfrm>
        </p:spPr>
        <p:txBody>
          <a:bodyPr numCol="1" spcCol="180000">
            <a:normAutofit/>
          </a:bodyPr>
          <a:lstStyle>
            <a:lvl1pPr marL="0" indent="0">
              <a:buClr>
                <a:schemeClr val="bg2"/>
              </a:buClr>
              <a:buFont typeface="Arial" panose="020B0604020202020204" pitchFamily="34" charset="0"/>
              <a:buNone/>
              <a:defRPr sz="1600">
                <a:solidFill>
                  <a:schemeClr val="tx2">
                    <a:lumMod val="50000"/>
                  </a:schemeClr>
                </a:solidFill>
              </a:defRPr>
            </a:lvl1pPr>
          </a:lstStyle>
          <a:p>
            <a:pPr lvl="0"/>
            <a:r>
              <a:rPr lang="en-GB"/>
              <a:t>Click to edit Master text styles</a:t>
            </a:r>
          </a:p>
        </p:txBody>
      </p:sp>
      <p:sp>
        <p:nvSpPr>
          <p:cNvPr id="5" name="Table Placeholder 4">
            <a:extLst>
              <a:ext uri="{FF2B5EF4-FFF2-40B4-BE49-F238E27FC236}">
                <a16:creationId xmlns:a16="http://schemas.microsoft.com/office/drawing/2014/main" id="{229D7B8B-35CA-A145-A474-98CA941C8914}"/>
              </a:ext>
            </a:extLst>
          </p:cNvPr>
          <p:cNvSpPr>
            <a:spLocks noGrp="1"/>
          </p:cNvSpPr>
          <p:nvPr>
            <p:ph type="tbl" sz="quarter" idx="14"/>
          </p:nvPr>
        </p:nvSpPr>
        <p:spPr>
          <a:xfrm>
            <a:off x="515938" y="2081213"/>
            <a:ext cx="11153775" cy="3832225"/>
          </a:xfrm>
        </p:spPr>
        <p:txBody>
          <a:bodyPr anchor="ctr">
            <a:normAutofit/>
          </a:bodyPr>
          <a:lstStyle>
            <a:lvl1pPr algn="ctr">
              <a:defRPr sz="1600">
                <a:solidFill>
                  <a:schemeClr val="bg1">
                    <a:lumMod val="50000"/>
                  </a:schemeClr>
                </a:solidFill>
              </a:defRPr>
            </a:lvl1pPr>
          </a:lstStyle>
          <a:p>
            <a:r>
              <a:rPr lang="en-GB"/>
              <a:t>Click icon to add table</a:t>
            </a:r>
          </a:p>
        </p:txBody>
      </p:sp>
    </p:spTree>
    <p:extLst>
      <p:ext uri="{BB962C8B-B14F-4D97-AF65-F5344CB8AC3E}">
        <p14:creationId xmlns:p14="http://schemas.microsoft.com/office/powerpoint/2010/main" val="544181981"/>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Graph">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lvl1pPr>
              <a:defRPr>
                <a:solidFill>
                  <a:schemeClr val="tx2"/>
                </a:solidFill>
              </a:defRPr>
            </a:lvl1p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6" name="Chart Placeholder 5">
            <a:extLst>
              <a:ext uri="{FF2B5EF4-FFF2-40B4-BE49-F238E27FC236}">
                <a16:creationId xmlns:a16="http://schemas.microsoft.com/office/drawing/2014/main" id="{D54A1155-34EB-A04A-AA96-8DCEA2A0B8AF}"/>
              </a:ext>
            </a:extLst>
          </p:cNvPr>
          <p:cNvSpPr>
            <a:spLocks noGrp="1"/>
          </p:cNvSpPr>
          <p:nvPr>
            <p:ph type="chart" sz="quarter" idx="13" hasCustomPrompt="1"/>
          </p:nvPr>
        </p:nvSpPr>
        <p:spPr>
          <a:xfrm>
            <a:off x="515938" y="1304925"/>
            <a:ext cx="11160125" cy="4608513"/>
          </a:xfrm>
        </p:spPr>
        <p:txBody>
          <a:bodyPr anchor="ctr">
            <a:normAutofit/>
          </a:bodyPr>
          <a:lstStyle>
            <a:lvl1pPr algn="ctr">
              <a:defRPr sz="1600">
                <a:solidFill>
                  <a:schemeClr val="bg1">
                    <a:lumMod val="50000"/>
                  </a:schemeClr>
                </a:solidFill>
              </a:defRPr>
            </a:lvl1pPr>
          </a:lstStyle>
          <a:p>
            <a:r>
              <a:rPr lang="en-GB"/>
              <a:t>Click icon to add graph</a:t>
            </a:r>
          </a:p>
        </p:txBody>
      </p:sp>
    </p:spTree>
    <p:extLst>
      <p:ext uri="{BB962C8B-B14F-4D97-AF65-F5344CB8AC3E}">
        <p14:creationId xmlns:p14="http://schemas.microsoft.com/office/powerpoint/2010/main" val="1018063862"/>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Graph + Intro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lvl1pPr>
              <a:defRPr>
                <a:solidFill>
                  <a:schemeClr val="tx2"/>
                </a:solidFill>
              </a:defRPr>
            </a:lvl1p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6" name="Chart Placeholder 5">
            <a:extLst>
              <a:ext uri="{FF2B5EF4-FFF2-40B4-BE49-F238E27FC236}">
                <a16:creationId xmlns:a16="http://schemas.microsoft.com/office/drawing/2014/main" id="{D54A1155-34EB-A04A-AA96-8DCEA2A0B8AF}"/>
              </a:ext>
            </a:extLst>
          </p:cNvPr>
          <p:cNvSpPr>
            <a:spLocks noGrp="1"/>
          </p:cNvSpPr>
          <p:nvPr>
            <p:ph type="chart" sz="quarter" idx="13" hasCustomPrompt="1"/>
          </p:nvPr>
        </p:nvSpPr>
        <p:spPr>
          <a:xfrm>
            <a:off x="515938" y="2186941"/>
            <a:ext cx="11160125" cy="3726497"/>
          </a:xfrm>
        </p:spPr>
        <p:txBody>
          <a:bodyPr anchor="ctr">
            <a:normAutofit/>
          </a:bodyPr>
          <a:lstStyle>
            <a:lvl1pPr algn="ctr">
              <a:defRPr sz="1600">
                <a:solidFill>
                  <a:schemeClr val="bg1">
                    <a:lumMod val="50000"/>
                  </a:schemeClr>
                </a:solidFill>
              </a:defRPr>
            </a:lvl1pPr>
          </a:lstStyle>
          <a:p>
            <a:r>
              <a:rPr lang="en-GB"/>
              <a:t>Click icon to add graph</a:t>
            </a:r>
          </a:p>
        </p:txBody>
      </p:sp>
      <p:sp>
        <p:nvSpPr>
          <p:cNvPr id="9" name="Text Placeholder 8">
            <a:extLst>
              <a:ext uri="{FF2B5EF4-FFF2-40B4-BE49-F238E27FC236}">
                <a16:creationId xmlns:a16="http://schemas.microsoft.com/office/drawing/2014/main" id="{70B67ED7-707C-628A-DD8C-8D05275A882F}"/>
              </a:ext>
            </a:extLst>
          </p:cNvPr>
          <p:cNvSpPr>
            <a:spLocks noGrp="1"/>
          </p:cNvSpPr>
          <p:nvPr>
            <p:ph type="body" idx="14"/>
          </p:nvPr>
        </p:nvSpPr>
        <p:spPr>
          <a:xfrm>
            <a:off x="531133" y="1304924"/>
            <a:ext cx="11144930" cy="760095"/>
          </a:xfrm>
        </p:spPr>
        <p:txBody>
          <a:bodyPr numCol="1" spcCol="180000">
            <a:normAutofit/>
          </a:bodyPr>
          <a:lstStyle>
            <a:lvl1pPr marL="0" indent="0">
              <a:buClr>
                <a:schemeClr val="bg2"/>
              </a:buClr>
              <a:buFont typeface="Arial" panose="020B0604020202020204" pitchFamily="34" charset="0"/>
              <a:buNone/>
              <a:defRPr sz="1600">
                <a:solidFill>
                  <a:schemeClr val="tx2">
                    <a:lumMod val="50000"/>
                  </a:schemeClr>
                </a:solidFill>
              </a:defRPr>
            </a:lvl1pPr>
          </a:lstStyle>
          <a:p>
            <a:pPr lvl="0"/>
            <a:r>
              <a:rPr lang="en-GB"/>
              <a:t>Click to edit Master text styles</a:t>
            </a:r>
          </a:p>
        </p:txBody>
      </p:sp>
    </p:spTree>
    <p:extLst>
      <p:ext uri="{BB962C8B-B14F-4D97-AF65-F5344CB8AC3E}">
        <p14:creationId xmlns:p14="http://schemas.microsoft.com/office/powerpoint/2010/main" val="1376982679"/>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ext + Graph">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lvl1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 name="Chart Placeholder 2">
            <a:extLst>
              <a:ext uri="{FF2B5EF4-FFF2-40B4-BE49-F238E27FC236}">
                <a16:creationId xmlns:a16="http://schemas.microsoft.com/office/drawing/2014/main" id="{5F41B758-C970-D84A-B3ED-8A3CB892A835}"/>
              </a:ext>
            </a:extLst>
          </p:cNvPr>
          <p:cNvSpPr>
            <a:spLocks noGrp="1"/>
          </p:cNvSpPr>
          <p:nvPr>
            <p:ph type="chart" sz="quarter" idx="14" hasCustomPrompt="1"/>
          </p:nvPr>
        </p:nvSpPr>
        <p:spPr>
          <a:xfrm>
            <a:off x="6762750" y="366371"/>
            <a:ext cx="4913313" cy="5547067"/>
          </a:xfrm>
        </p:spPr>
        <p:txBody>
          <a:bodyPr anchor="ctr">
            <a:normAutofit/>
          </a:bodyPr>
          <a:lstStyle>
            <a:lvl1pPr algn="ctr">
              <a:defRPr sz="1600">
                <a:solidFill>
                  <a:schemeClr val="bg1">
                    <a:lumMod val="50000"/>
                  </a:schemeClr>
                </a:solidFill>
              </a:defRPr>
            </a:lvl1pPr>
          </a:lstStyle>
          <a:p>
            <a:r>
              <a:rPr lang="en-GB"/>
              <a:t>Click icon to add graph</a:t>
            </a:r>
          </a:p>
        </p:txBody>
      </p:sp>
    </p:spTree>
    <p:extLst>
      <p:ext uri="{BB962C8B-B14F-4D97-AF65-F5344CB8AC3E}">
        <p14:creationId xmlns:p14="http://schemas.microsoft.com/office/powerpoint/2010/main" val="844159588"/>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ext + Graph + Key Sta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2951067"/>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 name="Chart Placeholder 2">
            <a:extLst>
              <a:ext uri="{FF2B5EF4-FFF2-40B4-BE49-F238E27FC236}">
                <a16:creationId xmlns:a16="http://schemas.microsoft.com/office/drawing/2014/main" id="{5F41B758-C970-D84A-B3ED-8A3CB892A835}"/>
              </a:ext>
            </a:extLst>
          </p:cNvPr>
          <p:cNvSpPr>
            <a:spLocks noGrp="1"/>
          </p:cNvSpPr>
          <p:nvPr>
            <p:ph type="chart" sz="quarter" idx="14" hasCustomPrompt="1"/>
          </p:nvPr>
        </p:nvSpPr>
        <p:spPr>
          <a:xfrm>
            <a:off x="6762750" y="366371"/>
            <a:ext cx="4913313" cy="5547067"/>
          </a:xfrm>
        </p:spPr>
        <p:txBody>
          <a:bodyPr anchor="ctr">
            <a:normAutofit/>
          </a:bodyPr>
          <a:lstStyle>
            <a:lvl1pPr algn="ctr">
              <a:defRPr sz="1600">
                <a:solidFill>
                  <a:schemeClr val="bg1">
                    <a:lumMod val="50000"/>
                  </a:schemeClr>
                </a:solidFill>
              </a:defRPr>
            </a:lvl1pPr>
          </a:lstStyle>
          <a:p>
            <a:r>
              <a:rPr lang="en-GB"/>
              <a:t>Click icon to add graph</a:t>
            </a:r>
          </a:p>
        </p:txBody>
      </p:sp>
      <p:sp>
        <p:nvSpPr>
          <p:cNvPr id="12" name="Table Placeholder 13">
            <a:extLst>
              <a:ext uri="{FF2B5EF4-FFF2-40B4-BE49-F238E27FC236}">
                <a16:creationId xmlns:a16="http://schemas.microsoft.com/office/drawing/2014/main" id="{0471F0B8-12A0-7A45-8C7A-E02063FE5C87}"/>
              </a:ext>
            </a:extLst>
          </p:cNvPr>
          <p:cNvSpPr>
            <a:spLocks noGrp="1"/>
          </p:cNvSpPr>
          <p:nvPr>
            <p:ph type="tbl" sz="quarter" idx="16" hasCustomPrompt="1"/>
          </p:nvPr>
        </p:nvSpPr>
        <p:spPr>
          <a:xfrm>
            <a:off x="531813" y="4531663"/>
            <a:ext cx="5564187" cy="1381775"/>
          </a:xfrm>
        </p:spPr>
        <p:txBody>
          <a:bodyPr anchor="ctr">
            <a:normAutofit/>
          </a:bodyPr>
          <a:lstStyle>
            <a:lvl1pPr algn="ctr">
              <a:defRPr sz="1600">
                <a:solidFill>
                  <a:schemeClr val="bg1">
                    <a:lumMod val="50000"/>
                  </a:schemeClr>
                </a:solidFill>
              </a:defRPr>
            </a:lvl1pPr>
          </a:lstStyle>
          <a:p>
            <a:r>
              <a:rPr lang="en-GB"/>
              <a:t>Click here to insert table of key statistics</a:t>
            </a:r>
          </a:p>
        </p:txBody>
      </p:sp>
    </p:spTree>
    <p:extLst>
      <p:ext uri="{BB962C8B-B14F-4D97-AF65-F5344CB8AC3E}">
        <p14:creationId xmlns:p14="http://schemas.microsoft.com/office/powerpoint/2010/main" val="2614058472"/>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Headshots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9" name="Picture Placeholder 9">
            <a:extLst>
              <a:ext uri="{FF2B5EF4-FFF2-40B4-BE49-F238E27FC236}">
                <a16:creationId xmlns:a16="http://schemas.microsoft.com/office/drawing/2014/main" id="{F7144900-27CB-F8C8-8750-EBFD50556D3C}"/>
              </a:ext>
            </a:extLst>
          </p:cNvPr>
          <p:cNvSpPr>
            <a:spLocks noGrp="1"/>
          </p:cNvSpPr>
          <p:nvPr>
            <p:ph type="pic" sz="quarter" idx="20" hasCustomPrompt="1"/>
          </p:nvPr>
        </p:nvSpPr>
        <p:spPr>
          <a:xfrm>
            <a:off x="515937" y="1738603"/>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1" name="Picture Placeholder 9">
            <a:extLst>
              <a:ext uri="{FF2B5EF4-FFF2-40B4-BE49-F238E27FC236}">
                <a16:creationId xmlns:a16="http://schemas.microsoft.com/office/drawing/2014/main" id="{BA371966-686F-3873-1B61-8D4F2F1781AB}"/>
              </a:ext>
            </a:extLst>
          </p:cNvPr>
          <p:cNvSpPr>
            <a:spLocks noGrp="1"/>
          </p:cNvSpPr>
          <p:nvPr>
            <p:ph type="pic" sz="quarter" idx="21" hasCustomPrompt="1"/>
          </p:nvPr>
        </p:nvSpPr>
        <p:spPr>
          <a:xfrm>
            <a:off x="6409056" y="1738603"/>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2" name="Text Placeholder 15">
            <a:extLst>
              <a:ext uri="{FF2B5EF4-FFF2-40B4-BE49-F238E27FC236}">
                <a16:creationId xmlns:a16="http://schemas.microsoft.com/office/drawing/2014/main" id="{71BA048F-6972-4609-34F2-EF8FDBBDBB0C}"/>
              </a:ext>
            </a:extLst>
          </p:cNvPr>
          <p:cNvSpPr>
            <a:spLocks noGrp="1"/>
          </p:cNvSpPr>
          <p:nvPr>
            <p:ph type="body" sz="quarter" idx="22"/>
          </p:nvPr>
        </p:nvSpPr>
        <p:spPr>
          <a:xfrm>
            <a:off x="8234278" y="1915486"/>
            <a:ext cx="3355742" cy="1163606"/>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17" name="Picture Placeholder 9">
            <a:extLst>
              <a:ext uri="{FF2B5EF4-FFF2-40B4-BE49-F238E27FC236}">
                <a16:creationId xmlns:a16="http://schemas.microsoft.com/office/drawing/2014/main" id="{224FF60B-6BD0-9B1E-2959-11D6263640AF}"/>
              </a:ext>
            </a:extLst>
          </p:cNvPr>
          <p:cNvSpPr>
            <a:spLocks noGrp="1"/>
          </p:cNvSpPr>
          <p:nvPr>
            <p:ph type="pic" sz="quarter" idx="25" hasCustomPrompt="1"/>
          </p:nvPr>
        </p:nvSpPr>
        <p:spPr>
          <a:xfrm>
            <a:off x="515937" y="3998564"/>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8" name="Picture Placeholder 9">
            <a:extLst>
              <a:ext uri="{FF2B5EF4-FFF2-40B4-BE49-F238E27FC236}">
                <a16:creationId xmlns:a16="http://schemas.microsoft.com/office/drawing/2014/main" id="{2DB6CCCB-718D-70C8-7A09-2EE0D7144525}"/>
              </a:ext>
            </a:extLst>
          </p:cNvPr>
          <p:cNvSpPr>
            <a:spLocks noGrp="1"/>
          </p:cNvSpPr>
          <p:nvPr>
            <p:ph type="pic" sz="quarter" idx="27" hasCustomPrompt="1"/>
          </p:nvPr>
        </p:nvSpPr>
        <p:spPr>
          <a:xfrm>
            <a:off x="6409056" y="3998564"/>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9" name="Text Placeholder 15">
            <a:extLst>
              <a:ext uri="{FF2B5EF4-FFF2-40B4-BE49-F238E27FC236}">
                <a16:creationId xmlns:a16="http://schemas.microsoft.com/office/drawing/2014/main" id="{B6878B28-F503-455B-0FEA-80DE70905427}"/>
              </a:ext>
            </a:extLst>
          </p:cNvPr>
          <p:cNvSpPr>
            <a:spLocks noGrp="1"/>
          </p:cNvSpPr>
          <p:nvPr>
            <p:ph type="body" sz="quarter" idx="28"/>
          </p:nvPr>
        </p:nvSpPr>
        <p:spPr>
          <a:xfrm>
            <a:off x="8234278" y="4175447"/>
            <a:ext cx="3355742" cy="1163606"/>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20" name="Text Placeholder 15">
            <a:extLst>
              <a:ext uri="{FF2B5EF4-FFF2-40B4-BE49-F238E27FC236}">
                <a16:creationId xmlns:a16="http://schemas.microsoft.com/office/drawing/2014/main" id="{AAADD6C4-F1D9-F92B-C5FD-4B4DA8B17CF1}"/>
              </a:ext>
            </a:extLst>
          </p:cNvPr>
          <p:cNvSpPr>
            <a:spLocks noGrp="1"/>
          </p:cNvSpPr>
          <p:nvPr>
            <p:ph type="body" sz="quarter" idx="29"/>
          </p:nvPr>
        </p:nvSpPr>
        <p:spPr>
          <a:xfrm>
            <a:off x="2333196" y="1915486"/>
            <a:ext cx="3355742" cy="1163606"/>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21" name="Text Placeholder 15">
            <a:extLst>
              <a:ext uri="{FF2B5EF4-FFF2-40B4-BE49-F238E27FC236}">
                <a16:creationId xmlns:a16="http://schemas.microsoft.com/office/drawing/2014/main" id="{A5E09E69-6CAD-B355-9823-320AB8FAE66F}"/>
              </a:ext>
            </a:extLst>
          </p:cNvPr>
          <p:cNvSpPr>
            <a:spLocks noGrp="1"/>
          </p:cNvSpPr>
          <p:nvPr>
            <p:ph type="body" sz="quarter" idx="30"/>
          </p:nvPr>
        </p:nvSpPr>
        <p:spPr>
          <a:xfrm>
            <a:off x="2333196" y="4175447"/>
            <a:ext cx="3355742" cy="1163606"/>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Tree>
    <p:extLst>
      <p:ext uri="{BB962C8B-B14F-4D97-AF65-F5344CB8AC3E}">
        <p14:creationId xmlns:p14="http://schemas.microsoft.com/office/powerpoint/2010/main" val="1968138220"/>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Headshots x9">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22" name="Picture Placeholder 9">
            <a:extLst>
              <a:ext uri="{FF2B5EF4-FFF2-40B4-BE49-F238E27FC236}">
                <a16:creationId xmlns:a16="http://schemas.microsoft.com/office/drawing/2014/main" id="{9DD9632F-ADC6-0F07-8F3F-62F1AF846E10}"/>
              </a:ext>
            </a:extLst>
          </p:cNvPr>
          <p:cNvSpPr>
            <a:spLocks noGrp="1"/>
          </p:cNvSpPr>
          <p:nvPr>
            <p:ph type="pic" sz="quarter" idx="20" hasCustomPrompt="1"/>
          </p:nvPr>
        </p:nvSpPr>
        <p:spPr>
          <a:xfrm>
            <a:off x="515938" y="1711994"/>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23" name="Text Placeholder 15">
            <a:extLst>
              <a:ext uri="{FF2B5EF4-FFF2-40B4-BE49-F238E27FC236}">
                <a16:creationId xmlns:a16="http://schemas.microsoft.com/office/drawing/2014/main" id="{A6BDD17B-1F38-C02C-FBE9-A0D8E16AB19C}"/>
              </a:ext>
            </a:extLst>
          </p:cNvPr>
          <p:cNvSpPr>
            <a:spLocks noGrp="1"/>
          </p:cNvSpPr>
          <p:nvPr>
            <p:ph type="body" sz="quarter" idx="15"/>
          </p:nvPr>
        </p:nvSpPr>
        <p:spPr>
          <a:xfrm>
            <a:off x="1699411" y="1711994"/>
            <a:ext cx="2116757" cy="987159"/>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24" name="Picture Placeholder 9">
            <a:extLst>
              <a:ext uri="{FF2B5EF4-FFF2-40B4-BE49-F238E27FC236}">
                <a16:creationId xmlns:a16="http://schemas.microsoft.com/office/drawing/2014/main" id="{25EC710C-2932-CFFF-F55D-955597F0FB30}"/>
              </a:ext>
            </a:extLst>
          </p:cNvPr>
          <p:cNvSpPr>
            <a:spLocks noGrp="1"/>
          </p:cNvSpPr>
          <p:nvPr>
            <p:ph type="pic" sz="quarter" idx="21" hasCustomPrompt="1"/>
          </p:nvPr>
        </p:nvSpPr>
        <p:spPr>
          <a:xfrm>
            <a:off x="4335796" y="1711994"/>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25" name="Text Placeholder 15">
            <a:extLst>
              <a:ext uri="{FF2B5EF4-FFF2-40B4-BE49-F238E27FC236}">
                <a16:creationId xmlns:a16="http://schemas.microsoft.com/office/drawing/2014/main" id="{247CB122-DF3E-CDA7-027B-26E525434AE2}"/>
              </a:ext>
            </a:extLst>
          </p:cNvPr>
          <p:cNvSpPr>
            <a:spLocks noGrp="1"/>
          </p:cNvSpPr>
          <p:nvPr>
            <p:ph type="body" sz="quarter" idx="22"/>
          </p:nvPr>
        </p:nvSpPr>
        <p:spPr>
          <a:xfrm>
            <a:off x="5527232" y="1711994"/>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0" name="Picture Placeholder 9">
            <a:extLst>
              <a:ext uri="{FF2B5EF4-FFF2-40B4-BE49-F238E27FC236}">
                <a16:creationId xmlns:a16="http://schemas.microsoft.com/office/drawing/2014/main" id="{27971BF0-784D-F3CF-2C6F-CA5180542041}"/>
              </a:ext>
            </a:extLst>
          </p:cNvPr>
          <p:cNvSpPr>
            <a:spLocks noGrp="1"/>
          </p:cNvSpPr>
          <p:nvPr>
            <p:ph type="pic" sz="quarter" idx="23" hasCustomPrompt="1"/>
          </p:nvPr>
        </p:nvSpPr>
        <p:spPr>
          <a:xfrm>
            <a:off x="8220024" y="1711994"/>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1" name="Text Placeholder 15">
            <a:extLst>
              <a:ext uri="{FF2B5EF4-FFF2-40B4-BE49-F238E27FC236}">
                <a16:creationId xmlns:a16="http://schemas.microsoft.com/office/drawing/2014/main" id="{0B2CA69D-267F-C90D-4248-B4C35F26DF79}"/>
              </a:ext>
            </a:extLst>
          </p:cNvPr>
          <p:cNvSpPr>
            <a:spLocks noGrp="1"/>
          </p:cNvSpPr>
          <p:nvPr>
            <p:ph type="body" sz="quarter" idx="24"/>
          </p:nvPr>
        </p:nvSpPr>
        <p:spPr>
          <a:xfrm>
            <a:off x="9411460" y="1711994"/>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2" name="Picture Placeholder 9">
            <a:extLst>
              <a:ext uri="{FF2B5EF4-FFF2-40B4-BE49-F238E27FC236}">
                <a16:creationId xmlns:a16="http://schemas.microsoft.com/office/drawing/2014/main" id="{5897A2C1-9865-7BB8-2197-358370EFD4AC}"/>
              </a:ext>
            </a:extLst>
          </p:cNvPr>
          <p:cNvSpPr>
            <a:spLocks noGrp="1"/>
          </p:cNvSpPr>
          <p:nvPr>
            <p:ph type="pic" sz="quarter" idx="25" hasCustomPrompt="1"/>
          </p:nvPr>
        </p:nvSpPr>
        <p:spPr>
          <a:xfrm>
            <a:off x="515938" y="3155667"/>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3" name="Text Placeholder 15">
            <a:extLst>
              <a:ext uri="{FF2B5EF4-FFF2-40B4-BE49-F238E27FC236}">
                <a16:creationId xmlns:a16="http://schemas.microsoft.com/office/drawing/2014/main" id="{62920B1E-EBA9-626D-6305-A1ADAE904D1A}"/>
              </a:ext>
            </a:extLst>
          </p:cNvPr>
          <p:cNvSpPr>
            <a:spLocks noGrp="1"/>
          </p:cNvSpPr>
          <p:nvPr>
            <p:ph type="body" sz="quarter" idx="26"/>
          </p:nvPr>
        </p:nvSpPr>
        <p:spPr>
          <a:xfrm>
            <a:off x="1699411" y="3155667"/>
            <a:ext cx="2116757" cy="987159"/>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4" name="Picture Placeholder 9">
            <a:extLst>
              <a:ext uri="{FF2B5EF4-FFF2-40B4-BE49-F238E27FC236}">
                <a16:creationId xmlns:a16="http://schemas.microsoft.com/office/drawing/2014/main" id="{544F1E77-8814-8A3B-D86A-076D4023ACA7}"/>
              </a:ext>
            </a:extLst>
          </p:cNvPr>
          <p:cNvSpPr>
            <a:spLocks noGrp="1"/>
          </p:cNvSpPr>
          <p:nvPr>
            <p:ph type="pic" sz="quarter" idx="27" hasCustomPrompt="1"/>
          </p:nvPr>
        </p:nvSpPr>
        <p:spPr>
          <a:xfrm>
            <a:off x="4335796" y="3155667"/>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5" name="Text Placeholder 15">
            <a:extLst>
              <a:ext uri="{FF2B5EF4-FFF2-40B4-BE49-F238E27FC236}">
                <a16:creationId xmlns:a16="http://schemas.microsoft.com/office/drawing/2014/main" id="{C7619CC2-0DAA-26FC-AEAA-30394D48883A}"/>
              </a:ext>
            </a:extLst>
          </p:cNvPr>
          <p:cNvSpPr>
            <a:spLocks noGrp="1"/>
          </p:cNvSpPr>
          <p:nvPr>
            <p:ph type="body" sz="quarter" idx="28"/>
          </p:nvPr>
        </p:nvSpPr>
        <p:spPr>
          <a:xfrm>
            <a:off x="5527232" y="3155667"/>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6" name="Picture Placeholder 9">
            <a:extLst>
              <a:ext uri="{FF2B5EF4-FFF2-40B4-BE49-F238E27FC236}">
                <a16:creationId xmlns:a16="http://schemas.microsoft.com/office/drawing/2014/main" id="{8FAFCD1B-5A84-929A-D622-CC609C41B001}"/>
              </a:ext>
            </a:extLst>
          </p:cNvPr>
          <p:cNvSpPr>
            <a:spLocks noGrp="1"/>
          </p:cNvSpPr>
          <p:nvPr>
            <p:ph type="pic" sz="quarter" idx="29" hasCustomPrompt="1"/>
          </p:nvPr>
        </p:nvSpPr>
        <p:spPr>
          <a:xfrm>
            <a:off x="8220024" y="3155667"/>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7" name="Text Placeholder 15">
            <a:extLst>
              <a:ext uri="{FF2B5EF4-FFF2-40B4-BE49-F238E27FC236}">
                <a16:creationId xmlns:a16="http://schemas.microsoft.com/office/drawing/2014/main" id="{32DEC219-4AAE-290C-5636-F26705700111}"/>
              </a:ext>
            </a:extLst>
          </p:cNvPr>
          <p:cNvSpPr>
            <a:spLocks noGrp="1"/>
          </p:cNvSpPr>
          <p:nvPr>
            <p:ph type="body" sz="quarter" idx="30"/>
          </p:nvPr>
        </p:nvSpPr>
        <p:spPr>
          <a:xfrm>
            <a:off x="9411460" y="3155667"/>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8" name="Picture Placeholder 9">
            <a:extLst>
              <a:ext uri="{FF2B5EF4-FFF2-40B4-BE49-F238E27FC236}">
                <a16:creationId xmlns:a16="http://schemas.microsoft.com/office/drawing/2014/main" id="{B2CF404E-74E2-7F8B-678B-6E7F764D9BF2}"/>
              </a:ext>
            </a:extLst>
          </p:cNvPr>
          <p:cNvSpPr>
            <a:spLocks noGrp="1"/>
          </p:cNvSpPr>
          <p:nvPr>
            <p:ph type="pic" sz="quarter" idx="31" hasCustomPrompt="1"/>
          </p:nvPr>
        </p:nvSpPr>
        <p:spPr>
          <a:xfrm>
            <a:off x="515938" y="4599456"/>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9" name="Text Placeholder 15">
            <a:extLst>
              <a:ext uri="{FF2B5EF4-FFF2-40B4-BE49-F238E27FC236}">
                <a16:creationId xmlns:a16="http://schemas.microsoft.com/office/drawing/2014/main" id="{494146F5-9D36-2EF7-388E-A72B6DA0D9BB}"/>
              </a:ext>
            </a:extLst>
          </p:cNvPr>
          <p:cNvSpPr>
            <a:spLocks noGrp="1"/>
          </p:cNvSpPr>
          <p:nvPr>
            <p:ph type="body" sz="quarter" idx="32"/>
          </p:nvPr>
        </p:nvSpPr>
        <p:spPr>
          <a:xfrm>
            <a:off x="1699411" y="4599456"/>
            <a:ext cx="2116757" cy="987159"/>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0" name="Picture Placeholder 9">
            <a:extLst>
              <a:ext uri="{FF2B5EF4-FFF2-40B4-BE49-F238E27FC236}">
                <a16:creationId xmlns:a16="http://schemas.microsoft.com/office/drawing/2014/main" id="{B71BEAAD-C8C5-6988-5CBE-F7E302410597}"/>
              </a:ext>
            </a:extLst>
          </p:cNvPr>
          <p:cNvSpPr>
            <a:spLocks noGrp="1"/>
          </p:cNvSpPr>
          <p:nvPr>
            <p:ph type="pic" sz="quarter" idx="33" hasCustomPrompt="1"/>
          </p:nvPr>
        </p:nvSpPr>
        <p:spPr>
          <a:xfrm>
            <a:off x="4335796" y="4599456"/>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1" name="Text Placeholder 15">
            <a:extLst>
              <a:ext uri="{FF2B5EF4-FFF2-40B4-BE49-F238E27FC236}">
                <a16:creationId xmlns:a16="http://schemas.microsoft.com/office/drawing/2014/main" id="{138E6919-019E-02BB-5D0D-FF9C12142411}"/>
              </a:ext>
            </a:extLst>
          </p:cNvPr>
          <p:cNvSpPr>
            <a:spLocks noGrp="1"/>
          </p:cNvSpPr>
          <p:nvPr>
            <p:ph type="body" sz="quarter" idx="34"/>
          </p:nvPr>
        </p:nvSpPr>
        <p:spPr>
          <a:xfrm>
            <a:off x="5527232" y="4599456"/>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2" name="Picture Placeholder 9">
            <a:extLst>
              <a:ext uri="{FF2B5EF4-FFF2-40B4-BE49-F238E27FC236}">
                <a16:creationId xmlns:a16="http://schemas.microsoft.com/office/drawing/2014/main" id="{50AEE6D7-E551-8465-B986-00D61EB9730A}"/>
              </a:ext>
            </a:extLst>
          </p:cNvPr>
          <p:cNvSpPr>
            <a:spLocks noGrp="1"/>
          </p:cNvSpPr>
          <p:nvPr>
            <p:ph type="pic" sz="quarter" idx="35" hasCustomPrompt="1"/>
          </p:nvPr>
        </p:nvSpPr>
        <p:spPr>
          <a:xfrm>
            <a:off x="8220024" y="4599456"/>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3" name="Text Placeholder 15">
            <a:extLst>
              <a:ext uri="{FF2B5EF4-FFF2-40B4-BE49-F238E27FC236}">
                <a16:creationId xmlns:a16="http://schemas.microsoft.com/office/drawing/2014/main" id="{EABA07AD-B083-3DC8-2E9C-6607785D0D9F}"/>
              </a:ext>
            </a:extLst>
          </p:cNvPr>
          <p:cNvSpPr>
            <a:spLocks noGrp="1"/>
          </p:cNvSpPr>
          <p:nvPr>
            <p:ph type="body" sz="quarter" idx="36"/>
          </p:nvPr>
        </p:nvSpPr>
        <p:spPr>
          <a:xfrm>
            <a:off x="9411460" y="4599456"/>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Tree>
    <p:extLst>
      <p:ext uri="{BB962C8B-B14F-4D97-AF65-F5344CB8AC3E}">
        <p14:creationId xmlns:p14="http://schemas.microsoft.com/office/powerpoint/2010/main" val="553744996"/>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Headshots x1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22" name="Picture Placeholder 9">
            <a:extLst>
              <a:ext uri="{FF2B5EF4-FFF2-40B4-BE49-F238E27FC236}">
                <a16:creationId xmlns:a16="http://schemas.microsoft.com/office/drawing/2014/main" id="{9DD9632F-ADC6-0F07-8F3F-62F1AF846E10}"/>
              </a:ext>
            </a:extLst>
          </p:cNvPr>
          <p:cNvSpPr>
            <a:spLocks noGrp="1"/>
          </p:cNvSpPr>
          <p:nvPr>
            <p:ph type="pic" sz="quarter" idx="20" hasCustomPrompt="1"/>
          </p:nvPr>
        </p:nvSpPr>
        <p:spPr>
          <a:xfrm>
            <a:off x="515939" y="1711995"/>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23" name="Text Placeholder 15">
            <a:extLst>
              <a:ext uri="{FF2B5EF4-FFF2-40B4-BE49-F238E27FC236}">
                <a16:creationId xmlns:a16="http://schemas.microsoft.com/office/drawing/2014/main" id="{A6BDD17B-1F38-C02C-FBE9-A0D8E16AB19C}"/>
              </a:ext>
            </a:extLst>
          </p:cNvPr>
          <p:cNvSpPr>
            <a:spLocks noGrp="1"/>
          </p:cNvSpPr>
          <p:nvPr>
            <p:ph type="body" sz="quarter" idx="15"/>
          </p:nvPr>
        </p:nvSpPr>
        <p:spPr>
          <a:xfrm>
            <a:off x="1596367" y="1711995"/>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39" name="Picture Placeholder 9">
            <a:extLst>
              <a:ext uri="{FF2B5EF4-FFF2-40B4-BE49-F238E27FC236}">
                <a16:creationId xmlns:a16="http://schemas.microsoft.com/office/drawing/2014/main" id="{0A36E1BF-5D7A-3667-C65B-2DB32E2BD388}"/>
              </a:ext>
            </a:extLst>
          </p:cNvPr>
          <p:cNvSpPr>
            <a:spLocks noGrp="1"/>
          </p:cNvSpPr>
          <p:nvPr>
            <p:ph type="pic" sz="quarter" idx="43" hasCustomPrompt="1"/>
          </p:nvPr>
        </p:nvSpPr>
        <p:spPr>
          <a:xfrm>
            <a:off x="515939" y="2786398"/>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4" name="Text Placeholder 15">
            <a:extLst>
              <a:ext uri="{FF2B5EF4-FFF2-40B4-BE49-F238E27FC236}">
                <a16:creationId xmlns:a16="http://schemas.microsoft.com/office/drawing/2014/main" id="{A3EF6248-9648-B0CE-3E04-C8F8A63036EA}"/>
              </a:ext>
            </a:extLst>
          </p:cNvPr>
          <p:cNvSpPr>
            <a:spLocks noGrp="1"/>
          </p:cNvSpPr>
          <p:nvPr>
            <p:ph type="body" sz="quarter" idx="44"/>
          </p:nvPr>
        </p:nvSpPr>
        <p:spPr>
          <a:xfrm>
            <a:off x="1596367" y="2791091"/>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5" name="Picture Placeholder 9">
            <a:extLst>
              <a:ext uri="{FF2B5EF4-FFF2-40B4-BE49-F238E27FC236}">
                <a16:creationId xmlns:a16="http://schemas.microsoft.com/office/drawing/2014/main" id="{C5444EBA-19D0-8678-BDDD-147CE44BC1E1}"/>
              </a:ext>
            </a:extLst>
          </p:cNvPr>
          <p:cNvSpPr>
            <a:spLocks noGrp="1"/>
          </p:cNvSpPr>
          <p:nvPr>
            <p:ph type="pic" sz="quarter" idx="45" hasCustomPrompt="1"/>
          </p:nvPr>
        </p:nvSpPr>
        <p:spPr>
          <a:xfrm>
            <a:off x="515939" y="3870187"/>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6" name="Text Placeholder 15">
            <a:extLst>
              <a:ext uri="{FF2B5EF4-FFF2-40B4-BE49-F238E27FC236}">
                <a16:creationId xmlns:a16="http://schemas.microsoft.com/office/drawing/2014/main" id="{7D5C4711-97F4-DDD0-D960-DEDF44E5F474}"/>
              </a:ext>
            </a:extLst>
          </p:cNvPr>
          <p:cNvSpPr>
            <a:spLocks noGrp="1"/>
          </p:cNvSpPr>
          <p:nvPr>
            <p:ph type="body" sz="quarter" idx="46"/>
          </p:nvPr>
        </p:nvSpPr>
        <p:spPr>
          <a:xfrm>
            <a:off x="1596367" y="3870187"/>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7" name="Picture Placeholder 9">
            <a:extLst>
              <a:ext uri="{FF2B5EF4-FFF2-40B4-BE49-F238E27FC236}">
                <a16:creationId xmlns:a16="http://schemas.microsoft.com/office/drawing/2014/main" id="{E65DD9AF-BC5A-0D6D-203A-19C299826DFB}"/>
              </a:ext>
            </a:extLst>
          </p:cNvPr>
          <p:cNvSpPr>
            <a:spLocks noGrp="1"/>
          </p:cNvSpPr>
          <p:nvPr>
            <p:ph type="pic" sz="quarter" idx="47" hasCustomPrompt="1"/>
          </p:nvPr>
        </p:nvSpPr>
        <p:spPr>
          <a:xfrm>
            <a:off x="515939" y="4949284"/>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8" name="Text Placeholder 15">
            <a:extLst>
              <a:ext uri="{FF2B5EF4-FFF2-40B4-BE49-F238E27FC236}">
                <a16:creationId xmlns:a16="http://schemas.microsoft.com/office/drawing/2014/main" id="{50F33994-9EA1-2A51-A537-50F4FB57B23A}"/>
              </a:ext>
            </a:extLst>
          </p:cNvPr>
          <p:cNvSpPr>
            <a:spLocks noGrp="1"/>
          </p:cNvSpPr>
          <p:nvPr>
            <p:ph type="body" sz="quarter" idx="48"/>
          </p:nvPr>
        </p:nvSpPr>
        <p:spPr>
          <a:xfrm>
            <a:off x="1596367" y="4949284"/>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9" name="Picture Placeholder 9">
            <a:extLst>
              <a:ext uri="{FF2B5EF4-FFF2-40B4-BE49-F238E27FC236}">
                <a16:creationId xmlns:a16="http://schemas.microsoft.com/office/drawing/2014/main" id="{F4BC789A-02DE-1B25-C17D-56031BFFAC79}"/>
              </a:ext>
            </a:extLst>
          </p:cNvPr>
          <p:cNvSpPr>
            <a:spLocks noGrp="1"/>
          </p:cNvSpPr>
          <p:nvPr>
            <p:ph type="pic" sz="quarter" idx="49" hasCustomPrompt="1"/>
          </p:nvPr>
        </p:nvSpPr>
        <p:spPr>
          <a:xfrm>
            <a:off x="4357530" y="1711995"/>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0" name="Text Placeholder 15">
            <a:extLst>
              <a:ext uri="{FF2B5EF4-FFF2-40B4-BE49-F238E27FC236}">
                <a16:creationId xmlns:a16="http://schemas.microsoft.com/office/drawing/2014/main" id="{397D8B8C-1AD2-D2A1-C4BA-DC06F2B6EF69}"/>
              </a:ext>
            </a:extLst>
          </p:cNvPr>
          <p:cNvSpPr>
            <a:spLocks noGrp="1"/>
          </p:cNvSpPr>
          <p:nvPr>
            <p:ph type="body" sz="quarter" idx="50"/>
          </p:nvPr>
        </p:nvSpPr>
        <p:spPr>
          <a:xfrm>
            <a:off x="5437958" y="1711995"/>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1" name="Picture Placeholder 9">
            <a:extLst>
              <a:ext uri="{FF2B5EF4-FFF2-40B4-BE49-F238E27FC236}">
                <a16:creationId xmlns:a16="http://schemas.microsoft.com/office/drawing/2014/main" id="{96F24F90-0E84-D6E6-53DE-5CA754BCC220}"/>
              </a:ext>
            </a:extLst>
          </p:cNvPr>
          <p:cNvSpPr>
            <a:spLocks noGrp="1"/>
          </p:cNvSpPr>
          <p:nvPr>
            <p:ph type="pic" sz="quarter" idx="51" hasCustomPrompt="1"/>
          </p:nvPr>
        </p:nvSpPr>
        <p:spPr>
          <a:xfrm>
            <a:off x="4357530" y="2786398"/>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2" name="Text Placeholder 15">
            <a:extLst>
              <a:ext uri="{FF2B5EF4-FFF2-40B4-BE49-F238E27FC236}">
                <a16:creationId xmlns:a16="http://schemas.microsoft.com/office/drawing/2014/main" id="{FEE53D37-03B9-FEA3-D9B3-377C5ACE8FBB}"/>
              </a:ext>
            </a:extLst>
          </p:cNvPr>
          <p:cNvSpPr>
            <a:spLocks noGrp="1"/>
          </p:cNvSpPr>
          <p:nvPr>
            <p:ph type="body" sz="quarter" idx="52"/>
          </p:nvPr>
        </p:nvSpPr>
        <p:spPr>
          <a:xfrm>
            <a:off x="5437958" y="2791091"/>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3" name="Picture Placeholder 9">
            <a:extLst>
              <a:ext uri="{FF2B5EF4-FFF2-40B4-BE49-F238E27FC236}">
                <a16:creationId xmlns:a16="http://schemas.microsoft.com/office/drawing/2014/main" id="{D91880C0-5866-3A2D-E9A1-293A080C3CBC}"/>
              </a:ext>
            </a:extLst>
          </p:cNvPr>
          <p:cNvSpPr>
            <a:spLocks noGrp="1"/>
          </p:cNvSpPr>
          <p:nvPr>
            <p:ph type="pic" sz="quarter" idx="53" hasCustomPrompt="1"/>
          </p:nvPr>
        </p:nvSpPr>
        <p:spPr>
          <a:xfrm>
            <a:off x="4357530" y="3870187"/>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4" name="Text Placeholder 15">
            <a:extLst>
              <a:ext uri="{FF2B5EF4-FFF2-40B4-BE49-F238E27FC236}">
                <a16:creationId xmlns:a16="http://schemas.microsoft.com/office/drawing/2014/main" id="{68479F4A-C40B-C6DF-03E8-C507FF3D4573}"/>
              </a:ext>
            </a:extLst>
          </p:cNvPr>
          <p:cNvSpPr>
            <a:spLocks noGrp="1"/>
          </p:cNvSpPr>
          <p:nvPr>
            <p:ph type="body" sz="quarter" idx="54"/>
          </p:nvPr>
        </p:nvSpPr>
        <p:spPr>
          <a:xfrm>
            <a:off x="5437958" y="3870187"/>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5" name="Picture Placeholder 9">
            <a:extLst>
              <a:ext uri="{FF2B5EF4-FFF2-40B4-BE49-F238E27FC236}">
                <a16:creationId xmlns:a16="http://schemas.microsoft.com/office/drawing/2014/main" id="{C62DBBD6-D33E-DF74-5AE8-96D1913C8C20}"/>
              </a:ext>
            </a:extLst>
          </p:cNvPr>
          <p:cNvSpPr>
            <a:spLocks noGrp="1"/>
          </p:cNvSpPr>
          <p:nvPr>
            <p:ph type="pic" sz="quarter" idx="55" hasCustomPrompt="1"/>
          </p:nvPr>
        </p:nvSpPr>
        <p:spPr>
          <a:xfrm>
            <a:off x="4357530" y="4949284"/>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6" name="Text Placeholder 15">
            <a:extLst>
              <a:ext uri="{FF2B5EF4-FFF2-40B4-BE49-F238E27FC236}">
                <a16:creationId xmlns:a16="http://schemas.microsoft.com/office/drawing/2014/main" id="{05529239-A4B5-258D-03F5-01D3ADFE8873}"/>
              </a:ext>
            </a:extLst>
          </p:cNvPr>
          <p:cNvSpPr>
            <a:spLocks noGrp="1"/>
          </p:cNvSpPr>
          <p:nvPr>
            <p:ph type="body" sz="quarter" idx="56"/>
          </p:nvPr>
        </p:nvSpPr>
        <p:spPr>
          <a:xfrm>
            <a:off x="5437958" y="4949284"/>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7" name="Picture Placeholder 9">
            <a:extLst>
              <a:ext uri="{FF2B5EF4-FFF2-40B4-BE49-F238E27FC236}">
                <a16:creationId xmlns:a16="http://schemas.microsoft.com/office/drawing/2014/main" id="{114AD459-859C-6C0F-FB75-4B02606E57BB}"/>
              </a:ext>
            </a:extLst>
          </p:cNvPr>
          <p:cNvSpPr>
            <a:spLocks noGrp="1"/>
          </p:cNvSpPr>
          <p:nvPr>
            <p:ph type="pic" sz="quarter" idx="57" hasCustomPrompt="1"/>
          </p:nvPr>
        </p:nvSpPr>
        <p:spPr>
          <a:xfrm>
            <a:off x="8199122" y="1711995"/>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8" name="Text Placeholder 15">
            <a:extLst>
              <a:ext uri="{FF2B5EF4-FFF2-40B4-BE49-F238E27FC236}">
                <a16:creationId xmlns:a16="http://schemas.microsoft.com/office/drawing/2014/main" id="{4EAF0426-CCDA-221A-38EC-BBD417EBF569}"/>
              </a:ext>
            </a:extLst>
          </p:cNvPr>
          <p:cNvSpPr>
            <a:spLocks noGrp="1"/>
          </p:cNvSpPr>
          <p:nvPr>
            <p:ph type="body" sz="quarter" idx="58"/>
          </p:nvPr>
        </p:nvSpPr>
        <p:spPr>
          <a:xfrm>
            <a:off x="9279550" y="1711995"/>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9" name="Picture Placeholder 9">
            <a:extLst>
              <a:ext uri="{FF2B5EF4-FFF2-40B4-BE49-F238E27FC236}">
                <a16:creationId xmlns:a16="http://schemas.microsoft.com/office/drawing/2014/main" id="{EF2E7661-7F3A-851E-C60B-815DA8CE2A18}"/>
              </a:ext>
            </a:extLst>
          </p:cNvPr>
          <p:cNvSpPr>
            <a:spLocks noGrp="1"/>
          </p:cNvSpPr>
          <p:nvPr>
            <p:ph type="pic" sz="quarter" idx="59" hasCustomPrompt="1"/>
          </p:nvPr>
        </p:nvSpPr>
        <p:spPr>
          <a:xfrm>
            <a:off x="8199122" y="2786398"/>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70" name="Text Placeholder 15">
            <a:extLst>
              <a:ext uri="{FF2B5EF4-FFF2-40B4-BE49-F238E27FC236}">
                <a16:creationId xmlns:a16="http://schemas.microsoft.com/office/drawing/2014/main" id="{8748A2D7-29EB-EEF8-E6A5-383DA278969D}"/>
              </a:ext>
            </a:extLst>
          </p:cNvPr>
          <p:cNvSpPr>
            <a:spLocks noGrp="1"/>
          </p:cNvSpPr>
          <p:nvPr>
            <p:ph type="body" sz="quarter" idx="60"/>
          </p:nvPr>
        </p:nvSpPr>
        <p:spPr>
          <a:xfrm>
            <a:off x="9279550" y="2791091"/>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71" name="Picture Placeholder 9">
            <a:extLst>
              <a:ext uri="{FF2B5EF4-FFF2-40B4-BE49-F238E27FC236}">
                <a16:creationId xmlns:a16="http://schemas.microsoft.com/office/drawing/2014/main" id="{E88761E4-7653-636A-0723-500AE4782BC6}"/>
              </a:ext>
            </a:extLst>
          </p:cNvPr>
          <p:cNvSpPr>
            <a:spLocks noGrp="1"/>
          </p:cNvSpPr>
          <p:nvPr>
            <p:ph type="pic" sz="quarter" idx="61" hasCustomPrompt="1"/>
          </p:nvPr>
        </p:nvSpPr>
        <p:spPr>
          <a:xfrm>
            <a:off x="8199122" y="3870187"/>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72" name="Text Placeholder 15">
            <a:extLst>
              <a:ext uri="{FF2B5EF4-FFF2-40B4-BE49-F238E27FC236}">
                <a16:creationId xmlns:a16="http://schemas.microsoft.com/office/drawing/2014/main" id="{B10E2844-BD47-9C07-357D-9EA651BBCA67}"/>
              </a:ext>
            </a:extLst>
          </p:cNvPr>
          <p:cNvSpPr>
            <a:spLocks noGrp="1"/>
          </p:cNvSpPr>
          <p:nvPr>
            <p:ph type="body" sz="quarter" idx="62"/>
          </p:nvPr>
        </p:nvSpPr>
        <p:spPr>
          <a:xfrm>
            <a:off x="9279550" y="3870187"/>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73" name="Picture Placeholder 9">
            <a:extLst>
              <a:ext uri="{FF2B5EF4-FFF2-40B4-BE49-F238E27FC236}">
                <a16:creationId xmlns:a16="http://schemas.microsoft.com/office/drawing/2014/main" id="{310F2473-00CD-C33D-50C3-3F40271F3927}"/>
              </a:ext>
            </a:extLst>
          </p:cNvPr>
          <p:cNvSpPr>
            <a:spLocks noGrp="1"/>
          </p:cNvSpPr>
          <p:nvPr>
            <p:ph type="pic" sz="quarter" idx="63" hasCustomPrompt="1"/>
          </p:nvPr>
        </p:nvSpPr>
        <p:spPr>
          <a:xfrm>
            <a:off x="8199122" y="4949284"/>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74" name="Text Placeholder 15">
            <a:extLst>
              <a:ext uri="{FF2B5EF4-FFF2-40B4-BE49-F238E27FC236}">
                <a16:creationId xmlns:a16="http://schemas.microsoft.com/office/drawing/2014/main" id="{789611C4-8E98-E2CF-35EB-922860C66E00}"/>
              </a:ext>
            </a:extLst>
          </p:cNvPr>
          <p:cNvSpPr>
            <a:spLocks noGrp="1"/>
          </p:cNvSpPr>
          <p:nvPr>
            <p:ph type="body" sz="quarter" idx="64"/>
          </p:nvPr>
        </p:nvSpPr>
        <p:spPr>
          <a:xfrm>
            <a:off x="9279550" y="4949284"/>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Tree>
    <p:extLst>
      <p:ext uri="{BB962C8B-B14F-4D97-AF65-F5344CB8AC3E}">
        <p14:creationId xmlns:p14="http://schemas.microsoft.com/office/powerpoint/2010/main" val="26758827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0A58AC-831A-4E0A-9A38-FA5FB2556B3B}"/>
              </a:ext>
            </a:extLst>
          </p:cNvPr>
          <p:cNvSpPr>
            <a:spLocks noGrp="1"/>
          </p:cNvSpPr>
          <p:nvPr>
            <p:ph type="title"/>
          </p:nvPr>
        </p:nvSpPr>
        <p:spPr/>
        <p:txBody>
          <a:bodyPr/>
          <a:lstStyle/>
          <a:p>
            <a:r>
              <a:rPr lang="en-US"/>
              <a:t>Click to edit Master title style</a:t>
            </a:r>
            <a:endParaRPr lang="en-AU"/>
          </a:p>
        </p:txBody>
      </p:sp>
      <p:sp>
        <p:nvSpPr>
          <p:cNvPr id="3" name="Vertical Text Placeholder 2">
            <a:extLst>
              <a:ext uri="{FF2B5EF4-FFF2-40B4-BE49-F238E27FC236}">
                <a16:creationId xmlns:a16="http://schemas.microsoft.com/office/drawing/2014/main" id="{672B231C-812A-4B60-AB77-995179DAF955}"/>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8BC410B5-8752-434D-89AD-0B29596BA7DC}"/>
              </a:ext>
            </a:extLst>
          </p:cNvPr>
          <p:cNvSpPr>
            <a:spLocks noGrp="1"/>
          </p:cNvSpPr>
          <p:nvPr>
            <p:ph type="dt" sz="half" idx="10"/>
          </p:nvPr>
        </p:nvSpPr>
        <p:spPr/>
        <p:txBody>
          <a:bodyPr/>
          <a:lstStyle/>
          <a:p>
            <a:fld id="{715DA8C4-89ED-48FA-A108-4AED8A51A71A}" type="datetime1">
              <a:rPr lang="en-AU" smtClean="0"/>
              <a:t>9/12/2024</a:t>
            </a:fld>
            <a:endParaRPr lang="en-AU"/>
          </a:p>
        </p:txBody>
      </p:sp>
      <p:sp>
        <p:nvSpPr>
          <p:cNvPr id="5" name="Footer Placeholder 4">
            <a:extLst>
              <a:ext uri="{FF2B5EF4-FFF2-40B4-BE49-F238E27FC236}">
                <a16:creationId xmlns:a16="http://schemas.microsoft.com/office/drawing/2014/main" id="{1B6264E4-4464-4069-A040-E0957282D5F1}"/>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FCF62202-68A9-4129-92E6-0E6BCC4CC1CC}"/>
              </a:ext>
            </a:extLst>
          </p:cNvPr>
          <p:cNvSpPr>
            <a:spLocks noGrp="1"/>
          </p:cNvSpPr>
          <p:nvPr>
            <p:ph type="sldNum" sz="quarter" idx="12"/>
          </p:nvPr>
        </p:nvSpPr>
        <p:spPr/>
        <p:txBody>
          <a:bodyPr/>
          <a:lstStyle/>
          <a:p>
            <a:fld id="{33ECF85F-2FE6-4C40-9C0D-695BD934DCA6}" type="slidenum">
              <a:rPr lang="en-AU" smtClean="0"/>
              <a:t>‹#›</a:t>
            </a:fld>
            <a:endParaRPr lang="en-AU"/>
          </a:p>
        </p:txBody>
      </p:sp>
    </p:spTree>
    <p:extLst>
      <p:ext uri="{BB962C8B-B14F-4D97-AF65-F5344CB8AC3E}">
        <p14:creationId xmlns:p14="http://schemas.microsoft.com/office/powerpoint/2010/main" val="3096458592"/>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33" name="Text Placeholder 8">
            <a:extLst>
              <a:ext uri="{FF2B5EF4-FFF2-40B4-BE49-F238E27FC236}">
                <a16:creationId xmlns:a16="http://schemas.microsoft.com/office/drawing/2014/main" id="{81187F35-DC43-A850-FE4F-7D60E8ED7A96}"/>
              </a:ext>
            </a:extLst>
          </p:cNvPr>
          <p:cNvSpPr>
            <a:spLocks noGrp="1"/>
          </p:cNvSpPr>
          <p:nvPr>
            <p:ph type="body" idx="13"/>
          </p:nvPr>
        </p:nvSpPr>
        <p:spPr>
          <a:xfrm>
            <a:off x="531133" y="1708830"/>
            <a:ext cx="11144930" cy="4204608"/>
          </a:xfrm>
        </p:spPr>
        <p:txBody>
          <a:bodyPr numCol="2" spcCol="360000">
            <a:normAutofit/>
          </a:bodyPr>
          <a:lstStyle>
            <a:lvl1pPr marL="457200" indent="-457200">
              <a:spcBef>
                <a:spcPts val="1800"/>
              </a:spcBef>
              <a:spcAft>
                <a:spcPts val="600"/>
              </a:spcAft>
              <a:buClr>
                <a:schemeClr val="bg2"/>
              </a:buClr>
              <a:buFont typeface="+mj-lt"/>
              <a:buAutoNum type="arabicPeriod"/>
              <a:defRPr sz="2400" b="1">
                <a:solidFill>
                  <a:schemeClr val="tx2">
                    <a:lumMod val="50000"/>
                  </a:schemeClr>
                </a:solidFill>
              </a:defRPr>
            </a:lvl1pPr>
            <a:lvl2pPr>
              <a:spcAft>
                <a:spcPts val="600"/>
              </a:spcAft>
              <a:defRPr sz="2000" b="1">
                <a:solidFill>
                  <a:schemeClr val="tx2">
                    <a:lumMod val="50000"/>
                  </a:schemeClr>
                </a:solidFill>
              </a:defRPr>
            </a:lvl2pPr>
            <a:lvl3pPr>
              <a:defRPr sz="2000" b="1">
                <a:solidFill>
                  <a:schemeClr val="tx2">
                    <a:lumMod val="50000"/>
                  </a:schemeClr>
                </a:solidFill>
              </a:defRPr>
            </a:lvl3pPr>
            <a:lvl4pPr>
              <a:defRPr sz="1800" b="1">
                <a:solidFill>
                  <a:schemeClr val="tx2">
                    <a:lumMod val="50000"/>
                  </a:schemeClr>
                </a:solidFill>
              </a:defRPr>
            </a:lvl4pPr>
            <a:lvl5pPr>
              <a:defRPr sz="1800" b="1">
                <a:solidFill>
                  <a:schemeClr val="tx2">
                    <a:lumMod val="50000"/>
                  </a:schemeClr>
                </a:solidFill>
              </a:defRPr>
            </a:lvl5pPr>
          </a:lstStyle>
          <a:p>
            <a:pPr lvl="0"/>
            <a:r>
              <a:rPr lang="en-GB"/>
              <a:t>Click to edit Master text styles</a:t>
            </a:r>
          </a:p>
          <a:p>
            <a:pPr lvl="1"/>
            <a:r>
              <a:rPr lang="en-GB"/>
              <a:t>Second level</a:t>
            </a:r>
          </a:p>
        </p:txBody>
      </p:sp>
    </p:spTree>
    <p:extLst>
      <p:ext uri="{BB962C8B-B14F-4D97-AF65-F5344CB8AC3E}">
        <p14:creationId xmlns:p14="http://schemas.microsoft.com/office/powerpoint/2010/main" val="1435287244"/>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6275323"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6275323" cy="343847"/>
          </a:xfrm>
        </p:spPr>
        <p:txBody>
          <a:bodyPr/>
          <a:lstStyle>
            <a:lvl1pPr>
              <a:defRPr>
                <a:solidFill>
                  <a:schemeClr val="bg2"/>
                </a:solidFill>
              </a:defRPr>
            </a:lvl1pPr>
          </a:lstStyle>
          <a:p>
            <a:pPr lvl="0"/>
            <a:r>
              <a:rPr lang="en-GB"/>
              <a:t>Click to edit Master text styles</a:t>
            </a:r>
          </a:p>
        </p:txBody>
      </p:sp>
      <p:sp>
        <p:nvSpPr>
          <p:cNvPr id="33" name="Text Placeholder 8">
            <a:extLst>
              <a:ext uri="{FF2B5EF4-FFF2-40B4-BE49-F238E27FC236}">
                <a16:creationId xmlns:a16="http://schemas.microsoft.com/office/drawing/2014/main" id="{81187F35-DC43-A850-FE4F-7D60E8ED7A96}"/>
              </a:ext>
            </a:extLst>
          </p:cNvPr>
          <p:cNvSpPr>
            <a:spLocks noGrp="1"/>
          </p:cNvSpPr>
          <p:nvPr>
            <p:ph type="body" idx="13"/>
          </p:nvPr>
        </p:nvSpPr>
        <p:spPr>
          <a:xfrm>
            <a:off x="531133" y="1708830"/>
            <a:ext cx="5376371" cy="4204608"/>
          </a:xfrm>
        </p:spPr>
        <p:txBody>
          <a:bodyPr numCol="1" spcCol="360000">
            <a:normAutofit/>
          </a:bodyPr>
          <a:lstStyle>
            <a:lvl1pPr marL="457200" indent="-457200">
              <a:spcBef>
                <a:spcPts val="600"/>
              </a:spcBef>
              <a:spcAft>
                <a:spcPts val="600"/>
              </a:spcAft>
              <a:buClr>
                <a:schemeClr val="bg2"/>
              </a:buClr>
              <a:buFont typeface="+mj-lt"/>
              <a:buAutoNum type="arabicPeriod"/>
              <a:defRPr sz="2400" b="1">
                <a:solidFill>
                  <a:schemeClr val="tx2">
                    <a:lumMod val="50000"/>
                  </a:schemeClr>
                </a:solidFill>
              </a:defRPr>
            </a:lvl1pPr>
            <a:lvl2pPr>
              <a:spcAft>
                <a:spcPts val="600"/>
              </a:spcAft>
              <a:defRPr sz="2000" b="1">
                <a:solidFill>
                  <a:schemeClr val="tx2">
                    <a:lumMod val="50000"/>
                  </a:schemeClr>
                </a:solidFill>
              </a:defRPr>
            </a:lvl2pPr>
            <a:lvl3pPr>
              <a:defRPr sz="2000" b="1">
                <a:solidFill>
                  <a:schemeClr val="tx2">
                    <a:lumMod val="50000"/>
                  </a:schemeClr>
                </a:solidFill>
              </a:defRPr>
            </a:lvl3pPr>
            <a:lvl4pPr>
              <a:defRPr sz="1800" b="1">
                <a:solidFill>
                  <a:schemeClr val="tx2">
                    <a:lumMod val="50000"/>
                  </a:schemeClr>
                </a:solidFill>
              </a:defRPr>
            </a:lvl4pPr>
            <a:lvl5pPr>
              <a:defRPr sz="1800" b="1">
                <a:solidFill>
                  <a:schemeClr val="tx2">
                    <a:lumMod val="50000"/>
                  </a:schemeClr>
                </a:solidFill>
              </a:defRPr>
            </a:lvl5pPr>
          </a:lstStyle>
          <a:p>
            <a:pPr lvl="0"/>
            <a:r>
              <a:rPr lang="en-GB"/>
              <a:t>Click to edit Master text styles</a:t>
            </a:r>
          </a:p>
          <a:p>
            <a:pPr lvl="1"/>
            <a:r>
              <a:rPr lang="en-GB"/>
              <a:t>Second level</a:t>
            </a:r>
          </a:p>
        </p:txBody>
      </p:sp>
      <p:sp>
        <p:nvSpPr>
          <p:cNvPr id="11" name="Text Placeholder 8">
            <a:extLst>
              <a:ext uri="{FF2B5EF4-FFF2-40B4-BE49-F238E27FC236}">
                <a16:creationId xmlns:a16="http://schemas.microsoft.com/office/drawing/2014/main" id="{91F8B0E5-465B-1592-BFB3-5F01C3B0E690}"/>
              </a:ext>
            </a:extLst>
          </p:cNvPr>
          <p:cNvSpPr>
            <a:spLocks noGrp="1"/>
          </p:cNvSpPr>
          <p:nvPr>
            <p:ph type="body" idx="15" hasCustomPrompt="1"/>
          </p:nvPr>
        </p:nvSpPr>
        <p:spPr>
          <a:xfrm>
            <a:off x="6132637" y="1708830"/>
            <a:ext cx="664405" cy="4204608"/>
          </a:xfrm>
        </p:spPr>
        <p:txBody>
          <a:bodyPr numCol="1" spcCol="360000">
            <a:normAutofit/>
          </a:bodyPr>
          <a:lstStyle>
            <a:lvl1pPr marL="0" indent="0" algn="r">
              <a:spcBef>
                <a:spcPts val="600"/>
              </a:spcBef>
              <a:spcAft>
                <a:spcPts val="600"/>
              </a:spcAft>
              <a:buClr>
                <a:schemeClr val="bg2"/>
              </a:buClr>
              <a:buFont typeface="+mj-lt"/>
              <a:buNone/>
              <a:defRPr sz="2400" b="0">
                <a:solidFill>
                  <a:schemeClr val="tx2">
                    <a:lumMod val="50000"/>
                  </a:schemeClr>
                </a:solidFill>
              </a:defRPr>
            </a:lvl1pPr>
            <a:lvl2pPr>
              <a:spcAft>
                <a:spcPts val="600"/>
              </a:spcAft>
              <a:defRPr sz="2000" b="1">
                <a:solidFill>
                  <a:schemeClr val="tx2">
                    <a:lumMod val="50000"/>
                  </a:schemeClr>
                </a:solidFill>
              </a:defRPr>
            </a:lvl2pPr>
            <a:lvl3pPr>
              <a:defRPr sz="2000" b="1">
                <a:solidFill>
                  <a:schemeClr val="tx2">
                    <a:lumMod val="50000"/>
                  </a:schemeClr>
                </a:solidFill>
              </a:defRPr>
            </a:lvl3pPr>
            <a:lvl4pPr>
              <a:defRPr sz="1800" b="1">
                <a:solidFill>
                  <a:schemeClr val="tx2">
                    <a:lumMod val="50000"/>
                  </a:schemeClr>
                </a:solidFill>
              </a:defRPr>
            </a:lvl4pPr>
            <a:lvl5pPr>
              <a:defRPr sz="1800" b="1">
                <a:solidFill>
                  <a:schemeClr val="tx2">
                    <a:lumMod val="50000"/>
                  </a:schemeClr>
                </a:solidFill>
              </a:defRPr>
            </a:lvl5pPr>
          </a:lstStyle>
          <a:p>
            <a:pPr lvl="0"/>
            <a:r>
              <a:rPr lang="en-GB"/>
              <a:t>X</a:t>
            </a:r>
          </a:p>
          <a:p>
            <a:pPr lvl="0"/>
            <a:endParaRPr lang="en-GB"/>
          </a:p>
        </p:txBody>
      </p:sp>
      <p:sp>
        <p:nvSpPr>
          <p:cNvPr id="12" name="Picture Placeholder 2">
            <a:extLst>
              <a:ext uri="{FF2B5EF4-FFF2-40B4-BE49-F238E27FC236}">
                <a16:creationId xmlns:a16="http://schemas.microsoft.com/office/drawing/2014/main" id="{EA8C7E29-42A4-2542-6547-ACCD8C92B2B5}"/>
              </a:ext>
            </a:extLst>
          </p:cNvPr>
          <p:cNvSpPr>
            <a:spLocks noGrp="1"/>
          </p:cNvSpPr>
          <p:nvPr>
            <p:ph type="pic" sz="quarter" idx="24"/>
          </p:nvPr>
        </p:nvSpPr>
        <p:spPr>
          <a:xfrm>
            <a:off x="7368539" y="366371"/>
            <a:ext cx="4307523" cy="5530549"/>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Tree>
    <p:extLst>
      <p:ext uri="{BB962C8B-B14F-4D97-AF65-F5344CB8AC3E}">
        <p14:creationId xmlns:p14="http://schemas.microsoft.com/office/powerpoint/2010/main" val="735781391"/>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3828148614"/>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itle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217931273"/>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1043092425"/>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Title Only – Dark">
    <p:bg>
      <p:bgPr>
        <a:solidFill>
          <a:schemeClr val="tx2">
            <a:lumMod val="75000"/>
          </a:schemeClr>
        </a:solidFill>
        <a:effectLst/>
      </p:bgPr>
    </p:bg>
    <p:spTree>
      <p:nvGrpSpPr>
        <p:cNvPr id="1" name=""/>
        <p:cNvGrpSpPr/>
        <p:nvPr/>
      </p:nvGrpSpPr>
      <p:grpSpPr>
        <a:xfrm>
          <a:off x="0" y="0"/>
          <a:ext cx="0" cy="0"/>
          <a:chOff x="0" y="0"/>
          <a:chExt cx="0" cy="0"/>
        </a:xfrm>
      </p:grpSpPr>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lvl1pPr>
              <a:defRPr>
                <a:solidFill>
                  <a:schemeClr val="bg1"/>
                </a:solidFill>
              </a:defRPr>
            </a:lvl1p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solidFill>
                  <a:schemeClr val="bg1">
                    <a:lumMod val="85000"/>
                  </a:schemeClr>
                </a:solidFill>
              </a:defRPr>
            </a:lvl1pPr>
          </a:lstStyle>
          <a:p>
            <a:fld id="{AB746B08-255A-2748-8A21-40BE94A17FD1}" type="slidenum">
              <a:rPr lang="en-GB" smtClean="0"/>
              <a:pPr/>
              <a:t>‹#›</a:t>
            </a:fld>
            <a:endParaRPr lang="en-GB"/>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solidFill>
                  <a:schemeClr val="bg1">
                    <a:lumMod val="85000"/>
                  </a:schemeClr>
                </a:solidFill>
              </a:defRPr>
            </a:lvl1pPr>
          </a:lstStyle>
          <a:p>
            <a:r>
              <a:rPr lang="en-GB"/>
              <a:t>Presentation Footer</a:t>
            </a:r>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3318116769"/>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Large Key Stat">
    <p:bg>
      <p:bgPr>
        <a:blipFill dpi="0" rotWithShape="1">
          <a:blip r:embed="rId2">
            <a:lum/>
            <a:extLst>
              <a:ext uri="{28A0092B-C50C-407E-A947-70E740481C1C}">
                <a14:useLocalDpi xmlns:a14="http://schemas.microsoft.com/office/drawing/2010/main"/>
              </a:ext>
            </a:extLst>
          </a:blip>
          <a:srcRect/>
          <a:stretch>
            <a:fillRect t="-3000" b="-3000"/>
          </a:stretch>
        </a:blip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9290FAF2-2869-2B9B-5880-4EE57045BC4F}"/>
              </a:ext>
            </a:extLst>
          </p:cNvPr>
          <p:cNvSpPr>
            <a:spLocks noGrp="1"/>
          </p:cNvSpPr>
          <p:nvPr>
            <p:ph type="title" hasCustomPrompt="1"/>
          </p:nvPr>
        </p:nvSpPr>
        <p:spPr>
          <a:xfrm>
            <a:off x="518828" y="1249683"/>
            <a:ext cx="11208352" cy="2690816"/>
          </a:xfrm>
          <a:prstGeom prst="rect">
            <a:avLst/>
          </a:prstGeom>
        </p:spPr>
        <p:txBody>
          <a:bodyPr vert="horz" lIns="0" tIns="0" rIns="0" bIns="0" rtlCol="0" anchor="b">
            <a:noAutofit/>
          </a:bodyPr>
          <a:lstStyle>
            <a:lvl1pPr>
              <a:defRPr sz="11500">
                <a:solidFill>
                  <a:schemeClr val="bg1"/>
                </a:solidFill>
              </a:defRPr>
            </a:lvl1pPr>
          </a:lstStyle>
          <a:p>
            <a:r>
              <a:rPr lang="en-GB"/>
              <a:t>XXXXXX</a:t>
            </a:r>
          </a:p>
        </p:txBody>
      </p:sp>
      <p:sp>
        <p:nvSpPr>
          <p:cNvPr id="8" name="Slide Number Placeholder 2">
            <a:extLst>
              <a:ext uri="{FF2B5EF4-FFF2-40B4-BE49-F238E27FC236}">
                <a16:creationId xmlns:a16="http://schemas.microsoft.com/office/drawing/2014/main" id="{0F9BA01A-4636-2441-F8D0-2E265BF7D8B4}"/>
              </a:ext>
            </a:extLst>
          </p:cNvPr>
          <p:cNvSpPr>
            <a:spLocks noGrp="1"/>
          </p:cNvSpPr>
          <p:nvPr>
            <p:ph type="sldNum" sz="quarter" idx="12"/>
          </p:nvPr>
        </p:nvSpPr>
        <p:spPr>
          <a:xfrm>
            <a:off x="515937" y="6353142"/>
            <a:ext cx="261630" cy="136526"/>
          </a:xfrm>
          <a:prstGeom prst="rect">
            <a:avLst/>
          </a:prstGeom>
        </p:spPr>
        <p:txBody>
          <a:bodyPr anchor="b"/>
          <a:lstStyle>
            <a:lvl1pPr>
              <a:defRPr sz="800">
                <a:solidFill>
                  <a:schemeClr val="bg1">
                    <a:lumMod val="85000"/>
                  </a:schemeClr>
                </a:solidFill>
              </a:defRPr>
            </a:lvl1pPr>
          </a:lstStyle>
          <a:p>
            <a:fld id="{AB746B08-255A-2748-8A21-40BE94A17FD1}" type="slidenum">
              <a:rPr lang="en-GB" smtClean="0"/>
              <a:pPr/>
              <a:t>‹#›</a:t>
            </a:fld>
            <a:endParaRPr lang="en-GB"/>
          </a:p>
        </p:txBody>
      </p:sp>
      <p:cxnSp>
        <p:nvCxnSpPr>
          <p:cNvPr id="12" name="Straight Connector 11">
            <a:extLst>
              <a:ext uri="{FF2B5EF4-FFF2-40B4-BE49-F238E27FC236}">
                <a16:creationId xmlns:a16="http://schemas.microsoft.com/office/drawing/2014/main" id="{AC751308-8682-E296-A343-1719555B3C95}"/>
              </a:ext>
            </a:extLst>
          </p:cNvPr>
          <p:cNvCxnSpPr>
            <a:cxnSpLocks/>
          </p:cNvCxnSpPr>
          <p:nvPr userDrawn="1"/>
        </p:nvCxnSpPr>
        <p:spPr>
          <a:xfrm>
            <a:off x="515937" y="6293461"/>
            <a:ext cx="1001979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3" name="Footer Placeholder 1">
            <a:extLst>
              <a:ext uri="{FF2B5EF4-FFF2-40B4-BE49-F238E27FC236}">
                <a16:creationId xmlns:a16="http://schemas.microsoft.com/office/drawing/2014/main" id="{A1AFB23D-B299-93C8-2304-575B5ED93621}"/>
              </a:ext>
            </a:extLst>
          </p:cNvPr>
          <p:cNvSpPr>
            <a:spLocks noGrp="1"/>
          </p:cNvSpPr>
          <p:nvPr>
            <p:ph type="ftr" sz="quarter" idx="11"/>
          </p:nvPr>
        </p:nvSpPr>
        <p:spPr>
          <a:xfrm>
            <a:off x="777567" y="6353142"/>
            <a:ext cx="4114800" cy="136526"/>
          </a:xfrm>
          <a:prstGeom prst="rect">
            <a:avLst/>
          </a:prstGeom>
        </p:spPr>
        <p:txBody>
          <a:bodyPr anchor="b"/>
          <a:lstStyle>
            <a:lvl1pPr>
              <a:defRPr sz="800">
                <a:solidFill>
                  <a:schemeClr val="bg1">
                    <a:lumMod val="85000"/>
                  </a:schemeClr>
                </a:solidFill>
              </a:defRPr>
            </a:lvl1pPr>
          </a:lstStyle>
          <a:p>
            <a:r>
              <a:rPr lang="en-GB"/>
              <a:t>Presentation Footer</a:t>
            </a:r>
          </a:p>
        </p:txBody>
      </p:sp>
      <p:pic>
        <p:nvPicPr>
          <p:cNvPr id="15" name="Picture 11">
            <a:extLst>
              <a:ext uri="{FF2B5EF4-FFF2-40B4-BE49-F238E27FC236}">
                <a16:creationId xmlns:a16="http://schemas.microsoft.com/office/drawing/2014/main" id="{A4BBC3E9-F3A2-C188-5A3A-9D714331C860}"/>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633506" y="6109976"/>
            <a:ext cx="1036776" cy="381653"/>
          </a:xfrm>
          <a:prstGeom prst="rect">
            <a:avLst/>
          </a:prstGeom>
        </p:spPr>
      </p:pic>
      <p:sp>
        <p:nvSpPr>
          <p:cNvPr id="16" name="Text Placeholder 6">
            <a:extLst>
              <a:ext uri="{FF2B5EF4-FFF2-40B4-BE49-F238E27FC236}">
                <a16:creationId xmlns:a16="http://schemas.microsoft.com/office/drawing/2014/main" id="{64AB32E5-85C1-B8E6-505F-2580C9B2E9EE}"/>
              </a:ext>
            </a:extLst>
          </p:cNvPr>
          <p:cNvSpPr>
            <a:spLocks noGrp="1"/>
          </p:cNvSpPr>
          <p:nvPr>
            <p:ph type="body" sz="quarter" idx="16"/>
          </p:nvPr>
        </p:nvSpPr>
        <p:spPr>
          <a:xfrm>
            <a:off x="515936" y="4053840"/>
            <a:ext cx="6364924" cy="1668779"/>
          </a:xfrm>
        </p:spPr>
        <p:txBody>
          <a:bodyPr>
            <a:noAutofit/>
          </a:bodyPr>
          <a:lstStyle>
            <a:lvl1pPr>
              <a:defRPr sz="2400" b="1">
                <a:solidFill>
                  <a:schemeClr val="bg1"/>
                </a:solidFill>
              </a:defRPr>
            </a:lvl1pPr>
          </a:lstStyle>
          <a:p>
            <a:pPr lvl="0"/>
            <a:r>
              <a:rPr lang="en-GB"/>
              <a:t>Click to edit Master text styles</a:t>
            </a:r>
          </a:p>
        </p:txBody>
      </p:sp>
    </p:spTree>
    <p:extLst>
      <p:ext uri="{BB962C8B-B14F-4D97-AF65-F5344CB8AC3E}">
        <p14:creationId xmlns:p14="http://schemas.microsoft.com/office/powerpoint/2010/main" val="2360045110"/>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915128" y="1788454"/>
            <a:ext cx="8361229" cy="2098226"/>
          </a:xfrm>
        </p:spPr>
        <p:txBody>
          <a:bodyPr anchor="b">
            <a:noAutofit/>
          </a:bodyPr>
          <a:lstStyle>
            <a:lvl1pPr algn="ctr">
              <a:defRPr sz="7200" cap="all" baseline="0">
                <a:solidFill>
                  <a:schemeClr val="tx2"/>
                </a:solidFill>
              </a:defRPr>
            </a:lvl1pPr>
          </a:lstStyle>
          <a:p>
            <a:r>
              <a:rPr lang="en-US"/>
              <a:t>Click to edit Master title style</a:t>
            </a:r>
            <a:endParaRPr lang="en-US" dirty="0"/>
          </a:p>
        </p:txBody>
      </p:sp>
      <p:sp>
        <p:nvSpPr>
          <p:cNvPr id="3" name="Subtitle 2"/>
          <p:cNvSpPr>
            <a:spLocks noGrp="1"/>
          </p:cNvSpPr>
          <p:nvPr>
            <p:ph type="subTitle" idx="1"/>
          </p:nvPr>
        </p:nvSpPr>
        <p:spPr>
          <a:xfrm>
            <a:off x="2679906" y="3956279"/>
            <a:ext cx="6831673" cy="1086237"/>
          </a:xfrm>
        </p:spPr>
        <p:txBody>
          <a:bodyPr>
            <a:normAutofit/>
          </a:bodyPr>
          <a:lstStyle>
            <a:lvl1pPr marL="0" indent="0" algn="ctr">
              <a:lnSpc>
                <a:spcPct val="112000"/>
              </a:lnSpc>
              <a:spcBef>
                <a:spcPts val="0"/>
              </a:spcBef>
              <a:spcAft>
                <a:spcPts val="0"/>
              </a:spcAft>
              <a:buNone/>
              <a:defRPr sz="23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a:xfrm>
            <a:off x="752858" y="6453386"/>
            <a:ext cx="1607944" cy="404614"/>
          </a:xfrm>
        </p:spPr>
        <p:txBody>
          <a:bodyPr/>
          <a:lstStyle>
            <a:lvl1pPr>
              <a:defRPr baseline="0">
                <a:solidFill>
                  <a:schemeClr val="tx2"/>
                </a:solidFill>
              </a:defRPr>
            </a:lvl1pPr>
          </a:lstStyle>
          <a:p>
            <a:fld id="{7A7C2B39-40D3-4F48-860E-C9B6D08886CB}" type="datetimeFigureOut">
              <a:rPr lang="en-PK" smtClean="0"/>
              <a:t>12/09/2024</a:t>
            </a:fld>
            <a:endParaRPr lang="en-PK"/>
          </a:p>
        </p:txBody>
      </p:sp>
      <p:sp>
        <p:nvSpPr>
          <p:cNvPr id="5" name="Footer Placeholder 4"/>
          <p:cNvSpPr>
            <a:spLocks noGrp="1"/>
          </p:cNvSpPr>
          <p:nvPr>
            <p:ph type="ftr" sz="quarter" idx="11"/>
          </p:nvPr>
        </p:nvSpPr>
        <p:spPr>
          <a:xfrm>
            <a:off x="2584054" y="6453386"/>
            <a:ext cx="7023377" cy="404614"/>
          </a:xfrm>
        </p:spPr>
        <p:txBody>
          <a:bodyPr/>
          <a:lstStyle>
            <a:lvl1pPr algn="ctr">
              <a:defRPr baseline="0">
                <a:solidFill>
                  <a:schemeClr val="tx2"/>
                </a:solidFill>
              </a:defRPr>
            </a:lvl1pPr>
          </a:lstStyle>
          <a:p>
            <a:endParaRPr lang="en-PK"/>
          </a:p>
        </p:txBody>
      </p:sp>
      <p:sp>
        <p:nvSpPr>
          <p:cNvPr id="6" name="Slide Number Placeholder 5"/>
          <p:cNvSpPr>
            <a:spLocks noGrp="1"/>
          </p:cNvSpPr>
          <p:nvPr>
            <p:ph type="sldNum" sz="quarter" idx="12"/>
          </p:nvPr>
        </p:nvSpPr>
        <p:spPr>
          <a:xfrm>
            <a:off x="9830683" y="6453386"/>
            <a:ext cx="1596292" cy="404614"/>
          </a:xfrm>
        </p:spPr>
        <p:txBody>
          <a:bodyPr/>
          <a:lstStyle>
            <a:lvl1pPr>
              <a:defRPr baseline="0">
                <a:solidFill>
                  <a:schemeClr val="tx2"/>
                </a:solidFill>
              </a:defRPr>
            </a:lvl1pPr>
          </a:lstStyle>
          <a:p>
            <a:fld id="{BE973FF8-CBCF-A245-A7F0-FB5C1559B95A}" type="slidenum">
              <a:rPr lang="en-PK" smtClean="0"/>
              <a:t>‹#›</a:t>
            </a:fld>
            <a:endParaRPr lang="en-PK"/>
          </a:p>
        </p:txBody>
      </p:sp>
      <p:grpSp>
        <p:nvGrpSpPr>
          <p:cNvPr id="7" name="Group 6"/>
          <p:cNvGrpSpPr/>
          <p:nvPr/>
        </p:nvGrpSpPr>
        <p:grpSpPr>
          <a:xfrm>
            <a:off x="752858" y="744469"/>
            <a:ext cx="10674117" cy="5349671"/>
            <a:chOff x="752858" y="744469"/>
            <a:chExt cx="10674117" cy="5349671"/>
          </a:xfrm>
        </p:grpSpPr>
        <p:sp>
          <p:nvSpPr>
            <p:cNvPr id="11" name="Freeform 6"/>
            <p:cNvSpPr/>
            <p:nvPr/>
          </p:nvSpPr>
          <p:spPr bwMode="auto">
            <a:xfrm>
              <a:off x="8151962" y="1685652"/>
              <a:ext cx="3275013" cy="4408488"/>
            </a:xfrm>
            <a:custGeom>
              <a:avLst/>
              <a:gdLst/>
              <a:ahLst/>
              <a:cxnLst/>
              <a:rect l="l" t="t" r="r" b="b"/>
              <a:pathLst>
                <a:path w="10000" h="10000">
                  <a:moveTo>
                    <a:pt x="8761" y="0"/>
                  </a:moveTo>
                  <a:lnTo>
                    <a:pt x="10000" y="0"/>
                  </a:lnTo>
                  <a:lnTo>
                    <a:pt x="10000" y="10000"/>
                  </a:lnTo>
                  <a:lnTo>
                    <a:pt x="0" y="10000"/>
                  </a:lnTo>
                  <a:lnTo>
                    <a:pt x="0" y="9126"/>
                  </a:lnTo>
                  <a:lnTo>
                    <a:pt x="8761" y="9127"/>
                  </a:lnTo>
                  <a:lnTo>
                    <a:pt x="8761" y="0"/>
                  </a:lnTo>
                  <a:close/>
                </a:path>
              </a:pathLst>
            </a:custGeom>
            <a:solidFill>
              <a:schemeClr val="tx2"/>
            </a:solidFill>
            <a:ln w="0">
              <a:noFill/>
              <a:prstDash val="solid"/>
              <a:round/>
              <a:headEnd/>
              <a:tailEnd/>
            </a:ln>
          </p:spPr>
        </p:sp>
        <p:sp>
          <p:nvSpPr>
            <p:cNvPr id="14" name="Freeform 6"/>
            <p:cNvSpPr/>
            <p:nvPr/>
          </p:nvSpPr>
          <p:spPr bwMode="auto">
            <a:xfrm flipH="1" flipV="1">
              <a:off x="752858" y="744469"/>
              <a:ext cx="3275668" cy="4408488"/>
            </a:xfrm>
            <a:custGeom>
              <a:avLst/>
              <a:gdLst/>
              <a:ahLst/>
              <a:cxnLst/>
              <a:rect l="l" t="t" r="r" b="b"/>
              <a:pathLst>
                <a:path w="10002" h="10000">
                  <a:moveTo>
                    <a:pt x="8763" y="0"/>
                  </a:moveTo>
                  <a:lnTo>
                    <a:pt x="10002" y="0"/>
                  </a:lnTo>
                  <a:lnTo>
                    <a:pt x="10002" y="10000"/>
                  </a:lnTo>
                  <a:lnTo>
                    <a:pt x="2" y="10000"/>
                  </a:lnTo>
                  <a:cubicBezTo>
                    <a:pt x="-2" y="9698"/>
                    <a:pt x="4" y="9427"/>
                    <a:pt x="0" y="9125"/>
                  </a:cubicBezTo>
                  <a:lnTo>
                    <a:pt x="8763" y="9128"/>
                  </a:lnTo>
                  <a:lnTo>
                    <a:pt x="8763" y="0"/>
                  </a:lnTo>
                  <a:close/>
                </a:path>
              </a:pathLst>
            </a:custGeom>
            <a:solidFill>
              <a:schemeClr val="tx2"/>
            </a:solidFill>
            <a:ln w="0">
              <a:noFill/>
              <a:prstDash val="solid"/>
              <a:round/>
              <a:headEnd/>
              <a:tailEnd/>
            </a:ln>
          </p:spPr>
        </p:sp>
      </p:grpSp>
    </p:spTree>
    <p:extLst>
      <p:ext uri="{BB962C8B-B14F-4D97-AF65-F5344CB8AC3E}">
        <p14:creationId xmlns:p14="http://schemas.microsoft.com/office/powerpoint/2010/main" val="4050191959"/>
      </p:ext>
    </p:extLst>
  </p:cSld>
  <p:clrMapOvr>
    <a:overrideClrMapping bg1="lt1" tx1="dk1" bg2="lt2" tx2="dk2" accent1="accent1" accent2="accent2" accent3="accent3" accent4="accent4" accent5="accent5" accent6="accent6" hlink="hlink" folHlink="folHlink"/>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7A7C2B39-40D3-4F48-860E-C9B6D08886CB}" type="datetimeFigureOut">
              <a:rPr lang="en-PK" smtClean="0"/>
              <a:t>12/09/2024</a:t>
            </a:fld>
            <a:endParaRPr lang="en-PK"/>
          </a:p>
        </p:txBody>
      </p:sp>
      <p:sp>
        <p:nvSpPr>
          <p:cNvPr id="5" name="Footer Placeholder 4"/>
          <p:cNvSpPr>
            <a:spLocks noGrp="1"/>
          </p:cNvSpPr>
          <p:nvPr>
            <p:ph type="ftr" sz="quarter" idx="11"/>
          </p:nvPr>
        </p:nvSpPr>
        <p:spPr/>
        <p:txBody>
          <a:bodyPr/>
          <a:lstStyle/>
          <a:p>
            <a:endParaRPr lang="en-PK"/>
          </a:p>
        </p:txBody>
      </p:sp>
      <p:sp>
        <p:nvSpPr>
          <p:cNvPr id="6" name="Slide Number Placeholder 5"/>
          <p:cNvSpPr>
            <a:spLocks noGrp="1"/>
          </p:cNvSpPr>
          <p:nvPr>
            <p:ph type="sldNum" sz="quarter" idx="12"/>
          </p:nvPr>
        </p:nvSpPr>
        <p:spPr/>
        <p:txBody>
          <a:bodyPr/>
          <a:lstStyle/>
          <a:p>
            <a:fld id="{BE973FF8-CBCF-A245-A7F0-FB5C1559B95A}" type="slidenum">
              <a:rPr lang="en-PK" smtClean="0"/>
              <a:t>‹#›</a:t>
            </a:fld>
            <a:endParaRPr lang="en-PK"/>
          </a:p>
        </p:txBody>
      </p:sp>
    </p:spTree>
    <p:extLst>
      <p:ext uri="{BB962C8B-B14F-4D97-AF65-F5344CB8AC3E}">
        <p14:creationId xmlns:p14="http://schemas.microsoft.com/office/powerpoint/2010/main" val="2851147841"/>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765025" y="1301360"/>
            <a:ext cx="9612971" cy="2852737"/>
          </a:xfrm>
        </p:spPr>
        <p:txBody>
          <a:bodyPr anchor="b">
            <a:normAutofit/>
          </a:bodyPr>
          <a:lstStyle>
            <a:lvl1pPr algn="r">
              <a:defRPr sz="7200" cap="all" baseline="0">
                <a:solidFill>
                  <a:schemeClr val="tx2"/>
                </a:solidFill>
              </a:defRPr>
            </a:lvl1pPr>
          </a:lstStyle>
          <a:p>
            <a:r>
              <a:rPr lang="en-US"/>
              <a:t>Click to edit Master title style</a:t>
            </a:r>
            <a:endParaRPr lang="en-US" dirty="0"/>
          </a:p>
        </p:txBody>
      </p:sp>
      <p:sp>
        <p:nvSpPr>
          <p:cNvPr id="3" name="Text Placeholder 2"/>
          <p:cNvSpPr>
            <a:spLocks noGrp="1"/>
          </p:cNvSpPr>
          <p:nvPr>
            <p:ph type="body" idx="1"/>
          </p:nvPr>
        </p:nvSpPr>
        <p:spPr>
          <a:xfrm>
            <a:off x="765025" y="4216328"/>
            <a:ext cx="9612971" cy="1143324"/>
          </a:xfrm>
        </p:spPr>
        <p:txBody>
          <a:bodyPr/>
          <a:lstStyle>
            <a:lvl1pPr marL="0" indent="0" algn="r">
              <a:lnSpc>
                <a:spcPct val="112000"/>
              </a:lnSpc>
              <a:spcBef>
                <a:spcPts val="0"/>
              </a:spcBef>
              <a:spcAft>
                <a:spcPts val="0"/>
              </a:spcAft>
              <a:buNone/>
              <a:defRPr sz="2400">
                <a:solidFill>
                  <a:schemeClr val="tx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738908" y="6453386"/>
            <a:ext cx="1622409" cy="404614"/>
          </a:xfrm>
        </p:spPr>
        <p:txBody>
          <a:bodyPr/>
          <a:lstStyle>
            <a:lvl1pPr>
              <a:defRPr>
                <a:solidFill>
                  <a:schemeClr val="tx2"/>
                </a:solidFill>
              </a:defRPr>
            </a:lvl1pPr>
          </a:lstStyle>
          <a:p>
            <a:fld id="{7A7C2B39-40D3-4F48-860E-C9B6D08886CB}" type="datetimeFigureOut">
              <a:rPr lang="en-PK" smtClean="0"/>
              <a:t>12/09/2024</a:t>
            </a:fld>
            <a:endParaRPr lang="en-PK"/>
          </a:p>
        </p:txBody>
      </p:sp>
      <p:sp>
        <p:nvSpPr>
          <p:cNvPr id="5" name="Footer Placeholder 4"/>
          <p:cNvSpPr>
            <a:spLocks noGrp="1"/>
          </p:cNvSpPr>
          <p:nvPr>
            <p:ph type="ftr" sz="quarter" idx="11"/>
          </p:nvPr>
        </p:nvSpPr>
        <p:spPr>
          <a:xfrm>
            <a:off x="2584312" y="6453386"/>
            <a:ext cx="7023377" cy="404614"/>
          </a:xfrm>
        </p:spPr>
        <p:txBody>
          <a:bodyPr/>
          <a:lstStyle>
            <a:lvl1pPr algn="ctr">
              <a:defRPr>
                <a:solidFill>
                  <a:schemeClr val="tx2"/>
                </a:solidFill>
              </a:defRPr>
            </a:lvl1pPr>
          </a:lstStyle>
          <a:p>
            <a:endParaRPr lang="en-PK"/>
          </a:p>
        </p:txBody>
      </p:sp>
      <p:sp>
        <p:nvSpPr>
          <p:cNvPr id="6" name="Slide Number Placeholder 5"/>
          <p:cNvSpPr>
            <a:spLocks noGrp="1"/>
          </p:cNvSpPr>
          <p:nvPr>
            <p:ph type="sldNum" sz="quarter" idx="12"/>
          </p:nvPr>
        </p:nvSpPr>
        <p:spPr>
          <a:xfrm>
            <a:off x="9830683" y="6453386"/>
            <a:ext cx="1596292" cy="404614"/>
          </a:xfrm>
        </p:spPr>
        <p:txBody>
          <a:bodyPr/>
          <a:lstStyle>
            <a:lvl1pPr>
              <a:defRPr>
                <a:solidFill>
                  <a:schemeClr val="tx2"/>
                </a:solidFill>
              </a:defRPr>
            </a:lvl1pPr>
          </a:lstStyle>
          <a:p>
            <a:fld id="{BE973FF8-CBCF-A245-A7F0-FB5C1559B95A}" type="slidenum">
              <a:rPr lang="en-PK" smtClean="0"/>
              <a:t>‹#›</a:t>
            </a:fld>
            <a:endParaRPr lang="en-PK"/>
          </a:p>
        </p:txBody>
      </p:sp>
      <p:sp>
        <p:nvSpPr>
          <p:cNvPr id="7" name="Freeform 6" title="Crop Mark"/>
          <p:cNvSpPr/>
          <p:nvPr/>
        </p:nvSpPr>
        <p:spPr bwMode="auto">
          <a:xfrm>
            <a:off x="8151962" y="1685652"/>
            <a:ext cx="3275013" cy="4408488"/>
          </a:xfrm>
          <a:custGeom>
            <a:avLst/>
            <a:gdLst/>
            <a:ahLst/>
            <a:cxnLst/>
            <a:rect l="0" t="0" r="r" b="b"/>
            <a:pathLst>
              <a:path w="4125" h="5554">
                <a:moveTo>
                  <a:pt x="3614" y="0"/>
                </a:moveTo>
                <a:lnTo>
                  <a:pt x="4125" y="0"/>
                </a:lnTo>
                <a:lnTo>
                  <a:pt x="4125" y="5554"/>
                </a:lnTo>
                <a:lnTo>
                  <a:pt x="0" y="5554"/>
                </a:lnTo>
                <a:lnTo>
                  <a:pt x="0" y="5074"/>
                </a:lnTo>
                <a:lnTo>
                  <a:pt x="3614" y="5074"/>
                </a:lnTo>
                <a:lnTo>
                  <a:pt x="3614" y="0"/>
                </a:lnTo>
                <a:close/>
              </a:path>
            </a:pathLst>
          </a:custGeom>
          <a:solidFill>
            <a:schemeClr val="tx2"/>
          </a:solidFill>
          <a:ln w="0">
            <a:noFill/>
            <a:prstDash val="solid"/>
            <a:round/>
            <a:headEnd/>
            <a:tailEnd/>
          </a:ln>
        </p:spPr>
      </p:sp>
    </p:spTree>
    <p:extLst>
      <p:ext uri="{BB962C8B-B14F-4D97-AF65-F5344CB8AC3E}">
        <p14:creationId xmlns:p14="http://schemas.microsoft.com/office/powerpoint/2010/main" val="3321067445"/>
      </p:ext>
    </p:extLst>
  </p:cSld>
  <p:clrMapOvr>
    <a:overrideClrMapping bg1="dk1" tx1="lt1" bg2="dk2" tx2="lt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70FF00A3-EBF2-41AE-9447-63778887C3F1}"/>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AU"/>
          </a:p>
        </p:txBody>
      </p:sp>
      <p:sp>
        <p:nvSpPr>
          <p:cNvPr id="3" name="Vertical Text Placeholder 2">
            <a:extLst>
              <a:ext uri="{FF2B5EF4-FFF2-40B4-BE49-F238E27FC236}">
                <a16:creationId xmlns:a16="http://schemas.microsoft.com/office/drawing/2014/main" id="{F2D6E91C-627E-47AE-93D3-BB38C03F6F64}"/>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C7DCEE7C-5DD1-4CCA-99DC-1964560C5F93}"/>
              </a:ext>
            </a:extLst>
          </p:cNvPr>
          <p:cNvSpPr>
            <a:spLocks noGrp="1"/>
          </p:cNvSpPr>
          <p:nvPr>
            <p:ph type="dt" sz="half" idx="10"/>
          </p:nvPr>
        </p:nvSpPr>
        <p:spPr/>
        <p:txBody>
          <a:bodyPr/>
          <a:lstStyle/>
          <a:p>
            <a:fld id="{5D5C2ED1-818F-428B-AA1F-FB88BD4673B7}" type="datetime1">
              <a:rPr lang="en-AU" smtClean="0"/>
              <a:t>9/12/2024</a:t>
            </a:fld>
            <a:endParaRPr lang="en-AU"/>
          </a:p>
        </p:txBody>
      </p:sp>
      <p:sp>
        <p:nvSpPr>
          <p:cNvPr id="5" name="Footer Placeholder 4">
            <a:extLst>
              <a:ext uri="{FF2B5EF4-FFF2-40B4-BE49-F238E27FC236}">
                <a16:creationId xmlns:a16="http://schemas.microsoft.com/office/drawing/2014/main" id="{D4F0FB91-FBBF-4B10-B795-AA96D4933CD8}"/>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FD9284E9-06F2-473F-8E0E-6CB2BD197566}"/>
              </a:ext>
            </a:extLst>
          </p:cNvPr>
          <p:cNvSpPr>
            <a:spLocks noGrp="1"/>
          </p:cNvSpPr>
          <p:nvPr>
            <p:ph type="sldNum" sz="quarter" idx="12"/>
          </p:nvPr>
        </p:nvSpPr>
        <p:spPr/>
        <p:txBody>
          <a:bodyPr/>
          <a:lstStyle/>
          <a:p>
            <a:fld id="{33ECF85F-2FE6-4C40-9C0D-695BD934DCA6}" type="slidenum">
              <a:rPr lang="en-AU" smtClean="0"/>
              <a:t>‹#›</a:t>
            </a:fld>
            <a:endParaRPr lang="en-AU"/>
          </a:p>
        </p:txBody>
      </p:sp>
    </p:spTree>
    <p:extLst>
      <p:ext uri="{BB962C8B-B14F-4D97-AF65-F5344CB8AC3E}">
        <p14:creationId xmlns:p14="http://schemas.microsoft.com/office/powerpoint/2010/main" val="2693198680"/>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endParaRPr lang="en-US" dirty="0"/>
          </a:p>
        </p:txBody>
      </p:sp>
      <p:sp>
        <p:nvSpPr>
          <p:cNvPr id="3" name="Content Placeholder 2"/>
          <p:cNvSpPr>
            <a:spLocks noGrp="1"/>
          </p:cNvSpPr>
          <p:nvPr>
            <p:ph sz="half" idx="1"/>
          </p:nvPr>
        </p:nvSpPr>
        <p:spPr>
          <a:xfrm>
            <a:off x="1371600" y="2285999"/>
            <a:ext cx="4447786" cy="3581401"/>
          </a:xfrm>
        </p:spPr>
        <p:txBody>
          <a:bodyPr/>
          <a:lstStyle>
            <a:lvl1pPr>
              <a:defRPr baseline="0">
                <a:solidFill>
                  <a:schemeClr val="tx2"/>
                </a:solidFill>
              </a:defRPr>
            </a:lvl1pPr>
            <a:lvl2pPr>
              <a:defRPr baseline="0">
                <a:solidFill>
                  <a:schemeClr val="tx2"/>
                </a:solidFill>
              </a:defRPr>
            </a:lvl2pPr>
            <a:lvl3pPr>
              <a:defRPr baseline="0">
                <a:solidFill>
                  <a:schemeClr val="tx2"/>
                </a:solidFill>
              </a:defRPr>
            </a:lvl3pPr>
            <a:lvl4pPr>
              <a:defRPr baseline="0">
                <a:solidFill>
                  <a:schemeClr val="tx2"/>
                </a:solidFill>
              </a:defRPr>
            </a:lvl4pPr>
            <a:lvl5pPr>
              <a:defRPr baseline="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525403" y="2285999"/>
            <a:ext cx="4447786" cy="3581401"/>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7A7C2B39-40D3-4F48-860E-C9B6D08886CB}" type="datetimeFigureOut">
              <a:rPr lang="en-PK" smtClean="0"/>
              <a:t>12/09/2024</a:t>
            </a:fld>
            <a:endParaRPr lang="en-PK"/>
          </a:p>
        </p:txBody>
      </p:sp>
      <p:sp>
        <p:nvSpPr>
          <p:cNvPr id="6" name="Footer Placeholder 5"/>
          <p:cNvSpPr>
            <a:spLocks noGrp="1"/>
          </p:cNvSpPr>
          <p:nvPr>
            <p:ph type="ftr" sz="quarter" idx="11"/>
          </p:nvPr>
        </p:nvSpPr>
        <p:spPr/>
        <p:txBody>
          <a:bodyPr/>
          <a:lstStyle/>
          <a:p>
            <a:endParaRPr lang="en-PK"/>
          </a:p>
        </p:txBody>
      </p:sp>
      <p:sp>
        <p:nvSpPr>
          <p:cNvPr id="7" name="Slide Number Placeholder 6"/>
          <p:cNvSpPr>
            <a:spLocks noGrp="1"/>
          </p:cNvSpPr>
          <p:nvPr>
            <p:ph type="sldNum" sz="quarter" idx="12"/>
          </p:nvPr>
        </p:nvSpPr>
        <p:spPr/>
        <p:txBody>
          <a:bodyPr/>
          <a:lstStyle/>
          <a:p>
            <a:fld id="{BE973FF8-CBCF-A245-A7F0-FB5C1559B95A}" type="slidenum">
              <a:rPr lang="en-PK" smtClean="0"/>
              <a:t>‹#›</a:t>
            </a:fld>
            <a:endParaRPr lang="en-PK"/>
          </a:p>
        </p:txBody>
      </p:sp>
    </p:spTree>
    <p:extLst>
      <p:ext uri="{BB962C8B-B14F-4D97-AF65-F5344CB8AC3E}">
        <p14:creationId xmlns:p14="http://schemas.microsoft.com/office/powerpoint/2010/main" val="1001596095"/>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371600" y="685800"/>
            <a:ext cx="9601200" cy="1485900"/>
          </a:xfrm>
        </p:spPr>
        <p:txBody>
          <a:bodyPr/>
          <a:lstStyle>
            <a:lvl1pPr>
              <a:defRPr>
                <a:solidFill>
                  <a:schemeClr val="tx2"/>
                </a:solidFill>
              </a:defRPr>
            </a:lvl1pPr>
          </a:lstStyle>
          <a:p>
            <a:r>
              <a:rPr lang="en-US"/>
              <a:t>Click to edit Master title style</a:t>
            </a:r>
            <a:endParaRPr lang="en-US" dirty="0"/>
          </a:p>
        </p:txBody>
      </p:sp>
      <p:sp>
        <p:nvSpPr>
          <p:cNvPr id="3" name="Text Placeholder 2"/>
          <p:cNvSpPr>
            <a:spLocks noGrp="1"/>
          </p:cNvSpPr>
          <p:nvPr>
            <p:ph type="body" idx="1"/>
          </p:nvPr>
        </p:nvSpPr>
        <p:spPr>
          <a:xfrm>
            <a:off x="1371600" y="2340864"/>
            <a:ext cx="4443984" cy="823912"/>
          </a:xfrm>
        </p:spPr>
        <p:txBody>
          <a:bodyPr anchor="b">
            <a:noAutofit/>
          </a:bodyPr>
          <a:lstStyle>
            <a:lvl1pPr marL="0" indent="0">
              <a:lnSpc>
                <a:spcPct val="84000"/>
              </a:lnSpc>
              <a:spcBef>
                <a:spcPts val="0"/>
              </a:spcBef>
              <a:spcAft>
                <a:spcPts val="0"/>
              </a:spcAft>
              <a:buNone/>
              <a:defRPr sz="3000" b="0"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371600" y="3305207"/>
            <a:ext cx="4443984" cy="2562193"/>
          </a:xfrm>
        </p:spPr>
        <p:txBody>
          <a:bodyPr/>
          <a:lstStyle>
            <a:lvl1pPr>
              <a:defRPr baseline="0">
                <a:solidFill>
                  <a:schemeClr val="tx2"/>
                </a:solidFill>
              </a:defRPr>
            </a:lvl1pPr>
            <a:lvl2pPr>
              <a:defRPr baseline="0">
                <a:solidFill>
                  <a:schemeClr val="tx2"/>
                </a:solidFill>
              </a:defRPr>
            </a:lvl2pPr>
            <a:lvl3pPr>
              <a:defRPr baseline="0">
                <a:solidFill>
                  <a:schemeClr val="tx2"/>
                </a:solidFill>
              </a:defRPr>
            </a:lvl3pPr>
            <a:lvl4pPr>
              <a:defRPr baseline="0">
                <a:solidFill>
                  <a:schemeClr val="tx2"/>
                </a:solidFill>
              </a:defRPr>
            </a:lvl4pPr>
            <a:lvl5pPr>
              <a:defRPr baseline="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525014" y="2340864"/>
            <a:ext cx="4443984" cy="823912"/>
          </a:xfrm>
        </p:spPr>
        <p:txBody>
          <a:bodyPr anchor="b">
            <a:noAutofit/>
          </a:bodyPr>
          <a:lstStyle>
            <a:lvl1pPr marL="0" indent="0">
              <a:lnSpc>
                <a:spcPct val="84000"/>
              </a:lnSpc>
              <a:spcBef>
                <a:spcPts val="0"/>
              </a:spcBef>
              <a:spcAft>
                <a:spcPts val="0"/>
              </a:spcAft>
              <a:buNone/>
              <a:defRPr sz="3000" b="0"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525014" y="3305207"/>
            <a:ext cx="4443984" cy="2562193"/>
          </a:xfrm>
        </p:spPr>
        <p:txBody>
          <a:bodyPr/>
          <a:lstStyle>
            <a:lvl1pPr>
              <a:defRPr baseline="0">
                <a:solidFill>
                  <a:schemeClr val="tx2"/>
                </a:solidFill>
              </a:defRPr>
            </a:lvl1pPr>
            <a:lvl2pPr>
              <a:defRPr baseline="0">
                <a:solidFill>
                  <a:schemeClr val="tx2"/>
                </a:solidFill>
              </a:defRPr>
            </a:lvl2pPr>
            <a:lvl3pPr>
              <a:defRPr baseline="0">
                <a:solidFill>
                  <a:schemeClr val="tx2"/>
                </a:solidFill>
              </a:defRPr>
            </a:lvl3pPr>
            <a:lvl4pPr>
              <a:defRPr baseline="0">
                <a:solidFill>
                  <a:schemeClr val="tx2"/>
                </a:solidFill>
              </a:defRPr>
            </a:lvl4pPr>
            <a:lvl5pPr>
              <a:defRPr baseline="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7A7C2B39-40D3-4F48-860E-C9B6D08886CB}" type="datetimeFigureOut">
              <a:rPr lang="en-PK" smtClean="0"/>
              <a:t>12/09/2024</a:t>
            </a:fld>
            <a:endParaRPr lang="en-PK"/>
          </a:p>
        </p:txBody>
      </p:sp>
      <p:sp>
        <p:nvSpPr>
          <p:cNvPr id="8" name="Footer Placeholder 7"/>
          <p:cNvSpPr>
            <a:spLocks noGrp="1"/>
          </p:cNvSpPr>
          <p:nvPr>
            <p:ph type="ftr" sz="quarter" idx="11"/>
          </p:nvPr>
        </p:nvSpPr>
        <p:spPr/>
        <p:txBody>
          <a:bodyPr/>
          <a:lstStyle/>
          <a:p>
            <a:endParaRPr lang="en-PK"/>
          </a:p>
        </p:txBody>
      </p:sp>
      <p:sp>
        <p:nvSpPr>
          <p:cNvPr id="9" name="Slide Number Placeholder 8"/>
          <p:cNvSpPr>
            <a:spLocks noGrp="1"/>
          </p:cNvSpPr>
          <p:nvPr>
            <p:ph type="sldNum" sz="quarter" idx="12"/>
          </p:nvPr>
        </p:nvSpPr>
        <p:spPr/>
        <p:txBody>
          <a:bodyPr/>
          <a:lstStyle/>
          <a:p>
            <a:fld id="{BE973FF8-CBCF-A245-A7F0-FB5C1559B95A}" type="slidenum">
              <a:rPr lang="en-PK" smtClean="0"/>
              <a:t>‹#›</a:t>
            </a:fld>
            <a:endParaRPr lang="en-PK"/>
          </a:p>
        </p:txBody>
      </p:sp>
    </p:spTree>
    <p:extLst>
      <p:ext uri="{BB962C8B-B14F-4D97-AF65-F5344CB8AC3E}">
        <p14:creationId xmlns:p14="http://schemas.microsoft.com/office/powerpoint/2010/main" val="3359287402"/>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7A7C2B39-40D3-4F48-860E-C9B6D08886CB}" type="datetimeFigureOut">
              <a:rPr lang="en-PK" smtClean="0"/>
              <a:t>12/09/2024</a:t>
            </a:fld>
            <a:endParaRPr lang="en-PK"/>
          </a:p>
        </p:txBody>
      </p:sp>
      <p:sp>
        <p:nvSpPr>
          <p:cNvPr id="4" name="Footer Placeholder 3"/>
          <p:cNvSpPr>
            <a:spLocks noGrp="1"/>
          </p:cNvSpPr>
          <p:nvPr>
            <p:ph type="ftr" sz="quarter" idx="11"/>
          </p:nvPr>
        </p:nvSpPr>
        <p:spPr/>
        <p:txBody>
          <a:bodyPr/>
          <a:lstStyle/>
          <a:p>
            <a:endParaRPr lang="en-PK"/>
          </a:p>
        </p:txBody>
      </p:sp>
      <p:sp>
        <p:nvSpPr>
          <p:cNvPr id="5" name="Slide Number Placeholder 4"/>
          <p:cNvSpPr>
            <a:spLocks noGrp="1"/>
          </p:cNvSpPr>
          <p:nvPr>
            <p:ph type="sldNum" sz="quarter" idx="12"/>
          </p:nvPr>
        </p:nvSpPr>
        <p:spPr/>
        <p:txBody>
          <a:bodyPr/>
          <a:lstStyle/>
          <a:p>
            <a:fld id="{BE973FF8-CBCF-A245-A7F0-FB5C1559B95A}" type="slidenum">
              <a:rPr lang="en-PK" smtClean="0"/>
              <a:t>‹#›</a:t>
            </a:fld>
            <a:endParaRPr lang="en-PK"/>
          </a:p>
        </p:txBody>
      </p:sp>
    </p:spTree>
    <p:extLst>
      <p:ext uri="{BB962C8B-B14F-4D97-AF65-F5344CB8AC3E}">
        <p14:creationId xmlns:p14="http://schemas.microsoft.com/office/powerpoint/2010/main" val="1095427674"/>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A7C2B39-40D3-4F48-860E-C9B6D08886CB}" type="datetimeFigureOut">
              <a:rPr lang="en-PK" smtClean="0"/>
              <a:t>12/09/2024</a:t>
            </a:fld>
            <a:endParaRPr lang="en-PK"/>
          </a:p>
        </p:txBody>
      </p:sp>
      <p:sp>
        <p:nvSpPr>
          <p:cNvPr id="3" name="Footer Placeholder 2"/>
          <p:cNvSpPr>
            <a:spLocks noGrp="1"/>
          </p:cNvSpPr>
          <p:nvPr>
            <p:ph type="ftr" sz="quarter" idx="11"/>
          </p:nvPr>
        </p:nvSpPr>
        <p:spPr/>
        <p:txBody>
          <a:bodyPr/>
          <a:lstStyle/>
          <a:p>
            <a:endParaRPr lang="en-PK"/>
          </a:p>
        </p:txBody>
      </p:sp>
      <p:sp>
        <p:nvSpPr>
          <p:cNvPr id="4" name="Slide Number Placeholder 3"/>
          <p:cNvSpPr>
            <a:spLocks noGrp="1"/>
          </p:cNvSpPr>
          <p:nvPr>
            <p:ph type="sldNum" sz="quarter" idx="12"/>
          </p:nvPr>
        </p:nvSpPr>
        <p:spPr/>
        <p:txBody>
          <a:bodyPr/>
          <a:lstStyle/>
          <a:p>
            <a:fld id="{BE973FF8-CBCF-A245-A7F0-FB5C1559B95A}" type="slidenum">
              <a:rPr lang="en-PK" smtClean="0"/>
              <a:t>‹#›</a:t>
            </a:fld>
            <a:endParaRPr lang="en-PK"/>
          </a:p>
        </p:txBody>
      </p:sp>
    </p:spTree>
    <p:extLst>
      <p:ext uri="{BB962C8B-B14F-4D97-AF65-F5344CB8AC3E}">
        <p14:creationId xmlns:p14="http://schemas.microsoft.com/office/powerpoint/2010/main" val="1596709357"/>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8" name="Rectangle 7" title="Background Shape"/>
          <p:cNvSpPr/>
          <p:nvPr/>
        </p:nvSpPr>
        <p:spPr>
          <a:xfrm>
            <a:off x="0" y="376"/>
            <a:ext cx="5303520" cy="685762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723900" y="685800"/>
            <a:ext cx="3855720" cy="2157884"/>
          </a:xfrm>
        </p:spPr>
        <p:txBody>
          <a:bodyPr anchor="t">
            <a:noAutofit/>
          </a:bodyPr>
          <a:lstStyle>
            <a:lvl1pPr>
              <a:lnSpc>
                <a:spcPct val="84000"/>
              </a:lnSpc>
              <a:defRPr sz="4800" baseline="0">
                <a:solidFill>
                  <a:schemeClr val="tx2"/>
                </a:solidFill>
              </a:defRPr>
            </a:lvl1pPr>
          </a:lstStyle>
          <a:p>
            <a:r>
              <a:rPr lang="en-US"/>
              <a:t>Click to edit Master title style</a:t>
            </a:r>
            <a:endParaRPr lang="en-US" dirty="0"/>
          </a:p>
        </p:txBody>
      </p:sp>
      <p:sp>
        <p:nvSpPr>
          <p:cNvPr id="3" name="Content Placeholder 2"/>
          <p:cNvSpPr>
            <a:spLocks noGrp="1"/>
          </p:cNvSpPr>
          <p:nvPr>
            <p:ph idx="1"/>
          </p:nvPr>
        </p:nvSpPr>
        <p:spPr>
          <a:xfrm>
            <a:off x="6256020" y="685801"/>
            <a:ext cx="5212080" cy="5175250"/>
          </a:xfrm>
        </p:spPr>
        <p:txBody>
          <a:bodyPr/>
          <a:lstStyle>
            <a:lvl1pPr>
              <a:defRPr sz="2000"/>
            </a:lvl1pPr>
            <a:lvl2pPr>
              <a:defRPr sz="2000"/>
            </a:lvl2pPr>
            <a:lvl3pPr>
              <a:defRPr sz="1800"/>
            </a:lvl3pPr>
            <a:lvl4pPr>
              <a:defRPr sz="18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723900" y="2856344"/>
            <a:ext cx="3855720" cy="3011056"/>
          </a:xfrm>
        </p:spPr>
        <p:txBody>
          <a:bodyPr/>
          <a:lstStyle>
            <a:lvl1pPr marL="0" indent="0">
              <a:lnSpc>
                <a:spcPct val="113000"/>
              </a:lnSpc>
              <a:spcBef>
                <a:spcPts val="0"/>
              </a:spcBef>
              <a:spcAft>
                <a:spcPts val="1500"/>
              </a:spcAft>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a:xfrm>
            <a:off x="723900" y="6453386"/>
            <a:ext cx="1204572" cy="404614"/>
          </a:xfrm>
        </p:spPr>
        <p:txBody>
          <a:bodyPr/>
          <a:lstStyle>
            <a:lvl1pPr>
              <a:defRPr>
                <a:solidFill>
                  <a:schemeClr val="tx2"/>
                </a:solidFill>
              </a:defRPr>
            </a:lvl1pPr>
          </a:lstStyle>
          <a:p>
            <a:fld id="{7A7C2B39-40D3-4F48-860E-C9B6D08886CB}" type="datetimeFigureOut">
              <a:rPr lang="en-PK" smtClean="0"/>
              <a:t>12/09/2024</a:t>
            </a:fld>
            <a:endParaRPr lang="en-PK"/>
          </a:p>
        </p:txBody>
      </p:sp>
      <p:sp>
        <p:nvSpPr>
          <p:cNvPr id="6" name="Footer Placeholder 5"/>
          <p:cNvSpPr>
            <a:spLocks noGrp="1"/>
          </p:cNvSpPr>
          <p:nvPr>
            <p:ph type="ftr" sz="quarter" idx="11"/>
          </p:nvPr>
        </p:nvSpPr>
        <p:spPr>
          <a:xfrm>
            <a:off x="2205945" y="6453386"/>
            <a:ext cx="2373675" cy="404614"/>
          </a:xfrm>
        </p:spPr>
        <p:txBody>
          <a:bodyPr/>
          <a:lstStyle>
            <a:lvl1pPr>
              <a:defRPr>
                <a:solidFill>
                  <a:schemeClr val="tx2"/>
                </a:solidFill>
              </a:defRPr>
            </a:lvl1pPr>
          </a:lstStyle>
          <a:p>
            <a:endParaRPr lang="en-PK"/>
          </a:p>
        </p:txBody>
      </p:sp>
      <p:sp>
        <p:nvSpPr>
          <p:cNvPr id="7" name="Slide Number Placeholder 6"/>
          <p:cNvSpPr>
            <a:spLocks noGrp="1"/>
          </p:cNvSpPr>
          <p:nvPr>
            <p:ph type="sldNum" sz="quarter" idx="12"/>
          </p:nvPr>
        </p:nvSpPr>
        <p:spPr>
          <a:xfrm>
            <a:off x="9883140" y="6453386"/>
            <a:ext cx="1596292" cy="404614"/>
          </a:xfrm>
        </p:spPr>
        <p:txBody>
          <a:bodyPr/>
          <a:lstStyle>
            <a:lvl1pPr>
              <a:defRPr>
                <a:solidFill>
                  <a:schemeClr val="tx2"/>
                </a:solidFill>
              </a:defRPr>
            </a:lvl1pPr>
          </a:lstStyle>
          <a:p>
            <a:fld id="{BE973FF8-CBCF-A245-A7F0-FB5C1559B95A}" type="slidenum">
              <a:rPr lang="en-PK" smtClean="0"/>
              <a:t>‹#›</a:t>
            </a:fld>
            <a:endParaRPr lang="en-PK"/>
          </a:p>
        </p:txBody>
      </p:sp>
      <p:sp>
        <p:nvSpPr>
          <p:cNvPr id="9" name="Rectangle 8" title="Divider Bar"/>
          <p:cNvSpPr/>
          <p:nvPr/>
        </p:nvSpPr>
        <p:spPr>
          <a:xfrm>
            <a:off x="5303520" y="376"/>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sp>
    </p:spTree>
    <p:extLst>
      <p:ext uri="{BB962C8B-B14F-4D97-AF65-F5344CB8AC3E}">
        <p14:creationId xmlns:p14="http://schemas.microsoft.com/office/powerpoint/2010/main" val="119195284"/>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8" name="Rectangle 7" title="Background Shape"/>
          <p:cNvSpPr/>
          <p:nvPr/>
        </p:nvSpPr>
        <p:spPr>
          <a:xfrm>
            <a:off x="0" y="376"/>
            <a:ext cx="5303520" cy="685762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723900" y="685800"/>
            <a:ext cx="3855720" cy="2157884"/>
          </a:xfrm>
        </p:spPr>
        <p:txBody>
          <a:bodyPr anchor="t">
            <a:normAutofit/>
          </a:bodyPr>
          <a:lstStyle>
            <a:lvl1pPr>
              <a:lnSpc>
                <a:spcPct val="84000"/>
              </a:lnSpc>
              <a:defRPr sz="4800" baseline="0"/>
            </a:lvl1pPr>
          </a:lstStyle>
          <a:p>
            <a:r>
              <a:rPr lang="en-US"/>
              <a:t>Click to edit Master title style</a:t>
            </a:r>
            <a:endParaRPr lang="en-US" dirty="0"/>
          </a:p>
        </p:txBody>
      </p:sp>
      <p:sp>
        <p:nvSpPr>
          <p:cNvPr id="3" name="Picture Placeholder 2"/>
          <p:cNvSpPr>
            <a:spLocks noGrp="1" noChangeAspect="1"/>
          </p:cNvSpPr>
          <p:nvPr>
            <p:ph type="pic" idx="1"/>
          </p:nvPr>
        </p:nvSpPr>
        <p:spPr>
          <a:xfrm>
            <a:off x="5532120" y="0"/>
            <a:ext cx="6659880" cy="6857999"/>
          </a:xfrm>
        </p:spPr>
        <p:txBody>
          <a:bodyPr anchor="t">
            <a:normAutofit/>
          </a:bodyPr>
          <a:lstStyle>
            <a:lvl1pPr marL="0" indent="0">
              <a:buNone/>
              <a:defRPr sz="2000"/>
            </a:lvl1pPr>
            <a:lvl2pPr marL="457200" indent="0">
              <a:buNone/>
              <a:defRPr sz="2000"/>
            </a:lvl2pPr>
            <a:lvl3pPr marL="914400" indent="0">
              <a:buNone/>
              <a:defRPr sz="20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723900" y="2855968"/>
            <a:ext cx="3855720" cy="3011432"/>
          </a:xfrm>
        </p:spPr>
        <p:txBody>
          <a:bodyPr/>
          <a:lstStyle>
            <a:lvl1pPr marL="0" indent="0">
              <a:lnSpc>
                <a:spcPct val="113000"/>
              </a:lnSpc>
              <a:spcBef>
                <a:spcPts val="0"/>
              </a:spcBef>
              <a:spcAft>
                <a:spcPts val="1500"/>
              </a:spcAft>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a:xfrm>
            <a:off x="723900" y="6453386"/>
            <a:ext cx="1204572" cy="404614"/>
          </a:xfrm>
        </p:spPr>
        <p:txBody>
          <a:bodyPr/>
          <a:lstStyle>
            <a:lvl1pPr>
              <a:defRPr>
                <a:solidFill>
                  <a:schemeClr val="tx2"/>
                </a:solidFill>
              </a:defRPr>
            </a:lvl1pPr>
          </a:lstStyle>
          <a:p>
            <a:fld id="{7A7C2B39-40D3-4F48-860E-C9B6D08886CB}" type="datetimeFigureOut">
              <a:rPr lang="en-PK" smtClean="0"/>
              <a:t>12/09/2024</a:t>
            </a:fld>
            <a:endParaRPr lang="en-PK"/>
          </a:p>
        </p:txBody>
      </p:sp>
      <p:sp>
        <p:nvSpPr>
          <p:cNvPr id="6" name="Footer Placeholder 5"/>
          <p:cNvSpPr>
            <a:spLocks noGrp="1"/>
          </p:cNvSpPr>
          <p:nvPr>
            <p:ph type="ftr" sz="quarter" idx="11"/>
          </p:nvPr>
        </p:nvSpPr>
        <p:spPr>
          <a:xfrm>
            <a:off x="2205945" y="6453386"/>
            <a:ext cx="2373675" cy="404614"/>
          </a:xfrm>
        </p:spPr>
        <p:txBody>
          <a:bodyPr/>
          <a:lstStyle>
            <a:lvl1pPr>
              <a:defRPr>
                <a:solidFill>
                  <a:schemeClr val="tx2"/>
                </a:solidFill>
              </a:defRPr>
            </a:lvl1pPr>
          </a:lstStyle>
          <a:p>
            <a:endParaRPr lang="en-PK"/>
          </a:p>
        </p:txBody>
      </p:sp>
      <p:sp>
        <p:nvSpPr>
          <p:cNvPr id="7" name="Slide Number Placeholder 6"/>
          <p:cNvSpPr>
            <a:spLocks noGrp="1"/>
          </p:cNvSpPr>
          <p:nvPr>
            <p:ph type="sldNum" sz="quarter" idx="12"/>
          </p:nvPr>
        </p:nvSpPr>
        <p:spPr>
          <a:xfrm>
            <a:off x="9883140" y="6453386"/>
            <a:ext cx="1596292" cy="404614"/>
          </a:xfrm>
        </p:spPr>
        <p:txBody>
          <a:bodyPr/>
          <a:lstStyle>
            <a:lvl1pPr>
              <a:defRPr>
                <a:solidFill>
                  <a:schemeClr val="tx2"/>
                </a:solidFill>
              </a:defRPr>
            </a:lvl1pPr>
          </a:lstStyle>
          <a:p>
            <a:fld id="{BE973FF8-CBCF-A245-A7F0-FB5C1559B95A}" type="slidenum">
              <a:rPr lang="en-PK" smtClean="0"/>
              <a:t>‹#›</a:t>
            </a:fld>
            <a:endParaRPr lang="en-PK"/>
          </a:p>
        </p:txBody>
      </p:sp>
      <p:sp>
        <p:nvSpPr>
          <p:cNvPr id="9" name="Rectangle 8" title="Divider Bar"/>
          <p:cNvSpPr/>
          <p:nvPr/>
        </p:nvSpPr>
        <p:spPr>
          <a:xfrm>
            <a:off x="5303520" y="376"/>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sp>
    </p:spTree>
    <p:extLst>
      <p:ext uri="{BB962C8B-B14F-4D97-AF65-F5344CB8AC3E}">
        <p14:creationId xmlns:p14="http://schemas.microsoft.com/office/powerpoint/2010/main" val="2041648838"/>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a:xfrm>
            <a:off x="1371600" y="2295525"/>
            <a:ext cx="9601200" cy="35718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7A7C2B39-40D3-4F48-860E-C9B6D08886CB}" type="datetimeFigureOut">
              <a:rPr lang="en-PK" smtClean="0"/>
              <a:t>12/09/2024</a:t>
            </a:fld>
            <a:endParaRPr lang="en-PK"/>
          </a:p>
        </p:txBody>
      </p:sp>
      <p:sp>
        <p:nvSpPr>
          <p:cNvPr id="5" name="Footer Placeholder 4"/>
          <p:cNvSpPr>
            <a:spLocks noGrp="1"/>
          </p:cNvSpPr>
          <p:nvPr>
            <p:ph type="ftr" sz="quarter" idx="11"/>
          </p:nvPr>
        </p:nvSpPr>
        <p:spPr/>
        <p:txBody>
          <a:bodyPr/>
          <a:lstStyle/>
          <a:p>
            <a:endParaRPr lang="en-PK"/>
          </a:p>
        </p:txBody>
      </p:sp>
      <p:sp>
        <p:nvSpPr>
          <p:cNvPr id="6" name="Slide Number Placeholder 5"/>
          <p:cNvSpPr>
            <a:spLocks noGrp="1"/>
          </p:cNvSpPr>
          <p:nvPr>
            <p:ph type="sldNum" sz="quarter" idx="12"/>
          </p:nvPr>
        </p:nvSpPr>
        <p:spPr/>
        <p:txBody>
          <a:bodyPr/>
          <a:lstStyle/>
          <a:p>
            <a:fld id="{BE973FF8-CBCF-A245-A7F0-FB5C1559B95A}" type="slidenum">
              <a:rPr lang="en-PK" smtClean="0"/>
              <a:t>‹#›</a:t>
            </a:fld>
            <a:endParaRPr lang="en-PK"/>
          </a:p>
        </p:txBody>
      </p:sp>
    </p:spTree>
    <p:extLst>
      <p:ext uri="{BB962C8B-B14F-4D97-AF65-F5344CB8AC3E}">
        <p14:creationId xmlns:p14="http://schemas.microsoft.com/office/powerpoint/2010/main" val="330217776"/>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6561" y="624156"/>
            <a:ext cx="1565766" cy="5243244"/>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1371600" y="624156"/>
            <a:ext cx="8179641" cy="5243244"/>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7A7C2B39-40D3-4F48-860E-C9B6D08886CB}" type="datetimeFigureOut">
              <a:rPr lang="en-PK" smtClean="0"/>
              <a:t>12/09/2024</a:t>
            </a:fld>
            <a:endParaRPr lang="en-PK"/>
          </a:p>
        </p:txBody>
      </p:sp>
      <p:sp>
        <p:nvSpPr>
          <p:cNvPr id="5" name="Footer Placeholder 4"/>
          <p:cNvSpPr>
            <a:spLocks noGrp="1"/>
          </p:cNvSpPr>
          <p:nvPr>
            <p:ph type="ftr" sz="quarter" idx="11"/>
          </p:nvPr>
        </p:nvSpPr>
        <p:spPr/>
        <p:txBody>
          <a:bodyPr/>
          <a:lstStyle/>
          <a:p>
            <a:endParaRPr lang="en-PK"/>
          </a:p>
        </p:txBody>
      </p:sp>
      <p:sp>
        <p:nvSpPr>
          <p:cNvPr id="6" name="Slide Number Placeholder 5"/>
          <p:cNvSpPr>
            <a:spLocks noGrp="1"/>
          </p:cNvSpPr>
          <p:nvPr>
            <p:ph type="sldNum" sz="quarter" idx="12"/>
          </p:nvPr>
        </p:nvSpPr>
        <p:spPr/>
        <p:txBody>
          <a:bodyPr/>
          <a:lstStyle/>
          <a:p>
            <a:fld id="{BE973FF8-CBCF-A245-A7F0-FB5C1559B95A}" type="slidenum">
              <a:rPr lang="en-PK" smtClean="0"/>
              <a:t>‹#›</a:t>
            </a:fld>
            <a:endParaRPr lang="en-PK"/>
          </a:p>
        </p:txBody>
      </p:sp>
    </p:spTree>
    <p:extLst>
      <p:ext uri="{BB962C8B-B14F-4D97-AF65-F5344CB8AC3E}">
        <p14:creationId xmlns:p14="http://schemas.microsoft.com/office/powerpoint/2010/main" val="307427241"/>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524608979"/>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extLst>
              <a:ext uri="{28A0092B-C50C-407E-A947-70E740481C1C}">
                <a14:useLocalDpi xmlns:a14="http://schemas.microsoft.com/office/drawing/2010/main"/>
              </a:ext>
            </a:extLst>
          </a:blip>
          <a:srcRect/>
          <a:stretch>
            <a:fillRect t="-3000" b="-3000"/>
          </a:stretch>
        </a:blipFill>
        <a:effectLst/>
      </p:bgPr>
    </p:bg>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52467373-D57C-F842-8976-B87DEFBE83BE}"/>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361533" y="441777"/>
            <a:ext cx="1304260" cy="487680"/>
          </a:xfrm>
          <a:prstGeom prst="rect">
            <a:avLst/>
          </a:prstGeom>
        </p:spPr>
      </p:pic>
      <p:sp>
        <p:nvSpPr>
          <p:cNvPr id="3" name="Text Placeholder 2">
            <a:extLst>
              <a:ext uri="{FF2B5EF4-FFF2-40B4-BE49-F238E27FC236}">
                <a16:creationId xmlns:a16="http://schemas.microsoft.com/office/drawing/2014/main" id="{9D4F144B-74C7-A148-8E87-6034061E0CB6}"/>
              </a:ext>
            </a:extLst>
          </p:cNvPr>
          <p:cNvSpPr>
            <a:spLocks noGrp="1"/>
          </p:cNvSpPr>
          <p:nvPr>
            <p:ph type="body" sz="quarter" idx="10" hasCustomPrompt="1"/>
          </p:nvPr>
        </p:nvSpPr>
        <p:spPr>
          <a:xfrm>
            <a:off x="515938" y="1920394"/>
            <a:ext cx="7964947" cy="234609"/>
          </a:xfrm>
        </p:spPr>
        <p:txBody>
          <a:bodyPr>
            <a:normAutofit/>
          </a:bodyPr>
          <a:lstStyle>
            <a:lvl1pPr>
              <a:defRPr sz="1600" spc="300">
                <a:solidFill>
                  <a:schemeClr val="bg1"/>
                </a:solidFill>
              </a:defRPr>
            </a:lvl1pPr>
          </a:lstStyle>
          <a:p>
            <a:pPr lvl="0"/>
            <a:r>
              <a:rPr lang="en-GB"/>
              <a:t>SUBTITLE GOES HERE: TYPE IN CAPITALS</a:t>
            </a:r>
          </a:p>
        </p:txBody>
      </p:sp>
      <p:sp>
        <p:nvSpPr>
          <p:cNvPr id="9" name="Title 8">
            <a:extLst>
              <a:ext uri="{FF2B5EF4-FFF2-40B4-BE49-F238E27FC236}">
                <a16:creationId xmlns:a16="http://schemas.microsoft.com/office/drawing/2014/main" id="{89FFAF13-E12B-E54E-B2B2-5142A884DB82}"/>
              </a:ext>
            </a:extLst>
          </p:cNvPr>
          <p:cNvSpPr>
            <a:spLocks noGrp="1"/>
          </p:cNvSpPr>
          <p:nvPr>
            <p:ph type="title"/>
          </p:nvPr>
        </p:nvSpPr>
        <p:spPr>
          <a:xfrm>
            <a:off x="521719" y="2605179"/>
            <a:ext cx="11154344" cy="1929036"/>
          </a:xfrm>
        </p:spPr>
        <p:txBody>
          <a:bodyPr>
            <a:normAutofit/>
          </a:bodyPr>
          <a:lstStyle>
            <a:lvl1pPr>
              <a:lnSpc>
                <a:spcPct val="80000"/>
              </a:lnSpc>
              <a:defRPr sz="6600">
                <a:solidFill>
                  <a:schemeClr val="bg1"/>
                </a:solidFill>
              </a:defRPr>
            </a:lvl1pPr>
          </a:lstStyle>
          <a:p>
            <a:r>
              <a:rPr lang="en-US"/>
              <a:t>Click to edit Master title style</a:t>
            </a:r>
            <a:endParaRPr lang="en-GB"/>
          </a:p>
        </p:txBody>
      </p:sp>
      <p:sp>
        <p:nvSpPr>
          <p:cNvPr id="10" name="Text Placeholder 2">
            <a:extLst>
              <a:ext uri="{FF2B5EF4-FFF2-40B4-BE49-F238E27FC236}">
                <a16:creationId xmlns:a16="http://schemas.microsoft.com/office/drawing/2014/main" id="{9878A746-9E85-F24C-AD58-8F45F83396CC}"/>
              </a:ext>
            </a:extLst>
          </p:cNvPr>
          <p:cNvSpPr>
            <a:spLocks noGrp="1"/>
          </p:cNvSpPr>
          <p:nvPr>
            <p:ph type="body" sz="quarter" idx="11" hasCustomPrompt="1"/>
          </p:nvPr>
        </p:nvSpPr>
        <p:spPr>
          <a:xfrm>
            <a:off x="515938" y="6302341"/>
            <a:ext cx="5832475" cy="187359"/>
          </a:xfrm>
        </p:spPr>
        <p:txBody>
          <a:bodyPr anchor="b">
            <a:spAutoFit/>
          </a:bodyPr>
          <a:lstStyle>
            <a:lvl1pPr>
              <a:defRPr sz="1200" spc="0">
                <a:solidFill>
                  <a:schemeClr val="bg1"/>
                </a:solidFill>
              </a:defRPr>
            </a:lvl1pPr>
          </a:lstStyle>
          <a:p>
            <a:pPr lvl="0"/>
            <a:r>
              <a:rPr lang="en-GB"/>
              <a:t>Subtitle goes here</a:t>
            </a:r>
          </a:p>
        </p:txBody>
      </p:sp>
      <p:sp>
        <p:nvSpPr>
          <p:cNvPr id="11" name="Text Placeholder 2">
            <a:extLst>
              <a:ext uri="{FF2B5EF4-FFF2-40B4-BE49-F238E27FC236}">
                <a16:creationId xmlns:a16="http://schemas.microsoft.com/office/drawing/2014/main" id="{7AFD6BA4-8A31-2C45-81C0-67141C06959C}"/>
              </a:ext>
            </a:extLst>
          </p:cNvPr>
          <p:cNvSpPr txBox="1">
            <a:spLocks/>
          </p:cNvSpPr>
          <p:nvPr userDrawn="1"/>
        </p:nvSpPr>
        <p:spPr>
          <a:xfrm>
            <a:off x="10367425" y="6173816"/>
            <a:ext cx="1303626" cy="315884"/>
          </a:xfrm>
          <a:prstGeom prst="rect">
            <a:avLst/>
          </a:prstGeom>
        </p:spPr>
        <p:txBody>
          <a:bodyPr lIns="0" tIns="0" rIns="0" bIns="0" anchor="b"/>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en-GB" sz="1800" b="1">
                <a:solidFill>
                  <a:schemeClr val="bg2"/>
                </a:solidFill>
              </a:rPr>
              <a:t>gavi.org</a:t>
            </a:r>
          </a:p>
        </p:txBody>
      </p:sp>
    </p:spTree>
    <p:extLst>
      <p:ext uri="{BB962C8B-B14F-4D97-AF65-F5344CB8AC3E}">
        <p14:creationId xmlns:p14="http://schemas.microsoft.com/office/powerpoint/2010/main" val="229118726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6_Title and Content">
  <p:cSld name="6_Title and Content">
    <p:spTree>
      <p:nvGrpSpPr>
        <p:cNvPr id="1" name="Shape 27"/>
        <p:cNvGrpSpPr/>
        <p:nvPr/>
      </p:nvGrpSpPr>
      <p:grpSpPr>
        <a:xfrm>
          <a:off x="0" y="0"/>
          <a:ext cx="0" cy="0"/>
          <a:chOff x="0" y="0"/>
          <a:chExt cx="0" cy="0"/>
        </a:xfrm>
      </p:grpSpPr>
      <p:sp>
        <p:nvSpPr>
          <p:cNvPr id="28" name="Google Shape;28;p27"/>
          <p:cNvSpPr txBox="1">
            <a:spLocks noGrp="1"/>
          </p:cNvSpPr>
          <p:nvPr>
            <p:ph type="title"/>
          </p:nvPr>
        </p:nvSpPr>
        <p:spPr>
          <a:xfrm>
            <a:off x="486833" y="294810"/>
            <a:ext cx="10102852" cy="338554"/>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9" name="Google Shape;29;p27"/>
          <p:cNvSpPr txBox="1">
            <a:spLocks noGrp="1"/>
          </p:cNvSpPr>
          <p:nvPr>
            <p:ph type="body" idx="1"/>
          </p:nvPr>
        </p:nvSpPr>
        <p:spPr>
          <a:xfrm>
            <a:off x="486833" y="1196152"/>
            <a:ext cx="11231033" cy="4658549"/>
          </a:xfrm>
          <a:prstGeom prst="rect">
            <a:avLst/>
          </a:prstGeom>
          <a:noFill/>
          <a:ln>
            <a:noFill/>
          </a:ln>
        </p:spPr>
        <p:txBody>
          <a:bodyPr spcFirstLastPara="1" wrap="square" lIns="91425" tIns="45700" rIns="91425" bIns="45700" anchor="t" anchorCtr="0">
            <a:normAutofit/>
          </a:bodyPr>
          <a:lstStyle>
            <a:lvl1pPr marL="457200" lvl="0" indent="-406400" algn="l">
              <a:lnSpc>
                <a:spcPct val="90000"/>
              </a:lnSpc>
              <a:spcBef>
                <a:spcPts val="1000"/>
              </a:spcBef>
              <a:spcAft>
                <a:spcPts val="0"/>
              </a:spcAft>
              <a:buClr>
                <a:schemeClr val="accent1"/>
              </a:buClr>
              <a:buSzPts val="2800"/>
              <a:buFont typeface="Arial"/>
              <a:buChar char="•"/>
              <a:defRPr>
                <a:solidFill>
                  <a:schemeClr val="dk1"/>
                </a:solidFill>
              </a:defRPr>
            </a:lvl1pPr>
            <a:lvl2pPr marL="914400" lvl="1" indent="-381000" algn="l">
              <a:lnSpc>
                <a:spcPct val="90000"/>
              </a:lnSpc>
              <a:spcBef>
                <a:spcPts val="500"/>
              </a:spcBef>
              <a:spcAft>
                <a:spcPts val="0"/>
              </a:spcAft>
              <a:buClr>
                <a:schemeClr val="accent1"/>
              </a:buClr>
              <a:buSzPts val="2400"/>
              <a:buFont typeface="Arial"/>
              <a:buChar char="•"/>
              <a:defRPr>
                <a:solidFill>
                  <a:schemeClr val="dk1"/>
                </a:solidFill>
              </a:defRPr>
            </a:lvl2pPr>
            <a:lvl3pPr marL="1371600" lvl="2" indent="-355600" algn="l">
              <a:lnSpc>
                <a:spcPct val="90000"/>
              </a:lnSpc>
              <a:spcBef>
                <a:spcPts val="500"/>
              </a:spcBef>
              <a:spcAft>
                <a:spcPts val="0"/>
              </a:spcAft>
              <a:buClr>
                <a:schemeClr val="accent1"/>
              </a:buClr>
              <a:buSzPts val="2000"/>
              <a:buFont typeface="Arial"/>
              <a:buChar char="•"/>
              <a:defRPr>
                <a:solidFill>
                  <a:schemeClr val="dk1"/>
                </a:solidFill>
              </a:defRPr>
            </a:lvl3pPr>
            <a:lvl4pPr marL="1828800" lvl="3" indent="-342900" algn="l">
              <a:lnSpc>
                <a:spcPct val="90000"/>
              </a:lnSpc>
              <a:spcBef>
                <a:spcPts val="500"/>
              </a:spcBef>
              <a:spcAft>
                <a:spcPts val="0"/>
              </a:spcAft>
              <a:buClr>
                <a:schemeClr val="accent1"/>
              </a:buClr>
              <a:buSzPts val="1800"/>
              <a:buFont typeface="Arial"/>
              <a:buChar char="•"/>
              <a:defRPr>
                <a:solidFill>
                  <a:schemeClr val="dk1"/>
                </a:solidFill>
              </a:defRPr>
            </a:lvl4pPr>
            <a:lvl5pPr marL="2286000" lvl="4" indent="-342900" algn="l">
              <a:lnSpc>
                <a:spcPct val="90000"/>
              </a:lnSpc>
              <a:spcBef>
                <a:spcPts val="500"/>
              </a:spcBef>
              <a:spcAft>
                <a:spcPts val="0"/>
              </a:spcAft>
              <a:buClr>
                <a:schemeClr val="accent1"/>
              </a:buClr>
              <a:buSzPts val="1800"/>
              <a:buFont typeface="Arial"/>
              <a:buChar char="•"/>
              <a:defRPr>
                <a:solidFill>
                  <a:schemeClr val="dk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0" name="Google Shape;30;p27"/>
          <p:cNvSpPr txBox="1">
            <a:spLocks noGrp="1"/>
          </p:cNvSpPr>
          <p:nvPr>
            <p:ph type="body" idx="2"/>
          </p:nvPr>
        </p:nvSpPr>
        <p:spPr>
          <a:xfrm>
            <a:off x="486832" y="692554"/>
            <a:ext cx="10130368" cy="234950"/>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800"/>
              <a:buNone/>
              <a:defRPr sz="1800"/>
            </a:lvl1pPr>
            <a:lvl2pPr marL="914400" lvl="1" indent="-228600" algn="l">
              <a:lnSpc>
                <a:spcPct val="90000"/>
              </a:lnSpc>
              <a:spcBef>
                <a:spcPts val="500"/>
              </a:spcBef>
              <a:spcAft>
                <a:spcPts val="0"/>
              </a:spcAft>
              <a:buClr>
                <a:schemeClr val="dk1"/>
              </a:buClr>
              <a:buSzPts val="2400"/>
              <a:buNone/>
              <a:defRPr/>
            </a:lvl2pPr>
            <a:lvl3pPr marL="1371600" lvl="2" indent="-228600" algn="l">
              <a:lnSpc>
                <a:spcPct val="90000"/>
              </a:lnSpc>
              <a:spcBef>
                <a:spcPts val="500"/>
              </a:spcBef>
              <a:spcAft>
                <a:spcPts val="0"/>
              </a:spcAft>
              <a:buClr>
                <a:schemeClr val="dk1"/>
              </a:buClr>
              <a:buSzPts val="2000"/>
              <a:buNone/>
              <a:defRPr/>
            </a:lvl3pPr>
            <a:lvl4pPr marL="1828800" lvl="3" indent="-228600" algn="l">
              <a:lnSpc>
                <a:spcPct val="90000"/>
              </a:lnSpc>
              <a:spcBef>
                <a:spcPts val="500"/>
              </a:spcBef>
              <a:spcAft>
                <a:spcPts val="0"/>
              </a:spcAft>
              <a:buClr>
                <a:schemeClr val="dk1"/>
              </a:buClr>
              <a:buSzPts val="1800"/>
              <a:buNone/>
              <a:defRPr/>
            </a:lvl4pPr>
            <a:lvl5pPr marL="2286000" lvl="4" indent="-228600" algn="l">
              <a:lnSpc>
                <a:spcPct val="90000"/>
              </a:lnSpc>
              <a:spcBef>
                <a:spcPts val="500"/>
              </a:spcBef>
              <a:spcAft>
                <a:spcPts val="0"/>
              </a:spcAft>
              <a:buClr>
                <a:schemeClr val="dk1"/>
              </a:buClr>
              <a:buSzPts val="1800"/>
              <a:buNone/>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1" name="Google Shape;31;p27"/>
          <p:cNvSpPr txBox="1">
            <a:spLocks noGrp="1"/>
          </p:cNvSpPr>
          <p:nvPr>
            <p:ph type="dt" idx="10"/>
          </p:nvPr>
        </p:nvSpPr>
        <p:spPr>
          <a:xfrm>
            <a:off x="3980329" y="6437314"/>
            <a:ext cx="421964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sz="800">
                <a:solidFill>
                  <a:srgbClr val="FF0000"/>
                </a:solidFill>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2" name="Google Shape;32;p27"/>
          <p:cNvSpPr txBox="1">
            <a:spLocks noGrp="1"/>
          </p:cNvSpPr>
          <p:nvPr>
            <p:ph type="ftr" idx="11"/>
          </p:nvPr>
        </p:nvSpPr>
        <p:spPr>
          <a:xfrm>
            <a:off x="383158" y="6437314"/>
            <a:ext cx="3515743"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3" name="Google Shape;33;p27"/>
          <p:cNvSpPr txBox="1">
            <a:spLocks noGrp="1"/>
          </p:cNvSpPr>
          <p:nvPr>
            <p:ph type="body" idx="3"/>
          </p:nvPr>
        </p:nvSpPr>
        <p:spPr>
          <a:xfrm>
            <a:off x="492757" y="5994283"/>
            <a:ext cx="11225108" cy="246221"/>
          </a:xfrm>
          <a:prstGeom prst="rect">
            <a:avLst/>
          </a:prstGeom>
          <a:noFill/>
          <a:ln>
            <a:noFill/>
          </a:ln>
        </p:spPr>
        <p:txBody>
          <a:bodyPr spcFirstLastPara="1" wrap="square" lIns="91425" tIns="45700" rIns="91425" bIns="45700" anchor="b" anchorCtr="0">
            <a:spAutoFit/>
          </a:bodyPr>
          <a:lstStyle>
            <a:lvl1pPr marL="457200" lvl="0" indent="-228600" algn="l">
              <a:lnSpc>
                <a:spcPct val="90000"/>
              </a:lnSpc>
              <a:spcBef>
                <a:spcPts val="1000"/>
              </a:spcBef>
              <a:spcAft>
                <a:spcPts val="0"/>
              </a:spcAft>
              <a:buClr>
                <a:schemeClr val="dk1"/>
              </a:buClr>
              <a:buSzPts val="1000"/>
              <a:buNone/>
              <a:defRPr sz="1000"/>
            </a:lvl1pPr>
            <a:lvl2pPr marL="914400" lvl="1" indent="-228600" algn="l">
              <a:lnSpc>
                <a:spcPct val="90000"/>
              </a:lnSpc>
              <a:spcBef>
                <a:spcPts val="500"/>
              </a:spcBef>
              <a:spcAft>
                <a:spcPts val="0"/>
              </a:spcAft>
              <a:buClr>
                <a:schemeClr val="dk1"/>
              </a:buClr>
              <a:buSzPts val="800"/>
              <a:buNone/>
              <a:defRPr sz="800"/>
            </a:lvl2pPr>
            <a:lvl3pPr marL="1371600" lvl="2" indent="-228600" algn="l">
              <a:lnSpc>
                <a:spcPct val="90000"/>
              </a:lnSpc>
              <a:spcBef>
                <a:spcPts val="500"/>
              </a:spcBef>
              <a:spcAft>
                <a:spcPts val="0"/>
              </a:spcAft>
              <a:buClr>
                <a:schemeClr val="dk1"/>
              </a:buClr>
              <a:buSzPts val="800"/>
              <a:buNone/>
              <a:defRPr sz="800"/>
            </a:lvl3pPr>
            <a:lvl4pPr marL="1828800" lvl="3" indent="-228600" algn="l">
              <a:lnSpc>
                <a:spcPct val="90000"/>
              </a:lnSpc>
              <a:spcBef>
                <a:spcPts val="500"/>
              </a:spcBef>
              <a:spcAft>
                <a:spcPts val="0"/>
              </a:spcAft>
              <a:buClr>
                <a:schemeClr val="dk1"/>
              </a:buClr>
              <a:buSzPts val="800"/>
              <a:buNone/>
              <a:defRPr sz="800"/>
            </a:lvl4pPr>
            <a:lvl5pPr marL="2286000" lvl="4" indent="-228600" algn="l">
              <a:lnSpc>
                <a:spcPct val="90000"/>
              </a:lnSpc>
              <a:spcBef>
                <a:spcPts val="500"/>
              </a:spcBef>
              <a:spcAft>
                <a:spcPts val="0"/>
              </a:spcAft>
              <a:buClr>
                <a:schemeClr val="dk1"/>
              </a:buClr>
              <a:buSzPts val="800"/>
              <a:buNone/>
              <a:defRPr sz="800"/>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331894989"/>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 Slide + Image">
    <p:bg>
      <p:bgPr>
        <a:blipFill dpi="0" rotWithShape="1">
          <a:blip r:embed="rId2">
            <a:lum/>
            <a:extLst>
              <a:ext uri="{28A0092B-C50C-407E-A947-70E740481C1C}">
                <a14:useLocalDpi xmlns:a14="http://schemas.microsoft.com/office/drawing/2010/main"/>
              </a:ext>
            </a:extLst>
          </a:blip>
          <a:srcRect/>
          <a:stretch>
            <a:fillRect t="-3000" b="-3000"/>
          </a:stretch>
        </a:blipFill>
        <a:effectLst/>
      </p:bgPr>
    </p:bg>
    <p:spTree>
      <p:nvGrpSpPr>
        <p:cNvPr id="1" name=""/>
        <p:cNvGrpSpPr/>
        <p:nvPr/>
      </p:nvGrpSpPr>
      <p:grpSpPr>
        <a:xfrm>
          <a:off x="0" y="0"/>
          <a:ext cx="0" cy="0"/>
          <a:chOff x="0" y="0"/>
          <a:chExt cx="0" cy="0"/>
        </a:xfrm>
      </p:grpSpPr>
      <p:sp>
        <p:nvSpPr>
          <p:cNvPr id="7" name="Picture Placeholder 14">
            <a:extLst>
              <a:ext uri="{FF2B5EF4-FFF2-40B4-BE49-F238E27FC236}">
                <a16:creationId xmlns:a16="http://schemas.microsoft.com/office/drawing/2014/main" id="{86A756F5-203A-4C4F-9479-348B2905A666}"/>
              </a:ext>
            </a:extLst>
          </p:cNvPr>
          <p:cNvSpPr>
            <a:spLocks noGrp="1"/>
          </p:cNvSpPr>
          <p:nvPr>
            <p:ph type="pic" sz="quarter" idx="18" hasCustomPrompt="1"/>
          </p:nvPr>
        </p:nvSpPr>
        <p:spPr>
          <a:xfrm>
            <a:off x="5501514" y="0"/>
            <a:ext cx="6690486" cy="6858000"/>
          </a:xfrm>
          <a:custGeom>
            <a:avLst/>
            <a:gdLst>
              <a:gd name="connsiteX0" fmla="*/ 0 w 7942912"/>
              <a:gd name="connsiteY0" fmla="*/ 0 h 6858000"/>
              <a:gd name="connsiteX1" fmla="*/ 7942912 w 7942912"/>
              <a:gd name="connsiteY1" fmla="*/ 0 h 6858000"/>
              <a:gd name="connsiteX2" fmla="*/ 7942912 w 7942912"/>
              <a:gd name="connsiteY2" fmla="*/ 6858000 h 6858000"/>
              <a:gd name="connsiteX3" fmla="*/ 704040 w 7942912"/>
              <a:gd name="connsiteY3" fmla="*/ 6858000 h 6858000"/>
              <a:gd name="connsiteX4" fmla="*/ 704040 w 7942912"/>
              <a:gd name="connsiteY4" fmla="*/ 704067 h 6858000"/>
              <a:gd name="connsiteX5" fmla="*/ 141865 w 7942912"/>
              <a:gd name="connsiteY5" fmla="*/ 1430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42912" h="6858000">
                <a:moveTo>
                  <a:pt x="0" y="0"/>
                </a:moveTo>
                <a:lnTo>
                  <a:pt x="7942912" y="0"/>
                </a:lnTo>
                <a:lnTo>
                  <a:pt x="7942912" y="6858000"/>
                </a:lnTo>
                <a:lnTo>
                  <a:pt x="704040" y="6858000"/>
                </a:lnTo>
                <a:lnTo>
                  <a:pt x="704040" y="704067"/>
                </a:lnTo>
                <a:cubicBezTo>
                  <a:pt x="704040" y="363826"/>
                  <a:pt x="462698" y="79953"/>
                  <a:pt x="141865" y="14301"/>
                </a:cubicBezTo>
                <a:close/>
              </a:path>
            </a:pathLst>
          </a:custGeom>
          <a:solidFill>
            <a:schemeClr val="bg1">
              <a:lumMod val="85000"/>
            </a:schemeClr>
          </a:solidFill>
        </p:spPr>
        <p:txBody>
          <a:bodyPr wrap="square" anchor="ctr">
            <a:noAutofit/>
          </a:bodyPr>
          <a:lstStyle>
            <a:lvl1pPr marL="0" indent="0" algn="ctr">
              <a:buNone/>
              <a:defRPr sz="1600">
                <a:solidFill>
                  <a:schemeClr val="bg1">
                    <a:lumMod val="50000"/>
                  </a:schemeClr>
                </a:solidFill>
              </a:defRPr>
            </a:lvl1pPr>
          </a:lstStyle>
          <a:p>
            <a:r>
              <a:rPr lang="en-GB"/>
              <a:t>Click icon to insert picture</a:t>
            </a:r>
          </a:p>
        </p:txBody>
      </p:sp>
      <p:sp>
        <p:nvSpPr>
          <p:cNvPr id="3" name="Text Placeholder 2">
            <a:extLst>
              <a:ext uri="{FF2B5EF4-FFF2-40B4-BE49-F238E27FC236}">
                <a16:creationId xmlns:a16="http://schemas.microsoft.com/office/drawing/2014/main" id="{9D4F144B-74C7-A148-8E87-6034061E0CB6}"/>
              </a:ext>
            </a:extLst>
          </p:cNvPr>
          <p:cNvSpPr>
            <a:spLocks noGrp="1"/>
          </p:cNvSpPr>
          <p:nvPr>
            <p:ph type="body" sz="quarter" idx="10" hasCustomPrompt="1"/>
          </p:nvPr>
        </p:nvSpPr>
        <p:spPr>
          <a:xfrm>
            <a:off x="515939" y="1700213"/>
            <a:ext cx="4692628" cy="234609"/>
          </a:xfrm>
        </p:spPr>
        <p:txBody>
          <a:bodyPr>
            <a:normAutofit/>
          </a:bodyPr>
          <a:lstStyle>
            <a:lvl1pPr>
              <a:defRPr sz="1400" spc="300">
                <a:solidFill>
                  <a:schemeClr val="bg1"/>
                </a:solidFill>
              </a:defRPr>
            </a:lvl1pPr>
          </a:lstStyle>
          <a:p>
            <a:pPr lvl="0"/>
            <a:r>
              <a:rPr lang="en-GB"/>
              <a:t>SUBTITLE GOES HERE: TYPE IN CAPITALS</a:t>
            </a:r>
          </a:p>
        </p:txBody>
      </p:sp>
      <p:sp>
        <p:nvSpPr>
          <p:cNvPr id="9" name="Title 8">
            <a:extLst>
              <a:ext uri="{FF2B5EF4-FFF2-40B4-BE49-F238E27FC236}">
                <a16:creationId xmlns:a16="http://schemas.microsoft.com/office/drawing/2014/main" id="{89FFAF13-E12B-E54E-B2B2-5142A884DB82}"/>
              </a:ext>
            </a:extLst>
          </p:cNvPr>
          <p:cNvSpPr>
            <a:spLocks noGrp="1"/>
          </p:cNvSpPr>
          <p:nvPr>
            <p:ph type="title"/>
          </p:nvPr>
        </p:nvSpPr>
        <p:spPr>
          <a:xfrm>
            <a:off x="521719" y="2309427"/>
            <a:ext cx="4692628" cy="2518484"/>
          </a:xfrm>
        </p:spPr>
        <p:txBody>
          <a:bodyPr>
            <a:noAutofit/>
          </a:bodyPr>
          <a:lstStyle>
            <a:lvl1pPr>
              <a:lnSpc>
                <a:spcPct val="90000"/>
              </a:lnSpc>
              <a:defRPr sz="6000">
                <a:solidFill>
                  <a:schemeClr val="bg1"/>
                </a:solidFill>
              </a:defRPr>
            </a:lvl1pPr>
          </a:lstStyle>
          <a:p>
            <a:r>
              <a:rPr lang="en-US"/>
              <a:t>Click to edit Master title style</a:t>
            </a:r>
            <a:endParaRPr lang="en-GB"/>
          </a:p>
        </p:txBody>
      </p:sp>
      <p:sp>
        <p:nvSpPr>
          <p:cNvPr id="10" name="Text Placeholder 2">
            <a:extLst>
              <a:ext uri="{FF2B5EF4-FFF2-40B4-BE49-F238E27FC236}">
                <a16:creationId xmlns:a16="http://schemas.microsoft.com/office/drawing/2014/main" id="{9878A746-9E85-F24C-AD58-8F45F83396CC}"/>
              </a:ext>
            </a:extLst>
          </p:cNvPr>
          <p:cNvSpPr>
            <a:spLocks noGrp="1"/>
          </p:cNvSpPr>
          <p:nvPr>
            <p:ph type="body" sz="quarter" idx="11" hasCustomPrompt="1"/>
          </p:nvPr>
        </p:nvSpPr>
        <p:spPr>
          <a:xfrm>
            <a:off x="515939" y="5721999"/>
            <a:ext cx="4692628" cy="187359"/>
          </a:xfrm>
        </p:spPr>
        <p:txBody>
          <a:bodyPr anchor="b">
            <a:spAutoFit/>
          </a:bodyPr>
          <a:lstStyle>
            <a:lvl1pPr>
              <a:defRPr sz="1200" spc="0">
                <a:solidFill>
                  <a:schemeClr val="bg1"/>
                </a:solidFill>
              </a:defRPr>
            </a:lvl1pPr>
          </a:lstStyle>
          <a:p>
            <a:pPr lvl="0"/>
            <a:r>
              <a:rPr lang="en-GB"/>
              <a:t>Subtitle goes here</a:t>
            </a:r>
          </a:p>
        </p:txBody>
      </p:sp>
      <p:sp>
        <p:nvSpPr>
          <p:cNvPr id="11" name="Text Placeholder 2">
            <a:extLst>
              <a:ext uri="{FF2B5EF4-FFF2-40B4-BE49-F238E27FC236}">
                <a16:creationId xmlns:a16="http://schemas.microsoft.com/office/drawing/2014/main" id="{7AFD6BA4-8A31-2C45-81C0-67141C06959C}"/>
              </a:ext>
            </a:extLst>
          </p:cNvPr>
          <p:cNvSpPr txBox="1">
            <a:spLocks/>
          </p:cNvSpPr>
          <p:nvPr userDrawn="1"/>
        </p:nvSpPr>
        <p:spPr>
          <a:xfrm>
            <a:off x="515938" y="6173816"/>
            <a:ext cx="1303626" cy="315884"/>
          </a:xfrm>
          <a:prstGeom prst="rect">
            <a:avLst/>
          </a:prstGeom>
        </p:spPr>
        <p:txBody>
          <a:bodyPr lIns="0" tIns="0" rIns="0" bIns="0" anchor="b"/>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GB" sz="1800" b="1">
                <a:solidFill>
                  <a:schemeClr val="bg2"/>
                </a:solidFill>
              </a:rPr>
              <a:t>gavi.org</a:t>
            </a:r>
          </a:p>
        </p:txBody>
      </p:sp>
      <p:sp>
        <p:nvSpPr>
          <p:cNvPr id="14" name="Text Placeholder 13">
            <a:extLst>
              <a:ext uri="{FF2B5EF4-FFF2-40B4-BE49-F238E27FC236}">
                <a16:creationId xmlns:a16="http://schemas.microsoft.com/office/drawing/2014/main" id="{C10119D7-2EC9-4840-AC33-164E7101833C}"/>
              </a:ext>
            </a:extLst>
          </p:cNvPr>
          <p:cNvSpPr>
            <a:spLocks noGrp="1"/>
          </p:cNvSpPr>
          <p:nvPr>
            <p:ph type="body" sz="quarter" idx="19" hasCustomPrompt="1"/>
          </p:nvPr>
        </p:nvSpPr>
        <p:spPr>
          <a:xfrm>
            <a:off x="10351263" y="443457"/>
            <a:ext cx="1324800" cy="486000"/>
          </a:xfrm>
          <a:blipFill>
            <a:blip r:embed="rId3">
              <a:extLst>
                <a:ext uri="{96DAC541-7B7A-43D3-8B79-37D633B846F1}">
                  <asvg:svgBlip xmlns:asvg="http://schemas.microsoft.com/office/drawing/2016/SVG/main" r:embed="rId4"/>
                </a:ext>
              </a:extLst>
            </a:blip>
            <a:stretch>
              <a:fillRect/>
            </a:stretch>
          </a:blipFill>
        </p:spPr>
        <p:txBody>
          <a:bodyPr/>
          <a:lstStyle/>
          <a:p>
            <a:pPr lvl="0"/>
            <a:r>
              <a:rPr lang="en-GB"/>
              <a:t> </a:t>
            </a:r>
          </a:p>
        </p:txBody>
      </p:sp>
    </p:spTree>
    <p:extLst>
      <p:ext uri="{BB962C8B-B14F-4D97-AF65-F5344CB8AC3E}">
        <p14:creationId xmlns:p14="http://schemas.microsoft.com/office/powerpoint/2010/main" val="3717651266"/>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Section Divider (Text Only)">
    <p:bg>
      <p:bgPr>
        <a:solidFill>
          <a:schemeClr val="tx2">
            <a:lumMod val="75000"/>
          </a:schemeClr>
        </a:solidFill>
        <a:effectLst/>
      </p:bgPr>
    </p:bg>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52467373-D57C-F842-8976-B87DEFBE83B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1777"/>
            <a:ext cx="1304260" cy="487680"/>
          </a:xfrm>
          <a:prstGeom prst="rect">
            <a:avLst/>
          </a:prstGeom>
        </p:spPr>
      </p:pic>
      <p:sp>
        <p:nvSpPr>
          <p:cNvPr id="3" name="Text Placeholder 2">
            <a:extLst>
              <a:ext uri="{FF2B5EF4-FFF2-40B4-BE49-F238E27FC236}">
                <a16:creationId xmlns:a16="http://schemas.microsoft.com/office/drawing/2014/main" id="{9D4F144B-74C7-A148-8E87-6034061E0CB6}"/>
              </a:ext>
            </a:extLst>
          </p:cNvPr>
          <p:cNvSpPr>
            <a:spLocks noGrp="1"/>
          </p:cNvSpPr>
          <p:nvPr>
            <p:ph type="body" sz="quarter" idx="10" hasCustomPrompt="1"/>
          </p:nvPr>
        </p:nvSpPr>
        <p:spPr>
          <a:xfrm>
            <a:off x="515938" y="3185432"/>
            <a:ext cx="6966786" cy="234609"/>
          </a:xfrm>
        </p:spPr>
        <p:txBody>
          <a:bodyPr>
            <a:normAutofit/>
          </a:bodyPr>
          <a:lstStyle>
            <a:lvl1pPr>
              <a:defRPr sz="1600" spc="300">
                <a:solidFill>
                  <a:schemeClr val="bg2">
                    <a:lumMod val="20000"/>
                    <a:lumOff val="80000"/>
                  </a:schemeClr>
                </a:solidFill>
              </a:defRPr>
            </a:lvl1pPr>
          </a:lstStyle>
          <a:p>
            <a:pPr lvl="0"/>
            <a:r>
              <a:rPr lang="en-GB"/>
              <a:t>SUBTITLE GOES HERE: TYPE IN CAPITALS</a:t>
            </a:r>
          </a:p>
        </p:txBody>
      </p:sp>
      <p:sp>
        <p:nvSpPr>
          <p:cNvPr id="9" name="Title 8">
            <a:extLst>
              <a:ext uri="{FF2B5EF4-FFF2-40B4-BE49-F238E27FC236}">
                <a16:creationId xmlns:a16="http://schemas.microsoft.com/office/drawing/2014/main" id="{89FFAF13-E12B-E54E-B2B2-5142A884DB82}"/>
              </a:ext>
            </a:extLst>
          </p:cNvPr>
          <p:cNvSpPr>
            <a:spLocks noGrp="1"/>
          </p:cNvSpPr>
          <p:nvPr>
            <p:ph type="title"/>
          </p:nvPr>
        </p:nvSpPr>
        <p:spPr>
          <a:xfrm>
            <a:off x="521719" y="3666552"/>
            <a:ext cx="11154344" cy="1929036"/>
          </a:xfrm>
        </p:spPr>
        <p:txBody>
          <a:bodyPr>
            <a:normAutofit/>
          </a:bodyPr>
          <a:lstStyle>
            <a:lvl1pPr>
              <a:lnSpc>
                <a:spcPct val="80000"/>
              </a:lnSpc>
              <a:defRPr sz="6600">
                <a:solidFill>
                  <a:schemeClr val="bg1"/>
                </a:solidFill>
              </a:defRPr>
            </a:lvl1pPr>
          </a:lstStyle>
          <a:p>
            <a:r>
              <a:rPr lang="en-US"/>
              <a:t>Click to edit Master title style</a:t>
            </a:r>
            <a:endParaRPr lang="en-GB"/>
          </a:p>
        </p:txBody>
      </p:sp>
      <p:pic>
        <p:nvPicPr>
          <p:cNvPr id="7" name="Picture 6" descr="Shape&#10;&#10;Description automatically generated">
            <a:extLst>
              <a:ext uri="{FF2B5EF4-FFF2-40B4-BE49-F238E27FC236}">
                <a16:creationId xmlns:a16="http://schemas.microsoft.com/office/drawing/2014/main" id="{D2830A3C-7ED1-2741-8ED4-600D60D8DBDA}"/>
              </a:ext>
            </a:extLst>
          </p:cNvPr>
          <p:cNvPicPr>
            <a:picLocks noChangeAspect="1"/>
          </p:cNvPicPr>
          <p:nvPr userDrawn="1"/>
        </p:nvPicPr>
        <p:blipFill>
          <a:blip r:embed="rId4">
            <a:extLst>
              <a:ext uri="{BEBA8EAE-BF5A-486C-A8C5-ECC9F3942E4B}">
                <a14:imgProps xmlns:a14="http://schemas.microsoft.com/office/drawing/2010/main">
                  <a14:imgLayer r:embed="rId5">
                    <a14:imgEffect>
                      <a14:brightnessContrast bright="-20000"/>
                    </a14:imgEffect>
                  </a14:imgLayer>
                </a14:imgProps>
              </a:ext>
            </a:extLst>
          </a:blip>
          <a:stretch>
            <a:fillRect/>
          </a:stretch>
        </p:blipFill>
        <p:spPr>
          <a:xfrm flipH="1">
            <a:off x="0" y="0"/>
            <a:ext cx="5103637" cy="2938921"/>
          </a:xfrm>
          <a:prstGeom prst="rect">
            <a:avLst/>
          </a:prstGeom>
        </p:spPr>
      </p:pic>
      <p:sp>
        <p:nvSpPr>
          <p:cNvPr id="4" name="Text Placeholder 3">
            <a:extLst>
              <a:ext uri="{FF2B5EF4-FFF2-40B4-BE49-F238E27FC236}">
                <a16:creationId xmlns:a16="http://schemas.microsoft.com/office/drawing/2014/main" id="{D1962001-1C91-5E41-8B60-B760F9679B6C}"/>
              </a:ext>
            </a:extLst>
          </p:cNvPr>
          <p:cNvSpPr>
            <a:spLocks noGrp="1"/>
          </p:cNvSpPr>
          <p:nvPr>
            <p:ph type="body" sz="quarter" idx="12" hasCustomPrompt="1"/>
          </p:nvPr>
        </p:nvSpPr>
        <p:spPr>
          <a:xfrm>
            <a:off x="515938" y="441777"/>
            <a:ext cx="2115580" cy="1331912"/>
          </a:xfrm>
        </p:spPr>
        <p:txBody>
          <a:bodyPr>
            <a:normAutofit/>
          </a:bodyPr>
          <a:lstStyle>
            <a:lvl1pPr>
              <a:lnSpc>
                <a:spcPct val="80000"/>
              </a:lnSpc>
              <a:spcAft>
                <a:spcPts val="0"/>
              </a:spcAft>
              <a:defRPr sz="9600" b="1">
                <a:solidFill>
                  <a:schemeClr val="bg1"/>
                </a:solidFill>
              </a:defRPr>
            </a:lvl1pPr>
          </a:lstStyle>
          <a:p>
            <a:pPr lvl="0"/>
            <a:r>
              <a:rPr lang="en-GB"/>
              <a:t>XX</a:t>
            </a:r>
          </a:p>
        </p:txBody>
      </p:sp>
    </p:spTree>
    <p:extLst>
      <p:ext uri="{BB962C8B-B14F-4D97-AF65-F5344CB8AC3E}">
        <p14:creationId xmlns:p14="http://schemas.microsoft.com/office/powerpoint/2010/main" val="3412421808"/>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Section Divider + Number">
    <p:spTree>
      <p:nvGrpSpPr>
        <p:cNvPr id="1" name=""/>
        <p:cNvGrpSpPr/>
        <p:nvPr/>
      </p:nvGrpSpPr>
      <p:grpSpPr>
        <a:xfrm>
          <a:off x="0" y="0"/>
          <a:ext cx="0" cy="0"/>
          <a:chOff x="0" y="0"/>
          <a:chExt cx="0" cy="0"/>
        </a:xfrm>
      </p:grpSpPr>
      <p:pic>
        <p:nvPicPr>
          <p:cNvPr id="10" name="Picture Placeholder 5" descr="A picture containing ray, fish&#10;&#10;Description automatically generated">
            <a:extLst>
              <a:ext uri="{FF2B5EF4-FFF2-40B4-BE49-F238E27FC236}">
                <a16:creationId xmlns:a16="http://schemas.microsoft.com/office/drawing/2014/main" id="{E64479CB-DB0F-9D45-918A-B9BEDD2EC8BD}"/>
              </a:ext>
            </a:extLst>
          </p:cNvPr>
          <p:cNvPicPr>
            <a:picLocks noChangeAspect="1"/>
          </p:cNvPicPr>
          <p:nvPr userDrawn="1"/>
        </p:nvPicPr>
        <p:blipFill rotWithShape="1">
          <a:blip r:embed="rId2">
            <a:extLst>
              <a:ext uri="{28A0092B-C50C-407E-A947-70E740481C1C}">
                <a14:useLocalDpi xmlns:a14="http://schemas.microsoft.com/office/drawing/2010/main"/>
              </a:ext>
            </a:extLst>
          </a:blip>
          <a:srcRect l="31272" r="15376"/>
          <a:stretch/>
        </p:blipFill>
        <p:spPr>
          <a:xfrm>
            <a:off x="-3" y="0"/>
            <a:ext cx="6096001" cy="6858000"/>
          </a:xfrm>
          <a:prstGeom prst="round1Rect">
            <a:avLst>
              <a:gd name="adj" fmla="val 14304"/>
            </a:avLst>
          </a:prstGeom>
        </p:spPr>
      </p:pic>
      <p:sp>
        <p:nvSpPr>
          <p:cNvPr id="6" name="Text Placeholder 29">
            <a:extLst>
              <a:ext uri="{FF2B5EF4-FFF2-40B4-BE49-F238E27FC236}">
                <a16:creationId xmlns:a16="http://schemas.microsoft.com/office/drawing/2014/main" id="{DAB788B4-A63C-D849-B216-E7D266CBBABA}"/>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tx2"/>
                </a:solidFill>
              </a:defRPr>
            </a:lvl1pPr>
          </a:lstStyle>
          <a:p>
            <a:pPr lvl="0"/>
            <a:r>
              <a:rPr lang="en-GB"/>
              <a:t>Section title goes here</a:t>
            </a:r>
          </a:p>
        </p:txBody>
      </p:sp>
      <p:sp>
        <p:nvSpPr>
          <p:cNvPr id="7" name="Text Placeholder 31">
            <a:extLst>
              <a:ext uri="{FF2B5EF4-FFF2-40B4-BE49-F238E27FC236}">
                <a16:creationId xmlns:a16="http://schemas.microsoft.com/office/drawing/2014/main" id="{F314B004-6AB6-8142-919B-E7ECC468456B}"/>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tx2">
                    <a:lumMod val="50000"/>
                  </a:schemeClr>
                </a:solidFill>
              </a:defRPr>
            </a:lvl1pPr>
          </a:lstStyle>
          <a:p>
            <a:pPr lvl="0"/>
            <a:r>
              <a:rPr lang="en-GB"/>
              <a:t>SUBTITLE GOES HERE: TYPE IN CAPITALS</a:t>
            </a:r>
          </a:p>
        </p:txBody>
      </p:sp>
      <p:pic>
        <p:nvPicPr>
          <p:cNvPr id="14" name="Graphic 13">
            <a:extLst>
              <a:ext uri="{FF2B5EF4-FFF2-40B4-BE49-F238E27FC236}">
                <a16:creationId xmlns:a16="http://schemas.microsoft.com/office/drawing/2014/main" id="{85DA45A5-9E96-A540-A7CB-C6C50E73A72E}"/>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361533" y="445558"/>
            <a:ext cx="1304260" cy="480118"/>
          </a:xfrm>
          <a:prstGeom prst="rect">
            <a:avLst/>
          </a:prstGeom>
        </p:spPr>
      </p:pic>
      <p:sp>
        <p:nvSpPr>
          <p:cNvPr id="8" name="Text Placeholder 29">
            <a:extLst>
              <a:ext uri="{FF2B5EF4-FFF2-40B4-BE49-F238E27FC236}">
                <a16:creationId xmlns:a16="http://schemas.microsoft.com/office/drawing/2014/main" id="{BFF0CE34-D1A8-0246-ADEF-5C8D7757129F}"/>
              </a:ext>
            </a:extLst>
          </p:cNvPr>
          <p:cNvSpPr>
            <a:spLocks noGrp="1"/>
          </p:cNvSpPr>
          <p:nvPr>
            <p:ph type="body" sz="quarter" idx="14" hasCustomPrompt="1"/>
          </p:nvPr>
        </p:nvSpPr>
        <p:spPr>
          <a:xfrm>
            <a:off x="515938" y="1963923"/>
            <a:ext cx="5064591" cy="3104603"/>
          </a:xfrm>
        </p:spPr>
        <p:txBody>
          <a:bodyPr>
            <a:noAutofit/>
          </a:bodyPr>
          <a:lstStyle>
            <a:lvl1pPr algn="ctr">
              <a:lnSpc>
                <a:spcPct val="80000"/>
              </a:lnSpc>
              <a:spcAft>
                <a:spcPts val="0"/>
              </a:spcAft>
              <a:defRPr sz="32500" b="1">
                <a:solidFill>
                  <a:schemeClr val="bg1"/>
                </a:solidFill>
              </a:defRPr>
            </a:lvl1pPr>
          </a:lstStyle>
          <a:p>
            <a:pPr lvl="0"/>
            <a:r>
              <a:rPr lang="en-GB"/>
              <a:t>X</a:t>
            </a:r>
          </a:p>
        </p:txBody>
      </p:sp>
    </p:spTree>
    <p:extLst>
      <p:ext uri="{BB962C8B-B14F-4D97-AF65-F5344CB8AC3E}">
        <p14:creationId xmlns:p14="http://schemas.microsoft.com/office/powerpoint/2010/main" val="3802501084"/>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Section Divider + Image">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85DA45A5-9E96-A540-A7CB-C6C50E73A72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5558"/>
            <a:ext cx="1304260" cy="480118"/>
          </a:xfrm>
          <a:prstGeom prst="rect">
            <a:avLst/>
          </a:prstGeom>
        </p:spPr>
      </p:pic>
      <p:sp>
        <p:nvSpPr>
          <p:cNvPr id="9" name="Picture Placeholder 4">
            <a:extLst>
              <a:ext uri="{FF2B5EF4-FFF2-40B4-BE49-F238E27FC236}">
                <a16:creationId xmlns:a16="http://schemas.microsoft.com/office/drawing/2014/main" id="{45CF2AFF-6382-CC47-A9B2-6962575BD2AF}"/>
              </a:ext>
            </a:extLst>
          </p:cNvPr>
          <p:cNvSpPr>
            <a:spLocks noGrp="1"/>
          </p:cNvSpPr>
          <p:nvPr>
            <p:ph type="pic" sz="quarter" idx="10"/>
          </p:nvPr>
        </p:nvSpPr>
        <p:spPr>
          <a:xfrm>
            <a:off x="-2" y="0"/>
            <a:ext cx="6096001" cy="6858000"/>
          </a:xfrm>
          <a:prstGeom prst="round1Rect">
            <a:avLst>
              <a:gd name="adj" fmla="val 14462"/>
            </a:avLst>
          </a:prstGeom>
          <a:solidFill>
            <a:schemeClr val="bg1">
              <a:lumMod val="85000"/>
            </a:schemeClr>
          </a:solidFill>
        </p:spPr>
        <p:txBody>
          <a:bodyPr anchor="ctr">
            <a:normAutofit/>
          </a:bodyPr>
          <a:lstStyle>
            <a:lvl1pPr algn="ctr">
              <a:defRPr sz="1600">
                <a:solidFill>
                  <a:schemeClr val="bg1">
                    <a:lumMod val="50000"/>
                  </a:schemeClr>
                </a:solidFill>
              </a:defRPr>
            </a:lvl1pPr>
          </a:lstStyle>
          <a:p>
            <a:r>
              <a:rPr lang="en-US"/>
              <a:t>Click icon to add picture</a:t>
            </a:r>
            <a:endParaRPr lang="en-GB"/>
          </a:p>
        </p:txBody>
      </p:sp>
      <p:sp>
        <p:nvSpPr>
          <p:cNvPr id="8" name="Text Placeholder 29">
            <a:extLst>
              <a:ext uri="{FF2B5EF4-FFF2-40B4-BE49-F238E27FC236}">
                <a16:creationId xmlns:a16="http://schemas.microsoft.com/office/drawing/2014/main" id="{0061CA4A-3267-0A05-192C-5D4306FFB822}"/>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tx2"/>
                </a:solidFill>
              </a:defRPr>
            </a:lvl1pPr>
          </a:lstStyle>
          <a:p>
            <a:pPr lvl="0"/>
            <a:r>
              <a:rPr lang="en-GB"/>
              <a:t>Section title goes here</a:t>
            </a:r>
          </a:p>
        </p:txBody>
      </p:sp>
      <p:sp>
        <p:nvSpPr>
          <p:cNvPr id="10" name="Text Placeholder 31">
            <a:extLst>
              <a:ext uri="{FF2B5EF4-FFF2-40B4-BE49-F238E27FC236}">
                <a16:creationId xmlns:a16="http://schemas.microsoft.com/office/drawing/2014/main" id="{1A9FCAB2-BA25-DBAB-7A6E-265C863487B9}"/>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tx2">
                    <a:lumMod val="50000"/>
                  </a:schemeClr>
                </a:solidFill>
              </a:defRPr>
            </a:lvl1pPr>
          </a:lstStyle>
          <a:p>
            <a:pPr lvl="0"/>
            <a:r>
              <a:rPr lang="en-GB"/>
              <a:t>SUBTITLE GOES HERE: TYPE IN CAPITALS</a:t>
            </a:r>
          </a:p>
        </p:txBody>
      </p:sp>
    </p:spTree>
    <p:extLst>
      <p:ext uri="{BB962C8B-B14F-4D97-AF65-F5344CB8AC3E}">
        <p14:creationId xmlns:p14="http://schemas.microsoft.com/office/powerpoint/2010/main" val="3769383808"/>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Section Divider + Image A1">
    <p:spTree>
      <p:nvGrpSpPr>
        <p:cNvPr id="1" name=""/>
        <p:cNvGrpSpPr/>
        <p:nvPr/>
      </p:nvGrpSpPr>
      <p:grpSpPr>
        <a:xfrm>
          <a:off x="0" y="0"/>
          <a:ext cx="0" cy="0"/>
          <a:chOff x="0" y="0"/>
          <a:chExt cx="0" cy="0"/>
        </a:xfrm>
      </p:grpSpPr>
      <p:sp>
        <p:nvSpPr>
          <p:cNvPr id="26" name="Picture Placeholder 25">
            <a:extLst>
              <a:ext uri="{FF2B5EF4-FFF2-40B4-BE49-F238E27FC236}">
                <a16:creationId xmlns:a16="http://schemas.microsoft.com/office/drawing/2014/main" id="{2F82B885-0103-7D42-AE00-61FB2FE0C2F4}"/>
              </a:ext>
            </a:extLst>
          </p:cNvPr>
          <p:cNvSpPr>
            <a:spLocks noGrp="1"/>
          </p:cNvSpPr>
          <p:nvPr>
            <p:ph type="pic" sz="quarter" idx="10"/>
          </p:nvPr>
        </p:nvSpPr>
        <p:spPr>
          <a:xfrm>
            <a:off x="-2" y="0"/>
            <a:ext cx="6096001" cy="6858000"/>
          </a:xfrm>
          <a:custGeom>
            <a:avLst/>
            <a:gdLst>
              <a:gd name="connsiteX0" fmla="*/ 3022951 w 6096001"/>
              <a:gd name="connsiteY0" fmla="*/ 1876235 h 6858000"/>
              <a:gd name="connsiteX1" fmla="*/ 2208500 w 6096001"/>
              <a:gd name="connsiteY1" fmla="*/ 2461578 h 6858000"/>
              <a:gd name="connsiteX2" fmla="*/ 2208500 w 6096001"/>
              <a:gd name="connsiteY2" fmla="*/ 2993835 h 6858000"/>
              <a:gd name="connsiteX3" fmla="*/ 2859036 w 6096001"/>
              <a:gd name="connsiteY3" fmla="*/ 2643188 h 6858000"/>
              <a:gd name="connsiteX4" fmla="*/ 2859036 w 6096001"/>
              <a:gd name="connsiteY4" fmla="*/ 4981766 h 6858000"/>
              <a:gd name="connsiteX5" fmla="*/ 3371270 w 6096001"/>
              <a:gd name="connsiteY5" fmla="*/ 4981766 h 6858000"/>
              <a:gd name="connsiteX6" fmla="*/ 3371270 w 6096001"/>
              <a:gd name="connsiteY6" fmla="*/ 1876235 h 6858000"/>
              <a:gd name="connsiteX7" fmla="*/ 0 w 6096001"/>
              <a:gd name="connsiteY7" fmla="*/ 0 h 6858000"/>
              <a:gd name="connsiteX8" fmla="*/ 5214397 w 6096001"/>
              <a:gd name="connsiteY8" fmla="*/ 0 h 6858000"/>
              <a:gd name="connsiteX9" fmla="*/ 6096001 w 6096001"/>
              <a:gd name="connsiteY9" fmla="*/ 881604 h 6858000"/>
              <a:gd name="connsiteX10" fmla="*/ 6096001 w 6096001"/>
              <a:gd name="connsiteY10" fmla="*/ 6858000 h 6858000"/>
              <a:gd name="connsiteX11" fmla="*/ 0 w 6096001"/>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96001" h="6858000">
                <a:moveTo>
                  <a:pt x="3022951" y="1876235"/>
                </a:moveTo>
                <a:cubicBezTo>
                  <a:pt x="2752748" y="2187766"/>
                  <a:pt x="2482545" y="2379155"/>
                  <a:pt x="2208500" y="2461578"/>
                </a:cubicBezTo>
                <a:lnTo>
                  <a:pt x="2208500" y="2993835"/>
                </a:lnTo>
                <a:cubicBezTo>
                  <a:pt x="2426199" y="2942146"/>
                  <a:pt x="2640057" y="2824798"/>
                  <a:pt x="2859036" y="2643188"/>
                </a:cubicBezTo>
                <a:lnTo>
                  <a:pt x="2859036" y="4981766"/>
                </a:lnTo>
                <a:lnTo>
                  <a:pt x="3371270" y="4981766"/>
                </a:lnTo>
                <a:lnTo>
                  <a:pt x="3371270" y="1876235"/>
                </a:ln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tIns="720000">
            <a:noAutofit/>
          </a:bodyPr>
          <a:lstStyle>
            <a:lvl1pPr algn="ctr">
              <a:defRPr sz="1600">
                <a:solidFill>
                  <a:schemeClr val="bg1">
                    <a:lumMod val="50000"/>
                  </a:schemeClr>
                </a:solidFill>
              </a:defRPr>
            </a:lvl1pPr>
          </a:lstStyle>
          <a:p>
            <a:r>
              <a:rPr lang="en-US"/>
              <a:t>Click icon to add picture</a:t>
            </a:r>
            <a:endParaRPr lang="en-GB"/>
          </a:p>
        </p:txBody>
      </p:sp>
      <p:pic>
        <p:nvPicPr>
          <p:cNvPr id="7" name="Graphic 6">
            <a:extLst>
              <a:ext uri="{FF2B5EF4-FFF2-40B4-BE49-F238E27FC236}">
                <a16:creationId xmlns:a16="http://schemas.microsoft.com/office/drawing/2014/main" id="{7986D095-697A-1E47-8E9F-EB12D0E9F60B}"/>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5558"/>
            <a:ext cx="1304260" cy="480118"/>
          </a:xfrm>
          <a:prstGeom prst="rect">
            <a:avLst/>
          </a:prstGeom>
        </p:spPr>
      </p:pic>
      <p:sp>
        <p:nvSpPr>
          <p:cNvPr id="8" name="Text Placeholder 29">
            <a:extLst>
              <a:ext uri="{FF2B5EF4-FFF2-40B4-BE49-F238E27FC236}">
                <a16:creationId xmlns:a16="http://schemas.microsoft.com/office/drawing/2014/main" id="{814918A3-C773-18F8-ADDE-EC691CAF16CC}"/>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tx2"/>
                </a:solidFill>
              </a:defRPr>
            </a:lvl1pPr>
          </a:lstStyle>
          <a:p>
            <a:pPr lvl="0"/>
            <a:r>
              <a:rPr lang="en-GB"/>
              <a:t>Section title goes here</a:t>
            </a:r>
          </a:p>
        </p:txBody>
      </p:sp>
      <p:sp>
        <p:nvSpPr>
          <p:cNvPr id="9" name="Text Placeholder 31">
            <a:extLst>
              <a:ext uri="{FF2B5EF4-FFF2-40B4-BE49-F238E27FC236}">
                <a16:creationId xmlns:a16="http://schemas.microsoft.com/office/drawing/2014/main" id="{B0C1A345-F393-A646-D204-1844335C51EA}"/>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tx2">
                    <a:lumMod val="50000"/>
                  </a:schemeClr>
                </a:solidFill>
              </a:defRPr>
            </a:lvl1pPr>
          </a:lstStyle>
          <a:p>
            <a:pPr lvl="0"/>
            <a:r>
              <a:rPr lang="en-GB"/>
              <a:t>SUBTITLE GOES HERE: TYPE IN CAPITALS</a:t>
            </a:r>
          </a:p>
        </p:txBody>
      </p:sp>
    </p:spTree>
    <p:extLst>
      <p:ext uri="{BB962C8B-B14F-4D97-AF65-F5344CB8AC3E}">
        <p14:creationId xmlns:p14="http://schemas.microsoft.com/office/powerpoint/2010/main" val="2628717900"/>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Section Divider + Image A2">
    <p:spTree>
      <p:nvGrpSpPr>
        <p:cNvPr id="1" name=""/>
        <p:cNvGrpSpPr/>
        <p:nvPr/>
      </p:nvGrpSpPr>
      <p:grpSpPr>
        <a:xfrm>
          <a:off x="0" y="0"/>
          <a:ext cx="0" cy="0"/>
          <a:chOff x="0" y="0"/>
          <a:chExt cx="0" cy="0"/>
        </a:xfrm>
      </p:grpSpPr>
      <p:sp>
        <p:nvSpPr>
          <p:cNvPr id="39" name="Picture Placeholder 38">
            <a:extLst>
              <a:ext uri="{FF2B5EF4-FFF2-40B4-BE49-F238E27FC236}">
                <a16:creationId xmlns:a16="http://schemas.microsoft.com/office/drawing/2014/main" id="{785EFCE5-1951-3242-A232-F252911C4EAB}"/>
              </a:ext>
            </a:extLst>
          </p:cNvPr>
          <p:cNvSpPr>
            <a:spLocks noGrp="1"/>
          </p:cNvSpPr>
          <p:nvPr>
            <p:ph type="pic" sz="quarter" idx="10"/>
          </p:nvPr>
        </p:nvSpPr>
        <p:spPr>
          <a:xfrm>
            <a:off x="-2" y="0"/>
            <a:ext cx="6096001" cy="6858000"/>
          </a:xfrm>
          <a:custGeom>
            <a:avLst/>
            <a:gdLst>
              <a:gd name="connsiteX0" fmla="*/ 3078800 w 6096001"/>
              <a:gd name="connsiteY0" fmla="*/ 1892300 h 6858000"/>
              <a:gd name="connsiteX1" fmla="*/ 2003079 w 6096001"/>
              <a:gd name="connsiteY1" fmla="*/ 2443193 h 6858000"/>
              <a:gd name="connsiteX2" fmla="*/ 2435905 w 6096001"/>
              <a:gd name="connsiteY2" fmla="*/ 2746603 h 6858000"/>
              <a:gd name="connsiteX3" fmla="*/ 3026635 w 6096001"/>
              <a:gd name="connsiteY3" fmla="*/ 2408238 h 6858000"/>
              <a:gd name="connsiteX4" fmla="*/ 3472150 w 6096001"/>
              <a:gd name="connsiteY4" fmla="*/ 2777364 h 6858000"/>
              <a:gd name="connsiteX5" fmla="*/ 2825026 w 6096001"/>
              <a:gd name="connsiteY5" fmla="*/ 3514218 h 6858000"/>
              <a:gd name="connsiteX6" fmla="*/ 1986161 w 6096001"/>
              <a:gd name="connsiteY6" fmla="*/ 4857893 h 6858000"/>
              <a:gd name="connsiteX7" fmla="*/ 1986161 w 6096001"/>
              <a:gd name="connsiteY7" fmla="*/ 5014492 h 6858000"/>
              <a:gd name="connsiteX8" fmla="*/ 4102356 w 6096001"/>
              <a:gd name="connsiteY8" fmla="*/ 5014492 h 6858000"/>
              <a:gd name="connsiteX9" fmla="*/ 4102356 w 6096001"/>
              <a:gd name="connsiteY9" fmla="*/ 4515333 h 6858000"/>
              <a:gd name="connsiteX10" fmla="*/ 2614957 w 6096001"/>
              <a:gd name="connsiteY10" fmla="*/ 4515333 h 6858000"/>
              <a:gd name="connsiteX11" fmla="*/ 3301557 w 6096001"/>
              <a:gd name="connsiteY11" fmla="*/ 3809239 h 6858000"/>
              <a:gd name="connsiteX12" fmla="*/ 4053011 w 6096001"/>
              <a:gd name="connsiteY12" fmla="*/ 2750798 h 6858000"/>
              <a:gd name="connsiteX13" fmla="*/ 3078800 w 6096001"/>
              <a:gd name="connsiteY13" fmla="*/ 1892300 h 6858000"/>
              <a:gd name="connsiteX14" fmla="*/ 0 w 6096001"/>
              <a:gd name="connsiteY14" fmla="*/ 0 h 6858000"/>
              <a:gd name="connsiteX15" fmla="*/ 5214397 w 6096001"/>
              <a:gd name="connsiteY15" fmla="*/ 0 h 6858000"/>
              <a:gd name="connsiteX16" fmla="*/ 6096001 w 6096001"/>
              <a:gd name="connsiteY16" fmla="*/ 881604 h 6858000"/>
              <a:gd name="connsiteX17" fmla="*/ 6096001 w 6096001"/>
              <a:gd name="connsiteY17" fmla="*/ 6858000 h 6858000"/>
              <a:gd name="connsiteX18" fmla="*/ 0 w 6096001"/>
              <a:gd name="connsiteY1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096001" h="6858000">
                <a:moveTo>
                  <a:pt x="3078800" y="1892300"/>
                </a:moveTo>
                <a:cubicBezTo>
                  <a:pt x="2571252" y="1892300"/>
                  <a:pt x="2235706" y="2082456"/>
                  <a:pt x="2003079" y="2443193"/>
                </a:cubicBezTo>
                <a:lnTo>
                  <a:pt x="2435905" y="2746603"/>
                </a:lnTo>
                <a:cubicBezTo>
                  <a:pt x="2576891" y="2529882"/>
                  <a:pt x="2768632" y="2408238"/>
                  <a:pt x="3026635" y="2408238"/>
                </a:cubicBezTo>
                <a:cubicBezTo>
                  <a:pt x="3318476" y="2408238"/>
                  <a:pt x="3472150" y="2556447"/>
                  <a:pt x="3472150" y="2777364"/>
                </a:cubicBezTo>
                <a:cubicBezTo>
                  <a:pt x="3472150" y="3020651"/>
                  <a:pt x="3301557" y="3198224"/>
                  <a:pt x="2825026" y="3514218"/>
                </a:cubicBezTo>
                <a:cubicBezTo>
                  <a:pt x="2231476" y="3916901"/>
                  <a:pt x="1986161" y="4315389"/>
                  <a:pt x="1986161" y="4857893"/>
                </a:cubicBezTo>
                <a:lnTo>
                  <a:pt x="1986161" y="5014492"/>
                </a:lnTo>
                <a:lnTo>
                  <a:pt x="4102356" y="5014492"/>
                </a:lnTo>
                <a:lnTo>
                  <a:pt x="4102356" y="4515333"/>
                </a:lnTo>
                <a:lnTo>
                  <a:pt x="2614957" y="4515333"/>
                </a:lnTo>
                <a:cubicBezTo>
                  <a:pt x="2645974" y="4346150"/>
                  <a:pt x="2891289" y="4081889"/>
                  <a:pt x="3301557" y="3809239"/>
                </a:cubicBezTo>
                <a:cubicBezTo>
                  <a:pt x="3834483" y="3456891"/>
                  <a:pt x="4053011" y="3175852"/>
                  <a:pt x="4053011" y="2750798"/>
                </a:cubicBezTo>
                <a:cubicBezTo>
                  <a:pt x="4053011" y="2255833"/>
                  <a:pt x="3646972" y="1892300"/>
                  <a:pt x="3078800" y="1892300"/>
                </a:cubicBez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tIns="720000">
            <a:noAutofit/>
          </a:bodyPr>
          <a:lstStyle>
            <a:lvl1pPr algn="ctr">
              <a:defRPr sz="1600">
                <a:solidFill>
                  <a:schemeClr val="bg1">
                    <a:lumMod val="50000"/>
                  </a:schemeClr>
                </a:solidFill>
              </a:defRPr>
            </a:lvl1pPr>
          </a:lstStyle>
          <a:p>
            <a:r>
              <a:rPr lang="en-US"/>
              <a:t>Click icon to add picture</a:t>
            </a:r>
            <a:endParaRPr lang="en-GB"/>
          </a:p>
        </p:txBody>
      </p:sp>
      <p:pic>
        <p:nvPicPr>
          <p:cNvPr id="40" name="Graphic 39">
            <a:extLst>
              <a:ext uri="{FF2B5EF4-FFF2-40B4-BE49-F238E27FC236}">
                <a16:creationId xmlns:a16="http://schemas.microsoft.com/office/drawing/2014/main" id="{A70D9B68-451F-F24D-9AD8-10CAC4552665}"/>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5558"/>
            <a:ext cx="1304260" cy="480118"/>
          </a:xfrm>
          <a:prstGeom prst="rect">
            <a:avLst/>
          </a:prstGeom>
        </p:spPr>
      </p:pic>
      <p:sp>
        <p:nvSpPr>
          <p:cNvPr id="6" name="Text Placeholder 29">
            <a:extLst>
              <a:ext uri="{FF2B5EF4-FFF2-40B4-BE49-F238E27FC236}">
                <a16:creationId xmlns:a16="http://schemas.microsoft.com/office/drawing/2014/main" id="{AD887088-580E-3280-834E-11FE0CAB12A0}"/>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tx2"/>
                </a:solidFill>
              </a:defRPr>
            </a:lvl1pPr>
          </a:lstStyle>
          <a:p>
            <a:pPr lvl="0"/>
            <a:r>
              <a:rPr lang="en-GB"/>
              <a:t>Section title goes here</a:t>
            </a:r>
          </a:p>
        </p:txBody>
      </p:sp>
      <p:sp>
        <p:nvSpPr>
          <p:cNvPr id="7" name="Text Placeholder 31">
            <a:extLst>
              <a:ext uri="{FF2B5EF4-FFF2-40B4-BE49-F238E27FC236}">
                <a16:creationId xmlns:a16="http://schemas.microsoft.com/office/drawing/2014/main" id="{9D3AEDA3-676C-74F6-E9E7-0A9358720A3F}"/>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tx2">
                    <a:lumMod val="50000"/>
                  </a:schemeClr>
                </a:solidFill>
              </a:defRPr>
            </a:lvl1pPr>
          </a:lstStyle>
          <a:p>
            <a:pPr lvl="0"/>
            <a:r>
              <a:rPr lang="en-GB"/>
              <a:t>SUBTITLE GOES HERE: TYPE IN CAPITALS</a:t>
            </a:r>
          </a:p>
        </p:txBody>
      </p:sp>
    </p:spTree>
    <p:extLst>
      <p:ext uri="{BB962C8B-B14F-4D97-AF65-F5344CB8AC3E}">
        <p14:creationId xmlns:p14="http://schemas.microsoft.com/office/powerpoint/2010/main" val="391226505"/>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Section Divider + Image A3">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736D7151-EE44-6D41-A861-17BC5B8F0001}"/>
              </a:ext>
            </a:extLst>
          </p:cNvPr>
          <p:cNvSpPr>
            <a:spLocks noGrp="1"/>
          </p:cNvSpPr>
          <p:nvPr>
            <p:ph type="pic" sz="quarter" idx="10"/>
          </p:nvPr>
        </p:nvSpPr>
        <p:spPr>
          <a:xfrm>
            <a:off x="-2" y="0"/>
            <a:ext cx="6096001" cy="6858000"/>
          </a:xfrm>
          <a:custGeom>
            <a:avLst/>
            <a:gdLst>
              <a:gd name="connsiteX0" fmla="*/ 3115819 w 6096001"/>
              <a:gd name="connsiteY0" fmla="*/ 1901215 h 6858000"/>
              <a:gd name="connsiteX1" fmla="*/ 2096475 w 6096001"/>
              <a:gd name="connsiteY1" fmla="*/ 2469051 h 6858000"/>
              <a:gd name="connsiteX2" fmla="*/ 2517092 w 6096001"/>
              <a:gd name="connsiteY2" fmla="*/ 2737003 h 6858000"/>
              <a:gd name="connsiteX3" fmla="*/ 3061016 w 6096001"/>
              <a:gd name="connsiteY3" fmla="*/ 2401022 h 6858000"/>
              <a:gd name="connsiteX4" fmla="*/ 3455600 w 6096001"/>
              <a:gd name="connsiteY4" fmla="*/ 2732838 h 6858000"/>
              <a:gd name="connsiteX5" fmla="*/ 2725345 w 6096001"/>
              <a:gd name="connsiteY5" fmla="*/ 3202101 h 6858000"/>
              <a:gd name="connsiteX6" fmla="*/ 2725345 w 6096001"/>
              <a:gd name="connsiteY6" fmla="*/ 3663034 h 6858000"/>
              <a:gd name="connsiteX7" fmla="*/ 3570688 w 6096001"/>
              <a:gd name="connsiteY7" fmla="*/ 4110083 h 6858000"/>
              <a:gd name="connsiteX8" fmla="*/ 3044575 w 6096001"/>
              <a:gd name="connsiteY8" fmla="*/ 4544637 h 6858000"/>
              <a:gd name="connsiteX9" fmla="*/ 2300618 w 6096001"/>
              <a:gd name="connsiteY9" fmla="*/ 4273909 h 6858000"/>
              <a:gd name="connsiteX10" fmla="*/ 1977278 w 6096001"/>
              <a:gd name="connsiteY10" fmla="*/ 4712628 h 6858000"/>
              <a:gd name="connsiteX11" fmla="*/ 1978648 w 6096001"/>
              <a:gd name="connsiteY11" fmla="*/ 4711240 h 6858000"/>
              <a:gd name="connsiteX12" fmla="*/ 3048685 w 6096001"/>
              <a:gd name="connsiteY12" fmla="*/ 5043056 h 6858000"/>
              <a:gd name="connsiteX13" fmla="*/ 4118722 w 6096001"/>
              <a:gd name="connsiteY13" fmla="*/ 4126744 h 6858000"/>
              <a:gd name="connsiteX14" fmla="*/ 3455600 w 6096001"/>
              <a:gd name="connsiteY14" fmla="*/ 3360373 h 6858000"/>
              <a:gd name="connsiteX15" fmla="*/ 3999524 w 6096001"/>
              <a:gd name="connsiteY15" fmla="*/ 2628712 h 6858000"/>
              <a:gd name="connsiteX16" fmla="*/ 3115819 w 6096001"/>
              <a:gd name="connsiteY16" fmla="*/ 1901215 h 6858000"/>
              <a:gd name="connsiteX17" fmla="*/ 0 w 6096001"/>
              <a:gd name="connsiteY17" fmla="*/ 0 h 6858000"/>
              <a:gd name="connsiteX18" fmla="*/ 5214397 w 6096001"/>
              <a:gd name="connsiteY18" fmla="*/ 0 h 6858000"/>
              <a:gd name="connsiteX19" fmla="*/ 6096001 w 6096001"/>
              <a:gd name="connsiteY19" fmla="*/ 881604 h 6858000"/>
              <a:gd name="connsiteX20" fmla="*/ 6096001 w 6096001"/>
              <a:gd name="connsiteY20" fmla="*/ 6858000 h 6858000"/>
              <a:gd name="connsiteX21" fmla="*/ 0 w 6096001"/>
              <a:gd name="connsiteY2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096001" h="6858000">
                <a:moveTo>
                  <a:pt x="3115819" y="1901215"/>
                </a:moveTo>
                <a:cubicBezTo>
                  <a:pt x="2614368" y="1901215"/>
                  <a:pt x="2278697" y="2128905"/>
                  <a:pt x="2096475" y="2469051"/>
                </a:cubicBezTo>
                <a:lnTo>
                  <a:pt x="2517092" y="2737003"/>
                </a:lnTo>
                <a:cubicBezTo>
                  <a:pt x="2602037" y="2581508"/>
                  <a:pt x="2780148" y="2401022"/>
                  <a:pt x="3061016" y="2401022"/>
                </a:cubicBezTo>
                <a:cubicBezTo>
                  <a:pt x="3302151" y="2401022"/>
                  <a:pt x="3455600" y="2534304"/>
                  <a:pt x="3455600" y="2732838"/>
                </a:cubicBezTo>
                <a:cubicBezTo>
                  <a:pt x="3455600" y="2964693"/>
                  <a:pt x="3285710" y="3197936"/>
                  <a:pt x="2725345" y="3202101"/>
                </a:cubicBezTo>
                <a:lnTo>
                  <a:pt x="2725345" y="3663034"/>
                </a:lnTo>
                <a:cubicBezTo>
                  <a:pt x="3303521" y="3663034"/>
                  <a:pt x="3570688" y="3825471"/>
                  <a:pt x="3570688" y="4110083"/>
                </a:cubicBezTo>
                <a:cubicBezTo>
                  <a:pt x="3570688" y="4372481"/>
                  <a:pt x="3384356" y="4544637"/>
                  <a:pt x="3044575" y="4544637"/>
                </a:cubicBezTo>
                <a:cubicBezTo>
                  <a:pt x="2737676" y="4544637"/>
                  <a:pt x="2504761" y="4433570"/>
                  <a:pt x="2300618" y="4273909"/>
                </a:cubicBezTo>
                <a:lnTo>
                  <a:pt x="1977278" y="4712628"/>
                </a:lnTo>
                <a:lnTo>
                  <a:pt x="1978648" y="4711240"/>
                </a:lnTo>
                <a:cubicBezTo>
                  <a:pt x="2271846" y="4926434"/>
                  <a:pt x="2581486" y="5043056"/>
                  <a:pt x="3048685" y="5043056"/>
                </a:cubicBezTo>
                <a:cubicBezTo>
                  <a:pt x="3698106" y="5043056"/>
                  <a:pt x="4118722" y="4659870"/>
                  <a:pt x="4118722" y="4126744"/>
                </a:cubicBezTo>
                <a:cubicBezTo>
                  <a:pt x="4118722" y="3708850"/>
                  <a:pt x="3863886" y="3468665"/>
                  <a:pt x="3455600" y="3360373"/>
                </a:cubicBezTo>
                <a:cubicBezTo>
                  <a:pt x="3791271" y="3239587"/>
                  <a:pt x="3999524" y="2999402"/>
                  <a:pt x="3999524" y="2628712"/>
                </a:cubicBezTo>
                <a:cubicBezTo>
                  <a:pt x="3999524" y="2206653"/>
                  <a:pt x="3617271" y="1901215"/>
                  <a:pt x="3115819" y="1901215"/>
                </a:cubicBez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tIns="720000">
            <a:noAutofit/>
          </a:bodyPr>
          <a:lstStyle>
            <a:lvl1pPr algn="ctr">
              <a:defRPr sz="1600">
                <a:solidFill>
                  <a:schemeClr val="bg1">
                    <a:lumMod val="50000"/>
                  </a:schemeClr>
                </a:solidFill>
              </a:defRPr>
            </a:lvl1pPr>
          </a:lstStyle>
          <a:p>
            <a:r>
              <a:rPr lang="en-US"/>
              <a:t>Click icon to add picture</a:t>
            </a:r>
            <a:endParaRPr lang="en-GB"/>
          </a:p>
        </p:txBody>
      </p:sp>
      <p:pic>
        <p:nvPicPr>
          <p:cNvPr id="14" name="Graphic 13">
            <a:extLst>
              <a:ext uri="{FF2B5EF4-FFF2-40B4-BE49-F238E27FC236}">
                <a16:creationId xmlns:a16="http://schemas.microsoft.com/office/drawing/2014/main" id="{85DA45A5-9E96-A540-A7CB-C6C50E73A72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5558"/>
            <a:ext cx="1304260" cy="480118"/>
          </a:xfrm>
          <a:prstGeom prst="rect">
            <a:avLst/>
          </a:prstGeom>
        </p:spPr>
      </p:pic>
      <p:sp>
        <p:nvSpPr>
          <p:cNvPr id="8" name="Text Placeholder 29">
            <a:extLst>
              <a:ext uri="{FF2B5EF4-FFF2-40B4-BE49-F238E27FC236}">
                <a16:creationId xmlns:a16="http://schemas.microsoft.com/office/drawing/2014/main" id="{B2461434-5D17-DC5F-DC1A-E69D4E2BBC1D}"/>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tx2"/>
                </a:solidFill>
              </a:defRPr>
            </a:lvl1pPr>
          </a:lstStyle>
          <a:p>
            <a:pPr lvl="0"/>
            <a:r>
              <a:rPr lang="en-GB"/>
              <a:t>Section title goes here</a:t>
            </a:r>
          </a:p>
        </p:txBody>
      </p:sp>
      <p:sp>
        <p:nvSpPr>
          <p:cNvPr id="9" name="Text Placeholder 31">
            <a:extLst>
              <a:ext uri="{FF2B5EF4-FFF2-40B4-BE49-F238E27FC236}">
                <a16:creationId xmlns:a16="http://schemas.microsoft.com/office/drawing/2014/main" id="{63FD04FF-C6D3-AE64-9C91-6E3CEBDB6B0C}"/>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tx2">
                    <a:lumMod val="50000"/>
                  </a:schemeClr>
                </a:solidFill>
              </a:defRPr>
            </a:lvl1pPr>
          </a:lstStyle>
          <a:p>
            <a:pPr lvl="0"/>
            <a:r>
              <a:rPr lang="en-GB"/>
              <a:t>SUBTITLE GOES HERE: TYPE IN CAPITALS</a:t>
            </a:r>
          </a:p>
        </p:txBody>
      </p:sp>
    </p:spTree>
    <p:extLst>
      <p:ext uri="{BB962C8B-B14F-4D97-AF65-F5344CB8AC3E}">
        <p14:creationId xmlns:p14="http://schemas.microsoft.com/office/powerpoint/2010/main" val="3605389261"/>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Section Divider + Image A4">
    <p:spTree>
      <p:nvGrpSpPr>
        <p:cNvPr id="1" name=""/>
        <p:cNvGrpSpPr/>
        <p:nvPr/>
      </p:nvGrpSpPr>
      <p:grpSpPr>
        <a:xfrm>
          <a:off x="0" y="0"/>
          <a:ext cx="0" cy="0"/>
          <a:chOff x="0" y="0"/>
          <a:chExt cx="0" cy="0"/>
        </a:xfrm>
      </p:grpSpPr>
      <p:sp>
        <p:nvSpPr>
          <p:cNvPr id="29" name="Picture Placeholder 28">
            <a:extLst>
              <a:ext uri="{FF2B5EF4-FFF2-40B4-BE49-F238E27FC236}">
                <a16:creationId xmlns:a16="http://schemas.microsoft.com/office/drawing/2014/main" id="{8AEA1B93-DB0B-33C4-6C50-8FD2474CA50D}"/>
              </a:ext>
            </a:extLst>
          </p:cNvPr>
          <p:cNvSpPr>
            <a:spLocks noGrp="1"/>
          </p:cNvSpPr>
          <p:nvPr>
            <p:ph type="pic" sz="quarter" idx="14"/>
          </p:nvPr>
        </p:nvSpPr>
        <p:spPr>
          <a:xfrm>
            <a:off x="0" y="0"/>
            <a:ext cx="6096001" cy="6858000"/>
          </a:xfrm>
          <a:custGeom>
            <a:avLst/>
            <a:gdLst>
              <a:gd name="connsiteX0" fmla="*/ 3218999 w 6096001"/>
              <a:gd name="connsiteY0" fmla="*/ 2668987 h 6858000"/>
              <a:gd name="connsiteX1" fmla="*/ 3218999 w 6096001"/>
              <a:gd name="connsiteY1" fmla="*/ 3752595 h 6858000"/>
              <a:gd name="connsiteX2" fmla="*/ 2442001 w 6096001"/>
              <a:gd name="connsiteY2" fmla="*/ 3752595 h 6858000"/>
              <a:gd name="connsiteX3" fmla="*/ 3218999 w 6096001"/>
              <a:gd name="connsiteY3" fmla="*/ 1883188 h 6858000"/>
              <a:gd name="connsiteX4" fmla="*/ 1820976 w 6096001"/>
              <a:gd name="connsiteY4" fmla="*/ 3839578 h 6858000"/>
              <a:gd name="connsiteX5" fmla="*/ 1820976 w 6096001"/>
              <a:gd name="connsiteY5" fmla="*/ 4242061 h 6858000"/>
              <a:gd name="connsiteX6" fmla="*/ 3218999 w 6096001"/>
              <a:gd name="connsiteY6" fmla="*/ 4242061 h 6858000"/>
              <a:gd name="connsiteX7" fmla="*/ 3218999 w 6096001"/>
              <a:gd name="connsiteY7" fmla="*/ 5164970 h 6858000"/>
              <a:gd name="connsiteX8" fmla="*/ 3791372 w 6096001"/>
              <a:gd name="connsiteY8" fmla="*/ 5164970 h 6858000"/>
              <a:gd name="connsiteX9" fmla="*/ 3791372 w 6096001"/>
              <a:gd name="connsiteY9" fmla="*/ 4242061 h 6858000"/>
              <a:gd name="connsiteX10" fmla="*/ 4275028 w 6096001"/>
              <a:gd name="connsiteY10" fmla="*/ 4242061 h 6858000"/>
              <a:gd name="connsiteX11" fmla="*/ 4275028 w 6096001"/>
              <a:gd name="connsiteY11" fmla="*/ 3752595 h 6858000"/>
              <a:gd name="connsiteX12" fmla="*/ 3791372 w 6096001"/>
              <a:gd name="connsiteY12" fmla="*/ 3752595 h 6858000"/>
              <a:gd name="connsiteX13" fmla="*/ 3791372 w 6096001"/>
              <a:gd name="connsiteY13" fmla="*/ 1883188 h 6858000"/>
              <a:gd name="connsiteX14" fmla="*/ 0 w 6096001"/>
              <a:gd name="connsiteY14" fmla="*/ 0 h 6858000"/>
              <a:gd name="connsiteX15" fmla="*/ 5214397 w 6096001"/>
              <a:gd name="connsiteY15" fmla="*/ 0 h 6858000"/>
              <a:gd name="connsiteX16" fmla="*/ 6096001 w 6096001"/>
              <a:gd name="connsiteY16" fmla="*/ 881604 h 6858000"/>
              <a:gd name="connsiteX17" fmla="*/ 6096001 w 6096001"/>
              <a:gd name="connsiteY17" fmla="*/ 6858000 h 6858000"/>
              <a:gd name="connsiteX18" fmla="*/ 0 w 6096001"/>
              <a:gd name="connsiteY1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096001" h="6858000">
                <a:moveTo>
                  <a:pt x="3218999" y="2668987"/>
                </a:moveTo>
                <a:lnTo>
                  <a:pt x="3218999" y="3752595"/>
                </a:lnTo>
                <a:lnTo>
                  <a:pt x="2442001" y="3752595"/>
                </a:lnTo>
                <a:close/>
                <a:moveTo>
                  <a:pt x="3218999" y="1883188"/>
                </a:moveTo>
                <a:lnTo>
                  <a:pt x="1820976" y="3839578"/>
                </a:lnTo>
                <a:lnTo>
                  <a:pt x="1820976" y="4242061"/>
                </a:lnTo>
                <a:lnTo>
                  <a:pt x="3218999" y="4242061"/>
                </a:lnTo>
                <a:lnTo>
                  <a:pt x="3218999" y="5164970"/>
                </a:lnTo>
                <a:lnTo>
                  <a:pt x="3791372" y="5164970"/>
                </a:lnTo>
                <a:lnTo>
                  <a:pt x="3791372" y="4242061"/>
                </a:lnTo>
                <a:lnTo>
                  <a:pt x="4275028" y="4242061"/>
                </a:lnTo>
                <a:lnTo>
                  <a:pt x="4275028" y="3752595"/>
                </a:lnTo>
                <a:lnTo>
                  <a:pt x="3791372" y="3752595"/>
                </a:lnTo>
                <a:lnTo>
                  <a:pt x="3791372" y="1883188"/>
                </a:ln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anchor="ctr">
            <a:noAutofit/>
          </a:bodyPr>
          <a:lstStyle>
            <a:lvl1pPr algn="ctr">
              <a:defRPr sz="1600">
                <a:solidFill>
                  <a:schemeClr val="bg1">
                    <a:lumMod val="50000"/>
                  </a:schemeClr>
                </a:solidFill>
              </a:defRPr>
            </a:lvl1pPr>
          </a:lstStyle>
          <a:p>
            <a:r>
              <a:rPr lang="en-US"/>
              <a:t>Click icon to add picture</a:t>
            </a:r>
            <a:endParaRPr lang="en-GB"/>
          </a:p>
        </p:txBody>
      </p:sp>
      <p:pic>
        <p:nvPicPr>
          <p:cNvPr id="14" name="Graphic 13">
            <a:extLst>
              <a:ext uri="{FF2B5EF4-FFF2-40B4-BE49-F238E27FC236}">
                <a16:creationId xmlns:a16="http://schemas.microsoft.com/office/drawing/2014/main" id="{85DA45A5-9E96-A540-A7CB-C6C50E73A72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5558"/>
            <a:ext cx="1304260" cy="480118"/>
          </a:xfrm>
          <a:prstGeom prst="rect">
            <a:avLst/>
          </a:prstGeom>
        </p:spPr>
      </p:pic>
      <p:sp>
        <p:nvSpPr>
          <p:cNvPr id="8" name="Text Placeholder 29">
            <a:extLst>
              <a:ext uri="{FF2B5EF4-FFF2-40B4-BE49-F238E27FC236}">
                <a16:creationId xmlns:a16="http://schemas.microsoft.com/office/drawing/2014/main" id="{3314B818-1A45-4088-0941-EB7C6968EA16}"/>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tx2"/>
                </a:solidFill>
              </a:defRPr>
            </a:lvl1pPr>
          </a:lstStyle>
          <a:p>
            <a:pPr lvl="0"/>
            <a:r>
              <a:rPr lang="en-GB"/>
              <a:t>Section title goes here</a:t>
            </a:r>
          </a:p>
        </p:txBody>
      </p:sp>
      <p:sp>
        <p:nvSpPr>
          <p:cNvPr id="9" name="Text Placeholder 31">
            <a:extLst>
              <a:ext uri="{FF2B5EF4-FFF2-40B4-BE49-F238E27FC236}">
                <a16:creationId xmlns:a16="http://schemas.microsoft.com/office/drawing/2014/main" id="{5C3A23D4-78BE-16F7-8E29-ADEBA311D003}"/>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tx2">
                    <a:lumMod val="50000"/>
                  </a:schemeClr>
                </a:solidFill>
              </a:defRPr>
            </a:lvl1pPr>
          </a:lstStyle>
          <a:p>
            <a:pPr lvl="0"/>
            <a:r>
              <a:rPr lang="en-GB"/>
              <a:t>SUBTITLE GOES HERE: TYPE IN CAPITALS</a:t>
            </a:r>
          </a:p>
        </p:txBody>
      </p:sp>
    </p:spTree>
    <p:extLst>
      <p:ext uri="{BB962C8B-B14F-4D97-AF65-F5344CB8AC3E}">
        <p14:creationId xmlns:p14="http://schemas.microsoft.com/office/powerpoint/2010/main" val="2641345797"/>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Section Divider + Image A5">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85DA45A5-9E96-A540-A7CB-C6C50E73A72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5558"/>
            <a:ext cx="1304260" cy="480118"/>
          </a:xfrm>
          <a:prstGeom prst="rect">
            <a:avLst/>
          </a:prstGeom>
        </p:spPr>
      </p:pic>
      <p:sp>
        <p:nvSpPr>
          <p:cNvPr id="16" name="Picture Placeholder 15">
            <a:extLst>
              <a:ext uri="{FF2B5EF4-FFF2-40B4-BE49-F238E27FC236}">
                <a16:creationId xmlns:a16="http://schemas.microsoft.com/office/drawing/2014/main" id="{343EB15E-A314-36FE-8F19-4C79176CF3CC}"/>
              </a:ext>
            </a:extLst>
          </p:cNvPr>
          <p:cNvSpPr>
            <a:spLocks noGrp="1"/>
          </p:cNvSpPr>
          <p:nvPr>
            <p:ph type="pic" sz="quarter" idx="14"/>
          </p:nvPr>
        </p:nvSpPr>
        <p:spPr>
          <a:xfrm>
            <a:off x="-2" y="0"/>
            <a:ext cx="6096001" cy="6858000"/>
          </a:xfrm>
          <a:custGeom>
            <a:avLst/>
            <a:gdLst>
              <a:gd name="connsiteX0" fmla="*/ 2264571 w 6096001"/>
              <a:gd name="connsiteY0" fmla="*/ 1883188 h 6858000"/>
              <a:gd name="connsiteX1" fmla="*/ 2167943 w 6096001"/>
              <a:gd name="connsiteY1" fmla="*/ 3625805 h 6858000"/>
              <a:gd name="connsiteX2" fmla="*/ 2578239 w 6096001"/>
              <a:gd name="connsiteY2" fmla="*/ 3754069 h 6858000"/>
              <a:gd name="connsiteX3" fmla="*/ 3056918 w 6096001"/>
              <a:gd name="connsiteY3" fmla="*/ 3625805 h 6858000"/>
              <a:gd name="connsiteX4" fmla="*/ 3638171 w 6096001"/>
              <a:gd name="connsiteY4" fmla="*/ 4124117 h 6858000"/>
              <a:gd name="connsiteX5" fmla="*/ 3047999 w 6096001"/>
              <a:gd name="connsiteY5" fmla="*/ 4644543 h 6858000"/>
              <a:gd name="connsiteX6" fmla="*/ 2222946 w 6096001"/>
              <a:gd name="connsiteY6" fmla="*/ 4342313 h 6858000"/>
              <a:gd name="connsiteX7" fmla="*/ 1933063 w 6096001"/>
              <a:gd name="connsiteY7" fmla="*/ 4822933 h 6858000"/>
              <a:gd name="connsiteX8" fmla="*/ 3058405 w 6096001"/>
              <a:gd name="connsiteY8" fmla="*/ 5175290 h 6858000"/>
              <a:gd name="connsiteX9" fmla="*/ 4229830 w 6096001"/>
              <a:gd name="connsiteY9" fmla="*/ 4110849 h 6858000"/>
              <a:gd name="connsiteX10" fmla="*/ 3178818 w 6096001"/>
              <a:gd name="connsiteY10" fmla="*/ 3114225 h 6858000"/>
              <a:gd name="connsiteX11" fmla="*/ 2689733 w 6096001"/>
              <a:gd name="connsiteY11" fmla="*/ 3214477 h 6858000"/>
              <a:gd name="connsiteX12" fmla="*/ 2744736 w 6096001"/>
              <a:gd name="connsiteY12" fmla="*/ 2409511 h 6858000"/>
              <a:gd name="connsiteX13" fmla="*/ 4026169 w 6096001"/>
              <a:gd name="connsiteY13" fmla="*/ 2409511 h 6858000"/>
              <a:gd name="connsiteX14" fmla="*/ 4026169 w 6096001"/>
              <a:gd name="connsiteY14" fmla="*/ 1883188 h 6858000"/>
              <a:gd name="connsiteX15" fmla="*/ 0 w 6096001"/>
              <a:gd name="connsiteY15" fmla="*/ 0 h 6858000"/>
              <a:gd name="connsiteX16" fmla="*/ 5214397 w 6096001"/>
              <a:gd name="connsiteY16" fmla="*/ 0 h 6858000"/>
              <a:gd name="connsiteX17" fmla="*/ 6096001 w 6096001"/>
              <a:gd name="connsiteY17" fmla="*/ 881604 h 6858000"/>
              <a:gd name="connsiteX18" fmla="*/ 6096001 w 6096001"/>
              <a:gd name="connsiteY18" fmla="*/ 6858000 h 6858000"/>
              <a:gd name="connsiteX19" fmla="*/ 0 w 6096001"/>
              <a:gd name="connsiteY1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096001" h="6858000">
                <a:moveTo>
                  <a:pt x="2264571" y="1883188"/>
                </a:moveTo>
                <a:lnTo>
                  <a:pt x="2167943" y="3625805"/>
                </a:lnTo>
                <a:lnTo>
                  <a:pt x="2578239" y="3754069"/>
                </a:lnTo>
                <a:cubicBezTo>
                  <a:pt x="2706085" y="3671508"/>
                  <a:pt x="2863663" y="3625805"/>
                  <a:pt x="3056918" y="3625805"/>
                </a:cubicBezTo>
                <a:cubicBezTo>
                  <a:pt x="3412211" y="3625805"/>
                  <a:pt x="3638171" y="3814515"/>
                  <a:pt x="3638171" y="4124117"/>
                </a:cubicBezTo>
                <a:cubicBezTo>
                  <a:pt x="3638171" y="4433719"/>
                  <a:pt x="3412211" y="4644543"/>
                  <a:pt x="3047999" y="4644543"/>
                </a:cubicBezTo>
                <a:cubicBezTo>
                  <a:pt x="2720951" y="4644543"/>
                  <a:pt x="2435527" y="4511857"/>
                  <a:pt x="2222946" y="4342313"/>
                </a:cubicBezTo>
                <a:lnTo>
                  <a:pt x="1933063" y="4822933"/>
                </a:lnTo>
                <a:cubicBezTo>
                  <a:pt x="2173889" y="5024912"/>
                  <a:pt x="2542561" y="5175290"/>
                  <a:pt x="3058405" y="5175290"/>
                </a:cubicBezTo>
                <a:cubicBezTo>
                  <a:pt x="3755611" y="5175290"/>
                  <a:pt x="4229830" y="4728578"/>
                  <a:pt x="4229830" y="4110849"/>
                </a:cubicBezTo>
                <a:cubicBezTo>
                  <a:pt x="4229830" y="3493119"/>
                  <a:pt x="3801695" y="3114225"/>
                  <a:pt x="3178818" y="3114225"/>
                </a:cubicBezTo>
                <a:cubicBezTo>
                  <a:pt x="3007861" y="3114225"/>
                  <a:pt x="2810146" y="3155505"/>
                  <a:pt x="2689733" y="3214477"/>
                </a:cubicBezTo>
                <a:lnTo>
                  <a:pt x="2744736" y="2409511"/>
                </a:lnTo>
                <a:lnTo>
                  <a:pt x="4026169" y="2409511"/>
                </a:lnTo>
                <a:lnTo>
                  <a:pt x="4026169" y="1883188"/>
                </a:ln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anchor="ctr">
            <a:noAutofit/>
          </a:bodyPr>
          <a:lstStyle>
            <a:lvl1pPr algn="ctr">
              <a:defRPr sz="1600">
                <a:solidFill>
                  <a:schemeClr val="bg1">
                    <a:lumMod val="50000"/>
                  </a:schemeClr>
                </a:solidFill>
              </a:defRPr>
            </a:lvl1pPr>
          </a:lstStyle>
          <a:p>
            <a:r>
              <a:rPr lang="en-US"/>
              <a:t>Click icon to add picture</a:t>
            </a:r>
            <a:endParaRPr lang="en-GB"/>
          </a:p>
        </p:txBody>
      </p:sp>
      <p:sp>
        <p:nvSpPr>
          <p:cNvPr id="8" name="Text Placeholder 29">
            <a:extLst>
              <a:ext uri="{FF2B5EF4-FFF2-40B4-BE49-F238E27FC236}">
                <a16:creationId xmlns:a16="http://schemas.microsoft.com/office/drawing/2014/main" id="{44E4F9BB-131C-DA11-8330-1278532DD3C7}"/>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tx2"/>
                </a:solidFill>
              </a:defRPr>
            </a:lvl1pPr>
          </a:lstStyle>
          <a:p>
            <a:pPr lvl="0"/>
            <a:r>
              <a:rPr lang="en-GB"/>
              <a:t>Section title goes here</a:t>
            </a:r>
          </a:p>
        </p:txBody>
      </p:sp>
      <p:sp>
        <p:nvSpPr>
          <p:cNvPr id="9" name="Text Placeholder 31">
            <a:extLst>
              <a:ext uri="{FF2B5EF4-FFF2-40B4-BE49-F238E27FC236}">
                <a16:creationId xmlns:a16="http://schemas.microsoft.com/office/drawing/2014/main" id="{26A6169B-562B-8F66-2B5C-19489101B699}"/>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tx2">
                    <a:lumMod val="50000"/>
                  </a:schemeClr>
                </a:solidFill>
              </a:defRPr>
            </a:lvl1pPr>
          </a:lstStyle>
          <a:p>
            <a:pPr lvl="0"/>
            <a:r>
              <a:rPr lang="en-GB"/>
              <a:t>SUBTITLE GOES HERE: TYPE IN CAPITALS</a:t>
            </a:r>
          </a:p>
        </p:txBody>
      </p:sp>
    </p:spTree>
    <p:extLst>
      <p:ext uri="{BB962C8B-B14F-4D97-AF65-F5344CB8AC3E}">
        <p14:creationId xmlns:p14="http://schemas.microsoft.com/office/powerpoint/2010/main" val="3970898463"/>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Section Divider + Image A6">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A1BA5AB5-3C92-5003-411D-080017FB62FA}"/>
              </a:ext>
            </a:extLst>
          </p:cNvPr>
          <p:cNvSpPr>
            <a:spLocks noGrp="1"/>
          </p:cNvSpPr>
          <p:nvPr>
            <p:ph type="pic" sz="quarter" idx="14"/>
          </p:nvPr>
        </p:nvSpPr>
        <p:spPr>
          <a:xfrm>
            <a:off x="-2" y="0"/>
            <a:ext cx="6096001" cy="6858000"/>
          </a:xfrm>
          <a:custGeom>
            <a:avLst/>
            <a:gdLst>
              <a:gd name="connsiteX0" fmla="*/ 3077268 w 6096001"/>
              <a:gd name="connsiteY0" fmla="*/ 3517274 h 6858000"/>
              <a:gd name="connsiteX1" fmla="*/ 3608256 w 6096001"/>
              <a:gd name="connsiteY1" fmla="*/ 4024085 h 6858000"/>
              <a:gd name="connsiteX2" fmla="*/ 3609649 w 6096001"/>
              <a:gd name="connsiteY2" fmla="*/ 4025458 h 6858000"/>
              <a:gd name="connsiteX3" fmla="*/ 3064725 w 6096001"/>
              <a:gd name="connsiteY3" fmla="*/ 4548751 h 6858000"/>
              <a:gd name="connsiteX4" fmla="*/ 2503076 w 6096001"/>
              <a:gd name="connsiteY4" fmla="*/ 3973266 h 6858000"/>
              <a:gd name="connsiteX5" fmla="*/ 3077268 w 6096001"/>
              <a:gd name="connsiteY5" fmla="*/ 3517274 h 6858000"/>
              <a:gd name="connsiteX6" fmla="*/ 3834030 w 6096001"/>
              <a:gd name="connsiteY6" fmla="*/ 1925421 h 6858000"/>
              <a:gd name="connsiteX7" fmla="*/ 1945608 w 6096001"/>
              <a:gd name="connsiteY7" fmla="*/ 3731535 h 6858000"/>
              <a:gd name="connsiteX8" fmla="*/ 3085630 w 6096001"/>
              <a:gd name="connsiteY8" fmla="*/ 5025345 h 6858000"/>
              <a:gd name="connsiteX9" fmla="*/ 4148999 w 6096001"/>
              <a:gd name="connsiteY9" fmla="*/ 4015844 h 6858000"/>
              <a:gd name="connsiteX10" fmla="*/ 4150393 w 6096001"/>
              <a:gd name="connsiteY10" fmla="*/ 4015844 h 6858000"/>
              <a:gd name="connsiteX11" fmla="*/ 3195730 w 6096001"/>
              <a:gd name="connsiteY11" fmla="*/ 3083257 h 6858000"/>
              <a:gd name="connsiteX12" fmla="*/ 2525374 w 6096001"/>
              <a:gd name="connsiteY12" fmla="*/ 3338723 h 6858000"/>
              <a:gd name="connsiteX13" fmla="*/ 3946917 w 6096001"/>
              <a:gd name="connsiteY13" fmla="*/ 2402015 h 6858000"/>
              <a:gd name="connsiteX14" fmla="*/ 0 w 6096001"/>
              <a:gd name="connsiteY14" fmla="*/ 0 h 6858000"/>
              <a:gd name="connsiteX15" fmla="*/ 5214397 w 6096001"/>
              <a:gd name="connsiteY15" fmla="*/ 0 h 6858000"/>
              <a:gd name="connsiteX16" fmla="*/ 6096001 w 6096001"/>
              <a:gd name="connsiteY16" fmla="*/ 881604 h 6858000"/>
              <a:gd name="connsiteX17" fmla="*/ 6096001 w 6096001"/>
              <a:gd name="connsiteY17" fmla="*/ 6858000 h 6858000"/>
              <a:gd name="connsiteX18" fmla="*/ 0 w 6096001"/>
              <a:gd name="connsiteY1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096001" h="6858000">
                <a:moveTo>
                  <a:pt x="3077268" y="3517274"/>
                </a:moveTo>
                <a:cubicBezTo>
                  <a:pt x="3396418" y="3517274"/>
                  <a:pt x="3608256" y="3704066"/>
                  <a:pt x="3608256" y="4024085"/>
                </a:cubicBezTo>
                <a:lnTo>
                  <a:pt x="3609649" y="4025458"/>
                </a:lnTo>
                <a:cubicBezTo>
                  <a:pt x="3609649" y="4352344"/>
                  <a:pt x="3379694" y="4548751"/>
                  <a:pt x="3064725" y="4548751"/>
                </a:cubicBezTo>
                <a:cubicBezTo>
                  <a:pt x="2727457" y="4548751"/>
                  <a:pt x="2503076" y="4293285"/>
                  <a:pt x="2503076" y="3973266"/>
                </a:cubicBezTo>
                <a:cubicBezTo>
                  <a:pt x="2503076" y="3691705"/>
                  <a:pt x="2779022" y="3517274"/>
                  <a:pt x="3077268" y="3517274"/>
                </a:cubicBezTo>
                <a:close/>
                <a:moveTo>
                  <a:pt x="3834030" y="1925421"/>
                </a:moveTo>
                <a:cubicBezTo>
                  <a:pt x="2503076" y="1967999"/>
                  <a:pt x="1945608" y="2776973"/>
                  <a:pt x="1945608" y="3731535"/>
                </a:cubicBezTo>
                <a:cubicBezTo>
                  <a:pt x="1945608" y="4574847"/>
                  <a:pt x="2416668" y="5025345"/>
                  <a:pt x="3085630" y="5025345"/>
                </a:cubicBezTo>
                <a:cubicBezTo>
                  <a:pt x="3700238" y="5025345"/>
                  <a:pt x="4148999" y="4616051"/>
                  <a:pt x="4148999" y="4015844"/>
                </a:cubicBezTo>
                <a:lnTo>
                  <a:pt x="4150393" y="4015844"/>
                </a:lnTo>
                <a:cubicBezTo>
                  <a:pt x="4150393" y="3432119"/>
                  <a:pt x="3730899" y="3083257"/>
                  <a:pt x="3195730" y="3083257"/>
                </a:cubicBezTo>
                <a:cubicBezTo>
                  <a:pt x="2897484" y="3083257"/>
                  <a:pt x="2654986" y="3210990"/>
                  <a:pt x="2525374" y="3338723"/>
                </a:cubicBezTo>
                <a:cubicBezTo>
                  <a:pt x="2710732" y="2700059"/>
                  <a:pt x="3160888" y="2436352"/>
                  <a:pt x="3946917" y="2402015"/>
                </a:cubicBez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anchor="ctr">
            <a:noAutofit/>
          </a:bodyPr>
          <a:lstStyle>
            <a:lvl1pPr algn="ctr">
              <a:defRPr sz="1600">
                <a:solidFill>
                  <a:schemeClr val="bg1">
                    <a:lumMod val="50000"/>
                  </a:schemeClr>
                </a:solidFill>
              </a:defRPr>
            </a:lvl1pPr>
          </a:lstStyle>
          <a:p>
            <a:r>
              <a:rPr lang="en-US"/>
              <a:t>Click icon to add picture</a:t>
            </a:r>
            <a:endParaRPr lang="en-GB"/>
          </a:p>
        </p:txBody>
      </p:sp>
      <p:pic>
        <p:nvPicPr>
          <p:cNvPr id="14" name="Graphic 13">
            <a:extLst>
              <a:ext uri="{FF2B5EF4-FFF2-40B4-BE49-F238E27FC236}">
                <a16:creationId xmlns:a16="http://schemas.microsoft.com/office/drawing/2014/main" id="{85DA45A5-9E96-A540-A7CB-C6C50E73A72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5558"/>
            <a:ext cx="1304260" cy="480118"/>
          </a:xfrm>
          <a:prstGeom prst="rect">
            <a:avLst/>
          </a:prstGeom>
        </p:spPr>
      </p:pic>
      <p:sp>
        <p:nvSpPr>
          <p:cNvPr id="8" name="Text Placeholder 29">
            <a:extLst>
              <a:ext uri="{FF2B5EF4-FFF2-40B4-BE49-F238E27FC236}">
                <a16:creationId xmlns:a16="http://schemas.microsoft.com/office/drawing/2014/main" id="{7BB44742-AE3F-8E84-7834-7B05B9090FA0}"/>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tx2"/>
                </a:solidFill>
              </a:defRPr>
            </a:lvl1pPr>
          </a:lstStyle>
          <a:p>
            <a:pPr lvl="0"/>
            <a:r>
              <a:rPr lang="en-GB"/>
              <a:t>Section title goes here</a:t>
            </a:r>
          </a:p>
        </p:txBody>
      </p:sp>
      <p:sp>
        <p:nvSpPr>
          <p:cNvPr id="9" name="Text Placeholder 31">
            <a:extLst>
              <a:ext uri="{FF2B5EF4-FFF2-40B4-BE49-F238E27FC236}">
                <a16:creationId xmlns:a16="http://schemas.microsoft.com/office/drawing/2014/main" id="{7B5AA4FE-F153-D70D-DFCB-AA26BFD8A1F4}"/>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tx2">
                    <a:lumMod val="50000"/>
                  </a:schemeClr>
                </a:solidFill>
              </a:defRPr>
            </a:lvl1pPr>
          </a:lstStyle>
          <a:p>
            <a:pPr lvl="0"/>
            <a:r>
              <a:rPr lang="en-GB"/>
              <a:t>SUBTITLE GOES HERE: TYPE IN CAPITALS</a:t>
            </a:r>
          </a:p>
        </p:txBody>
      </p:sp>
    </p:spTree>
    <p:extLst>
      <p:ext uri="{BB962C8B-B14F-4D97-AF65-F5344CB8AC3E}">
        <p14:creationId xmlns:p14="http://schemas.microsoft.com/office/powerpoint/2010/main" val="152322157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United Against Rabies Forum Meeting - 6-8 November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4109846750"/>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Section Divider + Image B1">
    <p:bg>
      <p:bgPr>
        <a:solidFill>
          <a:schemeClr val="tx2">
            <a:lumMod val="75000"/>
          </a:schemeClr>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D21E2CB-391E-E74E-90AE-4B5A47140739}"/>
              </a:ext>
            </a:extLst>
          </p:cNvPr>
          <p:cNvSpPr/>
          <p:nvPr userDrawn="1"/>
        </p:nvSpPr>
        <p:spPr>
          <a:xfrm>
            <a:off x="83127" y="105798"/>
            <a:ext cx="4898251" cy="6635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Picture Placeholder 25">
            <a:extLst>
              <a:ext uri="{FF2B5EF4-FFF2-40B4-BE49-F238E27FC236}">
                <a16:creationId xmlns:a16="http://schemas.microsoft.com/office/drawing/2014/main" id="{2F82B885-0103-7D42-AE00-61FB2FE0C2F4}"/>
              </a:ext>
            </a:extLst>
          </p:cNvPr>
          <p:cNvSpPr>
            <a:spLocks noGrp="1"/>
          </p:cNvSpPr>
          <p:nvPr>
            <p:ph type="pic" sz="quarter" idx="10"/>
          </p:nvPr>
        </p:nvSpPr>
        <p:spPr>
          <a:xfrm>
            <a:off x="-2" y="0"/>
            <a:ext cx="6096001" cy="6858000"/>
          </a:xfrm>
          <a:custGeom>
            <a:avLst/>
            <a:gdLst>
              <a:gd name="connsiteX0" fmla="*/ 3022951 w 6096001"/>
              <a:gd name="connsiteY0" fmla="*/ 1876235 h 6858000"/>
              <a:gd name="connsiteX1" fmla="*/ 2208500 w 6096001"/>
              <a:gd name="connsiteY1" fmla="*/ 2461578 h 6858000"/>
              <a:gd name="connsiteX2" fmla="*/ 2208500 w 6096001"/>
              <a:gd name="connsiteY2" fmla="*/ 2993835 h 6858000"/>
              <a:gd name="connsiteX3" fmla="*/ 2859036 w 6096001"/>
              <a:gd name="connsiteY3" fmla="*/ 2643188 h 6858000"/>
              <a:gd name="connsiteX4" fmla="*/ 2859036 w 6096001"/>
              <a:gd name="connsiteY4" fmla="*/ 4981766 h 6858000"/>
              <a:gd name="connsiteX5" fmla="*/ 3371270 w 6096001"/>
              <a:gd name="connsiteY5" fmla="*/ 4981766 h 6858000"/>
              <a:gd name="connsiteX6" fmla="*/ 3371270 w 6096001"/>
              <a:gd name="connsiteY6" fmla="*/ 1876235 h 6858000"/>
              <a:gd name="connsiteX7" fmla="*/ 0 w 6096001"/>
              <a:gd name="connsiteY7" fmla="*/ 0 h 6858000"/>
              <a:gd name="connsiteX8" fmla="*/ 5214397 w 6096001"/>
              <a:gd name="connsiteY8" fmla="*/ 0 h 6858000"/>
              <a:gd name="connsiteX9" fmla="*/ 6096001 w 6096001"/>
              <a:gd name="connsiteY9" fmla="*/ 881604 h 6858000"/>
              <a:gd name="connsiteX10" fmla="*/ 6096001 w 6096001"/>
              <a:gd name="connsiteY10" fmla="*/ 6858000 h 6858000"/>
              <a:gd name="connsiteX11" fmla="*/ 0 w 6096001"/>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96001" h="6858000">
                <a:moveTo>
                  <a:pt x="3022951" y="1876235"/>
                </a:moveTo>
                <a:cubicBezTo>
                  <a:pt x="2752748" y="2187766"/>
                  <a:pt x="2482545" y="2379155"/>
                  <a:pt x="2208500" y="2461578"/>
                </a:cubicBezTo>
                <a:lnTo>
                  <a:pt x="2208500" y="2993835"/>
                </a:lnTo>
                <a:cubicBezTo>
                  <a:pt x="2426199" y="2942146"/>
                  <a:pt x="2640057" y="2824798"/>
                  <a:pt x="2859036" y="2643188"/>
                </a:cubicBezTo>
                <a:lnTo>
                  <a:pt x="2859036" y="4981766"/>
                </a:lnTo>
                <a:lnTo>
                  <a:pt x="3371270" y="4981766"/>
                </a:lnTo>
                <a:lnTo>
                  <a:pt x="3371270" y="1876235"/>
                </a:ln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tIns="720000">
            <a:noAutofit/>
          </a:bodyPr>
          <a:lstStyle>
            <a:lvl1pPr marL="0" marR="0" indent="0" algn="ctr" defTabSz="914400" rtl="0" eaLnBrk="1" fontAlgn="auto" latinLnBrk="0" hangingPunct="1">
              <a:lnSpc>
                <a:spcPct val="110000"/>
              </a:lnSpc>
              <a:spcBef>
                <a:spcPts val="0"/>
              </a:spcBef>
              <a:spcAft>
                <a:spcPts val="1200"/>
              </a:spcAft>
              <a:buClrTx/>
              <a:buSzTx/>
              <a:buFont typeface="Arial" panose="020B0604020202020204" pitchFamily="34" charset="0"/>
              <a:buNone/>
              <a:tabLst/>
              <a:defRPr sz="1600">
                <a:solidFill>
                  <a:schemeClr val="bg1">
                    <a:lumMod val="50000"/>
                  </a:schemeClr>
                </a:solidFill>
              </a:defRPr>
            </a:lvl1pPr>
          </a:lstStyle>
          <a:p>
            <a:r>
              <a:rPr lang="en-US"/>
              <a:t>Click icon to add picture</a:t>
            </a:r>
            <a:endParaRPr lang="en-GB"/>
          </a:p>
        </p:txBody>
      </p:sp>
      <p:pic>
        <p:nvPicPr>
          <p:cNvPr id="8" name="Graphic 7">
            <a:extLst>
              <a:ext uri="{FF2B5EF4-FFF2-40B4-BE49-F238E27FC236}">
                <a16:creationId xmlns:a16="http://schemas.microsoft.com/office/drawing/2014/main" id="{3EC50268-B292-A44F-BED3-2C5DBBD2606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1777"/>
            <a:ext cx="1304260" cy="487680"/>
          </a:xfrm>
          <a:prstGeom prst="rect">
            <a:avLst/>
          </a:prstGeom>
        </p:spPr>
      </p:pic>
      <p:sp>
        <p:nvSpPr>
          <p:cNvPr id="7" name="Text Placeholder 29">
            <a:extLst>
              <a:ext uri="{FF2B5EF4-FFF2-40B4-BE49-F238E27FC236}">
                <a16:creationId xmlns:a16="http://schemas.microsoft.com/office/drawing/2014/main" id="{F9D1ECA4-2E76-AFCB-1752-45EC49E126B9}"/>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bg1"/>
                </a:solidFill>
              </a:defRPr>
            </a:lvl1pPr>
          </a:lstStyle>
          <a:p>
            <a:pPr lvl="0"/>
            <a:r>
              <a:rPr lang="en-GB"/>
              <a:t>Section title goes here</a:t>
            </a:r>
          </a:p>
        </p:txBody>
      </p:sp>
      <p:sp>
        <p:nvSpPr>
          <p:cNvPr id="9" name="Text Placeholder 31">
            <a:extLst>
              <a:ext uri="{FF2B5EF4-FFF2-40B4-BE49-F238E27FC236}">
                <a16:creationId xmlns:a16="http://schemas.microsoft.com/office/drawing/2014/main" id="{210A6CFC-9DAE-801C-CBAB-81E6DC1F915B}"/>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bg2">
                    <a:lumMod val="40000"/>
                    <a:lumOff val="60000"/>
                  </a:schemeClr>
                </a:solidFill>
              </a:defRPr>
            </a:lvl1pPr>
          </a:lstStyle>
          <a:p>
            <a:pPr lvl="0"/>
            <a:r>
              <a:rPr lang="en-GB"/>
              <a:t>SUBTITLE GOES HERE: TYPE IN CAPITALS</a:t>
            </a:r>
          </a:p>
        </p:txBody>
      </p:sp>
    </p:spTree>
    <p:extLst>
      <p:ext uri="{BB962C8B-B14F-4D97-AF65-F5344CB8AC3E}">
        <p14:creationId xmlns:p14="http://schemas.microsoft.com/office/powerpoint/2010/main" val="3907107420"/>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Section Divider + Image B2">
    <p:bg>
      <p:bgPr>
        <a:solidFill>
          <a:schemeClr val="tx2">
            <a:lumMod val="75000"/>
          </a:schemeClr>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D8B3FAE-10BA-7845-921A-76D948055D40}"/>
              </a:ext>
            </a:extLst>
          </p:cNvPr>
          <p:cNvSpPr/>
          <p:nvPr userDrawn="1"/>
        </p:nvSpPr>
        <p:spPr>
          <a:xfrm>
            <a:off x="83127" y="105798"/>
            <a:ext cx="4898251" cy="6635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9" name="Graphic 8">
            <a:extLst>
              <a:ext uri="{FF2B5EF4-FFF2-40B4-BE49-F238E27FC236}">
                <a16:creationId xmlns:a16="http://schemas.microsoft.com/office/drawing/2014/main" id="{71AEB3A9-DC85-414C-A1EF-308330C0697B}"/>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1777"/>
            <a:ext cx="1304260" cy="487680"/>
          </a:xfrm>
          <a:prstGeom prst="rect">
            <a:avLst/>
          </a:prstGeom>
        </p:spPr>
      </p:pic>
      <p:sp>
        <p:nvSpPr>
          <p:cNvPr id="39" name="Picture Placeholder 38">
            <a:extLst>
              <a:ext uri="{FF2B5EF4-FFF2-40B4-BE49-F238E27FC236}">
                <a16:creationId xmlns:a16="http://schemas.microsoft.com/office/drawing/2014/main" id="{785EFCE5-1951-3242-A232-F252911C4EAB}"/>
              </a:ext>
            </a:extLst>
          </p:cNvPr>
          <p:cNvSpPr>
            <a:spLocks noGrp="1"/>
          </p:cNvSpPr>
          <p:nvPr>
            <p:ph type="pic" sz="quarter" idx="10"/>
          </p:nvPr>
        </p:nvSpPr>
        <p:spPr>
          <a:xfrm>
            <a:off x="-2" y="0"/>
            <a:ext cx="6096001" cy="6858000"/>
          </a:xfrm>
          <a:custGeom>
            <a:avLst/>
            <a:gdLst>
              <a:gd name="connsiteX0" fmla="*/ 3078800 w 6096001"/>
              <a:gd name="connsiteY0" fmla="*/ 1892300 h 6858000"/>
              <a:gd name="connsiteX1" fmla="*/ 2003079 w 6096001"/>
              <a:gd name="connsiteY1" fmla="*/ 2443193 h 6858000"/>
              <a:gd name="connsiteX2" fmla="*/ 2435905 w 6096001"/>
              <a:gd name="connsiteY2" fmla="*/ 2746603 h 6858000"/>
              <a:gd name="connsiteX3" fmla="*/ 3026635 w 6096001"/>
              <a:gd name="connsiteY3" fmla="*/ 2408238 h 6858000"/>
              <a:gd name="connsiteX4" fmla="*/ 3472150 w 6096001"/>
              <a:gd name="connsiteY4" fmla="*/ 2777364 h 6858000"/>
              <a:gd name="connsiteX5" fmla="*/ 2825026 w 6096001"/>
              <a:gd name="connsiteY5" fmla="*/ 3514218 h 6858000"/>
              <a:gd name="connsiteX6" fmla="*/ 1986161 w 6096001"/>
              <a:gd name="connsiteY6" fmla="*/ 4857893 h 6858000"/>
              <a:gd name="connsiteX7" fmla="*/ 1986161 w 6096001"/>
              <a:gd name="connsiteY7" fmla="*/ 5014492 h 6858000"/>
              <a:gd name="connsiteX8" fmla="*/ 4102356 w 6096001"/>
              <a:gd name="connsiteY8" fmla="*/ 5014492 h 6858000"/>
              <a:gd name="connsiteX9" fmla="*/ 4102356 w 6096001"/>
              <a:gd name="connsiteY9" fmla="*/ 4515333 h 6858000"/>
              <a:gd name="connsiteX10" fmla="*/ 2614957 w 6096001"/>
              <a:gd name="connsiteY10" fmla="*/ 4515333 h 6858000"/>
              <a:gd name="connsiteX11" fmla="*/ 3301557 w 6096001"/>
              <a:gd name="connsiteY11" fmla="*/ 3809239 h 6858000"/>
              <a:gd name="connsiteX12" fmla="*/ 4053011 w 6096001"/>
              <a:gd name="connsiteY12" fmla="*/ 2750798 h 6858000"/>
              <a:gd name="connsiteX13" fmla="*/ 3078800 w 6096001"/>
              <a:gd name="connsiteY13" fmla="*/ 1892300 h 6858000"/>
              <a:gd name="connsiteX14" fmla="*/ 0 w 6096001"/>
              <a:gd name="connsiteY14" fmla="*/ 0 h 6858000"/>
              <a:gd name="connsiteX15" fmla="*/ 5214397 w 6096001"/>
              <a:gd name="connsiteY15" fmla="*/ 0 h 6858000"/>
              <a:gd name="connsiteX16" fmla="*/ 6096001 w 6096001"/>
              <a:gd name="connsiteY16" fmla="*/ 881604 h 6858000"/>
              <a:gd name="connsiteX17" fmla="*/ 6096001 w 6096001"/>
              <a:gd name="connsiteY17" fmla="*/ 6858000 h 6858000"/>
              <a:gd name="connsiteX18" fmla="*/ 0 w 6096001"/>
              <a:gd name="connsiteY1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096001" h="6858000">
                <a:moveTo>
                  <a:pt x="3078800" y="1892300"/>
                </a:moveTo>
                <a:cubicBezTo>
                  <a:pt x="2571252" y="1892300"/>
                  <a:pt x="2235706" y="2082456"/>
                  <a:pt x="2003079" y="2443193"/>
                </a:cubicBezTo>
                <a:lnTo>
                  <a:pt x="2435905" y="2746603"/>
                </a:lnTo>
                <a:cubicBezTo>
                  <a:pt x="2576891" y="2529882"/>
                  <a:pt x="2768632" y="2408238"/>
                  <a:pt x="3026635" y="2408238"/>
                </a:cubicBezTo>
                <a:cubicBezTo>
                  <a:pt x="3318476" y="2408238"/>
                  <a:pt x="3472150" y="2556447"/>
                  <a:pt x="3472150" y="2777364"/>
                </a:cubicBezTo>
                <a:cubicBezTo>
                  <a:pt x="3472150" y="3020651"/>
                  <a:pt x="3301557" y="3198224"/>
                  <a:pt x="2825026" y="3514218"/>
                </a:cubicBezTo>
                <a:cubicBezTo>
                  <a:pt x="2231476" y="3916901"/>
                  <a:pt x="1986161" y="4315389"/>
                  <a:pt x="1986161" y="4857893"/>
                </a:cubicBezTo>
                <a:lnTo>
                  <a:pt x="1986161" y="5014492"/>
                </a:lnTo>
                <a:lnTo>
                  <a:pt x="4102356" y="5014492"/>
                </a:lnTo>
                <a:lnTo>
                  <a:pt x="4102356" y="4515333"/>
                </a:lnTo>
                <a:lnTo>
                  <a:pt x="2614957" y="4515333"/>
                </a:lnTo>
                <a:cubicBezTo>
                  <a:pt x="2645974" y="4346150"/>
                  <a:pt x="2891289" y="4081889"/>
                  <a:pt x="3301557" y="3809239"/>
                </a:cubicBezTo>
                <a:cubicBezTo>
                  <a:pt x="3834483" y="3456891"/>
                  <a:pt x="4053011" y="3175852"/>
                  <a:pt x="4053011" y="2750798"/>
                </a:cubicBezTo>
                <a:cubicBezTo>
                  <a:pt x="4053011" y="2255833"/>
                  <a:pt x="3646972" y="1892300"/>
                  <a:pt x="3078800" y="1892300"/>
                </a:cubicBez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tIns="720000">
            <a:noAutofit/>
          </a:bodyPr>
          <a:lstStyle>
            <a:lvl1pPr algn="ctr">
              <a:defRPr sz="1600">
                <a:solidFill>
                  <a:schemeClr val="bg1">
                    <a:lumMod val="50000"/>
                  </a:schemeClr>
                </a:solidFill>
              </a:defRPr>
            </a:lvl1pPr>
          </a:lstStyle>
          <a:p>
            <a:r>
              <a:rPr lang="en-US"/>
              <a:t>Click icon to add picture</a:t>
            </a:r>
            <a:endParaRPr lang="en-GB"/>
          </a:p>
        </p:txBody>
      </p:sp>
      <p:sp>
        <p:nvSpPr>
          <p:cNvPr id="10" name="Text Placeholder 29">
            <a:extLst>
              <a:ext uri="{FF2B5EF4-FFF2-40B4-BE49-F238E27FC236}">
                <a16:creationId xmlns:a16="http://schemas.microsoft.com/office/drawing/2014/main" id="{06A0666E-A97D-1003-AAE7-6FAEBACEBC15}"/>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bg1"/>
                </a:solidFill>
              </a:defRPr>
            </a:lvl1pPr>
          </a:lstStyle>
          <a:p>
            <a:pPr lvl="0"/>
            <a:r>
              <a:rPr lang="en-GB"/>
              <a:t>Section title goes here</a:t>
            </a:r>
          </a:p>
        </p:txBody>
      </p:sp>
      <p:sp>
        <p:nvSpPr>
          <p:cNvPr id="11" name="Text Placeholder 31">
            <a:extLst>
              <a:ext uri="{FF2B5EF4-FFF2-40B4-BE49-F238E27FC236}">
                <a16:creationId xmlns:a16="http://schemas.microsoft.com/office/drawing/2014/main" id="{098A54B8-9E40-BE44-A31D-00E6FC191FAA}"/>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bg2">
                    <a:lumMod val="40000"/>
                    <a:lumOff val="60000"/>
                  </a:schemeClr>
                </a:solidFill>
              </a:defRPr>
            </a:lvl1pPr>
          </a:lstStyle>
          <a:p>
            <a:pPr lvl="0"/>
            <a:r>
              <a:rPr lang="en-GB"/>
              <a:t>SUBTITLE GOES HERE: TYPE IN CAPITALS</a:t>
            </a:r>
          </a:p>
        </p:txBody>
      </p:sp>
    </p:spTree>
    <p:extLst>
      <p:ext uri="{BB962C8B-B14F-4D97-AF65-F5344CB8AC3E}">
        <p14:creationId xmlns:p14="http://schemas.microsoft.com/office/powerpoint/2010/main" val="649043190"/>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Section Divider + Image B3">
    <p:bg>
      <p:bgPr>
        <a:solidFill>
          <a:schemeClr val="tx2">
            <a:lumMod val="75000"/>
          </a:schemeClr>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B27288C-7259-9C4C-AE4F-E7A2FDA0B2B2}"/>
              </a:ext>
            </a:extLst>
          </p:cNvPr>
          <p:cNvSpPr/>
          <p:nvPr userDrawn="1"/>
        </p:nvSpPr>
        <p:spPr>
          <a:xfrm>
            <a:off x="83127" y="105798"/>
            <a:ext cx="4898251" cy="6635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Graphic 10">
            <a:extLst>
              <a:ext uri="{FF2B5EF4-FFF2-40B4-BE49-F238E27FC236}">
                <a16:creationId xmlns:a16="http://schemas.microsoft.com/office/drawing/2014/main" id="{B864648D-453B-ED4C-8BB1-586D325E3F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1777"/>
            <a:ext cx="1304260" cy="487680"/>
          </a:xfrm>
          <a:prstGeom prst="rect">
            <a:avLst/>
          </a:prstGeom>
        </p:spPr>
      </p:pic>
      <p:sp>
        <p:nvSpPr>
          <p:cNvPr id="13" name="Picture Placeholder 12">
            <a:extLst>
              <a:ext uri="{FF2B5EF4-FFF2-40B4-BE49-F238E27FC236}">
                <a16:creationId xmlns:a16="http://schemas.microsoft.com/office/drawing/2014/main" id="{736D7151-EE44-6D41-A861-17BC5B8F0001}"/>
              </a:ext>
            </a:extLst>
          </p:cNvPr>
          <p:cNvSpPr>
            <a:spLocks noGrp="1"/>
          </p:cNvSpPr>
          <p:nvPr>
            <p:ph type="pic" sz="quarter" idx="10"/>
          </p:nvPr>
        </p:nvSpPr>
        <p:spPr>
          <a:xfrm>
            <a:off x="-2" y="0"/>
            <a:ext cx="6096001" cy="6858000"/>
          </a:xfrm>
          <a:custGeom>
            <a:avLst/>
            <a:gdLst>
              <a:gd name="connsiteX0" fmla="*/ 3115819 w 6096001"/>
              <a:gd name="connsiteY0" fmla="*/ 1901215 h 6858000"/>
              <a:gd name="connsiteX1" fmla="*/ 2096475 w 6096001"/>
              <a:gd name="connsiteY1" fmla="*/ 2469051 h 6858000"/>
              <a:gd name="connsiteX2" fmla="*/ 2517092 w 6096001"/>
              <a:gd name="connsiteY2" fmla="*/ 2737003 h 6858000"/>
              <a:gd name="connsiteX3" fmla="*/ 3061016 w 6096001"/>
              <a:gd name="connsiteY3" fmla="*/ 2401022 h 6858000"/>
              <a:gd name="connsiteX4" fmla="*/ 3455600 w 6096001"/>
              <a:gd name="connsiteY4" fmla="*/ 2732838 h 6858000"/>
              <a:gd name="connsiteX5" fmla="*/ 2725345 w 6096001"/>
              <a:gd name="connsiteY5" fmla="*/ 3202101 h 6858000"/>
              <a:gd name="connsiteX6" fmla="*/ 2725345 w 6096001"/>
              <a:gd name="connsiteY6" fmla="*/ 3663034 h 6858000"/>
              <a:gd name="connsiteX7" fmla="*/ 3570688 w 6096001"/>
              <a:gd name="connsiteY7" fmla="*/ 4110083 h 6858000"/>
              <a:gd name="connsiteX8" fmla="*/ 3044575 w 6096001"/>
              <a:gd name="connsiteY8" fmla="*/ 4544637 h 6858000"/>
              <a:gd name="connsiteX9" fmla="*/ 2300618 w 6096001"/>
              <a:gd name="connsiteY9" fmla="*/ 4273909 h 6858000"/>
              <a:gd name="connsiteX10" fmla="*/ 1977278 w 6096001"/>
              <a:gd name="connsiteY10" fmla="*/ 4712628 h 6858000"/>
              <a:gd name="connsiteX11" fmla="*/ 1978648 w 6096001"/>
              <a:gd name="connsiteY11" fmla="*/ 4711240 h 6858000"/>
              <a:gd name="connsiteX12" fmla="*/ 3048685 w 6096001"/>
              <a:gd name="connsiteY12" fmla="*/ 5043056 h 6858000"/>
              <a:gd name="connsiteX13" fmla="*/ 4118722 w 6096001"/>
              <a:gd name="connsiteY13" fmla="*/ 4126744 h 6858000"/>
              <a:gd name="connsiteX14" fmla="*/ 3455600 w 6096001"/>
              <a:gd name="connsiteY14" fmla="*/ 3360373 h 6858000"/>
              <a:gd name="connsiteX15" fmla="*/ 3999524 w 6096001"/>
              <a:gd name="connsiteY15" fmla="*/ 2628712 h 6858000"/>
              <a:gd name="connsiteX16" fmla="*/ 3115819 w 6096001"/>
              <a:gd name="connsiteY16" fmla="*/ 1901215 h 6858000"/>
              <a:gd name="connsiteX17" fmla="*/ 0 w 6096001"/>
              <a:gd name="connsiteY17" fmla="*/ 0 h 6858000"/>
              <a:gd name="connsiteX18" fmla="*/ 5214397 w 6096001"/>
              <a:gd name="connsiteY18" fmla="*/ 0 h 6858000"/>
              <a:gd name="connsiteX19" fmla="*/ 6096001 w 6096001"/>
              <a:gd name="connsiteY19" fmla="*/ 881604 h 6858000"/>
              <a:gd name="connsiteX20" fmla="*/ 6096001 w 6096001"/>
              <a:gd name="connsiteY20" fmla="*/ 6858000 h 6858000"/>
              <a:gd name="connsiteX21" fmla="*/ 0 w 6096001"/>
              <a:gd name="connsiteY2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096001" h="6858000">
                <a:moveTo>
                  <a:pt x="3115819" y="1901215"/>
                </a:moveTo>
                <a:cubicBezTo>
                  <a:pt x="2614368" y="1901215"/>
                  <a:pt x="2278697" y="2128905"/>
                  <a:pt x="2096475" y="2469051"/>
                </a:cubicBezTo>
                <a:lnTo>
                  <a:pt x="2517092" y="2737003"/>
                </a:lnTo>
                <a:cubicBezTo>
                  <a:pt x="2602037" y="2581508"/>
                  <a:pt x="2780148" y="2401022"/>
                  <a:pt x="3061016" y="2401022"/>
                </a:cubicBezTo>
                <a:cubicBezTo>
                  <a:pt x="3302151" y="2401022"/>
                  <a:pt x="3455600" y="2534304"/>
                  <a:pt x="3455600" y="2732838"/>
                </a:cubicBezTo>
                <a:cubicBezTo>
                  <a:pt x="3455600" y="2964693"/>
                  <a:pt x="3285710" y="3197936"/>
                  <a:pt x="2725345" y="3202101"/>
                </a:cubicBezTo>
                <a:lnTo>
                  <a:pt x="2725345" y="3663034"/>
                </a:lnTo>
                <a:cubicBezTo>
                  <a:pt x="3303521" y="3663034"/>
                  <a:pt x="3570688" y="3825471"/>
                  <a:pt x="3570688" y="4110083"/>
                </a:cubicBezTo>
                <a:cubicBezTo>
                  <a:pt x="3570688" y="4372481"/>
                  <a:pt x="3384356" y="4544637"/>
                  <a:pt x="3044575" y="4544637"/>
                </a:cubicBezTo>
                <a:cubicBezTo>
                  <a:pt x="2737676" y="4544637"/>
                  <a:pt x="2504761" y="4433570"/>
                  <a:pt x="2300618" y="4273909"/>
                </a:cubicBezTo>
                <a:lnTo>
                  <a:pt x="1977278" y="4712628"/>
                </a:lnTo>
                <a:lnTo>
                  <a:pt x="1978648" y="4711240"/>
                </a:lnTo>
                <a:cubicBezTo>
                  <a:pt x="2271846" y="4926434"/>
                  <a:pt x="2581486" y="5043056"/>
                  <a:pt x="3048685" y="5043056"/>
                </a:cubicBezTo>
                <a:cubicBezTo>
                  <a:pt x="3698106" y="5043056"/>
                  <a:pt x="4118722" y="4659870"/>
                  <a:pt x="4118722" y="4126744"/>
                </a:cubicBezTo>
                <a:cubicBezTo>
                  <a:pt x="4118722" y="3708850"/>
                  <a:pt x="3863886" y="3468665"/>
                  <a:pt x="3455600" y="3360373"/>
                </a:cubicBezTo>
                <a:cubicBezTo>
                  <a:pt x="3791271" y="3239587"/>
                  <a:pt x="3999524" y="2999402"/>
                  <a:pt x="3999524" y="2628712"/>
                </a:cubicBezTo>
                <a:cubicBezTo>
                  <a:pt x="3999524" y="2206653"/>
                  <a:pt x="3617271" y="1901215"/>
                  <a:pt x="3115819" y="1901215"/>
                </a:cubicBez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tIns="720000">
            <a:noAutofit/>
          </a:bodyPr>
          <a:lstStyle>
            <a:lvl1pPr algn="ctr">
              <a:defRPr sz="1600">
                <a:solidFill>
                  <a:schemeClr val="bg1">
                    <a:lumMod val="50000"/>
                  </a:schemeClr>
                </a:solidFill>
              </a:defRPr>
            </a:lvl1pPr>
          </a:lstStyle>
          <a:p>
            <a:r>
              <a:rPr lang="en-US"/>
              <a:t>Click icon to add picture</a:t>
            </a:r>
            <a:endParaRPr lang="en-GB"/>
          </a:p>
        </p:txBody>
      </p:sp>
      <p:sp>
        <p:nvSpPr>
          <p:cNvPr id="7" name="Text Placeholder 29">
            <a:extLst>
              <a:ext uri="{FF2B5EF4-FFF2-40B4-BE49-F238E27FC236}">
                <a16:creationId xmlns:a16="http://schemas.microsoft.com/office/drawing/2014/main" id="{25C2FE18-7101-835D-ADE0-E6D02E757D2C}"/>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bg1"/>
                </a:solidFill>
              </a:defRPr>
            </a:lvl1pPr>
          </a:lstStyle>
          <a:p>
            <a:pPr lvl="0"/>
            <a:r>
              <a:rPr lang="en-GB"/>
              <a:t>Section title goes here</a:t>
            </a:r>
          </a:p>
        </p:txBody>
      </p:sp>
      <p:sp>
        <p:nvSpPr>
          <p:cNvPr id="12" name="Text Placeholder 31">
            <a:extLst>
              <a:ext uri="{FF2B5EF4-FFF2-40B4-BE49-F238E27FC236}">
                <a16:creationId xmlns:a16="http://schemas.microsoft.com/office/drawing/2014/main" id="{E4418E5A-E58F-0B96-77BA-27495CF8E9DA}"/>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bg2">
                    <a:lumMod val="40000"/>
                    <a:lumOff val="60000"/>
                  </a:schemeClr>
                </a:solidFill>
              </a:defRPr>
            </a:lvl1pPr>
          </a:lstStyle>
          <a:p>
            <a:pPr lvl="0"/>
            <a:r>
              <a:rPr lang="en-GB"/>
              <a:t>SUBTITLE GOES HERE: TYPE IN CAPITALS</a:t>
            </a:r>
          </a:p>
        </p:txBody>
      </p:sp>
    </p:spTree>
    <p:extLst>
      <p:ext uri="{BB962C8B-B14F-4D97-AF65-F5344CB8AC3E}">
        <p14:creationId xmlns:p14="http://schemas.microsoft.com/office/powerpoint/2010/main" val="1972951121"/>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Section Divider + Image B4">
    <p:bg>
      <p:bgPr>
        <a:solidFill>
          <a:schemeClr val="tx2">
            <a:lumMod val="75000"/>
          </a:schemeClr>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B27288C-7259-9C4C-AE4F-E7A2FDA0B2B2}"/>
              </a:ext>
            </a:extLst>
          </p:cNvPr>
          <p:cNvSpPr/>
          <p:nvPr userDrawn="1"/>
        </p:nvSpPr>
        <p:spPr>
          <a:xfrm>
            <a:off x="83127" y="105798"/>
            <a:ext cx="4898251" cy="6635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Graphic 10">
            <a:extLst>
              <a:ext uri="{FF2B5EF4-FFF2-40B4-BE49-F238E27FC236}">
                <a16:creationId xmlns:a16="http://schemas.microsoft.com/office/drawing/2014/main" id="{B864648D-453B-ED4C-8BB1-586D325E3F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1777"/>
            <a:ext cx="1304260" cy="487680"/>
          </a:xfrm>
          <a:prstGeom prst="rect">
            <a:avLst/>
          </a:prstGeom>
        </p:spPr>
      </p:pic>
      <p:sp>
        <p:nvSpPr>
          <p:cNvPr id="7" name="Picture Placeholder 6">
            <a:extLst>
              <a:ext uri="{FF2B5EF4-FFF2-40B4-BE49-F238E27FC236}">
                <a16:creationId xmlns:a16="http://schemas.microsoft.com/office/drawing/2014/main" id="{A66FEC1B-CB13-FBEB-0D56-B30A0523DF3A}"/>
              </a:ext>
            </a:extLst>
          </p:cNvPr>
          <p:cNvSpPr>
            <a:spLocks noGrp="1"/>
          </p:cNvSpPr>
          <p:nvPr>
            <p:ph type="pic" sz="quarter" idx="14"/>
          </p:nvPr>
        </p:nvSpPr>
        <p:spPr>
          <a:xfrm>
            <a:off x="0" y="0"/>
            <a:ext cx="6096001" cy="6858000"/>
          </a:xfrm>
          <a:custGeom>
            <a:avLst/>
            <a:gdLst>
              <a:gd name="connsiteX0" fmla="*/ 3218999 w 6096001"/>
              <a:gd name="connsiteY0" fmla="*/ 2668987 h 6858000"/>
              <a:gd name="connsiteX1" fmla="*/ 3218999 w 6096001"/>
              <a:gd name="connsiteY1" fmla="*/ 3752595 h 6858000"/>
              <a:gd name="connsiteX2" fmla="*/ 2442001 w 6096001"/>
              <a:gd name="connsiteY2" fmla="*/ 3752595 h 6858000"/>
              <a:gd name="connsiteX3" fmla="*/ 3218999 w 6096001"/>
              <a:gd name="connsiteY3" fmla="*/ 1883188 h 6858000"/>
              <a:gd name="connsiteX4" fmla="*/ 1820976 w 6096001"/>
              <a:gd name="connsiteY4" fmla="*/ 3839578 h 6858000"/>
              <a:gd name="connsiteX5" fmla="*/ 1820976 w 6096001"/>
              <a:gd name="connsiteY5" fmla="*/ 4242061 h 6858000"/>
              <a:gd name="connsiteX6" fmla="*/ 3218999 w 6096001"/>
              <a:gd name="connsiteY6" fmla="*/ 4242061 h 6858000"/>
              <a:gd name="connsiteX7" fmla="*/ 3218999 w 6096001"/>
              <a:gd name="connsiteY7" fmla="*/ 5164970 h 6858000"/>
              <a:gd name="connsiteX8" fmla="*/ 3791372 w 6096001"/>
              <a:gd name="connsiteY8" fmla="*/ 5164970 h 6858000"/>
              <a:gd name="connsiteX9" fmla="*/ 3791372 w 6096001"/>
              <a:gd name="connsiteY9" fmla="*/ 4242061 h 6858000"/>
              <a:gd name="connsiteX10" fmla="*/ 4275028 w 6096001"/>
              <a:gd name="connsiteY10" fmla="*/ 4242061 h 6858000"/>
              <a:gd name="connsiteX11" fmla="*/ 4275028 w 6096001"/>
              <a:gd name="connsiteY11" fmla="*/ 3752595 h 6858000"/>
              <a:gd name="connsiteX12" fmla="*/ 3791372 w 6096001"/>
              <a:gd name="connsiteY12" fmla="*/ 3752595 h 6858000"/>
              <a:gd name="connsiteX13" fmla="*/ 3791372 w 6096001"/>
              <a:gd name="connsiteY13" fmla="*/ 1883188 h 6858000"/>
              <a:gd name="connsiteX14" fmla="*/ 0 w 6096001"/>
              <a:gd name="connsiteY14" fmla="*/ 0 h 6858000"/>
              <a:gd name="connsiteX15" fmla="*/ 5214397 w 6096001"/>
              <a:gd name="connsiteY15" fmla="*/ 0 h 6858000"/>
              <a:gd name="connsiteX16" fmla="*/ 6096001 w 6096001"/>
              <a:gd name="connsiteY16" fmla="*/ 881604 h 6858000"/>
              <a:gd name="connsiteX17" fmla="*/ 6096001 w 6096001"/>
              <a:gd name="connsiteY17" fmla="*/ 6858000 h 6858000"/>
              <a:gd name="connsiteX18" fmla="*/ 0 w 6096001"/>
              <a:gd name="connsiteY1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096001" h="6858000">
                <a:moveTo>
                  <a:pt x="3218999" y="2668987"/>
                </a:moveTo>
                <a:lnTo>
                  <a:pt x="3218999" y="3752595"/>
                </a:lnTo>
                <a:lnTo>
                  <a:pt x="2442001" y="3752595"/>
                </a:lnTo>
                <a:close/>
                <a:moveTo>
                  <a:pt x="3218999" y="1883188"/>
                </a:moveTo>
                <a:lnTo>
                  <a:pt x="1820976" y="3839578"/>
                </a:lnTo>
                <a:lnTo>
                  <a:pt x="1820976" y="4242061"/>
                </a:lnTo>
                <a:lnTo>
                  <a:pt x="3218999" y="4242061"/>
                </a:lnTo>
                <a:lnTo>
                  <a:pt x="3218999" y="5164970"/>
                </a:lnTo>
                <a:lnTo>
                  <a:pt x="3791372" y="5164970"/>
                </a:lnTo>
                <a:lnTo>
                  <a:pt x="3791372" y="4242061"/>
                </a:lnTo>
                <a:lnTo>
                  <a:pt x="4275028" y="4242061"/>
                </a:lnTo>
                <a:lnTo>
                  <a:pt x="4275028" y="3752595"/>
                </a:lnTo>
                <a:lnTo>
                  <a:pt x="3791372" y="3752595"/>
                </a:lnTo>
                <a:lnTo>
                  <a:pt x="3791372" y="1883188"/>
                </a:ln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anchor="ctr">
            <a:noAutofit/>
          </a:bodyPr>
          <a:lstStyle>
            <a:lvl1pPr algn="ctr">
              <a:defRPr sz="1600">
                <a:solidFill>
                  <a:schemeClr val="bg1">
                    <a:lumMod val="50000"/>
                  </a:schemeClr>
                </a:solidFill>
              </a:defRPr>
            </a:lvl1pPr>
          </a:lstStyle>
          <a:p>
            <a:r>
              <a:rPr lang="en-US"/>
              <a:t>Click icon to add picture</a:t>
            </a:r>
            <a:endParaRPr lang="en-GB"/>
          </a:p>
        </p:txBody>
      </p:sp>
      <p:sp>
        <p:nvSpPr>
          <p:cNvPr id="12" name="Text Placeholder 29">
            <a:extLst>
              <a:ext uri="{FF2B5EF4-FFF2-40B4-BE49-F238E27FC236}">
                <a16:creationId xmlns:a16="http://schemas.microsoft.com/office/drawing/2014/main" id="{685E723E-9B95-DE16-D2D8-EB21AE8AD08F}"/>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bg1"/>
                </a:solidFill>
              </a:defRPr>
            </a:lvl1pPr>
          </a:lstStyle>
          <a:p>
            <a:pPr lvl="0"/>
            <a:r>
              <a:rPr lang="en-GB"/>
              <a:t>Section title goes here</a:t>
            </a:r>
          </a:p>
        </p:txBody>
      </p:sp>
      <p:sp>
        <p:nvSpPr>
          <p:cNvPr id="13" name="Text Placeholder 31">
            <a:extLst>
              <a:ext uri="{FF2B5EF4-FFF2-40B4-BE49-F238E27FC236}">
                <a16:creationId xmlns:a16="http://schemas.microsoft.com/office/drawing/2014/main" id="{92B6EC2E-829A-8421-4DF9-E5CDC6DA5409}"/>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bg2">
                    <a:lumMod val="40000"/>
                    <a:lumOff val="60000"/>
                  </a:schemeClr>
                </a:solidFill>
              </a:defRPr>
            </a:lvl1pPr>
          </a:lstStyle>
          <a:p>
            <a:pPr lvl="0"/>
            <a:r>
              <a:rPr lang="en-GB"/>
              <a:t>SUBTITLE GOES HERE: TYPE IN CAPITALS</a:t>
            </a:r>
          </a:p>
        </p:txBody>
      </p:sp>
    </p:spTree>
    <p:extLst>
      <p:ext uri="{BB962C8B-B14F-4D97-AF65-F5344CB8AC3E}">
        <p14:creationId xmlns:p14="http://schemas.microsoft.com/office/powerpoint/2010/main" val="2426480537"/>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Section Divider + Image B5">
    <p:bg>
      <p:bgPr>
        <a:solidFill>
          <a:schemeClr val="tx2">
            <a:lumMod val="75000"/>
          </a:schemeClr>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B27288C-7259-9C4C-AE4F-E7A2FDA0B2B2}"/>
              </a:ext>
            </a:extLst>
          </p:cNvPr>
          <p:cNvSpPr/>
          <p:nvPr userDrawn="1"/>
        </p:nvSpPr>
        <p:spPr>
          <a:xfrm>
            <a:off x="83127" y="105798"/>
            <a:ext cx="4898251" cy="6635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Graphic 10">
            <a:extLst>
              <a:ext uri="{FF2B5EF4-FFF2-40B4-BE49-F238E27FC236}">
                <a16:creationId xmlns:a16="http://schemas.microsoft.com/office/drawing/2014/main" id="{B864648D-453B-ED4C-8BB1-586D325E3F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1777"/>
            <a:ext cx="1304260" cy="487680"/>
          </a:xfrm>
          <a:prstGeom prst="rect">
            <a:avLst/>
          </a:prstGeom>
        </p:spPr>
      </p:pic>
      <p:sp>
        <p:nvSpPr>
          <p:cNvPr id="12" name="Picture Placeholder 11">
            <a:extLst>
              <a:ext uri="{FF2B5EF4-FFF2-40B4-BE49-F238E27FC236}">
                <a16:creationId xmlns:a16="http://schemas.microsoft.com/office/drawing/2014/main" id="{965DBAFD-23F0-1A0E-5FDF-8321772FC365}"/>
              </a:ext>
            </a:extLst>
          </p:cNvPr>
          <p:cNvSpPr>
            <a:spLocks noGrp="1"/>
          </p:cNvSpPr>
          <p:nvPr>
            <p:ph type="pic" sz="quarter" idx="14"/>
          </p:nvPr>
        </p:nvSpPr>
        <p:spPr>
          <a:xfrm>
            <a:off x="-2" y="0"/>
            <a:ext cx="6096001" cy="6858000"/>
          </a:xfrm>
          <a:custGeom>
            <a:avLst/>
            <a:gdLst>
              <a:gd name="connsiteX0" fmla="*/ 2264571 w 6096001"/>
              <a:gd name="connsiteY0" fmla="*/ 1883188 h 6858000"/>
              <a:gd name="connsiteX1" fmla="*/ 2167943 w 6096001"/>
              <a:gd name="connsiteY1" fmla="*/ 3625805 h 6858000"/>
              <a:gd name="connsiteX2" fmla="*/ 2578239 w 6096001"/>
              <a:gd name="connsiteY2" fmla="*/ 3754069 h 6858000"/>
              <a:gd name="connsiteX3" fmla="*/ 3056918 w 6096001"/>
              <a:gd name="connsiteY3" fmla="*/ 3625805 h 6858000"/>
              <a:gd name="connsiteX4" fmla="*/ 3638171 w 6096001"/>
              <a:gd name="connsiteY4" fmla="*/ 4124117 h 6858000"/>
              <a:gd name="connsiteX5" fmla="*/ 3047999 w 6096001"/>
              <a:gd name="connsiteY5" fmla="*/ 4644543 h 6858000"/>
              <a:gd name="connsiteX6" fmla="*/ 2222946 w 6096001"/>
              <a:gd name="connsiteY6" fmla="*/ 4342313 h 6858000"/>
              <a:gd name="connsiteX7" fmla="*/ 1933063 w 6096001"/>
              <a:gd name="connsiteY7" fmla="*/ 4822933 h 6858000"/>
              <a:gd name="connsiteX8" fmla="*/ 3058405 w 6096001"/>
              <a:gd name="connsiteY8" fmla="*/ 5175290 h 6858000"/>
              <a:gd name="connsiteX9" fmla="*/ 4229830 w 6096001"/>
              <a:gd name="connsiteY9" fmla="*/ 4110849 h 6858000"/>
              <a:gd name="connsiteX10" fmla="*/ 3178818 w 6096001"/>
              <a:gd name="connsiteY10" fmla="*/ 3114225 h 6858000"/>
              <a:gd name="connsiteX11" fmla="*/ 2689733 w 6096001"/>
              <a:gd name="connsiteY11" fmla="*/ 3214477 h 6858000"/>
              <a:gd name="connsiteX12" fmla="*/ 2744736 w 6096001"/>
              <a:gd name="connsiteY12" fmla="*/ 2409511 h 6858000"/>
              <a:gd name="connsiteX13" fmla="*/ 4026169 w 6096001"/>
              <a:gd name="connsiteY13" fmla="*/ 2409511 h 6858000"/>
              <a:gd name="connsiteX14" fmla="*/ 4026169 w 6096001"/>
              <a:gd name="connsiteY14" fmla="*/ 1883188 h 6858000"/>
              <a:gd name="connsiteX15" fmla="*/ 0 w 6096001"/>
              <a:gd name="connsiteY15" fmla="*/ 0 h 6858000"/>
              <a:gd name="connsiteX16" fmla="*/ 5214397 w 6096001"/>
              <a:gd name="connsiteY16" fmla="*/ 0 h 6858000"/>
              <a:gd name="connsiteX17" fmla="*/ 6096001 w 6096001"/>
              <a:gd name="connsiteY17" fmla="*/ 881604 h 6858000"/>
              <a:gd name="connsiteX18" fmla="*/ 6096001 w 6096001"/>
              <a:gd name="connsiteY18" fmla="*/ 6858000 h 6858000"/>
              <a:gd name="connsiteX19" fmla="*/ 0 w 6096001"/>
              <a:gd name="connsiteY1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096001" h="6858000">
                <a:moveTo>
                  <a:pt x="2264571" y="1883188"/>
                </a:moveTo>
                <a:lnTo>
                  <a:pt x="2167943" y="3625805"/>
                </a:lnTo>
                <a:lnTo>
                  <a:pt x="2578239" y="3754069"/>
                </a:lnTo>
                <a:cubicBezTo>
                  <a:pt x="2706085" y="3671508"/>
                  <a:pt x="2863663" y="3625805"/>
                  <a:pt x="3056918" y="3625805"/>
                </a:cubicBezTo>
                <a:cubicBezTo>
                  <a:pt x="3412211" y="3625805"/>
                  <a:pt x="3638171" y="3814515"/>
                  <a:pt x="3638171" y="4124117"/>
                </a:cubicBezTo>
                <a:cubicBezTo>
                  <a:pt x="3638171" y="4433719"/>
                  <a:pt x="3412211" y="4644543"/>
                  <a:pt x="3047999" y="4644543"/>
                </a:cubicBezTo>
                <a:cubicBezTo>
                  <a:pt x="2720951" y="4644543"/>
                  <a:pt x="2435527" y="4511857"/>
                  <a:pt x="2222946" y="4342313"/>
                </a:cubicBezTo>
                <a:lnTo>
                  <a:pt x="1933063" y="4822933"/>
                </a:lnTo>
                <a:cubicBezTo>
                  <a:pt x="2173889" y="5024912"/>
                  <a:pt x="2542561" y="5175290"/>
                  <a:pt x="3058405" y="5175290"/>
                </a:cubicBezTo>
                <a:cubicBezTo>
                  <a:pt x="3755611" y="5175290"/>
                  <a:pt x="4229830" y="4728578"/>
                  <a:pt x="4229830" y="4110849"/>
                </a:cubicBezTo>
                <a:cubicBezTo>
                  <a:pt x="4229830" y="3493119"/>
                  <a:pt x="3801695" y="3114225"/>
                  <a:pt x="3178818" y="3114225"/>
                </a:cubicBezTo>
                <a:cubicBezTo>
                  <a:pt x="3007861" y="3114225"/>
                  <a:pt x="2810146" y="3155505"/>
                  <a:pt x="2689733" y="3214477"/>
                </a:cubicBezTo>
                <a:lnTo>
                  <a:pt x="2744736" y="2409511"/>
                </a:lnTo>
                <a:lnTo>
                  <a:pt x="4026169" y="2409511"/>
                </a:lnTo>
                <a:lnTo>
                  <a:pt x="4026169" y="1883188"/>
                </a:ln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anchor="ctr">
            <a:noAutofit/>
          </a:bodyPr>
          <a:lstStyle>
            <a:lvl1pPr algn="ctr">
              <a:defRPr sz="1600">
                <a:solidFill>
                  <a:schemeClr val="bg1">
                    <a:lumMod val="50000"/>
                  </a:schemeClr>
                </a:solidFill>
              </a:defRPr>
            </a:lvl1pPr>
          </a:lstStyle>
          <a:p>
            <a:r>
              <a:rPr lang="en-US"/>
              <a:t>Click icon to add picture</a:t>
            </a:r>
            <a:endParaRPr lang="en-GB"/>
          </a:p>
        </p:txBody>
      </p:sp>
      <p:sp>
        <p:nvSpPr>
          <p:cNvPr id="7" name="Text Placeholder 29">
            <a:extLst>
              <a:ext uri="{FF2B5EF4-FFF2-40B4-BE49-F238E27FC236}">
                <a16:creationId xmlns:a16="http://schemas.microsoft.com/office/drawing/2014/main" id="{40CB19B9-B076-F72F-4871-28E77338605E}"/>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bg1"/>
                </a:solidFill>
              </a:defRPr>
            </a:lvl1pPr>
          </a:lstStyle>
          <a:p>
            <a:pPr lvl="0"/>
            <a:r>
              <a:rPr lang="en-GB"/>
              <a:t>Section title goes here</a:t>
            </a:r>
          </a:p>
        </p:txBody>
      </p:sp>
      <p:sp>
        <p:nvSpPr>
          <p:cNvPr id="13" name="Text Placeholder 31">
            <a:extLst>
              <a:ext uri="{FF2B5EF4-FFF2-40B4-BE49-F238E27FC236}">
                <a16:creationId xmlns:a16="http://schemas.microsoft.com/office/drawing/2014/main" id="{A7A9F534-6D07-AD6C-9EA8-9F5BCBDDD1B2}"/>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bg2">
                    <a:lumMod val="40000"/>
                    <a:lumOff val="60000"/>
                  </a:schemeClr>
                </a:solidFill>
              </a:defRPr>
            </a:lvl1pPr>
          </a:lstStyle>
          <a:p>
            <a:pPr lvl="0"/>
            <a:r>
              <a:rPr lang="en-GB"/>
              <a:t>SUBTITLE GOES HERE: TYPE IN CAPITALS</a:t>
            </a:r>
          </a:p>
        </p:txBody>
      </p:sp>
    </p:spTree>
    <p:extLst>
      <p:ext uri="{BB962C8B-B14F-4D97-AF65-F5344CB8AC3E}">
        <p14:creationId xmlns:p14="http://schemas.microsoft.com/office/powerpoint/2010/main" val="568275599"/>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Section Divider + Image B6">
    <p:bg>
      <p:bgPr>
        <a:solidFill>
          <a:schemeClr val="tx2">
            <a:lumMod val="75000"/>
          </a:schemeClr>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B27288C-7259-9C4C-AE4F-E7A2FDA0B2B2}"/>
              </a:ext>
            </a:extLst>
          </p:cNvPr>
          <p:cNvSpPr/>
          <p:nvPr userDrawn="1"/>
        </p:nvSpPr>
        <p:spPr>
          <a:xfrm>
            <a:off x="83127" y="105798"/>
            <a:ext cx="4898251" cy="6635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Graphic 10">
            <a:extLst>
              <a:ext uri="{FF2B5EF4-FFF2-40B4-BE49-F238E27FC236}">
                <a16:creationId xmlns:a16="http://schemas.microsoft.com/office/drawing/2014/main" id="{B864648D-453B-ED4C-8BB1-586D325E3F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1777"/>
            <a:ext cx="1304260" cy="487680"/>
          </a:xfrm>
          <a:prstGeom prst="rect">
            <a:avLst/>
          </a:prstGeom>
        </p:spPr>
      </p:pic>
      <p:sp>
        <p:nvSpPr>
          <p:cNvPr id="12" name="Picture Placeholder 11">
            <a:extLst>
              <a:ext uri="{FF2B5EF4-FFF2-40B4-BE49-F238E27FC236}">
                <a16:creationId xmlns:a16="http://schemas.microsoft.com/office/drawing/2014/main" id="{3F971249-5979-2368-F1C4-62CA7A3E8DC6}"/>
              </a:ext>
            </a:extLst>
          </p:cNvPr>
          <p:cNvSpPr>
            <a:spLocks noGrp="1"/>
          </p:cNvSpPr>
          <p:nvPr>
            <p:ph type="pic" sz="quarter" idx="14"/>
          </p:nvPr>
        </p:nvSpPr>
        <p:spPr>
          <a:xfrm>
            <a:off x="0" y="0"/>
            <a:ext cx="6096001" cy="6858000"/>
          </a:xfrm>
          <a:custGeom>
            <a:avLst/>
            <a:gdLst>
              <a:gd name="connsiteX0" fmla="*/ 3077268 w 6096001"/>
              <a:gd name="connsiteY0" fmla="*/ 3517274 h 6858000"/>
              <a:gd name="connsiteX1" fmla="*/ 3608256 w 6096001"/>
              <a:gd name="connsiteY1" fmla="*/ 4024085 h 6858000"/>
              <a:gd name="connsiteX2" fmla="*/ 3609649 w 6096001"/>
              <a:gd name="connsiteY2" fmla="*/ 4025458 h 6858000"/>
              <a:gd name="connsiteX3" fmla="*/ 3064725 w 6096001"/>
              <a:gd name="connsiteY3" fmla="*/ 4548751 h 6858000"/>
              <a:gd name="connsiteX4" fmla="*/ 2503076 w 6096001"/>
              <a:gd name="connsiteY4" fmla="*/ 3973266 h 6858000"/>
              <a:gd name="connsiteX5" fmla="*/ 3077268 w 6096001"/>
              <a:gd name="connsiteY5" fmla="*/ 3517274 h 6858000"/>
              <a:gd name="connsiteX6" fmla="*/ 3834030 w 6096001"/>
              <a:gd name="connsiteY6" fmla="*/ 1925421 h 6858000"/>
              <a:gd name="connsiteX7" fmla="*/ 1945608 w 6096001"/>
              <a:gd name="connsiteY7" fmla="*/ 3731535 h 6858000"/>
              <a:gd name="connsiteX8" fmla="*/ 3085630 w 6096001"/>
              <a:gd name="connsiteY8" fmla="*/ 5025345 h 6858000"/>
              <a:gd name="connsiteX9" fmla="*/ 4148999 w 6096001"/>
              <a:gd name="connsiteY9" fmla="*/ 4015844 h 6858000"/>
              <a:gd name="connsiteX10" fmla="*/ 4150393 w 6096001"/>
              <a:gd name="connsiteY10" fmla="*/ 4015844 h 6858000"/>
              <a:gd name="connsiteX11" fmla="*/ 3195730 w 6096001"/>
              <a:gd name="connsiteY11" fmla="*/ 3083257 h 6858000"/>
              <a:gd name="connsiteX12" fmla="*/ 2525374 w 6096001"/>
              <a:gd name="connsiteY12" fmla="*/ 3338723 h 6858000"/>
              <a:gd name="connsiteX13" fmla="*/ 3946917 w 6096001"/>
              <a:gd name="connsiteY13" fmla="*/ 2402015 h 6858000"/>
              <a:gd name="connsiteX14" fmla="*/ 0 w 6096001"/>
              <a:gd name="connsiteY14" fmla="*/ 0 h 6858000"/>
              <a:gd name="connsiteX15" fmla="*/ 5214397 w 6096001"/>
              <a:gd name="connsiteY15" fmla="*/ 0 h 6858000"/>
              <a:gd name="connsiteX16" fmla="*/ 6096001 w 6096001"/>
              <a:gd name="connsiteY16" fmla="*/ 881604 h 6858000"/>
              <a:gd name="connsiteX17" fmla="*/ 6096001 w 6096001"/>
              <a:gd name="connsiteY17" fmla="*/ 6858000 h 6858000"/>
              <a:gd name="connsiteX18" fmla="*/ 0 w 6096001"/>
              <a:gd name="connsiteY1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096001" h="6858000">
                <a:moveTo>
                  <a:pt x="3077268" y="3517274"/>
                </a:moveTo>
                <a:cubicBezTo>
                  <a:pt x="3396418" y="3517274"/>
                  <a:pt x="3608256" y="3704066"/>
                  <a:pt x="3608256" y="4024085"/>
                </a:cubicBezTo>
                <a:lnTo>
                  <a:pt x="3609649" y="4025458"/>
                </a:lnTo>
                <a:cubicBezTo>
                  <a:pt x="3609649" y="4352344"/>
                  <a:pt x="3379694" y="4548751"/>
                  <a:pt x="3064725" y="4548751"/>
                </a:cubicBezTo>
                <a:cubicBezTo>
                  <a:pt x="2727457" y="4548751"/>
                  <a:pt x="2503076" y="4293285"/>
                  <a:pt x="2503076" y="3973266"/>
                </a:cubicBezTo>
                <a:cubicBezTo>
                  <a:pt x="2503076" y="3691705"/>
                  <a:pt x="2779022" y="3517274"/>
                  <a:pt x="3077268" y="3517274"/>
                </a:cubicBezTo>
                <a:close/>
                <a:moveTo>
                  <a:pt x="3834030" y="1925421"/>
                </a:moveTo>
                <a:cubicBezTo>
                  <a:pt x="2503076" y="1967999"/>
                  <a:pt x="1945608" y="2776973"/>
                  <a:pt x="1945608" y="3731535"/>
                </a:cubicBezTo>
                <a:cubicBezTo>
                  <a:pt x="1945608" y="4574847"/>
                  <a:pt x="2416668" y="5025345"/>
                  <a:pt x="3085630" y="5025345"/>
                </a:cubicBezTo>
                <a:cubicBezTo>
                  <a:pt x="3700238" y="5025345"/>
                  <a:pt x="4148999" y="4616051"/>
                  <a:pt x="4148999" y="4015844"/>
                </a:cubicBezTo>
                <a:lnTo>
                  <a:pt x="4150393" y="4015844"/>
                </a:lnTo>
                <a:cubicBezTo>
                  <a:pt x="4150393" y="3432119"/>
                  <a:pt x="3730899" y="3083257"/>
                  <a:pt x="3195730" y="3083257"/>
                </a:cubicBezTo>
                <a:cubicBezTo>
                  <a:pt x="2897484" y="3083257"/>
                  <a:pt x="2654986" y="3210990"/>
                  <a:pt x="2525374" y="3338723"/>
                </a:cubicBezTo>
                <a:cubicBezTo>
                  <a:pt x="2710732" y="2700059"/>
                  <a:pt x="3160888" y="2436352"/>
                  <a:pt x="3946917" y="2402015"/>
                </a:cubicBez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anchor="ctr">
            <a:noAutofit/>
          </a:bodyPr>
          <a:lstStyle>
            <a:lvl1pPr algn="ctr">
              <a:defRPr sz="1600">
                <a:solidFill>
                  <a:schemeClr val="bg1">
                    <a:lumMod val="50000"/>
                  </a:schemeClr>
                </a:solidFill>
              </a:defRPr>
            </a:lvl1pPr>
          </a:lstStyle>
          <a:p>
            <a:r>
              <a:rPr lang="en-US"/>
              <a:t>Click icon to add picture</a:t>
            </a:r>
            <a:endParaRPr lang="en-GB"/>
          </a:p>
        </p:txBody>
      </p:sp>
      <p:sp>
        <p:nvSpPr>
          <p:cNvPr id="7" name="Text Placeholder 29">
            <a:extLst>
              <a:ext uri="{FF2B5EF4-FFF2-40B4-BE49-F238E27FC236}">
                <a16:creationId xmlns:a16="http://schemas.microsoft.com/office/drawing/2014/main" id="{90F01191-6B5C-8711-84AB-0C200ABE5B85}"/>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bg1"/>
                </a:solidFill>
              </a:defRPr>
            </a:lvl1pPr>
          </a:lstStyle>
          <a:p>
            <a:pPr lvl="0"/>
            <a:r>
              <a:rPr lang="en-GB"/>
              <a:t>Section title goes here</a:t>
            </a:r>
          </a:p>
        </p:txBody>
      </p:sp>
      <p:sp>
        <p:nvSpPr>
          <p:cNvPr id="13" name="Text Placeholder 31">
            <a:extLst>
              <a:ext uri="{FF2B5EF4-FFF2-40B4-BE49-F238E27FC236}">
                <a16:creationId xmlns:a16="http://schemas.microsoft.com/office/drawing/2014/main" id="{CC808A73-1645-699E-2C12-C2D15CC5206C}"/>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bg2">
                    <a:lumMod val="40000"/>
                    <a:lumOff val="60000"/>
                  </a:schemeClr>
                </a:solidFill>
              </a:defRPr>
            </a:lvl1pPr>
          </a:lstStyle>
          <a:p>
            <a:pPr lvl="0"/>
            <a:r>
              <a:rPr lang="en-GB"/>
              <a:t>SUBTITLE GOES HERE: TYPE IN CAPITALS</a:t>
            </a:r>
          </a:p>
        </p:txBody>
      </p:sp>
    </p:spTree>
    <p:extLst>
      <p:ext uri="{BB962C8B-B14F-4D97-AF65-F5344CB8AC3E}">
        <p14:creationId xmlns:p14="http://schemas.microsoft.com/office/powerpoint/2010/main" val="3612463150"/>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hank You">
    <p:bg>
      <p:bgPr>
        <a:blipFill dpi="0" rotWithShape="1">
          <a:blip r:embed="rId2">
            <a:lum/>
            <a:extLst>
              <a:ext uri="{28A0092B-C50C-407E-A947-70E740481C1C}">
                <a14:useLocalDpi xmlns:a14="http://schemas.microsoft.com/office/drawing/2010/main"/>
              </a:ext>
            </a:extLst>
          </a:blip>
          <a:srcRect/>
          <a:stretch>
            <a:fillRect t="-3000" b="-3000"/>
          </a:stretch>
        </a:blipFill>
        <a:effectLst/>
      </p:bgPr>
    </p:bg>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52467373-D57C-F842-8976-B87DEFBE83BE}"/>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361533" y="441777"/>
            <a:ext cx="1304260" cy="487680"/>
          </a:xfrm>
          <a:prstGeom prst="rect">
            <a:avLst/>
          </a:prstGeom>
        </p:spPr>
      </p:pic>
      <p:sp>
        <p:nvSpPr>
          <p:cNvPr id="9" name="Title 8">
            <a:extLst>
              <a:ext uri="{FF2B5EF4-FFF2-40B4-BE49-F238E27FC236}">
                <a16:creationId xmlns:a16="http://schemas.microsoft.com/office/drawing/2014/main" id="{89FFAF13-E12B-E54E-B2B2-5142A884DB82}"/>
              </a:ext>
            </a:extLst>
          </p:cNvPr>
          <p:cNvSpPr>
            <a:spLocks noGrp="1"/>
          </p:cNvSpPr>
          <p:nvPr>
            <p:ph type="title" hasCustomPrompt="1"/>
          </p:nvPr>
        </p:nvSpPr>
        <p:spPr>
          <a:xfrm>
            <a:off x="521719" y="2936557"/>
            <a:ext cx="11154344" cy="984885"/>
          </a:xfrm>
        </p:spPr>
        <p:txBody>
          <a:bodyPr anchor="ctr">
            <a:spAutoFit/>
          </a:bodyPr>
          <a:lstStyle>
            <a:lvl1pPr>
              <a:lnSpc>
                <a:spcPct val="80000"/>
              </a:lnSpc>
              <a:defRPr sz="8000">
                <a:solidFill>
                  <a:schemeClr val="bg1"/>
                </a:solidFill>
              </a:defRPr>
            </a:lvl1pPr>
          </a:lstStyle>
          <a:p>
            <a:r>
              <a:rPr lang="en-GB"/>
              <a:t>Thank you</a:t>
            </a:r>
          </a:p>
        </p:txBody>
      </p:sp>
    </p:spTree>
    <p:extLst>
      <p:ext uri="{BB962C8B-B14F-4D97-AF65-F5344CB8AC3E}">
        <p14:creationId xmlns:p14="http://schemas.microsoft.com/office/powerpoint/2010/main" val="3684794399"/>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Thank You + Image">
    <p:bg>
      <p:bgPr>
        <a:blipFill dpi="0" rotWithShape="1">
          <a:blip r:embed="rId2">
            <a:lum/>
            <a:extLst>
              <a:ext uri="{28A0092B-C50C-407E-A947-70E740481C1C}">
                <a14:useLocalDpi xmlns:a14="http://schemas.microsoft.com/office/drawing/2010/main"/>
              </a:ext>
            </a:extLst>
          </a:blip>
          <a:srcRect/>
          <a:stretch>
            <a:fillRect t="-3000" b="-3000"/>
          </a:stretch>
        </a:blipFill>
        <a:effectLst/>
      </p:bgPr>
    </p:bg>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89FFAF13-E12B-E54E-B2B2-5142A884DB82}"/>
              </a:ext>
            </a:extLst>
          </p:cNvPr>
          <p:cNvSpPr>
            <a:spLocks noGrp="1"/>
          </p:cNvSpPr>
          <p:nvPr>
            <p:ph type="title" hasCustomPrompt="1"/>
          </p:nvPr>
        </p:nvSpPr>
        <p:spPr>
          <a:xfrm>
            <a:off x="6603106" y="2169758"/>
            <a:ext cx="4692628" cy="2518484"/>
          </a:xfrm>
        </p:spPr>
        <p:txBody>
          <a:bodyPr anchor="ctr">
            <a:noAutofit/>
          </a:bodyPr>
          <a:lstStyle>
            <a:lvl1pPr>
              <a:lnSpc>
                <a:spcPct val="90000"/>
              </a:lnSpc>
              <a:defRPr sz="6000">
                <a:solidFill>
                  <a:schemeClr val="bg1"/>
                </a:solidFill>
              </a:defRPr>
            </a:lvl1pPr>
          </a:lstStyle>
          <a:p>
            <a:r>
              <a:rPr lang="en-GB"/>
              <a:t>Thank you</a:t>
            </a:r>
          </a:p>
        </p:txBody>
      </p:sp>
      <p:pic>
        <p:nvPicPr>
          <p:cNvPr id="6" name="Graphic 5">
            <a:extLst>
              <a:ext uri="{FF2B5EF4-FFF2-40B4-BE49-F238E27FC236}">
                <a16:creationId xmlns:a16="http://schemas.microsoft.com/office/drawing/2014/main" id="{66C7CBD7-5355-7F4D-BEF2-28CEADC3C9D5}"/>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361533" y="441777"/>
            <a:ext cx="1304260" cy="487680"/>
          </a:xfrm>
          <a:prstGeom prst="rect">
            <a:avLst/>
          </a:prstGeom>
        </p:spPr>
      </p:pic>
      <p:sp>
        <p:nvSpPr>
          <p:cNvPr id="7" name="Picture Placeholder 4">
            <a:extLst>
              <a:ext uri="{FF2B5EF4-FFF2-40B4-BE49-F238E27FC236}">
                <a16:creationId xmlns:a16="http://schemas.microsoft.com/office/drawing/2014/main" id="{B4768C2A-8E3C-DC4A-8FF7-DCBDDC643F7C}"/>
              </a:ext>
            </a:extLst>
          </p:cNvPr>
          <p:cNvSpPr>
            <a:spLocks noGrp="1"/>
          </p:cNvSpPr>
          <p:nvPr>
            <p:ph type="pic" sz="quarter" idx="10"/>
          </p:nvPr>
        </p:nvSpPr>
        <p:spPr>
          <a:xfrm>
            <a:off x="-2" y="0"/>
            <a:ext cx="6096001" cy="6858000"/>
          </a:xfrm>
          <a:prstGeom prst="round1Rect">
            <a:avLst>
              <a:gd name="adj" fmla="val 14462"/>
            </a:avLst>
          </a:prstGeom>
          <a:solidFill>
            <a:schemeClr val="bg1">
              <a:lumMod val="85000"/>
            </a:schemeClr>
          </a:solidFill>
        </p:spPr>
        <p:txBody>
          <a:bodyPr anchor="ctr">
            <a:normAutofit/>
          </a:bodyPr>
          <a:lstStyle>
            <a:lvl1pPr algn="ctr">
              <a:defRPr sz="1600">
                <a:solidFill>
                  <a:schemeClr val="bg1">
                    <a:lumMod val="50000"/>
                  </a:schemeClr>
                </a:solidFill>
              </a:defRPr>
            </a:lvl1pPr>
          </a:lstStyle>
          <a:p>
            <a:r>
              <a:rPr lang="en-US"/>
              <a:t>Click icon to add picture</a:t>
            </a:r>
            <a:endParaRPr lang="en-GB"/>
          </a:p>
        </p:txBody>
      </p:sp>
    </p:spTree>
    <p:extLst>
      <p:ext uri="{BB962C8B-B14F-4D97-AF65-F5344CB8AC3E}">
        <p14:creationId xmlns:p14="http://schemas.microsoft.com/office/powerpoint/2010/main" val="3812210001"/>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userDrawn="1">
  <p:cSld name="Text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897711635"/>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extLst>
              <a:ext uri="{28A0092B-C50C-407E-A947-70E740481C1C}">
                <a14:useLocalDpi xmlns:a14="http://schemas.microsoft.com/office/drawing/2010/main"/>
              </a:ext>
            </a:extLst>
          </a:blip>
          <a:srcRect/>
          <a:stretch>
            <a:fillRect t="-3000" b="-3000"/>
          </a:stretch>
        </a:blipFill>
        <a:effectLst/>
      </p:bgPr>
    </p:bg>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52467373-D57C-F842-8976-B87DEFBE83BE}"/>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361533" y="441777"/>
            <a:ext cx="1304260" cy="487680"/>
          </a:xfrm>
          <a:prstGeom prst="rect">
            <a:avLst/>
          </a:prstGeom>
        </p:spPr>
      </p:pic>
      <p:sp>
        <p:nvSpPr>
          <p:cNvPr id="3" name="Text Placeholder 2">
            <a:extLst>
              <a:ext uri="{FF2B5EF4-FFF2-40B4-BE49-F238E27FC236}">
                <a16:creationId xmlns:a16="http://schemas.microsoft.com/office/drawing/2014/main" id="{9D4F144B-74C7-A148-8E87-6034061E0CB6}"/>
              </a:ext>
            </a:extLst>
          </p:cNvPr>
          <p:cNvSpPr>
            <a:spLocks noGrp="1"/>
          </p:cNvSpPr>
          <p:nvPr>
            <p:ph type="body" sz="quarter" idx="10" hasCustomPrompt="1"/>
          </p:nvPr>
        </p:nvSpPr>
        <p:spPr>
          <a:xfrm>
            <a:off x="515938" y="1920394"/>
            <a:ext cx="7964947" cy="234609"/>
          </a:xfrm>
        </p:spPr>
        <p:txBody>
          <a:bodyPr>
            <a:normAutofit/>
          </a:bodyPr>
          <a:lstStyle>
            <a:lvl1pPr>
              <a:defRPr sz="1600" spc="300">
                <a:solidFill>
                  <a:schemeClr val="bg1"/>
                </a:solidFill>
              </a:defRPr>
            </a:lvl1pPr>
          </a:lstStyle>
          <a:p>
            <a:pPr lvl="0"/>
            <a:r>
              <a:rPr lang="en-GB"/>
              <a:t>SUBTITLE GOES HERE: TYPE IN CAPITALS</a:t>
            </a:r>
          </a:p>
        </p:txBody>
      </p:sp>
      <p:sp>
        <p:nvSpPr>
          <p:cNvPr id="9" name="Title 8">
            <a:extLst>
              <a:ext uri="{FF2B5EF4-FFF2-40B4-BE49-F238E27FC236}">
                <a16:creationId xmlns:a16="http://schemas.microsoft.com/office/drawing/2014/main" id="{89FFAF13-E12B-E54E-B2B2-5142A884DB82}"/>
              </a:ext>
            </a:extLst>
          </p:cNvPr>
          <p:cNvSpPr>
            <a:spLocks noGrp="1"/>
          </p:cNvSpPr>
          <p:nvPr>
            <p:ph type="title"/>
          </p:nvPr>
        </p:nvSpPr>
        <p:spPr>
          <a:xfrm>
            <a:off x="521719" y="2605179"/>
            <a:ext cx="11154344" cy="1929036"/>
          </a:xfrm>
        </p:spPr>
        <p:txBody>
          <a:bodyPr>
            <a:normAutofit/>
          </a:bodyPr>
          <a:lstStyle>
            <a:lvl1pPr>
              <a:lnSpc>
                <a:spcPct val="80000"/>
              </a:lnSpc>
              <a:defRPr sz="6600">
                <a:solidFill>
                  <a:schemeClr val="bg1"/>
                </a:solidFill>
              </a:defRPr>
            </a:lvl1pPr>
          </a:lstStyle>
          <a:p>
            <a:r>
              <a:rPr lang="en-US"/>
              <a:t>Click to edit Master title style</a:t>
            </a:r>
            <a:endParaRPr lang="en-GB"/>
          </a:p>
        </p:txBody>
      </p:sp>
      <p:sp>
        <p:nvSpPr>
          <p:cNvPr id="10" name="Text Placeholder 2">
            <a:extLst>
              <a:ext uri="{FF2B5EF4-FFF2-40B4-BE49-F238E27FC236}">
                <a16:creationId xmlns:a16="http://schemas.microsoft.com/office/drawing/2014/main" id="{9878A746-9E85-F24C-AD58-8F45F83396CC}"/>
              </a:ext>
            </a:extLst>
          </p:cNvPr>
          <p:cNvSpPr>
            <a:spLocks noGrp="1"/>
          </p:cNvSpPr>
          <p:nvPr>
            <p:ph type="body" sz="quarter" idx="11" hasCustomPrompt="1"/>
          </p:nvPr>
        </p:nvSpPr>
        <p:spPr>
          <a:xfrm>
            <a:off x="515938" y="6302341"/>
            <a:ext cx="5832475" cy="187359"/>
          </a:xfrm>
        </p:spPr>
        <p:txBody>
          <a:bodyPr anchor="b">
            <a:spAutoFit/>
          </a:bodyPr>
          <a:lstStyle>
            <a:lvl1pPr>
              <a:defRPr sz="1200" spc="0">
                <a:solidFill>
                  <a:schemeClr val="bg1"/>
                </a:solidFill>
              </a:defRPr>
            </a:lvl1pPr>
          </a:lstStyle>
          <a:p>
            <a:pPr lvl="0"/>
            <a:r>
              <a:rPr lang="en-GB"/>
              <a:t>Subtitle goes here</a:t>
            </a:r>
          </a:p>
        </p:txBody>
      </p:sp>
      <p:sp>
        <p:nvSpPr>
          <p:cNvPr id="11" name="Text Placeholder 2">
            <a:extLst>
              <a:ext uri="{FF2B5EF4-FFF2-40B4-BE49-F238E27FC236}">
                <a16:creationId xmlns:a16="http://schemas.microsoft.com/office/drawing/2014/main" id="{7AFD6BA4-8A31-2C45-81C0-67141C06959C}"/>
              </a:ext>
            </a:extLst>
          </p:cNvPr>
          <p:cNvSpPr txBox="1">
            <a:spLocks/>
          </p:cNvSpPr>
          <p:nvPr userDrawn="1"/>
        </p:nvSpPr>
        <p:spPr>
          <a:xfrm>
            <a:off x="10367425" y="6173816"/>
            <a:ext cx="1303626" cy="315884"/>
          </a:xfrm>
          <a:prstGeom prst="rect">
            <a:avLst/>
          </a:prstGeom>
        </p:spPr>
        <p:txBody>
          <a:bodyPr lIns="0" tIns="0" rIns="0" bIns="0" anchor="b"/>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en-GB" sz="1800" b="1">
                <a:solidFill>
                  <a:schemeClr val="bg2"/>
                </a:solidFill>
              </a:rPr>
              <a:t>gavi.org</a:t>
            </a:r>
          </a:p>
        </p:txBody>
      </p:sp>
    </p:spTree>
    <p:extLst>
      <p:ext uri="{BB962C8B-B14F-4D97-AF65-F5344CB8AC3E}">
        <p14:creationId xmlns:p14="http://schemas.microsoft.com/office/powerpoint/2010/main" val="226229087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2" spcCol="54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United Against Rabies Forum Meeting - 6-8 November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3055328097"/>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itle Slide + Image">
    <p:bg>
      <p:bgPr>
        <a:blipFill dpi="0" rotWithShape="1">
          <a:blip r:embed="rId2">
            <a:lum/>
            <a:extLst>
              <a:ext uri="{28A0092B-C50C-407E-A947-70E740481C1C}">
                <a14:useLocalDpi xmlns:a14="http://schemas.microsoft.com/office/drawing/2010/main"/>
              </a:ext>
            </a:extLst>
          </a:blip>
          <a:srcRect/>
          <a:stretch>
            <a:fillRect t="-3000" b="-3000"/>
          </a:stretch>
        </a:blipFill>
        <a:effectLst/>
      </p:bgPr>
    </p:bg>
    <p:spTree>
      <p:nvGrpSpPr>
        <p:cNvPr id="1" name=""/>
        <p:cNvGrpSpPr/>
        <p:nvPr/>
      </p:nvGrpSpPr>
      <p:grpSpPr>
        <a:xfrm>
          <a:off x="0" y="0"/>
          <a:ext cx="0" cy="0"/>
          <a:chOff x="0" y="0"/>
          <a:chExt cx="0" cy="0"/>
        </a:xfrm>
      </p:grpSpPr>
      <p:sp>
        <p:nvSpPr>
          <p:cNvPr id="7" name="Picture Placeholder 14">
            <a:extLst>
              <a:ext uri="{FF2B5EF4-FFF2-40B4-BE49-F238E27FC236}">
                <a16:creationId xmlns:a16="http://schemas.microsoft.com/office/drawing/2014/main" id="{86A756F5-203A-4C4F-9479-348B2905A666}"/>
              </a:ext>
            </a:extLst>
          </p:cNvPr>
          <p:cNvSpPr>
            <a:spLocks noGrp="1"/>
          </p:cNvSpPr>
          <p:nvPr>
            <p:ph type="pic" sz="quarter" idx="18" hasCustomPrompt="1"/>
          </p:nvPr>
        </p:nvSpPr>
        <p:spPr>
          <a:xfrm>
            <a:off x="5501514" y="0"/>
            <a:ext cx="6690486" cy="6858000"/>
          </a:xfrm>
          <a:custGeom>
            <a:avLst/>
            <a:gdLst>
              <a:gd name="connsiteX0" fmla="*/ 0 w 7942912"/>
              <a:gd name="connsiteY0" fmla="*/ 0 h 6858000"/>
              <a:gd name="connsiteX1" fmla="*/ 7942912 w 7942912"/>
              <a:gd name="connsiteY1" fmla="*/ 0 h 6858000"/>
              <a:gd name="connsiteX2" fmla="*/ 7942912 w 7942912"/>
              <a:gd name="connsiteY2" fmla="*/ 6858000 h 6858000"/>
              <a:gd name="connsiteX3" fmla="*/ 704040 w 7942912"/>
              <a:gd name="connsiteY3" fmla="*/ 6858000 h 6858000"/>
              <a:gd name="connsiteX4" fmla="*/ 704040 w 7942912"/>
              <a:gd name="connsiteY4" fmla="*/ 704067 h 6858000"/>
              <a:gd name="connsiteX5" fmla="*/ 141865 w 7942912"/>
              <a:gd name="connsiteY5" fmla="*/ 1430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42912" h="6858000">
                <a:moveTo>
                  <a:pt x="0" y="0"/>
                </a:moveTo>
                <a:lnTo>
                  <a:pt x="7942912" y="0"/>
                </a:lnTo>
                <a:lnTo>
                  <a:pt x="7942912" y="6858000"/>
                </a:lnTo>
                <a:lnTo>
                  <a:pt x="704040" y="6858000"/>
                </a:lnTo>
                <a:lnTo>
                  <a:pt x="704040" y="704067"/>
                </a:lnTo>
                <a:cubicBezTo>
                  <a:pt x="704040" y="363826"/>
                  <a:pt x="462698" y="79953"/>
                  <a:pt x="141865" y="14301"/>
                </a:cubicBezTo>
                <a:close/>
              </a:path>
            </a:pathLst>
          </a:custGeom>
          <a:solidFill>
            <a:schemeClr val="bg1">
              <a:lumMod val="85000"/>
            </a:schemeClr>
          </a:solidFill>
        </p:spPr>
        <p:txBody>
          <a:bodyPr wrap="square" anchor="ctr">
            <a:noAutofit/>
          </a:bodyPr>
          <a:lstStyle>
            <a:lvl1pPr marL="0" indent="0" algn="ctr">
              <a:buNone/>
              <a:defRPr sz="1600">
                <a:solidFill>
                  <a:schemeClr val="bg1">
                    <a:lumMod val="50000"/>
                  </a:schemeClr>
                </a:solidFill>
              </a:defRPr>
            </a:lvl1pPr>
          </a:lstStyle>
          <a:p>
            <a:r>
              <a:rPr lang="en-GB"/>
              <a:t>Click icon to insert picture</a:t>
            </a:r>
          </a:p>
        </p:txBody>
      </p:sp>
      <p:sp>
        <p:nvSpPr>
          <p:cNvPr id="3" name="Text Placeholder 2">
            <a:extLst>
              <a:ext uri="{FF2B5EF4-FFF2-40B4-BE49-F238E27FC236}">
                <a16:creationId xmlns:a16="http://schemas.microsoft.com/office/drawing/2014/main" id="{9D4F144B-74C7-A148-8E87-6034061E0CB6}"/>
              </a:ext>
            </a:extLst>
          </p:cNvPr>
          <p:cNvSpPr>
            <a:spLocks noGrp="1"/>
          </p:cNvSpPr>
          <p:nvPr>
            <p:ph type="body" sz="quarter" idx="10" hasCustomPrompt="1"/>
          </p:nvPr>
        </p:nvSpPr>
        <p:spPr>
          <a:xfrm>
            <a:off x="515939" y="1700213"/>
            <a:ext cx="4692628" cy="234609"/>
          </a:xfrm>
        </p:spPr>
        <p:txBody>
          <a:bodyPr>
            <a:normAutofit/>
          </a:bodyPr>
          <a:lstStyle>
            <a:lvl1pPr>
              <a:defRPr sz="1400" spc="300">
                <a:solidFill>
                  <a:schemeClr val="bg1"/>
                </a:solidFill>
              </a:defRPr>
            </a:lvl1pPr>
          </a:lstStyle>
          <a:p>
            <a:pPr lvl="0"/>
            <a:r>
              <a:rPr lang="en-GB"/>
              <a:t>SUBTITLE GOES HERE: TYPE IN CAPITALS</a:t>
            </a:r>
          </a:p>
        </p:txBody>
      </p:sp>
      <p:sp>
        <p:nvSpPr>
          <p:cNvPr id="9" name="Title 8">
            <a:extLst>
              <a:ext uri="{FF2B5EF4-FFF2-40B4-BE49-F238E27FC236}">
                <a16:creationId xmlns:a16="http://schemas.microsoft.com/office/drawing/2014/main" id="{89FFAF13-E12B-E54E-B2B2-5142A884DB82}"/>
              </a:ext>
            </a:extLst>
          </p:cNvPr>
          <p:cNvSpPr>
            <a:spLocks noGrp="1"/>
          </p:cNvSpPr>
          <p:nvPr>
            <p:ph type="title"/>
          </p:nvPr>
        </p:nvSpPr>
        <p:spPr>
          <a:xfrm>
            <a:off x="521719" y="2309427"/>
            <a:ext cx="4692628" cy="2518484"/>
          </a:xfrm>
        </p:spPr>
        <p:txBody>
          <a:bodyPr>
            <a:noAutofit/>
          </a:bodyPr>
          <a:lstStyle>
            <a:lvl1pPr>
              <a:lnSpc>
                <a:spcPct val="90000"/>
              </a:lnSpc>
              <a:defRPr sz="6000">
                <a:solidFill>
                  <a:schemeClr val="bg1"/>
                </a:solidFill>
              </a:defRPr>
            </a:lvl1pPr>
          </a:lstStyle>
          <a:p>
            <a:r>
              <a:rPr lang="en-US"/>
              <a:t>Click to edit Master title style</a:t>
            </a:r>
            <a:endParaRPr lang="en-GB"/>
          </a:p>
        </p:txBody>
      </p:sp>
      <p:sp>
        <p:nvSpPr>
          <p:cNvPr id="10" name="Text Placeholder 2">
            <a:extLst>
              <a:ext uri="{FF2B5EF4-FFF2-40B4-BE49-F238E27FC236}">
                <a16:creationId xmlns:a16="http://schemas.microsoft.com/office/drawing/2014/main" id="{9878A746-9E85-F24C-AD58-8F45F83396CC}"/>
              </a:ext>
            </a:extLst>
          </p:cNvPr>
          <p:cNvSpPr>
            <a:spLocks noGrp="1"/>
          </p:cNvSpPr>
          <p:nvPr>
            <p:ph type="body" sz="quarter" idx="11" hasCustomPrompt="1"/>
          </p:nvPr>
        </p:nvSpPr>
        <p:spPr>
          <a:xfrm>
            <a:off x="515939" y="5721999"/>
            <a:ext cx="4692628" cy="187359"/>
          </a:xfrm>
        </p:spPr>
        <p:txBody>
          <a:bodyPr anchor="b">
            <a:spAutoFit/>
          </a:bodyPr>
          <a:lstStyle>
            <a:lvl1pPr>
              <a:defRPr sz="1200" spc="0">
                <a:solidFill>
                  <a:schemeClr val="bg1"/>
                </a:solidFill>
              </a:defRPr>
            </a:lvl1pPr>
          </a:lstStyle>
          <a:p>
            <a:pPr lvl="0"/>
            <a:r>
              <a:rPr lang="en-GB"/>
              <a:t>Subtitle goes here</a:t>
            </a:r>
          </a:p>
        </p:txBody>
      </p:sp>
      <p:sp>
        <p:nvSpPr>
          <p:cNvPr id="11" name="Text Placeholder 2">
            <a:extLst>
              <a:ext uri="{FF2B5EF4-FFF2-40B4-BE49-F238E27FC236}">
                <a16:creationId xmlns:a16="http://schemas.microsoft.com/office/drawing/2014/main" id="{7AFD6BA4-8A31-2C45-81C0-67141C06959C}"/>
              </a:ext>
            </a:extLst>
          </p:cNvPr>
          <p:cNvSpPr txBox="1">
            <a:spLocks/>
          </p:cNvSpPr>
          <p:nvPr userDrawn="1"/>
        </p:nvSpPr>
        <p:spPr>
          <a:xfrm>
            <a:off x="515938" y="6173816"/>
            <a:ext cx="1303626" cy="315884"/>
          </a:xfrm>
          <a:prstGeom prst="rect">
            <a:avLst/>
          </a:prstGeom>
        </p:spPr>
        <p:txBody>
          <a:bodyPr lIns="0" tIns="0" rIns="0" bIns="0" anchor="b"/>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GB" sz="1800" b="1">
                <a:solidFill>
                  <a:schemeClr val="bg2"/>
                </a:solidFill>
              </a:rPr>
              <a:t>gavi.org</a:t>
            </a:r>
          </a:p>
        </p:txBody>
      </p:sp>
      <p:sp>
        <p:nvSpPr>
          <p:cNvPr id="14" name="Text Placeholder 13">
            <a:extLst>
              <a:ext uri="{FF2B5EF4-FFF2-40B4-BE49-F238E27FC236}">
                <a16:creationId xmlns:a16="http://schemas.microsoft.com/office/drawing/2014/main" id="{C10119D7-2EC9-4840-AC33-164E7101833C}"/>
              </a:ext>
            </a:extLst>
          </p:cNvPr>
          <p:cNvSpPr>
            <a:spLocks noGrp="1"/>
          </p:cNvSpPr>
          <p:nvPr>
            <p:ph type="body" sz="quarter" idx="19" hasCustomPrompt="1"/>
          </p:nvPr>
        </p:nvSpPr>
        <p:spPr>
          <a:xfrm>
            <a:off x="10351263" y="443457"/>
            <a:ext cx="1324800" cy="486000"/>
          </a:xfrm>
          <a:blipFill>
            <a:blip r:embed="rId3">
              <a:extLst>
                <a:ext uri="{96DAC541-7B7A-43D3-8B79-37D633B846F1}">
                  <asvg:svgBlip xmlns:asvg="http://schemas.microsoft.com/office/drawing/2016/SVG/main" r:embed="rId4"/>
                </a:ext>
              </a:extLst>
            </a:blip>
            <a:stretch>
              <a:fillRect/>
            </a:stretch>
          </a:blipFill>
        </p:spPr>
        <p:txBody>
          <a:bodyPr/>
          <a:lstStyle/>
          <a:p>
            <a:pPr lvl="0"/>
            <a:r>
              <a:rPr lang="en-GB"/>
              <a:t> </a:t>
            </a:r>
          </a:p>
        </p:txBody>
      </p:sp>
    </p:spTree>
    <p:extLst>
      <p:ext uri="{BB962C8B-B14F-4D97-AF65-F5344CB8AC3E}">
        <p14:creationId xmlns:p14="http://schemas.microsoft.com/office/powerpoint/2010/main" val="4096676409"/>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Section Divider (Text Only)">
    <p:bg>
      <p:bgPr>
        <a:solidFill>
          <a:schemeClr val="tx2">
            <a:lumMod val="75000"/>
          </a:schemeClr>
        </a:solidFill>
        <a:effectLst/>
      </p:bgPr>
    </p:bg>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52467373-D57C-F842-8976-B87DEFBE83B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1777"/>
            <a:ext cx="1304260" cy="487680"/>
          </a:xfrm>
          <a:prstGeom prst="rect">
            <a:avLst/>
          </a:prstGeom>
        </p:spPr>
      </p:pic>
      <p:sp>
        <p:nvSpPr>
          <p:cNvPr id="3" name="Text Placeholder 2">
            <a:extLst>
              <a:ext uri="{FF2B5EF4-FFF2-40B4-BE49-F238E27FC236}">
                <a16:creationId xmlns:a16="http://schemas.microsoft.com/office/drawing/2014/main" id="{9D4F144B-74C7-A148-8E87-6034061E0CB6}"/>
              </a:ext>
            </a:extLst>
          </p:cNvPr>
          <p:cNvSpPr>
            <a:spLocks noGrp="1"/>
          </p:cNvSpPr>
          <p:nvPr>
            <p:ph type="body" sz="quarter" idx="10" hasCustomPrompt="1"/>
          </p:nvPr>
        </p:nvSpPr>
        <p:spPr>
          <a:xfrm>
            <a:off x="515938" y="3185432"/>
            <a:ext cx="6966786" cy="234609"/>
          </a:xfrm>
        </p:spPr>
        <p:txBody>
          <a:bodyPr>
            <a:normAutofit/>
          </a:bodyPr>
          <a:lstStyle>
            <a:lvl1pPr>
              <a:defRPr sz="1600" spc="300">
                <a:solidFill>
                  <a:schemeClr val="bg2">
                    <a:lumMod val="20000"/>
                    <a:lumOff val="80000"/>
                  </a:schemeClr>
                </a:solidFill>
              </a:defRPr>
            </a:lvl1pPr>
          </a:lstStyle>
          <a:p>
            <a:pPr lvl="0"/>
            <a:r>
              <a:rPr lang="en-GB"/>
              <a:t>SUBTITLE GOES HERE: TYPE IN CAPITALS</a:t>
            </a:r>
          </a:p>
        </p:txBody>
      </p:sp>
      <p:sp>
        <p:nvSpPr>
          <p:cNvPr id="9" name="Title 8">
            <a:extLst>
              <a:ext uri="{FF2B5EF4-FFF2-40B4-BE49-F238E27FC236}">
                <a16:creationId xmlns:a16="http://schemas.microsoft.com/office/drawing/2014/main" id="{89FFAF13-E12B-E54E-B2B2-5142A884DB82}"/>
              </a:ext>
            </a:extLst>
          </p:cNvPr>
          <p:cNvSpPr>
            <a:spLocks noGrp="1"/>
          </p:cNvSpPr>
          <p:nvPr>
            <p:ph type="title"/>
          </p:nvPr>
        </p:nvSpPr>
        <p:spPr>
          <a:xfrm>
            <a:off x="521719" y="3666552"/>
            <a:ext cx="11154344" cy="1929036"/>
          </a:xfrm>
        </p:spPr>
        <p:txBody>
          <a:bodyPr>
            <a:normAutofit/>
          </a:bodyPr>
          <a:lstStyle>
            <a:lvl1pPr>
              <a:lnSpc>
                <a:spcPct val="80000"/>
              </a:lnSpc>
              <a:defRPr sz="6600">
                <a:solidFill>
                  <a:schemeClr val="bg1"/>
                </a:solidFill>
              </a:defRPr>
            </a:lvl1pPr>
          </a:lstStyle>
          <a:p>
            <a:r>
              <a:rPr lang="en-US"/>
              <a:t>Click to edit Master title style</a:t>
            </a:r>
            <a:endParaRPr lang="en-GB"/>
          </a:p>
        </p:txBody>
      </p:sp>
      <p:pic>
        <p:nvPicPr>
          <p:cNvPr id="7" name="Picture 6" descr="Shape&#10;&#10;Description automatically generated">
            <a:extLst>
              <a:ext uri="{FF2B5EF4-FFF2-40B4-BE49-F238E27FC236}">
                <a16:creationId xmlns:a16="http://schemas.microsoft.com/office/drawing/2014/main" id="{D2830A3C-7ED1-2741-8ED4-600D60D8DBDA}"/>
              </a:ext>
            </a:extLst>
          </p:cNvPr>
          <p:cNvPicPr>
            <a:picLocks noChangeAspect="1"/>
          </p:cNvPicPr>
          <p:nvPr userDrawn="1"/>
        </p:nvPicPr>
        <p:blipFill>
          <a:blip r:embed="rId4">
            <a:extLst>
              <a:ext uri="{BEBA8EAE-BF5A-486C-A8C5-ECC9F3942E4B}">
                <a14:imgProps xmlns:a14="http://schemas.microsoft.com/office/drawing/2010/main">
                  <a14:imgLayer r:embed="rId5">
                    <a14:imgEffect>
                      <a14:brightnessContrast bright="-20000"/>
                    </a14:imgEffect>
                  </a14:imgLayer>
                </a14:imgProps>
              </a:ext>
            </a:extLst>
          </a:blip>
          <a:stretch>
            <a:fillRect/>
          </a:stretch>
        </p:blipFill>
        <p:spPr>
          <a:xfrm flipH="1">
            <a:off x="0" y="0"/>
            <a:ext cx="5103637" cy="2938921"/>
          </a:xfrm>
          <a:prstGeom prst="rect">
            <a:avLst/>
          </a:prstGeom>
        </p:spPr>
      </p:pic>
      <p:sp>
        <p:nvSpPr>
          <p:cNvPr id="4" name="Text Placeholder 3">
            <a:extLst>
              <a:ext uri="{FF2B5EF4-FFF2-40B4-BE49-F238E27FC236}">
                <a16:creationId xmlns:a16="http://schemas.microsoft.com/office/drawing/2014/main" id="{D1962001-1C91-5E41-8B60-B760F9679B6C}"/>
              </a:ext>
            </a:extLst>
          </p:cNvPr>
          <p:cNvSpPr>
            <a:spLocks noGrp="1"/>
          </p:cNvSpPr>
          <p:nvPr>
            <p:ph type="body" sz="quarter" idx="12" hasCustomPrompt="1"/>
          </p:nvPr>
        </p:nvSpPr>
        <p:spPr>
          <a:xfrm>
            <a:off x="515938" y="441777"/>
            <a:ext cx="2115580" cy="1331912"/>
          </a:xfrm>
        </p:spPr>
        <p:txBody>
          <a:bodyPr>
            <a:normAutofit/>
          </a:bodyPr>
          <a:lstStyle>
            <a:lvl1pPr>
              <a:lnSpc>
                <a:spcPct val="80000"/>
              </a:lnSpc>
              <a:spcAft>
                <a:spcPts val="0"/>
              </a:spcAft>
              <a:defRPr sz="9600" b="1">
                <a:solidFill>
                  <a:schemeClr val="bg1"/>
                </a:solidFill>
              </a:defRPr>
            </a:lvl1pPr>
          </a:lstStyle>
          <a:p>
            <a:pPr lvl="0"/>
            <a:r>
              <a:rPr lang="en-GB"/>
              <a:t>XX</a:t>
            </a:r>
          </a:p>
        </p:txBody>
      </p:sp>
    </p:spTree>
    <p:extLst>
      <p:ext uri="{BB962C8B-B14F-4D97-AF65-F5344CB8AC3E}">
        <p14:creationId xmlns:p14="http://schemas.microsoft.com/office/powerpoint/2010/main" val="720536025"/>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Section Divider + Number">
    <p:spTree>
      <p:nvGrpSpPr>
        <p:cNvPr id="1" name=""/>
        <p:cNvGrpSpPr/>
        <p:nvPr/>
      </p:nvGrpSpPr>
      <p:grpSpPr>
        <a:xfrm>
          <a:off x="0" y="0"/>
          <a:ext cx="0" cy="0"/>
          <a:chOff x="0" y="0"/>
          <a:chExt cx="0" cy="0"/>
        </a:xfrm>
      </p:grpSpPr>
      <p:pic>
        <p:nvPicPr>
          <p:cNvPr id="10" name="Picture Placeholder 5" descr="A picture containing ray, fish&#10;&#10;Description automatically generated">
            <a:extLst>
              <a:ext uri="{FF2B5EF4-FFF2-40B4-BE49-F238E27FC236}">
                <a16:creationId xmlns:a16="http://schemas.microsoft.com/office/drawing/2014/main" id="{E64479CB-DB0F-9D45-918A-B9BEDD2EC8BD}"/>
              </a:ext>
            </a:extLst>
          </p:cNvPr>
          <p:cNvPicPr>
            <a:picLocks noChangeAspect="1"/>
          </p:cNvPicPr>
          <p:nvPr userDrawn="1"/>
        </p:nvPicPr>
        <p:blipFill rotWithShape="1">
          <a:blip r:embed="rId2">
            <a:extLst>
              <a:ext uri="{28A0092B-C50C-407E-A947-70E740481C1C}">
                <a14:useLocalDpi xmlns:a14="http://schemas.microsoft.com/office/drawing/2010/main"/>
              </a:ext>
            </a:extLst>
          </a:blip>
          <a:srcRect l="31272" r="15376"/>
          <a:stretch/>
        </p:blipFill>
        <p:spPr>
          <a:xfrm>
            <a:off x="-3" y="0"/>
            <a:ext cx="6096001" cy="6858000"/>
          </a:xfrm>
          <a:prstGeom prst="round1Rect">
            <a:avLst>
              <a:gd name="adj" fmla="val 14304"/>
            </a:avLst>
          </a:prstGeom>
        </p:spPr>
      </p:pic>
      <p:sp>
        <p:nvSpPr>
          <p:cNvPr id="6" name="Text Placeholder 29">
            <a:extLst>
              <a:ext uri="{FF2B5EF4-FFF2-40B4-BE49-F238E27FC236}">
                <a16:creationId xmlns:a16="http://schemas.microsoft.com/office/drawing/2014/main" id="{DAB788B4-A63C-D849-B216-E7D266CBBABA}"/>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tx2"/>
                </a:solidFill>
              </a:defRPr>
            </a:lvl1pPr>
          </a:lstStyle>
          <a:p>
            <a:pPr lvl="0"/>
            <a:r>
              <a:rPr lang="en-GB"/>
              <a:t>Section title goes here</a:t>
            </a:r>
          </a:p>
        </p:txBody>
      </p:sp>
      <p:sp>
        <p:nvSpPr>
          <p:cNvPr id="7" name="Text Placeholder 31">
            <a:extLst>
              <a:ext uri="{FF2B5EF4-FFF2-40B4-BE49-F238E27FC236}">
                <a16:creationId xmlns:a16="http://schemas.microsoft.com/office/drawing/2014/main" id="{F314B004-6AB6-8142-919B-E7ECC468456B}"/>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tx2">
                    <a:lumMod val="50000"/>
                  </a:schemeClr>
                </a:solidFill>
              </a:defRPr>
            </a:lvl1pPr>
          </a:lstStyle>
          <a:p>
            <a:pPr lvl="0"/>
            <a:r>
              <a:rPr lang="en-GB"/>
              <a:t>SUBTITLE GOES HERE: TYPE IN CAPITALS</a:t>
            </a:r>
          </a:p>
        </p:txBody>
      </p:sp>
      <p:pic>
        <p:nvPicPr>
          <p:cNvPr id="14" name="Graphic 13">
            <a:extLst>
              <a:ext uri="{FF2B5EF4-FFF2-40B4-BE49-F238E27FC236}">
                <a16:creationId xmlns:a16="http://schemas.microsoft.com/office/drawing/2014/main" id="{85DA45A5-9E96-A540-A7CB-C6C50E73A72E}"/>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361533" y="445558"/>
            <a:ext cx="1304260" cy="480118"/>
          </a:xfrm>
          <a:prstGeom prst="rect">
            <a:avLst/>
          </a:prstGeom>
        </p:spPr>
      </p:pic>
      <p:sp>
        <p:nvSpPr>
          <p:cNvPr id="8" name="Text Placeholder 29">
            <a:extLst>
              <a:ext uri="{FF2B5EF4-FFF2-40B4-BE49-F238E27FC236}">
                <a16:creationId xmlns:a16="http://schemas.microsoft.com/office/drawing/2014/main" id="{BFF0CE34-D1A8-0246-ADEF-5C8D7757129F}"/>
              </a:ext>
            </a:extLst>
          </p:cNvPr>
          <p:cNvSpPr>
            <a:spLocks noGrp="1"/>
          </p:cNvSpPr>
          <p:nvPr>
            <p:ph type="body" sz="quarter" idx="14" hasCustomPrompt="1"/>
          </p:nvPr>
        </p:nvSpPr>
        <p:spPr>
          <a:xfrm>
            <a:off x="515938" y="1963923"/>
            <a:ext cx="5064591" cy="3104603"/>
          </a:xfrm>
        </p:spPr>
        <p:txBody>
          <a:bodyPr>
            <a:noAutofit/>
          </a:bodyPr>
          <a:lstStyle>
            <a:lvl1pPr algn="ctr">
              <a:lnSpc>
                <a:spcPct val="80000"/>
              </a:lnSpc>
              <a:spcAft>
                <a:spcPts val="0"/>
              </a:spcAft>
              <a:defRPr sz="32500" b="1">
                <a:solidFill>
                  <a:schemeClr val="bg1"/>
                </a:solidFill>
              </a:defRPr>
            </a:lvl1pPr>
          </a:lstStyle>
          <a:p>
            <a:pPr lvl="0"/>
            <a:r>
              <a:rPr lang="en-GB"/>
              <a:t>X</a:t>
            </a:r>
          </a:p>
        </p:txBody>
      </p:sp>
    </p:spTree>
    <p:extLst>
      <p:ext uri="{BB962C8B-B14F-4D97-AF65-F5344CB8AC3E}">
        <p14:creationId xmlns:p14="http://schemas.microsoft.com/office/powerpoint/2010/main" val="1542770754"/>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Section Divider + Image">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85DA45A5-9E96-A540-A7CB-C6C50E73A72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5558"/>
            <a:ext cx="1304260" cy="480118"/>
          </a:xfrm>
          <a:prstGeom prst="rect">
            <a:avLst/>
          </a:prstGeom>
        </p:spPr>
      </p:pic>
      <p:sp>
        <p:nvSpPr>
          <p:cNvPr id="9" name="Picture Placeholder 4">
            <a:extLst>
              <a:ext uri="{FF2B5EF4-FFF2-40B4-BE49-F238E27FC236}">
                <a16:creationId xmlns:a16="http://schemas.microsoft.com/office/drawing/2014/main" id="{45CF2AFF-6382-CC47-A9B2-6962575BD2AF}"/>
              </a:ext>
            </a:extLst>
          </p:cNvPr>
          <p:cNvSpPr>
            <a:spLocks noGrp="1"/>
          </p:cNvSpPr>
          <p:nvPr>
            <p:ph type="pic" sz="quarter" idx="10"/>
          </p:nvPr>
        </p:nvSpPr>
        <p:spPr>
          <a:xfrm>
            <a:off x="-2" y="0"/>
            <a:ext cx="6096001" cy="6858000"/>
          </a:xfrm>
          <a:prstGeom prst="round1Rect">
            <a:avLst>
              <a:gd name="adj" fmla="val 14462"/>
            </a:avLst>
          </a:prstGeom>
          <a:solidFill>
            <a:schemeClr val="bg1">
              <a:lumMod val="85000"/>
            </a:schemeClr>
          </a:solidFill>
        </p:spPr>
        <p:txBody>
          <a:bodyPr anchor="ctr">
            <a:normAutofit/>
          </a:bodyPr>
          <a:lstStyle>
            <a:lvl1pPr algn="ctr">
              <a:defRPr sz="1600">
                <a:solidFill>
                  <a:schemeClr val="bg1">
                    <a:lumMod val="50000"/>
                  </a:schemeClr>
                </a:solidFill>
              </a:defRPr>
            </a:lvl1pPr>
          </a:lstStyle>
          <a:p>
            <a:r>
              <a:rPr lang="en-US"/>
              <a:t>Click icon to add picture</a:t>
            </a:r>
            <a:endParaRPr lang="en-GB"/>
          </a:p>
        </p:txBody>
      </p:sp>
      <p:sp>
        <p:nvSpPr>
          <p:cNvPr id="8" name="Text Placeholder 29">
            <a:extLst>
              <a:ext uri="{FF2B5EF4-FFF2-40B4-BE49-F238E27FC236}">
                <a16:creationId xmlns:a16="http://schemas.microsoft.com/office/drawing/2014/main" id="{0061CA4A-3267-0A05-192C-5D4306FFB822}"/>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tx2"/>
                </a:solidFill>
              </a:defRPr>
            </a:lvl1pPr>
          </a:lstStyle>
          <a:p>
            <a:pPr lvl="0"/>
            <a:r>
              <a:rPr lang="en-GB"/>
              <a:t>Section title goes here</a:t>
            </a:r>
          </a:p>
        </p:txBody>
      </p:sp>
      <p:sp>
        <p:nvSpPr>
          <p:cNvPr id="10" name="Text Placeholder 31">
            <a:extLst>
              <a:ext uri="{FF2B5EF4-FFF2-40B4-BE49-F238E27FC236}">
                <a16:creationId xmlns:a16="http://schemas.microsoft.com/office/drawing/2014/main" id="{1A9FCAB2-BA25-DBAB-7A6E-265C863487B9}"/>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tx2">
                    <a:lumMod val="50000"/>
                  </a:schemeClr>
                </a:solidFill>
              </a:defRPr>
            </a:lvl1pPr>
          </a:lstStyle>
          <a:p>
            <a:pPr lvl="0"/>
            <a:r>
              <a:rPr lang="en-GB"/>
              <a:t>SUBTITLE GOES HERE: TYPE IN CAPITALS</a:t>
            </a:r>
          </a:p>
        </p:txBody>
      </p:sp>
    </p:spTree>
    <p:extLst>
      <p:ext uri="{BB962C8B-B14F-4D97-AF65-F5344CB8AC3E}">
        <p14:creationId xmlns:p14="http://schemas.microsoft.com/office/powerpoint/2010/main" val="2753158234"/>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Section Divider + Image A1">
    <p:spTree>
      <p:nvGrpSpPr>
        <p:cNvPr id="1" name=""/>
        <p:cNvGrpSpPr/>
        <p:nvPr/>
      </p:nvGrpSpPr>
      <p:grpSpPr>
        <a:xfrm>
          <a:off x="0" y="0"/>
          <a:ext cx="0" cy="0"/>
          <a:chOff x="0" y="0"/>
          <a:chExt cx="0" cy="0"/>
        </a:xfrm>
      </p:grpSpPr>
      <p:sp>
        <p:nvSpPr>
          <p:cNvPr id="26" name="Picture Placeholder 25">
            <a:extLst>
              <a:ext uri="{FF2B5EF4-FFF2-40B4-BE49-F238E27FC236}">
                <a16:creationId xmlns:a16="http://schemas.microsoft.com/office/drawing/2014/main" id="{2F82B885-0103-7D42-AE00-61FB2FE0C2F4}"/>
              </a:ext>
            </a:extLst>
          </p:cNvPr>
          <p:cNvSpPr>
            <a:spLocks noGrp="1"/>
          </p:cNvSpPr>
          <p:nvPr>
            <p:ph type="pic" sz="quarter" idx="10"/>
          </p:nvPr>
        </p:nvSpPr>
        <p:spPr>
          <a:xfrm>
            <a:off x="-2" y="0"/>
            <a:ext cx="6096001" cy="6858000"/>
          </a:xfrm>
          <a:custGeom>
            <a:avLst/>
            <a:gdLst>
              <a:gd name="connsiteX0" fmla="*/ 3022951 w 6096001"/>
              <a:gd name="connsiteY0" fmla="*/ 1876235 h 6858000"/>
              <a:gd name="connsiteX1" fmla="*/ 2208500 w 6096001"/>
              <a:gd name="connsiteY1" fmla="*/ 2461578 h 6858000"/>
              <a:gd name="connsiteX2" fmla="*/ 2208500 w 6096001"/>
              <a:gd name="connsiteY2" fmla="*/ 2993835 h 6858000"/>
              <a:gd name="connsiteX3" fmla="*/ 2859036 w 6096001"/>
              <a:gd name="connsiteY3" fmla="*/ 2643188 h 6858000"/>
              <a:gd name="connsiteX4" fmla="*/ 2859036 w 6096001"/>
              <a:gd name="connsiteY4" fmla="*/ 4981766 h 6858000"/>
              <a:gd name="connsiteX5" fmla="*/ 3371270 w 6096001"/>
              <a:gd name="connsiteY5" fmla="*/ 4981766 h 6858000"/>
              <a:gd name="connsiteX6" fmla="*/ 3371270 w 6096001"/>
              <a:gd name="connsiteY6" fmla="*/ 1876235 h 6858000"/>
              <a:gd name="connsiteX7" fmla="*/ 0 w 6096001"/>
              <a:gd name="connsiteY7" fmla="*/ 0 h 6858000"/>
              <a:gd name="connsiteX8" fmla="*/ 5214397 w 6096001"/>
              <a:gd name="connsiteY8" fmla="*/ 0 h 6858000"/>
              <a:gd name="connsiteX9" fmla="*/ 6096001 w 6096001"/>
              <a:gd name="connsiteY9" fmla="*/ 881604 h 6858000"/>
              <a:gd name="connsiteX10" fmla="*/ 6096001 w 6096001"/>
              <a:gd name="connsiteY10" fmla="*/ 6858000 h 6858000"/>
              <a:gd name="connsiteX11" fmla="*/ 0 w 6096001"/>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96001" h="6858000">
                <a:moveTo>
                  <a:pt x="3022951" y="1876235"/>
                </a:moveTo>
                <a:cubicBezTo>
                  <a:pt x="2752748" y="2187766"/>
                  <a:pt x="2482545" y="2379155"/>
                  <a:pt x="2208500" y="2461578"/>
                </a:cubicBezTo>
                <a:lnTo>
                  <a:pt x="2208500" y="2993835"/>
                </a:lnTo>
                <a:cubicBezTo>
                  <a:pt x="2426199" y="2942146"/>
                  <a:pt x="2640057" y="2824798"/>
                  <a:pt x="2859036" y="2643188"/>
                </a:cubicBezTo>
                <a:lnTo>
                  <a:pt x="2859036" y="4981766"/>
                </a:lnTo>
                <a:lnTo>
                  <a:pt x="3371270" y="4981766"/>
                </a:lnTo>
                <a:lnTo>
                  <a:pt x="3371270" y="1876235"/>
                </a:ln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tIns="720000">
            <a:noAutofit/>
          </a:bodyPr>
          <a:lstStyle>
            <a:lvl1pPr algn="ctr">
              <a:defRPr sz="1600">
                <a:solidFill>
                  <a:schemeClr val="bg1">
                    <a:lumMod val="50000"/>
                  </a:schemeClr>
                </a:solidFill>
              </a:defRPr>
            </a:lvl1pPr>
          </a:lstStyle>
          <a:p>
            <a:r>
              <a:rPr lang="en-US"/>
              <a:t>Click icon to add picture</a:t>
            </a:r>
            <a:endParaRPr lang="en-GB"/>
          </a:p>
        </p:txBody>
      </p:sp>
      <p:pic>
        <p:nvPicPr>
          <p:cNvPr id="7" name="Graphic 6">
            <a:extLst>
              <a:ext uri="{FF2B5EF4-FFF2-40B4-BE49-F238E27FC236}">
                <a16:creationId xmlns:a16="http://schemas.microsoft.com/office/drawing/2014/main" id="{7986D095-697A-1E47-8E9F-EB12D0E9F60B}"/>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5558"/>
            <a:ext cx="1304260" cy="480118"/>
          </a:xfrm>
          <a:prstGeom prst="rect">
            <a:avLst/>
          </a:prstGeom>
        </p:spPr>
      </p:pic>
      <p:sp>
        <p:nvSpPr>
          <p:cNvPr id="8" name="Text Placeholder 29">
            <a:extLst>
              <a:ext uri="{FF2B5EF4-FFF2-40B4-BE49-F238E27FC236}">
                <a16:creationId xmlns:a16="http://schemas.microsoft.com/office/drawing/2014/main" id="{814918A3-C773-18F8-ADDE-EC691CAF16CC}"/>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tx2"/>
                </a:solidFill>
              </a:defRPr>
            </a:lvl1pPr>
          </a:lstStyle>
          <a:p>
            <a:pPr lvl="0"/>
            <a:r>
              <a:rPr lang="en-GB"/>
              <a:t>Section title goes here</a:t>
            </a:r>
          </a:p>
        </p:txBody>
      </p:sp>
      <p:sp>
        <p:nvSpPr>
          <p:cNvPr id="9" name="Text Placeholder 31">
            <a:extLst>
              <a:ext uri="{FF2B5EF4-FFF2-40B4-BE49-F238E27FC236}">
                <a16:creationId xmlns:a16="http://schemas.microsoft.com/office/drawing/2014/main" id="{B0C1A345-F393-A646-D204-1844335C51EA}"/>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tx2">
                    <a:lumMod val="50000"/>
                  </a:schemeClr>
                </a:solidFill>
              </a:defRPr>
            </a:lvl1pPr>
          </a:lstStyle>
          <a:p>
            <a:pPr lvl="0"/>
            <a:r>
              <a:rPr lang="en-GB"/>
              <a:t>SUBTITLE GOES HERE: TYPE IN CAPITALS</a:t>
            </a:r>
          </a:p>
        </p:txBody>
      </p:sp>
    </p:spTree>
    <p:extLst>
      <p:ext uri="{BB962C8B-B14F-4D97-AF65-F5344CB8AC3E}">
        <p14:creationId xmlns:p14="http://schemas.microsoft.com/office/powerpoint/2010/main" val="3976001223"/>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Section Divider + Image A2">
    <p:spTree>
      <p:nvGrpSpPr>
        <p:cNvPr id="1" name=""/>
        <p:cNvGrpSpPr/>
        <p:nvPr/>
      </p:nvGrpSpPr>
      <p:grpSpPr>
        <a:xfrm>
          <a:off x="0" y="0"/>
          <a:ext cx="0" cy="0"/>
          <a:chOff x="0" y="0"/>
          <a:chExt cx="0" cy="0"/>
        </a:xfrm>
      </p:grpSpPr>
      <p:sp>
        <p:nvSpPr>
          <p:cNvPr id="39" name="Picture Placeholder 38">
            <a:extLst>
              <a:ext uri="{FF2B5EF4-FFF2-40B4-BE49-F238E27FC236}">
                <a16:creationId xmlns:a16="http://schemas.microsoft.com/office/drawing/2014/main" id="{785EFCE5-1951-3242-A232-F252911C4EAB}"/>
              </a:ext>
            </a:extLst>
          </p:cNvPr>
          <p:cNvSpPr>
            <a:spLocks noGrp="1"/>
          </p:cNvSpPr>
          <p:nvPr>
            <p:ph type="pic" sz="quarter" idx="10"/>
          </p:nvPr>
        </p:nvSpPr>
        <p:spPr>
          <a:xfrm>
            <a:off x="-2" y="0"/>
            <a:ext cx="6096001" cy="6858000"/>
          </a:xfrm>
          <a:custGeom>
            <a:avLst/>
            <a:gdLst>
              <a:gd name="connsiteX0" fmla="*/ 3078800 w 6096001"/>
              <a:gd name="connsiteY0" fmla="*/ 1892300 h 6858000"/>
              <a:gd name="connsiteX1" fmla="*/ 2003079 w 6096001"/>
              <a:gd name="connsiteY1" fmla="*/ 2443193 h 6858000"/>
              <a:gd name="connsiteX2" fmla="*/ 2435905 w 6096001"/>
              <a:gd name="connsiteY2" fmla="*/ 2746603 h 6858000"/>
              <a:gd name="connsiteX3" fmla="*/ 3026635 w 6096001"/>
              <a:gd name="connsiteY3" fmla="*/ 2408238 h 6858000"/>
              <a:gd name="connsiteX4" fmla="*/ 3472150 w 6096001"/>
              <a:gd name="connsiteY4" fmla="*/ 2777364 h 6858000"/>
              <a:gd name="connsiteX5" fmla="*/ 2825026 w 6096001"/>
              <a:gd name="connsiteY5" fmla="*/ 3514218 h 6858000"/>
              <a:gd name="connsiteX6" fmla="*/ 1986161 w 6096001"/>
              <a:gd name="connsiteY6" fmla="*/ 4857893 h 6858000"/>
              <a:gd name="connsiteX7" fmla="*/ 1986161 w 6096001"/>
              <a:gd name="connsiteY7" fmla="*/ 5014492 h 6858000"/>
              <a:gd name="connsiteX8" fmla="*/ 4102356 w 6096001"/>
              <a:gd name="connsiteY8" fmla="*/ 5014492 h 6858000"/>
              <a:gd name="connsiteX9" fmla="*/ 4102356 w 6096001"/>
              <a:gd name="connsiteY9" fmla="*/ 4515333 h 6858000"/>
              <a:gd name="connsiteX10" fmla="*/ 2614957 w 6096001"/>
              <a:gd name="connsiteY10" fmla="*/ 4515333 h 6858000"/>
              <a:gd name="connsiteX11" fmla="*/ 3301557 w 6096001"/>
              <a:gd name="connsiteY11" fmla="*/ 3809239 h 6858000"/>
              <a:gd name="connsiteX12" fmla="*/ 4053011 w 6096001"/>
              <a:gd name="connsiteY12" fmla="*/ 2750798 h 6858000"/>
              <a:gd name="connsiteX13" fmla="*/ 3078800 w 6096001"/>
              <a:gd name="connsiteY13" fmla="*/ 1892300 h 6858000"/>
              <a:gd name="connsiteX14" fmla="*/ 0 w 6096001"/>
              <a:gd name="connsiteY14" fmla="*/ 0 h 6858000"/>
              <a:gd name="connsiteX15" fmla="*/ 5214397 w 6096001"/>
              <a:gd name="connsiteY15" fmla="*/ 0 h 6858000"/>
              <a:gd name="connsiteX16" fmla="*/ 6096001 w 6096001"/>
              <a:gd name="connsiteY16" fmla="*/ 881604 h 6858000"/>
              <a:gd name="connsiteX17" fmla="*/ 6096001 w 6096001"/>
              <a:gd name="connsiteY17" fmla="*/ 6858000 h 6858000"/>
              <a:gd name="connsiteX18" fmla="*/ 0 w 6096001"/>
              <a:gd name="connsiteY1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096001" h="6858000">
                <a:moveTo>
                  <a:pt x="3078800" y="1892300"/>
                </a:moveTo>
                <a:cubicBezTo>
                  <a:pt x="2571252" y="1892300"/>
                  <a:pt x="2235706" y="2082456"/>
                  <a:pt x="2003079" y="2443193"/>
                </a:cubicBezTo>
                <a:lnTo>
                  <a:pt x="2435905" y="2746603"/>
                </a:lnTo>
                <a:cubicBezTo>
                  <a:pt x="2576891" y="2529882"/>
                  <a:pt x="2768632" y="2408238"/>
                  <a:pt x="3026635" y="2408238"/>
                </a:cubicBezTo>
                <a:cubicBezTo>
                  <a:pt x="3318476" y="2408238"/>
                  <a:pt x="3472150" y="2556447"/>
                  <a:pt x="3472150" y="2777364"/>
                </a:cubicBezTo>
                <a:cubicBezTo>
                  <a:pt x="3472150" y="3020651"/>
                  <a:pt x="3301557" y="3198224"/>
                  <a:pt x="2825026" y="3514218"/>
                </a:cubicBezTo>
                <a:cubicBezTo>
                  <a:pt x="2231476" y="3916901"/>
                  <a:pt x="1986161" y="4315389"/>
                  <a:pt x="1986161" y="4857893"/>
                </a:cubicBezTo>
                <a:lnTo>
                  <a:pt x="1986161" y="5014492"/>
                </a:lnTo>
                <a:lnTo>
                  <a:pt x="4102356" y="5014492"/>
                </a:lnTo>
                <a:lnTo>
                  <a:pt x="4102356" y="4515333"/>
                </a:lnTo>
                <a:lnTo>
                  <a:pt x="2614957" y="4515333"/>
                </a:lnTo>
                <a:cubicBezTo>
                  <a:pt x="2645974" y="4346150"/>
                  <a:pt x="2891289" y="4081889"/>
                  <a:pt x="3301557" y="3809239"/>
                </a:cubicBezTo>
                <a:cubicBezTo>
                  <a:pt x="3834483" y="3456891"/>
                  <a:pt x="4053011" y="3175852"/>
                  <a:pt x="4053011" y="2750798"/>
                </a:cubicBezTo>
                <a:cubicBezTo>
                  <a:pt x="4053011" y="2255833"/>
                  <a:pt x="3646972" y="1892300"/>
                  <a:pt x="3078800" y="1892300"/>
                </a:cubicBez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tIns="720000">
            <a:noAutofit/>
          </a:bodyPr>
          <a:lstStyle>
            <a:lvl1pPr algn="ctr">
              <a:defRPr sz="1600">
                <a:solidFill>
                  <a:schemeClr val="bg1">
                    <a:lumMod val="50000"/>
                  </a:schemeClr>
                </a:solidFill>
              </a:defRPr>
            </a:lvl1pPr>
          </a:lstStyle>
          <a:p>
            <a:r>
              <a:rPr lang="en-US"/>
              <a:t>Click icon to add picture</a:t>
            </a:r>
            <a:endParaRPr lang="en-GB"/>
          </a:p>
        </p:txBody>
      </p:sp>
      <p:pic>
        <p:nvPicPr>
          <p:cNvPr id="40" name="Graphic 39">
            <a:extLst>
              <a:ext uri="{FF2B5EF4-FFF2-40B4-BE49-F238E27FC236}">
                <a16:creationId xmlns:a16="http://schemas.microsoft.com/office/drawing/2014/main" id="{A70D9B68-451F-F24D-9AD8-10CAC4552665}"/>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5558"/>
            <a:ext cx="1304260" cy="480118"/>
          </a:xfrm>
          <a:prstGeom prst="rect">
            <a:avLst/>
          </a:prstGeom>
        </p:spPr>
      </p:pic>
      <p:sp>
        <p:nvSpPr>
          <p:cNvPr id="6" name="Text Placeholder 29">
            <a:extLst>
              <a:ext uri="{FF2B5EF4-FFF2-40B4-BE49-F238E27FC236}">
                <a16:creationId xmlns:a16="http://schemas.microsoft.com/office/drawing/2014/main" id="{AD887088-580E-3280-834E-11FE0CAB12A0}"/>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tx2"/>
                </a:solidFill>
              </a:defRPr>
            </a:lvl1pPr>
          </a:lstStyle>
          <a:p>
            <a:pPr lvl="0"/>
            <a:r>
              <a:rPr lang="en-GB"/>
              <a:t>Section title goes here</a:t>
            </a:r>
          </a:p>
        </p:txBody>
      </p:sp>
      <p:sp>
        <p:nvSpPr>
          <p:cNvPr id="7" name="Text Placeholder 31">
            <a:extLst>
              <a:ext uri="{FF2B5EF4-FFF2-40B4-BE49-F238E27FC236}">
                <a16:creationId xmlns:a16="http://schemas.microsoft.com/office/drawing/2014/main" id="{9D3AEDA3-676C-74F6-E9E7-0A9358720A3F}"/>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tx2">
                    <a:lumMod val="50000"/>
                  </a:schemeClr>
                </a:solidFill>
              </a:defRPr>
            </a:lvl1pPr>
          </a:lstStyle>
          <a:p>
            <a:pPr lvl="0"/>
            <a:r>
              <a:rPr lang="en-GB"/>
              <a:t>SUBTITLE GOES HERE: TYPE IN CAPITALS</a:t>
            </a:r>
          </a:p>
        </p:txBody>
      </p:sp>
    </p:spTree>
    <p:extLst>
      <p:ext uri="{BB962C8B-B14F-4D97-AF65-F5344CB8AC3E}">
        <p14:creationId xmlns:p14="http://schemas.microsoft.com/office/powerpoint/2010/main" val="2168040805"/>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Section Divider + Image A3">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736D7151-EE44-6D41-A861-17BC5B8F0001}"/>
              </a:ext>
            </a:extLst>
          </p:cNvPr>
          <p:cNvSpPr>
            <a:spLocks noGrp="1"/>
          </p:cNvSpPr>
          <p:nvPr>
            <p:ph type="pic" sz="quarter" idx="10"/>
          </p:nvPr>
        </p:nvSpPr>
        <p:spPr>
          <a:xfrm>
            <a:off x="-2" y="0"/>
            <a:ext cx="6096001" cy="6858000"/>
          </a:xfrm>
          <a:custGeom>
            <a:avLst/>
            <a:gdLst>
              <a:gd name="connsiteX0" fmla="*/ 3115819 w 6096001"/>
              <a:gd name="connsiteY0" fmla="*/ 1901215 h 6858000"/>
              <a:gd name="connsiteX1" fmla="*/ 2096475 w 6096001"/>
              <a:gd name="connsiteY1" fmla="*/ 2469051 h 6858000"/>
              <a:gd name="connsiteX2" fmla="*/ 2517092 w 6096001"/>
              <a:gd name="connsiteY2" fmla="*/ 2737003 h 6858000"/>
              <a:gd name="connsiteX3" fmla="*/ 3061016 w 6096001"/>
              <a:gd name="connsiteY3" fmla="*/ 2401022 h 6858000"/>
              <a:gd name="connsiteX4" fmla="*/ 3455600 w 6096001"/>
              <a:gd name="connsiteY4" fmla="*/ 2732838 h 6858000"/>
              <a:gd name="connsiteX5" fmla="*/ 2725345 w 6096001"/>
              <a:gd name="connsiteY5" fmla="*/ 3202101 h 6858000"/>
              <a:gd name="connsiteX6" fmla="*/ 2725345 w 6096001"/>
              <a:gd name="connsiteY6" fmla="*/ 3663034 h 6858000"/>
              <a:gd name="connsiteX7" fmla="*/ 3570688 w 6096001"/>
              <a:gd name="connsiteY7" fmla="*/ 4110083 h 6858000"/>
              <a:gd name="connsiteX8" fmla="*/ 3044575 w 6096001"/>
              <a:gd name="connsiteY8" fmla="*/ 4544637 h 6858000"/>
              <a:gd name="connsiteX9" fmla="*/ 2300618 w 6096001"/>
              <a:gd name="connsiteY9" fmla="*/ 4273909 h 6858000"/>
              <a:gd name="connsiteX10" fmla="*/ 1977278 w 6096001"/>
              <a:gd name="connsiteY10" fmla="*/ 4712628 h 6858000"/>
              <a:gd name="connsiteX11" fmla="*/ 1978648 w 6096001"/>
              <a:gd name="connsiteY11" fmla="*/ 4711240 h 6858000"/>
              <a:gd name="connsiteX12" fmla="*/ 3048685 w 6096001"/>
              <a:gd name="connsiteY12" fmla="*/ 5043056 h 6858000"/>
              <a:gd name="connsiteX13" fmla="*/ 4118722 w 6096001"/>
              <a:gd name="connsiteY13" fmla="*/ 4126744 h 6858000"/>
              <a:gd name="connsiteX14" fmla="*/ 3455600 w 6096001"/>
              <a:gd name="connsiteY14" fmla="*/ 3360373 h 6858000"/>
              <a:gd name="connsiteX15" fmla="*/ 3999524 w 6096001"/>
              <a:gd name="connsiteY15" fmla="*/ 2628712 h 6858000"/>
              <a:gd name="connsiteX16" fmla="*/ 3115819 w 6096001"/>
              <a:gd name="connsiteY16" fmla="*/ 1901215 h 6858000"/>
              <a:gd name="connsiteX17" fmla="*/ 0 w 6096001"/>
              <a:gd name="connsiteY17" fmla="*/ 0 h 6858000"/>
              <a:gd name="connsiteX18" fmla="*/ 5214397 w 6096001"/>
              <a:gd name="connsiteY18" fmla="*/ 0 h 6858000"/>
              <a:gd name="connsiteX19" fmla="*/ 6096001 w 6096001"/>
              <a:gd name="connsiteY19" fmla="*/ 881604 h 6858000"/>
              <a:gd name="connsiteX20" fmla="*/ 6096001 w 6096001"/>
              <a:gd name="connsiteY20" fmla="*/ 6858000 h 6858000"/>
              <a:gd name="connsiteX21" fmla="*/ 0 w 6096001"/>
              <a:gd name="connsiteY2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096001" h="6858000">
                <a:moveTo>
                  <a:pt x="3115819" y="1901215"/>
                </a:moveTo>
                <a:cubicBezTo>
                  <a:pt x="2614368" y="1901215"/>
                  <a:pt x="2278697" y="2128905"/>
                  <a:pt x="2096475" y="2469051"/>
                </a:cubicBezTo>
                <a:lnTo>
                  <a:pt x="2517092" y="2737003"/>
                </a:lnTo>
                <a:cubicBezTo>
                  <a:pt x="2602037" y="2581508"/>
                  <a:pt x="2780148" y="2401022"/>
                  <a:pt x="3061016" y="2401022"/>
                </a:cubicBezTo>
                <a:cubicBezTo>
                  <a:pt x="3302151" y="2401022"/>
                  <a:pt x="3455600" y="2534304"/>
                  <a:pt x="3455600" y="2732838"/>
                </a:cubicBezTo>
                <a:cubicBezTo>
                  <a:pt x="3455600" y="2964693"/>
                  <a:pt x="3285710" y="3197936"/>
                  <a:pt x="2725345" y="3202101"/>
                </a:cubicBezTo>
                <a:lnTo>
                  <a:pt x="2725345" y="3663034"/>
                </a:lnTo>
                <a:cubicBezTo>
                  <a:pt x="3303521" y="3663034"/>
                  <a:pt x="3570688" y="3825471"/>
                  <a:pt x="3570688" y="4110083"/>
                </a:cubicBezTo>
                <a:cubicBezTo>
                  <a:pt x="3570688" y="4372481"/>
                  <a:pt x="3384356" y="4544637"/>
                  <a:pt x="3044575" y="4544637"/>
                </a:cubicBezTo>
                <a:cubicBezTo>
                  <a:pt x="2737676" y="4544637"/>
                  <a:pt x="2504761" y="4433570"/>
                  <a:pt x="2300618" y="4273909"/>
                </a:cubicBezTo>
                <a:lnTo>
                  <a:pt x="1977278" y="4712628"/>
                </a:lnTo>
                <a:lnTo>
                  <a:pt x="1978648" y="4711240"/>
                </a:lnTo>
                <a:cubicBezTo>
                  <a:pt x="2271846" y="4926434"/>
                  <a:pt x="2581486" y="5043056"/>
                  <a:pt x="3048685" y="5043056"/>
                </a:cubicBezTo>
                <a:cubicBezTo>
                  <a:pt x="3698106" y="5043056"/>
                  <a:pt x="4118722" y="4659870"/>
                  <a:pt x="4118722" y="4126744"/>
                </a:cubicBezTo>
                <a:cubicBezTo>
                  <a:pt x="4118722" y="3708850"/>
                  <a:pt x="3863886" y="3468665"/>
                  <a:pt x="3455600" y="3360373"/>
                </a:cubicBezTo>
                <a:cubicBezTo>
                  <a:pt x="3791271" y="3239587"/>
                  <a:pt x="3999524" y="2999402"/>
                  <a:pt x="3999524" y="2628712"/>
                </a:cubicBezTo>
                <a:cubicBezTo>
                  <a:pt x="3999524" y="2206653"/>
                  <a:pt x="3617271" y="1901215"/>
                  <a:pt x="3115819" y="1901215"/>
                </a:cubicBez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tIns="720000">
            <a:noAutofit/>
          </a:bodyPr>
          <a:lstStyle>
            <a:lvl1pPr algn="ctr">
              <a:defRPr sz="1600">
                <a:solidFill>
                  <a:schemeClr val="bg1">
                    <a:lumMod val="50000"/>
                  </a:schemeClr>
                </a:solidFill>
              </a:defRPr>
            </a:lvl1pPr>
          </a:lstStyle>
          <a:p>
            <a:r>
              <a:rPr lang="en-US"/>
              <a:t>Click icon to add picture</a:t>
            </a:r>
            <a:endParaRPr lang="en-GB"/>
          </a:p>
        </p:txBody>
      </p:sp>
      <p:pic>
        <p:nvPicPr>
          <p:cNvPr id="14" name="Graphic 13">
            <a:extLst>
              <a:ext uri="{FF2B5EF4-FFF2-40B4-BE49-F238E27FC236}">
                <a16:creationId xmlns:a16="http://schemas.microsoft.com/office/drawing/2014/main" id="{85DA45A5-9E96-A540-A7CB-C6C50E73A72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5558"/>
            <a:ext cx="1304260" cy="480118"/>
          </a:xfrm>
          <a:prstGeom prst="rect">
            <a:avLst/>
          </a:prstGeom>
        </p:spPr>
      </p:pic>
      <p:sp>
        <p:nvSpPr>
          <p:cNvPr id="8" name="Text Placeholder 29">
            <a:extLst>
              <a:ext uri="{FF2B5EF4-FFF2-40B4-BE49-F238E27FC236}">
                <a16:creationId xmlns:a16="http://schemas.microsoft.com/office/drawing/2014/main" id="{B2461434-5D17-DC5F-DC1A-E69D4E2BBC1D}"/>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tx2"/>
                </a:solidFill>
              </a:defRPr>
            </a:lvl1pPr>
          </a:lstStyle>
          <a:p>
            <a:pPr lvl="0"/>
            <a:r>
              <a:rPr lang="en-GB"/>
              <a:t>Section title goes here</a:t>
            </a:r>
          </a:p>
        </p:txBody>
      </p:sp>
      <p:sp>
        <p:nvSpPr>
          <p:cNvPr id="9" name="Text Placeholder 31">
            <a:extLst>
              <a:ext uri="{FF2B5EF4-FFF2-40B4-BE49-F238E27FC236}">
                <a16:creationId xmlns:a16="http://schemas.microsoft.com/office/drawing/2014/main" id="{63FD04FF-C6D3-AE64-9C91-6E3CEBDB6B0C}"/>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tx2">
                    <a:lumMod val="50000"/>
                  </a:schemeClr>
                </a:solidFill>
              </a:defRPr>
            </a:lvl1pPr>
          </a:lstStyle>
          <a:p>
            <a:pPr lvl="0"/>
            <a:r>
              <a:rPr lang="en-GB"/>
              <a:t>SUBTITLE GOES HERE: TYPE IN CAPITALS</a:t>
            </a:r>
          </a:p>
        </p:txBody>
      </p:sp>
    </p:spTree>
    <p:extLst>
      <p:ext uri="{BB962C8B-B14F-4D97-AF65-F5344CB8AC3E}">
        <p14:creationId xmlns:p14="http://schemas.microsoft.com/office/powerpoint/2010/main" val="3273326166"/>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Section Divider + Image A4">
    <p:spTree>
      <p:nvGrpSpPr>
        <p:cNvPr id="1" name=""/>
        <p:cNvGrpSpPr/>
        <p:nvPr/>
      </p:nvGrpSpPr>
      <p:grpSpPr>
        <a:xfrm>
          <a:off x="0" y="0"/>
          <a:ext cx="0" cy="0"/>
          <a:chOff x="0" y="0"/>
          <a:chExt cx="0" cy="0"/>
        </a:xfrm>
      </p:grpSpPr>
      <p:sp>
        <p:nvSpPr>
          <p:cNvPr id="29" name="Picture Placeholder 28">
            <a:extLst>
              <a:ext uri="{FF2B5EF4-FFF2-40B4-BE49-F238E27FC236}">
                <a16:creationId xmlns:a16="http://schemas.microsoft.com/office/drawing/2014/main" id="{8AEA1B93-DB0B-33C4-6C50-8FD2474CA50D}"/>
              </a:ext>
            </a:extLst>
          </p:cNvPr>
          <p:cNvSpPr>
            <a:spLocks noGrp="1"/>
          </p:cNvSpPr>
          <p:nvPr>
            <p:ph type="pic" sz="quarter" idx="14"/>
          </p:nvPr>
        </p:nvSpPr>
        <p:spPr>
          <a:xfrm>
            <a:off x="0" y="0"/>
            <a:ext cx="6096001" cy="6858000"/>
          </a:xfrm>
          <a:custGeom>
            <a:avLst/>
            <a:gdLst>
              <a:gd name="connsiteX0" fmla="*/ 3218999 w 6096001"/>
              <a:gd name="connsiteY0" fmla="*/ 2668987 h 6858000"/>
              <a:gd name="connsiteX1" fmla="*/ 3218999 w 6096001"/>
              <a:gd name="connsiteY1" fmla="*/ 3752595 h 6858000"/>
              <a:gd name="connsiteX2" fmla="*/ 2442001 w 6096001"/>
              <a:gd name="connsiteY2" fmla="*/ 3752595 h 6858000"/>
              <a:gd name="connsiteX3" fmla="*/ 3218999 w 6096001"/>
              <a:gd name="connsiteY3" fmla="*/ 1883188 h 6858000"/>
              <a:gd name="connsiteX4" fmla="*/ 1820976 w 6096001"/>
              <a:gd name="connsiteY4" fmla="*/ 3839578 h 6858000"/>
              <a:gd name="connsiteX5" fmla="*/ 1820976 w 6096001"/>
              <a:gd name="connsiteY5" fmla="*/ 4242061 h 6858000"/>
              <a:gd name="connsiteX6" fmla="*/ 3218999 w 6096001"/>
              <a:gd name="connsiteY6" fmla="*/ 4242061 h 6858000"/>
              <a:gd name="connsiteX7" fmla="*/ 3218999 w 6096001"/>
              <a:gd name="connsiteY7" fmla="*/ 5164970 h 6858000"/>
              <a:gd name="connsiteX8" fmla="*/ 3791372 w 6096001"/>
              <a:gd name="connsiteY8" fmla="*/ 5164970 h 6858000"/>
              <a:gd name="connsiteX9" fmla="*/ 3791372 w 6096001"/>
              <a:gd name="connsiteY9" fmla="*/ 4242061 h 6858000"/>
              <a:gd name="connsiteX10" fmla="*/ 4275028 w 6096001"/>
              <a:gd name="connsiteY10" fmla="*/ 4242061 h 6858000"/>
              <a:gd name="connsiteX11" fmla="*/ 4275028 w 6096001"/>
              <a:gd name="connsiteY11" fmla="*/ 3752595 h 6858000"/>
              <a:gd name="connsiteX12" fmla="*/ 3791372 w 6096001"/>
              <a:gd name="connsiteY12" fmla="*/ 3752595 h 6858000"/>
              <a:gd name="connsiteX13" fmla="*/ 3791372 w 6096001"/>
              <a:gd name="connsiteY13" fmla="*/ 1883188 h 6858000"/>
              <a:gd name="connsiteX14" fmla="*/ 0 w 6096001"/>
              <a:gd name="connsiteY14" fmla="*/ 0 h 6858000"/>
              <a:gd name="connsiteX15" fmla="*/ 5214397 w 6096001"/>
              <a:gd name="connsiteY15" fmla="*/ 0 h 6858000"/>
              <a:gd name="connsiteX16" fmla="*/ 6096001 w 6096001"/>
              <a:gd name="connsiteY16" fmla="*/ 881604 h 6858000"/>
              <a:gd name="connsiteX17" fmla="*/ 6096001 w 6096001"/>
              <a:gd name="connsiteY17" fmla="*/ 6858000 h 6858000"/>
              <a:gd name="connsiteX18" fmla="*/ 0 w 6096001"/>
              <a:gd name="connsiteY1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096001" h="6858000">
                <a:moveTo>
                  <a:pt x="3218999" y="2668987"/>
                </a:moveTo>
                <a:lnTo>
                  <a:pt x="3218999" y="3752595"/>
                </a:lnTo>
                <a:lnTo>
                  <a:pt x="2442001" y="3752595"/>
                </a:lnTo>
                <a:close/>
                <a:moveTo>
                  <a:pt x="3218999" y="1883188"/>
                </a:moveTo>
                <a:lnTo>
                  <a:pt x="1820976" y="3839578"/>
                </a:lnTo>
                <a:lnTo>
                  <a:pt x="1820976" y="4242061"/>
                </a:lnTo>
                <a:lnTo>
                  <a:pt x="3218999" y="4242061"/>
                </a:lnTo>
                <a:lnTo>
                  <a:pt x="3218999" y="5164970"/>
                </a:lnTo>
                <a:lnTo>
                  <a:pt x="3791372" y="5164970"/>
                </a:lnTo>
                <a:lnTo>
                  <a:pt x="3791372" y="4242061"/>
                </a:lnTo>
                <a:lnTo>
                  <a:pt x="4275028" y="4242061"/>
                </a:lnTo>
                <a:lnTo>
                  <a:pt x="4275028" y="3752595"/>
                </a:lnTo>
                <a:lnTo>
                  <a:pt x="3791372" y="3752595"/>
                </a:lnTo>
                <a:lnTo>
                  <a:pt x="3791372" y="1883188"/>
                </a:ln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anchor="ctr">
            <a:noAutofit/>
          </a:bodyPr>
          <a:lstStyle>
            <a:lvl1pPr algn="ctr">
              <a:defRPr sz="1600">
                <a:solidFill>
                  <a:schemeClr val="bg1">
                    <a:lumMod val="50000"/>
                  </a:schemeClr>
                </a:solidFill>
              </a:defRPr>
            </a:lvl1pPr>
          </a:lstStyle>
          <a:p>
            <a:r>
              <a:rPr lang="en-US"/>
              <a:t>Click icon to add picture</a:t>
            </a:r>
            <a:endParaRPr lang="en-GB"/>
          </a:p>
        </p:txBody>
      </p:sp>
      <p:pic>
        <p:nvPicPr>
          <p:cNvPr id="14" name="Graphic 13">
            <a:extLst>
              <a:ext uri="{FF2B5EF4-FFF2-40B4-BE49-F238E27FC236}">
                <a16:creationId xmlns:a16="http://schemas.microsoft.com/office/drawing/2014/main" id="{85DA45A5-9E96-A540-A7CB-C6C50E73A72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5558"/>
            <a:ext cx="1304260" cy="480118"/>
          </a:xfrm>
          <a:prstGeom prst="rect">
            <a:avLst/>
          </a:prstGeom>
        </p:spPr>
      </p:pic>
      <p:sp>
        <p:nvSpPr>
          <p:cNvPr id="8" name="Text Placeholder 29">
            <a:extLst>
              <a:ext uri="{FF2B5EF4-FFF2-40B4-BE49-F238E27FC236}">
                <a16:creationId xmlns:a16="http://schemas.microsoft.com/office/drawing/2014/main" id="{3314B818-1A45-4088-0941-EB7C6968EA16}"/>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tx2"/>
                </a:solidFill>
              </a:defRPr>
            </a:lvl1pPr>
          </a:lstStyle>
          <a:p>
            <a:pPr lvl="0"/>
            <a:r>
              <a:rPr lang="en-GB"/>
              <a:t>Section title goes here</a:t>
            </a:r>
          </a:p>
        </p:txBody>
      </p:sp>
      <p:sp>
        <p:nvSpPr>
          <p:cNvPr id="9" name="Text Placeholder 31">
            <a:extLst>
              <a:ext uri="{FF2B5EF4-FFF2-40B4-BE49-F238E27FC236}">
                <a16:creationId xmlns:a16="http://schemas.microsoft.com/office/drawing/2014/main" id="{5C3A23D4-78BE-16F7-8E29-ADEBA311D003}"/>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tx2">
                    <a:lumMod val="50000"/>
                  </a:schemeClr>
                </a:solidFill>
              </a:defRPr>
            </a:lvl1pPr>
          </a:lstStyle>
          <a:p>
            <a:pPr lvl="0"/>
            <a:r>
              <a:rPr lang="en-GB"/>
              <a:t>SUBTITLE GOES HERE: TYPE IN CAPITALS</a:t>
            </a:r>
          </a:p>
        </p:txBody>
      </p:sp>
    </p:spTree>
    <p:extLst>
      <p:ext uri="{BB962C8B-B14F-4D97-AF65-F5344CB8AC3E}">
        <p14:creationId xmlns:p14="http://schemas.microsoft.com/office/powerpoint/2010/main" val="2570724007"/>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Section Divider + Image A5">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85DA45A5-9E96-A540-A7CB-C6C50E73A72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5558"/>
            <a:ext cx="1304260" cy="480118"/>
          </a:xfrm>
          <a:prstGeom prst="rect">
            <a:avLst/>
          </a:prstGeom>
        </p:spPr>
      </p:pic>
      <p:sp>
        <p:nvSpPr>
          <p:cNvPr id="16" name="Picture Placeholder 15">
            <a:extLst>
              <a:ext uri="{FF2B5EF4-FFF2-40B4-BE49-F238E27FC236}">
                <a16:creationId xmlns:a16="http://schemas.microsoft.com/office/drawing/2014/main" id="{343EB15E-A314-36FE-8F19-4C79176CF3CC}"/>
              </a:ext>
            </a:extLst>
          </p:cNvPr>
          <p:cNvSpPr>
            <a:spLocks noGrp="1"/>
          </p:cNvSpPr>
          <p:nvPr>
            <p:ph type="pic" sz="quarter" idx="14"/>
          </p:nvPr>
        </p:nvSpPr>
        <p:spPr>
          <a:xfrm>
            <a:off x="-2" y="0"/>
            <a:ext cx="6096001" cy="6858000"/>
          </a:xfrm>
          <a:custGeom>
            <a:avLst/>
            <a:gdLst>
              <a:gd name="connsiteX0" fmla="*/ 2264571 w 6096001"/>
              <a:gd name="connsiteY0" fmla="*/ 1883188 h 6858000"/>
              <a:gd name="connsiteX1" fmla="*/ 2167943 w 6096001"/>
              <a:gd name="connsiteY1" fmla="*/ 3625805 h 6858000"/>
              <a:gd name="connsiteX2" fmla="*/ 2578239 w 6096001"/>
              <a:gd name="connsiteY2" fmla="*/ 3754069 h 6858000"/>
              <a:gd name="connsiteX3" fmla="*/ 3056918 w 6096001"/>
              <a:gd name="connsiteY3" fmla="*/ 3625805 h 6858000"/>
              <a:gd name="connsiteX4" fmla="*/ 3638171 w 6096001"/>
              <a:gd name="connsiteY4" fmla="*/ 4124117 h 6858000"/>
              <a:gd name="connsiteX5" fmla="*/ 3047999 w 6096001"/>
              <a:gd name="connsiteY5" fmla="*/ 4644543 h 6858000"/>
              <a:gd name="connsiteX6" fmla="*/ 2222946 w 6096001"/>
              <a:gd name="connsiteY6" fmla="*/ 4342313 h 6858000"/>
              <a:gd name="connsiteX7" fmla="*/ 1933063 w 6096001"/>
              <a:gd name="connsiteY7" fmla="*/ 4822933 h 6858000"/>
              <a:gd name="connsiteX8" fmla="*/ 3058405 w 6096001"/>
              <a:gd name="connsiteY8" fmla="*/ 5175290 h 6858000"/>
              <a:gd name="connsiteX9" fmla="*/ 4229830 w 6096001"/>
              <a:gd name="connsiteY9" fmla="*/ 4110849 h 6858000"/>
              <a:gd name="connsiteX10" fmla="*/ 3178818 w 6096001"/>
              <a:gd name="connsiteY10" fmla="*/ 3114225 h 6858000"/>
              <a:gd name="connsiteX11" fmla="*/ 2689733 w 6096001"/>
              <a:gd name="connsiteY11" fmla="*/ 3214477 h 6858000"/>
              <a:gd name="connsiteX12" fmla="*/ 2744736 w 6096001"/>
              <a:gd name="connsiteY12" fmla="*/ 2409511 h 6858000"/>
              <a:gd name="connsiteX13" fmla="*/ 4026169 w 6096001"/>
              <a:gd name="connsiteY13" fmla="*/ 2409511 h 6858000"/>
              <a:gd name="connsiteX14" fmla="*/ 4026169 w 6096001"/>
              <a:gd name="connsiteY14" fmla="*/ 1883188 h 6858000"/>
              <a:gd name="connsiteX15" fmla="*/ 0 w 6096001"/>
              <a:gd name="connsiteY15" fmla="*/ 0 h 6858000"/>
              <a:gd name="connsiteX16" fmla="*/ 5214397 w 6096001"/>
              <a:gd name="connsiteY16" fmla="*/ 0 h 6858000"/>
              <a:gd name="connsiteX17" fmla="*/ 6096001 w 6096001"/>
              <a:gd name="connsiteY17" fmla="*/ 881604 h 6858000"/>
              <a:gd name="connsiteX18" fmla="*/ 6096001 w 6096001"/>
              <a:gd name="connsiteY18" fmla="*/ 6858000 h 6858000"/>
              <a:gd name="connsiteX19" fmla="*/ 0 w 6096001"/>
              <a:gd name="connsiteY1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096001" h="6858000">
                <a:moveTo>
                  <a:pt x="2264571" y="1883188"/>
                </a:moveTo>
                <a:lnTo>
                  <a:pt x="2167943" y="3625805"/>
                </a:lnTo>
                <a:lnTo>
                  <a:pt x="2578239" y="3754069"/>
                </a:lnTo>
                <a:cubicBezTo>
                  <a:pt x="2706085" y="3671508"/>
                  <a:pt x="2863663" y="3625805"/>
                  <a:pt x="3056918" y="3625805"/>
                </a:cubicBezTo>
                <a:cubicBezTo>
                  <a:pt x="3412211" y="3625805"/>
                  <a:pt x="3638171" y="3814515"/>
                  <a:pt x="3638171" y="4124117"/>
                </a:cubicBezTo>
                <a:cubicBezTo>
                  <a:pt x="3638171" y="4433719"/>
                  <a:pt x="3412211" y="4644543"/>
                  <a:pt x="3047999" y="4644543"/>
                </a:cubicBezTo>
                <a:cubicBezTo>
                  <a:pt x="2720951" y="4644543"/>
                  <a:pt x="2435527" y="4511857"/>
                  <a:pt x="2222946" y="4342313"/>
                </a:cubicBezTo>
                <a:lnTo>
                  <a:pt x="1933063" y="4822933"/>
                </a:lnTo>
                <a:cubicBezTo>
                  <a:pt x="2173889" y="5024912"/>
                  <a:pt x="2542561" y="5175290"/>
                  <a:pt x="3058405" y="5175290"/>
                </a:cubicBezTo>
                <a:cubicBezTo>
                  <a:pt x="3755611" y="5175290"/>
                  <a:pt x="4229830" y="4728578"/>
                  <a:pt x="4229830" y="4110849"/>
                </a:cubicBezTo>
                <a:cubicBezTo>
                  <a:pt x="4229830" y="3493119"/>
                  <a:pt x="3801695" y="3114225"/>
                  <a:pt x="3178818" y="3114225"/>
                </a:cubicBezTo>
                <a:cubicBezTo>
                  <a:pt x="3007861" y="3114225"/>
                  <a:pt x="2810146" y="3155505"/>
                  <a:pt x="2689733" y="3214477"/>
                </a:cubicBezTo>
                <a:lnTo>
                  <a:pt x="2744736" y="2409511"/>
                </a:lnTo>
                <a:lnTo>
                  <a:pt x="4026169" y="2409511"/>
                </a:lnTo>
                <a:lnTo>
                  <a:pt x="4026169" y="1883188"/>
                </a:ln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anchor="ctr">
            <a:noAutofit/>
          </a:bodyPr>
          <a:lstStyle>
            <a:lvl1pPr algn="ctr">
              <a:defRPr sz="1600">
                <a:solidFill>
                  <a:schemeClr val="bg1">
                    <a:lumMod val="50000"/>
                  </a:schemeClr>
                </a:solidFill>
              </a:defRPr>
            </a:lvl1pPr>
          </a:lstStyle>
          <a:p>
            <a:r>
              <a:rPr lang="en-US"/>
              <a:t>Click icon to add picture</a:t>
            </a:r>
            <a:endParaRPr lang="en-GB"/>
          </a:p>
        </p:txBody>
      </p:sp>
      <p:sp>
        <p:nvSpPr>
          <p:cNvPr id="8" name="Text Placeholder 29">
            <a:extLst>
              <a:ext uri="{FF2B5EF4-FFF2-40B4-BE49-F238E27FC236}">
                <a16:creationId xmlns:a16="http://schemas.microsoft.com/office/drawing/2014/main" id="{44E4F9BB-131C-DA11-8330-1278532DD3C7}"/>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tx2"/>
                </a:solidFill>
              </a:defRPr>
            </a:lvl1pPr>
          </a:lstStyle>
          <a:p>
            <a:pPr lvl="0"/>
            <a:r>
              <a:rPr lang="en-GB"/>
              <a:t>Section title goes here</a:t>
            </a:r>
          </a:p>
        </p:txBody>
      </p:sp>
      <p:sp>
        <p:nvSpPr>
          <p:cNvPr id="9" name="Text Placeholder 31">
            <a:extLst>
              <a:ext uri="{FF2B5EF4-FFF2-40B4-BE49-F238E27FC236}">
                <a16:creationId xmlns:a16="http://schemas.microsoft.com/office/drawing/2014/main" id="{26A6169B-562B-8F66-2B5C-19489101B699}"/>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tx2">
                    <a:lumMod val="50000"/>
                  </a:schemeClr>
                </a:solidFill>
              </a:defRPr>
            </a:lvl1pPr>
          </a:lstStyle>
          <a:p>
            <a:pPr lvl="0"/>
            <a:r>
              <a:rPr lang="en-GB"/>
              <a:t>SUBTITLE GOES HERE: TYPE IN CAPITALS</a:t>
            </a:r>
          </a:p>
        </p:txBody>
      </p:sp>
    </p:spTree>
    <p:extLst>
      <p:ext uri="{BB962C8B-B14F-4D97-AF65-F5344CB8AC3E}">
        <p14:creationId xmlns:p14="http://schemas.microsoft.com/office/powerpoint/2010/main" val="2844283303"/>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Section Divider + Image A6">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A1BA5AB5-3C92-5003-411D-080017FB62FA}"/>
              </a:ext>
            </a:extLst>
          </p:cNvPr>
          <p:cNvSpPr>
            <a:spLocks noGrp="1"/>
          </p:cNvSpPr>
          <p:nvPr>
            <p:ph type="pic" sz="quarter" idx="14"/>
          </p:nvPr>
        </p:nvSpPr>
        <p:spPr>
          <a:xfrm>
            <a:off x="-2" y="0"/>
            <a:ext cx="6096001" cy="6858000"/>
          </a:xfrm>
          <a:custGeom>
            <a:avLst/>
            <a:gdLst>
              <a:gd name="connsiteX0" fmla="*/ 3077268 w 6096001"/>
              <a:gd name="connsiteY0" fmla="*/ 3517274 h 6858000"/>
              <a:gd name="connsiteX1" fmla="*/ 3608256 w 6096001"/>
              <a:gd name="connsiteY1" fmla="*/ 4024085 h 6858000"/>
              <a:gd name="connsiteX2" fmla="*/ 3609649 w 6096001"/>
              <a:gd name="connsiteY2" fmla="*/ 4025458 h 6858000"/>
              <a:gd name="connsiteX3" fmla="*/ 3064725 w 6096001"/>
              <a:gd name="connsiteY3" fmla="*/ 4548751 h 6858000"/>
              <a:gd name="connsiteX4" fmla="*/ 2503076 w 6096001"/>
              <a:gd name="connsiteY4" fmla="*/ 3973266 h 6858000"/>
              <a:gd name="connsiteX5" fmla="*/ 3077268 w 6096001"/>
              <a:gd name="connsiteY5" fmla="*/ 3517274 h 6858000"/>
              <a:gd name="connsiteX6" fmla="*/ 3834030 w 6096001"/>
              <a:gd name="connsiteY6" fmla="*/ 1925421 h 6858000"/>
              <a:gd name="connsiteX7" fmla="*/ 1945608 w 6096001"/>
              <a:gd name="connsiteY7" fmla="*/ 3731535 h 6858000"/>
              <a:gd name="connsiteX8" fmla="*/ 3085630 w 6096001"/>
              <a:gd name="connsiteY8" fmla="*/ 5025345 h 6858000"/>
              <a:gd name="connsiteX9" fmla="*/ 4148999 w 6096001"/>
              <a:gd name="connsiteY9" fmla="*/ 4015844 h 6858000"/>
              <a:gd name="connsiteX10" fmla="*/ 4150393 w 6096001"/>
              <a:gd name="connsiteY10" fmla="*/ 4015844 h 6858000"/>
              <a:gd name="connsiteX11" fmla="*/ 3195730 w 6096001"/>
              <a:gd name="connsiteY11" fmla="*/ 3083257 h 6858000"/>
              <a:gd name="connsiteX12" fmla="*/ 2525374 w 6096001"/>
              <a:gd name="connsiteY12" fmla="*/ 3338723 h 6858000"/>
              <a:gd name="connsiteX13" fmla="*/ 3946917 w 6096001"/>
              <a:gd name="connsiteY13" fmla="*/ 2402015 h 6858000"/>
              <a:gd name="connsiteX14" fmla="*/ 0 w 6096001"/>
              <a:gd name="connsiteY14" fmla="*/ 0 h 6858000"/>
              <a:gd name="connsiteX15" fmla="*/ 5214397 w 6096001"/>
              <a:gd name="connsiteY15" fmla="*/ 0 h 6858000"/>
              <a:gd name="connsiteX16" fmla="*/ 6096001 w 6096001"/>
              <a:gd name="connsiteY16" fmla="*/ 881604 h 6858000"/>
              <a:gd name="connsiteX17" fmla="*/ 6096001 w 6096001"/>
              <a:gd name="connsiteY17" fmla="*/ 6858000 h 6858000"/>
              <a:gd name="connsiteX18" fmla="*/ 0 w 6096001"/>
              <a:gd name="connsiteY1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096001" h="6858000">
                <a:moveTo>
                  <a:pt x="3077268" y="3517274"/>
                </a:moveTo>
                <a:cubicBezTo>
                  <a:pt x="3396418" y="3517274"/>
                  <a:pt x="3608256" y="3704066"/>
                  <a:pt x="3608256" y="4024085"/>
                </a:cubicBezTo>
                <a:lnTo>
                  <a:pt x="3609649" y="4025458"/>
                </a:lnTo>
                <a:cubicBezTo>
                  <a:pt x="3609649" y="4352344"/>
                  <a:pt x="3379694" y="4548751"/>
                  <a:pt x="3064725" y="4548751"/>
                </a:cubicBezTo>
                <a:cubicBezTo>
                  <a:pt x="2727457" y="4548751"/>
                  <a:pt x="2503076" y="4293285"/>
                  <a:pt x="2503076" y="3973266"/>
                </a:cubicBezTo>
                <a:cubicBezTo>
                  <a:pt x="2503076" y="3691705"/>
                  <a:pt x="2779022" y="3517274"/>
                  <a:pt x="3077268" y="3517274"/>
                </a:cubicBezTo>
                <a:close/>
                <a:moveTo>
                  <a:pt x="3834030" y="1925421"/>
                </a:moveTo>
                <a:cubicBezTo>
                  <a:pt x="2503076" y="1967999"/>
                  <a:pt x="1945608" y="2776973"/>
                  <a:pt x="1945608" y="3731535"/>
                </a:cubicBezTo>
                <a:cubicBezTo>
                  <a:pt x="1945608" y="4574847"/>
                  <a:pt x="2416668" y="5025345"/>
                  <a:pt x="3085630" y="5025345"/>
                </a:cubicBezTo>
                <a:cubicBezTo>
                  <a:pt x="3700238" y="5025345"/>
                  <a:pt x="4148999" y="4616051"/>
                  <a:pt x="4148999" y="4015844"/>
                </a:cubicBezTo>
                <a:lnTo>
                  <a:pt x="4150393" y="4015844"/>
                </a:lnTo>
                <a:cubicBezTo>
                  <a:pt x="4150393" y="3432119"/>
                  <a:pt x="3730899" y="3083257"/>
                  <a:pt x="3195730" y="3083257"/>
                </a:cubicBezTo>
                <a:cubicBezTo>
                  <a:pt x="2897484" y="3083257"/>
                  <a:pt x="2654986" y="3210990"/>
                  <a:pt x="2525374" y="3338723"/>
                </a:cubicBezTo>
                <a:cubicBezTo>
                  <a:pt x="2710732" y="2700059"/>
                  <a:pt x="3160888" y="2436352"/>
                  <a:pt x="3946917" y="2402015"/>
                </a:cubicBez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anchor="ctr">
            <a:noAutofit/>
          </a:bodyPr>
          <a:lstStyle>
            <a:lvl1pPr algn="ctr">
              <a:defRPr sz="1600">
                <a:solidFill>
                  <a:schemeClr val="bg1">
                    <a:lumMod val="50000"/>
                  </a:schemeClr>
                </a:solidFill>
              </a:defRPr>
            </a:lvl1pPr>
          </a:lstStyle>
          <a:p>
            <a:r>
              <a:rPr lang="en-US"/>
              <a:t>Click icon to add picture</a:t>
            </a:r>
            <a:endParaRPr lang="en-GB"/>
          </a:p>
        </p:txBody>
      </p:sp>
      <p:pic>
        <p:nvPicPr>
          <p:cNvPr id="14" name="Graphic 13">
            <a:extLst>
              <a:ext uri="{FF2B5EF4-FFF2-40B4-BE49-F238E27FC236}">
                <a16:creationId xmlns:a16="http://schemas.microsoft.com/office/drawing/2014/main" id="{85DA45A5-9E96-A540-A7CB-C6C50E73A72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5558"/>
            <a:ext cx="1304260" cy="480118"/>
          </a:xfrm>
          <a:prstGeom prst="rect">
            <a:avLst/>
          </a:prstGeom>
        </p:spPr>
      </p:pic>
      <p:sp>
        <p:nvSpPr>
          <p:cNvPr id="8" name="Text Placeholder 29">
            <a:extLst>
              <a:ext uri="{FF2B5EF4-FFF2-40B4-BE49-F238E27FC236}">
                <a16:creationId xmlns:a16="http://schemas.microsoft.com/office/drawing/2014/main" id="{7BB44742-AE3F-8E84-7834-7B05B9090FA0}"/>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tx2"/>
                </a:solidFill>
              </a:defRPr>
            </a:lvl1pPr>
          </a:lstStyle>
          <a:p>
            <a:pPr lvl="0"/>
            <a:r>
              <a:rPr lang="en-GB"/>
              <a:t>Section title goes here</a:t>
            </a:r>
          </a:p>
        </p:txBody>
      </p:sp>
      <p:sp>
        <p:nvSpPr>
          <p:cNvPr id="9" name="Text Placeholder 31">
            <a:extLst>
              <a:ext uri="{FF2B5EF4-FFF2-40B4-BE49-F238E27FC236}">
                <a16:creationId xmlns:a16="http://schemas.microsoft.com/office/drawing/2014/main" id="{7B5AA4FE-F153-D70D-DFCB-AA26BFD8A1F4}"/>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tx2">
                    <a:lumMod val="50000"/>
                  </a:schemeClr>
                </a:solidFill>
              </a:defRPr>
            </a:lvl1pPr>
          </a:lstStyle>
          <a:p>
            <a:pPr lvl="0"/>
            <a:r>
              <a:rPr lang="en-GB"/>
              <a:t>SUBTITLE GOES HERE: TYPE IN CAPITALS</a:t>
            </a:r>
          </a:p>
        </p:txBody>
      </p:sp>
    </p:spTree>
    <p:extLst>
      <p:ext uri="{BB962C8B-B14F-4D97-AF65-F5344CB8AC3E}">
        <p14:creationId xmlns:p14="http://schemas.microsoft.com/office/powerpoint/2010/main" val="92970930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text">
    <p:spTree>
      <p:nvGrpSpPr>
        <p:cNvPr id="1" name=""/>
        <p:cNvGrpSpPr/>
        <p:nvPr/>
      </p:nvGrpSpPr>
      <p:grpSpPr>
        <a:xfrm>
          <a:off x="0" y="0"/>
          <a:ext cx="0" cy="0"/>
          <a:chOff x="0" y="0"/>
          <a:chExt cx="0" cy="0"/>
        </a:xfrm>
      </p:grpSpPr>
      <p:sp>
        <p:nvSpPr>
          <p:cNvPr id="13" name="Rectángulo 9"/>
          <p:cNvSpPr/>
          <p:nvPr userDrawn="1"/>
        </p:nvSpPr>
        <p:spPr>
          <a:xfrm>
            <a:off x="0" y="0"/>
            <a:ext cx="12187995" cy="108000"/>
          </a:xfrm>
          <a:prstGeom prst="rect">
            <a:avLst/>
          </a:prstGeom>
          <a:gradFill rotWithShape="1">
            <a:gsLst>
              <a:gs pos="0">
                <a:srgbClr val="A50021"/>
              </a:gs>
              <a:gs pos="100000">
                <a:srgbClr val="636463"/>
              </a:gs>
            </a:gsLst>
            <a:lin ang="16200000" scaled="0"/>
          </a:gradFill>
          <a:ln w="952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srgbClr val="F3EBDD"/>
              </a:solidFill>
              <a:effectLst/>
              <a:uLnTx/>
              <a:uFillTx/>
              <a:latin typeface="Arial"/>
              <a:ea typeface="+mn-ea"/>
              <a:cs typeface="+mn-cs"/>
            </a:endParaRPr>
          </a:p>
        </p:txBody>
      </p:sp>
      <p:sp>
        <p:nvSpPr>
          <p:cNvPr id="6" name="Rectangle 2"/>
          <p:cNvSpPr>
            <a:spLocks noGrp="1" noChangeArrowheads="1"/>
          </p:cNvSpPr>
          <p:nvPr>
            <p:ph type="title"/>
          </p:nvPr>
        </p:nvSpPr>
        <p:spPr bwMode="auto">
          <a:xfrm>
            <a:off x="609600" y="274638"/>
            <a:ext cx="10972800" cy="90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defRPr>
                <a:solidFill>
                  <a:srgbClr val="A50021"/>
                </a:solidFill>
              </a:defRPr>
            </a:lvl1pPr>
          </a:lstStyle>
          <a:p>
            <a:pPr lvl="0"/>
            <a:r>
              <a:rPr lang="fr-FR"/>
              <a:t>Cliquez pour modifier le style du titre</a:t>
            </a:r>
          </a:p>
        </p:txBody>
      </p:sp>
      <p:sp>
        <p:nvSpPr>
          <p:cNvPr id="7" name="Rectangle 3"/>
          <p:cNvSpPr>
            <a:spLocks noGrp="1" noChangeArrowheads="1"/>
          </p:cNvSpPr>
          <p:nvPr>
            <p:ph idx="1"/>
          </p:nvPr>
        </p:nvSpPr>
        <p:spPr bwMode="auto">
          <a:xfrm>
            <a:off x="609600" y="1600212"/>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defRPr sz="3000"/>
            </a:lvl1pPr>
            <a:lvl2pPr>
              <a:defRPr sz="2800"/>
            </a:lvl2pPr>
            <a:lvl3pPr>
              <a:defRPr sz="2400">
                <a:latin typeface="Arial" panose="020B0604020202020204" pitchFamily="34" charset="0"/>
                <a:cs typeface="Arial" panose="020B0604020202020204" pitchFamily="34" charset="0"/>
              </a:defRPr>
            </a:lvl3pPr>
            <a:lvl4pPr>
              <a:defRPr sz="2000"/>
            </a:lvl4pPr>
            <a:lvl5pPr>
              <a:defRPr sz="18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52064637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 Column Bulle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2" spcCol="360000"/>
          <a:lstStyle>
            <a:lvl1pPr marL="342900" indent="-342900">
              <a:buClr>
                <a:schemeClr val="bg2"/>
              </a:buClr>
              <a:buFont typeface="Arial" panose="020B0604020202020204" pitchFamily="34" charset="0"/>
              <a:buChar char="•"/>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United Against Rabies Forum Meeting - 6-8 November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938548796"/>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Section Divider + Image B1">
    <p:bg>
      <p:bgPr>
        <a:solidFill>
          <a:schemeClr val="tx2">
            <a:lumMod val="75000"/>
          </a:schemeClr>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D21E2CB-391E-E74E-90AE-4B5A47140739}"/>
              </a:ext>
            </a:extLst>
          </p:cNvPr>
          <p:cNvSpPr/>
          <p:nvPr userDrawn="1"/>
        </p:nvSpPr>
        <p:spPr>
          <a:xfrm>
            <a:off x="83127" y="105798"/>
            <a:ext cx="4898251" cy="6635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sp>
        <p:nvSpPr>
          <p:cNvPr id="26" name="Picture Placeholder 25">
            <a:extLst>
              <a:ext uri="{FF2B5EF4-FFF2-40B4-BE49-F238E27FC236}">
                <a16:creationId xmlns:a16="http://schemas.microsoft.com/office/drawing/2014/main" id="{2F82B885-0103-7D42-AE00-61FB2FE0C2F4}"/>
              </a:ext>
            </a:extLst>
          </p:cNvPr>
          <p:cNvSpPr>
            <a:spLocks noGrp="1"/>
          </p:cNvSpPr>
          <p:nvPr>
            <p:ph type="pic" sz="quarter" idx="10"/>
          </p:nvPr>
        </p:nvSpPr>
        <p:spPr>
          <a:xfrm>
            <a:off x="-2" y="0"/>
            <a:ext cx="6096001" cy="6858000"/>
          </a:xfrm>
          <a:custGeom>
            <a:avLst/>
            <a:gdLst>
              <a:gd name="connsiteX0" fmla="*/ 3022951 w 6096001"/>
              <a:gd name="connsiteY0" fmla="*/ 1876235 h 6858000"/>
              <a:gd name="connsiteX1" fmla="*/ 2208500 w 6096001"/>
              <a:gd name="connsiteY1" fmla="*/ 2461578 h 6858000"/>
              <a:gd name="connsiteX2" fmla="*/ 2208500 w 6096001"/>
              <a:gd name="connsiteY2" fmla="*/ 2993835 h 6858000"/>
              <a:gd name="connsiteX3" fmla="*/ 2859036 w 6096001"/>
              <a:gd name="connsiteY3" fmla="*/ 2643188 h 6858000"/>
              <a:gd name="connsiteX4" fmla="*/ 2859036 w 6096001"/>
              <a:gd name="connsiteY4" fmla="*/ 4981766 h 6858000"/>
              <a:gd name="connsiteX5" fmla="*/ 3371270 w 6096001"/>
              <a:gd name="connsiteY5" fmla="*/ 4981766 h 6858000"/>
              <a:gd name="connsiteX6" fmla="*/ 3371270 w 6096001"/>
              <a:gd name="connsiteY6" fmla="*/ 1876235 h 6858000"/>
              <a:gd name="connsiteX7" fmla="*/ 0 w 6096001"/>
              <a:gd name="connsiteY7" fmla="*/ 0 h 6858000"/>
              <a:gd name="connsiteX8" fmla="*/ 5214397 w 6096001"/>
              <a:gd name="connsiteY8" fmla="*/ 0 h 6858000"/>
              <a:gd name="connsiteX9" fmla="*/ 6096001 w 6096001"/>
              <a:gd name="connsiteY9" fmla="*/ 881604 h 6858000"/>
              <a:gd name="connsiteX10" fmla="*/ 6096001 w 6096001"/>
              <a:gd name="connsiteY10" fmla="*/ 6858000 h 6858000"/>
              <a:gd name="connsiteX11" fmla="*/ 0 w 6096001"/>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96001" h="6858000">
                <a:moveTo>
                  <a:pt x="3022951" y="1876235"/>
                </a:moveTo>
                <a:cubicBezTo>
                  <a:pt x="2752748" y="2187766"/>
                  <a:pt x="2482545" y="2379155"/>
                  <a:pt x="2208500" y="2461578"/>
                </a:cubicBezTo>
                <a:lnTo>
                  <a:pt x="2208500" y="2993835"/>
                </a:lnTo>
                <a:cubicBezTo>
                  <a:pt x="2426199" y="2942146"/>
                  <a:pt x="2640057" y="2824798"/>
                  <a:pt x="2859036" y="2643188"/>
                </a:cubicBezTo>
                <a:lnTo>
                  <a:pt x="2859036" y="4981766"/>
                </a:lnTo>
                <a:lnTo>
                  <a:pt x="3371270" y="4981766"/>
                </a:lnTo>
                <a:lnTo>
                  <a:pt x="3371270" y="1876235"/>
                </a:ln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tIns="720000">
            <a:noAutofit/>
          </a:bodyPr>
          <a:lstStyle>
            <a:lvl1pPr marL="0" marR="0" indent="0" algn="ctr" defTabSz="914400" rtl="0" eaLnBrk="1" fontAlgn="auto" latinLnBrk="0" hangingPunct="1">
              <a:lnSpc>
                <a:spcPct val="110000"/>
              </a:lnSpc>
              <a:spcBef>
                <a:spcPts val="0"/>
              </a:spcBef>
              <a:spcAft>
                <a:spcPts val="1200"/>
              </a:spcAft>
              <a:buClrTx/>
              <a:buSzTx/>
              <a:buFont typeface="Arial" panose="020B0604020202020204" pitchFamily="34" charset="0"/>
              <a:buNone/>
              <a:tabLst/>
              <a:defRPr sz="1600">
                <a:solidFill>
                  <a:schemeClr val="bg1">
                    <a:lumMod val="50000"/>
                  </a:schemeClr>
                </a:solidFill>
              </a:defRPr>
            </a:lvl1pPr>
          </a:lstStyle>
          <a:p>
            <a:r>
              <a:rPr lang="en-US"/>
              <a:t>Click icon to add picture</a:t>
            </a:r>
            <a:endParaRPr lang="en-GB"/>
          </a:p>
        </p:txBody>
      </p:sp>
      <p:pic>
        <p:nvPicPr>
          <p:cNvPr id="8" name="Graphic 7">
            <a:extLst>
              <a:ext uri="{FF2B5EF4-FFF2-40B4-BE49-F238E27FC236}">
                <a16:creationId xmlns:a16="http://schemas.microsoft.com/office/drawing/2014/main" id="{3EC50268-B292-A44F-BED3-2C5DBBD2606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1777"/>
            <a:ext cx="1304260" cy="487680"/>
          </a:xfrm>
          <a:prstGeom prst="rect">
            <a:avLst/>
          </a:prstGeom>
        </p:spPr>
      </p:pic>
      <p:sp>
        <p:nvSpPr>
          <p:cNvPr id="7" name="Text Placeholder 29">
            <a:extLst>
              <a:ext uri="{FF2B5EF4-FFF2-40B4-BE49-F238E27FC236}">
                <a16:creationId xmlns:a16="http://schemas.microsoft.com/office/drawing/2014/main" id="{F9D1ECA4-2E76-AFCB-1752-45EC49E126B9}"/>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bg1"/>
                </a:solidFill>
              </a:defRPr>
            </a:lvl1pPr>
          </a:lstStyle>
          <a:p>
            <a:pPr lvl="0"/>
            <a:r>
              <a:rPr lang="en-GB"/>
              <a:t>Section title goes here</a:t>
            </a:r>
          </a:p>
        </p:txBody>
      </p:sp>
      <p:sp>
        <p:nvSpPr>
          <p:cNvPr id="9" name="Text Placeholder 31">
            <a:extLst>
              <a:ext uri="{FF2B5EF4-FFF2-40B4-BE49-F238E27FC236}">
                <a16:creationId xmlns:a16="http://schemas.microsoft.com/office/drawing/2014/main" id="{210A6CFC-9DAE-801C-CBAB-81E6DC1F915B}"/>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bg2">
                    <a:lumMod val="40000"/>
                    <a:lumOff val="60000"/>
                  </a:schemeClr>
                </a:solidFill>
              </a:defRPr>
            </a:lvl1pPr>
          </a:lstStyle>
          <a:p>
            <a:pPr lvl="0"/>
            <a:r>
              <a:rPr lang="en-GB"/>
              <a:t>SUBTITLE GOES HERE: TYPE IN CAPITALS</a:t>
            </a:r>
          </a:p>
        </p:txBody>
      </p:sp>
    </p:spTree>
    <p:extLst>
      <p:ext uri="{BB962C8B-B14F-4D97-AF65-F5344CB8AC3E}">
        <p14:creationId xmlns:p14="http://schemas.microsoft.com/office/powerpoint/2010/main" val="1955715822"/>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Section Divider + Image B2">
    <p:bg>
      <p:bgPr>
        <a:solidFill>
          <a:schemeClr val="tx2">
            <a:lumMod val="75000"/>
          </a:schemeClr>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D8B3FAE-10BA-7845-921A-76D948055D40}"/>
              </a:ext>
            </a:extLst>
          </p:cNvPr>
          <p:cNvSpPr/>
          <p:nvPr userDrawn="1"/>
        </p:nvSpPr>
        <p:spPr>
          <a:xfrm>
            <a:off x="83127" y="105798"/>
            <a:ext cx="4898251" cy="6635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pic>
        <p:nvPicPr>
          <p:cNvPr id="9" name="Graphic 8">
            <a:extLst>
              <a:ext uri="{FF2B5EF4-FFF2-40B4-BE49-F238E27FC236}">
                <a16:creationId xmlns:a16="http://schemas.microsoft.com/office/drawing/2014/main" id="{71AEB3A9-DC85-414C-A1EF-308330C0697B}"/>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1777"/>
            <a:ext cx="1304260" cy="487680"/>
          </a:xfrm>
          <a:prstGeom prst="rect">
            <a:avLst/>
          </a:prstGeom>
        </p:spPr>
      </p:pic>
      <p:sp>
        <p:nvSpPr>
          <p:cNvPr id="39" name="Picture Placeholder 38">
            <a:extLst>
              <a:ext uri="{FF2B5EF4-FFF2-40B4-BE49-F238E27FC236}">
                <a16:creationId xmlns:a16="http://schemas.microsoft.com/office/drawing/2014/main" id="{785EFCE5-1951-3242-A232-F252911C4EAB}"/>
              </a:ext>
            </a:extLst>
          </p:cNvPr>
          <p:cNvSpPr>
            <a:spLocks noGrp="1"/>
          </p:cNvSpPr>
          <p:nvPr>
            <p:ph type="pic" sz="quarter" idx="10"/>
          </p:nvPr>
        </p:nvSpPr>
        <p:spPr>
          <a:xfrm>
            <a:off x="-2" y="0"/>
            <a:ext cx="6096001" cy="6858000"/>
          </a:xfrm>
          <a:custGeom>
            <a:avLst/>
            <a:gdLst>
              <a:gd name="connsiteX0" fmla="*/ 3078800 w 6096001"/>
              <a:gd name="connsiteY0" fmla="*/ 1892300 h 6858000"/>
              <a:gd name="connsiteX1" fmla="*/ 2003079 w 6096001"/>
              <a:gd name="connsiteY1" fmla="*/ 2443193 h 6858000"/>
              <a:gd name="connsiteX2" fmla="*/ 2435905 w 6096001"/>
              <a:gd name="connsiteY2" fmla="*/ 2746603 h 6858000"/>
              <a:gd name="connsiteX3" fmla="*/ 3026635 w 6096001"/>
              <a:gd name="connsiteY3" fmla="*/ 2408238 h 6858000"/>
              <a:gd name="connsiteX4" fmla="*/ 3472150 w 6096001"/>
              <a:gd name="connsiteY4" fmla="*/ 2777364 h 6858000"/>
              <a:gd name="connsiteX5" fmla="*/ 2825026 w 6096001"/>
              <a:gd name="connsiteY5" fmla="*/ 3514218 h 6858000"/>
              <a:gd name="connsiteX6" fmla="*/ 1986161 w 6096001"/>
              <a:gd name="connsiteY6" fmla="*/ 4857893 h 6858000"/>
              <a:gd name="connsiteX7" fmla="*/ 1986161 w 6096001"/>
              <a:gd name="connsiteY7" fmla="*/ 5014492 h 6858000"/>
              <a:gd name="connsiteX8" fmla="*/ 4102356 w 6096001"/>
              <a:gd name="connsiteY8" fmla="*/ 5014492 h 6858000"/>
              <a:gd name="connsiteX9" fmla="*/ 4102356 w 6096001"/>
              <a:gd name="connsiteY9" fmla="*/ 4515333 h 6858000"/>
              <a:gd name="connsiteX10" fmla="*/ 2614957 w 6096001"/>
              <a:gd name="connsiteY10" fmla="*/ 4515333 h 6858000"/>
              <a:gd name="connsiteX11" fmla="*/ 3301557 w 6096001"/>
              <a:gd name="connsiteY11" fmla="*/ 3809239 h 6858000"/>
              <a:gd name="connsiteX12" fmla="*/ 4053011 w 6096001"/>
              <a:gd name="connsiteY12" fmla="*/ 2750798 h 6858000"/>
              <a:gd name="connsiteX13" fmla="*/ 3078800 w 6096001"/>
              <a:gd name="connsiteY13" fmla="*/ 1892300 h 6858000"/>
              <a:gd name="connsiteX14" fmla="*/ 0 w 6096001"/>
              <a:gd name="connsiteY14" fmla="*/ 0 h 6858000"/>
              <a:gd name="connsiteX15" fmla="*/ 5214397 w 6096001"/>
              <a:gd name="connsiteY15" fmla="*/ 0 h 6858000"/>
              <a:gd name="connsiteX16" fmla="*/ 6096001 w 6096001"/>
              <a:gd name="connsiteY16" fmla="*/ 881604 h 6858000"/>
              <a:gd name="connsiteX17" fmla="*/ 6096001 w 6096001"/>
              <a:gd name="connsiteY17" fmla="*/ 6858000 h 6858000"/>
              <a:gd name="connsiteX18" fmla="*/ 0 w 6096001"/>
              <a:gd name="connsiteY1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096001" h="6858000">
                <a:moveTo>
                  <a:pt x="3078800" y="1892300"/>
                </a:moveTo>
                <a:cubicBezTo>
                  <a:pt x="2571252" y="1892300"/>
                  <a:pt x="2235706" y="2082456"/>
                  <a:pt x="2003079" y="2443193"/>
                </a:cubicBezTo>
                <a:lnTo>
                  <a:pt x="2435905" y="2746603"/>
                </a:lnTo>
                <a:cubicBezTo>
                  <a:pt x="2576891" y="2529882"/>
                  <a:pt x="2768632" y="2408238"/>
                  <a:pt x="3026635" y="2408238"/>
                </a:cubicBezTo>
                <a:cubicBezTo>
                  <a:pt x="3318476" y="2408238"/>
                  <a:pt x="3472150" y="2556447"/>
                  <a:pt x="3472150" y="2777364"/>
                </a:cubicBezTo>
                <a:cubicBezTo>
                  <a:pt x="3472150" y="3020651"/>
                  <a:pt x="3301557" y="3198224"/>
                  <a:pt x="2825026" y="3514218"/>
                </a:cubicBezTo>
                <a:cubicBezTo>
                  <a:pt x="2231476" y="3916901"/>
                  <a:pt x="1986161" y="4315389"/>
                  <a:pt x="1986161" y="4857893"/>
                </a:cubicBezTo>
                <a:lnTo>
                  <a:pt x="1986161" y="5014492"/>
                </a:lnTo>
                <a:lnTo>
                  <a:pt x="4102356" y="5014492"/>
                </a:lnTo>
                <a:lnTo>
                  <a:pt x="4102356" y="4515333"/>
                </a:lnTo>
                <a:lnTo>
                  <a:pt x="2614957" y="4515333"/>
                </a:lnTo>
                <a:cubicBezTo>
                  <a:pt x="2645974" y="4346150"/>
                  <a:pt x="2891289" y="4081889"/>
                  <a:pt x="3301557" y="3809239"/>
                </a:cubicBezTo>
                <a:cubicBezTo>
                  <a:pt x="3834483" y="3456891"/>
                  <a:pt x="4053011" y="3175852"/>
                  <a:pt x="4053011" y="2750798"/>
                </a:cubicBezTo>
                <a:cubicBezTo>
                  <a:pt x="4053011" y="2255833"/>
                  <a:pt x="3646972" y="1892300"/>
                  <a:pt x="3078800" y="1892300"/>
                </a:cubicBez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tIns="720000">
            <a:noAutofit/>
          </a:bodyPr>
          <a:lstStyle>
            <a:lvl1pPr algn="ctr">
              <a:defRPr sz="1600">
                <a:solidFill>
                  <a:schemeClr val="bg1">
                    <a:lumMod val="50000"/>
                  </a:schemeClr>
                </a:solidFill>
              </a:defRPr>
            </a:lvl1pPr>
          </a:lstStyle>
          <a:p>
            <a:r>
              <a:rPr lang="en-US"/>
              <a:t>Click icon to add picture</a:t>
            </a:r>
            <a:endParaRPr lang="en-GB"/>
          </a:p>
        </p:txBody>
      </p:sp>
      <p:sp>
        <p:nvSpPr>
          <p:cNvPr id="10" name="Text Placeholder 29">
            <a:extLst>
              <a:ext uri="{FF2B5EF4-FFF2-40B4-BE49-F238E27FC236}">
                <a16:creationId xmlns:a16="http://schemas.microsoft.com/office/drawing/2014/main" id="{06A0666E-A97D-1003-AAE7-6FAEBACEBC15}"/>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bg1"/>
                </a:solidFill>
              </a:defRPr>
            </a:lvl1pPr>
          </a:lstStyle>
          <a:p>
            <a:pPr lvl="0"/>
            <a:r>
              <a:rPr lang="en-GB"/>
              <a:t>Section title goes here</a:t>
            </a:r>
          </a:p>
        </p:txBody>
      </p:sp>
      <p:sp>
        <p:nvSpPr>
          <p:cNvPr id="11" name="Text Placeholder 31">
            <a:extLst>
              <a:ext uri="{FF2B5EF4-FFF2-40B4-BE49-F238E27FC236}">
                <a16:creationId xmlns:a16="http://schemas.microsoft.com/office/drawing/2014/main" id="{098A54B8-9E40-BE44-A31D-00E6FC191FAA}"/>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bg2">
                    <a:lumMod val="40000"/>
                    <a:lumOff val="60000"/>
                  </a:schemeClr>
                </a:solidFill>
              </a:defRPr>
            </a:lvl1pPr>
          </a:lstStyle>
          <a:p>
            <a:pPr lvl="0"/>
            <a:r>
              <a:rPr lang="en-GB"/>
              <a:t>SUBTITLE GOES HERE: TYPE IN CAPITALS</a:t>
            </a:r>
          </a:p>
        </p:txBody>
      </p:sp>
    </p:spTree>
    <p:extLst>
      <p:ext uri="{BB962C8B-B14F-4D97-AF65-F5344CB8AC3E}">
        <p14:creationId xmlns:p14="http://schemas.microsoft.com/office/powerpoint/2010/main" val="1064554993"/>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Section Divider + Image B3">
    <p:bg>
      <p:bgPr>
        <a:solidFill>
          <a:schemeClr val="tx2">
            <a:lumMod val="75000"/>
          </a:schemeClr>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B27288C-7259-9C4C-AE4F-E7A2FDA0B2B2}"/>
              </a:ext>
            </a:extLst>
          </p:cNvPr>
          <p:cNvSpPr/>
          <p:nvPr userDrawn="1"/>
        </p:nvSpPr>
        <p:spPr>
          <a:xfrm>
            <a:off x="83127" y="105798"/>
            <a:ext cx="4898251" cy="6635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pic>
        <p:nvPicPr>
          <p:cNvPr id="11" name="Graphic 10">
            <a:extLst>
              <a:ext uri="{FF2B5EF4-FFF2-40B4-BE49-F238E27FC236}">
                <a16:creationId xmlns:a16="http://schemas.microsoft.com/office/drawing/2014/main" id="{B864648D-453B-ED4C-8BB1-586D325E3F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1777"/>
            <a:ext cx="1304260" cy="487680"/>
          </a:xfrm>
          <a:prstGeom prst="rect">
            <a:avLst/>
          </a:prstGeom>
        </p:spPr>
      </p:pic>
      <p:sp>
        <p:nvSpPr>
          <p:cNvPr id="13" name="Picture Placeholder 12">
            <a:extLst>
              <a:ext uri="{FF2B5EF4-FFF2-40B4-BE49-F238E27FC236}">
                <a16:creationId xmlns:a16="http://schemas.microsoft.com/office/drawing/2014/main" id="{736D7151-EE44-6D41-A861-17BC5B8F0001}"/>
              </a:ext>
            </a:extLst>
          </p:cNvPr>
          <p:cNvSpPr>
            <a:spLocks noGrp="1"/>
          </p:cNvSpPr>
          <p:nvPr>
            <p:ph type="pic" sz="quarter" idx="10"/>
          </p:nvPr>
        </p:nvSpPr>
        <p:spPr>
          <a:xfrm>
            <a:off x="-2" y="0"/>
            <a:ext cx="6096001" cy="6858000"/>
          </a:xfrm>
          <a:custGeom>
            <a:avLst/>
            <a:gdLst>
              <a:gd name="connsiteX0" fmla="*/ 3115819 w 6096001"/>
              <a:gd name="connsiteY0" fmla="*/ 1901215 h 6858000"/>
              <a:gd name="connsiteX1" fmla="*/ 2096475 w 6096001"/>
              <a:gd name="connsiteY1" fmla="*/ 2469051 h 6858000"/>
              <a:gd name="connsiteX2" fmla="*/ 2517092 w 6096001"/>
              <a:gd name="connsiteY2" fmla="*/ 2737003 h 6858000"/>
              <a:gd name="connsiteX3" fmla="*/ 3061016 w 6096001"/>
              <a:gd name="connsiteY3" fmla="*/ 2401022 h 6858000"/>
              <a:gd name="connsiteX4" fmla="*/ 3455600 w 6096001"/>
              <a:gd name="connsiteY4" fmla="*/ 2732838 h 6858000"/>
              <a:gd name="connsiteX5" fmla="*/ 2725345 w 6096001"/>
              <a:gd name="connsiteY5" fmla="*/ 3202101 h 6858000"/>
              <a:gd name="connsiteX6" fmla="*/ 2725345 w 6096001"/>
              <a:gd name="connsiteY6" fmla="*/ 3663034 h 6858000"/>
              <a:gd name="connsiteX7" fmla="*/ 3570688 w 6096001"/>
              <a:gd name="connsiteY7" fmla="*/ 4110083 h 6858000"/>
              <a:gd name="connsiteX8" fmla="*/ 3044575 w 6096001"/>
              <a:gd name="connsiteY8" fmla="*/ 4544637 h 6858000"/>
              <a:gd name="connsiteX9" fmla="*/ 2300618 w 6096001"/>
              <a:gd name="connsiteY9" fmla="*/ 4273909 h 6858000"/>
              <a:gd name="connsiteX10" fmla="*/ 1977278 w 6096001"/>
              <a:gd name="connsiteY10" fmla="*/ 4712628 h 6858000"/>
              <a:gd name="connsiteX11" fmla="*/ 1978648 w 6096001"/>
              <a:gd name="connsiteY11" fmla="*/ 4711240 h 6858000"/>
              <a:gd name="connsiteX12" fmla="*/ 3048685 w 6096001"/>
              <a:gd name="connsiteY12" fmla="*/ 5043056 h 6858000"/>
              <a:gd name="connsiteX13" fmla="*/ 4118722 w 6096001"/>
              <a:gd name="connsiteY13" fmla="*/ 4126744 h 6858000"/>
              <a:gd name="connsiteX14" fmla="*/ 3455600 w 6096001"/>
              <a:gd name="connsiteY14" fmla="*/ 3360373 h 6858000"/>
              <a:gd name="connsiteX15" fmla="*/ 3999524 w 6096001"/>
              <a:gd name="connsiteY15" fmla="*/ 2628712 h 6858000"/>
              <a:gd name="connsiteX16" fmla="*/ 3115819 w 6096001"/>
              <a:gd name="connsiteY16" fmla="*/ 1901215 h 6858000"/>
              <a:gd name="connsiteX17" fmla="*/ 0 w 6096001"/>
              <a:gd name="connsiteY17" fmla="*/ 0 h 6858000"/>
              <a:gd name="connsiteX18" fmla="*/ 5214397 w 6096001"/>
              <a:gd name="connsiteY18" fmla="*/ 0 h 6858000"/>
              <a:gd name="connsiteX19" fmla="*/ 6096001 w 6096001"/>
              <a:gd name="connsiteY19" fmla="*/ 881604 h 6858000"/>
              <a:gd name="connsiteX20" fmla="*/ 6096001 w 6096001"/>
              <a:gd name="connsiteY20" fmla="*/ 6858000 h 6858000"/>
              <a:gd name="connsiteX21" fmla="*/ 0 w 6096001"/>
              <a:gd name="connsiteY2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096001" h="6858000">
                <a:moveTo>
                  <a:pt x="3115819" y="1901215"/>
                </a:moveTo>
                <a:cubicBezTo>
                  <a:pt x="2614368" y="1901215"/>
                  <a:pt x="2278697" y="2128905"/>
                  <a:pt x="2096475" y="2469051"/>
                </a:cubicBezTo>
                <a:lnTo>
                  <a:pt x="2517092" y="2737003"/>
                </a:lnTo>
                <a:cubicBezTo>
                  <a:pt x="2602037" y="2581508"/>
                  <a:pt x="2780148" y="2401022"/>
                  <a:pt x="3061016" y="2401022"/>
                </a:cubicBezTo>
                <a:cubicBezTo>
                  <a:pt x="3302151" y="2401022"/>
                  <a:pt x="3455600" y="2534304"/>
                  <a:pt x="3455600" y="2732838"/>
                </a:cubicBezTo>
                <a:cubicBezTo>
                  <a:pt x="3455600" y="2964693"/>
                  <a:pt x="3285710" y="3197936"/>
                  <a:pt x="2725345" y="3202101"/>
                </a:cubicBezTo>
                <a:lnTo>
                  <a:pt x="2725345" y="3663034"/>
                </a:lnTo>
                <a:cubicBezTo>
                  <a:pt x="3303521" y="3663034"/>
                  <a:pt x="3570688" y="3825471"/>
                  <a:pt x="3570688" y="4110083"/>
                </a:cubicBezTo>
                <a:cubicBezTo>
                  <a:pt x="3570688" y="4372481"/>
                  <a:pt x="3384356" y="4544637"/>
                  <a:pt x="3044575" y="4544637"/>
                </a:cubicBezTo>
                <a:cubicBezTo>
                  <a:pt x="2737676" y="4544637"/>
                  <a:pt x="2504761" y="4433570"/>
                  <a:pt x="2300618" y="4273909"/>
                </a:cubicBezTo>
                <a:lnTo>
                  <a:pt x="1977278" y="4712628"/>
                </a:lnTo>
                <a:lnTo>
                  <a:pt x="1978648" y="4711240"/>
                </a:lnTo>
                <a:cubicBezTo>
                  <a:pt x="2271846" y="4926434"/>
                  <a:pt x="2581486" y="5043056"/>
                  <a:pt x="3048685" y="5043056"/>
                </a:cubicBezTo>
                <a:cubicBezTo>
                  <a:pt x="3698106" y="5043056"/>
                  <a:pt x="4118722" y="4659870"/>
                  <a:pt x="4118722" y="4126744"/>
                </a:cubicBezTo>
                <a:cubicBezTo>
                  <a:pt x="4118722" y="3708850"/>
                  <a:pt x="3863886" y="3468665"/>
                  <a:pt x="3455600" y="3360373"/>
                </a:cubicBezTo>
                <a:cubicBezTo>
                  <a:pt x="3791271" y="3239587"/>
                  <a:pt x="3999524" y="2999402"/>
                  <a:pt x="3999524" y="2628712"/>
                </a:cubicBezTo>
                <a:cubicBezTo>
                  <a:pt x="3999524" y="2206653"/>
                  <a:pt x="3617271" y="1901215"/>
                  <a:pt x="3115819" y="1901215"/>
                </a:cubicBez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tIns="720000">
            <a:noAutofit/>
          </a:bodyPr>
          <a:lstStyle>
            <a:lvl1pPr algn="ctr">
              <a:defRPr sz="1600">
                <a:solidFill>
                  <a:schemeClr val="bg1">
                    <a:lumMod val="50000"/>
                  </a:schemeClr>
                </a:solidFill>
              </a:defRPr>
            </a:lvl1pPr>
          </a:lstStyle>
          <a:p>
            <a:r>
              <a:rPr lang="en-US"/>
              <a:t>Click icon to add picture</a:t>
            </a:r>
            <a:endParaRPr lang="en-GB"/>
          </a:p>
        </p:txBody>
      </p:sp>
      <p:sp>
        <p:nvSpPr>
          <p:cNvPr id="7" name="Text Placeholder 29">
            <a:extLst>
              <a:ext uri="{FF2B5EF4-FFF2-40B4-BE49-F238E27FC236}">
                <a16:creationId xmlns:a16="http://schemas.microsoft.com/office/drawing/2014/main" id="{25C2FE18-7101-835D-ADE0-E6D02E757D2C}"/>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bg1"/>
                </a:solidFill>
              </a:defRPr>
            </a:lvl1pPr>
          </a:lstStyle>
          <a:p>
            <a:pPr lvl="0"/>
            <a:r>
              <a:rPr lang="en-GB"/>
              <a:t>Section title goes here</a:t>
            </a:r>
          </a:p>
        </p:txBody>
      </p:sp>
      <p:sp>
        <p:nvSpPr>
          <p:cNvPr id="12" name="Text Placeholder 31">
            <a:extLst>
              <a:ext uri="{FF2B5EF4-FFF2-40B4-BE49-F238E27FC236}">
                <a16:creationId xmlns:a16="http://schemas.microsoft.com/office/drawing/2014/main" id="{E4418E5A-E58F-0B96-77BA-27495CF8E9DA}"/>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bg2">
                    <a:lumMod val="40000"/>
                    <a:lumOff val="60000"/>
                  </a:schemeClr>
                </a:solidFill>
              </a:defRPr>
            </a:lvl1pPr>
          </a:lstStyle>
          <a:p>
            <a:pPr lvl="0"/>
            <a:r>
              <a:rPr lang="en-GB"/>
              <a:t>SUBTITLE GOES HERE: TYPE IN CAPITALS</a:t>
            </a:r>
          </a:p>
        </p:txBody>
      </p:sp>
    </p:spTree>
    <p:extLst>
      <p:ext uri="{BB962C8B-B14F-4D97-AF65-F5344CB8AC3E}">
        <p14:creationId xmlns:p14="http://schemas.microsoft.com/office/powerpoint/2010/main" val="128988372"/>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Section Divider + Image B4">
    <p:bg>
      <p:bgPr>
        <a:solidFill>
          <a:schemeClr val="tx2">
            <a:lumMod val="75000"/>
          </a:schemeClr>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B27288C-7259-9C4C-AE4F-E7A2FDA0B2B2}"/>
              </a:ext>
            </a:extLst>
          </p:cNvPr>
          <p:cNvSpPr/>
          <p:nvPr userDrawn="1"/>
        </p:nvSpPr>
        <p:spPr>
          <a:xfrm>
            <a:off x="83127" y="105798"/>
            <a:ext cx="4898251" cy="6635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pic>
        <p:nvPicPr>
          <p:cNvPr id="11" name="Graphic 10">
            <a:extLst>
              <a:ext uri="{FF2B5EF4-FFF2-40B4-BE49-F238E27FC236}">
                <a16:creationId xmlns:a16="http://schemas.microsoft.com/office/drawing/2014/main" id="{B864648D-453B-ED4C-8BB1-586D325E3F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1777"/>
            <a:ext cx="1304260" cy="487680"/>
          </a:xfrm>
          <a:prstGeom prst="rect">
            <a:avLst/>
          </a:prstGeom>
        </p:spPr>
      </p:pic>
      <p:sp>
        <p:nvSpPr>
          <p:cNvPr id="7" name="Picture Placeholder 6">
            <a:extLst>
              <a:ext uri="{FF2B5EF4-FFF2-40B4-BE49-F238E27FC236}">
                <a16:creationId xmlns:a16="http://schemas.microsoft.com/office/drawing/2014/main" id="{A66FEC1B-CB13-FBEB-0D56-B30A0523DF3A}"/>
              </a:ext>
            </a:extLst>
          </p:cNvPr>
          <p:cNvSpPr>
            <a:spLocks noGrp="1"/>
          </p:cNvSpPr>
          <p:nvPr>
            <p:ph type="pic" sz="quarter" idx="14"/>
          </p:nvPr>
        </p:nvSpPr>
        <p:spPr>
          <a:xfrm>
            <a:off x="0" y="0"/>
            <a:ext cx="6096001" cy="6858000"/>
          </a:xfrm>
          <a:custGeom>
            <a:avLst/>
            <a:gdLst>
              <a:gd name="connsiteX0" fmla="*/ 3218999 w 6096001"/>
              <a:gd name="connsiteY0" fmla="*/ 2668987 h 6858000"/>
              <a:gd name="connsiteX1" fmla="*/ 3218999 w 6096001"/>
              <a:gd name="connsiteY1" fmla="*/ 3752595 h 6858000"/>
              <a:gd name="connsiteX2" fmla="*/ 2442001 w 6096001"/>
              <a:gd name="connsiteY2" fmla="*/ 3752595 h 6858000"/>
              <a:gd name="connsiteX3" fmla="*/ 3218999 w 6096001"/>
              <a:gd name="connsiteY3" fmla="*/ 1883188 h 6858000"/>
              <a:gd name="connsiteX4" fmla="*/ 1820976 w 6096001"/>
              <a:gd name="connsiteY4" fmla="*/ 3839578 h 6858000"/>
              <a:gd name="connsiteX5" fmla="*/ 1820976 w 6096001"/>
              <a:gd name="connsiteY5" fmla="*/ 4242061 h 6858000"/>
              <a:gd name="connsiteX6" fmla="*/ 3218999 w 6096001"/>
              <a:gd name="connsiteY6" fmla="*/ 4242061 h 6858000"/>
              <a:gd name="connsiteX7" fmla="*/ 3218999 w 6096001"/>
              <a:gd name="connsiteY7" fmla="*/ 5164970 h 6858000"/>
              <a:gd name="connsiteX8" fmla="*/ 3791372 w 6096001"/>
              <a:gd name="connsiteY8" fmla="*/ 5164970 h 6858000"/>
              <a:gd name="connsiteX9" fmla="*/ 3791372 w 6096001"/>
              <a:gd name="connsiteY9" fmla="*/ 4242061 h 6858000"/>
              <a:gd name="connsiteX10" fmla="*/ 4275028 w 6096001"/>
              <a:gd name="connsiteY10" fmla="*/ 4242061 h 6858000"/>
              <a:gd name="connsiteX11" fmla="*/ 4275028 w 6096001"/>
              <a:gd name="connsiteY11" fmla="*/ 3752595 h 6858000"/>
              <a:gd name="connsiteX12" fmla="*/ 3791372 w 6096001"/>
              <a:gd name="connsiteY12" fmla="*/ 3752595 h 6858000"/>
              <a:gd name="connsiteX13" fmla="*/ 3791372 w 6096001"/>
              <a:gd name="connsiteY13" fmla="*/ 1883188 h 6858000"/>
              <a:gd name="connsiteX14" fmla="*/ 0 w 6096001"/>
              <a:gd name="connsiteY14" fmla="*/ 0 h 6858000"/>
              <a:gd name="connsiteX15" fmla="*/ 5214397 w 6096001"/>
              <a:gd name="connsiteY15" fmla="*/ 0 h 6858000"/>
              <a:gd name="connsiteX16" fmla="*/ 6096001 w 6096001"/>
              <a:gd name="connsiteY16" fmla="*/ 881604 h 6858000"/>
              <a:gd name="connsiteX17" fmla="*/ 6096001 w 6096001"/>
              <a:gd name="connsiteY17" fmla="*/ 6858000 h 6858000"/>
              <a:gd name="connsiteX18" fmla="*/ 0 w 6096001"/>
              <a:gd name="connsiteY1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096001" h="6858000">
                <a:moveTo>
                  <a:pt x="3218999" y="2668987"/>
                </a:moveTo>
                <a:lnTo>
                  <a:pt x="3218999" y="3752595"/>
                </a:lnTo>
                <a:lnTo>
                  <a:pt x="2442001" y="3752595"/>
                </a:lnTo>
                <a:close/>
                <a:moveTo>
                  <a:pt x="3218999" y="1883188"/>
                </a:moveTo>
                <a:lnTo>
                  <a:pt x="1820976" y="3839578"/>
                </a:lnTo>
                <a:lnTo>
                  <a:pt x="1820976" y="4242061"/>
                </a:lnTo>
                <a:lnTo>
                  <a:pt x="3218999" y="4242061"/>
                </a:lnTo>
                <a:lnTo>
                  <a:pt x="3218999" y="5164970"/>
                </a:lnTo>
                <a:lnTo>
                  <a:pt x="3791372" y="5164970"/>
                </a:lnTo>
                <a:lnTo>
                  <a:pt x="3791372" y="4242061"/>
                </a:lnTo>
                <a:lnTo>
                  <a:pt x="4275028" y="4242061"/>
                </a:lnTo>
                <a:lnTo>
                  <a:pt x="4275028" y="3752595"/>
                </a:lnTo>
                <a:lnTo>
                  <a:pt x="3791372" y="3752595"/>
                </a:lnTo>
                <a:lnTo>
                  <a:pt x="3791372" y="1883188"/>
                </a:ln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anchor="ctr">
            <a:noAutofit/>
          </a:bodyPr>
          <a:lstStyle>
            <a:lvl1pPr algn="ctr">
              <a:defRPr sz="1600">
                <a:solidFill>
                  <a:schemeClr val="bg1">
                    <a:lumMod val="50000"/>
                  </a:schemeClr>
                </a:solidFill>
              </a:defRPr>
            </a:lvl1pPr>
          </a:lstStyle>
          <a:p>
            <a:r>
              <a:rPr lang="en-US"/>
              <a:t>Click icon to add picture</a:t>
            </a:r>
            <a:endParaRPr lang="en-GB"/>
          </a:p>
        </p:txBody>
      </p:sp>
      <p:sp>
        <p:nvSpPr>
          <p:cNvPr id="12" name="Text Placeholder 29">
            <a:extLst>
              <a:ext uri="{FF2B5EF4-FFF2-40B4-BE49-F238E27FC236}">
                <a16:creationId xmlns:a16="http://schemas.microsoft.com/office/drawing/2014/main" id="{685E723E-9B95-DE16-D2D8-EB21AE8AD08F}"/>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bg1"/>
                </a:solidFill>
              </a:defRPr>
            </a:lvl1pPr>
          </a:lstStyle>
          <a:p>
            <a:pPr lvl="0"/>
            <a:r>
              <a:rPr lang="en-GB"/>
              <a:t>Section title goes here</a:t>
            </a:r>
          </a:p>
        </p:txBody>
      </p:sp>
      <p:sp>
        <p:nvSpPr>
          <p:cNvPr id="13" name="Text Placeholder 31">
            <a:extLst>
              <a:ext uri="{FF2B5EF4-FFF2-40B4-BE49-F238E27FC236}">
                <a16:creationId xmlns:a16="http://schemas.microsoft.com/office/drawing/2014/main" id="{92B6EC2E-829A-8421-4DF9-E5CDC6DA5409}"/>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bg2">
                    <a:lumMod val="40000"/>
                    <a:lumOff val="60000"/>
                  </a:schemeClr>
                </a:solidFill>
              </a:defRPr>
            </a:lvl1pPr>
          </a:lstStyle>
          <a:p>
            <a:pPr lvl="0"/>
            <a:r>
              <a:rPr lang="en-GB"/>
              <a:t>SUBTITLE GOES HERE: TYPE IN CAPITALS</a:t>
            </a:r>
          </a:p>
        </p:txBody>
      </p:sp>
    </p:spTree>
    <p:extLst>
      <p:ext uri="{BB962C8B-B14F-4D97-AF65-F5344CB8AC3E}">
        <p14:creationId xmlns:p14="http://schemas.microsoft.com/office/powerpoint/2010/main" val="1879661620"/>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Section Divider + Image B5">
    <p:bg>
      <p:bgPr>
        <a:solidFill>
          <a:schemeClr val="tx2">
            <a:lumMod val="75000"/>
          </a:schemeClr>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B27288C-7259-9C4C-AE4F-E7A2FDA0B2B2}"/>
              </a:ext>
            </a:extLst>
          </p:cNvPr>
          <p:cNvSpPr/>
          <p:nvPr userDrawn="1"/>
        </p:nvSpPr>
        <p:spPr>
          <a:xfrm>
            <a:off x="83127" y="105798"/>
            <a:ext cx="4898251" cy="6635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pic>
        <p:nvPicPr>
          <p:cNvPr id="11" name="Graphic 10">
            <a:extLst>
              <a:ext uri="{FF2B5EF4-FFF2-40B4-BE49-F238E27FC236}">
                <a16:creationId xmlns:a16="http://schemas.microsoft.com/office/drawing/2014/main" id="{B864648D-453B-ED4C-8BB1-586D325E3F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1777"/>
            <a:ext cx="1304260" cy="487680"/>
          </a:xfrm>
          <a:prstGeom prst="rect">
            <a:avLst/>
          </a:prstGeom>
        </p:spPr>
      </p:pic>
      <p:sp>
        <p:nvSpPr>
          <p:cNvPr id="12" name="Picture Placeholder 11">
            <a:extLst>
              <a:ext uri="{FF2B5EF4-FFF2-40B4-BE49-F238E27FC236}">
                <a16:creationId xmlns:a16="http://schemas.microsoft.com/office/drawing/2014/main" id="{965DBAFD-23F0-1A0E-5FDF-8321772FC365}"/>
              </a:ext>
            </a:extLst>
          </p:cNvPr>
          <p:cNvSpPr>
            <a:spLocks noGrp="1"/>
          </p:cNvSpPr>
          <p:nvPr>
            <p:ph type="pic" sz="quarter" idx="14"/>
          </p:nvPr>
        </p:nvSpPr>
        <p:spPr>
          <a:xfrm>
            <a:off x="-2" y="0"/>
            <a:ext cx="6096001" cy="6858000"/>
          </a:xfrm>
          <a:custGeom>
            <a:avLst/>
            <a:gdLst>
              <a:gd name="connsiteX0" fmla="*/ 2264571 w 6096001"/>
              <a:gd name="connsiteY0" fmla="*/ 1883188 h 6858000"/>
              <a:gd name="connsiteX1" fmla="*/ 2167943 w 6096001"/>
              <a:gd name="connsiteY1" fmla="*/ 3625805 h 6858000"/>
              <a:gd name="connsiteX2" fmla="*/ 2578239 w 6096001"/>
              <a:gd name="connsiteY2" fmla="*/ 3754069 h 6858000"/>
              <a:gd name="connsiteX3" fmla="*/ 3056918 w 6096001"/>
              <a:gd name="connsiteY3" fmla="*/ 3625805 h 6858000"/>
              <a:gd name="connsiteX4" fmla="*/ 3638171 w 6096001"/>
              <a:gd name="connsiteY4" fmla="*/ 4124117 h 6858000"/>
              <a:gd name="connsiteX5" fmla="*/ 3047999 w 6096001"/>
              <a:gd name="connsiteY5" fmla="*/ 4644543 h 6858000"/>
              <a:gd name="connsiteX6" fmla="*/ 2222946 w 6096001"/>
              <a:gd name="connsiteY6" fmla="*/ 4342313 h 6858000"/>
              <a:gd name="connsiteX7" fmla="*/ 1933063 w 6096001"/>
              <a:gd name="connsiteY7" fmla="*/ 4822933 h 6858000"/>
              <a:gd name="connsiteX8" fmla="*/ 3058405 w 6096001"/>
              <a:gd name="connsiteY8" fmla="*/ 5175290 h 6858000"/>
              <a:gd name="connsiteX9" fmla="*/ 4229830 w 6096001"/>
              <a:gd name="connsiteY9" fmla="*/ 4110849 h 6858000"/>
              <a:gd name="connsiteX10" fmla="*/ 3178818 w 6096001"/>
              <a:gd name="connsiteY10" fmla="*/ 3114225 h 6858000"/>
              <a:gd name="connsiteX11" fmla="*/ 2689733 w 6096001"/>
              <a:gd name="connsiteY11" fmla="*/ 3214477 h 6858000"/>
              <a:gd name="connsiteX12" fmla="*/ 2744736 w 6096001"/>
              <a:gd name="connsiteY12" fmla="*/ 2409511 h 6858000"/>
              <a:gd name="connsiteX13" fmla="*/ 4026169 w 6096001"/>
              <a:gd name="connsiteY13" fmla="*/ 2409511 h 6858000"/>
              <a:gd name="connsiteX14" fmla="*/ 4026169 w 6096001"/>
              <a:gd name="connsiteY14" fmla="*/ 1883188 h 6858000"/>
              <a:gd name="connsiteX15" fmla="*/ 0 w 6096001"/>
              <a:gd name="connsiteY15" fmla="*/ 0 h 6858000"/>
              <a:gd name="connsiteX16" fmla="*/ 5214397 w 6096001"/>
              <a:gd name="connsiteY16" fmla="*/ 0 h 6858000"/>
              <a:gd name="connsiteX17" fmla="*/ 6096001 w 6096001"/>
              <a:gd name="connsiteY17" fmla="*/ 881604 h 6858000"/>
              <a:gd name="connsiteX18" fmla="*/ 6096001 w 6096001"/>
              <a:gd name="connsiteY18" fmla="*/ 6858000 h 6858000"/>
              <a:gd name="connsiteX19" fmla="*/ 0 w 6096001"/>
              <a:gd name="connsiteY1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096001" h="6858000">
                <a:moveTo>
                  <a:pt x="2264571" y="1883188"/>
                </a:moveTo>
                <a:lnTo>
                  <a:pt x="2167943" y="3625805"/>
                </a:lnTo>
                <a:lnTo>
                  <a:pt x="2578239" y="3754069"/>
                </a:lnTo>
                <a:cubicBezTo>
                  <a:pt x="2706085" y="3671508"/>
                  <a:pt x="2863663" y="3625805"/>
                  <a:pt x="3056918" y="3625805"/>
                </a:cubicBezTo>
                <a:cubicBezTo>
                  <a:pt x="3412211" y="3625805"/>
                  <a:pt x="3638171" y="3814515"/>
                  <a:pt x="3638171" y="4124117"/>
                </a:cubicBezTo>
                <a:cubicBezTo>
                  <a:pt x="3638171" y="4433719"/>
                  <a:pt x="3412211" y="4644543"/>
                  <a:pt x="3047999" y="4644543"/>
                </a:cubicBezTo>
                <a:cubicBezTo>
                  <a:pt x="2720951" y="4644543"/>
                  <a:pt x="2435527" y="4511857"/>
                  <a:pt x="2222946" y="4342313"/>
                </a:cubicBezTo>
                <a:lnTo>
                  <a:pt x="1933063" y="4822933"/>
                </a:lnTo>
                <a:cubicBezTo>
                  <a:pt x="2173889" y="5024912"/>
                  <a:pt x="2542561" y="5175290"/>
                  <a:pt x="3058405" y="5175290"/>
                </a:cubicBezTo>
                <a:cubicBezTo>
                  <a:pt x="3755611" y="5175290"/>
                  <a:pt x="4229830" y="4728578"/>
                  <a:pt x="4229830" y="4110849"/>
                </a:cubicBezTo>
                <a:cubicBezTo>
                  <a:pt x="4229830" y="3493119"/>
                  <a:pt x="3801695" y="3114225"/>
                  <a:pt x="3178818" y="3114225"/>
                </a:cubicBezTo>
                <a:cubicBezTo>
                  <a:pt x="3007861" y="3114225"/>
                  <a:pt x="2810146" y="3155505"/>
                  <a:pt x="2689733" y="3214477"/>
                </a:cubicBezTo>
                <a:lnTo>
                  <a:pt x="2744736" y="2409511"/>
                </a:lnTo>
                <a:lnTo>
                  <a:pt x="4026169" y="2409511"/>
                </a:lnTo>
                <a:lnTo>
                  <a:pt x="4026169" y="1883188"/>
                </a:ln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anchor="ctr">
            <a:noAutofit/>
          </a:bodyPr>
          <a:lstStyle>
            <a:lvl1pPr algn="ctr">
              <a:defRPr sz="1600">
                <a:solidFill>
                  <a:schemeClr val="bg1">
                    <a:lumMod val="50000"/>
                  </a:schemeClr>
                </a:solidFill>
              </a:defRPr>
            </a:lvl1pPr>
          </a:lstStyle>
          <a:p>
            <a:r>
              <a:rPr lang="en-US"/>
              <a:t>Click icon to add picture</a:t>
            </a:r>
            <a:endParaRPr lang="en-GB"/>
          </a:p>
        </p:txBody>
      </p:sp>
      <p:sp>
        <p:nvSpPr>
          <p:cNvPr id="7" name="Text Placeholder 29">
            <a:extLst>
              <a:ext uri="{FF2B5EF4-FFF2-40B4-BE49-F238E27FC236}">
                <a16:creationId xmlns:a16="http://schemas.microsoft.com/office/drawing/2014/main" id="{40CB19B9-B076-F72F-4871-28E77338605E}"/>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bg1"/>
                </a:solidFill>
              </a:defRPr>
            </a:lvl1pPr>
          </a:lstStyle>
          <a:p>
            <a:pPr lvl="0"/>
            <a:r>
              <a:rPr lang="en-GB"/>
              <a:t>Section title goes here</a:t>
            </a:r>
          </a:p>
        </p:txBody>
      </p:sp>
      <p:sp>
        <p:nvSpPr>
          <p:cNvPr id="13" name="Text Placeholder 31">
            <a:extLst>
              <a:ext uri="{FF2B5EF4-FFF2-40B4-BE49-F238E27FC236}">
                <a16:creationId xmlns:a16="http://schemas.microsoft.com/office/drawing/2014/main" id="{A7A9F534-6D07-AD6C-9EA8-9F5BCBDDD1B2}"/>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bg2">
                    <a:lumMod val="40000"/>
                    <a:lumOff val="60000"/>
                  </a:schemeClr>
                </a:solidFill>
              </a:defRPr>
            </a:lvl1pPr>
          </a:lstStyle>
          <a:p>
            <a:pPr lvl="0"/>
            <a:r>
              <a:rPr lang="en-GB"/>
              <a:t>SUBTITLE GOES HERE: TYPE IN CAPITALS</a:t>
            </a:r>
          </a:p>
        </p:txBody>
      </p:sp>
    </p:spTree>
    <p:extLst>
      <p:ext uri="{BB962C8B-B14F-4D97-AF65-F5344CB8AC3E}">
        <p14:creationId xmlns:p14="http://schemas.microsoft.com/office/powerpoint/2010/main" val="930793951"/>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Section Divider + Image B6">
    <p:bg>
      <p:bgPr>
        <a:solidFill>
          <a:schemeClr val="tx2">
            <a:lumMod val="75000"/>
          </a:schemeClr>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B27288C-7259-9C4C-AE4F-E7A2FDA0B2B2}"/>
              </a:ext>
            </a:extLst>
          </p:cNvPr>
          <p:cNvSpPr/>
          <p:nvPr userDrawn="1"/>
        </p:nvSpPr>
        <p:spPr>
          <a:xfrm>
            <a:off x="83127" y="105798"/>
            <a:ext cx="4898251" cy="6635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pic>
        <p:nvPicPr>
          <p:cNvPr id="11" name="Graphic 10">
            <a:extLst>
              <a:ext uri="{FF2B5EF4-FFF2-40B4-BE49-F238E27FC236}">
                <a16:creationId xmlns:a16="http://schemas.microsoft.com/office/drawing/2014/main" id="{B864648D-453B-ED4C-8BB1-586D325E3F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1777"/>
            <a:ext cx="1304260" cy="487680"/>
          </a:xfrm>
          <a:prstGeom prst="rect">
            <a:avLst/>
          </a:prstGeom>
        </p:spPr>
      </p:pic>
      <p:sp>
        <p:nvSpPr>
          <p:cNvPr id="12" name="Picture Placeholder 11">
            <a:extLst>
              <a:ext uri="{FF2B5EF4-FFF2-40B4-BE49-F238E27FC236}">
                <a16:creationId xmlns:a16="http://schemas.microsoft.com/office/drawing/2014/main" id="{3F971249-5979-2368-F1C4-62CA7A3E8DC6}"/>
              </a:ext>
            </a:extLst>
          </p:cNvPr>
          <p:cNvSpPr>
            <a:spLocks noGrp="1"/>
          </p:cNvSpPr>
          <p:nvPr>
            <p:ph type="pic" sz="quarter" idx="14"/>
          </p:nvPr>
        </p:nvSpPr>
        <p:spPr>
          <a:xfrm>
            <a:off x="0" y="0"/>
            <a:ext cx="6096001" cy="6858000"/>
          </a:xfrm>
          <a:custGeom>
            <a:avLst/>
            <a:gdLst>
              <a:gd name="connsiteX0" fmla="*/ 3077268 w 6096001"/>
              <a:gd name="connsiteY0" fmla="*/ 3517274 h 6858000"/>
              <a:gd name="connsiteX1" fmla="*/ 3608256 w 6096001"/>
              <a:gd name="connsiteY1" fmla="*/ 4024085 h 6858000"/>
              <a:gd name="connsiteX2" fmla="*/ 3609649 w 6096001"/>
              <a:gd name="connsiteY2" fmla="*/ 4025458 h 6858000"/>
              <a:gd name="connsiteX3" fmla="*/ 3064725 w 6096001"/>
              <a:gd name="connsiteY3" fmla="*/ 4548751 h 6858000"/>
              <a:gd name="connsiteX4" fmla="*/ 2503076 w 6096001"/>
              <a:gd name="connsiteY4" fmla="*/ 3973266 h 6858000"/>
              <a:gd name="connsiteX5" fmla="*/ 3077268 w 6096001"/>
              <a:gd name="connsiteY5" fmla="*/ 3517274 h 6858000"/>
              <a:gd name="connsiteX6" fmla="*/ 3834030 w 6096001"/>
              <a:gd name="connsiteY6" fmla="*/ 1925421 h 6858000"/>
              <a:gd name="connsiteX7" fmla="*/ 1945608 w 6096001"/>
              <a:gd name="connsiteY7" fmla="*/ 3731535 h 6858000"/>
              <a:gd name="connsiteX8" fmla="*/ 3085630 w 6096001"/>
              <a:gd name="connsiteY8" fmla="*/ 5025345 h 6858000"/>
              <a:gd name="connsiteX9" fmla="*/ 4148999 w 6096001"/>
              <a:gd name="connsiteY9" fmla="*/ 4015844 h 6858000"/>
              <a:gd name="connsiteX10" fmla="*/ 4150393 w 6096001"/>
              <a:gd name="connsiteY10" fmla="*/ 4015844 h 6858000"/>
              <a:gd name="connsiteX11" fmla="*/ 3195730 w 6096001"/>
              <a:gd name="connsiteY11" fmla="*/ 3083257 h 6858000"/>
              <a:gd name="connsiteX12" fmla="*/ 2525374 w 6096001"/>
              <a:gd name="connsiteY12" fmla="*/ 3338723 h 6858000"/>
              <a:gd name="connsiteX13" fmla="*/ 3946917 w 6096001"/>
              <a:gd name="connsiteY13" fmla="*/ 2402015 h 6858000"/>
              <a:gd name="connsiteX14" fmla="*/ 0 w 6096001"/>
              <a:gd name="connsiteY14" fmla="*/ 0 h 6858000"/>
              <a:gd name="connsiteX15" fmla="*/ 5214397 w 6096001"/>
              <a:gd name="connsiteY15" fmla="*/ 0 h 6858000"/>
              <a:gd name="connsiteX16" fmla="*/ 6096001 w 6096001"/>
              <a:gd name="connsiteY16" fmla="*/ 881604 h 6858000"/>
              <a:gd name="connsiteX17" fmla="*/ 6096001 w 6096001"/>
              <a:gd name="connsiteY17" fmla="*/ 6858000 h 6858000"/>
              <a:gd name="connsiteX18" fmla="*/ 0 w 6096001"/>
              <a:gd name="connsiteY1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096001" h="6858000">
                <a:moveTo>
                  <a:pt x="3077268" y="3517274"/>
                </a:moveTo>
                <a:cubicBezTo>
                  <a:pt x="3396418" y="3517274"/>
                  <a:pt x="3608256" y="3704066"/>
                  <a:pt x="3608256" y="4024085"/>
                </a:cubicBezTo>
                <a:lnTo>
                  <a:pt x="3609649" y="4025458"/>
                </a:lnTo>
                <a:cubicBezTo>
                  <a:pt x="3609649" y="4352344"/>
                  <a:pt x="3379694" y="4548751"/>
                  <a:pt x="3064725" y="4548751"/>
                </a:cubicBezTo>
                <a:cubicBezTo>
                  <a:pt x="2727457" y="4548751"/>
                  <a:pt x="2503076" y="4293285"/>
                  <a:pt x="2503076" y="3973266"/>
                </a:cubicBezTo>
                <a:cubicBezTo>
                  <a:pt x="2503076" y="3691705"/>
                  <a:pt x="2779022" y="3517274"/>
                  <a:pt x="3077268" y="3517274"/>
                </a:cubicBezTo>
                <a:close/>
                <a:moveTo>
                  <a:pt x="3834030" y="1925421"/>
                </a:moveTo>
                <a:cubicBezTo>
                  <a:pt x="2503076" y="1967999"/>
                  <a:pt x="1945608" y="2776973"/>
                  <a:pt x="1945608" y="3731535"/>
                </a:cubicBezTo>
                <a:cubicBezTo>
                  <a:pt x="1945608" y="4574847"/>
                  <a:pt x="2416668" y="5025345"/>
                  <a:pt x="3085630" y="5025345"/>
                </a:cubicBezTo>
                <a:cubicBezTo>
                  <a:pt x="3700238" y="5025345"/>
                  <a:pt x="4148999" y="4616051"/>
                  <a:pt x="4148999" y="4015844"/>
                </a:cubicBezTo>
                <a:lnTo>
                  <a:pt x="4150393" y="4015844"/>
                </a:lnTo>
                <a:cubicBezTo>
                  <a:pt x="4150393" y="3432119"/>
                  <a:pt x="3730899" y="3083257"/>
                  <a:pt x="3195730" y="3083257"/>
                </a:cubicBezTo>
                <a:cubicBezTo>
                  <a:pt x="2897484" y="3083257"/>
                  <a:pt x="2654986" y="3210990"/>
                  <a:pt x="2525374" y="3338723"/>
                </a:cubicBezTo>
                <a:cubicBezTo>
                  <a:pt x="2710732" y="2700059"/>
                  <a:pt x="3160888" y="2436352"/>
                  <a:pt x="3946917" y="2402015"/>
                </a:cubicBez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anchor="ctr">
            <a:noAutofit/>
          </a:bodyPr>
          <a:lstStyle>
            <a:lvl1pPr algn="ctr">
              <a:defRPr sz="1600">
                <a:solidFill>
                  <a:schemeClr val="bg1">
                    <a:lumMod val="50000"/>
                  </a:schemeClr>
                </a:solidFill>
              </a:defRPr>
            </a:lvl1pPr>
          </a:lstStyle>
          <a:p>
            <a:r>
              <a:rPr lang="en-US"/>
              <a:t>Click icon to add picture</a:t>
            </a:r>
            <a:endParaRPr lang="en-GB"/>
          </a:p>
        </p:txBody>
      </p:sp>
      <p:sp>
        <p:nvSpPr>
          <p:cNvPr id="7" name="Text Placeholder 29">
            <a:extLst>
              <a:ext uri="{FF2B5EF4-FFF2-40B4-BE49-F238E27FC236}">
                <a16:creationId xmlns:a16="http://schemas.microsoft.com/office/drawing/2014/main" id="{90F01191-6B5C-8711-84AB-0C200ABE5B85}"/>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bg1"/>
                </a:solidFill>
              </a:defRPr>
            </a:lvl1pPr>
          </a:lstStyle>
          <a:p>
            <a:pPr lvl="0"/>
            <a:r>
              <a:rPr lang="en-GB"/>
              <a:t>Section title goes here</a:t>
            </a:r>
          </a:p>
        </p:txBody>
      </p:sp>
      <p:sp>
        <p:nvSpPr>
          <p:cNvPr id="13" name="Text Placeholder 31">
            <a:extLst>
              <a:ext uri="{FF2B5EF4-FFF2-40B4-BE49-F238E27FC236}">
                <a16:creationId xmlns:a16="http://schemas.microsoft.com/office/drawing/2014/main" id="{CC808A73-1645-699E-2C12-C2D15CC5206C}"/>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bg2">
                    <a:lumMod val="40000"/>
                    <a:lumOff val="60000"/>
                  </a:schemeClr>
                </a:solidFill>
              </a:defRPr>
            </a:lvl1pPr>
          </a:lstStyle>
          <a:p>
            <a:pPr lvl="0"/>
            <a:r>
              <a:rPr lang="en-GB"/>
              <a:t>SUBTITLE GOES HERE: TYPE IN CAPITALS</a:t>
            </a:r>
          </a:p>
        </p:txBody>
      </p:sp>
    </p:spTree>
    <p:extLst>
      <p:ext uri="{BB962C8B-B14F-4D97-AF65-F5344CB8AC3E}">
        <p14:creationId xmlns:p14="http://schemas.microsoft.com/office/powerpoint/2010/main" val="3729489504"/>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Thank You">
    <p:bg>
      <p:bgPr>
        <a:blipFill dpi="0" rotWithShape="1">
          <a:blip r:embed="rId2">
            <a:lum/>
            <a:extLst>
              <a:ext uri="{28A0092B-C50C-407E-A947-70E740481C1C}">
                <a14:useLocalDpi xmlns:a14="http://schemas.microsoft.com/office/drawing/2010/main"/>
              </a:ext>
            </a:extLst>
          </a:blip>
          <a:srcRect/>
          <a:stretch>
            <a:fillRect t="-3000" b="-3000"/>
          </a:stretch>
        </a:blipFill>
        <a:effectLst/>
      </p:bgPr>
    </p:bg>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52467373-D57C-F842-8976-B87DEFBE83BE}"/>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361533" y="441777"/>
            <a:ext cx="1304260" cy="487680"/>
          </a:xfrm>
          <a:prstGeom prst="rect">
            <a:avLst/>
          </a:prstGeom>
        </p:spPr>
      </p:pic>
      <p:sp>
        <p:nvSpPr>
          <p:cNvPr id="9" name="Title 8">
            <a:extLst>
              <a:ext uri="{FF2B5EF4-FFF2-40B4-BE49-F238E27FC236}">
                <a16:creationId xmlns:a16="http://schemas.microsoft.com/office/drawing/2014/main" id="{89FFAF13-E12B-E54E-B2B2-5142A884DB82}"/>
              </a:ext>
            </a:extLst>
          </p:cNvPr>
          <p:cNvSpPr>
            <a:spLocks noGrp="1"/>
          </p:cNvSpPr>
          <p:nvPr>
            <p:ph type="title" hasCustomPrompt="1"/>
          </p:nvPr>
        </p:nvSpPr>
        <p:spPr>
          <a:xfrm>
            <a:off x="521719" y="2936557"/>
            <a:ext cx="11154344" cy="984885"/>
          </a:xfrm>
        </p:spPr>
        <p:txBody>
          <a:bodyPr anchor="ctr">
            <a:spAutoFit/>
          </a:bodyPr>
          <a:lstStyle>
            <a:lvl1pPr>
              <a:lnSpc>
                <a:spcPct val="80000"/>
              </a:lnSpc>
              <a:defRPr sz="8000">
                <a:solidFill>
                  <a:schemeClr val="bg1"/>
                </a:solidFill>
              </a:defRPr>
            </a:lvl1pPr>
          </a:lstStyle>
          <a:p>
            <a:r>
              <a:rPr lang="en-GB"/>
              <a:t>Thank you</a:t>
            </a:r>
          </a:p>
        </p:txBody>
      </p:sp>
    </p:spTree>
    <p:extLst>
      <p:ext uri="{BB962C8B-B14F-4D97-AF65-F5344CB8AC3E}">
        <p14:creationId xmlns:p14="http://schemas.microsoft.com/office/powerpoint/2010/main" val="4028883581"/>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Thank You + Image">
    <p:bg>
      <p:bgPr>
        <a:blipFill dpi="0" rotWithShape="1">
          <a:blip r:embed="rId2">
            <a:lum/>
            <a:extLst>
              <a:ext uri="{28A0092B-C50C-407E-A947-70E740481C1C}">
                <a14:useLocalDpi xmlns:a14="http://schemas.microsoft.com/office/drawing/2010/main"/>
              </a:ext>
            </a:extLst>
          </a:blip>
          <a:srcRect/>
          <a:stretch>
            <a:fillRect t="-3000" b="-3000"/>
          </a:stretch>
        </a:blipFill>
        <a:effectLst/>
      </p:bgPr>
    </p:bg>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89FFAF13-E12B-E54E-B2B2-5142A884DB82}"/>
              </a:ext>
            </a:extLst>
          </p:cNvPr>
          <p:cNvSpPr>
            <a:spLocks noGrp="1"/>
          </p:cNvSpPr>
          <p:nvPr>
            <p:ph type="title" hasCustomPrompt="1"/>
          </p:nvPr>
        </p:nvSpPr>
        <p:spPr>
          <a:xfrm>
            <a:off x="6603106" y="2169758"/>
            <a:ext cx="4692628" cy="2518484"/>
          </a:xfrm>
        </p:spPr>
        <p:txBody>
          <a:bodyPr anchor="ctr">
            <a:noAutofit/>
          </a:bodyPr>
          <a:lstStyle>
            <a:lvl1pPr>
              <a:lnSpc>
                <a:spcPct val="90000"/>
              </a:lnSpc>
              <a:defRPr sz="6000">
                <a:solidFill>
                  <a:schemeClr val="bg1"/>
                </a:solidFill>
              </a:defRPr>
            </a:lvl1pPr>
          </a:lstStyle>
          <a:p>
            <a:r>
              <a:rPr lang="en-GB"/>
              <a:t>Thank you</a:t>
            </a:r>
          </a:p>
        </p:txBody>
      </p:sp>
      <p:pic>
        <p:nvPicPr>
          <p:cNvPr id="6" name="Graphic 5">
            <a:extLst>
              <a:ext uri="{FF2B5EF4-FFF2-40B4-BE49-F238E27FC236}">
                <a16:creationId xmlns:a16="http://schemas.microsoft.com/office/drawing/2014/main" id="{66C7CBD7-5355-7F4D-BEF2-28CEADC3C9D5}"/>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361533" y="441777"/>
            <a:ext cx="1304260" cy="487680"/>
          </a:xfrm>
          <a:prstGeom prst="rect">
            <a:avLst/>
          </a:prstGeom>
        </p:spPr>
      </p:pic>
      <p:sp>
        <p:nvSpPr>
          <p:cNvPr id="7" name="Picture Placeholder 4">
            <a:extLst>
              <a:ext uri="{FF2B5EF4-FFF2-40B4-BE49-F238E27FC236}">
                <a16:creationId xmlns:a16="http://schemas.microsoft.com/office/drawing/2014/main" id="{B4768C2A-8E3C-DC4A-8FF7-DCBDDC643F7C}"/>
              </a:ext>
            </a:extLst>
          </p:cNvPr>
          <p:cNvSpPr>
            <a:spLocks noGrp="1"/>
          </p:cNvSpPr>
          <p:nvPr>
            <p:ph type="pic" sz="quarter" idx="10"/>
          </p:nvPr>
        </p:nvSpPr>
        <p:spPr>
          <a:xfrm>
            <a:off x="-2" y="0"/>
            <a:ext cx="6096001" cy="6858000"/>
          </a:xfrm>
          <a:prstGeom prst="round1Rect">
            <a:avLst>
              <a:gd name="adj" fmla="val 14462"/>
            </a:avLst>
          </a:prstGeom>
          <a:solidFill>
            <a:schemeClr val="bg1">
              <a:lumMod val="85000"/>
            </a:schemeClr>
          </a:solidFill>
        </p:spPr>
        <p:txBody>
          <a:bodyPr anchor="ctr">
            <a:normAutofit/>
          </a:bodyPr>
          <a:lstStyle>
            <a:lvl1pPr algn="ctr">
              <a:defRPr sz="1600">
                <a:solidFill>
                  <a:schemeClr val="bg1">
                    <a:lumMod val="50000"/>
                  </a:schemeClr>
                </a:solidFill>
              </a:defRPr>
            </a:lvl1pPr>
          </a:lstStyle>
          <a:p>
            <a:r>
              <a:rPr lang="en-US"/>
              <a:t>Click icon to add picture</a:t>
            </a:r>
            <a:endParaRPr lang="en-GB"/>
          </a:p>
        </p:txBody>
      </p:sp>
    </p:spTree>
    <p:extLst>
      <p:ext uri="{BB962C8B-B14F-4D97-AF65-F5344CB8AC3E}">
        <p14:creationId xmlns:p14="http://schemas.microsoft.com/office/powerpoint/2010/main" val="265181799"/>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userDrawn="1">
  <p:cSld name="Text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2262559727"/>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userDrawn="1">
  <p:cSld name="2 Column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2" spcCol="54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182525636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 Column Number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2" spcCol="360000"/>
          <a:lstStyle>
            <a:lvl1pPr marL="457200" indent="-457200">
              <a:buClr>
                <a:schemeClr val="bg2"/>
              </a:buClr>
              <a:buFont typeface="+mj-lt"/>
              <a:buAutoNum type="arabicPeriod"/>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United Against Rabies Forum Meeting - 6-8 November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2679039878"/>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type="obj">
  <p:cSld name="1_Content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3" name="Espace réservé du contenu 2"/>
          <p:cNvSpPr>
            <a:spLocks noGrp="1"/>
          </p:cNvSpPr>
          <p:nvPr>
            <p:ph idx="1" hasCustomPrompt="1"/>
          </p:nvPr>
        </p:nvSpPr>
        <p:spPr bwMode="gray">
          <a:xfrm>
            <a:off x="508000" y="1304931"/>
            <a:ext cx="10532533" cy="4716463"/>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3" name="Espace réservé de la date 12"/>
          <p:cNvSpPr>
            <a:spLocks noGrp="1"/>
          </p:cNvSpPr>
          <p:nvPr>
            <p:ph type="dt" sz="half" idx="10"/>
          </p:nvPr>
        </p:nvSpPr>
        <p:spPr bwMode="gray">
          <a:xfrm>
            <a:off x="-738717" y="6498000"/>
            <a:ext cx="1246719" cy="360000"/>
          </a:xfrm>
          <a:prstGeom prst="rect">
            <a:avLst/>
          </a:prstGeom>
        </p:spPr>
        <p:txBody>
          <a:bodyPr/>
          <a:lstStyle/>
          <a:p>
            <a:endParaRPr lang="en-GB" noProof="0"/>
          </a:p>
        </p:txBody>
      </p:sp>
      <p:sp>
        <p:nvSpPr>
          <p:cNvPr id="14" name="Espace réservé du numéro de diapositive 13"/>
          <p:cNvSpPr>
            <a:spLocks noGrp="1"/>
          </p:cNvSpPr>
          <p:nvPr>
            <p:ph type="sldNum" sz="quarter" idx="11"/>
          </p:nvPr>
        </p:nvSpPr>
        <p:spPr bwMode="gray"/>
        <p:txBody>
          <a:bodyPr/>
          <a:lstStyle/>
          <a:p>
            <a:fld id="{733122C9-A0B9-462F-8757-0847AD287B63}" type="slidenum">
              <a:rPr lang="en-GB" noProof="0" smtClean="0"/>
              <a:pPr/>
              <a:t>‹#›</a:t>
            </a:fld>
            <a:endParaRPr lang="en-GB" noProof="0"/>
          </a:p>
        </p:txBody>
      </p:sp>
    </p:spTree>
    <p:extLst>
      <p:ext uri="{BB962C8B-B14F-4D97-AF65-F5344CB8AC3E}">
        <p14:creationId xmlns:p14="http://schemas.microsoft.com/office/powerpoint/2010/main" val="1510941963"/>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Cover_Blue">
    <p:spTree>
      <p:nvGrpSpPr>
        <p:cNvPr id="1" name=""/>
        <p:cNvGrpSpPr/>
        <p:nvPr/>
      </p:nvGrpSpPr>
      <p:grpSpPr>
        <a:xfrm>
          <a:off x="0" y="0"/>
          <a:ext cx="0" cy="0"/>
          <a:chOff x="0" y="0"/>
          <a:chExt cx="0" cy="0"/>
        </a:xfrm>
      </p:grpSpPr>
      <p:pic>
        <p:nvPicPr>
          <p:cNvPr id="17" name="Imag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5161280"/>
          </a:xfrm>
          <a:prstGeom prst="rect">
            <a:avLst/>
          </a:prstGeom>
        </p:spPr>
      </p:pic>
      <p:pic>
        <p:nvPicPr>
          <p:cNvPr id="13" name="Image 12" descr="Bas_couv.png"/>
          <p:cNvPicPr>
            <a:picLocks noChangeAspect="1"/>
          </p:cNvPicPr>
          <p:nvPr userDrawn="1"/>
        </p:nvPicPr>
        <p:blipFill>
          <a:blip r:embed="rId3" cstate="print"/>
          <a:srcRect r="60243" b="722"/>
          <a:stretch>
            <a:fillRect/>
          </a:stretch>
        </p:blipFill>
        <p:spPr bwMode="gray">
          <a:xfrm>
            <a:off x="251520" y="5213040"/>
            <a:ext cx="3416493" cy="1584000"/>
          </a:xfrm>
          <a:prstGeom prst="rect">
            <a:avLst/>
          </a:prstGeom>
        </p:spPr>
      </p:pic>
      <p:sp>
        <p:nvSpPr>
          <p:cNvPr id="22" name="Rectangle 21"/>
          <p:cNvSpPr/>
          <p:nvPr userDrawn="1"/>
        </p:nvSpPr>
        <p:spPr bwMode="gray">
          <a:xfrm>
            <a:off x="4847169" y="5265205"/>
            <a:ext cx="7344833" cy="15927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sp>
        <p:nvSpPr>
          <p:cNvPr id="9" name="Espace réservé du texte 8"/>
          <p:cNvSpPr>
            <a:spLocks noGrp="1"/>
          </p:cNvSpPr>
          <p:nvPr>
            <p:ph type="body" sz="quarter" idx="13" hasCustomPrompt="1"/>
          </p:nvPr>
        </p:nvSpPr>
        <p:spPr bwMode="gray">
          <a:xfrm>
            <a:off x="672000" y="974400"/>
            <a:ext cx="6384000" cy="2232000"/>
          </a:xfrm>
        </p:spPr>
        <p:txBody>
          <a:bodyPr anchor="b" anchorCtr="0"/>
          <a:lstStyle>
            <a:lvl1pPr marL="0" indent="0" algn="l">
              <a:lnSpc>
                <a:spcPct val="90000"/>
              </a:lnSpc>
              <a:buNone/>
              <a:defRPr sz="3733" b="1" cap="none" baseline="0">
                <a:solidFill>
                  <a:schemeClr val="bg1"/>
                </a:solidFill>
              </a:defRPr>
            </a:lvl1pPr>
            <a:lvl2pPr marL="0" algn="ctr">
              <a:lnSpc>
                <a:spcPct val="100000"/>
              </a:lnSpc>
              <a:spcBef>
                <a:spcPts val="9200"/>
              </a:spcBef>
              <a:defRPr sz="2667" b="1">
                <a:solidFill>
                  <a:schemeClr val="bg1"/>
                </a:solidFill>
              </a:defRPr>
            </a:lvl2pPr>
          </a:lstStyle>
          <a:p>
            <a:pPr lvl="0"/>
            <a:r>
              <a:rPr lang="en-GB" noProof="0"/>
              <a:t>TITLE</a:t>
            </a:r>
          </a:p>
        </p:txBody>
      </p:sp>
      <p:sp>
        <p:nvSpPr>
          <p:cNvPr id="8" name="Espace réservé du texte 8"/>
          <p:cNvSpPr>
            <a:spLocks noGrp="1"/>
          </p:cNvSpPr>
          <p:nvPr>
            <p:ph type="body" sz="quarter" idx="14" hasCustomPrompt="1"/>
          </p:nvPr>
        </p:nvSpPr>
        <p:spPr bwMode="gray">
          <a:xfrm>
            <a:off x="672000" y="3585600"/>
            <a:ext cx="6384000" cy="1478400"/>
          </a:xfrm>
        </p:spPr>
        <p:txBody>
          <a:bodyPr anchor="t" anchorCtr="0"/>
          <a:lstStyle>
            <a:lvl1pPr marL="0" indent="0" algn="l">
              <a:lnSpc>
                <a:spcPct val="90000"/>
              </a:lnSpc>
              <a:buNone/>
              <a:defRPr sz="2667" b="0" baseline="0">
                <a:solidFill>
                  <a:schemeClr val="bg1"/>
                </a:solidFill>
              </a:defRPr>
            </a:lvl1pPr>
            <a:lvl2pPr marL="0" algn="ctr">
              <a:lnSpc>
                <a:spcPct val="100000"/>
              </a:lnSpc>
              <a:spcBef>
                <a:spcPts val="9200"/>
              </a:spcBef>
              <a:defRPr sz="2667" b="1">
                <a:solidFill>
                  <a:schemeClr val="bg1"/>
                </a:solidFill>
              </a:defRPr>
            </a:lvl2pPr>
          </a:lstStyle>
          <a:p>
            <a:pPr lvl="0"/>
            <a:r>
              <a:rPr lang="en-GB" noProof="0"/>
              <a:t>SUBTITLE</a:t>
            </a:r>
          </a:p>
        </p:txBody>
      </p:sp>
      <p:sp>
        <p:nvSpPr>
          <p:cNvPr id="11" name="Espace réservé du numéro de diapositive 10"/>
          <p:cNvSpPr>
            <a:spLocks noGrp="1"/>
          </p:cNvSpPr>
          <p:nvPr>
            <p:ph type="sldNum" sz="quarter" idx="16"/>
          </p:nvPr>
        </p:nvSpPr>
        <p:spPr bwMode="gray">
          <a:xfrm>
            <a:off x="672000" y="6327933"/>
            <a:ext cx="1200149" cy="530067"/>
          </a:xfrm>
          <a:prstGeom prst="rect">
            <a:avLst/>
          </a:prstGeom>
        </p:spPr>
        <p:txBody>
          <a:bodyPr/>
          <a:lstStyle>
            <a:lvl1pPr>
              <a:defRPr sz="133">
                <a:solidFill>
                  <a:schemeClr val="bg1">
                    <a:alpha val="0"/>
                  </a:schemeClr>
                </a:solidFill>
              </a:defRPr>
            </a:lvl1pPr>
          </a:lstStyle>
          <a:p>
            <a:pPr algn="l"/>
            <a:r>
              <a:rPr lang="en-GB" noProof="0"/>
              <a:t>Page: </a:t>
            </a:r>
            <a:fld id="{733122C9-A0B9-462F-8757-0847AD287B63}" type="slidenum">
              <a:rPr lang="en-GB" noProof="0" smtClean="0"/>
              <a:pPr algn="l"/>
              <a:t>‹#›</a:t>
            </a:fld>
            <a:endParaRPr lang="en-GB" noProof="0"/>
          </a:p>
        </p:txBody>
      </p:sp>
      <p:sp>
        <p:nvSpPr>
          <p:cNvPr id="15" name="Espace réservé du texte 14"/>
          <p:cNvSpPr>
            <a:spLocks noGrp="1"/>
          </p:cNvSpPr>
          <p:nvPr>
            <p:ph type="body" sz="quarter" idx="19" hasCustomPrompt="1"/>
          </p:nvPr>
        </p:nvSpPr>
        <p:spPr bwMode="gray">
          <a:xfrm>
            <a:off x="5592000" y="5899200"/>
            <a:ext cx="5884800" cy="326400"/>
          </a:xfrm>
        </p:spPr>
        <p:txBody>
          <a:bodyPr anchor="b" anchorCtr="0"/>
          <a:lstStyle>
            <a:lvl1pPr algn="r">
              <a:lnSpc>
                <a:spcPct val="100000"/>
              </a:lnSpc>
              <a:defRPr sz="1200" b="1">
                <a:solidFill>
                  <a:schemeClr val="accent2"/>
                </a:solidFill>
              </a:defRPr>
            </a:lvl1pPr>
          </a:lstStyle>
          <a:p>
            <a:r>
              <a:rPr lang="fr-FR" err="1"/>
              <a:t>Reach</a:t>
            </a:r>
            <a:r>
              <a:rPr lang="fr-FR"/>
              <a:t> </a:t>
            </a:r>
            <a:r>
              <a:rPr lang="fr-FR" err="1"/>
              <a:t>every</a:t>
            </a:r>
            <a:r>
              <a:rPr lang="fr-FR"/>
              <a:t> </a:t>
            </a:r>
            <a:r>
              <a:rPr lang="fr-FR" err="1"/>
              <a:t>child</a:t>
            </a:r>
            <a:endParaRPr lang="fr-FR"/>
          </a:p>
        </p:txBody>
      </p:sp>
      <p:sp>
        <p:nvSpPr>
          <p:cNvPr id="16" name="Rectangle 15"/>
          <p:cNvSpPr/>
          <p:nvPr userDrawn="1"/>
        </p:nvSpPr>
        <p:spPr bwMode="gray">
          <a:xfrm>
            <a:off x="5592000" y="6283200"/>
            <a:ext cx="5884800" cy="28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r>
              <a:rPr lang="en-GB" sz="1200" noProof="0">
                <a:solidFill>
                  <a:schemeClr val="accent3"/>
                </a:solidFill>
              </a:rPr>
              <a:t>www.gavi.org</a:t>
            </a:r>
          </a:p>
        </p:txBody>
      </p:sp>
      <p:sp>
        <p:nvSpPr>
          <p:cNvPr id="18" name="Rectangle 17"/>
          <p:cNvSpPr/>
          <p:nvPr userDrawn="1"/>
        </p:nvSpPr>
        <p:spPr bwMode="gray">
          <a:xfrm>
            <a:off x="672000" y="3391895"/>
            <a:ext cx="2337600" cy="25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spTree>
    <p:extLst>
      <p:ext uri="{BB962C8B-B14F-4D97-AF65-F5344CB8AC3E}">
        <p14:creationId xmlns:p14="http://schemas.microsoft.com/office/powerpoint/2010/main" val="2187990260"/>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Cover_Picture_2">
    <p:spTree>
      <p:nvGrpSpPr>
        <p:cNvPr id="1" name=""/>
        <p:cNvGrpSpPr/>
        <p:nvPr/>
      </p:nvGrpSpPr>
      <p:grpSpPr>
        <a:xfrm>
          <a:off x="0" y="0"/>
          <a:ext cx="0" cy="0"/>
          <a:chOff x="0" y="0"/>
          <a:chExt cx="0" cy="0"/>
        </a:xfrm>
      </p:grpSpPr>
      <p:pic>
        <p:nvPicPr>
          <p:cNvPr id="24" name="Image 2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5161280"/>
          </a:xfrm>
          <a:prstGeom prst="rect">
            <a:avLst/>
          </a:prstGeom>
        </p:spPr>
      </p:pic>
      <p:pic>
        <p:nvPicPr>
          <p:cNvPr id="23" name="Image 22" descr="Bas_couv.png"/>
          <p:cNvPicPr>
            <a:picLocks noChangeAspect="1"/>
          </p:cNvPicPr>
          <p:nvPr userDrawn="1"/>
        </p:nvPicPr>
        <p:blipFill>
          <a:blip r:embed="rId3" cstate="print"/>
          <a:srcRect r="60243" b="722"/>
          <a:stretch>
            <a:fillRect/>
          </a:stretch>
        </p:blipFill>
        <p:spPr bwMode="gray">
          <a:xfrm>
            <a:off x="251520" y="5213040"/>
            <a:ext cx="3416493" cy="1584000"/>
          </a:xfrm>
          <a:prstGeom prst="rect">
            <a:avLst/>
          </a:prstGeom>
        </p:spPr>
      </p:pic>
      <p:sp>
        <p:nvSpPr>
          <p:cNvPr id="22" name="Rectangle 21"/>
          <p:cNvSpPr/>
          <p:nvPr userDrawn="1"/>
        </p:nvSpPr>
        <p:spPr bwMode="gray">
          <a:xfrm>
            <a:off x="4847169" y="5265205"/>
            <a:ext cx="7344833" cy="15927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sp>
        <p:nvSpPr>
          <p:cNvPr id="9" name="Espace réservé du texte 8"/>
          <p:cNvSpPr>
            <a:spLocks noGrp="1"/>
          </p:cNvSpPr>
          <p:nvPr>
            <p:ph type="body" sz="quarter" idx="13" hasCustomPrompt="1"/>
          </p:nvPr>
        </p:nvSpPr>
        <p:spPr bwMode="gray">
          <a:xfrm>
            <a:off x="672000" y="974400"/>
            <a:ext cx="6384000" cy="2232000"/>
          </a:xfrm>
        </p:spPr>
        <p:txBody>
          <a:bodyPr anchor="b" anchorCtr="0"/>
          <a:lstStyle>
            <a:lvl1pPr marL="0" indent="0" algn="l">
              <a:lnSpc>
                <a:spcPct val="90000"/>
              </a:lnSpc>
              <a:buNone/>
              <a:defRPr sz="3733" b="1" cap="none" baseline="0">
                <a:solidFill>
                  <a:schemeClr val="bg1"/>
                </a:solidFill>
              </a:defRPr>
            </a:lvl1pPr>
            <a:lvl2pPr marL="0" algn="ctr">
              <a:lnSpc>
                <a:spcPct val="100000"/>
              </a:lnSpc>
              <a:spcBef>
                <a:spcPts val="9200"/>
              </a:spcBef>
              <a:defRPr sz="2667" b="1">
                <a:solidFill>
                  <a:schemeClr val="bg1"/>
                </a:solidFill>
              </a:defRPr>
            </a:lvl2pPr>
          </a:lstStyle>
          <a:p>
            <a:pPr lvl="0"/>
            <a:r>
              <a:rPr lang="en-GB" noProof="0"/>
              <a:t>TITLE</a:t>
            </a:r>
          </a:p>
        </p:txBody>
      </p:sp>
      <p:sp>
        <p:nvSpPr>
          <p:cNvPr id="8" name="Espace réservé du texte 8"/>
          <p:cNvSpPr>
            <a:spLocks noGrp="1"/>
          </p:cNvSpPr>
          <p:nvPr>
            <p:ph type="body" sz="quarter" idx="14" hasCustomPrompt="1"/>
          </p:nvPr>
        </p:nvSpPr>
        <p:spPr bwMode="gray">
          <a:xfrm>
            <a:off x="672000" y="3585600"/>
            <a:ext cx="6384000" cy="1479600"/>
          </a:xfrm>
        </p:spPr>
        <p:txBody>
          <a:bodyPr anchor="t" anchorCtr="0"/>
          <a:lstStyle>
            <a:lvl1pPr marL="0" indent="0" algn="l">
              <a:lnSpc>
                <a:spcPct val="90000"/>
              </a:lnSpc>
              <a:buNone/>
              <a:defRPr sz="2667" b="0" baseline="0">
                <a:solidFill>
                  <a:schemeClr val="bg1"/>
                </a:solidFill>
              </a:defRPr>
            </a:lvl1pPr>
            <a:lvl2pPr marL="0" algn="ctr">
              <a:lnSpc>
                <a:spcPct val="100000"/>
              </a:lnSpc>
              <a:spcBef>
                <a:spcPts val="9200"/>
              </a:spcBef>
              <a:defRPr sz="2667" b="1">
                <a:solidFill>
                  <a:schemeClr val="bg1"/>
                </a:solidFill>
              </a:defRPr>
            </a:lvl2pPr>
          </a:lstStyle>
          <a:p>
            <a:pPr lvl="0"/>
            <a:r>
              <a:rPr lang="en-GB" noProof="0"/>
              <a:t>SUBTITLE</a:t>
            </a:r>
          </a:p>
        </p:txBody>
      </p:sp>
      <p:sp>
        <p:nvSpPr>
          <p:cNvPr id="11" name="Espace réservé du numéro de diapositive 10"/>
          <p:cNvSpPr>
            <a:spLocks noGrp="1"/>
          </p:cNvSpPr>
          <p:nvPr>
            <p:ph type="sldNum" sz="quarter" idx="16"/>
          </p:nvPr>
        </p:nvSpPr>
        <p:spPr bwMode="gray">
          <a:xfrm>
            <a:off x="672000" y="6327933"/>
            <a:ext cx="1200149" cy="530067"/>
          </a:xfrm>
          <a:prstGeom prst="rect">
            <a:avLst/>
          </a:prstGeom>
        </p:spPr>
        <p:txBody>
          <a:bodyPr/>
          <a:lstStyle>
            <a:lvl1pPr>
              <a:defRPr sz="133">
                <a:solidFill>
                  <a:schemeClr val="bg1">
                    <a:alpha val="0"/>
                  </a:schemeClr>
                </a:solidFill>
              </a:defRPr>
            </a:lvl1pPr>
          </a:lstStyle>
          <a:p>
            <a:pPr algn="l"/>
            <a:r>
              <a:rPr lang="en-GB" noProof="0"/>
              <a:t>Page: </a:t>
            </a:r>
            <a:fld id="{733122C9-A0B9-462F-8757-0847AD287B63}" type="slidenum">
              <a:rPr lang="en-GB" noProof="0" smtClean="0"/>
              <a:pPr algn="l"/>
              <a:t>‹#›</a:t>
            </a:fld>
            <a:endParaRPr lang="en-GB" noProof="0"/>
          </a:p>
        </p:txBody>
      </p:sp>
      <p:sp>
        <p:nvSpPr>
          <p:cNvPr id="15" name="Espace réservé du texte 14"/>
          <p:cNvSpPr>
            <a:spLocks noGrp="1"/>
          </p:cNvSpPr>
          <p:nvPr>
            <p:ph type="body" sz="quarter" idx="19" hasCustomPrompt="1"/>
          </p:nvPr>
        </p:nvSpPr>
        <p:spPr bwMode="gray">
          <a:xfrm>
            <a:off x="5592000" y="5899200"/>
            <a:ext cx="5884800" cy="324000"/>
          </a:xfrm>
        </p:spPr>
        <p:txBody>
          <a:bodyPr anchor="b" anchorCtr="0"/>
          <a:lstStyle>
            <a:lvl1pPr algn="r">
              <a:lnSpc>
                <a:spcPct val="100000"/>
              </a:lnSpc>
              <a:defRPr sz="1200" b="1">
                <a:solidFill>
                  <a:schemeClr val="accent2"/>
                </a:solidFill>
              </a:defRPr>
            </a:lvl1pPr>
          </a:lstStyle>
          <a:p>
            <a:r>
              <a:rPr lang="fr-FR" err="1"/>
              <a:t>Reach</a:t>
            </a:r>
            <a:r>
              <a:rPr lang="fr-FR"/>
              <a:t> </a:t>
            </a:r>
            <a:r>
              <a:rPr lang="fr-FR" err="1"/>
              <a:t>every</a:t>
            </a:r>
            <a:r>
              <a:rPr lang="fr-FR"/>
              <a:t> </a:t>
            </a:r>
            <a:r>
              <a:rPr lang="fr-FR" err="1"/>
              <a:t>child</a:t>
            </a:r>
            <a:endParaRPr lang="fr-FR"/>
          </a:p>
        </p:txBody>
      </p:sp>
      <p:sp>
        <p:nvSpPr>
          <p:cNvPr id="16" name="Rectangle 15"/>
          <p:cNvSpPr/>
          <p:nvPr userDrawn="1"/>
        </p:nvSpPr>
        <p:spPr bwMode="gray">
          <a:xfrm>
            <a:off x="5592000" y="6283200"/>
            <a:ext cx="5884800" cy="287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r>
              <a:rPr lang="en-GB" sz="1200" noProof="0">
                <a:solidFill>
                  <a:schemeClr val="accent3"/>
                </a:solidFill>
              </a:rPr>
              <a:t>www.gavi.org</a:t>
            </a:r>
          </a:p>
        </p:txBody>
      </p:sp>
      <p:sp>
        <p:nvSpPr>
          <p:cNvPr id="19" name="Rectangle 18"/>
          <p:cNvSpPr/>
          <p:nvPr userDrawn="1"/>
        </p:nvSpPr>
        <p:spPr bwMode="gray">
          <a:xfrm>
            <a:off x="672000" y="3391895"/>
            <a:ext cx="2337600" cy="25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sp>
        <p:nvSpPr>
          <p:cNvPr id="18" name="Espace réservé pour une image  25"/>
          <p:cNvSpPr>
            <a:spLocks noGrp="1"/>
          </p:cNvSpPr>
          <p:nvPr>
            <p:ph type="pic" sz="quarter" idx="10" hasCustomPrompt="1"/>
          </p:nvPr>
        </p:nvSpPr>
        <p:spPr>
          <a:xfrm>
            <a:off x="6821913" y="0"/>
            <a:ext cx="5370089" cy="5158800"/>
          </a:xfrm>
          <a:custGeom>
            <a:avLst/>
            <a:gdLst>
              <a:gd name="connsiteX0" fmla="*/ 1929568 w 4027567"/>
              <a:gd name="connsiteY0" fmla="*/ 0 h 3869100"/>
              <a:gd name="connsiteX1" fmla="*/ 4027567 w 4027567"/>
              <a:gd name="connsiteY1" fmla="*/ 0 h 3869100"/>
              <a:gd name="connsiteX2" fmla="*/ 4027567 w 4027567"/>
              <a:gd name="connsiteY2" fmla="*/ 3869100 h 3869100"/>
              <a:gd name="connsiteX3" fmla="*/ 0 w 4027567"/>
              <a:gd name="connsiteY3" fmla="*/ 3869100 h 3869100"/>
              <a:gd name="connsiteX4" fmla="*/ 29823 w 4027567"/>
              <a:gd name="connsiteY4" fmla="*/ 3580448 h 3869100"/>
              <a:gd name="connsiteX5" fmla="*/ 1929568 w 4027567"/>
              <a:gd name="connsiteY5" fmla="*/ 0 h 3869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27567" h="3869100">
                <a:moveTo>
                  <a:pt x="1929568" y="0"/>
                </a:moveTo>
                <a:lnTo>
                  <a:pt x="4027567" y="0"/>
                </a:lnTo>
                <a:lnTo>
                  <a:pt x="4027567" y="3869100"/>
                </a:lnTo>
                <a:lnTo>
                  <a:pt x="0" y="3869100"/>
                </a:lnTo>
                <a:lnTo>
                  <a:pt x="29823" y="3580448"/>
                </a:lnTo>
                <a:cubicBezTo>
                  <a:pt x="280550" y="2115735"/>
                  <a:pt x="1924285" y="945283"/>
                  <a:pt x="1929568" y="0"/>
                </a:cubicBezTo>
                <a:close/>
              </a:path>
            </a:pathLst>
          </a:custGeom>
          <a:solidFill>
            <a:schemeClr val="bg2"/>
          </a:solidFill>
        </p:spPr>
        <p:txBody>
          <a:bodyPr wrap="square" tIns="720000" anchor="ctr" anchorCtr="0">
            <a:noAutofit/>
          </a:bodyPr>
          <a:lstStyle>
            <a:lvl1pPr marL="0" marR="0" indent="0" algn="ctr" defTabSz="1219170" rtl="0" eaLnBrk="1" fontAlgn="auto" latinLnBrk="0" hangingPunct="1">
              <a:lnSpc>
                <a:spcPct val="110000"/>
              </a:lnSpc>
              <a:spcBef>
                <a:spcPts val="0"/>
              </a:spcBef>
              <a:spcAft>
                <a:spcPts val="0"/>
              </a:spcAft>
              <a:buClrTx/>
              <a:buSzTx/>
              <a:buFont typeface="Arial" pitchFamily="34" charset="0"/>
              <a:buNone/>
              <a:tabLst/>
              <a:defRPr sz="2000">
                <a:solidFill>
                  <a:schemeClr val="bg1"/>
                </a:solidFill>
              </a:defRPr>
            </a:lvl1pPr>
          </a:lstStyle>
          <a:p>
            <a:r>
              <a:rPr lang="en-GB" noProof="0"/>
              <a:t>Select your own photo</a:t>
            </a:r>
          </a:p>
        </p:txBody>
      </p:sp>
      <p:sp>
        <p:nvSpPr>
          <p:cNvPr id="17" name="Espace réservé du texte 16"/>
          <p:cNvSpPr>
            <a:spLocks noGrp="1"/>
          </p:cNvSpPr>
          <p:nvPr>
            <p:ph type="body" sz="quarter" idx="20" hasCustomPrompt="1"/>
          </p:nvPr>
        </p:nvSpPr>
        <p:spPr bwMode="gray">
          <a:xfrm>
            <a:off x="0" y="5157789"/>
            <a:ext cx="12192000" cy="287337"/>
          </a:xfrm>
          <a:solidFill>
            <a:schemeClr val="bg1"/>
          </a:solidFill>
        </p:spPr>
        <p:txBody>
          <a:bodyPr/>
          <a:lstStyle>
            <a:lvl1pPr>
              <a:defRPr sz="133" b="0">
                <a:solidFill>
                  <a:schemeClr val="bg1">
                    <a:alpha val="0"/>
                  </a:schemeClr>
                </a:solidFill>
              </a:defRPr>
            </a:lvl1pPr>
          </a:lstStyle>
          <a:p>
            <a:pPr lvl="0"/>
            <a:r>
              <a:rPr lang="en-GB" noProof="0"/>
              <a:t> </a:t>
            </a:r>
          </a:p>
        </p:txBody>
      </p:sp>
    </p:spTree>
    <p:extLst>
      <p:ext uri="{BB962C8B-B14F-4D97-AF65-F5344CB8AC3E}">
        <p14:creationId xmlns:p14="http://schemas.microsoft.com/office/powerpoint/2010/main" val="2398666904"/>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Chapter_Layout">
    <p:spTree>
      <p:nvGrpSpPr>
        <p:cNvPr id="1" name=""/>
        <p:cNvGrpSpPr/>
        <p:nvPr/>
      </p:nvGrpSpPr>
      <p:grpSpPr>
        <a:xfrm>
          <a:off x="0" y="0"/>
          <a:ext cx="0" cy="0"/>
          <a:chOff x="0" y="0"/>
          <a:chExt cx="0" cy="0"/>
        </a:xfrm>
      </p:grpSpPr>
      <p:pic>
        <p:nvPicPr>
          <p:cNvPr id="4" name="Imag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0"/>
            <a:ext cx="3453377" cy="6858000"/>
          </a:xfrm>
          <a:prstGeom prst="rect">
            <a:avLst/>
          </a:prstGeom>
        </p:spPr>
      </p:pic>
      <p:sp>
        <p:nvSpPr>
          <p:cNvPr id="2" name="Titre 1"/>
          <p:cNvSpPr>
            <a:spLocks noGrp="1"/>
          </p:cNvSpPr>
          <p:nvPr>
            <p:ph type="title" hasCustomPrompt="1"/>
          </p:nvPr>
        </p:nvSpPr>
        <p:spPr bwMode="gray">
          <a:xfrm>
            <a:off x="3672000" y="1037167"/>
            <a:ext cx="7368533" cy="1646864"/>
          </a:xfrm>
        </p:spPr>
        <p:txBody>
          <a:bodyPr/>
          <a:lstStyle/>
          <a:p>
            <a:r>
              <a:rPr lang="en-GB" noProof="0"/>
              <a:t>TITLE</a:t>
            </a:r>
          </a:p>
        </p:txBody>
      </p:sp>
      <p:sp>
        <p:nvSpPr>
          <p:cNvPr id="10" name="Espace réservé du texte 9"/>
          <p:cNvSpPr>
            <a:spLocks noGrp="1"/>
          </p:cNvSpPr>
          <p:nvPr>
            <p:ph type="body" sz="quarter" idx="13" hasCustomPrompt="1"/>
          </p:nvPr>
        </p:nvSpPr>
        <p:spPr bwMode="gray">
          <a:xfrm>
            <a:off x="3672000" y="2902572"/>
            <a:ext cx="7368533" cy="2903445"/>
          </a:xfrm>
        </p:spPr>
        <p:txBody>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4" name="Espace réservé du texte 9"/>
          <p:cNvSpPr>
            <a:spLocks noGrp="1"/>
          </p:cNvSpPr>
          <p:nvPr>
            <p:ph type="body" sz="quarter" idx="14" hasCustomPrompt="1"/>
          </p:nvPr>
        </p:nvSpPr>
        <p:spPr bwMode="gray">
          <a:xfrm>
            <a:off x="0" y="1"/>
            <a:ext cx="2495211" cy="4990431"/>
          </a:xfrm>
        </p:spPr>
        <p:txBody>
          <a:bodyPr/>
          <a:lstStyle>
            <a:lvl1pPr algn="r">
              <a:defRPr sz="22133" b="1">
                <a:solidFill>
                  <a:schemeClr val="bg1"/>
                </a:solidFill>
              </a:defRPr>
            </a:lvl1pPr>
          </a:lstStyle>
          <a:p>
            <a:pPr lvl="0"/>
            <a:r>
              <a:rPr lang="en-GB" noProof="0"/>
              <a:t>0</a:t>
            </a:r>
          </a:p>
        </p:txBody>
      </p:sp>
      <p:sp>
        <p:nvSpPr>
          <p:cNvPr id="12" name="Espace réservé du numéro de diapositive 11"/>
          <p:cNvSpPr>
            <a:spLocks noGrp="1"/>
          </p:cNvSpPr>
          <p:nvPr>
            <p:ph type="sldNum" sz="quarter" idx="16"/>
          </p:nvPr>
        </p:nvSpPr>
        <p:spPr bwMode="gray">
          <a:xfrm>
            <a:off x="672000" y="6327933"/>
            <a:ext cx="1200149" cy="530067"/>
          </a:xfrm>
          <a:prstGeom prst="rect">
            <a:avLst/>
          </a:prstGeom>
        </p:spPr>
        <p:txBody>
          <a:bodyPr/>
          <a:lstStyle/>
          <a:p>
            <a:pPr algn="l"/>
            <a:fld id="{733122C9-A0B9-462F-8757-0847AD287B63}" type="slidenum">
              <a:rPr lang="en-GB" noProof="0" smtClean="0"/>
              <a:pPr algn="l"/>
              <a:t>‹#›</a:t>
            </a:fld>
            <a:endParaRPr lang="en-GB" noProof="0"/>
          </a:p>
        </p:txBody>
      </p:sp>
      <p:sp>
        <p:nvSpPr>
          <p:cNvPr id="16" name="Rectangle 15"/>
          <p:cNvSpPr/>
          <p:nvPr userDrawn="1"/>
        </p:nvSpPr>
        <p:spPr bwMode="gray">
          <a:xfrm>
            <a:off x="3672000" y="2777245"/>
            <a:ext cx="1344000" cy="25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spTree>
    <p:extLst>
      <p:ext uri="{BB962C8B-B14F-4D97-AF65-F5344CB8AC3E}">
        <p14:creationId xmlns:p14="http://schemas.microsoft.com/office/powerpoint/2010/main" val="3725977835"/>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type="obj" preserve="1">
  <p:cSld name="Content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3" name="Espace réservé du contenu 2"/>
          <p:cNvSpPr>
            <a:spLocks noGrp="1"/>
          </p:cNvSpPr>
          <p:nvPr>
            <p:ph idx="1" hasCustomPrompt="1"/>
          </p:nvPr>
        </p:nvSpPr>
        <p:spPr bwMode="gray">
          <a:xfrm>
            <a:off x="672000" y="1603200"/>
            <a:ext cx="10848000" cy="4190400"/>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Tree>
    <p:extLst>
      <p:ext uri="{BB962C8B-B14F-4D97-AF65-F5344CB8AC3E}">
        <p14:creationId xmlns:p14="http://schemas.microsoft.com/office/powerpoint/2010/main" val="1489210918"/>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Picture&amp;Content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3" name="Espace réservé du contenu 2"/>
          <p:cNvSpPr>
            <a:spLocks noGrp="1"/>
          </p:cNvSpPr>
          <p:nvPr>
            <p:ph idx="1" hasCustomPrompt="1"/>
          </p:nvPr>
        </p:nvSpPr>
        <p:spPr bwMode="gray">
          <a:xfrm>
            <a:off x="4357648" y="1607999"/>
            <a:ext cx="6960000" cy="4198017"/>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9" name="Espace réservé pour une image  8"/>
          <p:cNvSpPr>
            <a:spLocks noGrp="1"/>
          </p:cNvSpPr>
          <p:nvPr>
            <p:ph type="pic" sz="quarter" idx="13" hasCustomPrompt="1"/>
          </p:nvPr>
        </p:nvSpPr>
        <p:spPr bwMode="gray">
          <a:xfrm>
            <a:off x="0" y="1707856"/>
            <a:ext cx="4072411" cy="4098163"/>
          </a:xfrm>
        </p:spPr>
        <p:txBody>
          <a:bodyPr tIns="1008000" anchor="ctr" anchorCtr="0"/>
          <a:lstStyle>
            <a:lvl1pPr algn="ctr">
              <a:defRPr/>
            </a:lvl1pPr>
          </a:lstStyle>
          <a:p>
            <a:r>
              <a:rPr lang="en-GB" noProof="0"/>
              <a:t>Select your own photo</a:t>
            </a:r>
          </a:p>
        </p:txBody>
      </p:sp>
      <p:sp>
        <p:nvSpPr>
          <p:cNvPr id="11" name="Espace réservé du numéro de diapositive 10"/>
          <p:cNvSpPr>
            <a:spLocks noGrp="1"/>
          </p:cNvSpPr>
          <p:nvPr>
            <p:ph type="sldNum" sz="quarter" idx="15"/>
          </p:nvPr>
        </p:nvSpPr>
        <p:spPr bwMode="gray">
          <a:xfrm>
            <a:off x="672000" y="6327933"/>
            <a:ext cx="1200149" cy="530067"/>
          </a:xfrm>
          <a:prstGeom prst="rect">
            <a:avLst/>
          </a:prstGeom>
        </p:spPr>
        <p:txBody>
          <a:bodyPr/>
          <a:lstStyle/>
          <a:p>
            <a:pPr algn="l"/>
            <a:fld id="{733122C9-A0B9-462F-8757-0847AD287B63}" type="slidenum">
              <a:rPr lang="en-GB" noProof="0" smtClean="0"/>
              <a:pPr algn="l"/>
              <a:t>‹#›</a:t>
            </a:fld>
            <a:endParaRPr lang="en-GB" noProof="0"/>
          </a:p>
        </p:txBody>
      </p:sp>
    </p:spTree>
    <p:extLst>
      <p:ext uri="{BB962C8B-B14F-4D97-AF65-F5344CB8AC3E}">
        <p14:creationId xmlns:p14="http://schemas.microsoft.com/office/powerpoint/2010/main" val="645777978"/>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1_Picture&amp;Content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3" name="Espace réservé du contenu 2"/>
          <p:cNvSpPr>
            <a:spLocks noGrp="1"/>
          </p:cNvSpPr>
          <p:nvPr>
            <p:ph idx="1" hasCustomPrompt="1"/>
          </p:nvPr>
        </p:nvSpPr>
        <p:spPr bwMode="gray">
          <a:xfrm>
            <a:off x="672000" y="1607999"/>
            <a:ext cx="6672139" cy="4198017"/>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1" name="Espace réservé du numéro de diapositive 10"/>
          <p:cNvSpPr>
            <a:spLocks noGrp="1"/>
          </p:cNvSpPr>
          <p:nvPr>
            <p:ph type="sldNum" sz="quarter" idx="15"/>
          </p:nvPr>
        </p:nvSpPr>
        <p:spPr bwMode="gray">
          <a:xfrm>
            <a:off x="672000" y="6327933"/>
            <a:ext cx="1200149" cy="530067"/>
          </a:xfrm>
          <a:prstGeom prst="rect">
            <a:avLst/>
          </a:prstGeom>
        </p:spPr>
        <p:txBody>
          <a:bodyPr/>
          <a:lstStyle/>
          <a:p>
            <a:pPr algn="l"/>
            <a:fld id="{733122C9-A0B9-462F-8757-0847AD287B63}" type="slidenum">
              <a:rPr lang="en-GB" noProof="0" smtClean="0"/>
              <a:pPr algn="l"/>
              <a:t>‹#›</a:t>
            </a:fld>
            <a:endParaRPr lang="en-GB" noProof="0"/>
          </a:p>
        </p:txBody>
      </p:sp>
      <p:sp>
        <p:nvSpPr>
          <p:cNvPr id="10" name="Espace réservé pour une image  17"/>
          <p:cNvSpPr>
            <a:spLocks noGrp="1"/>
          </p:cNvSpPr>
          <p:nvPr>
            <p:ph type="pic" sz="quarter" idx="18" hasCustomPrompt="1"/>
          </p:nvPr>
        </p:nvSpPr>
        <p:spPr bwMode="gray">
          <a:xfrm>
            <a:off x="7439389" y="5168"/>
            <a:ext cx="4752611" cy="5807451"/>
          </a:xfrm>
          <a:custGeom>
            <a:avLst/>
            <a:gdLst>
              <a:gd name="connsiteX0" fmla="*/ 0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0 w 3851275"/>
              <a:gd name="connsiteY4"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1692275 w 3851275"/>
              <a:gd name="connsiteY4" fmla="*/ 0 h 5157788"/>
              <a:gd name="connsiteX0" fmla="*/ 0 w 2159000"/>
              <a:gd name="connsiteY0" fmla="*/ 0 h 5157788"/>
              <a:gd name="connsiteX1" fmla="*/ 2159000 w 2159000"/>
              <a:gd name="connsiteY1" fmla="*/ 0 h 5157788"/>
              <a:gd name="connsiteX2" fmla="*/ 2159000 w 2159000"/>
              <a:gd name="connsiteY2" fmla="*/ 5157788 h 5157788"/>
              <a:gd name="connsiteX3" fmla="*/ 0 w 2159000"/>
              <a:gd name="connsiteY3" fmla="*/ 5157788 h 5157788"/>
              <a:gd name="connsiteX4" fmla="*/ 0 w 2159000"/>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3568576 w 5727576"/>
              <a:gd name="connsiteY0" fmla="*/ 0 h 5157788"/>
              <a:gd name="connsiteX1" fmla="*/ 5727576 w 5727576"/>
              <a:gd name="connsiteY1" fmla="*/ 0 h 5157788"/>
              <a:gd name="connsiteX2" fmla="*/ 5727576 w 5727576"/>
              <a:gd name="connsiteY2" fmla="*/ 5157788 h 5157788"/>
              <a:gd name="connsiteX3" fmla="*/ 3568576 w 5727576"/>
              <a:gd name="connsiteY3" fmla="*/ 5157788 h 5157788"/>
              <a:gd name="connsiteX4" fmla="*/ 3568576 w 5727576"/>
              <a:gd name="connsiteY4" fmla="*/ 0 h 5157788"/>
              <a:gd name="connsiteX0" fmla="*/ 3306355 w 5465355"/>
              <a:gd name="connsiteY0" fmla="*/ 0 h 5157788"/>
              <a:gd name="connsiteX1" fmla="*/ 5465355 w 5465355"/>
              <a:gd name="connsiteY1" fmla="*/ 0 h 5157788"/>
              <a:gd name="connsiteX2" fmla="*/ 5465355 w 5465355"/>
              <a:gd name="connsiteY2" fmla="*/ 5157788 h 5157788"/>
              <a:gd name="connsiteX3" fmla="*/ 3306355 w 5465355"/>
              <a:gd name="connsiteY3" fmla="*/ 5157788 h 5157788"/>
              <a:gd name="connsiteX4" fmla="*/ 3306355 w 5465355"/>
              <a:gd name="connsiteY4" fmla="*/ 0 h 5157788"/>
              <a:gd name="connsiteX0" fmla="*/ 1416957 w 3575957"/>
              <a:gd name="connsiteY0" fmla="*/ 0 h 5157788"/>
              <a:gd name="connsiteX1" fmla="*/ 3575957 w 3575957"/>
              <a:gd name="connsiteY1" fmla="*/ 0 h 5157788"/>
              <a:gd name="connsiteX2" fmla="*/ 3575957 w 3575957"/>
              <a:gd name="connsiteY2" fmla="*/ 5157788 h 5157788"/>
              <a:gd name="connsiteX3" fmla="*/ 1416957 w 3575957"/>
              <a:gd name="connsiteY3" fmla="*/ 5157788 h 5157788"/>
              <a:gd name="connsiteX4" fmla="*/ 0 w 3575957"/>
              <a:gd name="connsiteY4" fmla="*/ 3339193 h 5157788"/>
              <a:gd name="connsiteX5" fmla="*/ 1416957 w 3575957"/>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6017419"/>
              <a:gd name="connsiteX1" fmla="*/ 3851275 w 3851275"/>
              <a:gd name="connsiteY1" fmla="*/ 0 h 6017419"/>
              <a:gd name="connsiteX2" fmla="*/ 3851275 w 3851275"/>
              <a:gd name="connsiteY2" fmla="*/ 5157788 h 6017419"/>
              <a:gd name="connsiteX3" fmla="*/ 1692275 w 3851275"/>
              <a:gd name="connsiteY3" fmla="*/ 5157788 h 6017419"/>
              <a:gd name="connsiteX4" fmla="*/ 0 w 3851275"/>
              <a:gd name="connsiteY4" fmla="*/ 3284984 h 6017419"/>
              <a:gd name="connsiteX5" fmla="*/ 1692275 w 3851275"/>
              <a:gd name="connsiteY5" fmla="*/ 0 h 6017419"/>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04975 w 3863975"/>
              <a:gd name="connsiteY0" fmla="*/ 0 h 5157788"/>
              <a:gd name="connsiteX1" fmla="*/ 3863975 w 3863975"/>
              <a:gd name="connsiteY1" fmla="*/ 0 h 5157788"/>
              <a:gd name="connsiteX2" fmla="*/ 3863975 w 3863975"/>
              <a:gd name="connsiteY2" fmla="*/ 5157788 h 5157788"/>
              <a:gd name="connsiteX3" fmla="*/ 1704975 w 3863975"/>
              <a:gd name="connsiteY3" fmla="*/ 5157788 h 5157788"/>
              <a:gd name="connsiteX4" fmla="*/ 12700 w 3863975"/>
              <a:gd name="connsiteY4" fmla="*/ 3429000 h 5157788"/>
              <a:gd name="connsiteX5" fmla="*/ 1704975 w 3863975"/>
              <a:gd name="connsiteY5" fmla="*/ 0 h 5157788"/>
              <a:gd name="connsiteX0" fmla="*/ 1707243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707243 w 3866243"/>
              <a:gd name="connsiteY5" fmla="*/ 0 h 5157788"/>
              <a:gd name="connsiteX0" fmla="*/ 1130447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130447 w 3866243"/>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3574235 w 6310031"/>
              <a:gd name="connsiteY0" fmla="*/ 0 h 5157788"/>
              <a:gd name="connsiteX1" fmla="*/ 6310031 w 6310031"/>
              <a:gd name="connsiteY1" fmla="*/ 0 h 5157788"/>
              <a:gd name="connsiteX2" fmla="*/ 6310031 w 6310031"/>
              <a:gd name="connsiteY2" fmla="*/ 5157788 h 5157788"/>
              <a:gd name="connsiteX3" fmla="*/ 585903 w 6310031"/>
              <a:gd name="connsiteY3" fmla="*/ 5153180 h 5157788"/>
              <a:gd name="connsiteX4" fmla="*/ 1738031 w 6310031"/>
              <a:gd name="connsiteY4" fmla="*/ 3389965 h 5157788"/>
              <a:gd name="connsiteX5" fmla="*/ 3574235 w 6310031"/>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296143 w 5724128"/>
              <a:gd name="connsiteY4" fmla="*/ 3461908 h 5157788"/>
              <a:gd name="connsiteX5" fmla="*/ 2988332 w 5724128"/>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1188132 w 5760132"/>
              <a:gd name="connsiteY4" fmla="*/ 3425937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2160240 w 4896036"/>
              <a:gd name="connsiteY0" fmla="*/ 0 h 5157788"/>
              <a:gd name="connsiteX1" fmla="*/ 4896036 w 4896036"/>
              <a:gd name="connsiteY1" fmla="*/ 0 h 5157788"/>
              <a:gd name="connsiteX2" fmla="*/ 4896036 w 4896036"/>
              <a:gd name="connsiteY2" fmla="*/ 5157788 h 5157788"/>
              <a:gd name="connsiteX3" fmla="*/ 0 w 4896036"/>
              <a:gd name="connsiteY3" fmla="*/ 5153180 h 5157788"/>
              <a:gd name="connsiteX4" fmla="*/ 1872208 w 4896036"/>
              <a:gd name="connsiteY4" fmla="*/ 3461908 h 5157788"/>
              <a:gd name="connsiteX5" fmla="*/ 2160240 w 4896036"/>
              <a:gd name="connsiteY5" fmla="*/ 0 h 5157788"/>
              <a:gd name="connsiteX0" fmla="*/ 2232248 w 4968044"/>
              <a:gd name="connsiteY0" fmla="*/ 0 h 5157788"/>
              <a:gd name="connsiteX1" fmla="*/ 4968044 w 4968044"/>
              <a:gd name="connsiteY1" fmla="*/ 0 h 5157788"/>
              <a:gd name="connsiteX2" fmla="*/ 4968044 w 4968044"/>
              <a:gd name="connsiteY2" fmla="*/ 5157788 h 5157788"/>
              <a:gd name="connsiteX3" fmla="*/ 0 w 4968044"/>
              <a:gd name="connsiteY3" fmla="*/ 5153180 h 5157788"/>
              <a:gd name="connsiteX4" fmla="*/ 1944216 w 4968044"/>
              <a:gd name="connsiteY4" fmla="*/ 3461908 h 5157788"/>
              <a:gd name="connsiteX5" fmla="*/ 2232248 w 4968044"/>
              <a:gd name="connsiteY5" fmla="*/ 0 h 5157788"/>
              <a:gd name="connsiteX0" fmla="*/ 2207679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207679 w 4943475"/>
              <a:gd name="connsiteY5" fmla="*/ 0 h 5157788"/>
              <a:gd name="connsiteX0" fmla="*/ 2963763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963763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092200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71575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343583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9672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19672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51412" h="5157788">
                <a:moveTo>
                  <a:pt x="2706687" y="0"/>
                </a:moveTo>
                <a:lnTo>
                  <a:pt x="4951412" y="0"/>
                </a:lnTo>
                <a:lnTo>
                  <a:pt x="4951412" y="5157788"/>
                </a:lnTo>
                <a:lnTo>
                  <a:pt x="0" y="5153180"/>
                </a:lnTo>
                <a:cubicBezTo>
                  <a:pt x="84411" y="4542509"/>
                  <a:pt x="183041" y="4024723"/>
                  <a:pt x="1243508" y="2562613"/>
                </a:cubicBezTo>
                <a:cubicBezTo>
                  <a:pt x="1867447" y="1704780"/>
                  <a:pt x="2665955" y="709265"/>
                  <a:pt x="2706687" y="0"/>
                </a:cubicBezTo>
                <a:close/>
              </a:path>
            </a:pathLst>
          </a:custGeom>
          <a:solidFill>
            <a:schemeClr val="bg2"/>
          </a:solidFill>
          <a:ln w="3175">
            <a:noFill/>
          </a:ln>
        </p:spPr>
        <p:txBody>
          <a:bodyPr tIns="720000" anchor="ctr" anchorCtr="0"/>
          <a:lstStyle>
            <a:lvl1pPr algn="ctr">
              <a:defRPr sz="2000">
                <a:solidFill>
                  <a:schemeClr val="bg1"/>
                </a:solidFill>
              </a:defRPr>
            </a:lvl1pPr>
          </a:lstStyle>
          <a:p>
            <a:r>
              <a:rPr lang="en-GB" noProof="0"/>
              <a:t>Select your own photo</a:t>
            </a:r>
          </a:p>
        </p:txBody>
      </p:sp>
      <p:sp>
        <p:nvSpPr>
          <p:cNvPr id="13" name="Espace réservé du texte 4"/>
          <p:cNvSpPr>
            <a:spLocks noGrp="1"/>
          </p:cNvSpPr>
          <p:nvPr>
            <p:ph type="body" sz="quarter" idx="19"/>
          </p:nvPr>
        </p:nvSpPr>
        <p:spPr>
          <a:xfrm>
            <a:off x="7440085" y="5445224"/>
            <a:ext cx="4751916" cy="367521"/>
          </a:xfrm>
          <a:solidFill>
            <a:schemeClr val="bg1">
              <a:alpha val="60000"/>
            </a:schemeClr>
          </a:solidFill>
        </p:spPr>
        <p:txBody>
          <a:bodyPr anchor="ctr" anchorCtr="0"/>
          <a:lstStyle>
            <a:lvl1pPr algn="ctr">
              <a:defRPr sz="1400" b="0" i="1"/>
            </a:lvl1pPr>
            <a:lvl2pPr algn="ctr">
              <a:defRPr sz="1333" b="0" i="1"/>
            </a:lvl2pPr>
            <a:lvl3pPr algn="ctr">
              <a:defRPr sz="1200" b="0" i="1"/>
            </a:lvl3pPr>
            <a:lvl4pPr algn="ctr">
              <a:defRPr sz="1200" b="0" i="1"/>
            </a:lvl4pPr>
            <a:lvl5pPr algn="ctr">
              <a:defRPr sz="1067" b="0" i="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Tree>
    <p:extLst>
      <p:ext uri="{BB962C8B-B14F-4D97-AF65-F5344CB8AC3E}">
        <p14:creationId xmlns:p14="http://schemas.microsoft.com/office/powerpoint/2010/main" val="516046372"/>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2_Picture&amp;Content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3" name="Espace réservé du contenu 2"/>
          <p:cNvSpPr>
            <a:spLocks noGrp="1"/>
          </p:cNvSpPr>
          <p:nvPr>
            <p:ph idx="1" hasCustomPrompt="1"/>
          </p:nvPr>
        </p:nvSpPr>
        <p:spPr bwMode="gray">
          <a:xfrm>
            <a:off x="672000" y="1608000"/>
            <a:ext cx="10645648" cy="2043011"/>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1" name="Espace réservé du numéro de diapositive 10"/>
          <p:cNvSpPr>
            <a:spLocks noGrp="1"/>
          </p:cNvSpPr>
          <p:nvPr>
            <p:ph type="sldNum" sz="quarter" idx="15"/>
          </p:nvPr>
        </p:nvSpPr>
        <p:spPr bwMode="gray">
          <a:xfrm>
            <a:off x="672000" y="6327933"/>
            <a:ext cx="1200149" cy="530067"/>
          </a:xfrm>
          <a:prstGeom prst="rect">
            <a:avLst/>
          </a:prstGeom>
        </p:spPr>
        <p:txBody>
          <a:bodyPr/>
          <a:lstStyle/>
          <a:p>
            <a:pPr algn="l"/>
            <a:fld id="{733122C9-A0B9-462F-8757-0847AD287B63}" type="slidenum">
              <a:rPr lang="en-GB" noProof="0" smtClean="0"/>
              <a:pPr algn="l"/>
              <a:t>‹#›</a:t>
            </a:fld>
            <a:endParaRPr lang="en-GB" noProof="0"/>
          </a:p>
        </p:txBody>
      </p:sp>
      <p:sp>
        <p:nvSpPr>
          <p:cNvPr id="10" name="Espace réservé pour une image  17"/>
          <p:cNvSpPr>
            <a:spLocks noGrp="1"/>
          </p:cNvSpPr>
          <p:nvPr>
            <p:ph type="pic" sz="quarter" idx="13"/>
          </p:nvPr>
        </p:nvSpPr>
        <p:spPr bwMode="gray">
          <a:xfrm>
            <a:off x="-1" y="3621021"/>
            <a:ext cx="12192001" cy="2189096"/>
          </a:xfrm>
          <a:custGeom>
            <a:avLst/>
            <a:gdLst>
              <a:gd name="connsiteX0" fmla="*/ 0 w 7344000"/>
              <a:gd name="connsiteY0" fmla="*/ 0 h 1728787"/>
              <a:gd name="connsiteX1" fmla="*/ 7344000 w 7344000"/>
              <a:gd name="connsiteY1" fmla="*/ 0 h 1728787"/>
              <a:gd name="connsiteX2" fmla="*/ 7344000 w 7344000"/>
              <a:gd name="connsiteY2" fmla="*/ 1728787 h 1728787"/>
              <a:gd name="connsiteX3" fmla="*/ 0 w 7344000"/>
              <a:gd name="connsiteY3" fmla="*/ 1728787 h 1728787"/>
              <a:gd name="connsiteX4" fmla="*/ 0 w 7344000"/>
              <a:gd name="connsiteY4" fmla="*/ 0 h 1728787"/>
              <a:gd name="connsiteX0" fmla="*/ 0 w 7344000"/>
              <a:gd name="connsiteY0" fmla="*/ 605117 h 1728787"/>
              <a:gd name="connsiteX1" fmla="*/ 7344000 w 7344000"/>
              <a:gd name="connsiteY1" fmla="*/ 0 h 1728787"/>
              <a:gd name="connsiteX2" fmla="*/ 7344000 w 7344000"/>
              <a:gd name="connsiteY2" fmla="*/ 1728787 h 1728787"/>
              <a:gd name="connsiteX3" fmla="*/ 0 w 7344000"/>
              <a:gd name="connsiteY3" fmla="*/ 1728787 h 1728787"/>
              <a:gd name="connsiteX4" fmla="*/ 0 w 7344000"/>
              <a:gd name="connsiteY4" fmla="*/ 605117 h 1728787"/>
              <a:gd name="connsiteX0" fmla="*/ 0 w 7344000"/>
              <a:gd name="connsiteY0" fmla="*/ 605117 h 1728787"/>
              <a:gd name="connsiteX1" fmla="*/ 7344000 w 7344000"/>
              <a:gd name="connsiteY1" fmla="*/ 0 h 1728787"/>
              <a:gd name="connsiteX2" fmla="*/ 7344000 w 7344000"/>
              <a:gd name="connsiteY2" fmla="*/ 1728787 h 1728787"/>
              <a:gd name="connsiteX3" fmla="*/ 0 w 7344000"/>
              <a:gd name="connsiteY3" fmla="*/ 1728787 h 1728787"/>
              <a:gd name="connsiteX4" fmla="*/ 0 w 7344000"/>
              <a:gd name="connsiteY4" fmla="*/ 605117 h 1728787"/>
              <a:gd name="connsiteX0" fmla="*/ 0 w 7344000"/>
              <a:gd name="connsiteY0" fmla="*/ 605117 h 1728787"/>
              <a:gd name="connsiteX1" fmla="*/ 7344000 w 7344000"/>
              <a:gd name="connsiteY1" fmla="*/ 0 h 1728787"/>
              <a:gd name="connsiteX2" fmla="*/ 7344000 w 7344000"/>
              <a:gd name="connsiteY2" fmla="*/ 1728787 h 1728787"/>
              <a:gd name="connsiteX3" fmla="*/ 0 w 7344000"/>
              <a:gd name="connsiteY3" fmla="*/ 1728787 h 1728787"/>
              <a:gd name="connsiteX4" fmla="*/ 0 w 7344000"/>
              <a:gd name="connsiteY4" fmla="*/ 605117 h 17287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4000" h="1728787">
                <a:moveTo>
                  <a:pt x="0" y="605117"/>
                </a:moveTo>
                <a:cubicBezTo>
                  <a:pt x="2817794" y="551329"/>
                  <a:pt x="3342865" y="73959"/>
                  <a:pt x="7344000" y="0"/>
                </a:cubicBezTo>
                <a:lnTo>
                  <a:pt x="7344000" y="1728787"/>
                </a:lnTo>
                <a:lnTo>
                  <a:pt x="0" y="1728787"/>
                </a:lnTo>
                <a:lnTo>
                  <a:pt x="0" y="605117"/>
                </a:lnTo>
                <a:close/>
              </a:path>
            </a:pathLst>
          </a:custGeom>
        </p:spPr>
        <p:txBody>
          <a:bodyPr/>
          <a:lstStyle/>
          <a:p>
            <a:r>
              <a:rPr lang="en-US"/>
              <a:t>Drag picture to placeholder or click icon to add</a:t>
            </a:r>
            <a:endParaRPr lang="fr-FR"/>
          </a:p>
        </p:txBody>
      </p:sp>
    </p:spTree>
    <p:extLst>
      <p:ext uri="{BB962C8B-B14F-4D97-AF65-F5344CB8AC3E}">
        <p14:creationId xmlns:p14="http://schemas.microsoft.com/office/powerpoint/2010/main" val="1279737464"/>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2_Contents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xfrm>
            <a:off x="672000" y="217251"/>
            <a:ext cx="10848000" cy="1036637"/>
          </a:xfrm>
        </p:spPr>
        <p:txBody>
          <a:bodyPr/>
          <a:lstStyle/>
          <a:p>
            <a:r>
              <a:rPr lang="en-GB" noProof="0"/>
              <a:t>TITLE</a:t>
            </a:r>
          </a:p>
        </p:txBody>
      </p:sp>
      <p:sp>
        <p:nvSpPr>
          <p:cNvPr id="3" name="Espace réservé du contenu 2"/>
          <p:cNvSpPr>
            <a:spLocks noGrp="1"/>
          </p:cNvSpPr>
          <p:nvPr>
            <p:ph idx="1" hasCustomPrompt="1"/>
          </p:nvPr>
        </p:nvSpPr>
        <p:spPr bwMode="gray">
          <a:xfrm>
            <a:off x="672000" y="1603201"/>
            <a:ext cx="5424000" cy="4202817"/>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8" name="Espace réservé du numéro de diapositive 7"/>
          <p:cNvSpPr>
            <a:spLocks noGrp="1"/>
          </p:cNvSpPr>
          <p:nvPr>
            <p:ph type="sldNum" sz="quarter" idx="11"/>
          </p:nvPr>
        </p:nvSpPr>
        <p:spPr bwMode="gray">
          <a:xfrm>
            <a:off x="672000" y="6327933"/>
            <a:ext cx="1200149" cy="530067"/>
          </a:xfrm>
          <a:prstGeom prst="rect">
            <a:avLst/>
          </a:prstGeom>
        </p:spPr>
        <p:txBody>
          <a:bodyPr/>
          <a:lstStyle/>
          <a:p>
            <a:pPr algn="l"/>
            <a:fld id="{733122C9-A0B9-462F-8757-0847AD287B63}" type="slidenum">
              <a:rPr lang="en-GB" noProof="0" smtClean="0"/>
              <a:pPr algn="l"/>
              <a:t>‹#›</a:t>
            </a:fld>
            <a:endParaRPr lang="en-GB" noProof="0"/>
          </a:p>
        </p:txBody>
      </p:sp>
      <p:sp>
        <p:nvSpPr>
          <p:cNvPr id="9" name="Espace réservé du contenu 2"/>
          <p:cNvSpPr>
            <a:spLocks noGrp="1"/>
          </p:cNvSpPr>
          <p:nvPr>
            <p:ph idx="13" hasCustomPrompt="1"/>
          </p:nvPr>
        </p:nvSpPr>
        <p:spPr bwMode="gray">
          <a:xfrm>
            <a:off x="6751499" y="1603201"/>
            <a:ext cx="4768501" cy="4202817"/>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Tree>
    <p:extLst>
      <p:ext uri="{BB962C8B-B14F-4D97-AF65-F5344CB8AC3E}">
        <p14:creationId xmlns:p14="http://schemas.microsoft.com/office/powerpoint/2010/main" val="1658408260"/>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ext&amp;Content_Layout">
    <p:spTree>
      <p:nvGrpSpPr>
        <p:cNvPr id="1" name=""/>
        <p:cNvGrpSpPr/>
        <p:nvPr/>
      </p:nvGrpSpPr>
      <p:grpSpPr>
        <a:xfrm>
          <a:off x="0" y="0"/>
          <a:ext cx="0" cy="0"/>
          <a:chOff x="0" y="0"/>
          <a:chExt cx="0" cy="0"/>
        </a:xfrm>
      </p:grpSpPr>
      <p:sp>
        <p:nvSpPr>
          <p:cNvPr id="3" name="Espace réservé du contenu 2"/>
          <p:cNvSpPr>
            <a:spLocks noGrp="1"/>
          </p:cNvSpPr>
          <p:nvPr>
            <p:ph idx="1" hasCustomPrompt="1"/>
          </p:nvPr>
        </p:nvSpPr>
        <p:spPr bwMode="gray">
          <a:xfrm>
            <a:off x="672000" y="3309347"/>
            <a:ext cx="10848000" cy="2496671"/>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0" name="Espace réservé du texte 9"/>
          <p:cNvSpPr>
            <a:spLocks noGrp="1"/>
          </p:cNvSpPr>
          <p:nvPr>
            <p:ph type="body" sz="quarter" idx="13" hasCustomPrompt="1"/>
          </p:nvPr>
        </p:nvSpPr>
        <p:spPr bwMode="gray">
          <a:xfrm>
            <a:off x="672000" y="1603200"/>
            <a:ext cx="10848000" cy="1633779"/>
          </a:xfrm>
        </p:spPr>
        <p:txBody>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9" name="Espace réservé du numéro de diapositive 8"/>
          <p:cNvSpPr>
            <a:spLocks noGrp="1"/>
          </p:cNvSpPr>
          <p:nvPr>
            <p:ph type="sldNum" sz="quarter" idx="15"/>
          </p:nvPr>
        </p:nvSpPr>
        <p:spPr bwMode="gray">
          <a:xfrm>
            <a:off x="672000" y="6327933"/>
            <a:ext cx="1200149" cy="530067"/>
          </a:xfrm>
          <a:prstGeom prst="rect">
            <a:avLst/>
          </a:prstGeom>
        </p:spPr>
        <p:txBody>
          <a:bodyPr/>
          <a:lstStyle/>
          <a:p>
            <a:pPr algn="l"/>
            <a:fld id="{733122C9-A0B9-462F-8757-0847AD287B63}" type="slidenum">
              <a:rPr lang="en-GB" noProof="0" smtClean="0"/>
              <a:pPr algn="l"/>
              <a:t>‹#›</a:t>
            </a:fld>
            <a:endParaRPr lang="en-GB" noProof="0"/>
          </a:p>
        </p:txBody>
      </p:sp>
      <p:sp>
        <p:nvSpPr>
          <p:cNvPr id="5" name="Titre 4"/>
          <p:cNvSpPr>
            <a:spLocks noGrp="1"/>
          </p:cNvSpPr>
          <p:nvPr>
            <p:ph type="title"/>
          </p:nvPr>
        </p:nvSpPr>
        <p:spPr/>
        <p:txBody>
          <a:bodyPr/>
          <a:lstStyle/>
          <a:p>
            <a:r>
              <a:rPr lang="en-US" noProof="0"/>
              <a:t>Click to edit Master title style</a:t>
            </a:r>
            <a:endParaRPr lang="en-GB" noProof="0"/>
          </a:p>
        </p:txBody>
      </p:sp>
    </p:spTree>
    <p:extLst>
      <p:ext uri="{BB962C8B-B14F-4D97-AF65-F5344CB8AC3E}">
        <p14:creationId xmlns:p14="http://schemas.microsoft.com/office/powerpoint/2010/main" val="117941125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 Slide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708830"/>
            <a:ext cx="11144930" cy="4204608"/>
          </a:xfrm>
        </p:spPr>
        <p:txBody>
          <a:bodyPr numCol="2" spcCol="54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United Against Rabies Forum Meeting - 6-8 November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493762124"/>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ext&amp;Content&amp;Picture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xfrm>
            <a:off x="672000" y="217251"/>
            <a:ext cx="6384967" cy="1036637"/>
          </a:xfrm>
        </p:spPr>
        <p:txBody>
          <a:bodyPr/>
          <a:lstStyle/>
          <a:p>
            <a:r>
              <a:rPr lang="en-GB" noProof="0"/>
              <a:t>TITLE</a:t>
            </a:r>
          </a:p>
        </p:txBody>
      </p:sp>
      <p:sp>
        <p:nvSpPr>
          <p:cNvPr id="3" name="Espace réservé du contenu 2"/>
          <p:cNvSpPr>
            <a:spLocks noGrp="1"/>
          </p:cNvSpPr>
          <p:nvPr>
            <p:ph idx="1" hasCustomPrompt="1"/>
          </p:nvPr>
        </p:nvSpPr>
        <p:spPr bwMode="gray">
          <a:xfrm>
            <a:off x="671999" y="3307201"/>
            <a:ext cx="6384967" cy="2498817"/>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0" name="Espace réservé du texte 9"/>
          <p:cNvSpPr>
            <a:spLocks noGrp="1"/>
          </p:cNvSpPr>
          <p:nvPr>
            <p:ph type="body" sz="quarter" idx="13" hasCustomPrompt="1"/>
          </p:nvPr>
        </p:nvSpPr>
        <p:spPr bwMode="gray">
          <a:xfrm>
            <a:off x="672000" y="1603200"/>
            <a:ext cx="6384967" cy="1260000"/>
          </a:xfrm>
        </p:spPr>
        <p:txBody>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9" name="Espace réservé du numéro de diapositive 8"/>
          <p:cNvSpPr>
            <a:spLocks noGrp="1"/>
          </p:cNvSpPr>
          <p:nvPr>
            <p:ph type="sldNum" sz="quarter" idx="15"/>
          </p:nvPr>
        </p:nvSpPr>
        <p:spPr bwMode="gray">
          <a:xfrm>
            <a:off x="672000" y="6327933"/>
            <a:ext cx="1200149" cy="530067"/>
          </a:xfrm>
          <a:prstGeom prst="rect">
            <a:avLst/>
          </a:prstGeom>
        </p:spPr>
        <p:txBody>
          <a:bodyPr/>
          <a:lstStyle/>
          <a:p>
            <a:pPr algn="l"/>
            <a:fld id="{733122C9-A0B9-462F-8757-0847AD287B63}" type="slidenum">
              <a:rPr lang="en-GB" noProof="0" smtClean="0"/>
              <a:pPr algn="l"/>
              <a:t>‹#›</a:t>
            </a:fld>
            <a:endParaRPr lang="en-GB" noProof="0"/>
          </a:p>
        </p:txBody>
      </p:sp>
      <p:sp>
        <p:nvSpPr>
          <p:cNvPr id="12" name="Espace réservé pour une image  8"/>
          <p:cNvSpPr>
            <a:spLocks noGrp="1"/>
          </p:cNvSpPr>
          <p:nvPr>
            <p:ph type="pic" sz="quarter" idx="17" hasCustomPrompt="1"/>
          </p:nvPr>
        </p:nvSpPr>
        <p:spPr bwMode="gray">
          <a:xfrm>
            <a:off x="7680176" y="753401"/>
            <a:ext cx="3839824" cy="5014516"/>
          </a:xfrm>
        </p:spPr>
        <p:txBody>
          <a:bodyPr tIns="1008000" anchor="ctr" anchorCtr="0"/>
          <a:lstStyle>
            <a:lvl1pPr algn="ctr">
              <a:defRPr/>
            </a:lvl1pPr>
          </a:lstStyle>
          <a:p>
            <a:r>
              <a:rPr lang="en-GB" noProof="0"/>
              <a:t>Select your own photo</a:t>
            </a:r>
          </a:p>
        </p:txBody>
      </p:sp>
    </p:spTree>
    <p:extLst>
      <p:ext uri="{BB962C8B-B14F-4D97-AF65-F5344CB8AC3E}">
        <p14:creationId xmlns:p14="http://schemas.microsoft.com/office/powerpoint/2010/main" val="662180570"/>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Text&amp;2_Contents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3" name="Espace réservé du contenu 2"/>
          <p:cNvSpPr>
            <a:spLocks noGrp="1"/>
          </p:cNvSpPr>
          <p:nvPr>
            <p:ph idx="1" hasCustomPrompt="1"/>
          </p:nvPr>
        </p:nvSpPr>
        <p:spPr bwMode="gray">
          <a:xfrm>
            <a:off x="672000" y="3309347"/>
            <a:ext cx="5424000" cy="2500800"/>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0" name="Espace réservé du texte 9"/>
          <p:cNvSpPr>
            <a:spLocks noGrp="1"/>
          </p:cNvSpPr>
          <p:nvPr>
            <p:ph type="body" sz="quarter" idx="13" hasCustomPrompt="1"/>
          </p:nvPr>
        </p:nvSpPr>
        <p:spPr bwMode="gray">
          <a:xfrm>
            <a:off x="672000" y="1603200"/>
            <a:ext cx="10848000" cy="1260000"/>
          </a:xfrm>
        </p:spPr>
        <p:txBody>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9" name="Espace réservé du numéro de diapositive 8"/>
          <p:cNvSpPr>
            <a:spLocks noGrp="1"/>
          </p:cNvSpPr>
          <p:nvPr>
            <p:ph type="sldNum" sz="quarter" idx="15"/>
          </p:nvPr>
        </p:nvSpPr>
        <p:spPr bwMode="gray">
          <a:xfrm>
            <a:off x="672000" y="6327933"/>
            <a:ext cx="1200149" cy="530067"/>
          </a:xfrm>
          <a:prstGeom prst="rect">
            <a:avLst/>
          </a:prstGeom>
        </p:spPr>
        <p:txBody>
          <a:bodyPr/>
          <a:lstStyle/>
          <a:p>
            <a:pPr algn="l"/>
            <a:fld id="{733122C9-A0B9-462F-8757-0847AD287B63}" type="slidenum">
              <a:rPr lang="en-GB" noProof="0" smtClean="0"/>
              <a:pPr algn="l"/>
              <a:t>‹#›</a:t>
            </a:fld>
            <a:endParaRPr lang="en-GB" noProof="0"/>
          </a:p>
        </p:txBody>
      </p:sp>
      <p:sp>
        <p:nvSpPr>
          <p:cNvPr id="12" name="Espace réservé du contenu 2"/>
          <p:cNvSpPr>
            <a:spLocks noGrp="1"/>
          </p:cNvSpPr>
          <p:nvPr>
            <p:ph idx="17" hasCustomPrompt="1"/>
          </p:nvPr>
        </p:nvSpPr>
        <p:spPr bwMode="gray">
          <a:xfrm>
            <a:off x="6768000" y="3309347"/>
            <a:ext cx="4752000" cy="2500800"/>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Tree>
    <p:extLst>
      <p:ext uri="{BB962C8B-B14F-4D97-AF65-F5344CB8AC3E}">
        <p14:creationId xmlns:p14="http://schemas.microsoft.com/office/powerpoint/2010/main" val="905997361"/>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Text&amp;3_Contents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3" name="Espace réservé du contenu 2"/>
          <p:cNvSpPr>
            <a:spLocks noGrp="1"/>
          </p:cNvSpPr>
          <p:nvPr>
            <p:ph idx="1" hasCustomPrompt="1"/>
          </p:nvPr>
        </p:nvSpPr>
        <p:spPr bwMode="gray">
          <a:xfrm>
            <a:off x="672000" y="3307200"/>
            <a:ext cx="3072000" cy="2500800"/>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0" name="Espace réservé du texte 9"/>
          <p:cNvSpPr>
            <a:spLocks noGrp="1"/>
          </p:cNvSpPr>
          <p:nvPr>
            <p:ph type="body" sz="quarter" idx="13" hasCustomPrompt="1"/>
          </p:nvPr>
        </p:nvSpPr>
        <p:spPr bwMode="gray">
          <a:xfrm>
            <a:off x="672000" y="1603200"/>
            <a:ext cx="10848000" cy="1260000"/>
          </a:xfrm>
        </p:spPr>
        <p:txBody>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9" name="Espace réservé du numéro de diapositive 8"/>
          <p:cNvSpPr>
            <a:spLocks noGrp="1"/>
          </p:cNvSpPr>
          <p:nvPr>
            <p:ph type="sldNum" sz="quarter" idx="15"/>
          </p:nvPr>
        </p:nvSpPr>
        <p:spPr bwMode="gray">
          <a:xfrm>
            <a:off x="672000" y="6327933"/>
            <a:ext cx="1200149" cy="530067"/>
          </a:xfrm>
          <a:prstGeom prst="rect">
            <a:avLst/>
          </a:prstGeom>
        </p:spPr>
        <p:txBody>
          <a:bodyPr/>
          <a:lstStyle/>
          <a:p>
            <a:pPr algn="l"/>
            <a:fld id="{733122C9-A0B9-462F-8757-0847AD287B63}" type="slidenum">
              <a:rPr lang="en-GB" noProof="0" smtClean="0"/>
              <a:pPr algn="l"/>
              <a:t>‹#›</a:t>
            </a:fld>
            <a:endParaRPr lang="en-GB" noProof="0"/>
          </a:p>
        </p:txBody>
      </p:sp>
      <p:sp>
        <p:nvSpPr>
          <p:cNvPr id="13" name="Espace réservé du contenu 2"/>
          <p:cNvSpPr>
            <a:spLocks noGrp="1"/>
          </p:cNvSpPr>
          <p:nvPr>
            <p:ph idx="17" hasCustomPrompt="1"/>
          </p:nvPr>
        </p:nvSpPr>
        <p:spPr bwMode="gray">
          <a:xfrm>
            <a:off x="4167359" y="3307200"/>
            <a:ext cx="3072000" cy="2500800"/>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4" name="Espace réservé du contenu 2"/>
          <p:cNvSpPr>
            <a:spLocks noGrp="1"/>
          </p:cNvSpPr>
          <p:nvPr>
            <p:ph idx="18" hasCustomPrompt="1"/>
          </p:nvPr>
        </p:nvSpPr>
        <p:spPr bwMode="gray">
          <a:xfrm>
            <a:off x="7646800" y="3307200"/>
            <a:ext cx="3072000" cy="2500800"/>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Tree>
    <p:extLst>
      <p:ext uri="{BB962C8B-B14F-4D97-AF65-F5344CB8AC3E}">
        <p14:creationId xmlns:p14="http://schemas.microsoft.com/office/powerpoint/2010/main" val="2669621006"/>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4_Contents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xfrm>
            <a:off x="672000" y="217251"/>
            <a:ext cx="10848000" cy="1036637"/>
          </a:xfrm>
        </p:spPr>
        <p:txBody>
          <a:bodyPr/>
          <a:lstStyle/>
          <a:p>
            <a:r>
              <a:rPr lang="en-GB" noProof="0"/>
              <a:t>TITLE</a:t>
            </a:r>
          </a:p>
        </p:txBody>
      </p:sp>
      <p:sp>
        <p:nvSpPr>
          <p:cNvPr id="3" name="Espace réservé du contenu 2"/>
          <p:cNvSpPr>
            <a:spLocks noGrp="1"/>
          </p:cNvSpPr>
          <p:nvPr>
            <p:ph idx="1" hasCustomPrompt="1"/>
          </p:nvPr>
        </p:nvSpPr>
        <p:spPr bwMode="gray">
          <a:xfrm>
            <a:off x="672000" y="1603200"/>
            <a:ext cx="5424000" cy="2035200"/>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8" name="Espace réservé du numéro de diapositive 7"/>
          <p:cNvSpPr>
            <a:spLocks noGrp="1"/>
          </p:cNvSpPr>
          <p:nvPr>
            <p:ph type="sldNum" sz="quarter" idx="11"/>
          </p:nvPr>
        </p:nvSpPr>
        <p:spPr bwMode="gray">
          <a:xfrm>
            <a:off x="672000" y="6327933"/>
            <a:ext cx="1200149" cy="530067"/>
          </a:xfrm>
          <a:prstGeom prst="rect">
            <a:avLst/>
          </a:prstGeom>
        </p:spPr>
        <p:txBody>
          <a:bodyPr/>
          <a:lstStyle/>
          <a:p>
            <a:pPr algn="l"/>
            <a:fld id="{733122C9-A0B9-462F-8757-0847AD287B63}" type="slidenum">
              <a:rPr lang="en-GB" noProof="0" smtClean="0"/>
              <a:pPr algn="l"/>
              <a:t>‹#›</a:t>
            </a:fld>
            <a:endParaRPr lang="en-GB" noProof="0"/>
          </a:p>
        </p:txBody>
      </p:sp>
      <p:sp>
        <p:nvSpPr>
          <p:cNvPr id="9" name="Espace réservé du contenu 2"/>
          <p:cNvSpPr>
            <a:spLocks noGrp="1"/>
          </p:cNvSpPr>
          <p:nvPr>
            <p:ph idx="13" hasCustomPrompt="1"/>
          </p:nvPr>
        </p:nvSpPr>
        <p:spPr bwMode="gray">
          <a:xfrm>
            <a:off x="6096000" y="1603200"/>
            <a:ext cx="5424000" cy="2035200"/>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3" name="Espace réservé du contenu 2"/>
          <p:cNvSpPr>
            <a:spLocks noGrp="1"/>
          </p:cNvSpPr>
          <p:nvPr>
            <p:ph idx="14" hasCustomPrompt="1"/>
          </p:nvPr>
        </p:nvSpPr>
        <p:spPr bwMode="gray">
          <a:xfrm>
            <a:off x="672000" y="3771388"/>
            <a:ext cx="5424000" cy="2034629"/>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4" name="Espace réservé du contenu 2"/>
          <p:cNvSpPr>
            <a:spLocks noGrp="1"/>
          </p:cNvSpPr>
          <p:nvPr>
            <p:ph idx="15" hasCustomPrompt="1"/>
          </p:nvPr>
        </p:nvSpPr>
        <p:spPr bwMode="gray">
          <a:xfrm>
            <a:off x="6096000" y="3771388"/>
            <a:ext cx="5424000" cy="2034629"/>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Tree>
    <p:extLst>
      <p:ext uri="{BB962C8B-B14F-4D97-AF65-F5344CB8AC3E}">
        <p14:creationId xmlns:p14="http://schemas.microsoft.com/office/powerpoint/2010/main" val="3413574022"/>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Picture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9" name="Espace réservé du numéro de diapositive 8"/>
          <p:cNvSpPr>
            <a:spLocks noGrp="1"/>
          </p:cNvSpPr>
          <p:nvPr>
            <p:ph type="sldNum" sz="quarter" idx="15"/>
          </p:nvPr>
        </p:nvSpPr>
        <p:spPr bwMode="gray">
          <a:xfrm>
            <a:off x="672000" y="6327933"/>
            <a:ext cx="1200149" cy="530067"/>
          </a:xfrm>
          <a:prstGeom prst="rect">
            <a:avLst/>
          </a:prstGeom>
        </p:spPr>
        <p:txBody>
          <a:bodyPr/>
          <a:lstStyle/>
          <a:p>
            <a:pPr algn="l"/>
            <a:fld id="{733122C9-A0B9-462F-8757-0847AD287B63}" type="slidenum">
              <a:rPr lang="en-GB" noProof="0" smtClean="0"/>
              <a:pPr algn="l"/>
              <a:t>‹#›</a:t>
            </a:fld>
            <a:endParaRPr lang="en-GB" noProof="0"/>
          </a:p>
        </p:txBody>
      </p:sp>
      <p:sp>
        <p:nvSpPr>
          <p:cNvPr id="12" name="Espace réservé pour une image  8"/>
          <p:cNvSpPr>
            <a:spLocks noGrp="1"/>
          </p:cNvSpPr>
          <p:nvPr>
            <p:ph type="pic" sz="quarter" idx="17" hasCustomPrompt="1"/>
          </p:nvPr>
        </p:nvSpPr>
        <p:spPr bwMode="gray">
          <a:xfrm>
            <a:off x="672000" y="1603201"/>
            <a:ext cx="10848000" cy="4156800"/>
          </a:xfrm>
        </p:spPr>
        <p:txBody>
          <a:bodyPr tIns="1008000" anchor="ctr" anchorCtr="0"/>
          <a:lstStyle>
            <a:lvl1pPr algn="ctr">
              <a:defRPr/>
            </a:lvl1pPr>
          </a:lstStyle>
          <a:p>
            <a:r>
              <a:rPr lang="en-GB" noProof="0"/>
              <a:t>Select your own photo</a:t>
            </a:r>
          </a:p>
        </p:txBody>
      </p:sp>
    </p:spTree>
    <p:extLst>
      <p:ext uri="{BB962C8B-B14F-4D97-AF65-F5344CB8AC3E}">
        <p14:creationId xmlns:p14="http://schemas.microsoft.com/office/powerpoint/2010/main" val="824592140"/>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Text&amp;4_Blocks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10" name="Espace réservé du texte 9"/>
          <p:cNvSpPr>
            <a:spLocks noGrp="1"/>
          </p:cNvSpPr>
          <p:nvPr>
            <p:ph type="body" sz="quarter" idx="13" hasCustomPrompt="1"/>
          </p:nvPr>
        </p:nvSpPr>
        <p:spPr bwMode="gray">
          <a:xfrm>
            <a:off x="672000" y="1603200"/>
            <a:ext cx="10848000" cy="936627"/>
          </a:xfrm>
        </p:spPr>
        <p:txBody>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9" name="Espace réservé du numéro de diapositive 8"/>
          <p:cNvSpPr>
            <a:spLocks noGrp="1"/>
          </p:cNvSpPr>
          <p:nvPr>
            <p:ph type="sldNum" sz="quarter" idx="15"/>
          </p:nvPr>
        </p:nvSpPr>
        <p:spPr bwMode="gray">
          <a:xfrm>
            <a:off x="672000" y="6327933"/>
            <a:ext cx="1200149" cy="530067"/>
          </a:xfrm>
          <a:prstGeom prst="rect">
            <a:avLst/>
          </a:prstGeom>
        </p:spPr>
        <p:txBody>
          <a:bodyPr/>
          <a:lstStyle/>
          <a:p>
            <a:pPr algn="l"/>
            <a:fld id="{733122C9-A0B9-462F-8757-0847AD287B63}" type="slidenum">
              <a:rPr lang="en-GB" noProof="0" smtClean="0"/>
              <a:pPr algn="l"/>
              <a:t>‹#›</a:t>
            </a:fld>
            <a:endParaRPr lang="en-GB" noProof="0"/>
          </a:p>
        </p:txBody>
      </p:sp>
      <p:sp>
        <p:nvSpPr>
          <p:cNvPr id="21" name="Espace réservé du texte 9"/>
          <p:cNvSpPr>
            <a:spLocks noGrp="1"/>
          </p:cNvSpPr>
          <p:nvPr>
            <p:ph type="body" sz="quarter" idx="19" hasCustomPrompt="1"/>
          </p:nvPr>
        </p:nvSpPr>
        <p:spPr bwMode="gray">
          <a:xfrm>
            <a:off x="672000" y="2638824"/>
            <a:ext cx="4896000" cy="324000"/>
          </a:xfrm>
          <a:solidFill>
            <a:schemeClr val="accent1"/>
          </a:solidFill>
          <a:ln w="9525">
            <a:solidFill>
              <a:schemeClr val="accent1"/>
            </a:solidFill>
          </a:ln>
        </p:spPr>
        <p:txBody>
          <a:bodyPr anchor="ctr" anchorCtr="0"/>
          <a:lstStyle>
            <a:lvl1pPr algn="ctr">
              <a:lnSpc>
                <a:spcPct val="100000"/>
              </a:lnSpc>
              <a:defRPr>
                <a:solidFill>
                  <a:schemeClr val="bg1"/>
                </a:solidFill>
              </a:defRPr>
            </a:lvl1pPr>
          </a:lstStyle>
          <a:p>
            <a:pPr lvl="0"/>
            <a:r>
              <a:rPr lang="en-GB" noProof="0"/>
              <a:t>Text level 1</a:t>
            </a:r>
          </a:p>
        </p:txBody>
      </p:sp>
      <p:sp>
        <p:nvSpPr>
          <p:cNvPr id="22" name="Espace réservé du texte 9"/>
          <p:cNvSpPr>
            <a:spLocks noGrp="1"/>
          </p:cNvSpPr>
          <p:nvPr>
            <p:ph type="body" sz="quarter" idx="20" hasCustomPrompt="1"/>
          </p:nvPr>
        </p:nvSpPr>
        <p:spPr bwMode="gray">
          <a:xfrm>
            <a:off x="672000" y="2962824"/>
            <a:ext cx="4896000" cy="2352000"/>
          </a:xfrm>
          <a:ln w="9525">
            <a:solidFill>
              <a:schemeClr val="accent1"/>
            </a:solidFill>
          </a:ln>
        </p:spPr>
        <p:txBody>
          <a:bodyPr tIns="72000"/>
          <a:lstStyle>
            <a:lvl1pPr marL="431989" indent="-239994">
              <a:lnSpc>
                <a:spcPct val="100000"/>
              </a:lnSpc>
              <a:spcBef>
                <a:spcPts val="400"/>
              </a:spcBef>
              <a:buClr>
                <a:schemeClr val="accent3"/>
              </a:buClr>
              <a:buFont typeface="Arial" pitchFamily="34" charset="0"/>
              <a:buChar char="•"/>
              <a:defRPr sz="2400">
                <a:solidFill>
                  <a:schemeClr val="tx1"/>
                </a:solidFill>
              </a:defRPr>
            </a:lvl1pPr>
            <a:lvl2pPr marL="671983">
              <a:buClr>
                <a:schemeClr val="tx1"/>
              </a:buClr>
              <a:defRPr sz="2133" b="0"/>
            </a:lvl2pPr>
            <a:lvl3pPr indent="0">
              <a:buNone/>
              <a:defRPr/>
            </a:lvl3pPr>
            <a:lvl4pPr marL="911977" indent="-239994">
              <a:buClr>
                <a:schemeClr val="tx1"/>
              </a:buClr>
              <a:buFont typeface="Arial" pitchFamily="34" charset="0"/>
              <a:buChar char="•"/>
              <a:defRPr sz="1867"/>
            </a:lvl4pPr>
          </a:lstStyle>
          <a:p>
            <a:pPr lvl="0"/>
            <a:r>
              <a:rPr lang="en-GB" noProof="0"/>
              <a:t>Text level 2</a:t>
            </a:r>
          </a:p>
          <a:p>
            <a:pPr lvl="1"/>
            <a:r>
              <a:rPr lang="en-GB" noProof="0"/>
              <a:t>Text level 3</a:t>
            </a:r>
          </a:p>
          <a:p>
            <a:pPr lvl="2"/>
            <a:r>
              <a:rPr lang="en-GB" noProof="0"/>
              <a:t>Text level 4</a:t>
            </a:r>
          </a:p>
          <a:p>
            <a:pPr lvl="3"/>
            <a:r>
              <a:rPr lang="en-GB" noProof="0"/>
              <a:t>Text level 5</a:t>
            </a:r>
          </a:p>
        </p:txBody>
      </p:sp>
      <p:sp>
        <p:nvSpPr>
          <p:cNvPr id="23" name="Espace réservé du texte 9"/>
          <p:cNvSpPr>
            <a:spLocks noGrp="1"/>
          </p:cNvSpPr>
          <p:nvPr>
            <p:ph type="body" sz="quarter" idx="21" hasCustomPrompt="1"/>
          </p:nvPr>
        </p:nvSpPr>
        <p:spPr bwMode="gray">
          <a:xfrm>
            <a:off x="6096000" y="2638824"/>
            <a:ext cx="4896000" cy="324000"/>
          </a:xfrm>
          <a:solidFill>
            <a:schemeClr val="accent2"/>
          </a:solidFill>
          <a:ln w="9525">
            <a:solidFill>
              <a:schemeClr val="accent2"/>
            </a:solidFill>
          </a:ln>
        </p:spPr>
        <p:txBody>
          <a:bodyPr anchor="ctr" anchorCtr="0"/>
          <a:lstStyle>
            <a:lvl1pPr algn="ctr">
              <a:lnSpc>
                <a:spcPct val="100000"/>
              </a:lnSpc>
              <a:defRPr>
                <a:solidFill>
                  <a:schemeClr val="bg1"/>
                </a:solidFill>
              </a:defRPr>
            </a:lvl1pPr>
          </a:lstStyle>
          <a:p>
            <a:pPr lvl="0"/>
            <a:r>
              <a:rPr lang="en-GB" noProof="0"/>
              <a:t>Text level 1</a:t>
            </a:r>
          </a:p>
        </p:txBody>
      </p:sp>
      <p:sp>
        <p:nvSpPr>
          <p:cNvPr id="24" name="Espace réservé du texte 9"/>
          <p:cNvSpPr>
            <a:spLocks noGrp="1"/>
          </p:cNvSpPr>
          <p:nvPr>
            <p:ph type="body" sz="quarter" idx="22" hasCustomPrompt="1"/>
          </p:nvPr>
        </p:nvSpPr>
        <p:spPr bwMode="gray">
          <a:xfrm>
            <a:off x="6096000" y="2962824"/>
            <a:ext cx="4896000" cy="2352000"/>
          </a:xfrm>
          <a:ln w="9525">
            <a:solidFill>
              <a:schemeClr val="accent2"/>
            </a:solidFill>
          </a:ln>
        </p:spPr>
        <p:txBody>
          <a:bodyPr tIns="72000"/>
          <a:lstStyle>
            <a:lvl1pPr marL="431989" indent="-239994">
              <a:lnSpc>
                <a:spcPct val="100000"/>
              </a:lnSpc>
              <a:spcBef>
                <a:spcPts val="400"/>
              </a:spcBef>
              <a:buClr>
                <a:schemeClr val="accent3"/>
              </a:buClr>
              <a:buFont typeface="Arial" pitchFamily="34" charset="0"/>
              <a:buChar char="•"/>
              <a:defRPr sz="2400">
                <a:solidFill>
                  <a:schemeClr val="tx1"/>
                </a:solidFill>
              </a:defRPr>
            </a:lvl1pPr>
            <a:lvl2pPr marL="671983">
              <a:buClr>
                <a:schemeClr val="tx1"/>
              </a:buClr>
              <a:defRPr sz="2133" b="0"/>
            </a:lvl2pPr>
            <a:lvl3pPr indent="0">
              <a:buNone/>
              <a:defRPr/>
            </a:lvl3pPr>
            <a:lvl4pPr marL="911977" indent="-239994">
              <a:buClr>
                <a:schemeClr val="tx1"/>
              </a:buClr>
              <a:buFont typeface="Arial" pitchFamily="34" charset="0"/>
              <a:buChar char="•"/>
              <a:defRPr sz="1867"/>
            </a:lvl4pPr>
          </a:lstStyle>
          <a:p>
            <a:pPr lvl="0"/>
            <a:r>
              <a:rPr lang="en-GB" noProof="0"/>
              <a:t>Text level 2</a:t>
            </a:r>
          </a:p>
          <a:p>
            <a:pPr lvl="1"/>
            <a:r>
              <a:rPr lang="en-GB" noProof="0"/>
              <a:t>Text level 3</a:t>
            </a:r>
          </a:p>
          <a:p>
            <a:pPr lvl="2"/>
            <a:r>
              <a:rPr lang="en-GB" noProof="0"/>
              <a:t>Text level 4</a:t>
            </a:r>
          </a:p>
          <a:p>
            <a:pPr lvl="3"/>
            <a:r>
              <a:rPr lang="en-GB" noProof="0"/>
              <a:t>Text level 5</a:t>
            </a:r>
          </a:p>
        </p:txBody>
      </p:sp>
    </p:spTree>
    <p:extLst>
      <p:ext uri="{BB962C8B-B14F-4D97-AF65-F5344CB8AC3E}">
        <p14:creationId xmlns:p14="http://schemas.microsoft.com/office/powerpoint/2010/main" val="2461004763"/>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4_Blocks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9" name="Espace réservé du numéro de diapositive 8"/>
          <p:cNvSpPr>
            <a:spLocks noGrp="1"/>
          </p:cNvSpPr>
          <p:nvPr>
            <p:ph type="sldNum" sz="quarter" idx="15"/>
          </p:nvPr>
        </p:nvSpPr>
        <p:spPr bwMode="gray">
          <a:xfrm>
            <a:off x="672000" y="6327933"/>
            <a:ext cx="1200149" cy="530067"/>
          </a:xfrm>
          <a:prstGeom prst="rect">
            <a:avLst/>
          </a:prstGeom>
        </p:spPr>
        <p:txBody>
          <a:bodyPr/>
          <a:lstStyle/>
          <a:p>
            <a:pPr algn="l"/>
            <a:fld id="{733122C9-A0B9-462F-8757-0847AD287B63}" type="slidenum">
              <a:rPr lang="en-GB" noProof="0" smtClean="0"/>
              <a:pPr algn="l"/>
              <a:t>‹#›</a:t>
            </a:fld>
            <a:endParaRPr lang="en-GB" noProof="0"/>
          </a:p>
        </p:txBody>
      </p:sp>
      <p:pic>
        <p:nvPicPr>
          <p:cNvPr id="10" name="table"/>
          <p:cNvPicPr>
            <a:picLocks noChangeAspect="1"/>
          </p:cNvPicPr>
          <p:nvPr userDrawn="1"/>
        </p:nvPicPr>
        <p:blipFill>
          <a:blip r:embed="rId2"/>
          <a:stretch>
            <a:fillRect/>
          </a:stretch>
        </p:blipFill>
        <p:spPr>
          <a:xfrm>
            <a:off x="1192419" y="1653712"/>
            <a:ext cx="4465240" cy="1788160"/>
          </a:xfrm>
          <a:prstGeom prst="rect">
            <a:avLst/>
          </a:prstGeom>
        </p:spPr>
      </p:pic>
      <p:pic>
        <p:nvPicPr>
          <p:cNvPr id="12" name="table"/>
          <p:cNvPicPr>
            <a:picLocks noChangeAspect="1"/>
          </p:cNvPicPr>
          <p:nvPr userDrawn="1"/>
        </p:nvPicPr>
        <p:blipFill>
          <a:blip r:embed="rId3"/>
          <a:stretch>
            <a:fillRect/>
          </a:stretch>
        </p:blipFill>
        <p:spPr>
          <a:xfrm>
            <a:off x="6534343" y="1653712"/>
            <a:ext cx="4465240" cy="1788160"/>
          </a:xfrm>
          <a:prstGeom prst="rect">
            <a:avLst/>
          </a:prstGeom>
        </p:spPr>
      </p:pic>
      <p:pic>
        <p:nvPicPr>
          <p:cNvPr id="13" name="table"/>
          <p:cNvPicPr>
            <a:picLocks noChangeAspect="1"/>
          </p:cNvPicPr>
          <p:nvPr userDrawn="1"/>
        </p:nvPicPr>
        <p:blipFill>
          <a:blip r:embed="rId4"/>
          <a:stretch>
            <a:fillRect/>
          </a:stretch>
        </p:blipFill>
        <p:spPr>
          <a:xfrm>
            <a:off x="1192419" y="3813043"/>
            <a:ext cx="4465240" cy="1788160"/>
          </a:xfrm>
          <a:prstGeom prst="rect">
            <a:avLst/>
          </a:prstGeom>
        </p:spPr>
      </p:pic>
      <p:pic>
        <p:nvPicPr>
          <p:cNvPr id="14" name="table"/>
          <p:cNvPicPr>
            <a:picLocks noChangeAspect="1"/>
          </p:cNvPicPr>
          <p:nvPr userDrawn="1"/>
        </p:nvPicPr>
        <p:blipFill>
          <a:blip r:embed="rId5"/>
          <a:stretch>
            <a:fillRect/>
          </a:stretch>
        </p:blipFill>
        <p:spPr>
          <a:xfrm>
            <a:off x="6534343" y="3813043"/>
            <a:ext cx="4465240" cy="1788160"/>
          </a:xfrm>
          <a:prstGeom prst="rect">
            <a:avLst/>
          </a:prstGeom>
        </p:spPr>
      </p:pic>
    </p:spTree>
    <p:extLst>
      <p:ext uri="{BB962C8B-B14F-4D97-AF65-F5344CB8AC3E}">
        <p14:creationId xmlns:p14="http://schemas.microsoft.com/office/powerpoint/2010/main" val="3290525874"/>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2_Blocks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9" name="Espace réservé du numéro de diapositive 8"/>
          <p:cNvSpPr>
            <a:spLocks noGrp="1"/>
          </p:cNvSpPr>
          <p:nvPr>
            <p:ph type="sldNum" sz="quarter" idx="15"/>
          </p:nvPr>
        </p:nvSpPr>
        <p:spPr bwMode="gray">
          <a:xfrm>
            <a:off x="672000" y="6327933"/>
            <a:ext cx="1200149" cy="530067"/>
          </a:xfrm>
          <a:prstGeom prst="rect">
            <a:avLst/>
          </a:prstGeom>
        </p:spPr>
        <p:txBody>
          <a:bodyPr/>
          <a:lstStyle/>
          <a:p>
            <a:pPr algn="l"/>
            <a:fld id="{733122C9-A0B9-462F-8757-0847AD287B63}" type="slidenum">
              <a:rPr lang="en-GB" noProof="0" smtClean="0"/>
              <a:pPr algn="l"/>
              <a:t>‹#›</a:t>
            </a:fld>
            <a:endParaRPr lang="en-GB" noProof="0"/>
          </a:p>
        </p:txBody>
      </p:sp>
      <p:sp>
        <p:nvSpPr>
          <p:cNvPr id="21" name="Espace réservé du texte 9"/>
          <p:cNvSpPr>
            <a:spLocks noGrp="1"/>
          </p:cNvSpPr>
          <p:nvPr>
            <p:ph type="body" sz="quarter" idx="19" hasCustomPrompt="1"/>
          </p:nvPr>
        </p:nvSpPr>
        <p:spPr bwMode="gray">
          <a:xfrm>
            <a:off x="672000" y="1651200"/>
            <a:ext cx="4896000" cy="335715"/>
          </a:xfrm>
          <a:solidFill>
            <a:schemeClr val="accent2"/>
          </a:solidFill>
          <a:ln w="9525">
            <a:solidFill>
              <a:schemeClr val="bg2"/>
            </a:solidFill>
          </a:ln>
        </p:spPr>
        <p:txBody>
          <a:bodyPr anchor="ctr" anchorCtr="0"/>
          <a:lstStyle>
            <a:lvl1pPr algn="ctr">
              <a:lnSpc>
                <a:spcPct val="100000"/>
              </a:lnSpc>
              <a:defRPr>
                <a:solidFill>
                  <a:schemeClr val="bg1"/>
                </a:solidFill>
              </a:defRPr>
            </a:lvl1pPr>
          </a:lstStyle>
          <a:p>
            <a:pPr lvl="0"/>
            <a:r>
              <a:rPr lang="en-GB" noProof="0"/>
              <a:t>Text level 1</a:t>
            </a:r>
          </a:p>
        </p:txBody>
      </p:sp>
      <p:sp>
        <p:nvSpPr>
          <p:cNvPr id="22" name="Espace réservé du texte 9"/>
          <p:cNvSpPr>
            <a:spLocks noGrp="1"/>
          </p:cNvSpPr>
          <p:nvPr>
            <p:ph type="body" sz="quarter" idx="20" hasCustomPrompt="1"/>
          </p:nvPr>
        </p:nvSpPr>
        <p:spPr bwMode="gray">
          <a:xfrm>
            <a:off x="672000" y="1985432"/>
            <a:ext cx="4896000" cy="3561600"/>
          </a:xfrm>
          <a:ln w="9525">
            <a:solidFill>
              <a:schemeClr val="bg2"/>
            </a:solidFill>
          </a:ln>
        </p:spPr>
        <p:txBody>
          <a:bodyPr tIns="72000"/>
          <a:lstStyle>
            <a:lvl1pPr marL="431989" indent="-239994">
              <a:lnSpc>
                <a:spcPct val="100000"/>
              </a:lnSpc>
              <a:spcBef>
                <a:spcPts val="400"/>
              </a:spcBef>
              <a:buClr>
                <a:schemeClr val="accent3"/>
              </a:buClr>
              <a:buFont typeface="Arial" pitchFamily="34" charset="0"/>
              <a:buChar char="•"/>
              <a:defRPr sz="2400">
                <a:solidFill>
                  <a:schemeClr val="tx1"/>
                </a:solidFill>
              </a:defRPr>
            </a:lvl1pPr>
            <a:lvl2pPr marL="671983">
              <a:buClr>
                <a:schemeClr val="tx1"/>
              </a:buClr>
              <a:defRPr sz="2133" b="0"/>
            </a:lvl2pPr>
            <a:lvl3pPr indent="0">
              <a:buNone/>
              <a:defRPr/>
            </a:lvl3pPr>
            <a:lvl4pPr marL="911977" indent="-239994">
              <a:buClr>
                <a:schemeClr val="tx1"/>
              </a:buClr>
              <a:buFont typeface="Arial" pitchFamily="34" charset="0"/>
              <a:buChar char="•"/>
              <a:defRPr sz="1867"/>
            </a:lvl4pPr>
          </a:lstStyle>
          <a:p>
            <a:pPr lvl="0"/>
            <a:r>
              <a:rPr lang="en-GB" noProof="0"/>
              <a:t>Text level 2</a:t>
            </a:r>
          </a:p>
          <a:p>
            <a:pPr lvl="1"/>
            <a:r>
              <a:rPr lang="en-GB" noProof="0"/>
              <a:t>Text level 3</a:t>
            </a:r>
          </a:p>
          <a:p>
            <a:pPr lvl="2"/>
            <a:r>
              <a:rPr lang="en-GB" noProof="0"/>
              <a:t>Text level 4</a:t>
            </a:r>
          </a:p>
          <a:p>
            <a:pPr lvl="3"/>
            <a:r>
              <a:rPr lang="en-GB" noProof="0"/>
              <a:t>Text level 5</a:t>
            </a:r>
          </a:p>
        </p:txBody>
      </p:sp>
      <p:sp>
        <p:nvSpPr>
          <p:cNvPr id="23" name="Espace réservé du texte 9"/>
          <p:cNvSpPr>
            <a:spLocks noGrp="1"/>
          </p:cNvSpPr>
          <p:nvPr>
            <p:ph type="body" sz="quarter" idx="21" hasCustomPrompt="1"/>
          </p:nvPr>
        </p:nvSpPr>
        <p:spPr bwMode="gray">
          <a:xfrm>
            <a:off x="6096795" y="1651200"/>
            <a:ext cx="4896000" cy="335715"/>
          </a:xfrm>
          <a:solidFill>
            <a:schemeClr val="accent2"/>
          </a:solidFill>
          <a:ln w="9525">
            <a:solidFill>
              <a:schemeClr val="bg2"/>
            </a:solidFill>
          </a:ln>
        </p:spPr>
        <p:txBody>
          <a:bodyPr anchor="ctr" anchorCtr="0"/>
          <a:lstStyle>
            <a:lvl1pPr algn="ctr">
              <a:lnSpc>
                <a:spcPct val="100000"/>
              </a:lnSpc>
              <a:defRPr>
                <a:solidFill>
                  <a:schemeClr val="bg1"/>
                </a:solidFill>
              </a:defRPr>
            </a:lvl1pPr>
          </a:lstStyle>
          <a:p>
            <a:pPr lvl="0"/>
            <a:r>
              <a:rPr lang="en-GB" noProof="0"/>
              <a:t>Text level 1</a:t>
            </a:r>
          </a:p>
        </p:txBody>
      </p:sp>
      <p:sp>
        <p:nvSpPr>
          <p:cNvPr id="24" name="Espace réservé du texte 9"/>
          <p:cNvSpPr>
            <a:spLocks noGrp="1"/>
          </p:cNvSpPr>
          <p:nvPr>
            <p:ph type="body" sz="quarter" idx="22" hasCustomPrompt="1"/>
          </p:nvPr>
        </p:nvSpPr>
        <p:spPr bwMode="gray">
          <a:xfrm>
            <a:off x="6096795" y="1985432"/>
            <a:ext cx="4896000" cy="3561600"/>
          </a:xfrm>
          <a:ln w="9525">
            <a:solidFill>
              <a:schemeClr val="bg2"/>
            </a:solidFill>
          </a:ln>
        </p:spPr>
        <p:txBody>
          <a:bodyPr tIns="72000"/>
          <a:lstStyle>
            <a:lvl1pPr marL="431989" indent="-239994">
              <a:lnSpc>
                <a:spcPct val="100000"/>
              </a:lnSpc>
              <a:spcBef>
                <a:spcPts val="400"/>
              </a:spcBef>
              <a:buClr>
                <a:schemeClr val="accent3"/>
              </a:buClr>
              <a:buFont typeface="Arial" pitchFamily="34" charset="0"/>
              <a:buChar char="•"/>
              <a:defRPr sz="2400">
                <a:solidFill>
                  <a:schemeClr val="tx1"/>
                </a:solidFill>
              </a:defRPr>
            </a:lvl1pPr>
            <a:lvl2pPr marL="671983">
              <a:buClr>
                <a:schemeClr val="tx1"/>
              </a:buClr>
              <a:defRPr sz="2133" b="0"/>
            </a:lvl2pPr>
            <a:lvl3pPr indent="0">
              <a:buNone/>
              <a:defRPr/>
            </a:lvl3pPr>
            <a:lvl4pPr marL="911977" indent="-239994">
              <a:buClr>
                <a:schemeClr val="tx1"/>
              </a:buClr>
              <a:buFont typeface="Arial" pitchFamily="34" charset="0"/>
              <a:buChar char="•"/>
              <a:defRPr sz="1867"/>
            </a:lvl4pPr>
          </a:lstStyle>
          <a:p>
            <a:pPr lvl="0"/>
            <a:r>
              <a:rPr lang="en-GB" noProof="0"/>
              <a:t>Text level 2</a:t>
            </a:r>
          </a:p>
          <a:p>
            <a:pPr lvl="1"/>
            <a:r>
              <a:rPr lang="en-GB" noProof="0"/>
              <a:t>Text level 3</a:t>
            </a:r>
          </a:p>
          <a:p>
            <a:pPr lvl="2"/>
            <a:r>
              <a:rPr lang="en-GB" noProof="0"/>
              <a:t>Text level 4</a:t>
            </a:r>
          </a:p>
          <a:p>
            <a:pPr lvl="3"/>
            <a:r>
              <a:rPr lang="en-GB" noProof="0"/>
              <a:t>Text level 5</a:t>
            </a:r>
          </a:p>
        </p:txBody>
      </p:sp>
    </p:spTree>
    <p:extLst>
      <p:ext uri="{BB962C8B-B14F-4D97-AF65-F5344CB8AC3E}">
        <p14:creationId xmlns:p14="http://schemas.microsoft.com/office/powerpoint/2010/main" val="520291777"/>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hank_you_2">
    <p:spTree>
      <p:nvGrpSpPr>
        <p:cNvPr id="1" name=""/>
        <p:cNvGrpSpPr/>
        <p:nvPr/>
      </p:nvGrpSpPr>
      <p:grpSpPr>
        <a:xfrm>
          <a:off x="0" y="0"/>
          <a:ext cx="0" cy="0"/>
          <a:chOff x="0" y="0"/>
          <a:chExt cx="0" cy="0"/>
        </a:xfrm>
      </p:grpSpPr>
      <p:pic>
        <p:nvPicPr>
          <p:cNvPr id="18" name="Image 17" descr="Image_03.jpg"/>
          <p:cNvPicPr>
            <a:picLocks noChangeAspect="1"/>
          </p:cNvPicPr>
          <p:nvPr userDrawn="1"/>
        </p:nvPicPr>
        <p:blipFill>
          <a:blip r:embed="rId2" cstate="print"/>
          <a:stretch>
            <a:fillRect/>
          </a:stretch>
        </p:blipFill>
        <p:spPr bwMode="gray">
          <a:xfrm>
            <a:off x="6620071" y="-16850"/>
            <a:ext cx="5591179" cy="5712068"/>
          </a:xfrm>
          <a:prstGeom prst="rect">
            <a:avLst/>
          </a:prstGeom>
        </p:spPr>
      </p:pic>
      <p:sp>
        <p:nvSpPr>
          <p:cNvPr id="13" name="Forme libre 12"/>
          <p:cNvSpPr/>
          <p:nvPr userDrawn="1"/>
        </p:nvSpPr>
        <p:spPr>
          <a:xfrm>
            <a:off x="3" y="0"/>
            <a:ext cx="9394668" cy="5160000"/>
          </a:xfrm>
          <a:custGeom>
            <a:avLst/>
            <a:gdLst>
              <a:gd name="connsiteX0" fmla="*/ 0 w 7046001"/>
              <a:gd name="connsiteY0" fmla="*/ 0 h 3870000"/>
              <a:gd name="connsiteX1" fmla="*/ 7046001 w 7046001"/>
              <a:gd name="connsiteY1" fmla="*/ 0 h 3870000"/>
              <a:gd name="connsiteX2" fmla="*/ 5146256 w 7046001"/>
              <a:gd name="connsiteY2" fmla="*/ 3580448 h 3870000"/>
              <a:gd name="connsiteX3" fmla="*/ 5116340 w 7046001"/>
              <a:gd name="connsiteY3" fmla="*/ 3870000 h 3870000"/>
              <a:gd name="connsiteX4" fmla="*/ 0 w 7046001"/>
              <a:gd name="connsiteY4" fmla="*/ 3870000 h 387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46001" h="3870000">
                <a:moveTo>
                  <a:pt x="0" y="0"/>
                </a:moveTo>
                <a:lnTo>
                  <a:pt x="7046001" y="0"/>
                </a:lnTo>
                <a:cubicBezTo>
                  <a:pt x="7040718" y="945283"/>
                  <a:pt x="5396983" y="2115735"/>
                  <a:pt x="5146256" y="3580448"/>
                </a:cubicBezTo>
                <a:lnTo>
                  <a:pt x="5116340" y="3870000"/>
                </a:lnTo>
                <a:lnTo>
                  <a:pt x="0" y="3870000"/>
                </a:lnTo>
                <a:close/>
              </a:path>
            </a:pathLst>
          </a:custGeom>
          <a:blipFill>
            <a:blip r:embed="rId3"/>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22" name="Rectangle 21"/>
          <p:cNvSpPr/>
          <p:nvPr userDrawn="1"/>
        </p:nvSpPr>
        <p:spPr bwMode="gray">
          <a:xfrm>
            <a:off x="4847169" y="5265205"/>
            <a:ext cx="7344833" cy="15927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sp>
        <p:nvSpPr>
          <p:cNvPr id="9" name="Espace réservé du texte 8"/>
          <p:cNvSpPr>
            <a:spLocks noGrp="1"/>
          </p:cNvSpPr>
          <p:nvPr>
            <p:ph type="body" sz="quarter" idx="13" hasCustomPrompt="1"/>
          </p:nvPr>
        </p:nvSpPr>
        <p:spPr bwMode="gray">
          <a:xfrm>
            <a:off x="672000" y="974400"/>
            <a:ext cx="6384000" cy="2232000"/>
          </a:xfrm>
        </p:spPr>
        <p:txBody>
          <a:bodyPr anchor="b" anchorCtr="0"/>
          <a:lstStyle>
            <a:lvl1pPr marL="0" indent="0" algn="l">
              <a:lnSpc>
                <a:spcPct val="90000"/>
              </a:lnSpc>
              <a:buNone/>
              <a:defRPr sz="3733" b="1" cap="none" baseline="0">
                <a:solidFill>
                  <a:schemeClr val="bg1"/>
                </a:solidFill>
              </a:defRPr>
            </a:lvl1pPr>
            <a:lvl2pPr marL="0" algn="ctr">
              <a:lnSpc>
                <a:spcPct val="100000"/>
              </a:lnSpc>
              <a:spcBef>
                <a:spcPts val="9200"/>
              </a:spcBef>
              <a:defRPr sz="2667" b="1">
                <a:solidFill>
                  <a:schemeClr val="bg1"/>
                </a:solidFill>
              </a:defRPr>
            </a:lvl2pPr>
          </a:lstStyle>
          <a:p>
            <a:pPr lvl="0"/>
            <a:r>
              <a:rPr lang="en-GB" noProof="0"/>
              <a:t>THANK YOU</a:t>
            </a:r>
          </a:p>
        </p:txBody>
      </p:sp>
      <p:sp>
        <p:nvSpPr>
          <p:cNvPr id="11" name="Espace réservé du numéro de diapositive 10"/>
          <p:cNvSpPr>
            <a:spLocks noGrp="1"/>
          </p:cNvSpPr>
          <p:nvPr>
            <p:ph type="sldNum" sz="quarter" idx="16"/>
          </p:nvPr>
        </p:nvSpPr>
        <p:spPr bwMode="gray">
          <a:xfrm>
            <a:off x="672000" y="6327933"/>
            <a:ext cx="1200149" cy="530067"/>
          </a:xfrm>
          <a:prstGeom prst="rect">
            <a:avLst/>
          </a:prstGeom>
        </p:spPr>
        <p:txBody>
          <a:bodyPr/>
          <a:lstStyle>
            <a:lvl1pPr>
              <a:defRPr sz="133">
                <a:solidFill>
                  <a:schemeClr val="bg1">
                    <a:alpha val="0"/>
                  </a:schemeClr>
                </a:solidFill>
              </a:defRPr>
            </a:lvl1pPr>
          </a:lstStyle>
          <a:p>
            <a:pPr algn="l"/>
            <a:r>
              <a:rPr lang="en-GB" noProof="0"/>
              <a:t>Page: </a:t>
            </a:r>
            <a:fld id="{733122C9-A0B9-462F-8757-0847AD287B63}" type="slidenum">
              <a:rPr lang="en-GB" noProof="0" smtClean="0"/>
              <a:pPr algn="l"/>
              <a:t>‹#›</a:t>
            </a:fld>
            <a:endParaRPr lang="en-GB" noProof="0"/>
          </a:p>
        </p:txBody>
      </p:sp>
      <p:sp>
        <p:nvSpPr>
          <p:cNvPr id="15" name="Espace réservé du texte 14"/>
          <p:cNvSpPr>
            <a:spLocks noGrp="1"/>
          </p:cNvSpPr>
          <p:nvPr>
            <p:ph type="body" sz="quarter" idx="19" hasCustomPrompt="1"/>
          </p:nvPr>
        </p:nvSpPr>
        <p:spPr bwMode="gray">
          <a:xfrm>
            <a:off x="5592000" y="5899200"/>
            <a:ext cx="5884800" cy="324000"/>
          </a:xfrm>
        </p:spPr>
        <p:txBody>
          <a:bodyPr anchor="b" anchorCtr="0"/>
          <a:lstStyle>
            <a:lvl1pPr algn="r">
              <a:lnSpc>
                <a:spcPct val="100000"/>
              </a:lnSpc>
              <a:defRPr sz="1200" b="1">
                <a:solidFill>
                  <a:schemeClr val="accent2"/>
                </a:solidFill>
              </a:defRPr>
            </a:lvl1pPr>
          </a:lstStyle>
          <a:p>
            <a:r>
              <a:rPr lang="fr-FR" err="1"/>
              <a:t>Reach</a:t>
            </a:r>
            <a:r>
              <a:rPr lang="fr-FR"/>
              <a:t> </a:t>
            </a:r>
            <a:r>
              <a:rPr lang="fr-FR" err="1"/>
              <a:t>every</a:t>
            </a:r>
            <a:r>
              <a:rPr lang="fr-FR"/>
              <a:t> </a:t>
            </a:r>
            <a:r>
              <a:rPr lang="fr-FR" err="1"/>
              <a:t>child</a:t>
            </a:r>
            <a:endParaRPr lang="fr-FR"/>
          </a:p>
        </p:txBody>
      </p:sp>
      <p:sp>
        <p:nvSpPr>
          <p:cNvPr id="16" name="Rectangle 15"/>
          <p:cNvSpPr/>
          <p:nvPr userDrawn="1"/>
        </p:nvSpPr>
        <p:spPr bwMode="gray">
          <a:xfrm>
            <a:off x="5592000" y="6283200"/>
            <a:ext cx="5884800" cy="287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r>
              <a:rPr lang="en-GB" sz="1200" noProof="0">
                <a:solidFill>
                  <a:schemeClr val="accent3"/>
                </a:solidFill>
              </a:rPr>
              <a:t>www.gavi.org</a:t>
            </a:r>
          </a:p>
        </p:txBody>
      </p:sp>
      <p:sp>
        <p:nvSpPr>
          <p:cNvPr id="19" name="Rectangle 18"/>
          <p:cNvSpPr/>
          <p:nvPr userDrawn="1"/>
        </p:nvSpPr>
        <p:spPr bwMode="gray">
          <a:xfrm>
            <a:off x="672000" y="3393600"/>
            <a:ext cx="2337600" cy="25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sp>
        <p:nvSpPr>
          <p:cNvPr id="17" name="Espace réservé du texte 16"/>
          <p:cNvSpPr>
            <a:spLocks noGrp="1"/>
          </p:cNvSpPr>
          <p:nvPr>
            <p:ph type="body" sz="quarter" idx="20" hasCustomPrompt="1"/>
          </p:nvPr>
        </p:nvSpPr>
        <p:spPr bwMode="gray">
          <a:xfrm>
            <a:off x="0" y="5157789"/>
            <a:ext cx="12192000" cy="287337"/>
          </a:xfrm>
          <a:solidFill>
            <a:schemeClr val="bg1"/>
          </a:solidFill>
        </p:spPr>
        <p:txBody>
          <a:bodyPr/>
          <a:lstStyle>
            <a:lvl1pPr>
              <a:defRPr sz="133" b="0">
                <a:solidFill>
                  <a:schemeClr val="bg1">
                    <a:alpha val="0"/>
                  </a:schemeClr>
                </a:solidFill>
              </a:defRPr>
            </a:lvl1pPr>
          </a:lstStyle>
          <a:p>
            <a:pPr lvl="0"/>
            <a:r>
              <a:rPr lang="en-GB" noProof="0"/>
              <a:t> </a:t>
            </a:r>
          </a:p>
        </p:txBody>
      </p:sp>
    </p:spTree>
    <p:extLst>
      <p:ext uri="{BB962C8B-B14F-4D97-AF65-F5344CB8AC3E}">
        <p14:creationId xmlns:p14="http://schemas.microsoft.com/office/powerpoint/2010/main" val="3233988992"/>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hank_you_picture_2">
    <p:spTree>
      <p:nvGrpSpPr>
        <p:cNvPr id="1" name=""/>
        <p:cNvGrpSpPr/>
        <p:nvPr/>
      </p:nvGrpSpPr>
      <p:grpSpPr>
        <a:xfrm>
          <a:off x="0" y="0"/>
          <a:ext cx="0" cy="0"/>
          <a:chOff x="0" y="0"/>
          <a:chExt cx="0" cy="0"/>
        </a:xfrm>
      </p:grpSpPr>
      <p:pic>
        <p:nvPicPr>
          <p:cNvPr id="13" name="Imag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5161280"/>
          </a:xfrm>
          <a:prstGeom prst="rect">
            <a:avLst/>
          </a:prstGeom>
        </p:spPr>
      </p:pic>
      <p:sp>
        <p:nvSpPr>
          <p:cNvPr id="20" name="Espace réservé pour une image  25"/>
          <p:cNvSpPr>
            <a:spLocks noGrp="1"/>
          </p:cNvSpPr>
          <p:nvPr>
            <p:ph type="pic" sz="quarter" idx="10" hasCustomPrompt="1"/>
          </p:nvPr>
        </p:nvSpPr>
        <p:spPr>
          <a:xfrm>
            <a:off x="6821913" y="0"/>
            <a:ext cx="5370089" cy="5158800"/>
          </a:xfrm>
          <a:custGeom>
            <a:avLst/>
            <a:gdLst>
              <a:gd name="connsiteX0" fmla="*/ 1929568 w 4027567"/>
              <a:gd name="connsiteY0" fmla="*/ 0 h 3869100"/>
              <a:gd name="connsiteX1" fmla="*/ 4027567 w 4027567"/>
              <a:gd name="connsiteY1" fmla="*/ 0 h 3869100"/>
              <a:gd name="connsiteX2" fmla="*/ 4027567 w 4027567"/>
              <a:gd name="connsiteY2" fmla="*/ 3869100 h 3869100"/>
              <a:gd name="connsiteX3" fmla="*/ 0 w 4027567"/>
              <a:gd name="connsiteY3" fmla="*/ 3869100 h 3869100"/>
              <a:gd name="connsiteX4" fmla="*/ 29823 w 4027567"/>
              <a:gd name="connsiteY4" fmla="*/ 3580448 h 3869100"/>
              <a:gd name="connsiteX5" fmla="*/ 1929568 w 4027567"/>
              <a:gd name="connsiteY5" fmla="*/ 0 h 3869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27567" h="3869100">
                <a:moveTo>
                  <a:pt x="1929568" y="0"/>
                </a:moveTo>
                <a:lnTo>
                  <a:pt x="4027567" y="0"/>
                </a:lnTo>
                <a:lnTo>
                  <a:pt x="4027567" y="3869100"/>
                </a:lnTo>
                <a:lnTo>
                  <a:pt x="0" y="3869100"/>
                </a:lnTo>
                <a:lnTo>
                  <a:pt x="29823" y="3580448"/>
                </a:lnTo>
                <a:cubicBezTo>
                  <a:pt x="280550" y="2115735"/>
                  <a:pt x="1924285" y="945283"/>
                  <a:pt x="1929568" y="0"/>
                </a:cubicBezTo>
                <a:close/>
              </a:path>
            </a:pathLst>
          </a:custGeom>
          <a:solidFill>
            <a:schemeClr val="bg2"/>
          </a:solidFill>
        </p:spPr>
        <p:txBody>
          <a:bodyPr wrap="square" tIns="720000" anchor="ctr" anchorCtr="0">
            <a:noAutofit/>
          </a:bodyPr>
          <a:lstStyle>
            <a:lvl1pPr marL="0" marR="0" indent="0" algn="ctr" defTabSz="1219170" rtl="0" eaLnBrk="1" fontAlgn="auto" latinLnBrk="0" hangingPunct="1">
              <a:lnSpc>
                <a:spcPct val="110000"/>
              </a:lnSpc>
              <a:spcBef>
                <a:spcPts val="0"/>
              </a:spcBef>
              <a:spcAft>
                <a:spcPts val="0"/>
              </a:spcAft>
              <a:buClrTx/>
              <a:buSzTx/>
              <a:buFont typeface="Arial" pitchFamily="34" charset="0"/>
              <a:buNone/>
              <a:tabLst/>
              <a:defRPr sz="2000">
                <a:solidFill>
                  <a:schemeClr val="bg1"/>
                </a:solidFill>
              </a:defRPr>
            </a:lvl1pPr>
          </a:lstStyle>
          <a:p>
            <a:r>
              <a:rPr lang="en-GB" noProof="0"/>
              <a:t>Select your own photo</a:t>
            </a:r>
          </a:p>
        </p:txBody>
      </p:sp>
      <p:sp>
        <p:nvSpPr>
          <p:cNvPr id="22" name="Rectangle 21"/>
          <p:cNvSpPr/>
          <p:nvPr userDrawn="1"/>
        </p:nvSpPr>
        <p:spPr bwMode="gray">
          <a:xfrm>
            <a:off x="4847169" y="5265205"/>
            <a:ext cx="7344833" cy="15927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sp>
        <p:nvSpPr>
          <p:cNvPr id="9" name="Espace réservé du texte 8"/>
          <p:cNvSpPr>
            <a:spLocks noGrp="1"/>
          </p:cNvSpPr>
          <p:nvPr>
            <p:ph type="body" sz="quarter" idx="13" hasCustomPrompt="1"/>
          </p:nvPr>
        </p:nvSpPr>
        <p:spPr bwMode="gray">
          <a:xfrm>
            <a:off x="672000" y="974400"/>
            <a:ext cx="6384000" cy="2232000"/>
          </a:xfrm>
        </p:spPr>
        <p:txBody>
          <a:bodyPr anchor="b" anchorCtr="0"/>
          <a:lstStyle>
            <a:lvl1pPr marL="0" indent="0" algn="l">
              <a:lnSpc>
                <a:spcPct val="90000"/>
              </a:lnSpc>
              <a:buNone/>
              <a:defRPr sz="3733" b="1" cap="none" baseline="0">
                <a:solidFill>
                  <a:schemeClr val="bg1"/>
                </a:solidFill>
              </a:defRPr>
            </a:lvl1pPr>
            <a:lvl2pPr marL="0" algn="ctr">
              <a:lnSpc>
                <a:spcPct val="100000"/>
              </a:lnSpc>
              <a:spcBef>
                <a:spcPts val="9200"/>
              </a:spcBef>
              <a:defRPr sz="2667" b="1">
                <a:solidFill>
                  <a:schemeClr val="bg1"/>
                </a:solidFill>
              </a:defRPr>
            </a:lvl2pPr>
          </a:lstStyle>
          <a:p>
            <a:pPr lvl="0"/>
            <a:r>
              <a:rPr lang="en-GB" noProof="0"/>
              <a:t>THANK YOU</a:t>
            </a:r>
          </a:p>
        </p:txBody>
      </p:sp>
      <p:sp>
        <p:nvSpPr>
          <p:cNvPr id="11" name="Espace réservé du numéro de diapositive 10"/>
          <p:cNvSpPr>
            <a:spLocks noGrp="1"/>
          </p:cNvSpPr>
          <p:nvPr>
            <p:ph type="sldNum" sz="quarter" idx="16"/>
          </p:nvPr>
        </p:nvSpPr>
        <p:spPr bwMode="gray">
          <a:xfrm>
            <a:off x="672000" y="6327933"/>
            <a:ext cx="1200149" cy="530067"/>
          </a:xfrm>
          <a:prstGeom prst="rect">
            <a:avLst/>
          </a:prstGeom>
        </p:spPr>
        <p:txBody>
          <a:bodyPr/>
          <a:lstStyle>
            <a:lvl1pPr>
              <a:defRPr sz="133">
                <a:solidFill>
                  <a:schemeClr val="bg1">
                    <a:alpha val="0"/>
                  </a:schemeClr>
                </a:solidFill>
              </a:defRPr>
            </a:lvl1pPr>
          </a:lstStyle>
          <a:p>
            <a:pPr algn="l"/>
            <a:r>
              <a:rPr lang="en-GB" noProof="0"/>
              <a:t>Page: </a:t>
            </a:r>
            <a:fld id="{733122C9-A0B9-462F-8757-0847AD287B63}" type="slidenum">
              <a:rPr lang="en-GB" noProof="0" smtClean="0"/>
              <a:pPr algn="l"/>
              <a:t>‹#›</a:t>
            </a:fld>
            <a:endParaRPr lang="en-GB" noProof="0"/>
          </a:p>
        </p:txBody>
      </p:sp>
      <p:sp>
        <p:nvSpPr>
          <p:cNvPr id="15" name="Espace réservé du texte 14"/>
          <p:cNvSpPr>
            <a:spLocks noGrp="1"/>
          </p:cNvSpPr>
          <p:nvPr>
            <p:ph type="body" sz="quarter" idx="19" hasCustomPrompt="1"/>
          </p:nvPr>
        </p:nvSpPr>
        <p:spPr bwMode="gray">
          <a:xfrm>
            <a:off x="5592000" y="5899200"/>
            <a:ext cx="5884800" cy="324000"/>
          </a:xfrm>
        </p:spPr>
        <p:txBody>
          <a:bodyPr anchor="b" anchorCtr="0"/>
          <a:lstStyle>
            <a:lvl1pPr algn="r">
              <a:lnSpc>
                <a:spcPct val="100000"/>
              </a:lnSpc>
              <a:defRPr sz="1200" b="1">
                <a:solidFill>
                  <a:schemeClr val="accent2"/>
                </a:solidFill>
              </a:defRPr>
            </a:lvl1pPr>
          </a:lstStyle>
          <a:p>
            <a:r>
              <a:rPr lang="fr-FR" err="1"/>
              <a:t>Reach</a:t>
            </a:r>
            <a:r>
              <a:rPr lang="fr-FR"/>
              <a:t> </a:t>
            </a:r>
            <a:r>
              <a:rPr lang="fr-FR" err="1"/>
              <a:t>every</a:t>
            </a:r>
            <a:r>
              <a:rPr lang="fr-FR"/>
              <a:t> </a:t>
            </a:r>
            <a:r>
              <a:rPr lang="fr-FR" err="1"/>
              <a:t>child</a:t>
            </a:r>
            <a:endParaRPr lang="fr-FR"/>
          </a:p>
        </p:txBody>
      </p:sp>
      <p:sp>
        <p:nvSpPr>
          <p:cNvPr id="16" name="Rectangle 15"/>
          <p:cNvSpPr/>
          <p:nvPr userDrawn="1"/>
        </p:nvSpPr>
        <p:spPr bwMode="gray">
          <a:xfrm>
            <a:off x="5592000" y="6283200"/>
            <a:ext cx="5884800" cy="287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r>
              <a:rPr lang="en-GB" sz="1200" noProof="0">
                <a:solidFill>
                  <a:schemeClr val="accent3"/>
                </a:solidFill>
              </a:rPr>
              <a:t>www.gavi.org</a:t>
            </a:r>
          </a:p>
        </p:txBody>
      </p:sp>
      <p:sp>
        <p:nvSpPr>
          <p:cNvPr id="19" name="Rectangle 18"/>
          <p:cNvSpPr/>
          <p:nvPr userDrawn="1"/>
        </p:nvSpPr>
        <p:spPr bwMode="gray">
          <a:xfrm>
            <a:off x="672000" y="3391895"/>
            <a:ext cx="2337600" cy="25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sp>
        <p:nvSpPr>
          <p:cNvPr id="17" name="Espace réservé du texte 16"/>
          <p:cNvSpPr>
            <a:spLocks noGrp="1"/>
          </p:cNvSpPr>
          <p:nvPr>
            <p:ph type="body" sz="quarter" idx="20" hasCustomPrompt="1"/>
          </p:nvPr>
        </p:nvSpPr>
        <p:spPr bwMode="gray">
          <a:xfrm>
            <a:off x="0" y="5157789"/>
            <a:ext cx="12192000" cy="287337"/>
          </a:xfrm>
          <a:solidFill>
            <a:schemeClr val="bg1"/>
          </a:solidFill>
        </p:spPr>
        <p:txBody>
          <a:bodyPr/>
          <a:lstStyle>
            <a:lvl1pPr>
              <a:defRPr sz="133" b="0">
                <a:solidFill>
                  <a:schemeClr val="bg1">
                    <a:alpha val="0"/>
                  </a:schemeClr>
                </a:solidFill>
              </a:defRPr>
            </a:lvl1pPr>
          </a:lstStyle>
          <a:p>
            <a:pPr lvl="0"/>
            <a:r>
              <a:rPr lang="en-GB" noProof="0"/>
              <a:t> </a:t>
            </a:r>
          </a:p>
        </p:txBody>
      </p:sp>
    </p:spTree>
    <p:extLst>
      <p:ext uri="{BB962C8B-B14F-4D97-AF65-F5344CB8AC3E}">
        <p14:creationId xmlns:p14="http://schemas.microsoft.com/office/powerpoint/2010/main" val="357873270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 Column Bullets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708830"/>
            <a:ext cx="11144930" cy="4204608"/>
          </a:xfrm>
        </p:spPr>
        <p:txBody>
          <a:bodyPr numCol="2" spcCol="360000"/>
          <a:lstStyle>
            <a:lvl1pPr marL="342900" indent="-342900">
              <a:buClr>
                <a:schemeClr val="bg2"/>
              </a:buClr>
              <a:buFont typeface="Arial" panose="020B0604020202020204" pitchFamily="34" charset="0"/>
              <a:buChar char="•"/>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United Against Rabies Forum Meeting - 6-8 November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1378524005"/>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Colors">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p>
            <a:r>
              <a:rPr lang="en-GB" noProof="0"/>
              <a:t>BRAND COLOUR PALETTE</a:t>
            </a:r>
          </a:p>
        </p:txBody>
      </p:sp>
      <p:sp>
        <p:nvSpPr>
          <p:cNvPr id="5" name="Espace réservé du numéro de diapositive 4"/>
          <p:cNvSpPr>
            <a:spLocks noGrp="1"/>
          </p:cNvSpPr>
          <p:nvPr>
            <p:ph type="sldNum" sz="quarter" idx="12"/>
          </p:nvPr>
        </p:nvSpPr>
        <p:spPr>
          <a:xfrm>
            <a:off x="672000" y="6327933"/>
            <a:ext cx="1200149" cy="530067"/>
          </a:xfrm>
          <a:prstGeom prst="rect">
            <a:avLst/>
          </a:prstGeom>
        </p:spPr>
        <p:txBody>
          <a:bodyPr/>
          <a:lstStyle/>
          <a:p>
            <a:fld id="{733122C9-A0B9-462F-8757-0847AD287B63}" type="slidenum">
              <a:rPr lang="en-GB" noProof="0" smtClean="0"/>
              <a:pPr/>
              <a:t>‹#›</a:t>
            </a:fld>
            <a:endParaRPr lang="en-GB" noProof="0"/>
          </a:p>
        </p:txBody>
      </p:sp>
      <p:sp>
        <p:nvSpPr>
          <p:cNvPr id="6" name="ZoneTexte 5"/>
          <p:cNvSpPr txBox="1"/>
          <p:nvPr userDrawn="1"/>
        </p:nvSpPr>
        <p:spPr>
          <a:xfrm>
            <a:off x="672000" y="1506440"/>
            <a:ext cx="4358557" cy="2992531"/>
          </a:xfrm>
          <a:prstGeom prst="rect">
            <a:avLst/>
          </a:prstGeom>
          <a:noFill/>
        </p:spPr>
        <p:txBody>
          <a:bodyPr wrap="square" lIns="0" tIns="0" rIns="0" bIns="0" rtlCol="0">
            <a:noAutofit/>
          </a:bodyPr>
          <a:lstStyle/>
          <a:p>
            <a:pPr>
              <a:lnSpc>
                <a:spcPct val="110000"/>
              </a:lnSpc>
            </a:pPr>
            <a:r>
              <a:rPr lang="en-GB" sz="2400" b="0" noProof="0">
                <a:solidFill>
                  <a:schemeClr val="accent1"/>
                </a:solidFill>
              </a:rPr>
              <a:t>Primary</a:t>
            </a:r>
          </a:p>
          <a:p>
            <a:pPr marL="609585" lvl="1" indent="-124881">
              <a:lnSpc>
                <a:spcPct val="100000"/>
              </a:lnSpc>
              <a:spcAft>
                <a:spcPts val="800"/>
              </a:spcAft>
              <a:buClr>
                <a:schemeClr val="tx1"/>
              </a:buClr>
              <a:buFont typeface="Arial" panose="020B0604020202020204" pitchFamily="34" charset="0"/>
              <a:buChar char="•"/>
            </a:pPr>
            <a:r>
              <a:rPr lang="en-GB" sz="2133" b="0" noProof="0"/>
              <a:t>Corporate colours</a:t>
            </a:r>
          </a:p>
          <a:p>
            <a:pPr marL="609585" lvl="1" indent="-124881">
              <a:lnSpc>
                <a:spcPct val="100000"/>
              </a:lnSpc>
              <a:spcAft>
                <a:spcPts val="800"/>
              </a:spcAft>
              <a:buClr>
                <a:schemeClr val="tx1"/>
              </a:buClr>
              <a:buFont typeface="Arial" panose="020B0604020202020204" pitchFamily="34" charset="0"/>
              <a:buChar char="•"/>
            </a:pPr>
            <a:r>
              <a:rPr lang="en-GB" sz="2133" b="0" noProof="0"/>
              <a:t>Strategic Goal Colours</a:t>
            </a:r>
          </a:p>
          <a:p>
            <a:pPr>
              <a:lnSpc>
                <a:spcPct val="110000"/>
              </a:lnSpc>
            </a:pPr>
            <a:r>
              <a:rPr lang="en-GB" sz="2400" b="0" noProof="0">
                <a:solidFill>
                  <a:schemeClr val="accent1"/>
                </a:solidFill>
              </a:rPr>
              <a:t>Secondary</a:t>
            </a:r>
          </a:p>
        </p:txBody>
      </p:sp>
      <p:sp>
        <p:nvSpPr>
          <p:cNvPr id="7" name="Freeform 8"/>
          <p:cNvSpPr>
            <a:spLocks noChangeAspect="1"/>
          </p:cNvSpPr>
          <p:nvPr userDrawn="1"/>
        </p:nvSpPr>
        <p:spPr bwMode="auto">
          <a:xfrm>
            <a:off x="5012245" y="1416571"/>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8" name="Rectangle 7"/>
          <p:cNvSpPr/>
          <p:nvPr userDrawn="1"/>
        </p:nvSpPr>
        <p:spPr>
          <a:xfrm>
            <a:off x="5505451" y="1413965"/>
            <a:ext cx="590549"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noProof="0">
                <a:solidFill>
                  <a:schemeClr val="tx1"/>
                </a:solidFill>
              </a:rPr>
              <a:t>R: 0</a:t>
            </a:r>
          </a:p>
          <a:p>
            <a:pPr>
              <a:lnSpc>
                <a:spcPct val="90000"/>
              </a:lnSpc>
            </a:pPr>
            <a:r>
              <a:rPr lang="en-GB" sz="933" noProof="0">
                <a:solidFill>
                  <a:schemeClr val="tx1"/>
                </a:solidFill>
              </a:rPr>
              <a:t>G: 92</a:t>
            </a:r>
          </a:p>
          <a:p>
            <a:pPr>
              <a:lnSpc>
                <a:spcPct val="90000"/>
              </a:lnSpc>
            </a:pPr>
            <a:r>
              <a:rPr lang="en-GB" sz="933" noProof="0">
                <a:solidFill>
                  <a:schemeClr val="tx1"/>
                </a:solidFill>
              </a:rPr>
              <a:t>B: 185</a:t>
            </a:r>
          </a:p>
        </p:txBody>
      </p:sp>
      <p:sp>
        <p:nvSpPr>
          <p:cNvPr id="49" name="Rectangle 48"/>
          <p:cNvSpPr/>
          <p:nvPr userDrawn="1"/>
        </p:nvSpPr>
        <p:spPr>
          <a:xfrm>
            <a:off x="6239685" y="5185225"/>
            <a:ext cx="4224801" cy="6355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GB" sz="1200" b="1" noProof="0">
                <a:solidFill>
                  <a:schemeClr val="tx1"/>
                </a:solidFill>
              </a:rPr>
              <a:t>Please use the four </a:t>
            </a:r>
            <a:r>
              <a:rPr lang="en-GB" sz="1200" b="1" noProof="0" err="1">
                <a:solidFill>
                  <a:schemeClr val="tx1"/>
                </a:solidFill>
              </a:rPr>
              <a:t>Gavi</a:t>
            </a:r>
            <a:r>
              <a:rPr lang="en-GB" sz="1200" b="1" noProof="0">
                <a:solidFill>
                  <a:schemeClr val="tx1"/>
                </a:solidFill>
              </a:rPr>
              <a:t> corporate colours where possible.  Specific strategic goals </a:t>
            </a:r>
            <a:br>
              <a:rPr lang="en-GB" sz="1200" b="1" noProof="0">
                <a:solidFill>
                  <a:schemeClr val="tx1"/>
                </a:solidFill>
              </a:rPr>
            </a:br>
            <a:r>
              <a:rPr lang="en-GB" sz="1200" b="1" noProof="0">
                <a:solidFill>
                  <a:schemeClr val="tx1"/>
                </a:solidFill>
              </a:rPr>
              <a:t>or vaccines should be highlighted using the key above. </a:t>
            </a:r>
          </a:p>
        </p:txBody>
      </p:sp>
      <p:sp>
        <p:nvSpPr>
          <p:cNvPr id="65" name="Freeform 8"/>
          <p:cNvSpPr>
            <a:spLocks noChangeAspect="1"/>
          </p:cNvSpPr>
          <p:nvPr userDrawn="1"/>
        </p:nvSpPr>
        <p:spPr bwMode="auto">
          <a:xfrm>
            <a:off x="6457437" y="1416571"/>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66" name="Rectangle 65"/>
          <p:cNvSpPr/>
          <p:nvPr userDrawn="1"/>
        </p:nvSpPr>
        <p:spPr>
          <a:xfrm>
            <a:off x="6950643" y="1413965"/>
            <a:ext cx="590549"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noProof="0">
                <a:solidFill>
                  <a:schemeClr val="tx1"/>
                </a:solidFill>
              </a:rPr>
              <a:t>R: 0</a:t>
            </a:r>
          </a:p>
          <a:p>
            <a:pPr>
              <a:lnSpc>
                <a:spcPct val="90000"/>
              </a:lnSpc>
            </a:pPr>
            <a:r>
              <a:rPr lang="en-GB" sz="933" noProof="0">
                <a:solidFill>
                  <a:schemeClr val="tx1"/>
                </a:solidFill>
              </a:rPr>
              <a:t>G: 161</a:t>
            </a:r>
          </a:p>
          <a:p>
            <a:pPr>
              <a:lnSpc>
                <a:spcPct val="90000"/>
              </a:lnSpc>
            </a:pPr>
            <a:r>
              <a:rPr lang="en-GB" sz="933" noProof="0">
                <a:solidFill>
                  <a:schemeClr val="tx1"/>
                </a:solidFill>
              </a:rPr>
              <a:t>B: 223</a:t>
            </a:r>
          </a:p>
        </p:txBody>
      </p:sp>
      <p:sp>
        <p:nvSpPr>
          <p:cNvPr id="68" name="Freeform 8"/>
          <p:cNvSpPr>
            <a:spLocks noChangeAspect="1"/>
          </p:cNvSpPr>
          <p:nvPr userDrawn="1"/>
        </p:nvSpPr>
        <p:spPr bwMode="auto">
          <a:xfrm>
            <a:off x="7869403" y="1416571"/>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69" name="Rectangle 68"/>
          <p:cNvSpPr/>
          <p:nvPr userDrawn="1"/>
        </p:nvSpPr>
        <p:spPr>
          <a:xfrm>
            <a:off x="8362608" y="1413965"/>
            <a:ext cx="590549"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noProof="0">
                <a:solidFill>
                  <a:schemeClr val="tx1"/>
                </a:solidFill>
              </a:rPr>
              <a:t>R: 149</a:t>
            </a:r>
          </a:p>
          <a:p>
            <a:pPr>
              <a:lnSpc>
                <a:spcPct val="90000"/>
              </a:lnSpc>
            </a:pPr>
            <a:r>
              <a:rPr lang="en-GB" sz="933" noProof="0">
                <a:solidFill>
                  <a:schemeClr val="tx1"/>
                </a:solidFill>
              </a:rPr>
              <a:t>G: 214</a:t>
            </a:r>
          </a:p>
          <a:p>
            <a:pPr>
              <a:lnSpc>
                <a:spcPct val="90000"/>
              </a:lnSpc>
            </a:pPr>
            <a:r>
              <a:rPr lang="en-GB" sz="933" noProof="0">
                <a:solidFill>
                  <a:schemeClr val="tx1"/>
                </a:solidFill>
              </a:rPr>
              <a:t>B: 0</a:t>
            </a:r>
          </a:p>
        </p:txBody>
      </p:sp>
      <p:sp>
        <p:nvSpPr>
          <p:cNvPr id="71" name="Freeform 8"/>
          <p:cNvSpPr>
            <a:spLocks noChangeAspect="1"/>
          </p:cNvSpPr>
          <p:nvPr userDrawn="1"/>
        </p:nvSpPr>
        <p:spPr bwMode="auto">
          <a:xfrm>
            <a:off x="9493117" y="1416571"/>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72" name="Rectangle 71"/>
          <p:cNvSpPr/>
          <p:nvPr userDrawn="1"/>
        </p:nvSpPr>
        <p:spPr>
          <a:xfrm>
            <a:off x="9986323" y="1413965"/>
            <a:ext cx="590549"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noProof="0">
                <a:solidFill>
                  <a:schemeClr val="tx1"/>
                </a:solidFill>
              </a:rPr>
              <a:t>R: 135</a:t>
            </a:r>
          </a:p>
          <a:p>
            <a:pPr>
              <a:lnSpc>
                <a:spcPct val="90000"/>
              </a:lnSpc>
            </a:pPr>
            <a:r>
              <a:rPr lang="en-GB" sz="933" noProof="0">
                <a:solidFill>
                  <a:schemeClr val="tx1"/>
                </a:solidFill>
              </a:rPr>
              <a:t>G: 135</a:t>
            </a:r>
          </a:p>
          <a:p>
            <a:pPr>
              <a:lnSpc>
                <a:spcPct val="90000"/>
              </a:lnSpc>
            </a:pPr>
            <a:r>
              <a:rPr lang="en-GB" sz="933" noProof="0">
                <a:solidFill>
                  <a:schemeClr val="tx1"/>
                </a:solidFill>
              </a:rPr>
              <a:t>B: 135</a:t>
            </a:r>
          </a:p>
        </p:txBody>
      </p:sp>
      <p:sp>
        <p:nvSpPr>
          <p:cNvPr id="74" name="Freeform 8"/>
          <p:cNvSpPr>
            <a:spLocks noChangeAspect="1"/>
          </p:cNvSpPr>
          <p:nvPr userDrawn="1"/>
        </p:nvSpPr>
        <p:spPr bwMode="auto">
          <a:xfrm>
            <a:off x="5012245" y="2317997"/>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75" name="Rectangle 74"/>
          <p:cNvSpPr/>
          <p:nvPr userDrawn="1"/>
        </p:nvSpPr>
        <p:spPr>
          <a:xfrm>
            <a:off x="5505451" y="2315392"/>
            <a:ext cx="951987"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ACCELERATE</a:t>
            </a:r>
          </a:p>
          <a:p>
            <a:pPr>
              <a:lnSpc>
                <a:spcPct val="90000"/>
              </a:lnSpc>
            </a:pPr>
            <a:r>
              <a:rPr lang="en-GB" sz="933" b="1" noProof="0">
                <a:solidFill>
                  <a:schemeClr val="tx1"/>
                </a:solidFill>
              </a:rPr>
              <a:t>VACCINES</a:t>
            </a:r>
          </a:p>
          <a:p>
            <a:pPr>
              <a:lnSpc>
                <a:spcPct val="90000"/>
              </a:lnSpc>
            </a:pPr>
            <a:r>
              <a:rPr lang="en-GB" sz="933" noProof="0">
                <a:solidFill>
                  <a:schemeClr val="tx1"/>
                </a:solidFill>
              </a:rPr>
              <a:t>R: 165</a:t>
            </a:r>
          </a:p>
          <a:p>
            <a:pPr>
              <a:lnSpc>
                <a:spcPct val="90000"/>
              </a:lnSpc>
            </a:pPr>
            <a:r>
              <a:rPr lang="en-GB" sz="933" noProof="0">
                <a:solidFill>
                  <a:schemeClr val="tx1"/>
                </a:solidFill>
              </a:rPr>
              <a:t>G: 24</a:t>
            </a:r>
          </a:p>
          <a:p>
            <a:pPr>
              <a:lnSpc>
                <a:spcPct val="90000"/>
              </a:lnSpc>
            </a:pPr>
            <a:r>
              <a:rPr lang="en-GB" sz="933" noProof="0">
                <a:solidFill>
                  <a:schemeClr val="tx1"/>
                </a:solidFill>
              </a:rPr>
              <a:t>B: 144</a:t>
            </a:r>
          </a:p>
        </p:txBody>
      </p:sp>
      <p:sp>
        <p:nvSpPr>
          <p:cNvPr id="77" name="Freeform 8"/>
          <p:cNvSpPr>
            <a:spLocks noChangeAspect="1"/>
          </p:cNvSpPr>
          <p:nvPr userDrawn="1"/>
        </p:nvSpPr>
        <p:spPr bwMode="auto">
          <a:xfrm>
            <a:off x="6457437" y="2317997"/>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78" name="Rectangle 77"/>
          <p:cNvSpPr/>
          <p:nvPr userDrawn="1"/>
        </p:nvSpPr>
        <p:spPr>
          <a:xfrm>
            <a:off x="6950643" y="2315392"/>
            <a:ext cx="918760"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STRENGTHEN</a:t>
            </a:r>
          </a:p>
          <a:p>
            <a:pPr>
              <a:lnSpc>
                <a:spcPct val="90000"/>
              </a:lnSpc>
            </a:pPr>
            <a:r>
              <a:rPr lang="en-GB" sz="933" b="1" noProof="0">
                <a:solidFill>
                  <a:schemeClr val="tx1"/>
                </a:solidFill>
              </a:rPr>
              <a:t>CAPACITY</a:t>
            </a:r>
          </a:p>
          <a:p>
            <a:pPr>
              <a:lnSpc>
                <a:spcPct val="90000"/>
              </a:lnSpc>
            </a:pPr>
            <a:r>
              <a:rPr lang="en-GB" sz="933" noProof="0">
                <a:solidFill>
                  <a:schemeClr val="tx1"/>
                </a:solidFill>
              </a:rPr>
              <a:t>R: 206</a:t>
            </a:r>
          </a:p>
          <a:p>
            <a:pPr>
              <a:lnSpc>
                <a:spcPct val="90000"/>
              </a:lnSpc>
            </a:pPr>
            <a:r>
              <a:rPr lang="en-GB" sz="933" noProof="0">
                <a:solidFill>
                  <a:schemeClr val="tx1"/>
                </a:solidFill>
              </a:rPr>
              <a:t>G: 15</a:t>
            </a:r>
          </a:p>
          <a:p>
            <a:pPr>
              <a:lnSpc>
                <a:spcPct val="90000"/>
              </a:lnSpc>
            </a:pPr>
            <a:r>
              <a:rPr lang="en-GB" sz="933" noProof="0">
                <a:solidFill>
                  <a:schemeClr val="tx1"/>
                </a:solidFill>
              </a:rPr>
              <a:t>B: 105</a:t>
            </a:r>
          </a:p>
        </p:txBody>
      </p:sp>
      <p:sp>
        <p:nvSpPr>
          <p:cNvPr id="80" name="Freeform 8"/>
          <p:cNvSpPr>
            <a:spLocks noChangeAspect="1"/>
          </p:cNvSpPr>
          <p:nvPr userDrawn="1"/>
        </p:nvSpPr>
        <p:spPr bwMode="auto">
          <a:xfrm>
            <a:off x="7869403" y="2317997"/>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81" name="Rectangle 80"/>
          <p:cNvSpPr/>
          <p:nvPr userDrawn="1"/>
        </p:nvSpPr>
        <p:spPr>
          <a:xfrm>
            <a:off x="8362608" y="2315392"/>
            <a:ext cx="997755"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INCREASE</a:t>
            </a:r>
          </a:p>
          <a:p>
            <a:pPr>
              <a:lnSpc>
                <a:spcPct val="90000"/>
              </a:lnSpc>
            </a:pPr>
            <a:r>
              <a:rPr lang="en-GB" sz="933" b="1" noProof="0">
                <a:solidFill>
                  <a:schemeClr val="tx1"/>
                </a:solidFill>
              </a:rPr>
              <a:t>PREDICTABILITY</a:t>
            </a:r>
          </a:p>
          <a:p>
            <a:pPr>
              <a:lnSpc>
                <a:spcPct val="90000"/>
              </a:lnSpc>
            </a:pPr>
            <a:r>
              <a:rPr lang="en-GB" sz="933" noProof="0">
                <a:solidFill>
                  <a:schemeClr val="tx1"/>
                </a:solidFill>
              </a:rPr>
              <a:t>R: 149</a:t>
            </a:r>
          </a:p>
          <a:p>
            <a:pPr>
              <a:lnSpc>
                <a:spcPct val="90000"/>
              </a:lnSpc>
            </a:pPr>
            <a:r>
              <a:rPr lang="en-GB" sz="933" noProof="0">
                <a:solidFill>
                  <a:schemeClr val="tx1"/>
                </a:solidFill>
              </a:rPr>
              <a:t>G: 214</a:t>
            </a:r>
          </a:p>
          <a:p>
            <a:pPr>
              <a:lnSpc>
                <a:spcPct val="90000"/>
              </a:lnSpc>
            </a:pPr>
            <a:r>
              <a:rPr lang="en-GB" sz="933" noProof="0">
                <a:solidFill>
                  <a:schemeClr val="tx1"/>
                </a:solidFill>
              </a:rPr>
              <a:t>B: 0</a:t>
            </a:r>
          </a:p>
        </p:txBody>
      </p:sp>
      <p:sp>
        <p:nvSpPr>
          <p:cNvPr id="83" name="Freeform 8"/>
          <p:cNvSpPr>
            <a:spLocks noChangeAspect="1"/>
          </p:cNvSpPr>
          <p:nvPr userDrawn="1"/>
        </p:nvSpPr>
        <p:spPr bwMode="auto">
          <a:xfrm>
            <a:off x="9493117" y="2317997"/>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84" name="Rectangle 83"/>
          <p:cNvSpPr/>
          <p:nvPr userDrawn="1"/>
        </p:nvSpPr>
        <p:spPr>
          <a:xfrm>
            <a:off x="9986323" y="2315392"/>
            <a:ext cx="1054211"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SHAPE</a:t>
            </a:r>
          </a:p>
          <a:p>
            <a:pPr>
              <a:lnSpc>
                <a:spcPct val="90000"/>
              </a:lnSpc>
            </a:pPr>
            <a:r>
              <a:rPr lang="en-GB" sz="933" b="1" noProof="0">
                <a:solidFill>
                  <a:schemeClr val="tx1"/>
                </a:solidFill>
              </a:rPr>
              <a:t>THE MARKET</a:t>
            </a:r>
          </a:p>
          <a:p>
            <a:pPr>
              <a:lnSpc>
                <a:spcPct val="90000"/>
              </a:lnSpc>
            </a:pPr>
            <a:r>
              <a:rPr lang="en-GB" sz="933" noProof="0">
                <a:solidFill>
                  <a:schemeClr val="tx1"/>
                </a:solidFill>
              </a:rPr>
              <a:t>R: 0</a:t>
            </a:r>
          </a:p>
          <a:p>
            <a:pPr>
              <a:lnSpc>
                <a:spcPct val="90000"/>
              </a:lnSpc>
            </a:pPr>
            <a:r>
              <a:rPr lang="en-GB" sz="933" noProof="0">
                <a:solidFill>
                  <a:schemeClr val="tx1"/>
                </a:solidFill>
              </a:rPr>
              <a:t>G: 161</a:t>
            </a:r>
          </a:p>
          <a:p>
            <a:pPr>
              <a:lnSpc>
                <a:spcPct val="90000"/>
              </a:lnSpc>
            </a:pPr>
            <a:r>
              <a:rPr lang="en-GB" sz="933" noProof="0">
                <a:solidFill>
                  <a:schemeClr val="tx1"/>
                </a:solidFill>
              </a:rPr>
              <a:t>B: 223</a:t>
            </a:r>
          </a:p>
        </p:txBody>
      </p:sp>
      <p:sp>
        <p:nvSpPr>
          <p:cNvPr id="97" name="Freeform 8"/>
          <p:cNvSpPr>
            <a:spLocks noChangeAspect="1"/>
          </p:cNvSpPr>
          <p:nvPr userDrawn="1"/>
        </p:nvSpPr>
        <p:spPr bwMode="auto">
          <a:xfrm>
            <a:off x="5012245" y="3401125"/>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CED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98" name="Rectangle 97"/>
          <p:cNvSpPr/>
          <p:nvPr userDrawn="1"/>
        </p:nvSpPr>
        <p:spPr>
          <a:xfrm>
            <a:off x="5505451" y="3236979"/>
            <a:ext cx="951987" cy="8047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IPV</a:t>
            </a:r>
          </a:p>
          <a:p>
            <a:pPr>
              <a:lnSpc>
                <a:spcPct val="90000"/>
              </a:lnSpc>
            </a:pPr>
            <a:r>
              <a:rPr lang="en-GB" sz="933" b="1" noProof="0">
                <a:solidFill>
                  <a:schemeClr val="tx1"/>
                </a:solidFill>
              </a:rPr>
              <a:t>INJECTABLE</a:t>
            </a:r>
          </a:p>
          <a:p>
            <a:pPr>
              <a:lnSpc>
                <a:spcPct val="90000"/>
              </a:lnSpc>
            </a:pPr>
            <a:r>
              <a:rPr lang="en-GB" sz="933" b="1" noProof="0">
                <a:solidFill>
                  <a:schemeClr val="tx1"/>
                </a:solidFill>
              </a:rPr>
              <a:t>POLIO</a:t>
            </a:r>
          </a:p>
          <a:p>
            <a:pPr>
              <a:lnSpc>
                <a:spcPct val="90000"/>
              </a:lnSpc>
            </a:pPr>
            <a:r>
              <a:rPr lang="en-GB" sz="933" noProof="0">
                <a:solidFill>
                  <a:schemeClr val="tx1"/>
                </a:solidFill>
              </a:rPr>
              <a:t>R: 206</a:t>
            </a:r>
          </a:p>
          <a:p>
            <a:pPr>
              <a:lnSpc>
                <a:spcPct val="90000"/>
              </a:lnSpc>
            </a:pPr>
            <a:r>
              <a:rPr lang="en-GB" sz="933" noProof="0">
                <a:solidFill>
                  <a:schemeClr val="tx1"/>
                </a:solidFill>
              </a:rPr>
              <a:t>G: 220</a:t>
            </a:r>
          </a:p>
          <a:p>
            <a:pPr>
              <a:lnSpc>
                <a:spcPct val="90000"/>
              </a:lnSpc>
            </a:pPr>
            <a:r>
              <a:rPr lang="en-GB" sz="933" noProof="0">
                <a:solidFill>
                  <a:schemeClr val="tx1"/>
                </a:solidFill>
              </a:rPr>
              <a:t>B: 0</a:t>
            </a:r>
          </a:p>
        </p:txBody>
      </p:sp>
      <p:sp>
        <p:nvSpPr>
          <p:cNvPr id="95" name="Freeform 8"/>
          <p:cNvSpPr>
            <a:spLocks noChangeAspect="1"/>
          </p:cNvSpPr>
          <p:nvPr userDrawn="1"/>
        </p:nvSpPr>
        <p:spPr bwMode="auto">
          <a:xfrm>
            <a:off x="6457437" y="3401125"/>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B288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96" name="Rectangle 95"/>
          <p:cNvSpPr/>
          <p:nvPr userDrawn="1"/>
        </p:nvSpPr>
        <p:spPr>
          <a:xfrm>
            <a:off x="6950643" y="3398520"/>
            <a:ext cx="918760"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JAPANESE</a:t>
            </a:r>
          </a:p>
          <a:p>
            <a:pPr>
              <a:lnSpc>
                <a:spcPct val="90000"/>
              </a:lnSpc>
            </a:pPr>
            <a:r>
              <a:rPr lang="en-GB" sz="933" b="1" noProof="0">
                <a:solidFill>
                  <a:schemeClr val="tx1"/>
                </a:solidFill>
              </a:rPr>
              <a:t>ENCEPHALITIS</a:t>
            </a:r>
          </a:p>
          <a:p>
            <a:pPr>
              <a:lnSpc>
                <a:spcPct val="90000"/>
              </a:lnSpc>
            </a:pPr>
            <a:r>
              <a:rPr lang="en-GB" sz="933" noProof="0">
                <a:solidFill>
                  <a:schemeClr val="tx1"/>
                </a:solidFill>
              </a:rPr>
              <a:t>R: 178</a:t>
            </a:r>
          </a:p>
          <a:p>
            <a:pPr>
              <a:lnSpc>
                <a:spcPct val="90000"/>
              </a:lnSpc>
            </a:pPr>
            <a:r>
              <a:rPr lang="en-GB" sz="933" noProof="0">
                <a:solidFill>
                  <a:schemeClr val="tx1"/>
                </a:solidFill>
              </a:rPr>
              <a:t>G: 136</a:t>
            </a:r>
          </a:p>
          <a:p>
            <a:pPr>
              <a:lnSpc>
                <a:spcPct val="90000"/>
              </a:lnSpc>
            </a:pPr>
            <a:r>
              <a:rPr lang="en-GB" sz="933" noProof="0">
                <a:solidFill>
                  <a:schemeClr val="tx1"/>
                </a:solidFill>
              </a:rPr>
              <a:t>B: 185</a:t>
            </a:r>
          </a:p>
        </p:txBody>
      </p:sp>
      <p:sp>
        <p:nvSpPr>
          <p:cNvPr id="93" name="Freeform 8"/>
          <p:cNvSpPr>
            <a:spLocks noChangeAspect="1"/>
          </p:cNvSpPr>
          <p:nvPr userDrawn="1"/>
        </p:nvSpPr>
        <p:spPr bwMode="auto">
          <a:xfrm>
            <a:off x="7869403" y="3401125"/>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41B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94" name="Rectangle 93"/>
          <p:cNvSpPr/>
          <p:nvPr userDrawn="1"/>
        </p:nvSpPr>
        <p:spPr>
          <a:xfrm>
            <a:off x="8362608" y="3398520"/>
            <a:ext cx="590549"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MEASLES</a:t>
            </a:r>
          </a:p>
          <a:p>
            <a:pPr>
              <a:lnSpc>
                <a:spcPct val="90000"/>
              </a:lnSpc>
            </a:pPr>
            <a:r>
              <a:rPr lang="en-GB" sz="933" noProof="0">
                <a:solidFill>
                  <a:schemeClr val="tx1"/>
                </a:solidFill>
              </a:rPr>
              <a:t>R: 65</a:t>
            </a:r>
          </a:p>
          <a:p>
            <a:pPr>
              <a:lnSpc>
                <a:spcPct val="90000"/>
              </a:lnSpc>
            </a:pPr>
            <a:r>
              <a:rPr lang="en-GB" sz="933" noProof="0">
                <a:solidFill>
                  <a:schemeClr val="tx1"/>
                </a:solidFill>
              </a:rPr>
              <a:t>G: 182</a:t>
            </a:r>
          </a:p>
          <a:p>
            <a:pPr>
              <a:lnSpc>
                <a:spcPct val="90000"/>
              </a:lnSpc>
            </a:pPr>
            <a:r>
              <a:rPr lang="en-GB" sz="933" noProof="0">
                <a:solidFill>
                  <a:schemeClr val="tx1"/>
                </a:solidFill>
              </a:rPr>
              <a:t>B: 230</a:t>
            </a:r>
          </a:p>
        </p:txBody>
      </p:sp>
      <p:sp>
        <p:nvSpPr>
          <p:cNvPr id="91" name="Freeform 8"/>
          <p:cNvSpPr>
            <a:spLocks noChangeAspect="1"/>
          </p:cNvSpPr>
          <p:nvPr userDrawn="1"/>
        </p:nvSpPr>
        <p:spPr bwMode="auto">
          <a:xfrm>
            <a:off x="9493117" y="3401125"/>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0097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92" name="Rectangle 91"/>
          <p:cNvSpPr/>
          <p:nvPr userDrawn="1"/>
        </p:nvSpPr>
        <p:spPr>
          <a:xfrm>
            <a:off x="9986323" y="3398520"/>
            <a:ext cx="910211"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MEASLES</a:t>
            </a:r>
          </a:p>
          <a:p>
            <a:pPr>
              <a:lnSpc>
                <a:spcPct val="90000"/>
              </a:lnSpc>
            </a:pPr>
            <a:r>
              <a:rPr lang="en-GB" sz="933" b="1" noProof="0">
                <a:solidFill>
                  <a:schemeClr val="tx1"/>
                </a:solidFill>
              </a:rPr>
              <a:t>2</a:t>
            </a:r>
            <a:r>
              <a:rPr lang="en-GB" sz="933" b="1" baseline="30000" noProof="0">
                <a:solidFill>
                  <a:schemeClr val="tx1"/>
                </a:solidFill>
              </a:rPr>
              <a:t>ND</a:t>
            </a:r>
            <a:r>
              <a:rPr lang="en-GB" sz="933" b="1" noProof="0">
                <a:solidFill>
                  <a:schemeClr val="tx1"/>
                </a:solidFill>
              </a:rPr>
              <a:t> DOSE</a:t>
            </a:r>
          </a:p>
          <a:p>
            <a:pPr>
              <a:lnSpc>
                <a:spcPct val="90000"/>
              </a:lnSpc>
            </a:pPr>
            <a:r>
              <a:rPr lang="en-GB" sz="933" noProof="0">
                <a:solidFill>
                  <a:schemeClr val="tx1"/>
                </a:solidFill>
              </a:rPr>
              <a:t>R: 0</a:t>
            </a:r>
          </a:p>
          <a:p>
            <a:pPr>
              <a:lnSpc>
                <a:spcPct val="90000"/>
              </a:lnSpc>
            </a:pPr>
            <a:r>
              <a:rPr lang="en-GB" sz="933" noProof="0">
                <a:solidFill>
                  <a:schemeClr val="tx1"/>
                </a:solidFill>
              </a:rPr>
              <a:t>G: 151</a:t>
            </a:r>
          </a:p>
          <a:p>
            <a:pPr>
              <a:lnSpc>
                <a:spcPct val="90000"/>
              </a:lnSpc>
            </a:pPr>
            <a:r>
              <a:rPr lang="en-GB" sz="933" noProof="0">
                <a:solidFill>
                  <a:schemeClr val="tx1"/>
                </a:solidFill>
              </a:rPr>
              <a:t>B: 169</a:t>
            </a:r>
          </a:p>
        </p:txBody>
      </p:sp>
      <p:sp>
        <p:nvSpPr>
          <p:cNvPr id="110" name="Freeform 8"/>
          <p:cNvSpPr>
            <a:spLocks noChangeAspect="1"/>
          </p:cNvSpPr>
          <p:nvPr userDrawn="1"/>
        </p:nvSpPr>
        <p:spPr bwMode="auto">
          <a:xfrm>
            <a:off x="5012245" y="4244901"/>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0033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111" name="Rectangle 110"/>
          <p:cNvSpPr/>
          <p:nvPr userDrawn="1"/>
        </p:nvSpPr>
        <p:spPr>
          <a:xfrm>
            <a:off x="5505450" y="4242296"/>
            <a:ext cx="734233"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PNEUMO</a:t>
            </a:r>
          </a:p>
          <a:p>
            <a:pPr>
              <a:lnSpc>
                <a:spcPct val="90000"/>
              </a:lnSpc>
            </a:pPr>
            <a:r>
              <a:rPr lang="en-GB" sz="933" noProof="0">
                <a:solidFill>
                  <a:schemeClr val="tx1"/>
                </a:solidFill>
              </a:rPr>
              <a:t>R: 0</a:t>
            </a:r>
          </a:p>
          <a:p>
            <a:pPr>
              <a:lnSpc>
                <a:spcPct val="90000"/>
              </a:lnSpc>
            </a:pPr>
            <a:r>
              <a:rPr lang="en-GB" sz="933" noProof="0">
                <a:solidFill>
                  <a:schemeClr val="tx1"/>
                </a:solidFill>
              </a:rPr>
              <a:t>G: 51</a:t>
            </a:r>
          </a:p>
          <a:p>
            <a:pPr>
              <a:lnSpc>
                <a:spcPct val="90000"/>
              </a:lnSpc>
            </a:pPr>
            <a:r>
              <a:rPr lang="en-GB" sz="933" noProof="0">
                <a:solidFill>
                  <a:schemeClr val="tx1"/>
                </a:solidFill>
              </a:rPr>
              <a:t>B: 160</a:t>
            </a:r>
          </a:p>
        </p:txBody>
      </p:sp>
      <p:sp>
        <p:nvSpPr>
          <p:cNvPr id="108" name="Freeform 8"/>
          <p:cNvSpPr>
            <a:spLocks noChangeAspect="1"/>
          </p:cNvSpPr>
          <p:nvPr userDrawn="1"/>
        </p:nvSpPr>
        <p:spPr bwMode="auto">
          <a:xfrm>
            <a:off x="6457437" y="4244901"/>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D86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109" name="Rectangle 108"/>
          <p:cNvSpPr/>
          <p:nvPr userDrawn="1"/>
        </p:nvSpPr>
        <p:spPr>
          <a:xfrm>
            <a:off x="6950643" y="4242296"/>
            <a:ext cx="918760"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ROTAVIRUS</a:t>
            </a:r>
          </a:p>
          <a:p>
            <a:pPr>
              <a:lnSpc>
                <a:spcPct val="90000"/>
              </a:lnSpc>
            </a:pPr>
            <a:r>
              <a:rPr lang="en-GB" sz="933" noProof="0">
                <a:solidFill>
                  <a:schemeClr val="tx1"/>
                </a:solidFill>
              </a:rPr>
              <a:t>R: 216</a:t>
            </a:r>
          </a:p>
          <a:p>
            <a:pPr>
              <a:lnSpc>
                <a:spcPct val="90000"/>
              </a:lnSpc>
            </a:pPr>
            <a:r>
              <a:rPr lang="en-GB" sz="933" noProof="0">
                <a:solidFill>
                  <a:schemeClr val="tx1"/>
                </a:solidFill>
              </a:rPr>
              <a:t>G: 96</a:t>
            </a:r>
          </a:p>
          <a:p>
            <a:pPr>
              <a:lnSpc>
                <a:spcPct val="90000"/>
              </a:lnSpc>
            </a:pPr>
            <a:r>
              <a:rPr lang="en-GB" sz="933" noProof="0">
                <a:solidFill>
                  <a:schemeClr val="tx1"/>
                </a:solidFill>
              </a:rPr>
              <a:t>B: 24</a:t>
            </a:r>
          </a:p>
        </p:txBody>
      </p:sp>
      <p:sp>
        <p:nvSpPr>
          <p:cNvPr id="106" name="Freeform 8"/>
          <p:cNvSpPr>
            <a:spLocks noChangeAspect="1"/>
          </p:cNvSpPr>
          <p:nvPr userDrawn="1"/>
        </p:nvSpPr>
        <p:spPr bwMode="auto">
          <a:xfrm>
            <a:off x="7869403" y="4244901"/>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EAA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107" name="Rectangle 106"/>
          <p:cNvSpPr/>
          <p:nvPr userDrawn="1"/>
        </p:nvSpPr>
        <p:spPr>
          <a:xfrm>
            <a:off x="8362608" y="4242296"/>
            <a:ext cx="997755"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YELLOW</a:t>
            </a:r>
          </a:p>
          <a:p>
            <a:pPr>
              <a:lnSpc>
                <a:spcPct val="90000"/>
              </a:lnSpc>
            </a:pPr>
            <a:r>
              <a:rPr lang="en-GB" sz="933" b="1" noProof="0">
                <a:solidFill>
                  <a:schemeClr val="tx1"/>
                </a:solidFill>
              </a:rPr>
              <a:t>FEVER</a:t>
            </a:r>
          </a:p>
          <a:p>
            <a:pPr>
              <a:lnSpc>
                <a:spcPct val="90000"/>
              </a:lnSpc>
            </a:pPr>
            <a:r>
              <a:rPr lang="en-GB" sz="933" noProof="0">
                <a:solidFill>
                  <a:schemeClr val="tx1"/>
                </a:solidFill>
              </a:rPr>
              <a:t>R: 234</a:t>
            </a:r>
          </a:p>
          <a:p>
            <a:pPr>
              <a:lnSpc>
                <a:spcPct val="90000"/>
              </a:lnSpc>
            </a:pPr>
            <a:r>
              <a:rPr lang="en-GB" sz="933" noProof="0">
                <a:solidFill>
                  <a:schemeClr val="tx1"/>
                </a:solidFill>
              </a:rPr>
              <a:t>G: 170</a:t>
            </a:r>
          </a:p>
          <a:p>
            <a:pPr>
              <a:lnSpc>
                <a:spcPct val="90000"/>
              </a:lnSpc>
            </a:pPr>
            <a:r>
              <a:rPr lang="en-GB" sz="933" noProof="0">
                <a:solidFill>
                  <a:schemeClr val="tx1"/>
                </a:solidFill>
              </a:rPr>
              <a:t>B: 0</a:t>
            </a:r>
          </a:p>
        </p:txBody>
      </p:sp>
      <p:sp>
        <p:nvSpPr>
          <p:cNvPr id="104" name="Freeform 8"/>
          <p:cNvSpPr>
            <a:spLocks noChangeAspect="1"/>
          </p:cNvSpPr>
          <p:nvPr userDrawn="1"/>
        </p:nvSpPr>
        <p:spPr bwMode="auto">
          <a:xfrm>
            <a:off x="9493117" y="4244901"/>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7D706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105" name="Rectangle 104"/>
          <p:cNvSpPr/>
          <p:nvPr userDrawn="1"/>
        </p:nvSpPr>
        <p:spPr>
          <a:xfrm>
            <a:off x="9986323" y="4242296"/>
            <a:ext cx="766195"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TYPHOÏD</a:t>
            </a:r>
          </a:p>
          <a:p>
            <a:pPr>
              <a:lnSpc>
                <a:spcPct val="90000"/>
              </a:lnSpc>
            </a:pPr>
            <a:r>
              <a:rPr lang="en-GB" sz="933" noProof="0">
                <a:solidFill>
                  <a:schemeClr val="tx1"/>
                </a:solidFill>
              </a:rPr>
              <a:t>R: 125</a:t>
            </a:r>
          </a:p>
          <a:p>
            <a:pPr>
              <a:lnSpc>
                <a:spcPct val="90000"/>
              </a:lnSpc>
            </a:pPr>
            <a:r>
              <a:rPr lang="en-GB" sz="933" noProof="0">
                <a:solidFill>
                  <a:schemeClr val="tx1"/>
                </a:solidFill>
              </a:rPr>
              <a:t>G: 112</a:t>
            </a:r>
          </a:p>
          <a:p>
            <a:pPr>
              <a:lnSpc>
                <a:spcPct val="90000"/>
              </a:lnSpc>
            </a:pPr>
            <a:r>
              <a:rPr lang="en-GB" sz="933" noProof="0">
                <a:solidFill>
                  <a:schemeClr val="tx1"/>
                </a:solidFill>
              </a:rPr>
              <a:t>B: 97</a:t>
            </a:r>
          </a:p>
        </p:txBody>
      </p:sp>
      <p:sp>
        <p:nvSpPr>
          <p:cNvPr id="123" name="Freeform 8"/>
          <p:cNvSpPr>
            <a:spLocks noChangeAspect="1"/>
          </p:cNvSpPr>
          <p:nvPr userDrawn="1"/>
        </p:nvSpPr>
        <p:spPr bwMode="auto">
          <a:xfrm>
            <a:off x="672000" y="3401125"/>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AF5C3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124" name="Rectangle 123"/>
          <p:cNvSpPr/>
          <p:nvPr userDrawn="1"/>
        </p:nvSpPr>
        <p:spPr>
          <a:xfrm>
            <a:off x="1165206" y="3398520"/>
            <a:ext cx="590549"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CHOLERA</a:t>
            </a:r>
          </a:p>
          <a:p>
            <a:pPr>
              <a:lnSpc>
                <a:spcPct val="90000"/>
              </a:lnSpc>
            </a:pPr>
            <a:r>
              <a:rPr lang="en-GB" sz="933" noProof="0">
                <a:solidFill>
                  <a:schemeClr val="tx1"/>
                </a:solidFill>
              </a:rPr>
              <a:t>R: 175</a:t>
            </a:r>
          </a:p>
          <a:p>
            <a:pPr>
              <a:lnSpc>
                <a:spcPct val="90000"/>
              </a:lnSpc>
            </a:pPr>
            <a:r>
              <a:rPr lang="en-GB" sz="933" noProof="0">
                <a:solidFill>
                  <a:schemeClr val="tx1"/>
                </a:solidFill>
              </a:rPr>
              <a:t>G: 92</a:t>
            </a:r>
          </a:p>
          <a:p>
            <a:pPr>
              <a:lnSpc>
                <a:spcPct val="90000"/>
              </a:lnSpc>
            </a:pPr>
            <a:r>
              <a:rPr lang="en-GB" sz="933" noProof="0">
                <a:solidFill>
                  <a:schemeClr val="tx1"/>
                </a:solidFill>
              </a:rPr>
              <a:t>B: 55</a:t>
            </a:r>
          </a:p>
        </p:txBody>
      </p:sp>
      <p:sp>
        <p:nvSpPr>
          <p:cNvPr id="121" name="Freeform 8"/>
          <p:cNvSpPr>
            <a:spLocks noChangeAspect="1"/>
          </p:cNvSpPr>
          <p:nvPr userDrawn="1"/>
        </p:nvSpPr>
        <p:spPr bwMode="auto">
          <a:xfrm>
            <a:off x="2117192" y="3401125"/>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D500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122" name="Rectangle 121"/>
          <p:cNvSpPr/>
          <p:nvPr userDrawn="1"/>
        </p:nvSpPr>
        <p:spPr>
          <a:xfrm>
            <a:off x="2610398" y="3398520"/>
            <a:ext cx="590549"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HEPB</a:t>
            </a:r>
          </a:p>
          <a:p>
            <a:pPr>
              <a:lnSpc>
                <a:spcPct val="90000"/>
              </a:lnSpc>
            </a:pPr>
            <a:r>
              <a:rPr lang="en-GB" sz="933" noProof="0">
                <a:solidFill>
                  <a:schemeClr val="tx1"/>
                </a:solidFill>
              </a:rPr>
              <a:t>R: 213</a:t>
            </a:r>
          </a:p>
          <a:p>
            <a:pPr>
              <a:lnSpc>
                <a:spcPct val="90000"/>
              </a:lnSpc>
            </a:pPr>
            <a:r>
              <a:rPr lang="en-GB" sz="933" noProof="0">
                <a:solidFill>
                  <a:schemeClr val="tx1"/>
                </a:solidFill>
              </a:rPr>
              <a:t>G: 0</a:t>
            </a:r>
          </a:p>
          <a:p>
            <a:pPr>
              <a:lnSpc>
                <a:spcPct val="90000"/>
              </a:lnSpc>
            </a:pPr>
            <a:r>
              <a:rPr lang="en-GB" sz="933" noProof="0">
                <a:solidFill>
                  <a:schemeClr val="tx1"/>
                </a:solidFill>
              </a:rPr>
              <a:t>B: 50</a:t>
            </a:r>
          </a:p>
        </p:txBody>
      </p:sp>
      <p:sp>
        <p:nvSpPr>
          <p:cNvPr id="119" name="Freeform 8"/>
          <p:cNvSpPr>
            <a:spLocks noChangeAspect="1"/>
          </p:cNvSpPr>
          <p:nvPr userDrawn="1"/>
        </p:nvSpPr>
        <p:spPr bwMode="auto">
          <a:xfrm>
            <a:off x="3529157" y="3401125"/>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F59B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120" name="Rectangle 119"/>
          <p:cNvSpPr/>
          <p:nvPr userDrawn="1"/>
        </p:nvSpPr>
        <p:spPr>
          <a:xfrm>
            <a:off x="4022363" y="3398520"/>
            <a:ext cx="590549"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HPV</a:t>
            </a:r>
          </a:p>
          <a:p>
            <a:pPr>
              <a:lnSpc>
                <a:spcPct val="90000"/>
              </a:lnSpc>
            </a:pPr>
            <a:r>
              <a:rPr lang="en-GB" sz="933" noProof="0">
                <a:solidFill>
                  <a:schemeClr val="tx1"/>
                </a:solidFill>
              </a:rPr>
              <a:t>R: 245</a:t>
            </a:r>
          </a:p>
          <a:p>
            <a:pPr>
              <a:lnSpc>
                <a:spcPct val="90000"/>
              </a:lnSpc>
            </a:pPr>
            <a:r>
              <a:rPr lang="en-GB" sz="933" noProof="0">
                <a:solidFill>
                  <a:schemeClr val="tx1"/>
                </a:solidFill>
              </a:rPr>
              <a:t>G: 155</a:t>
            </a:r>
          </a:p>
          <a:p>
            <a:pPr>
              <a:lnSpc>
                <a:spcPct val="90000"/>
              </a:lnSpc>
            </a:pPr>
            <a:r>
              <a:rPr lang="en-GB" sz="933" noProof="0">
                <a:solidFill>
                  <a:schemeClr val="tx1"/>
                </a:solidFill>
              </a:rPr>
              <a:t>B: 187</a:t>
            </a:r>
          </a:p>
        </p:txBody>
      </p:sp>
      <p:sp>
        <p:nvSpPr>
          <p:cNvPr id="126" name="Freeform 8"/>
          <p:cNvSpPr>
            <a:spLocks noChangeAspect="1"/>
          </p:cNvSpPr>
          <p:nvPr userDrawn="1"/>
        </p:nvSpPr>
        <p:spPr bwMode="auto">
          <a:xfrm>
            <a:off x="5012245" y="5110123"/>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646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127" name="Rectangle 126"/>
          <p:cNvSpPr/>
          <p:nvPr userDrawn="1"/>
        </p:nvSpPr>
        <p:spPr>
          <a:xfrm>
            <a:off x="5505451" y="5107517"/>
            <a:ext cx="590549"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RABIES</a:t>
            </a:r>
          </a:p>
          <a:p>
            <a:pPr>
              <a:lnSpc>
                <a:spcPct val="90000"/>
              </a:lnSpc>
            </a:pPr>
            <a:r>
              <a:rPr lang="en-GB" sz="933" noProof="0">
                <a:solidFill>
                  <a:schemeClr val="tx1"/>
                </a:solidFill>
              </a:rPr>
              <a:t>R: 100</a:t>
            </a:r>
          </a:p>
          <a:p>
            <a:pPr>
              <a:lnSpc>
                <a:spcPct val="90000"/>
              </a:lnSpc>
            </a:pPr>
            <a:r>
              <a:rPr lang="en-GB" sz="933" noProof="0">
                <a:solidFill>
                  <a:schemeClr val="tx1"/>
                </a:solidFill>
              </a:rPr>
              <a:t>G: 99</a:t>
            </a:r>
          </a:p>
          <a:p>
            <a:pPr>
              <a:lnSpc>
                <a:spcPct val="90000"/>
              </a:lnSpc>
            </a:pPr>
            <a:r>
              <a:rPr lang="en-GB" sz="933" noProof="0">
                <a:solidFill>
                  <a:schemeClr val="tx1"/>
                </a:solidFill>
              </a:rPr>
              <a:t>B: 99</a:t>
            </a:r>
          </a:p>
        </p:txBody>
      </p:sp>
      <p:sp>
        <p:nvSpPr>
          <p:cNvPr id="137" name="Freeform 8"/>
          <p:cNvSpPr>
            <a:spLocks noChangeAspect="1"/>
          </p:cNvSpPr>
          <p:nvPr userDrawn="1"/>
        </p:nvSpPr>
        <p:spPr bwMode="auto">
          <a:xfrm>
            <a:off x="672000" y="4244901"/>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005A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138" name="Rectangle 137"/>
          <p:cNvSpPr/>
          <p:nvPr userDrawn="1"/>
        </p:nvSpPr>
        <p:spPr>
          <a:xfrm>
            <a:off x="1165205" y="4242296"/>
            <a:ext cx="802336"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MEASLES</a:t>
            </a:r>
          </a:p>
          <a:p>
            <a:pPr>
              <a:lnSpc>
                <a:spcPct val="90000"/>
              </a:lnSpc>
            </a:pPr>
            <a:r>
              <a:rPr lang="en-GB" sz="933" b="1" noProof="0">
                <a:solidFill>
                  <a:schemeClr val="tx1"/>
                </a:solidFill>
              </a:rPr>
              <a:t>RUBELLA</a:t>
            </a:r>
          </a:p>
          <a:p>
            <a:pPr>
              <a:lnSpc>
                <a:spcPct val="90000"/>
              </a:lnSpc>
            </a:pPr>
            <a:r>
              <a:rPr lang="en-GB" sz="933" noProof="0">
                <a:solidFill>
                  <a:schemeClr val="tx1"/>
                </a:solidFill>
              </a:rPr>
              <a:t>R: 0</a:t>
            </a:r>
          </a:p>
          <a:p>
            <a:pPr>
              <a:lnSpc>
                <a:spcPct val="90000"/>
              </a:lnSpc>
            </a:pPr>
            <a:r>
              <a:rPr lang="en-GB" sz="933" noProof="0">
                <a:solidFill>
                  <a:schemeClr val="tx1"/>
                </a:solidFill>
              </a:rPr>
              <a:t>G: 90</a:t>
            </a:r>
          </a:p>
          <a:p>
            <a:pPr>
              <a:lnSpc>
                <a:spcPct val="90000"/>
              </a:lnSpc>
            </a:pPr>
            <a:r>
              <a:rPr lang="en-GB" sz="933" noProof="0">
                <a:solidFill>
                  <a:schemeClr val="tx1"/>
                </a:solidFill>
              </a:rPr>
              <a:t>B: 112</a:t>
            </a:r>
          </a:p>
        </p:txBody>
      </p:sp>
      <p:sp>
        <p:nvSpPr>
          <p:cNvPr id="135" name="Freeform 8"/>
          <p:cNvSpPr>
            <a:spLocks noChangeAspect="1"/>
          </p:cNvSpPr>
          <p:nvPr userDrawn="1"/>
        </p:nvSpPr>
        <p:spPr bwMode="auto">
          <a:xfrm>
            <a:off x="2117192" y="4244901"/>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0096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136" name="Rectangle 135"/>
          <p:cNvSpPr/>
          <p:nvPr userDrawn="1"/>
        </p:nvSpPr>
        <p:spPr>
          <a:xfrm>
            <a:off x="2610397" y="4242296"/>
            <a:ext cx="918760"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MENINGITIS</a:t>
            </a:r>
          </a:p>
          <a:p>
            <a:pPr>
              <a:lnSpc>
                <a:spcPct val="90000"/>
              </a:lnSpc>
            </a:pPr>
            <a:r>
              <a:rPr lang="en-GB" sz="933" b="1" noProof="0">
                <a:solidFill>
                  <a:schemeClr val="tx1"/>
                </a:solidFill>
              </a:rPr>
              <a:t>A</a:t>
            </a:r>
          </a:p>
          <a:p>
            <a:pPr>
              <a:lnSpc>
                <a:spcPct val="90000"/>
              </a:lnSpc>
            </a:pPr>
            <a:r>
              <a:rPr lang="en-GB" sz="933" noProof="0">
                <a:solidFill>
                  <a:schemeClr val="tx1"/>
                </a:solidFill>
              </a:rPr>
              <a:t>R: 0</a:t>
            </a:r>
          </a:p>
          <a:p>
            <a:pPr>
              <a:lnSpc>
                <a:spcPct val="90000"/>
              </a:lnSpc>
            </a:pPr>
            <a:r>
              <a:rPr lang="en-GB" sz="933" noProof="0">
                <a:solidFill>
                  <a:schemeClr val="tx1"/>
                </a:solidFill>
              </a:rPr>
              <a:t>G: 150</a:t>
            </a:r>
          </a:p>
          <a:p>
            <a:pPr>
              <a:lnSpc>
                <a:spcPct val="90000"/>
              </a:lnSpc>
            </a:pPr>
            <a:r>
              <a:rPr lang="en-GB" sz="933" noProof="0">
                <a:solidFill>
                  <a:schemeClr val="tx1"/>
                </a:solidFill>
              </a:rPr>
              <a:t>B: 57</a:t>
            </a:r>
          </a:p>
        </p:txBody>
      </p:sp>
      <p:sp>
        <p:nvSpPr>
          <p:cNvPr id="133" name="Freeform 8"/>
          <p:cNvSpPr>
            <a:spLocks noChangeAspect="1"/>
          </p:cNvSpPr>
          <p:nvPr userDrawn="1"/>
        </p:nvSpPr>
        <p:spPr bwMode="auto">
          <a:xfrm>
            <a:off x="3529157" y="4244901"/>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6532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134" name="Rectangle 133"/>
          <p:cNvSpPr/>
          <p:nvPr userDrawn="1"/>
        </p:nvSpPr>
        <p:spPr>
          <a:xfrm>
            <a:off x="4022363" y="4242296"/>
            <a:ext cx="989883"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PENTA</a:t>
            </a:r>
          </a:p>
          <a:p>
            <a:pPr>
              <a:lnSpc>
                <a:spcPct val="90000"/>
              </a:lnSpc>
            </a:pPr>
            <a:r>
              <a:rPr lang="en-GB" sz="933" b="1" noProof="0">
                <a:solidFill>
                  <a:schemeClr val="tx1"/>
                </a:solidFill>
              </a:rPr>
              <a:t>DTP–HEP-HIB</a:t>
            </a:r>
          </a:p>
          <a:p>
            <a:pPr>
              <a:lnSpc>
                <a:spcPct val="90000"/>
              </a:lnSpc>
            </a:pPr>
            <a:r>
              <a:rPr lang="en-GB" sz="933" noProof="0">
                <a:solidFill>
                  <a:schemeClr val="tx1"/>
                </a:solidFill>
              </a:rPr>
              <a:t>R: 101</a:t>
            </a:r>
          </a:p>
          <a:p>
            <a:pPr>
              <a:lnSpc>
                <a:spcPct val="90000"/>
              </a:lnSpc>
            </a:pPr>
            <a:r>
              <a:rPr lang="en-GB" sz="933" noProof="0">
                <a:solidFill>
                  <a:schemeClr val="tx1"/>
                </a:solidFill>
              </a:rPr>
              <a:t>G: 50</a:t>
            </a:r>
          </a:p>
          <a:p>
            <a:pPr>
              <a:lnSpc>
                <a:spcPct val="90000"/>
              </a:lnSpc>
            </a:pPr>
            <a:r>
              <a:rPr lang="en-GB" sz="933" noProof="0">
                <a:solidFill>
                  <a:schemeClr val="tx1"/>
                </a:solidFill>
              </a:rPr>
              <a:t>B: 121</a:t>
            </a:r>
          </a:p>
        </p:txBody>
      </p:sp>
      <p:sp>
        <p:nvSpPr>
          <p:cNvPr id="149" name="Freeform 8"/>
          <p:cNvSpPr>
            <a:spLocks noChangeAspect="1"/>
          </p:cNvSpPr>
          <p:nvPr userDrawn="1"/>
        </p:nvSpPr>
        <p:spPr bwMode="auto">
          <a:xfrm>
            <a:off x="672000" y="5110123"/>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150" name="Rectangle 149"/>
          <p:cNvSpPr/>
          <p:nvPr userDrawn="1"/>
        </p:nvSpPr>
        <p:spPr>
          <a:xfrm>
            <a:off x="1165205" y="5107517"/>
            <a:ext cx="802336"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DENGUE</a:t>
            </a:r>
          </a:p>
          <a:p>
            <a:pPr>
              <a:lnSpc>
                <a:spcPct val="90000"/>
              </a:lnSpc>
            </a:pPr>
            <a:r>
              <a:rPr lang="en-GB" sz="933" noProof="0">
                <a:solidFill>
                  <a:schemeClr val="tx1"/>
                </a:solidFill>
              </a:rPr>
              <a:t>R: 198</a:t>
            </a:r>
          </a:p>
          <a:p>
            <a:pPr>
              <a:lnSpc>
                <a:spcPct val="90000"/>
              </a:lnSpc>
            </a:pPr>
            <a:r>
              <a:rPr lang="en-GB" sz="933" noProof="0">
                <a:solidFill>
                  <a:schemeClr val="tx1"/>
                </a:solidFill>
              </a:rPr>
              <a:t>G:</a:t>
            </a:r>
            <a:r>
              <a:rPr lang="en-GB" sz="933" baseline="0" noProof="0">
                <a:solidFill>
                  <a:schemeClr val="tx1"/>
                </a:solidFill>
              </a:rPr>
              <a:t> </a:t>
            </a:r>
            <a:r>
              <a:rPr lang="en-GB" sz="933" noProof="0">
                <a:solidFill>
                  <a:schemeClr val="tx1"/>
                </a:solidFill>
              </a:rPr>
              <a:t>198</a:t>
            </a:r>
          </a:p>
          <a:p>
            <a:pPr>
              <a:lnSpc>
                <a:spcPct val="90000"/>
              </a:lnSpc>
            </a:pPr>
            <a:r>
              <a:rPr lang="en-GB" sz="933" noProof="0">
                <a:solidFill>
                  <a:schemeClr val="tx1"/>
                </a:solidFill>
              </a:rPr>
              <a:t>B:</a:t>
            </a:r>
            <a:r>
              <a:rPr lang="en-GB" sz="933" baseline="0" noProof="0">
                <a:solidFill>
                  <a:schemeClr val="tx1"/>
                </a:solidFill>
              </a:rPr>
              <a:t> </a:t>
            </a:r>
            <a:r>
              <a:rPr lang="en-GB" sz="933" noProof="0">
                <a:solidFill>
                  <a:schemeClr val="tx1"/>
                </a:solidFill>
              </a:rPr>
              <a:t>198</a:t>
            </a:r>
          </a:p>
        </p:txBody>
      </p:sp>
      <p:sp>
        <p:nvSpPr>
          <p:cNvPr id="147" name="Freeform 8"/>
          <p:cNvSpPr>
            <a:spLocks noChangeAspect="1"/>
          </p:cNvSpPr>
          <p:nvPr userDrawn="1"/>
        </p:nvSpPr>
        <p:spPr bwMode="auto">
          <a:xfrm>
            <a:off x="2117192" y="5110123"/>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A8A8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148" name="Rectangle 147"/>
          <p:cNvSpPr/>
          <p:nvPr userDrawn="1"/>
        </p:nvSpPr>
        <p:spPr>
          <a:xfrm>
            <a:off x="2610398" y="5107517"/>
            <a:ext cx="590549"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MALARIA</a:t>
            </a:r>
          </a:p>
          <a:p>
            <a:pPr>
              <a:lnSpc>
                <a:spcPct val="90000"/>
              </a:lnSpc>
            </a:pPr>
            <a:r>
              <a:rPr lang="en-GB" sz="933" noProof="0">
                <a:solidFill>
                  <a:schemeClr val="tx1"/>
                </a:solidFill>
              </a:rPr>
              <a:t>R: 168</a:t>
            </a:r>
          </a:p>
          <a:p>
            <a:pPr>
              <a:lnSpc>
                <a:spcPct val="90000"/>
              </a:lnSpc>
            </a:pPr>
            <a:r>
              <a:rPr lang="en-GB" sz="933" noProof="0">
                <a:solidFill>
                  <a:schemeClr val="tx1"/>
                </a:solidFill>
              </a:rPr>
              <a:t>G: 168</a:t>
            </a:r>
          </a:p>
          <a:p>
            <a:pPr>
              <a:lnSpc>
                <a:spcPct val="90000"/>
              </a:lnSpc>
            </a:pPr>
            <a:r>
              <a:rPr lang="en-GB" sz="933" noProof="0">
                <a:solidFill>
                  <a:schemeClr val="tx1"/>
                </a:solidFill>
              </a:rPr>
              <a:t>B: 167</a:t>
            </a:r>
          </a:p>
        </p:txBody>
      </p:sp>
      <p:sp>
        <p:nvSpPr>
          <p:cNvPr id="145" name="Freeform 8"/>
          <p:cNvSpPr>
            <a:spLocks noChangeAspect="1"/>
          </p:cNvSpPr>
          <p:nvPr userDrawn="1"/>
        </p:nvSpPr>
        <p:spPr bwMode="auto">
          <a:xfrm>
            <a:off x="3529157" y="5110123"/>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8787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146" name="Rectangle 145"/>
          <p:cNvSpPr/>
          <p:nvPr userDrawn="1"/>
        </p:nvSpPr>
        <p:spPr>
          <a:xfrm>
            <a:off x="4022363" y="5107517"/>
            <a:ext cx="989883"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MATERNAL</a:t>
            </a:r>
          </a:p>
          <a:p>
            <a:pPr>
              <a:lnSpc>
                <a:spcPct val="90000"/>
              </a:lnSpc>
            </a:pPr>
            <a:r>
              <a:rPr lang="en-GB" sz="933" b="1" noProof="0">
                <a:solidFill>
                  <a:schemeClr val="tx1"/>
                </a:solidFill>
              </a:rPr>
              <a:t>FLU</a:t>
            </a:r>
          </a:p>
          <a:p>
            <a:pPr>
              <a:lnSpc>
                <a:spcPct val="90000"/>
              </a:lnSpc>
            </a:pPr>
            <a:r>
              <a:rPr lang="en-GB" sz="933" noProof="0">
                <a:solidFill>
                  <a:schemeClr val="tx1"/>
                </a:solidFill>
              </a:rPr>
              <a:t>R: 135</a:t>
            </a:r>
          </a:p>
          <a:p>
            <a:pPr>
              <a:lnSpc>
                <a:spcPct val="90000"/>
              </a:lnSpc>
            </a:pPr>
            <a:r>
              <a:rPr lang="en-GB" sz="933" noProof="0">
                <a:solidFill>
                  <a:schemeClr val="tx1"/>
                </a:solidFill>
              </a:rPr>
              <a:t>G: 135</a:t>
            </a:r>
          </a:p>
          <a:p>
            <a:pPr>
              <a:lnSpc>
                <a:spcPct val="90000"/>
              </a:lnSpc>
            </a:pPr>
            <a:r>
              <a:rPr lang="en-GB" sz="933" noProof="0">
                <a:solidFill>
                  <a:schemeClr val="tx1"/>
                </a:solidFill>
              </a:rPr>
              <a:t>B: 135</a:t>
            </a:r>
          </a:p>
        </p:txBody>
      </p:sp>
    </p:spTree>
    <p:extLst>
      <p:ext uri="{BB962C8B-B14F-4D97-AF65-F5344CB8AC3E}">
        <p14:creationId xmlns:p14="http://schemas.microsoft.com/office/powerpoint/2010/main" val="550776204"/>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Cover_Blue">
    <p:spTree>
      <p:nvGrpSpPr>
        <p:cNvPr id="1" name=""/>
        <p:cNvGrpSpPr/>
        <p:nvPr/>
      </p:nvGrpSpPr>
      <p:grpSpPr>
        <a:xfrm>
          <a:off x="0" y="0"/>
          <a:ext cx="0" cy="0"/>
          <a:chOff x="0" y="0"/>
          <a:chExt cx="0" cy="0"/>
        </a:xfrm>
      </p:grpSpPr>
      <p:pic>
        <p:nvPicPr>
          <p:cNvPr id="17" name="Imag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5161280"/>
          </a:xfrm>
          <a:prstGeom prst="rect">
            <a:avLst/>
          </a:prstGeom>
        </p:spPr>
      </p:pic>
      <p:pic>
        <p:nvPicPr>
          <p:cNvPr id="13" name="Image 12" descr="Bas_couv.png"/>
          <p:cNvPicPr>
            <a:picLocks noChangeAspect="1"/>
          </p:cNvPicPr>
          <p:nvPr userDrawn="1"/>
        </p:nvPicPr>
        <p:blipFill>
          <a:blip r:embed="rId3" cstate="print"/>
          <a:srcRect r="60243" b="722"/>
          <a:stretch>
            <a:fillRect/>
          </a:stretch>
        </p:blipFill>
        <p:spPr bwMode="gray">
          <a:xfrm>
            <a:off x="251520" y="5213040"/>
            <a:ext cx="3416493" cy="1584000"/>
          </a:xfrm>
          <a:prstGeom prst="rect">
            <a:avLst/>
          </a:prstGeom>
        </p:spPr>
      </p:pic>
      <p:sp>
        <p:nvSpPr>
          <p:cNvPr id="22" name="Rectangle 21"/>
          <p:cNvSpPr/>
          <p:nvPr userDrawn="1"/>
        </p:nvSpPr>
        <p:spPr bwMode="gray">
          <a:xfrm>
            <a:off x="4847169" y="5265205"/>
            <a:ext cx="7344833" cy="15927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sp>
        <p:nvSpPr>
          <p:cNvPr id="9" name="Espace réservé du texte 8"/>
          <p:cNvSpPr>
            <a:spLocks noGrp="1"/>
          </p:cNvSpPr>
          <p:nvPr>
            <p:ph type="body" sz="quarter" idx="13" hasCustomPrompt="1"/>
          </p:nvPr>
        </p:nvSpPr>
        <p:spPr bwMode="gray">
          <a:xfrm>
            <a:off x="672000" y="974400"/>
            <a:ext cx="6384000" cy="2232000"/>
          </a:xfrm>
        </p:spPr>
        <p:txBody>
          <a:bodyPr anchor="b" anchorCtr="0"/>
          <a:lstStyle>
            <a:lvl1pPr marL="0" indent="0" algn="l">
              <a:lnSpc>
                <a:spcPct val="90000"/>
              </a:lnSpc>
              <a:buNone/>
              <a:defRPr sz="3733" b="1" cap="none" baseline="0">
                <a:solidFill>
                  <a:schemeClr val="bg1"/>
                </a:solidFill>
              </a:defRPr>
            </a:lvl1pPr>
            <a:lvl2pPr marL="0" algn="ctr">
              <a:lnSpc>
                <a:spcPct val="100000"/>
              </a:lnSpc>
              <a:spcBef>
                <a:spcPts val="9200"/>
              </a:spcBef>
              <a:defRPr sz="2667" b="1">
                <a:solidFill>
                  <a:schemeClr val="bg1"/>
                </a:solidFill>
              </a:defRPr>
            </a:lvl2pPr>
          </a:lstStyle>
          <a:p>
            <a:pPr lvl="0"/>
            <a:r>
              <a:rPr lang="en-GB" noProof="0"/>
              <a:t>TITLE</a:t>
            </a:r>
          </a:p>
        </p:txBody>
      </p:sp>
      <p:sp>
        <p:nvSpPr>
          <p:cNvPr id="8" name="Espace réservé du texte 8"/>
          <p:cNvSpPr>
            <a:spLocks noGrp="1"/>
          </p:cNvSpPr>
          <p:nvPr>
            <p:ph type="body" sz="quarter" idx="14" hasCustomPrompt="1"/>
          </p:nvPr>
        </p:nvSpPr>
        <p:spPr bwMode="gray">
          <a:xfrm>
            <a:off x="672000" y="3585600"/>
            <a:ext cx="6384000" cy="1478400"/>
          </a:xfrm>
        </p:spPr>
        <p:txBody>
          <a:bodyPr anchor="t" anchorCtr="0"/>
          <a:lstStyle>
            <a:lvl1pPr marL="0" indent="0" algn="l">
              <a:lnSpc>
                <a:spcPct val="90000"/>
              </a:lnSpc>
              <a:buNone/>
              <a:defRPr sz="2667" b="0" baseline="0">
                <a:solidFill>
                  <a:schemeClr val="bg1"/>
                </a:solidFill>
              </a:defRPr>
            </a:lvl1pPr>
            <a:lvl2pPr marL="0" algn="ctr">
              <a:lnSpc>
                <a:spcPct val="100000"/>
              </a:lnSpc>
              <a:spcBef>
                <a:spcPts val="9200"/>
              </a:spcBef>
              <a:defRPr sz="2667" b="1">
                <a:solidFill>
                  <a:schemeClr val="bg1"/>
                </a:solidFill>
              </a:defRPr>
            </a:lvl2pPr>
          </a:lstStyle>
          <a:p>
            <a:pPr lvl="0"/>
            <a:r>
              <a:rPr lang="en-GB" noProof="0"/>
              <a:t>SUBTITLE</a:t>
            </a:r>
          </a:p>
        </p:txBody>
      </p:sp>
      <p:sp>
        <p:nvSpPr>
          <p:cNvPr id="11" name="Espace réservé du numéro de diapositive 10"/>
          <p:cNvSpPr>
            <a:spLocks noGrp="1"/>
          </p:cNvSpPr>
          <p:nvPr>
            <p:ph type="sldNum" sz="quarter" idx="16"/>
          </p:nvPr>
        </p:nvSpPr>
        <p:spPr bwMode="gray"/>
        <p:txBody>
          <a:bodyPr/>
          <a:lstStyle>
            <a:lvl1pPr>
              <a:defRPr sz="133">
                <a:solidFill>
                  <a:schemeClr val="bg1">
                    <a:alpha val="0"/>
                  </a:schemeClr>
                </a:solidFill>
              </a:defRPr>
            </a:lvl1pPr>
          </a:lstStyle>
          <a:p>
            <a:pPr algn="l"/>
            <a:r>
              <a:rPr lang="en-GB" noProof="0"/>
              <a:t>Page: </a:t>
            </a:r>
            <a:fld id="{733122C9-A0B9-462F-8757-0847AD287B63}" type="slidenum">
              <a:rPr lang="en-GB" noProof="0" smtClean="0"/>
              <a:pPr algn="l"/>
              <a:t>‹#›</a:t>
            </a:fld>
            <a:endParaRPr lang="en-GB" noProof="0"/>
          </a:p>
        </p:txBody>
      </p:sp>
      <p:sp>
        <p:nvSpPr>
          <p:cNvPr id="15" name="Espace réservé du texte 14"/>
          <p:cNvSpPr>
            <a:spLocks noGrp="1"/>
          </p:cNvSpPr>
          <p:nvPr>
            <p:ph type="body" sz="quarter" idx="19" hasCustomPrompt="1"/>
          </p:nvPr>
        </p:nvSpPr>
        <p:spPr bwMode="gray">
          <a:xfrm>
            <a:off x="5592000" y="5899200"/>
            <a:ext cx="5884800" cy="326400"/>
          </a:xfrm>
        </p:spPr>
        <p:txBody>
          <a:bodyPr anchor="b" anchorCtr="0"/>
          <a:lstStyle>
            <a:lvl1pPr algn="r">
              <a:lnSpc>
                <a:spcPct val="100000"/>
              </a:lnSpc>
              <a:defRPr sz="1200" b="1">
                <a:solidFill>
                  <a:schemeClr val="accent2"/>
                </a:solidFill>
              </a:defRPr>
            </a:lvl1pPr>
          </a:lstStyle>
          <a:p>
            <a:r>
              <a:rPr lang="fr-FR" err="1"/>
              <a:t>Reach</a:t>
            </a:r>
            <a:r>
              <a:rPr lang="fr-FR"/>
              <a:t> </a:t>
            </a:r>
            <a:r>
              <a:rPr lang="fr-FR" err="1"/>
              <a:t>every</a:t>
            </a:r>
            <a:r>
              <a:rPr lang="fr-FR"/>
              <a:t> </a:t>
            </a:r>
            <a:r>
              <a:rPr lang="fr-FR" err="1"/>
              <a:t>child</a:t>
            </a:r>
            <a:endParaRPr lang="fr-FR"/>
          </a:p>
        </p:txBody>
      </p:sp>
      <p:sp>
        <p:nvSpPr>
          <p:cNvPr id="16" name="Rectangle 15"/>
          <p:cNvSpPr/>
          <p:nvPr userDrawn="1"/>
        </p:nvSpPr>
        <p:spPr bwMode="gray">
          <a:xfrm>
            <a:off x="5592000" y="6283200"/>
            <a:ext cx="5884800" cy="28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r>
              <a:rPr lang="en-GB" sz="1200" noProof="0">
                <a:solidFill>
                  <a:schemeClr val="accent3"/>
                </a:solidFill>
              </a:rPr>
              <a:t>www.gavi.org</a:t>
            </a:r>
          </a:p>
        </p:txBody>
      </p:sp>
      <p:sp>
        <p:nvSpPr>
          <p:cNvPr id="18" name="Rectangle 17"/>
          <p:cNvSpPr/>
          <p:nvPr userDrawn="1"/>
        </p:nvSpPr>
        <p:spPr bwMode="gray">
          <a:xfrm>
            <a:off x="672000" y="3391895"/>
            <a:ext cx="2337600" cy="25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spTree>
    <p:extLst>
      <p:ext uri="{BB962C8B-B14F-4D97-AF65-F5344CB8AC3E}">
        <p14:creationId xmlns:p14="http://schemas.microsoft.com/office/powerpoint/2010/main" val="754260928"/>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Cover_Picture_2">
    <p:spTree>
      <p:nvGrpSpPr>
        <p:cNvPr id="1" name=""/>
        <p:cNvGrpSpPr/>
        <p:nvPr/>
      </p:nvGrpSpPr>
      <p:grpSpPr>
        <a:xfrm>
          <a:off x="0" y="0"/>
          <a:ext cx="0" cy="0"/>
          <a:chOff x="0" y="0"/>
          <a:chExt cx="0" cy="0"/>
        </a:xfrm>
      </p:grpSpPr>
      <p:pic>
        <p:nvPicPr>
          <p:cNvPr id="24" name="Image 2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5161280"/>
          </a:xfrm>
          <a:prstGeom prst="rect">
            <a:avLst/>
          </a:prstGeom>
        </p:spPr>
      </p:pic>
      <p:pic>
        <p:nvPicPr>
          <p:cNvPr id="23" name="Image 22" descr="Bas_couv.png"/>
          <p:cNvPicPr>
            <a:picLocks noChangeAspect="1"/>
          </p:cNvPicPr>
          <p:nvPr userDrawn="1"/>
        </p:nvPicPr>
        <p:blipFill>
          <a:blip r:embed="rId3" cstate="print"/>
          <a:srcRect r="60243" b="722"/>
          <a:stretch>
            <a:fillRect/>
          </a:stretch>
        </p:blipFill>
        <p:spPr bwMode="gray">
          <a:xfrm>
            <a:off x="251520" y="5213040"/>
            <a:ext cx="3416493" cy="1584000"/>
          </a:xfrm>
          <a:prstGeom prst="rect">
            <a:avLst/>
          </a:prstGeom>
        </p:spPr>
      </p:pic>
      <p:sp>
        <p:nvSpPr>
          <p:cNvPr id="22" name="Rectangle 21"/>
          <p:cNvSpPr/>
          <p:nvPr userDrawn="1"/>
        </p:nvSpPr>
        <p:spPr bwMode="gray">
          <a:xfrm>
            <a:off x="4847169" y="5265205"/>
            <a:ext cx="7344833" cy="15927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sp>
        <p:nvSpPr>
          <p:cNvPr id="9" name="Espace réservé du texte 8"/>
          <p:cNvSpPr>
            <a:spLocks noGrp="1"/>
          </p:cNvSpPr>
          <p:nvPr>
            <p:ph type="body" sz="quarter" idx="13" hasCustomPrompt="1"/>
          </p:nvPr>
        </p:nvSpPr>
        <p:spPr bwMode="gray">
          <a:xfrm>
            <a:off x="672000" y="974400"/>
            <a:ext cx="6384000" cy="2232000"/>
          </a:xfrm>
        </p:spPr>
        <p:txBody>
          <a:bodyPr anchor="b" anchorCtr="0"/>
          <a:lstStyle>
            <a:lvl1pPr marL="0" indent="0" algn="l">
              <a:lnSpc>
                <a:spcPct val="90000"/>
              </a:lnSpc>
              <a:buNone/>
              <a:defRPr sz="3733" b="1" cap="none" baseline="0">
                <a:solidFill>
                  <a:schemeClr val="bg1"/>
                </a:solidFill>
              </a:defRPr>
            </a:lvl1pPr>
            <a:lvl2pPr marL="0" algn="ctr">
              <a:lnSpc>
                <a:spcPct val="100000"/>
              </a:lnSpc>
              <a:spcBef>
                <a:spcPts val="9200"/>
              </a:spcBef>
              <a:defRPr sz="2667" b="1">
                <a:solidFill>
                  <a:schemeClr val="bg1"/>
                </a:solidFill>
              </a:defRPr>
            </a:lvl2pPr>
          </a:lstStyle>
          <a:p>
            <a:pPr lvl="0"/>
            <a:r>
              <a:rPr lang="en-GB" noProof="0"/>
              <a:t>TITLE</a:t>
            </a:r>
          </a:p>
        </p:txBody>
      </p:sp>
      <p:sp>
        <p:nvSpPr>
          <p:cNvPr id="8" name="Espace réservé du texte 8"/>
          <p:cNvSpPr>
            <a:spLocks noGrp="1"/>
          </p:cNvSpPr>
          <p:nvPr>
            <p:ph type="body" sz="quarter" idx="14" hasCustomPrompt="1"/>
          </p:nvPr>
        </p:nvSpPr>
        <p:spPr bwMode="gray">
          <a:xfrm>
            <a:off x="672000" y="3585600"/>
            <a:ext cx="6384000" cy="1479600"/>
          </a:xfrm>
        </p:spPr>
        <p:txBody>
          <a:bodyPr anchor="t" anchorCtr="0"/>
          <a:lstStyle>
            <a:lvl1pPr marL="0" indent="0" algn="l">
              <a:lnSpc>
                <a:spcPct val="90000"/>
              </a:lnSpc>
              <a:buNone/>
              <a:defRPr sz="2667" b="0" baseline="0">
                <a:solidFill>
                  <a:schemeClr val="bg1"/>
                </a:solidFill>
              </a:defRPr>
            </a:lvl1pPr>
            <a:lvl2pPr marL="0" algn="ctr">
              <a:lnSpc>
                <a:spcPct val="100000"/>
              </a:lnSpc>
              <a:spcBef>
                <a:spcPts val="9200"/>
              </a:spcBef>
              <a:defRPr sz="2667" b="1">
                <a:solidFill>
                  <a:schemeClr val="bg1"/>
                </a:solidFill>
              </a:defRPr>
            </a:lvl2pPr>
          </a:lstStyle>
          <a:p>
            <a:pPr lvl="0"/>
            <a:r>
              <a:rPr lang="en-GB" noProof="0"/>
              <a:t>SUBTITLE</a:t>
            </a:r>
          </a:p>
        </p:txBody>
      </p:sp>
      <p:sp>
        <p:nvSpPr>
          <p:cNvPr id="11" name="Espace réservé du numéro de diapositive 10"/>
          <p:cNvSpPr>
            <a:spLocks noGrp="1"/>
          </p:cNvSpPr>
          <p:nvPr>
            <p:ph type="sldNum" sz="quarter" idx="16"/>
          </p:nvPr>
        </p:nvSpPr>
        <p:spPr bwMode="gray"/>
        <p:txBody>
          <a:bodyPr/>
          <a:lstStyle>
            <a:lvl1pPr>
              <a:defRPr sz="133">
                <a:solidFill>
                  <a:schemeClr val="bg1">
                    <a:alpha val="0"/>
                  </a:schemeClr>
                </a:solidFill>
              </a:defRPr>
            </a:lvl1pPr>
          </a:lstStyle>
          <a:p>
            <a:pPr algn="l"/>
            <a:r>
              <a:rPr lang="en-GB" noProof="0"/>
              <a:t>Page: </a:t>
            </a:r>
            <a:fld id="{733122C9-A0B9-462F-8757-0847AD287B63}" type="slidenum">
              <a:rPr lang="en-GB" noProof="0" smtClean="0"/>
              <a:pPr algn="l"/>
              <a:t>‹#›</a:t>
            </a:fld>
            <a:endParaRPr lang="en-GB" noProof="0"/>
          </a:p>
        </p:txBody>
      </p:sp>
      <p:sp>
        <p:nvSpPr>
          <p:cNvPr id="15" name="Espace réservé du texte 14"/>
          <p:cNvSpPr>
            <a:spLocks noGrp="1"/>
          </p:cNvSpPr>
          <p:nvPr>
            <p:ph type="body" sz="quarter" idx="19" hasCustomPrompt="1"/>
          </p:nvPr>
        </p:nvSpPr>
        <p:spPr bwMode="gray">
          <a:xfrm>
            <a:off x="5592000" y="5899200"/>
            <a:ext cx="5884800" cy="324000"/>
          </a:xfrm>
        </p:spPr>
        <p:txBody>
          <a:bodyPr anchor="b" anchorCtr="0"/>
          <a:lstStyle>
            <a:lvl1pPr algn="r">
              <a:lnSpc>
                <a:spcPct val="100000"/>
              </a:lnSpc>
              <a:defRPr sz="1200" b="1">
                <a:solidFill>
                  <a:schemeClr val="accent2"/>
                </a:solidFill>
              </a:defRPr>
            </a:lvl1pPr>
          </a:lstStyle>
          <a:p>
            <a:r>
              <a:rPr lang="fr-FR" err="1"/>
              <a:t>Reach</a:t>
            </a:r>
            <a:r>
              <a:rPr lang="fr-FR"/>
              <a:t> </a:t>
            </a:r>
            <a:r>
              <a:rPr lang="fr-FR" err="1"/>
              <a:t>every</a:t>
            </a:r>
            <a:r>
              <a:rPr lang="fr-FR"/>
              <a:t> </a:t>
            </a:r>
            <a:r>
              <a:rPr lang="fr-FR" err="1"/>
              <a:t>child</a:t>
            </a:r>
            <a:endParaRPr lang="fr-FR"/>
          </a:p>
        </p:txBody>
      </p:sp>
      <p:sp>
        <p:nvSpPr>
          <p:cNvPr id="16" name="Rectangle 15"/>
          <p:cNvSpPr/>
          <p:nvPr userDrawn="1"/>
        </p:nvSpPr>
        <p:spPr bwMode="gray">
          <a:xfrm>
            <a:off x="5592000" y="6283200"/>
            <a:ext cx="5884800" cy="287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r>
              <a:rPr lang="en-GB" sz="1200" noProof="0">
                <a:solidFill>
                  <a:schemeClr val="accent3"/>
                </a:solidFill>
              </a:rPr>
              <a:t>www.gavi.org</a:t>
            </a:r>
          </a:p>
        </p:txBody>
      </p:sp>
      <p:sp>
        <p:nvSpPr>
          <p:cNvPr id="19" name="Rectangle 18"/>
          <p:cNvSpPr/>
          <p:nvPr userDrawn="1"/>
        </p:nvSpPr>
        <p:spPr bwMode="gray">
          <a:xfrm>
            <a:off x="672000" y="3391895"/>
            <a:ext cx="2337600" cy="25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sp>
        <p:nvSpPr>
          <p:cNvPr id="18" name="Espace réservé pour une image  25"/>
          <p:cNvSpPr>
            <a:spLocks noGrp="1"/>
          </p:cNvSpPr>
          <p:nvPr>
            <p:ph type="pic" sz="quarter" idx="10" hasCustomPrompt="1"/>
          </p:nvPr>
        </p:nvSpPr>
        <p:spPr>
          <a:xfrm>
            <a:off x="6821913" y="0"/>
            <a:ext cx="5370089" cy="5158800"/>
          </a:xfrm>
          <a:custGeom>
            <a:avLst/>
            <a:gdLst>
              <a:gd name="connsiteX0" fmla="*/ 1929568 w 4027567"/>
              <a:gd name="connsiteY0" fmla="*/ 0 h 3869100"/>
              <a:gd name="connsiteX1" fmla="*/ 4027567 w 4027567"/>
              <a:gd name="connsiteY1" fmla="*/ 0 h 3869100"/>
              <a:gd name="connsiteX2" fmla="*/ 4027567 w 4027567"/>
              <a:gd name="connsiteY2" fmla="*/ 3869100 h 3869100"/>
              <a:gd name="connsiteX3" fmla="*/ 0 w 4027567"/>
              <a:gd name="connsiteY3" fmla="*/ 3869100 h 3869100"/>
              <a:gd name="connsiteX4" fmla="*/ 29823 w 4027567"/>
              <a:gd name="connsiteY4" fmla="*/ 3580448 h 3869100"/>
              <a:gd name="connsiteX5" fmla="*/ 1929568 w 4027567"/>
              <a:gd name="connsiteY5" fmla="*/ 0 h 3869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27567" h="3869100">
                <a:moveTo>
                  <a:pt x="1929568" y="0"/>
                </a:moveTo>
                <a:lnTo>
                  <a:pt x="4027567" y="0"/>
                </a:lnTo>
                <a:lnTo>
                  <a:pt x="4027567" y="3869100"/>
                </a:lnTo>
                <a:lnTo>
                  <a:pt x="0" y="3869100"/>
                </a:lnTo>
                <a:lnTo>
                  <a:pt x="29823" y="3580448"/>
                </a:lnTo>
                <a:cubicBezTo>
                  <a:pt x="280550" y="2115735"/>
                  <a:pt x="1924285" y="945283"/>
                  <a:pt x="1929568" y="0"/>
                </a:cubicBezTo>
                <a:close/>
              </a:path>
            </a:pathLst>
          </a:custGeom>
          <a:solidFill>
            <a:schemeClr val="bg2"/>
          </a:solidFill>
        </p:spPr>
        <p:txBody>
          <a:bodyPr wrap="square" tIns="720000" anchor="ctr" anchorCtr="0">
            <a:noAutofit/>
          </a:bodyPr>
          <a:lstStyle>
            <a:lvl1pPr marL="0" marR="0" indent="0" algn="ctr" defTabSz="1219170" rtl="0" eaLnBrk="1" fontAlgn="auto" latinLnBrk="0" hangingPunct="1">
              <a:lnSpc>
                <a:spcPct val="110000"/>
              </a:lnSpc>
              <a:spcBef>
                <a:spcPts val="0"/>
              </a:spcBef>
              <a:spcAft>
                <a:spcPts val="0"/>
              </a:spcAft>
              <a:buClrTx/>
              <a:buSzTx/>
              <a:buFont typeface="Arial" pitchFamily="34" charset="0"/>
              <a:buNone/>
              <a:tabLst/>
              <a:defRPr sz="2000">
                <a:solidFill>
                  <a:schemeClr val="bg1"/>
                </a:solidFill>
              </a:defRPr>
            </a:lvl1pPr>
          </a:lstStyle>
          <a:p>
            <a:r>
              <a:rPr lang="en-GB" noProof="0"/>
              <a:t>Select your own photo</a:t>
            </a:r>
          </a:p>
        </p:txBody>
      </p:sp>
      <p:sp>
        <p:nvSpPr>
          <p:cNvPr id="17" name="Espace réservé du texte 16"/>
          <p:cNvSpPr>
            <a:spLocks noGrp="1"/>
          </p:cNvSpPr>
          <p:nvPr>
            <p:ph type="body" sz="quarter" idx="20" hasCustomPrompt="1"/>
          </p:nvPr>
        </p:nvSpPr>
        <p:spPr bwMode="gray">
          <a:xfrm>
            <a:off x="0" y="5157789"/>
            <a:ext cx="12192000" cy="287337"/>
          </a:xfrm>
          <a:solidFill>
            <a:schemeClr val="bg1"/>
          </a:solidFill>
        </p:spPr>
        <p:txBody>
          <a:bodyPr/>
          <a:lstStyle>
            <a:lvl1pPr>
              <a:defRPr sz="133" b="0">
                <a:solidFill>
                  <a:schemeClr val="bg1">
                    <a:alpha val="0"/>
                  </a:schemeClr>
                </a:solidFill>
              </a:defRPr>
            </a:lvl1pPr>
          </a:lstStyle>
          <a:p>
            <a:pPr lvl="0"/>
            <a:r>
              <a:rPr lang="en-GB" noProof="0"/>
              <a:t> </a:t>
            </a:r>
          </a:p>
        </p:txBody>
      </p:sp>
    </p:spTree>
    <p:extLst>
      <p:ext uri="{BB962C8B-B14F-4D97-AF65-F5344CB8AC3E}">
        <p14:creationId xmlns:p14="http://schemas.microsoft.com/office/powerpoint/2010/main" val="650732169"/>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Chapter_Layout">
    <p:spTree>
      <p:nvGrpSpPr>
        <p:cNvPr id="1" name=""/>
        <p:cNvGrpSpPr/>
        <p:nvPr/>
      </p:nvGrpSpPr>
      <p:grpSpPr>
        <a:xfrm>
          <a:off x="0" y="0"/>
          <a:ext cx="0" cy="0"/>
          <a:chOff x="0" y="0"/>
          <a:chExt cx="0" cy="0"/>
        </a:xfrm>
      </p:grpSpPr>
      <p:pic>
        <p:nvPicPr>
          <p:cNvPr id="4" name="Imag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0"/>
            <a:ext cx="3453377" cy="6858000"/>
          </a:xfrm>
          <a:prstGeom prst="rect">
            <a:avLst/>
          </a:prstGeom>
        </p:spPr>
      </p:pic>
      <p:sp>
        <p:nvSpPr>
          <p:cNvPr id="2" name="Titre 1"/>
          <p:cNvSpPr>
            <a:spLocks noGrp="1"/>
          </p:cNvSpPr>
          <p:nvPr>
            <p:ph type="title" hasCustomPrompt="1"/>
          </p:nvPr>
        </p:nvSpPr>
        <p:spPr bwMode="gray">
          <a:xfrm>
            <a:off x="3672000" y="1037167"/>
            <a:ext cx="7368533" cy="1646864"/>
          </a:xfrm>
        </p:spPr>
        <p:txBody>
          <a:bodyPr/>
          <a:lstStyle/>
          <a:p>
            <a:r>
              <a:rPr lang="en-GB" noProof="0"/>
              <a:t>TITLE</a:t>
            </a:r>
          </a:p>
        </p:txBody>
      </p:sp>
      <p:sp>
        <p:nvSpPr>
          <p:cNvPr id="10" name="Espace réservé du texte 9"/>
          <p:cNvSpPr>
            <a:spLocks noGrp="1"/>
          </p:cNvSpPr>
          <p:nvPr>
            <p:ph type="body" sz="quarter" idx="13" hasCustomPrompt="1"/>
          </p:nvPr>
        </p:nvSpPr>
        <p:spPr bwMode="gray">
          <a:xfrm>
            <a:off x="3672000" y="2902572"/>
            <a:ext cx="7368533" cy="2903445"/>
          </a:xfrm>
        </p:spPr>
        <p:txBody>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4" name="Espace réservé du texte 9"/>
          <p:cNvSpPr>
            <a:spLocks noGrp="1"/>
          </p:cNvSpPr>
          <p:nvPr>
            <p:ph type="body" sz="quarter" idx="14" hasCustomPrompt="1"/>
          </p:nvPr>
        </p:nvSpPr>
        <p:spPr bwMode="gray">
          <a:xfrm>
            <a:off x="0" y="1"/>
            <a:ext cx="2495211" cy="4990431"/>
          </a:xfrm>
        </p:spPr>
        <p:txBody>
          <a:bodyPr/>
          <a:lstStyle>
            <a:lvl1pPr algn="r">
              <a:defRPr sz="22133" b="1">
                <a:solidFill>
                  <a:schemeClr val="bg1"/>
                </a:solidFill>
              </a:defRPr>
            </a:lvl1pPr>
          </a:lstStyle>
          <a:p>
            <a:pPr lvl="0"/>
            <a:r>
              <a:rPr lang="en-GB" noProof="0"/>
              <a:t>0</a:t>
            </a:r>
          </a:p>
        </p:txBody>
      </p:sp>
      <p:sp>
        <p:nvSpPr>
          <p:cNvPr id="12" name="Espace réservé du numéro de diapositive 11"/>
          <p:cNvSpPr>
            <a:spLocks noGrp="1"/>
          </p:cNvSpPr>
          <p:nvPr>
            <p:ph type="sldNum" sz="quarter" idx="16"/>
          </p:nvPr>
        </p:nvSpPr>
        <p:spPr bwMode="gray"/>
        <p:txBody>
          <a:bodyPr/>
          <a:lstStyle/>
          <a:p>
            <a:pPr algn="l"/>
            <a:fld id="{733122C9-A0B9-462F-8757-0847AD287B63}" type="slidenum">
              <a:rPr lang="en-GB" noProof="0" smtClean="0"/>
              <a:pPr algn="l"/>
              <a:t>‹#›</a:t>
            </a:fld>
            <a:endParaRPr lang="en-GB" noProof="0"/>
          </a:p>
        </p:txBody>
      </p:sp>
      <p:sp>
        <p:nvSpPr>
          <p:cNvPr id="16" name="Rectangle 15"/>
          <p:cNvSpPr/>
          <p:nvPr userDrawn="1"/>
        </p:nvSpPr>
        <p:spPr bwMode="gray">
          <a:xfrm>
            <a:off x="3672000" y="2777245"/>
            <a:ext cx="1344000" cy="25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spTree>
    <p:extLst>
      <p:ext uri="{BB962C8B-B14F-4D97-AF65-F5344CB8AC3E}">
        <p14:creationId xmlns:p14="http://schemas.microsoft.com/office/powerpoint/2010/main" val="1103339702"/>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type="obj" preserve="1">
  <p:cSld name="Content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3" name="Espace réservé du contenu 2"/>
          <p:cNvSpPr>
            <a:spLocks noGrp="1"/>
          </p:cNvSpPr>
          <p:nvPr>
            <p:ph idx="1" hasCustomPrompt="1"/>
          </p:nvPr>
        </p:nvSpPr>
        <p:spPr bwMode="gray">
          <a:xfrm>
            <a:off x="672000" y="1603200"/>
            <a:ext cx="10848000" cy="4190400"/>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4" name="Espace réservé du numéro de diapositive 13"/>
          <p:cNvSpPr>
            <a:spLocks noGrp="1"/>
          </p:cNvSpPr>
          <p:nvPr>
            <p:ph type="sldNum" sz="quarter" idx="11"/>
          </p:nvPr>
        </p:nvSpPr>
        <p:spPr bwMode="gray"/>
        <p:txBody>
          <a:bodyPr/>
          <a:lstStyle/>
          <a:p>
            <a:fld id="{733122C9-A0B9-462F-8757-0847AD287B63}" type="slidenum">
              <a:rPr lang="en-GB" noProof="0" smtClean="0"/>
              <a:pPr/>
              <a:t>‹#›</a:t>
            </a:fld>
            <a:endParaRPr lang="en-GB" noProof="0"/>
          </a:p>
        </p:txBody>
      </p:sp>
    </p:spTree>
    <p:extLst>
      <p:ext uri="{BB962C8B-B14F-4D97-AF65-F5344CB8AC3E}">
        <p14:creationId xmlns:p14="http://schemas.microsoft.com/office/powerpoint/2010/main" val="4282204888"/>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Picture&amp;Content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3" name="Espace réservé du contenu 2"/>
          <p:cNvSpPr>
            <a:spLocks noGrp="1"/>
          </p:cNvSpPr>
          <p:nvPr>
            <p:ph idx="1" hasCustomPrompt="1"/>
          </p:nvPr>
        </p:nvSpPr>
        <p:spPr bwMode="gray">
          <a:xfrm>
            <a:off x="4357648" y="1607999"/>
            <a:ext cx="6960000" cy="4198017"/>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9" name="Espace réservé pour une image  8"/>
          <p:cNvSpPr>
            <a:spLocks noGrp="1"/>
          </p:cNvSpPr>
          <p:nvPr>
            <p:ph type="pic" sz="quarter" idx="13" hasCustomPrompt="1"/>
          </p:nvPr>
        </p:nvSpPr>
        <p:spPr bwMode="gray">
          <a:xfrm>
            <a:off x="0" y="1707856"/>
            <a:ext cx="4072411" cy="4098163"/>
          </a:xfrm>
        </p:spPr>
        <p:txBody>
          <a:bodyPr tIns="1008000" anchor="ctr" anchorCtr="0"/>
          <a:lstStyle>
            <a:lvl1pPr algn="ctr">
              <a:defRPr/>
            </a:lvl1pPr>
          </a:lstStyle>
          <a:p>
            <a:r>
              <a:rPr lang="en-GB" noProof="0"/>
              <a:t>Select your own photo</a:t>
            </a:r>
          </a:p>
        </p:txBody>
      </p:sp>
      <p:sp>
        <p:nvSpPr>
          <p:cNvPr id="11" name="Espace réservé du numéro de diapositive 10"/>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a:p>
        </p:txBody>
      </p:sp>
    </p:spTree>
    <p:extLst>
      <p:ext uri="{BB962C8B-B14F-4D97-AF65-F5344CB8AC3E}">
        <p14:creationId xmlns:p14="http://schemas.microsoft.com/office/powerpoint/2010/main" val="1793811897"/>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1_Picture&amp;Content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3" name="Espace réservé du contenu 2"/>
          <p:cNvSpPr>
            <a:spLocks noGrp="1"/>
          </p:cNvSpPr>
          <p:nvPr>
            <p:ph idx="1" hasCustomPrompt="1"/>
          </p:nvPr>
        </p:nvSpPr>
        <p:spPr bwMode="gray">
          <a:xfrm>
            <a:off x="672000" y="1607999"/>
            <a:ext cx="6672139" cy="4198017"/>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1" name="Espace réservé du numéro de diapositive 10"/>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a:p>
        </p:txBody>
      </p:sp>
      <p:sp>
        <p:nvSpPr>
          <p:cNvPr id="10" name="Espace réservé pour une image  17"/>
          <p:cNvSpPr>
            <a:spLocks noGrp="1"/>
          </p:cNvSpPr>
          <p:nvPr>
            <p:ph type="pic" sz="quarter" idx="18" hasCustomPrompt="1"/>
          </p:nvPr>
        </p:nvSpPr>
        <p:spPr bwMode="gray">
          <a:xfrm>
            <a:off x="7439389" y="5168"/>
            <a:ext cx="4752611" cy="5807451"/>
          </a:xfrm>
          <a:custGeom>
            <a:avLst/>
            <a:gdLst>
              <a:gd name="connsiteX0" fmla="*/ 0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0 w 3851275"/>
              <a:gd name="connsiteY4"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1692275 w 3851275"/>
              <a:gd name="connsiteY4" fmla="*/ 0 h 5157788"/>
              <a:gd name="connsiteX0" fmla="*/ 0 w 2159000"/>
              <a:gd name="connsiteY0" fmla="*/ 0 h 5157788"/>
              <a:gd name="connsiteX1" fmla="*/ 2159000 w 2159000"/>
              <a:gd name="connsiteY1" fmla="*/ 0 h 5157788"/>
              <a:gd name="connsiteX2" fmla="*/ 2159000 w 2159000"/>
              <a:gd name="connsiteY2" fmla="*/ 5157788 h 5157788"/>
              <a:gd name="connsiteX3" fmla="*/ 0 w 2159000"/>
              <a:gd name="connsiteY3" fmla="*/ 5157788 h 5157788"/>
              <a:gd name="connsiteX4" fmla="*/ 0 w 2159000"/>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3568576 w 5727576"/>
              <a:gd name="connsiteY0" fmla="*/ 0 h 5157788"/>
              <a:gd name="connsiteX1" fmla="*/ 5727576 w 5727576"/>
              <a:gd name="connsiteY1" fmla="*/ 0 h 5157788"/>
              <a:gd name="connsiteX2" fmla="*/ 5727576 w 5727576"/>
              <a:gd name="connsiteY2" fmla="*/ 5157788 h 5157788"/>
              <a:gd name="connsiteX3" fmla="*/ 3568576 w 5727576"/>
              <a:gd name="connsiteY3" fmla="*/ 5157788 h 5157788"/>
              <a:gd name="connsiteX4" fmla="*/ 3568576 w 5727576"/>
              <a:gd name="connsiteY4" fmla="*/ 0 h 5157788"/>
              <a:gd name="connsiteX0" fmla="*/ 3306355 w 5465355"/>
              <a:gd name="connsiteY0" fmla="*/ 0 h 5157788"/>
              <a:gd name="connsiteX1" fmla="*/ 5465355 w 5465355"/>
              <a:gd name="connsiteY1" fmla="*/ 0 h 5157788"/>
              <a:gd name="connsiteX2" fmla="*/ 5465355 w 5465355"/>
              <a:gd name="connsiteY2" fmla="*/ 5157788 h 5157788"/>
              <a:gd name="connsiteX3" fmla="*/ 3306355 w 5465355"/>
              <a:gd name="connsiteY3" fmla="*/ 5157788 h 5157788"/>
              <a:gd name="connsiteX4" fmla="*/ 3306355 w 5465355"/>
              <a:gd name="connsiteY4" fmla="*/ 0 h 5157788"/>
              <a:gd name="connsiteX0" fmla="*/ 1416957 w 3575957"/>
              <a:gd name="connsiteY0" fmla="*/ 0 h 5157788"/>
              <a:gd name="connsiteX1" fmla="*/ 3575957 w 3575957"/>
              <a:gd name="connsiteY1" fmla="*/ 0 h 5157788"/>
              <a:gd name="connsiteX2" fmla="*/ 3575957 w 3575957"/>
              <a:gd name="connsiteY2" fmla="*/ 5157788 h 5157788"/>
              <a:gd name="connsiteX3" fmla="*/ 1416957 w 3575957"/>
              <a:gd name="connsiteY3" fmla="*/ 5157788 h 5157788"/>
              <a:gd name="connsiteX4" fmla="*/ 0 w 3575957"/>
              <a:gd name="connsiteY4" fmla="*/ 3339193 h 5157788"/>
              <a:gd name="connsiteX5" fmla="*/ 1416957 w 3575957"/>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6017419"/>
              <a:gd name="connsiteX1" fmla="*/ 3851275 w 3851275"/>
              <a:gd name="connsiteY1" fmla="*/ 0 h 6017419"/>
              <a:gd name="connsiteX2" fmla="*/ 3851275 w 3851275"/>
              <a:gd name="connsiteY2" fmla="*/ 5157788 h 6017419"/>
              <a:gd name="connsiteX3" fmla="*/ 1692275 w 3851275"/>
              <a:gd name="connsiteY3" fmla="*/ 5157788 h 6017419"/>
              <a:gd name="connsiteX4" fmla="*/ 0 w 3851275"/>
              <a:gd name="connsiteY4" fmla="*/ 3284984 h 6017419"/>
              <a:gd name="connsiteX5" fmla="*/ 1692275 w 3851275"/>
              <a:gd name="connsiteY5" fmla="*/ 0 h 6017419"/>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04975 w 3863975"/>
              <a:gd name="connsiteY0" fmla="*/ 0 h 5157788"/>
              <a:gd name="connsiteX1" fmla="*/ 3863975 w 3863975"/>
              <a:gd name="connsiteY1" fmla="*/ 0 h 5157788"/>
              <a:gd name="connsiteX2" fmla="*/ 3863975 w 3863975"/>
              <a:gd name="connsiteY2" fmla="*/ 5157788 h 5157788"/>
              <a:gd name="connsiteX3" fmla="*/ 1704975 w 3863975"/>
              <a:gd name="connsiteY3" fmla="*/ 5157788 h 5157788"/>
              <a:gd name="connsiteX4" fmla="*/ 12700 w 3863975"/>
              <a:gd name="connsiteY4" fmla="*/ 3429000 h 5157788"/>
              <a:gd name="connsiteX5" fmla="*/ 1704975 w 3863975"/>
              <a:gd name="connsiteY5" fmla="*/ 0 h 5157788"/>
              <a:gd name="connsiteX0" fmla="*/ 1707243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707243 w 3866243"/>
              <a:gd name="connsiteY5" fmla="*/ 0 h 5157788"/>
              <a:gd name="connsiteX0" fmla="*/ 1130447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130447 w 3866243"/>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3574235 w 6310031"/>
              <a:gd name="connsiteY0" fmla="*/ 0 h 5157788"/>
              <a:gd name="connsiteX1" fmla="*/ 6310031 w 6310031"/>
              <a:gd name="connsiteY1" fmla="*/ 0 h 5157788"/>
              <a:gd name="connsiteX2" fmla="*/ 6310031 w 6310031"/>
              <a:gd name="connsiteY2" fmla="*/ 5157788 h 5157788"/>
              <a:gd name="connsiteX3" fmla="*/ 585903 w 6310031"/>
              <a:gd name="connsiteY3" fmla="*/ 5153180 h 5157788"/>
              <a:gd name="connsiteX4" fmla="*/ 1738031 w 6310031"/>
              <a:gd name="connsiteY4" fmla="*/ 3389965 h 5157788"/>
              <a:gd name="connsiteX5" fmla="*/ 3574235 w 6310031"/>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296143 w 5724128"/>
              <a:gd name="connsiteY4" fmla="*/ 3461908 h 5157788"/>
              <a:gd name="connsiteX5" fmla="*/ 2988332 w 5724128"/>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1188132 w 5760132"/>
              <a:gd name="connsiteY4" fmla="*/ 3425937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2160240 w 4896036"/>
              <a:gd name="connsiteY0" fmla="*/ 0 h 5157788"/>
              <a:gd name="connsiteX1" fmla="*/ 4896036 w 4896036"/>
              <a:gd name="connsiteY1" fmla="*/ 0 h 5157788"/>
              <a:gd name="connsiteX2" fmla="*/ 4896036 w 4896036"/>
              <a:gd name="connsiteY2" fmla="*/ 5157788 h 5157788"/>
              <a:gd name="connsiteX3" fmla="*/ 0 w 4896036"/>
              <a:gd name="connsiteY3" fmla="*/ 5153180 h 5157788"/>
              <a:gd name="connsiteX4" fmla="*/ 1872208 w 4896036"/>
              <a:gd name="connsiteY4" fmla="*/ 3461908 h 5157788"/>
              <a:gd name="connsiteX5" fmla="*/ 2160240 w 4896036"/>
              <a:gd name="connsiteY5" fmla="*/ 0 h 5157788"/>
              <a:gd name="connsiteX0" fmla="*/ 2232248 w 4968044"/>
              <a:gd name="connsiteY0" fmla="*/ 0 h 5157788"/>
              <a:gd name="connsiteX1" fmla="*/ 4968044 w 4968044"/>
              <a:gd name="connsiteY1" fmla="*/ 0 h 5157788"/>
              <a:gd name="connsiteX2" fmla="*/ 4968044 w 4968044"/>
              <a:gd name="connsiteY2" fmla="*/ 5157788 h 5157788"/>
              <a:gd name="connsiteX3" fmla="*/ 0 w 4968044"/>
              <a:gd name="connsiteY3" fmla="*/ 5153180 h 5157788"/>
              <a:gd name="connsiteX4" fmla="*/ 1944216 w 4968044"/>
              <a:gd name="connsiteY4" fmla="*/ 3461908 h 5157788"/>
              <a:gd name="connsiteX5" fmla="*/ 2232248 w 4968044"/>
              <a:gd name="connsiteY5" fmla="*/ 0 h 5157788"/>
              <a:gd name="connsiteX0" fmla="*/ 2207679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207679 w 4943475"/>
              <a:gd name="connsiteY5" fmla="*/ 0 h 5157788"/>
              <a:gd name="connsiteX0" fmla="*/ 2963763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963763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092200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71575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343583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9672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19672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51412" h="5157788">
                <a:moveTo>
                  <a:pt x="2706687" y="0"/>
                </a:moveTo>
                <a:lnTo>
                  <a:pt x="4951412" y="0"/>
                </a:lnTo>
                <a:lnTo>
                  <a:pt x="4951412" y="5157788"/>
                </a:lnTo>
                <a:lnTo>
                  <a:pt x="0" y="5153180"/>
                </a:lnTo>
                <a:cubicBezTo>
                  <a:pt x="84411" y="4542509"/>
                  <a:pt x="183041" y="4024723"/>
                  <a:pt x="1243508" y="2562613"/>
                </a:cubicBezTo>
                <a:cubicBezTo>
                  <a:pt x="1867447" y="1704780"/>
                  <a:pt x="2665955" y="709265"/>
                  <a:pt x="2706687" y="0"/>
                </a:cubicBezTo>
                <a:close/>
              </a:path>
            </a:pathLst>
          </a:custGeom>
          <a:solidFill>
            <a:schemeClr val="bg2"/>
          </a:solidFill>
          <a:ln w="3175">
            <a:noFill/>
          </a:ln>
        </p:spPr>
        <p:txBody>
          <a:bodyPr tIns="720000" anchor="ctr" anchorCtr="0"/>
          <a:lstStyle>
            <a:lvl1pPr algn="ctr">
              <a:defRPr sz="2000">
                <a:solidFill>
                  <a:schemeClr val="bg1"/>
                </a:solidFill>
              </a:defRPr>
            </a:lvl1pPr>
          </a:lstStyle>
          <a:p>
            <a:r>
              <a:rPr lang="en-GB" noProof="0"/>
              <a:t>Select your own photo</a:t>
            </a:r>
          </a:p>
        </p:txBody>
      </p:sp>
      <p:sp>
        <p:nvSpPr>
          <p:cNvPr id="13" name="Espace réservé du texte 4"/>
          <p:cNvSpPr>
            <a:spLocks noGrp="1"/>
          </p:cNvSpPr>
          <p:nvPr>
            <p:ph type="body" sz="quarter" idx="19"/>
          </p:nvPr>
        </p:nvSpPr>
        <p:spPr>
          <a:xfrm>
            <a:off x="7440085" y="5445224"/>
            <a:ext cx="4751916" cy="367521"/>
          </a:xfrm>
          <a:solidFill>
            <a:schemeClr val="bg1">
              <a:alpha val="60000"/>
            </a:schemeClr>
          </a:solidFill>
        </p:spPr>
        <p:txBody>
          <a:bodyPr anchor="ctr" anchorCtr="0"/>
          <a:lstStyle>
            <a:lvl1pPr algn="ctr">
              <a:defRPr sz="1400" b="0" i="1"/>
            </a:lvl1pPr>
            <a:lvl2pPr algn="ctr">
              <a:defRPr sz="1333" b="0" i="1"/>
            </a:lvl2pPr>
            <a:lvl3pPr algn="ctr">
              <a:defRPr sz="1200" b="0" i="1"/>
            </a:lvl3pPr>
            <a:lvl4pPr algn="ctr">
              <a:defRPr sz="1200" b="0" i="1"/>
            </a:lvl4pPr>
            <a:lvl5pPr algn="ctr">
              <a:defRPr sz="1067" b="0" i="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Tree>
    <p:extLst>
      <p:ext uri="{BB962C8B-B14F-4D97-AF65-F5344CB8AC3E}">
        <p14:creationId xmlns:p14="http://schemas.microsoft.com/office/powerpoint/2010/main" val="340780366"/>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2_Picture&amp;Content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3" name="Espace réservé du contenu 2"/>
          <p:cNvSpPr>
            <a:spLocks noGrp="1"/>
          </p:cNvSpPr>
          <p:nvPr>
            <p:ph idx="1" hasCustomPrompt="1"/>
          </p:nvPr>
        </p:nvSpPr>
        <p:spPr bwMode="gray">
          <a:xfrm>
            <a:off x="672000" y="1608000"/>
            <a:ext cx="10645648" cy="2043011"/>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1" name="Espace réservé du numéro de diapositive 10"/>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a:p>
        </p:txBody>
      </p:sp>
      <p:sp>
        <p:nvSpPr>
          <p:cNvPr id="10" name="Espace réservé pour une image  17"/>
          <p:cNvSpPr>
            <a:spLocks noGrp="1"/>
          </p:cNvSpPr>
          <p:nvPr>
            <p:ph type="pic" sz="quarter" idx="13"/>
          </p:nvPr>
        </p:nvSpPr>
        <p:spPr bwMode="gray">
          <a:xfrm>
            <a:off x="-1" y="3621021"/>
            <a:ext cx="12192001" cy="2189096"/>
          </a:xfrm>
          <a:custGeom>
            <a:avLst/>
            <a:gdLst>
              <a:gd name="connsiteX0" fmla="*/ 0 w 7344000"/>
              <a:gd name="connsiteY0" fmla="*/ 0 h 1728787"/>
              <a:gd name="connsiteX1" fmla="*/ 7344000 w 7344000"/>
              <a:gd name="connsiteY1" fmla="*/ 0 h 1728787"/>
              <a:gd name="connsiteX2" fmla="*/ 7344000 w 7344000"/>
              <a:gd name="connsiteY2" fmla="*/ 1728787 h 1728787"/>
              <a:gd name="connsiteX3" fmla="*/ 0 w 7344000"/>
              <a:gd name="connsiteY3" fmla="*/ 1728787 h 1728787"/>
              <a:gd name="connsiteX4" fmla="*/ 0 w 7344000"/>
              <a:gd name="connsiteY4" fmla="*/ 0 h 1728787"/>
              <a:gd name="connsiteX0" fmla="*/ 0 w 7344000"/>
              <a:gd name="connsiteY0" fmla="*/ 605117 h 1728787"/>
              <a:gd name="connsiteX1" fmla="*/ 7344000 w 7344000"/>
              <a:gd name="connsiteY1" fmla="*/ 0 h 1728787"/>
              <a:gd name="connsiteX2" fmla="*/ 7344000 w 7344000"/>
              <a:gd name="connsiteY2" fmla="*/ 1728787 h 1728787"/>
              <a:gd name="connsiteX3" fmla="*/ 0 w 7344000"/>
              <a:gd name="connsiteY3" fmla="*/ 1728787 h 1728787"/>
              <a:gd name="connsiteX4" fmla="*/ 0 w 7344000"/>
              <a:gd name="connsiteY4" fmla="*/ 605117 h 1728787"/>
              <a:gd name="connsiteX0" fmla="*/ 0 w 7344000"/>
              <a:gd name="connsiteY0" fmla="*/ 605117 h 1728787"/>
              <a:gd name="connsiteX1" fmla="*/ 7344000 w 7344000"/>
              <a:gd name="connsiteY1" fmla="*/ 0 h 1728787"/>
              <a:gd name="connsiteX2" fmla="*/ 7344000 w 7344000"/>
              <a:gd name="connsiteY2" fmla="*/ 1728787 h 1728787"/>
              <a:gd name="connsiteX3" fmla="*/ 0 w 7344000"/>
              <a:gd name="connsiteY3" fmla="*/ 1728787 h 1728787"/>
              <a:gd name="connsiteX4" fmla="*/ 0 w 7344000"/>
              <a:gd name="connsiteY4" fmla="*/ 605117 h 1728787"/>
              <a:gd name="connsiteX0" fmla="*/ 0 w 7344000"/>
              <a:gd name="connsiteY0" fmla="*/ 605117 h 1728787"/>
              <a:gd name="connsiteX1" fmla="*/ 7344000 w 7344000"/>
              <a:gd name="connsiteY1" fmla="*/ 0 h 1728787"/>
              <a:gd name="connsiteX2" fmla="*/ 7344000 w 7344000"/>
              <a:gd name="connsiteY2" fmla="*/ 1728787 h 1728787"/>
              <a:gd name="connsiteX3" fmla="*/ 0 w 7344000"/>
              <a:gd name="connsiteY3" fmla="*/ 1728787 h 1728787"/>
              <a:gd name="connsiteX4" fmla="*/ 0 w 7344000"/>
              <a:gd name="connsiteY4" fmla="*/ 605117 h 17287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4000" h="1728787">
                <a:moveTo>
                  <a:pt x="0" y="605117"/>
                </a:moveTo>
                <a:cubicBezTo>
                  <a:pt x="2817794" y="551329"/>
                  <a:pt x="3342865" y="73959"/>
                  <a:pt x="7344000" y="0"/>
                </a:cubicBezTo>
                <a:lnTo>
                  <a:pt x="7344000" y="1728787"/>
                </a:lnTo>
                <a:lnTo>
                  <a:pt x="0" y="1728787"/>
                </a:lnTo>
                <a:lnTo>
                  <a:pt x="0" y="605117"/>
                </a:lnTo>
                <a:close/>
              </a:path>
            </a:pathLst>
          </a:custGeom>
        </p:spPr>
        <p:txBody>
          <a:bodyPr/>
          <a:lstStyle/>
          <a:p>
            <a:r>
              <a:rPr lang="en-US"/>
              <a:t>Click icon to add picture</a:t>
            </a:r>
            <a:endParaRPr lang="fr-FR"/>
          </a:p>
        </p:txBody>
      </p:sp>
    </p:spTree>
    <p:extLst>
      <p:ext uri="{BB962C8B-B14F-4D97-AF65-F5344CB8AC3E}">
        <p14:creationId xmlns:p14="http://schemas.microsoft.com/office/powerpoint/2010/main" val="3293006193"/>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2_Contents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xfrm>
            <a:off x="672000" y="217251"/>
            <a:ext cx="10848000" cy="1036637"/>
          </a:xfrm>
        </p:spPr>
        <p:txBody>
          <a:bodyPr/>
          <a:lstStyle/>
          <a:p>
            <a:r>
              <a:rPr lang="en-GB" noProof="0"/>
              <a:t>TITLE</a:t>
            </a:r>
          </a:p>
        </p:txBody>
      </p:sp>
      <p:sp>
        <p:nvSpPr>
          <p:cNvPr id="3" name="Espace réservé du contenu 2"/>
          <p:cNvSpPr>
            <a:spLocks noGrp="1"/>
          </p:cNvSpPr>
          <p:nvPr>
            <p:ph idx="1" hasCustomPrompt="1"/>
          </p:nvPr>
        </p:nvSpPr>
        <p:spPr bwMode="gray">
          <a:xfrm>
            <a:off x="672000" y="1603201"/>
            <a:ext cx="5424000" cy="4202817"/>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8" name="Espace réservé du numéro de diapositive 7"/>
          <p:cNvSpPr>
            <a:spLocks noGrp="1"/>
          </p:cNvSpPr>
          <p:nvPr>
            <p:ph type="sldNum" sz="quarter" idx="11"/>
          </p:nvPr>
        </p:nvSpPr>
        <p:spPr bwMode="gray"/>
        <p:txBody>
          <a:bodyPr/>
          <a:lstStyle/>
          <a:p>
            <a:pPr algn="l"/>
            <a:fld id="{733122C9-A0B9-462F-8757-0847AD287B63}" type="slidenum">
              <a:rPr lang="en-GB" noProof="0" smtClean="0"/>
              <a:pPr algn="l"/>
              <a:t>‹#›</a:t>
            </a:fld>
            <a:endParaRPr lang="en-GB" noProof="0"/>
          </a:p>
        </p:txBody>
      </p:sp>
      <p:sp>
        <p:nvSpPr>
          <p:cNvPr id="9" name="Espace réservé du contenu 2"/>
          <p:cNvSpPr>
            <a:spLocks noGrp="1"/>
          </p:cNvSpPr>
          <p:nvPr>
            <p:ph idx="13" hasCustomPrompt="1"/>
          </p:nvPr>
        </p:nvSpPr>
        <p:spPr bwMode="gray">
          <a:xfrm>
            <a:off x="6751499" y="1603201"/>
            <a:ext cx="4768501" cy="4202817"/>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Tree>
    <p:extLst>
      <p:ext uri="{BB962C8B-B14F-4D97-AF65-F5344CB8AC3E}">
        <p14:creationId xmlns:p14="http://schemas.microsoft.com/office/powerpoint/2010/main" val="3542450021"/>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Text&amp;Content_Layout">
    <p:spTree>
      <p:nvGrpSpPr>
        <p:cNvPr id="1" name=""/>
        <p:cNvGrpSpPr/>
        <p:nvPr/>
      </p:nvGrpSpPr>
      <p:grpSpPr>
        <a:xfrm>
          <a:off x="0" y="0"/>
          <a:ext cx="0" cy="0"/>
          <a:chOff x="0" y="0"/>
          <a:chExt cx="0" cy="0"/>
        </a:xfrm>
      </p:grpSpPr>
      <p:sp>
        <p:nvSpPr>
          <p:cNvPr id="3" name="Espace réservé du contenu 2"/>
          <p:cNvSpPr>
            <a:spLocks noGrp="1"/>
          </p:cNvSpPr>
          <p:nvPr>
            <p:ph idx="1" hasCustomPrompt="1"/>
          </p:nvPr>
        </p:nvSpPr>
        <p:spPr bwMode="gray">
          <a:xfrm>
            <a:off x="672000" y="3309347"/>
            <a:ext cx="10848000" cy="2496671"/>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0" name="Espace réservé du texte 9"/>
          <p:cNvSpPr>
            <a:spLocks noGrp="1"/>
          </p:cNvSpPr>
          <p:nvPr>
            <p:ph type="body" sz="quarter" idx="13" hasCustomPrompt="1"/>
          </p:nvPr>
        </p:nvSpPr>
        <p:spPr bwMode="gray">
          <a:xfrm>
            <a:off x="672000" y="1603200"/>
            <a:ext cx="10848000" cy="1633779"/>
          </a:xfrm>
        </p:spPr>
        <p:txBody>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9" name="Espace réservé du numéro de diapositive 8"/>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a:p>
        </p:txBody>
      </p:sp>
      <p:sp>
        <p:nvSpPr>
          <p:cNvPr id="5" name="Titre 4"/>
          <p:cNvSpPr>
            <a:spLocks noGrp="1"/>
          </p:cNvSpPr>
          <p:nvPr>
            <p:ph type="title"/>
          </p:nvPr>
        </p:nvSpPr>
        <p:spPr/>
        <p:txBody>
          <a:bodyPr/>
          <a:lstStyle/>
          <a:p>
            <a:r>
              <a:rPr lang="en-US" noProof="0"/>
              <a:t>Click to edit Master title style</a:t>
            </a:r>
            <a:endParaRPr lang="en-GB" noProof="0"/>
          </a:p>
        </p:txBody>
      </p:sp>
    </p:spTree>
    <p:extLst>
      <p:ext uri="{BB962C8B-B14F-4D97-AF65-F5344CB8AC3E}">
        <p14:creationId xmlns:p14="http://schemas.microsoft.com/office/powerpoint/2010/main" val="354049797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 Column Numbers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708830"/>
            <a:ext cx="11144930" cy="4204608"/>
          </a:xfrm>
        </p:spPr>
        <p:txBody>
          <a:bodyPr numCol="2" spcCol="360000"/>
          <a:lstStyle>
            <a:lvl1pPr marL="457200" indent="-457200">
              <a:buClr>
                <a:schemeClr val="bg2"/>
              </a:buClr>
              <a:buFont typeface="+mj-lt"/>
              <a:buAutoNum type="arabicPeriod"/>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United Against Rabies Forum Meeting - 6-8 November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3536275018"/>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Text&amp;Content&amp;Picture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xfrm>
            <a:off x="672000" y="217251"/>
            <a:ext cx="6384967" cy="1036637"/>
          </a:xfrm>
        </p:spPr>
        <p:txBody>
          <a:bodyPr/>
          <a:lstStyle/>
          <a:p>
            <a:r>
              <a:rPr lang="en-GB" noProof="0"/>
              <a:t>TITLE</a:t>
            </a:r>
          </a:p>
        </p:txBody>
      </p:sp>
      <p:sp>
        <p:nvSpPr>
          <p:cNvPr id="3" name="Espace réservé du contenu 2"/>
          <p:cNvSpPr>
            <a:spLocks noGrp="1"/>
          </p:cNvSpPr>
          <p:nvPr>
            <p:ph idx="1" hasCustomPrompt="1"/>
          </p:nvPr>
        </p:nvSpPr>
        <p:spPr bwMode="gray">
          <a:xfrm>
            <a:off x="671999" y="3307201"/>
            <a:ext cx="6384967" cy="2498817"/>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0" name="Espace réservé du texte 9"/>
          <p:cNvSpPr>
            <a:spLocks noGrp="1"/>
          </p:cNvSpPr>
          <p:nvPr>
            <p:ph type="body" sz="quarter" idx="13" hasCustomPrompt="1"/>
          </p:nvPr>
        </p:nvSpPr>
        <p:spPr bwMode="gray">
          <a:xfrm>
            <a:off x="672000" y="1603200"/>
            <a:ext cx="6384967" cy="1260000"/>
          </a:xfrm>
        </p:spPr>
        <p:txBody>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9" name="Espace réservé du numéro de diapositive 8"/>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a:p>
        </p:txBody>
      </p:sp>
      <p:sp>
        <p:nvSpPr>
          <p:cNvPr id="12" name="Espace réservé pour une image  8"/>
          <p:cNvSpPr>
            <a:spLocks noGrp="1"/>
          </p:cNvSpPr>
          <p:nvPr>
            <p:ph type="pic" sz="quarter" idx="17" hasCustomPrompt="1"/>
          </p:nvPr>
        </p:nvSpPr>
        <p:spPr bwMode="gray">
          <a:xfrm>
            <a:off x="7680176" y="753401"/>
            <a:ext cx="3839824" cy="5014516"/>
          </a:xfrm>
        </p:spPr>
        <p:txBody>
          <a:bodyPr tIns="1008000" anchor="ctr" anchorCtr="0"/>
          <a:lstStyle>
            <a:lvl1pPr algn="ctr">
              <a:defRPr/>
            </a:lvl1pPr>
          </a:lstStyle>
          <a:p>
            <a:r>
              <a:rPr lang="en-GB" noProof="0"/>
              <a:t>Select your own photo</a:t>
            </a:r>
          </a:p>
        </p:txBody>
      </p:sp>
    </p:spTree>
    <p:extLst>
      <p:ext uri="{BB962C8B-B14F-4D97-AF65-F5344CB8AC3E}">
        <p14:creationId xmlns:p14="http://schemas.microsoft.com/office/powerpoint/2010/main" val="3724253711"/>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Text&amp;2_Contents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3" name="Espace réservé du contenu 2"/>
          <p:cNvSpPr>
            <a:spLocks noGrp="1"/>
          </p:cNvSpPr>
          <p:nvPr>
            <p:ph idx="1" hasCustomPrompt="1"/>
          </p:nvPr>
        </p:nvSpPr>
        <p:spPr bwMode="gray">
          <a:xfrm>
            <a:off x="672000" y="3309347"/>
            <a:ext cx="5424000" cy="2500800"/>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0" name="Espace réservé du texte 9"/>
          <p:cNvSpPr>
            <a:spLocks noGrp="1"/>
          </p:cNvSpPr>
          <p:nvPr>
            <p:ph type="body" sz="quarter" idx="13" hasCustomPrompt="1"/>
          </p:nvPr>
        </p:nvSpPr>
        <p:spPr bwMode="gray">
          <a:xfrm>
            <a:off x="672000" y="1603200"/>
            <a:ext cx="10848000" cy="1260000"/>
          </a:xfrm>
        </p:spPr>
        <p:txBody>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9" name="Espace réservé du numéro de diapositive 8"/>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a:p>
        </p:txBody>
      </p:sp>
      <p:sp>
        <p:nvSpPr>
          <p:cNvPr id="12" name="Espace réservé du contenu 2"/>
          <p:cNvSpPr>
            <a:spLocks noGrp="1"/>
          </p:cNvSpPr>
          <p:nvPr>
            <p:ph idx="17" hasCustomPrompt="1"/>
          </p:nvPr>
        </p:nvSpPr>
        <p:spPr bwMode="gray">
          <a:xfrm>
            <a:off x="6768000" y="3309347"/>
            <a:ext cx="4752000" cy="2500800"/>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Tree>
    <p:extLst>
      <p:ext uri="{BB962C8B-B14F-4D97-AF65-F5344CB8AC3E}">
        <p14:creationId xmlns:p14="http://schemas.microsoft.com/office/powerpoint/2010/main" val="2784389384"/>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ext&amp;3_Contents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3" name="Espace réservé du contenu 2"/>
          <p:cNvSpPr>
            <a:spLocks noGrp="1"/>
          </p:cNvSpPr>
          <p:nvPr>
            <p:ph idx="1" hasCustomPrompt="1"/>
          </p:nvPr>
        </p:nvSpPr>
        <p:spPr bwMode="gray">
          <a:xfrm>
            <a:off x="672000" y="3307200"/>
            <a:ext cx="3072000" cy="2500800"/>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0" name="Espace réservé du texte 9"/>
          <p:cNvSpPr>
            <a:spLocks noGrp="1"/>
          </p:cNvSpPr>
          <p:nvPr>
            <p:ph type="body" sz="quarter" idx="13" hasCustomPrompt="1"/>
          </p:nvPr>
        </p:nvSpPr>
        <p:spPr bwMode="gray">
          <a:xfrm>
            <a:off x="672000" y="1603200"/>
            <a:ext cx="10848000" cy="1260000"/>
          </a:xfrm>
        </p:spPr>
        <p:txBody>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9" name="Espace réservé du numéro de diapositive 8"/>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a:p>
        </p:txBody>
      </p:sp>
      <p:sp>
        <p:nvSpPr>
          <p:cNvPr id="13" name="Espace réservé du contenu 2"/>
          <p:cNvSpPr>
            <a:spLocks noGrp="1"/>
          </p:cNvSpPr>
          <p:nvPr>
            <p:ph idx="17" hasCustomPrompt="1"/>
          </p:nvPr>
        </p:nvSpPr>
        <p:spPr bwMode="gray">
          <a:xfrm>
            <a:off x="4167359" y="3307200"/>
            <a:ext cx="3072000" cy="2500800"/>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4" name="Espace réservé du contenu 2"/>
          <p:cNvSpPr>
            <a:spLocks noGrp="1"/>
          </p:cNvSpPr>
          <p:nvPr>
            <p:ph idx="18" hasCustomPrompt="1"/>
          </p:nvPr>
        </p:nvSpPr>
        <p:spPr bwMode="gray">
          <a:xfrm>
            <a:off x="7646800" y="3307200"/>
            <a:ext cx="3072000" cy="2500800"/>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Tree>
    <p:extLst>
      <p:ext uri="{BB962C8B-B14F-4D97-AF65-F5344CB8AC3E}">
        <p14:creationId xmlns:p14="http://schemas.microsoft.com/office/powerpoint/2010/main" val="1730624481"/>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4_Contents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xfrm>
            <a:off x="672000" y="217251"/>
            <a:ext cx="10848000" cy="1036637"/>
          </a:xfrm>
        </p:spPr>
        <p:txBody>
          <a:bodyPr/>
          <a:lstStyle/>
          <a:p>
            <a:r>
              <a:rPr lang="en-GB" noProof="0"/>
              <a:t>TITLE</a:t>
            </a:r>
          </a:p>
        </p:txBody>
      </p:sp>
      <p:sp>
        <p:nvSpPr>
          <p:cNvPr id="3" name="Espace réservé du contenu 2"/>
          <p:cNvSpPr>
            <a:spLocks noGrp="1"/>
          </p:cNvSpPr>
          <p:nvPr>
            <p:ph idx="1" hasCustomPrompt="1"/>
          </p:nvPr>
        </p:nvSpPr>
        <p:spPr bwMode="gray">
          <a:xfrm>
            <a:off x="672000" y="1603200"/>
            <a:ext cx="5424000" cy="2035200"/>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8" name="Espace réservé du numéro de diapositive 7"/>
          <p:cNvSpPr>
            <a:spLocks noGrp="1"/>
          </p:cNvSpPr>
          <p:nvPr>
            <p:ph type="sldNum" sz="quarter" idx="11"/>
          </p:nvPr>
        </p:nvSpPr>
        <p:spPr bwMode="gray"/>
        <p:txBody>
          <a:bodyPr/>
          <a:lstStyle/>
          <a:p>
            <a:pPr algn="l"/>
            <a:fld id="{733122C9-A0B9-462F-8757-0847AD287B63}" type="slidenum">
              <a:rPr lang="en-GB" noProof="0" smtClean="0"/>
              <a:pPr algn="l"/>
              <a:t>‹#›</a:t>
            </a:fld>
            <a:endParaRPr lang="en-GB" noProof="0"/>
          </a:p>
        </p:txBody>
      </p:sp>
      <p:sp>
        <p:nvSpPr>
          <p:cNvPr id="9" name="Espace réservé du contenu 2"/>
          <p:cNvSpPr>
            <a:spLocks noGrp="1"/>
          </p:cNvSpPr>
          <p:nvPr>
            <p:ph idx="13" hasCustomPrompt="1"/>
          </p:nvPr>
        </p:nvSpPr>
        <p:spPr bwMode="gray">
          <a:xfrm>
            <a:off x="6096000" y="1603200"/>
            <a:ext cx="5424000" cy="2035200"/>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3" name="Espace réservé du contenu 2"/>
          <p:cNvSpPr>
            <a:spLocks noGrp="1"/>
          </p:cNvSpPr>
          <p:nvPr>
            <p:ph idx="14" hasCustomPrompt="1"/>
          </p:nvPr>
        </p:nvSpPr>
        <p:spPr bwMode="gray">
          <a:xfrm>
            <a:off x="672000" y="3771388"/>
            <a:ext cx="5424000" cy="2034629"/>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4" name="Espace réservé du contenu 2"/>
          <p:cNvSpPr>
            <a:spLocks noGrp="1"/>
          </p:cNvSpPr>
          <p:nvPr>
            <p:ph idx="15" hasCustomPrompt="1"/>
          </p:nvPr>
        </p:nvSpPr>
        <p:spPr bwMode="gray">
          <a:xfrm>
            <a:off x="6096000" y="3771388"/>
            <a:ext cx="5424000" cy="2034629"/>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Tree>
    <p:extLst>
      <p:ext uri="{BB962C8B-B14F-4D97-AF65-F5344CB8AC3E}">
        <p14:creationId xmlns:p14="http://schemas.microsoft.com/office/powerpoint/2010/main" val="3275109212"/>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Picture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9" name="Espace réservé du numéro de diapositive 8"/>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a:p>
        </p:txBody>
      </p:sp>
      <p:sp>
        <p:nvSpPr>
          <p:cNvPr id="12" name="Espace réservé pour une image  8"/>
          <p:cNvSpPr>
            <a:spLocks noGrp="1"/>
          </p:cNvSpPr>
          <p:nvPr>
            <p:ph type="pic" sz="quarter" idx="17" hasCustomPrompt="1"/>
          </p:nvPr>
        </p:nvSpPr>
        <p:spPr bwMode="gray">
          <a:xfrm>
            <a:off x="672000" y="1603201"/>
            <a:ext cx="10848000" cy="4156800"/>
          </a:xfrm>
        </p:spPr>
        <p:txBody>
          <a:bodyPr tIns="1008000" anchor="ctr" anchorCtr="0"/>
          <a:lstStyle>
            <a:lvl1pPr algn="ctr">
              <a:defRPr/>
            </a:lvl1pPr>
          </a:lstStyle>
          <a:p>
            <a:r>
              <a:rPr lang="en-GB" noProof="0"/>
              <a:t>Select your own photo</a:t>
            </a:r>
          </a:p>
        </p:txBody>
      </p:sp>
    </p:spTree>
    <p:extLst>
      <p:ext uri="{BB962C8B-B14F-4D97-AF65-F5344CB8AC3E}">
        <p14:creationId xmlns:p14="http://schemas.microsoft.com/office/powerpoint/2010/main" val="3747014189"/>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Text&amp;4_Blocks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10" name="Espace réservé du texte 9"/>
          <p:cNvSpPr>
            <a:spLocks noGrp="1"/>
          </p:cNvSpPr>
          <p:nvPr>
            <p:ph type="body" sz="quarter" idx="13" hasCustomPrompt="1"/>
          </p:nvPr>
        </p:nvSpPr>
        <p:spPr bwMode="gray">
          <a:xfrm>
            <a:off x="672000" y="1603200"/>
            <a:ext cx="10848000" cy="936627"/>
          </a:xfrm>
        </p:spPr>
        <p:txBody>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9" name="Espace réservé du numéro de diapositive 8"/>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a:p>
        </p:txBody>
      </p:sp>
      <p:sp>
        <p:nvSpPr>
          <p:cNvPr id="21" name="Espace réservé du texte 9"/>
          <p:cNvSpPr>
            <a:spLocks noGrp="1"/>
          </p:cNvSpPr>
          <p:nvPr>
            <p:ph type="body" sz="quarter" idx="19" hasCustomPrompt="1"/>
          </p:nvPr>
        </p:nvSpPr>
        <p:spPr bwMode="gray">
          <a:xfrm>
            <a:off x="672000" y="2638824"/>
            <a:ext cx="4896000" cy="324000"/>
          </a:xfrm>
          <a:solidFill>
            <a:schemeClr val="accent1"/>
          </a:solidFill>
          <a:ln w="9525">
            <a:solidFill>
              <a:schemeClr val="accent1"/>
            </a:solidFill>
          </a:ln>
        </p:spPr>
        <p:txBody>
          <a:bodyPr anchor="ctr" anchorCtr="0"/>
          <a:lstStyle>
            <a:lvl1pPr algn="ctr">
              <a:lnSpc>
                <a:spcPct val="100000"/>
              </a:lnSpc>
              <a:defRPr>
                <a:solidFill>
                  <a:schemeClr val="bg1"/>
                </a:solidFill>
              </a:defRPr>
            </a:lvl1pPr>
          </a:lstStyle>
          <a:p>
            <a:pPr lvl="0"/>
            <a:r>
              <a:rPr lang="en-GB" noProof="0"/>
              <a:t>Text level 1</a:t>
            </a:r>
          </a:p>
        </p:txBody>
      </p:sp>
      <p:sp>
        <p:nvSpPr>
          <p:cNvPr id="22" name="Espace réservé du texte 9"/>
          <p:cNvSpPr>
            <a:spLocks noGrp="1"/>
          </p:cNvSpPr>
          <p:nvPr>
            <p:ph type="body" sz="quarter" idx="20" hasCustomPrompt="1"/>
          </p:nvPr>
        </p:nvSpPr>
        <p:spPr bwMode="gray">
          <a:xfrm>
            <a:off x="672000" y="2962824"/>
            <a:ext cx="4896000" cy="2352000"/>
          </a:xfrm>
          <a:ln w="9525">
            <a:solidFill>
              <a:schemeClr val="accent1"/>
            </a:solidFill>
          </a:ln>
        </p:spPr>
        <p:txBody>
          <a:bodyPr tIns="72000"/>
          <a:lstStyle>
            <a:lvl1pPr marL="431989" indent="-239994">
              <a:lnSpc>
                <a:spcPct val="100000"/>
              </a:lnSpc>
              <a:spcBef>
                <a:spcPts val="400"/>
              </a:spcBef>
              <a:buClr>
                <a:schemeClr val="accent3"/>
              </a:buClr>
              <a:buFont typeface="Arial" pitchFamily="34" charset="0"/>
              <a:buChar char="•"/>
              <a:defRPr sz="2400">
                <a:solidFill>
                  <a:schemeClr val="tx1"/>
                </a:solidFill>
              </a:defRPr>
            </a:lvl1pPr>
            <a:lvl2pPr marL="671983">
              <a:buClr>
                <a:schemeClr val="tx1"/>
              </a:buClr>
              <a:defRPr sz="2133" b="0"/>
            </a:lvl2pPr>
            <a:lvl3pPr indent="0">
              <a:buNone/>
              <a:defRPr/>
            </a:lvl3pPr>
            <a:lvl4pPr marL="911977" indent="-239994">
              <a:buClr>
                <a:schemeClr val="tx1"/>
              </a:buClr>
              <a:buFont typeface="Arial" pitchFamily="34" charset="0"/>
              <a:buChar char="•"/>
              <a:defRPr sz="1867"/>
            </a:lvl4pPr>
          </a:lstStyle>
          <a:p>
            <a:pPr lvl="0"/>
            <a:r>
              <a:rPr lang="en-GB" noProof="0"/>
              <a:t>Text level 2</a:t>
            </a:r>
          </a:p>
          <a:p>
            <a:pPr lvl="1"/>
            <a:r>
              <a:rPr lang="en-GB" noProof="0"/>
              <a:t>Text level 3</a:t>
            </a:r>
          </a:p>
          <a:p>
            <a:pPr lvl="2"/>
            <a:r>
              <a:rPr lang="en-GB" noProof="0"/>
              <a:t>Text level 4</a:t>
            </a:r>
          </a:p>
          <a:p>
            <a:pPr lvl="3"/>
            <a:r>
              <a:rPr lang="en-GB" noProof="0"/>
              <a:t>Text level 5</a:t>
            </a:r>
          </a:p>
        </p:txBody>
      </p:sp>
      <p:sp>
        <p:nvSpPr>
          <p:cNvPr id="23" name="Espace réservé du texte 9"/>
          <p:cNvSpPr>
            <a:spLocks noGrp="1"/>
          </p:cNvSpPr>
          <p:nvPr>
            <p:ph type="body" sz="quarter" idx="21" hasCustomPrompt="1"/>
          </p:nvPr>
        </p:nvSpPr>
        <p:spPr bwMode="gray">
          <a:xfrm>
            <a:off x="6096000" y="2638824"/>
            <a:ext cx="4896000" cy="324000"/>
          </a:xfrm>
          <a:solidFill>
            <a:schemeClr val="accent2"/>
          </a:solidFill>
          <a:ln w="9525">
            <a:solidFill>
              <a:schemeClr val="accent2"/>
            </a:solidFill>
          </a:ln>
        </p:spPr>
        <p:txBody>
          <a:bodyPr anchor="ctr" anchorCtr="0"/>
          <a:lstStyle>
            <a:lvl1pPr algn="ctr">
              <a:lnSpc>
                <a:spcPct val="100000"/>
              </a:lnSpc>
              <a:defRPr>
                <a:solidFill>
                  <a:schemeClr val="bg1"/>
                </a:solidFill>
              </a:defRPr>
            </a:lvl1pPr>
          </a:lstStyle>
          <a:p>
            <a:pPr lvl="0"/>
            <a:r>
              <a:rPr lang="en-GB" noProof="0"/>
              <a:t>Text level 1</a:t>
            </a:r>
          </a:p>
        </p:txBody>
      </p:sp>
      <p:sp>
        <p:nvSpPr>
          <p:cNvPr id="24" name="Espace réservé du texte 9"/>
          <p:cNvSpPr>
            <a:spLocks noGrp="1"/>
          </p:cNvSpPr>
          <p:nvPr>
            <p:ph type="body" sz="quarter" idx="22" hasCustomPrompt="1"/>
          </p:nvPr>
        </p:nvSpPr>
        <p:spPr bwMode="gray">
          <a:xfrm>
            <a:off x="6096000" y="2962824"/>
            <a:ext cx="4896000" cy="2352000"/>
          </a:xfrm>
          <a:ln w="9525">
            <a:solidFill>
              <a:schemeClr val="accent2"/>
            </a:solidFill>
          </a:ln>
        </p:spPr>
        <p:txBody>
          <a:bodyPr tIns="72000"/>
          <a:lstStyle>
            <a:lvl1pPr marL="431989" indent="-239994">
              <a:lnSpc>
                <a:spcPct val="100000"/>
              </a:lnSpc>
              <a:spcBef>
                <a:spcPts val="400"/>
              </a:spcBef>
              <a:buClr>
                <a:schemeClr val="accent3"/>
              </a:buClr>
              <a:buFont typeface="Arial" pitchFamily="34" charset="0"/>
              <a:buChar char="•"/>
              <a:defRPr sz="2400">
                <a:solidFill>
                  <a:schemeClr val="tx1"/>
                </a:solidFill>
              </a:defRPr>
            </a:lvl1pPr>
            <a:lvl2pPr marL="671983">
              <a:buClr>
                <a:schemeClr val="tx1"/>
              </a:buClr>
              <a:defRPr sz="2133" b="0"/>
            </a:lvl2pPr>
            <a:lvl3pPr indent="0">
              <a:buNone/>
              <a:defRPr/>
            </a:lvl3pPr>
            <a:lvl4pPr marL="911977" indent="-239994">
              <a:buClr>
                <a:schemeClr val="tx1"/>
              </a:buClr>
              <a:buFont typeface="Arial" pitchFamily="34" charset="0"/>
              <a:buChar char="•"/>
              <a:defRPr sz="1867"/>
            </a:lvl4pPr>
          </a:lstStyle>
          <a:p>
            <a:pPr lvl="0"/>
            <a:r>
              <a:rPr lang="en-GB" noProof="0"/>
              <a:t>Text level 2</a:t>
            </a:r>
          </a:p>
          <a:p>
            <a:pPr lvl="1"/>
            <a:r>
              <a:rPr lang="en-GB" noProof="0"/>
              <a:t>Text level 3</a:t>
            </a:r>
          </a:p>
          <a:p>
            <a:pPr lvl="2"/>
            <a:r>
              <a:rPr lang="en-GB" noProof="0"/>
              <a:t>Text level 4</a:t>
            </a:r>
          </a:p>
          <a:p>
            <a:pPr lvl="3"/>
            <a:r>
              <a:rPr lang="en-GB" noProof="0"/>
              <a:t>Text level 5</a:t>
            </a:r>
          </a:p>
        </p:txBody>
      </p:sp>
    </p:spTree>
    <p:extLst>
      <p:ext uri="{BB962C8B-B14F-4D97-AF65-F5344CB8AC3E}">
        <p14:creationId xmlns:p14="http://schemas.microsoft.com/office/powerpoint/2010/main" val="2920446019"/>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4_Blocks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9" name="Espace réservé du numéro de diapositive 8"/>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a:p>
        </p:txBody>
      </p:sp>
      <p:pic>
        <p:nvPicPr>
          <p:cNvPr id="10" name="table"/>
          <p:cNvPicPr>
            <a:picLocks noChangeAspect="1"/>
          </p:cNvPicPr>
          <p:nvPr userDrawn="1"/>
        </p:nvPicPr>
        <p:blipFill>
          <a:blip r:embed="rId2"/>
          <a:stretch>
            <a:fillRect/>
          </a:stretch>
        </p:blipFill>
        <p:spPr>
          <a:xfrm>
            <a:off x="1192419" y="1653712"/>
            <a:ext cx="4465240" cy="1788160"/>
          </a:xfrm>
          <a:prstGeom prst="rect">
            <a:avLst/>
          </a:prstGeom>
        </p:spPr>
      </p:pic>
      <p:pic>
        <p:nvPicPr>
          <p:cNvPr id="12" name="table"/>
          <p:cNvPicPr>
            <a:picLocks noChangeAspect="1"/>
          </p:cNvPicPr>
          <p:nvPr userDrawn="1"/>
        </p:nvPicPr>
        <p:blipFill>
          <a:blip r:embed="rId3"/>
          <a:stretch>
            <a:fillRect/>
          </a:stretch>
        </p:blipFill>
        <p:spPr>
          <a:xfrm>
            <a:off x="6534343" y="1653712"/>
            <a:ext cx="4465240" cy="1788160"/>
          </a:xfrm>
          <a:prstGeom prst="rect">
            <a:avLst/>
          </a:prstGeom>
        </p:spPr>
      </p:pic>
      <p:pic>
        <p:nvPicPr>
          <p:cNvPr id="13" name="table"/>
          <p:cNvPicPr>
            <a:picLocks noChangeAspect="1"/>
          </p:cNvPicPr>
          <p:nvPr userDrawn="1"/>
        </p:nvPicPr>
        <p:blipFill>
          <a:blip r:embed="rId4"/>
          <a:stretch>
            <a:fillRect/>
          </a:stretch>
        </p:blipFill>
        <p:spPr>
          <a:xfrm>
            <a:off x="1192419" y="3813043"/>
            <a:ext cx="4465240" cy="1788160"/>
          </a:xfrm>
          <a:prstGeom prst="rect">
            <a:avLst/>
          </a:prstGeom>
        </p:spPr>
      </p:pic>
      <p:pic>
        <p:nvPicPr>
          <p:cNvPr id="14" name="table"/>
          <p:cNvPicPr>
            <a:picLocks noChangeAspect="1"/>
          </p:cNvPicPr>
          <p:nvPr userDrawn="1"/>
        </p:nvPicPr>
        <p:blipFill>
          <a:blip r:embed="rId5"/>
          <a:stretch>
            <a:fillRect/>
          </a:stretch>
        </p:blipFill>
        <p:spPr>
          <a:xfrm>
            <a:off x="6534343" y="3813043"/>
            <a:ext cx="4465240" cy="1788160"/>
          </a:xfrm>
          <a:prstGeom prst="rect">
            <a:avLst/>
          </a:prstGeom>
        </p:spPr>
      </p:pic>
    </p:spTree>
    <p:extLst>
      <p:ext uri="{BB962C8B-B14F-4D97-AF65-F5344CB8AC3E}">
        <p14:creationId xmlns:p14="http://schemas.microsoft.com/office/powerpoint/2010/main" val="3121507387"/>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2_Blocks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9" name="Espace réservé du numéro de diapositive 8"/>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a:p>
        </p:txBody>
      </p:sp>
      <p:sp>
        <p:nvSpPr>
          <p:cNvPr id="21" name="Espace réservé du texte 9"/>
          <p:cNvSpPr>
            <a:spLocks noGrp="1"/>
          </p:cNvSpPr>
          <p:nvPr>
            <p:ph type="body" sz="quarter" idx="19" hasCustomPrompt="1"/>
          </p:nvPr>
        </p:nvSpPr>
        <p:spPr bwMode="gray">
          <a:xfrm>
            <a:off x="672000" y="1651200"/>
            <a:ext cx="4896000" cy="335715"/>
          </a:xfrm>
          <a:solidFill>
            <a:schemeClr val="accent2"/>
          </a:solidFill>
          <a:ln w="9525">
            <a:solidFill>
              <a:schemeClr val="bg2"/>
            </a:solidFill>
          </a:ln>
        </p:spPr>
        <p:txBody>
          <a:bodyPr anchor="ctr" anchorCtr="0"/>
          <a:lstStyle>
            <a:lvl1pPr algn="ctr">
              <a:lnSpc>
                <a:spcPct val="100000"/>
              </a:lnSpc>
              <a:defRPr>
                <a:solidFill>
                  <a:schemeClr val="bg1"/>
                </a:solidFill>
              </a:defRPr>
            </a:lvl1pPr>
          </a:lstStyle>
          <a:p>
            <a:pPr lvl="0"/>
            <a:r>
              <a:rPr lang="en-GB" noProof="0"/>
              <a:t>Text level 1</a:t>
            </a:r>
          </a:p>
        </p:txBody>
      </p:sp>
      <p:sp>
        <p:nvSpPr>
          <p:cNvPr id="22" name="Espace réservé du texte 9"/>
          <p:cNvSpPr>
            <a:spLocks noGrp="1"/>
          </p:cNvSpPr>
          <p:nvPr>
            <p:ph type="body" sz="quarter" idx="20" hasCustomPrompt="1"/>
          </p:nvPr>
        </p:nvSpPr>
        <p:spPr bwMode="gray">
          <a:xfrm>
            <a:off x="672000" y="1985432"/>
            <a:ext cx="4896000" cy="3561600"/>
          </a:xfrm>
          <a:ln w="9525">
            <a:solidFill>
              <a:schemeClr val="bg2"/>
            </a:solidFill>
          </a:ln>
        </p:spPr>
        <p:txBody>
          <a:bodyPr tIns="72000"/>
          <a:lstStyle>
            <a:lvl1pPr marL="431989" indent="-239994">
              <a:lnSpc>
                <a:spcPct val="100000"/>
              </a:lnSpc>
              <a:spcBef>
                <a:spcPts val="400"/>
              </a:spcBef>
              <a:buClr>
                <a:schemeClr val="accent3"/>
              </a:buClr>
              <a:buFont typeface="Arial" pitchFamily="34" charset="0"/>
              <a:buChar char="•"/>
              <a:defRPr sz="2400">
                <a:solidFill>
                  <a:schemeClr val="tx1"/>
                </a:solidFill>
              </a:defRPr>
            </a:lvl1pPr>
            <a:lvl2pPr marL="671983">
              <a:buClr>
                <a:schemeClr val="tx1"/>
              </a:buClr>
              <a:defRPr sz="2133" b="0"/>
            </a:lvl2pPr>
            <a:lvl3pPr indent="0">
              <a:buNone/>
              <a:defRPr/>
            </a:lvl3pPr>
            <a:lvl4pPr marL="911977" indent="-239994">
              <a:buClr>
                <a:schemeClr val="tx1"/>
              </a:buClr>
              <a:buFont typeface="Arial" pitchFamily="34" charset="0"/>
              <a:buChar char="•"/>
              <a:defRPr sz="1867"/>
            </a:lvl4pPr>
          </a:lstStyle>
          <a:p>
            <a:pPr lvl="0"/>
            <a:r>
              <a:rPr lang="en-GB" noProof="0"/>
              <a:t>Text level 2</a:t>
            </a:r>
          </a:p>
          <a:p>
            <a:pPr lvl="1"/>
            <a:r>
              <a:rPr lang="en-GB" noProof="0"/>
              <a:t>Text level 3</a:t>
            </a:r>
          </a:p>
          <a:p>
            <a:pPr lvl="2"/>
            <a:r>
              <a:rPr lang="en-GB" noProof="0"/>
              <a:t>Text level 4</a:t>
            </a:r>
          </a:p>
          <a:p>
            <a:pPr lvl="3"/>
            <a:r>
              <a:rPr lang="en-GB" noProof="0"/>
              <a:t>Text level 5</a:t>
            </a:r>
          </a:p>
        </p:txBody>
      </p:sp>
      <p:sp>
        <p:nvSpPr>
          <p:cNvPr id="23" name="Espace réservé du texte 9"/>
          <p:cNvSpPr>
            <a:spLocks noGrp="1"/>
          </p:cNvSpPr>
          <p:nvPr>
            <p:ph type="body" sz="quarter" idx="21" hasCustomPrompt="1"/>
          </p:nvPr>
        </p:nvSpPr>
        <p:spPr bwMode="gray">
          <a:xfrm>
            <a:off x="6096795" y="1651200"/>
            <a:ext cx="4896000" cy="335715"/>
          </a:xfrm>
          <a:solidFill>
            <a:schemeClr val="accent2"/>
          </a:solidFill>
          <a:ln w="9525">
            <a:solidFill>
              <a:schemeClr val="bg2"/>
            </a:solidFill>
          </a:ln>
        </p:spPr>
        <p:txBody>
          <a:bodyPr anchor="ctr" anchorCtr="0"/>
          <a:lstStyle>
            <a:lvl1pPr algn="ctr">
              <a:lnSpc>
                <a:spcPct val="100000"/>
              </a:lnSpc>
              <a:defRPr>
                <a:solidFill>
                  <a:schemeClr val="bg1"/>
                </a:solidFill>
              </a:defRPr>
            </a:lvl1pPr>
          </a:lstStyle>
          <a:p>
            <a:pPr lvl="0"/>
            <a:r>
              <a:rPr lang="en-GB" noProof="0"/>
              <a:t>Text level 1</a:t>
            </a:r>
          </a:p>
        </p:txBody>
      </p:sp>
      <p:sp>
        <p:nvSpPr>
          <p:cNvPr id="24" name="Espace réservé du texte 9"/>
          <p:cNvSpPr>
            <a:spLocks noGrp="1"/>
          </p:cNvSpPr>
          <p:nvPr>
            <p:ph type="body" sz="quarter" idx="22" hasCustomPrompt="1"/>
          </p:nvPr>
        </p:nvSpPr>
        <p:spPr bwMode="gray">
          <a:xfrm>
            <a:off x="6096795" y="1985432"/>
            <a:ext cx="4896000" cy="3561600"/>
          </a:xfrm>
          <a:ln w="9525">
            <a:solidFill>
              <a:schemeClr val="bg2"/>
            </a:solidFill>
          </a:ln>
        </p:spPr>
        <p:txBody>
          <a:bodyPr tIns="72000"/>
          <a:lstStyle>
            <a:lvl1pPr marL="431989" indent="-239994">
              <a:lnSpc>
                <a:spcPct val="100000"/>
              </a:lnSpc>
              <a:spcBef>
                <a:spcPts val="400"/>
              </a:spcBef>
              <a:buClr>
                <a:schemeClr val="accent3"/>
              </a:buClr>
              <a:buFont typeface="Arial" pitchFamily="34" charset="0"/>
              <a:buChar char="•"/>
              <a:defRPr sz="2400">
                <a:solidFill>
                  <a:schemeClr val="tx1"/>
                </a:solidFill>
              </a:defRPr>
            </a:lvl1pPr>
            <a:lvl2pPr marL="671983">
              <a:buClr>
                <a:schemeClr val="tx1"/>
              </a:buClr>
              <a:defRPr sz="2133" b="0"/>
            </a:lvl2pPr>
            <a:lvl3pPr indent="0">
              <a:buNone/>
              <a:defRPr/>
            </a:lvl3pPr>
            <a:lvl4pPr marL="911977" indent="-239994">
              <a:buClr>
                <a:schemeClr val="tx1"/>
              </a:buClr>
              <a:buFont typeface="Arial" pitchFamily="34" charset="0"/>
              <a:buChar char="•"/>
              <a:defRPr sz="1867"/>
            </a:lvl4pPr>
          </a:lstStyle>
          <a:p>
            <a:pPr lvl="0"/>
            <a:r>
              <a:rPr lang="en-GB" noProof="0"/>
              <a:t>Text level 2</a:t>
            </a:r>
          </a:p>
          <a:p>
            <a:pPr lvl="1"/>
            <a:r>
              <a:rPr lang="en-GB" noProof="0"/>
              <a:t>Text level 3</a:t>
            </a:r>
          </a:p>
          <a:p>
            <a:pPr lvl="2"/>
            <a:r>
              <a:rPr lang="en-GB" noProof="0"/>
              <a:t>Text level 4</a:t>
            </a:r>
          </a:p>
          <a:p>
            <a:pPr lvl="3"/>
            <a:r>
              <a:rPr lang="en-GB" noProof="0"/>
              <a:t>Text level 5</a:t>
            </a:r>
          </a:p>
        </p:txBody>
      </p:sp>
    </p:spTree>
    <p:extLst>
      <p:ext uri="{BB962C8B-B14F-4D97-AF65-F5344CB8AC3E}">
        <p14:creationId xmlns:p14="http://schemas.microsoft.com/office/powerpoint/2010/main" val="213796540"/>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Thank_you_2">
    <p:spTree>
      <p:nvGrpSpPr>
        <p:cNvPr id="1" name=""/>
        <p:cNvGrpSpPr/>
        <p:nvPr/>
      </p:nvGrpSpPr>
      <p:grpSpPr>
        <a:xfrm>
          <a:off x="0" y="0"/>
          <a:ext cx="0" cy="0"/>
          <a:chOff x="0" y="0"/>
          <a:chExt cx="0" cy="0"/>
        </a:xfrm>
      </p:grpSpPr>
      <p:pic>
        <p:nvPicPr>
          <p:cNvPr id="18" name="Image 17" descr="Image_03.jpg"/>
          <p:cNvPicPr>
            <a:picLocks noChangeAspect="1"/>
          </p:cNvPicPr>
          <p:nvPr userDrawn="1"/>
        </p:nvPicPr>
        <p:blipFill>
          <a:blip r:embed="rId2" cstate="print"/>
          <a:stretch>
            <a:fillRect/>
          </a:stretch>
        </p:blipFill>
        <p:spPr bwMode="gray">
          <a:xfrm>
            <a:off x="6620071" y="-16850"/>
            <a:ext cx="5591179" cy="5712068"/>
          </a:xfrm>
          <a:prstGeom prst="rect">
            <a:avLst/>
          </a:prstGeom>
        </p:spPr>
      </p:pic>
      <p:sp>
        <p:nvSpPr>
          <p:cNvPr id="13" name="Forme libre 12"/>
          <p:cNvSpPr/>
          <p:nvPr userDrawn="1"/>
        </p:nvSpPr>
        <p:spPr>
          <a:xfrm>
            <a:off x="3" y="0"/>
            <a:ext cx="9394668" cy="5160000"/>
          </a:xfrm>
          <a:custGeom>
            <a:avLst/>
            <a:gdLst>
              <a:gd name="connsiteX0" fmla="*/ 0 w 7046001"/>
              <a:gd name="connsiteY0" fmla="*/ 0 h 3870000"/>
              <a:gd name="connsiteX1" fmla="*/ 7046001 w 7046001"/>
              <a:gd name="connsiteY1" fmla="*/ 0 h 3870000"/>
              <a:gd name="connsiteX2" fmla="*/ 5146256 w 7046001"/>
              <a:gd name="connsiteY2" fmla="*/ 3580448 h 3870000"/>
              <a:gd name="connsiteX3" fmla="*/ 5116340 w 7046001"/>
              <a:gd name="connsiteY3" fmla="*/ 3870000 h 3870000"/>
              <a:gd name="connsiteX4" fmla="*/ 0 w 7046001"/>
              <a:gd name="connsiteY4" fmla="*/ 3870000 h 387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46001" h="3870000">
                <a:moveTo>
                  <a:pt x="0" y="0"/>
                </a:moveTo>
                <a:lnTo>
                  <a:pt x="7046001" y="0"/>
                </a:lnTo>
                <a:cubicBezTo>
                  <a:pt x="7040718" y="945283"/>
                  <a:pt x="5396983" y="2115735"/>
                  <a:pt x="5146256" y="3580448"/>
                </a:cubicBezTo>
                <a:lnTo>
                  <a:pt x="5116340" y="3870000"/>
                </a:lnTo>
                <a:lnTo>
                  <a:pt x="0" y="3870000"/>
                </a:lnTo>
                <a:close/>
              </a:path>
            </a:pathLst>
          </a:custGeom>
          <a:blipFill>
            <a:blip r:embed="rId3"/>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22" name="Rectangle 21"/>
          <p:cNvSpPr/>
          <p:nvPr userDrawn="1"/>
        </p:nvSpPr>
        <p:spPr bwMode="gray">
          <a:xfrm>
            <a:off x="4847169" y="5265205"/>
            <a:ext cx="7344833" cy="15927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sp>
        <p:nvSpPr>
          <p:cNvPr id="9" name="Espace réservé du texte 8"/>
          <p:cNvSpPr>
            <a:spLocks noGrp="1"/>
          </p:cNvSpPr>
          <p:nvPr>
            <p:ph type="body" sz="quarter" idx="13" hasCustomPrompt="1"/>
          </p:nvPr>
        </p:nvSpPr>
        <p:spPr bwMode="gray">
          <a:xfrm>
            <a:off x="672000" y="974400"/>
            <a:ext cx="6384000" cy="2232000"/>
          </a:xfrm>
        </p:spPr>
        <p:txBody>
          <a:bodyPr anchor="b" anchorCtr="0"/>
          <a:lstStyle>
            <a:lvl1pPr marL="0" indent="0" algn="l">
              <a:lnSpc>
                <a:spcPct val="90000"/>
              </a:lnSpc>
              <a:buNone/>
              <a:defRPr sz="3733" b="1" cap="none" baseline="0">
                <a:solidFill>
                  <a:schemeClr val="bg1"/>
                </a:solidFill>
              </a:defRPr>
            </a:lvl1pPr>
            <a:lvl2pPr marL="0" algn="ctr">
              <a:lnSpc>
                <a:spcPct val="100000"/>
              </a:lnSpc>
              <a:spcBef>
                <a:spcPts val="9200"/>
              </a:spcBef>
              <a:defRPr sz="2667" b="1">
                <a:solidFill>
                  <a:schemeClr val="bg1"/>
                </a:solidFill>
              </a:defRPr>
            </a:lvl2pPr>
          </a:lstStyle>
          <a:p>
            <a:pPr lvl="0"/>
            <a:r>
              <a:rPr lang="en-GB" noProof="0"/>
              <a:t>THANK YOU</a:t>
            </a:r>
          </a:p>
        </p:txBody>
      </p:sp>
      <p:sp>
        <p:nvSpPr>
          <p:cNvPr id="11" name="Espace réservé du numéro de diapositive 10"/>
          <p:cNvSpPr>
            <a:spLocks noGrp="1"/>
          </p:cNvSpPr>
          <p:nvPr>
            <p:ph type="sldNum" sz="quarter" idx="16"/>
          </p:nvPr>
        </p:nvSpPr>
        <p:spPr bwMode="gray"/>
        <p:txBody>
          <a:bodyPr/>
          <a:lstStyle>
            <a:lvl1pPr>
              <a:defRPr sz="133">
                <a:solidFill>
                  <a:schemeClr val="bg1">
                    <a:alpha val="0"/>
                  </a:schemeClr>
                </a:solidFill>
              </a:defRPr>
            </a:lvl1pPr>
          </a:lstStyle>
          <a:p>
            <a:pPr algn="l"/>
            <a:r>
              <a:rPr lang="en-GB" noProof="0"/>
              <a:t>Page: </a:t>
            </a:r>
            <a:fld id="{733122C9-A0B9-462F-8757-0847AD287B63}" type="slidenum">
              <a:rPr lang="en-GB" noProof="0" smtClean="0"/>
              <a:pPr algn="l"/>
              <a:t>‹#›</a:t>
            </a:fld>
            <a:endParaRPr lang="en-GB" noProof="0"/>
          </a:p>
        </p:txBody>
      </p:sp>
      <p:sp>
        <p:nvSpPr>
          <p:cNvPr id="15" name="Espace réservé du texte 14"/>
          <p:cNvSpPr>
            <a:spLocks noGrp="1"/>
          </p:cNvSpPr>
          <p:nvPr>
            <p:ph type="body" sz="quarter" idx="19" hasCustomPrompt="1"/>
          </p:nvPr>
        </p:nvSpPr>
        <p:spPr bwMode="gray">
          <a:xfrm>
            <a:off x="5592000" y="5899200"/>
            <a:ext cx="5884800" cy="324000"/>
          </a:xfrm>
        </p:spPr>
        <p:txBody>
          <a:bodyPr anchor="b" anchorCtr="0"/>
          <a:lstStyle>
            <a:lvl1pPr algn="r">
              <a:lnSpc>
                <a:spcPct val="100000"/>
              </a:lnSpc>
              <a:defRPr sz="1200" b="1">
                <a:solidFill>
                  <a:schemeClr val="accent2"/>
                </a:solidFill>
              </a:defRPr>
            </a:lvl1pPr>
          </a:lstStyle>
          <a:p>
            <a:r>
              <a:rPr lang="fr-FR" err="1"/>
              <a:t>Reach</a:t>
            </a:r>
            <a:r>
              <a:rPr lang="fr-FR"/>
              <a:t> </a:t>
            </a:r>
            <a:r>
              <a:rPr lang="fr-FR" err="1"/>
              <a:t>every</a:t>
            </a:r>
            <a:r>
              <a:rPr lang="fr-FR"/>
              <a:t> </a:t>
            </a:r>
            <a:r>
              <a:rPr lang="fr-FR" err="1"/>
              <a:t>child</a:t>
            </a:r>
            <a:endParaRPr lang="fr-FR"/>
          </a:p>
        </p:txBody>
      </p:sp>
      <p:sp>
        <p:nvSpPr>
          <p:cNvPr id="16" name="Rectangle 15"/>
          <p:cNvSpPr/>
          <p:nvPr userDrawn="1"/>
        </p:nvSpPr>
        <p:spPr bwMode="gray">
          <a:xfrm>
            <a:off x="5592000" y="6283200"/>
            <a:ext cx="5884800" cy="287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r>
              <a:rPr lang="en-GB" sz="1200" noProof="0">
                <a:solidFill>
                  <a:schemeClr val="accent3"/>
                </a:solidFill>
              </a:rPr>
              <a:t>www.gavi.org</a:t>
            </a:r>
          </a:p>
        </p:txBody>
      </p:sp>
      <p:sp>
        <p:nvSpPr>
          <p:cNvPr id="19" name="Rectangle 18"/>
          <p:cNvSpPr/>
          <p:nvPr userDrawn="1"/>
        </p:nvSpPr>
        <p:spPr bwMode="gray">
          <a:xfrm>
            <a:off x="672000" y="3393600"/>
            <a:ext cx="2337600" cy="25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sp>
        <p:nvSpPr>
          <p:cNvPr id="17" name="Espace réservé du texte 16"/>
          <p:cNvSpPr>
            <a:spLocks noGrp="1"/>
          </p:cNvSpPr>
          <p:nvPr>
            <p:ph type="body" sz="quarter" idx="20" hasCustomPrompt="1"/>
          </p:nvPr>
        </p:nvSpPr>
        <p:spPr bwMode="gray">
          <a:xfrm>
            <a:off x="0" y="5157789"/>
            <a:ext cx="12192000" cy="287337"/>
          </a:xfrm>
          <a:solidFill>
            <a:schemeClr val="bg1"/>
          </a:solidFill>
        </p:spPr>
        <p:txBody>
          <a:bodyPr/>
          <a:lstStyle>
            <a:lvl1pPr>
              <a:defRPr sz="133" b="0">
                <a:solidFill>
                  <a:schemeClr val="bg1">
                    <a:alpha val="0"/>
                  </a:schemeClr>
                </a:solidFill>
              </a:defRPr>
            </a:lvl1pPr>
          </a:lstStyle>
          <a:p>
            <a:pPr lvl="0"/>
            <a:r>
              <a:rPr lang="en-GB" noProof="0"/>
              <a:t> </a:t>
            </a:r>
          </a:p>
        </p:txBody>
      </p:sp>
    </p:spTree>
    <p:extLst>
      <p:ext uri="{BB962C8B-B14F-4D97-AF65-F5344CB8AC3E}">
        <p14:creationId xmlns:p14="http://schemas.microsoft.com/office/powerpoint/2010/main" val="3564892256"/>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Thank_you_picture_2">
    <p:spTree>
      <p:nvGrpSpPr>
        <p:cNvPr id="1" name=""/>
        <p:cNvGrpSpPr/>
        <p:nvPr/>
      </p:nvGrpSpPr>
      <p:grpSpPr>
        <a:xfrm>
          <a:off x="0" y="0"/>
          <a:ext cx="0" cy="0"/>
          <a:chOff x="0" y="0"/>
          <a:chExt cx="0" cy="0"/>
        </a:xfrm>
      </p:grpSpPr>
      <p:pic>
        <p:nvPicPr>
          <p:cNvPr id="13" name="Imag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5161280"/>
          </a:xfrm>
          <a:prstGeom prst="rect">
            <a:avLst/>
          </a:prstGeom>
        </p:spPr>
      </p:pic>
      <p:sp>
        <p:nvSpPr>
          <p:cNvPr id="20" name="Espace réservé pour une image  25"/>
          <p:cNvSpPr>
            <a:spLocks noGrp="1"/>
          </p:cNvSpPr>
          <p:nvPr>
            <p:ph type="pic" sz="quarter" idx="10" hasCustomPrompt="1"/>
          </p:nvPr>
        </p:nvSpPr>
        <p:spPr>
          <a:xfrm>
            <a:off x="6821913" y="0"/>
            <a:ext cx="5370089" cy="5158800"/>
          </a:xfrm>
          <a:custGeom>
            <a:avLst/>
            <a:gdLst>
              <a:gd name="connsiteX0" fmla="*/ 1929568 w 4027567"/>
              <a:gd name="connsiteY0" fmla="*/ 0 h 3869100"/>
              <a:gd name="connsiteX1" fmla="*/ 4027567 w 4027567"/>
              <a:gd name="connsiteY1" fmla="*/ 0 h 3869100"/>
              <a:gd name="connsiteX2" fmla="*/ 4027567 w 4027567"/>
              <a:gd name="connsiteY2" fmla="*/ 3869100 h 3869100"/>
              <a:gd name="connsiteX3" fmla="*/ 0 w 4027567"/>
              <a:gd name="connsiteY3" fmla="*/ 3869100 h 3869100"/>
              <a:gd name="connsiteX4" fmla="*/ 29823 w 4027567"/>
              <a:gd name="connsiteY4" fmla="*/ 3580448 h 3869100"/>
              <a:gd name="connsiteX5" fmla="*/ 1929568 w 4027567"/>
              <a:gd name="connsiteY5" fmla="*/ 0 h 3869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27567" h="3869100">
                <a:moveTo>
                  <a:pt x="1929568" y="0"/>
                </a:moveTo>
                <a:lnTo>
                  <a:pt x="4027567" y="0"/>
                </a:lnTo>
                <a:lnTo>
                  <a:pt x="4027567" y="3869100"/>
                </a:lnTo>
                <a:lnTo>
                  <a:pt x="0" y="3869100"/>
                </a:lnTo>
                <a:lnTo>
                  <a:pt x="29823" y="3580448"/>
                </a:lnTo>
                <a:cubicBezTo>
                  <a:pt x="280550" y="2115735"/>
                  <a:pt x="1924285" y="945283"/>
                  <a:pt x="1929568" y="0"/>
                </a:cubicBezTo>
                <a:close/>
              </a:path>
            </a:pathLst>
          </a:custGeom>
          <a:solidFill>
            <a:schemeClr val="bg2"/>
          </a:solidFill>
        </p:spPr>
        <p:txBody>
          <a:bodyPr wrap="square" tIns="720000" anchor="ctr" anchorCtr="0">
            <a:noAutofit/>
          </a:bodyPr>
          <a:lstStyle>
            <a:lvl1pPr marL="0" marR="0" indent="0" algn="ctr" defTabSz="1219170" rtl="0" eaLnBrk="1" fontAlgn="auto" latinLnBrk="0" hangingPunct="1">
              <a:lnSpc>
                <a:spcPct val="110000"/>
              </a:lnSpc>
              <a:spcBef>
                <a:spcPts val="0"/>
              </a:spcBef>
              <a:spcAft>
                <a:spcPts val="0"/>
              </a:spcAft>
              <a:buClrTx/>
              <a:buSzTx/>
              <a:buFont typeface="Arial" pitchFamily="34" charset="0"/>
              <a:buNone/>
              <a:tabLst/>
              <a:defRPr sz="2000">
                <a:solidFill>
                  <a:schemeClr val="bg1"/>
                </a:solidFill>
              </a:defRPr>
            </a:lvl1pPr>
          </a:lstStyle>
          <a:p>
            <a:r>
              <a:rPr lang="en-GB" noProof="0"/>
              <a:t>Select your own photo</a:t>
            </a:r>
          </a:p>
        </p:txBody>
      </p:sp>
      <p:sp>
        <p:nvSpPr>
          <p:cNvPr id="22" name="Rectangle 21"/>
          <p:cNvSpPr/>
          <p:nvPr userDrawn="1"/>
        </p:nvSpPr>
        <p:spPr bwMode="gray">
          <a:xfrm>
            <a:off x="4847169" y="5265205"/>
            <a:ext cx="7344833" cy="15927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sp>
        <p:nvSpPr>
          <p:cNvPr id="9" name="Espace réservé du texte 8"/>
          <p:cNvSpPr>
            <a:spLocks noGrp="1"/>
          </p:cNvSpPr>
          <p:nvPr>
            <p:ph type="body" sz="quarter" idx="13" hasCustomPrompt="1"/>
          </p:nvPr>
        </p:nvSpPr>
        <p:spPr bwMode="gray">
          <a:xfrm>
            <a:off x="672000" y="974400"/>
            <a:ext cx="6384000" cy="2232000"/>
          </a:xfrm>
        </p:spPr>
        <p:txBody>
          <a:bodyPr anchor="b" anchorCtr="0"/>
          <a:lstStyle>
            <a:lvl1pPr marL="0" indent="0" algn="l">
              <a:lnSpc>
                <a:spcPct val="90000"/>
              </a:lnSpc>
              <a:buNone/>
              <a:defRPr sz="3733" b="1" cap="none" baseline="0">
                <a:solidFill>
                  <a:schemeClr val="bg1"/>
                </a:solidFill>
              </a:defRPr>
            </a:lvl1pPr>
            <a:lvl2pPr marL="0" algn="ctr">
              <a:lnSpc>
                <a:spcPct val="100000"/>
              </a:lnSpc>
              <a:spcBef>
                <a:spcPts val="9200"/>
              </a:spcBef>
              <a:defRPr sz="2667" b="1">
                <a:solidFill>
                  <a:schemeClr val="bg1"/>
                </a:solidFill>
              </a:defRPr>
            </a:lvl2pPr>
          </a:lstStyle>
          <a:p>
            <a:pPr lvl="0"/>
            <a:r>
              <a:rPr lang="en-GB" noProof="0"/>
              <a:t>THANK YOU</a:t>
            </a:r>
          </a:p>
        </p:txBody>
      </p:sp>
      <p:sp>
        <p:nvSpPr>
          <p:cNvPr id="11" name="Espace réservé du numéro de diapositive 10"/>
          <p:cNvSpPr>
            <a:spLocks noGrp="1"/>
          </p:cNvSpPr>
          <p:nvPr>
            <p:ph type="sldNum" sz="quarter" idx="16"/>
          </p:nvPr>
        </p:nvSpPr>
        <p:spPr bwMode="gray"/>
        <p:txBody>
          <a:bodyPr/>
          <a:lstStyle>
            <a:lvl1pPr>
              <a:defRPr sz="133">
                <a:solidFill>
                  <a:schemeClr val="bg1">
                    <a:alpha val="0"/>
                  </a:schemeClr>
                </a:solidFill>
              </a:defRPr>
            </a:lvl1pPr>
          </a:lstStyle>
          <a:p>
            <a:pPr algn="l"/>
            <a:r>
              <a:rPr lang="en-GB" noProof="0"/>
              <a:t>Page: </a:t>
            </a:r>
            <a:fld id="{733122C9-A0B9-462F-8757-0847AD287B63}" type="slidenum">
              <a:rPr lang="en-GB" noProof="0" smtClean="0"/>
              <a:pPr algn="l"/>
              <a:t>‹#›</a:t>
            </a:fld>
            <a:endParaRPr lang="en-GB" noProof="0"/>
          </a:p>
        </p:txBody>
      </p:sp>
      <p:sp>
        <p:nvSpPr>
          <p:cNvPr id="15" name="Espace réservé du texte 14"/>
          <p:cNvSpPr>
            <a:spLocks noGrp="1"/>
          </p:cNvSpPr>
          <p:nvPr>
            <p:ph type="body" sz="quarter" idx="19" hasCustomPrompt="1"/>
          </p:nvPr>
        </p:nvSpPr>
        <p:spPr bwMode="gray">
          <a:xfrm>
            <a:off x="5592000" y="5899200"/>
            <a:ext cx="5884800" cy="324000"/>
          </a:xfrm>
        </p:spPr>
        <p:txBody>
          <a:bodyPr anchor="b" anchorCtr="0"/>
          <a:lstStyle>
            <a:lvl1pPr algn="r">
              <a:lnSpc>
                <a:spcPct val="100000"/>
              </a:lnSpc>
              <a:defRPr sz="1200" b="1">
                <a:solidFill>
                  <a:schemeClr val="accent2"/>
                </a:solidFill>
              </a:defRPr>
            </a:lvl1pPr>
          </a:lstStyle>
          <a:p>
            <a:r>
              <a:rPr lang="fr-FR" err="1"/>
              <a:t>Reach</a:t>
            </a:r>
            <a:r>
              <a:rPr lang="fr-FR"/>
              <a:t> </a:t>
            </a:r>
            <a:r>
              <a:rPr lang="fr-FR" err="1"/>
              <a:t>every</a:t>
            </a:r>
            <a:r>
              <a:rPr lang="fr-FR"/>
              <a:t> </a:t>
            </a:r>
            <a:r>
              <a:rPr lang="fr-FR" err="1"/>
              <a:t>child</a:t>
            </a:r>
            <a:endParaRPr lang="fr-FR"/>
          </a:p>
        </p:txBody>
      </p:sp>
      <p:sp>
        <p:nvSpPr>
          <p:cNvPr id="16" name="Rectangle 15"/>
          <p:cNvSpPr/>
          <p:nvPr userDrawn="1"/>
        </p:nvSpPr>
        <p:spPr bwMode="gray">
          <a:xfrm>
            <a:off x="5592000" y="6283200"/>
            <a:ext cx="5884800" cy="287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r>
              <a:rPr lang="en-GB" sz="1200" noProof="0">
                <a:solidFill>
                  <a:schemeClr val="accent3"/>
                </a:solidFill>
              </a:rPr>
              <a:t>www.gavi.org</a:t>
            </a:r>
          </a:p>
        </p:txBody>
      </p:sp>
      <p:sp>
        <p:nvSpPr>
          <p:cNvPr id="19" name="Rectangle 18"/>
          <p:cNvSpPr/>
          <p:nvPr userDrawn="1"/>
        </p:nvSpPr>
        <p:spPr bwMode="gray">
          <a:xfrm>
            <a:off x="672000" y="3391895"/>
            <a:ext cx="2337600" cy="25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sp>
        <p:nvSpPr>
          <p:cNvPr id="17" name="Espace réservé du texte 16"/>
          <p:cNvSpPr>
            <a:spLocks noGrp="1"/>
          </p:cNvSpPr>
          <p:nvPr>
            <p:ph type="body" sz="quarter" idx="20" hasCustomPrompt="1"/>
          </p:nvPr>
        </p:nvSpPr>
        <p:spPr bwMode="gray">
          <a:xfrm>
            <a:off x="0" y="5157789"/>
            <a:ext cx="12192000" cy="287337"/>
          </a:xfrm>
          <a:solidFill>
            <a:schemeClr val="bg1"/>
          </a:solidFill>
        </p:spPr>
        <p:txBody>
          <a:bodyPr/>
          <a:lstStyle>
            <a:lvl1pPr>
              <a:defRPr sz="133" b="0">
                <a:solidFill>
                  <a:schemeClr val="bg1">
                    <a:alpha val="0"/>
                  </a:schemeClr>
                </a:solidFill>
              </a:defRPr>
            </a:lvl1pPr>
          </a:lstStyle>
          <a:p>
            <a:pPr lvl="0"/>
            <a:r>
              <a:rPr lang="en-GB" noProof="0"/>
              <a:t> </a:t>
            </a:r>
          </a:p>
        </p:txBody>
      </p:sp>
    </p:spTree>
    <p:extLst>
      <p:ext uri="{BB962C8B-B14F-4D97-AF65-F5344CB8AC3E}">
        <p14:creationId xmlns:p14="http://schemas.microsoft.com/office/powerpoint/2010/main" val="155531559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xt Sections x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23534" y="1319651"/>
            <a:ext cx="5358213" cy="343847"/>
          </a:xfrm>
        </p:spPr>
        <p:txBody>
          <a:bodyPr>
            <a:normAutofit/>
          </a:bodyPr>
          <a:lstStyle>
            <a:lvl1pPr>
              <a:defRPr sz="1800" b="1">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United Against Rabies Forum Meeting - 6-8 November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Text Placeholder 8">
            <a:extLst>
              <a:ext uri="{FF2B5EF4-FFF2-40B4-BE49-F238E27FC236}">
                <a16:creationId xmlns:a16="http://schemas.microsoft.com/office/drawing/2014/main" id="{E867F760-C803-3AA5-7534-42750FD6DB15}"/>
              </a:ext>
            </a:extLst>
          </p:cNvPr>
          <p:cNvSpPr>
            <a:spLocks noGrp="1"/>
          </p:cNvSpPr>
          <p:nvPr>
            <p:ph type="body" idx="13"/>
          </p:nvPr>
        </p:nvSpPr>
        <p:spPr>
          <a:xfrm>
            <a:off x="531132" y="1708830"/>
            <a:ext cx="5343019"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8" name="Text Placeholder 6">
            <a:extLst>
              <a:ext uri="{FF2B5EF4-FFF2-40B4-BE49-F238E27FC236}">
                <a16:creationId xmlns:a16="http://schemas.microsoft.com/office/drawing/2014/main" id="{87E7DAA2-4D74-8F73-20DD-AB5A220C5D1B}"/>
              </a:ext>
            </a:extLst>
          </p:cNvPr>
          <p:cNvSpPr>
            <a:spLocks noGrp="1"/>
          </p:cNvSpPr>
          <p:nvPr>
            <p:ph type="body" sz="quarter" idx="15"/>
          </p:nvPr>
        </p:nvSpPr>
        <p:spPr>
          <a:xfrm>
            <a:off x="6317851" y="1319651"/>
            <a:ext cx="5358213" cy="343847"/>
          </a:xfrm>
        </p:spPr>
        <p:txBody>
          <a:bodyPr>
            <a:normAutofit/>
          </a:bodyPr>
          <a:lstStyle>
            <a:lvl1pPr>
              <a:defRPr sz="1800" b="1">
                <a:solidFill>
                  <a:schemeClr val="bg2"/>
                </a:solidFill>
              </a:defRPr>
            </a:lvl1pPr>
          </a:lstStyle>
          <a:p>
            <a:pPr lvl="0"/>
            <a:r>
              <a:rPr lang="en-GB"/>
              <a:t>Click to edit Master text styles</a:t>
            </a:r>
          </a:p>
        </p:txBody>
      </p:sp>
      <p:sp>
        <p:nvSpPr>
          <p:cNvPr id="19" name="Text Placeholder 8">
            <a:extLst>
              <a:ext uri="{FF2B5EF4-FFF2-40B4-BE49-F238E27FC236}">
                <a16:creationId xmlns:a16="http://schemas.microsoft.com/office/drawing/2014/main" id="{1E0345EA-841F-0CDC-4D3D-6F8A441AA78F}"/>
              </a:ext>
            </a:extLst>
          </p:cNvPr>
          <p:cNvSpPr>
            <a:spLocks noGrp="1"/>
          </p:cNvSpPr>
          <p:nvPr>
            <p:ph type="body" idx="16"/>
          </p:nvPr>
        </p:nvSpPr>
        <p:spPr>
          <a:xfrm>
            <a:off x="6333045" y="1708830"/>
            <a:ext cx="5343019"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2222703119"/>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Colors">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p>
            <a:r>
              <a:rPr lang="en-GB" noProof="0"/>
              <a:t>BRAND COLOUR PALETTE</a:t>
            </a:r>
          </a:p>
        </p:txBody>
      </p:sp>
      <p:sp>
        <p:nvSpPr>
          <p:cNvPr id="5" name="Espace réservé du numéro de diapositive 4"/>
          <p:cNvSpPr>
            <a:spLocks noGrp="1"/>
          </p:cNvSpPr>
          <p:nvPr>
            <p:ph type="sldNum" sz="quarter" idx="12"/>
          </p:nvPr>
        </p:nvSpPr>
        <p:spPr/>
        <p:txBody>
          <a:bodyPr/>
          <a:lstStyle/>
          <a:p>
            <a:fld id="{733122C9-A0B9-462F-8757-0847AD287B63}" type="slidenum">
              <a:rPr lang="en-GB" noProof="0" smtClean="0"/>
              <a:pPr/>
              <a:t>‹#›</a:t>
            </a:fld>
            <a:endParaRPr lang="en-GB" noProof="0"/>
          </a:p>
        </p:txBody>
      </p:sp>
      <p:sp>
        <p:nvSpPr>
          <p:cNvPr id="6" name="ZoneTexte 5"/>
          <p:cNvSpPr txBox="1"/>
          <p:nvPr userDrawn="1"/>
        </p:nvSpPr>
        <p:spPr>
          <a:xfrm>
            <a:off x="672000" y="1506440"/>
            <a:ext cx="4358557" cy="2992531"/>
          </a:xfrm>
          <a:prstGeom prst="rect">
            <a:avLst/>
          </a:prstGeom>
          <a:noFill/>
        </p:spPr>
        <p:txBody>
          <a:bodyPr wrap="square" lIns="0" tIns="0" rIns="0" bIns="0" rtlCol="0">
            <a:noAutofit/>
          </a:bodyPr>
          <a:lstStyle/>
          <a:p>
            <a:pPr>
              <a:lnSpc>
                <a:spcPct val="110000"/>
              </a:lnSpc>
            </a:pPr>
            <a:r>
              <a:rPr lang="en-GB" sz="2400" b="0" noProof="0">
                <a:solidFill>
                  <a:schemeClr val="accent1"/>
                </a:solidFill>
              </a:rPr>
              <a:t>Primary</a:t>
            </a:r>
          </a:p>
          <a:p>
            <a:pPr marL="609585" lvl="1" indent="-124881">
              <a:lnSpc>
                <a:spcPct val="100000"/>
              </a:lnSpc>
              <a:spcAft>
                <a:spcPts val="800"/>
              </a:spcAft>
              <a:buClr>
                <a:schemeClr val="tx1"/>
              </a:buClr>
              <a:buFont typeface="Arial" panose="020B0604020202020204" pitchFamily="34" charset="0"/>
              <a:buChar char="•"/>
            </a:pPr>
            <a:r>
              <a:rPr lang="en-GB" sz="2133" b="0" noProof="0"/>
              <a:t>Corporate colours</a:t>
            </a:r>
          </a:p>
          <a:p>
            <a:pPr marL="609585" lvl="1" indent="-124881">
              <a:lnSpc>
                <a:spcPct val="100000"/>
              </a:lnSpc>
              <a:spcAft>
                <a:spcPts val="800"/>
              </a:spcAft>
              <a:buClr>
                <a:schemeClr val="tx1"/>
              </a:buClr>
              <a:buFont typeface="Arial" panose="020B0604020202020204" pitchFamily="34" charset="0"/>
              <a:buChar char="•"/>
            </a:pPr>
            <a:r>
              <a:rPr lang="en-GB" sz="2133" b="0" noProof="0"/>
              <a:t>Strategic Goal Colours</a:t>
            </a:r>
          </a:p>
          <a:p>
            <a:pPr>
              <a:lnSpc>
                <a:spcPct val="110000"/>
              </a:lnSpc>
            </a:pPr>
            <a:r>
              <a:rPr lang="en-GB" sz="2400" b="0" noProof="0">
                <a:solidFill>
                  <a:schemeClr val="accent1"/>
                </a:solidFill>
              </a:rPr>
              <a:t>Secondary</a:t>
            </a:r>
          </a:p>
        </p:txBody>
      </p:sp>
      <p:sp>
        <p:nvSpPr>
          <p:cNvPr id="7" name="Freeform 8"/>
          <p:cNvSpPr>
            <a:spLocks noChangeAspect="1"/>
          </p:cNvSpPr>
          <p:nvPr userDrawn="1"/>
        </p:nvSpPr>
        <p:spPr bwMode="auto">
          <a:xfrm>
            <a:off x="5012245" y="1416571"/>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8" name="Rectangle 7"/>
          <p:cNvSpPr/>
          <p:nvPr userDrawn="1"/>
        </p:nvSpPr>
        <p:spPr>
          <a:xfrm>
            <a:off x="5505451" y="1413965"/>
            <a:ext cx="590549"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noProof="0">
                <a:solidFill>
                  <a:schemeClr val="tx1"/>
                </a:solidFill>
              </a:rPr>
              <a:t>R: 0</a:t>
            </a:r>
          </a:p>
          <a:p>
            <a:pPr>
              <a:lnSpc>
                <a:spcPct val="90000"/>
              </a:lnSpc>
            </a:pPr>
            <a:r>
              <a:rPr lang="en-GB" sz="933" noProof="0">
                <a:solidFill>
                  <a:schemeClr val="tx1"/>
                </a:solidFill>
              </a:rPr>
              <a:t>G: 92</a:t>
            </a:r>
          </a:p>
          <a:p>
            <a:pPr>
              <a:lnSpc>
                <a:spcPct val="90000"/>
              </a:lnSpc>
            </a:pPr>
            <a:r>
              <a:rPr lang="en-GB" sz="933" noProof="0">
                <a:solidFill>
                  <a:schemeClr val="tx1"/>
                </a:solidFill>
              </a:rPr>
              <a:t>B: 185</a:t>
            </a:r>
          </a:p>
        </p:txBody>
      </p:sp>
      <p:sp>
        <p:nvSpPr>
          <p:cNvPr id="49" name="Rectangle 48"/>
          <p:cNvSpPr/>
          <p:nvPr userDrawn="1"/>
        </p:nvSpPr>
        <p:spPr>
          <a:xfrm>
            <a:off x="6239685" y="5185225"/>
            <a:ext cx="4224801" cy="6355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GB" sz="1200" b="1" noProof="0">
                <a:solidFill>
                  <a:schemeClr val="tx1"/>
                </a:solidFill>
              </a:rPr>
              <a:t>Please use the four </a:t>
            </a:r>
            <a:r>
              <a:rPr lang="en-GB" sz="1200" b="1" noProof="0" err="1">
                <a:solidFill>
                  <a:schemeClr val="tx1"/>
                </a:solidFill>
              </a:rPr>
              <a:t>Gavi</a:t>
            </a:r>
            <a:r>
              <a:rPr lang="en-GB" sz="1200" b="1" noProof="0">
                <a:solidFill>
                  <a:schemeClr val="tx1"/>
                </a:solidFill>
              </a:rPr>
              <a:t> corporate colours where possible.  Specific strategic goals </a:t>
            </a:r>
            <a:br>
              <a:rPr lang="en-GB" sz="1200" b="1" noProof="0">
                <a:solidFill>
                  <a:schemeClr val="tx1"/>
                </a:solidFill>
              </a:rPr>
            </a:br>
            <a:r>
              <a:rPr lang="en-GB" sz="1200" b="1" noProof="0">
                <a:solidFill>
                  <a:schemeClr val="tx1"/>
                </a:solidFill>
              </a:rPr>
              <a:t>or vaccines should be highlighted using the key above. </a:t>
            </a:r>
          </a:p>
        </p:txBody>
      </p:sp>
      <p:sp>
        <p:nvSpPr>
          <p:cNvPr id="65" name="Freeform 8"/>
          <p:cNvSpPr>
            <a:spLocks noChangeAspect="1"/>
          </p:cNvSpPr>
          <p:nvPr userDrawn="1"/>
        </p:nvSpPr>
        <p:spPr bwMode="auto">
          <a:xfrm>
            <a:off x="6457437" y="1416571"/>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66" name="Rectangle 65"/>
          <p:cNvSpPr/>
          <p:nvPr userDrawn="1"/>
        </p:nvSpPr>
        <p:spPr>
          <a:xfrm>
            <a:off x="6950643" y="1413965"/>
            <a:ext cx="590549"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noProof="0">
                <a:solidFill>
                  <a:schemeClr val="tx1"/>
                </a:solidFill>
              </a:rPr>
              <a:t>R: 0</a:t>
            </a:r>
          </a:p>
          <a:p>
            <a:pPr>
              <a:lnSpc>
                <a:spcPct val="90000"/>
              </a:lnSpc>
            </a:pPr>
            <a:r>
              <a:rPr lang="en-GB" sz="933" noProof="0">
                <a:solidFill>
                  <a:schemeClr val="tx1"/>
                </a:solidFill>
              </a:rPr>
              <a:t>G: 161</a:t>
            </a:r>
          </a:p>
          <a:p>
            <a:pPr>
              <a:lnSpc>
                <a:spcPct val="90000"/>
              </a:lnSpc>
            </a:pPr>
            <a:r>
              <a:rPr lang="en-GB" sz="933" noProof="0">
                <a:solidFill>
                  <a:schemeClr val="tx1"/>
                </a:solidFill>
              </a:rPr>
              <a:t>B: 223</a:t>
            </a:r>
          </a:p>
        </p:txBody>
      </p:sp>
      <p:sp>
        <p:nvSpPr>
          <p:cNvPr id="68" name="Freeform 8"/>
          <p:cNvSpPr>
            <a:spLocks noChangeAspect="1"/>
          </p:cNvSpPr>
          <p:nvPr userDrawn="1"/>
        </p:nvSpPr>
        <p:spPr bwMode="auto">
          <a:xfrm>
            <a:off x="7869403" y="1416571"/>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69" name="Rectangle 68"/>
          <p:cNvSpPr/>
          <p:nvPr userDrawn="1"/>
        </p:nvSpPr>
        <p:spPr>
          <a:xfrm>
            <a:off x="8362608" y="1413965"/>
            <a:ext cx="590549"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noProof="0">
                <a:solidFill>
                  <a:schemeClr val="tx1"/>
                </a:solidFill>
              </a:rPr>
              <a:t>R: 149</a:t>
            </a:r>
          </a:p>
          <a:p>
            <a:pPr>
              <a:lnSpc>
                <a:spcPct val="90000"/>
              </a:lnSpc>
            </a:pPr>
            <a:r>
              <a:rPr lang="en-GB" sz="933" noProof="0">
                <a:solidFill>
                  <a:schemeClr val="tx1"/>
                </a:solidFill>
              </a:rPr>
              <a:t>G: 214</a:t>
            </a:r>
          </a:p>
          <a:p>
            <a:pPr>
              <a:lnSpc>
                <a:spcPct val="90000"/>
              </a:lnSpc>
            </a:pPr>
            <a:r>
              <a:rPr lang="en-GB" sz="933" noProof="0">
                <a:solidFill>
                  <a:schemeClr val="tx1"/>
                </a:solidFill>
              </a:rPr>
              <a:t>B: 0</a:t>
            </a:r>
          </a:p>
        </p:txBody>
      </p:sp>
      <p:sp>
        <p:nvSpPr>
          <p:cNvPr id="71" name="Freeform 8"/>
          <p:cNvSpPr>
            <a:spLocks noChangeAspect="1"/>
          </p:cNvSpPr>
          <p:nvPr userDrawn="1"/>
        </p:nvSpPr>
        <p:spPr bwMode="auto">
          <a:xfrm>
            <a:off x="9493117" y="1416571"/>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72" name="Rectangle 71"/>
          <p:cNvSpPr/>
          <p:nvPr userDrawn="1"/>
        </p:nvSpPr>
        <p:spPr>
          <a:xfrm>
            <a:off x="9986323" y="1413965"/>
            <a:ext cx="590549"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noProof="0">
                <a:solidFill>
                  <a:schemeClr val="tx1"/>
                </a:solidFill>
              </a:rPr>
              <a:t>R: 135</a:t>
            </a:r>
          </a:p>
          <a:p>
            <a:pPr>
              <a:lnSpc>
                <a:spcPct val="90000"/>
              </a:lnSpc>
            </a:pPr>
            <a:r>
              <a:rPr lang="en-GB" sz="933" noProof="0">
                <a:solidFill>
                  <a:schemeClr val="tx1"/>
                </a:solidFill>
              </a:rPr>
              <a:t>G: 135</a:t>
            </a:r>
          </a:p>
          <a:p>
            <a:pPr>
              <a:lnSpc>
                <a:spcPct val="90000"/>
              </a:lnSpc>
            </a:pPr>
            <a:r>
              <a:rPr lang="en-GB" sz="933" noProof="0">
                <a:solidFill>
                  <a:schemeClr val="tx1"/>
                </a:solidFill>
              </a:rPr>
              <a:t>B: 135</a:t>
            </a:r>
          </a:p>
        </p:txBody>
      </p:sp>
      <p:sp>
        <p:nvSpPr>
          <p:cNvPr id="74" name="Freeform 8"/>
          <p:cNvSpPr>
            <a:spLocks noChangeAspect="1"/>
          </p:cNvSpPr>
          <p:nvPr userDrawn="1"/>
        </p:nvSpPr>
        <p:spPr bwMode="auto">
          <a:xfrm>
            <a:off x="5012245" y="2317997"/>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75" name="Rectangle 74"/>
          <p:cNvSpPr/>
          <p:nvPr userDrawn="1"/>
        </p:nvSpPr>
        <p:spPr>
          <a:xfrm>
            <a:off x="5505451" y="2315392"/>
            <a:ext cx="951987"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ACCELERATE</a:t>
            </a:r>
          </a:p>
          <a:p>
            <a:pPr>
              <a:lnSpc>
                <a:spcPct val="90000"/>
              </a:lnSpc>
            </a:pPr>
            <a:r>
              <a:rPr lang="en-GB" sz="933" b="1" noProof="0">
                <a:solidFill>
                  <a:schemeClr val="tx1"/>
                </a:solidFill>
              </a:rPr>
              <a:t>VACCINES</a:t>
            </a:r>
          </a:p>
          <a:p>
            <a:pPr>
              <a:lnSpc>
                <a:spcPct val="90000"/>
              </a:lnSpc>
            </a:pPr>
            <a:r>
              <a:rPr lang="en-GB" sz="933" noProof="0">
                <a:solidFill>
                  <a:schemeClr val="tx1"/>
                </a:solidFill>
              </a:rPr>
              <a:t>R: 165</a:t>
            </a:r>
          </a:p>
          <a:p>
            <a:pPr>
              <a:lnSpc>
                <a:spcPct val="90000"/>
              </a:lnSpc>
            </a:pPr>
            <a:r>
              <a:rPr lang="en-GB" sz="933" noProof="0">
                <a:solidFill>
                  <a:schemeClr val="tx1"/>
                </a:solidFill>
              </a:rPr>
              <a:t>G: 24</a:t>
            </a:r>
          </a:p>
          <a:p>
            <a:pPr>
              <a:lnSpc>
                <a:spcPct val="90000"/>
              </a:lnSpc>
            </a:pPr>
            <a:r>
              <a:rPr lang="en-GB" sz="933" noProof="0">
                <a:solidFill>
                  <a:schemeClr val="tx1"/>
                </a:solidFill>
              </a:rPr>
              <a:t>B: 144</a:t>
            </a:r>
          </a:p>
        </p:txBody>
      </p:sp>
      <p:sp>
        <p:nvSpPr>
          <p:cNvPr id="77" name="Freeform 8"/>
          <p:cNvSpPr>
            <a:spLocks noChangeAspect="1"/>
          </p:cNvSpPr>
          <p:nvPr userDrawn="1"/>
        </p:nvSpPr>
        <p:spPr bwMode="auto">
          <a:xfrm>
            <a:off x="6457437" y="2317997"/>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78" name="Rectangle 77"/>
          <p:cNvSpPr/>
          <p:nvPr userDrawn="1"/>
        </p:nvSpPr>
        <p:spPr>
          <a:xfrm>
            <a:off x="6950643" y="2315392"/>
            <a:ext cx="918760"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STRENGTHEN</a:t>
            </a:r>
          </a:p>
          <a:p>
            <a:pPr>
              <a:lnSpc>
                <a:spcPct val="90000"/>
              </a:lnSpc>
            </a:pPr>
            <a:r>
              <a:rPr lang="en-GB" sz="933" b="1" noProof="0">
                <a:solidFill>
                  <a:schemeClr val="tx1"/>
                </a:solidFill>
              </a:rPr>
              <a:t>CAPACITY</a:t>
            </a:r>
          </a:p>
          <a:p>
            <a:pPr>
              <a:lnSpc>
                <a:spcPct val="90000"/>
              </a:lnSpc>
            </a:pPr>
            <a:r>
              <a:rPr lang="en-GB" sz="933" noProof="0">
                <a:solidFill>
                  <a:schemeClr val="tx1"/>
                </a:solidFill>
              </a:rPr>
              <a:t>R: 206</a:t>
            </a:r>
          </a:p>
          <a:p>
            <a:pPr>
              <a:lnSpc>
                <a:spcPct val="90000"/>
              </a:lnSpc>
            </a:pPr>
            <a:r>
              <a:rPr lang="en-GB" sz="933" noProof="0">
                <a:solidFill>
                  <a:schemeClr val="tx1"/>
                </a:solidFill>
              </a:rPr>
              <a:t>G: 15</a:t>
            </a:r>
          </a:p>
          <a:p>
            <a:pPr>
              <a:lnSpc>
                <a:spcPct val="90000"/>
              </a:lnSpc>
            </a:pPr>
            <a:r>
              <a:rPr lang="en-GB" sz="933" noProof="0">
                <a:solidFill>
                  <a:schemeClr val="tx1"/>
                </a:solidFill>
              </a:rPr>
              <a:t>B: 105</a:t>
            </a:r>
          </a:p>
        </p:txBody>
      </p:sp>
      <p:sp>
        <p:nvSpPr>
          <p:cNvPr id="80" name="Freeform 8"/>
          <p:cNvSpPr>
            <a:spLocks noChangeAspect="1"/>
          </p:cNvSpPr>
          <p:nvPr userDrawn="1"/>
        </p:nvSpPr>
        <p:spPr bwMode="auto">
          <a:xfrm>
            <a:off x="7869403" y="2317997"/>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81" name="Rectangle 80"/>
          <p:cNvSpPr/>
          <p:nvPr userDrawn="1"/>
        </p:nvSpPr>
        <p:spPr>
          <a:xfrm>
            <a:off x="8362608" y="2315392"/>
            <a:ext cx="997755"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INCREASE</a:t>
            </a:r>
          </a:p>
          <a:p>
            <a:pPr>
              <a:lnSpc>
                <a:spcPct val="90000"/>
              </a:lnSpc>
            </a:pPr>
            <a:r>
              <a:rPr lang="en-GB" sz="933" b="1" noProof="0">
                <a:solidFill>
                  <a:schemeClr val="tx1"/>
                </a:solidFill>
              </a:rPr>
              <a:t>PREDICTABILITY</a:t>
            </a:r>
          </a:p>
          <a:p>
            <a:pPr>
              <a:lnSpc>
                <a:spcPct val="90000"/>
              </a:lnSpc>
            </a:pPr>
            <a:r>
              <a:rPr lang="en-GB" sz="933" noProof="0">
                <a:solidFill>
                  <a:schemeClr val="tx1"/>
                </a:solidFill>
              </a:rPr>
              <a:t>R: 149</a:t>
            </a:r>
          </a:p>
          <a:p>
            <a:pPr>
              <a:lnSpc>
                <a:spcPct val="90000"/>
              </a:lnSpc>
            </a:pPr>
            <a:r>
              <a:rPr lang="en-GB" sz="933" noProof="0">
                <a:solidFill>
                  <a:schemeClr val="tx1"/>
                </a:solidFill>
              </a:rPr>
              <a:t>G: 214</a:t>
            </a:r>
          </a:p>
          <a:p>
            <a:pPr>
              <a:lnSpc>
                <a:spcPct val="90000"/>
              </a:lnSpc>
            </a:pPr>
            <a:r>
              <a:rPr lang="en-GB" sz="933" noProof="0">
                <a:solidFill>
                  <a:schemeClr val="tx1"/>
                </a:solidFill>
              </a:rPr>
              <a:t>B: 0</a:t>
            </a:r>
          </a:p>
        </p:txBody>
      </p:sp>
      <p:sp>
        <p:nvSpPr>
          <p:cNvPr id="83" name="Freeform 8"/>
          <p:cNvSpPr>
            <a:spLocks noChangeAspect="1"/>
          </p:cNvSpPr>
          <p:nvPr userDrawn="1"/>
        </p:nvSpPr>
        <p:spPr bwMode="auto">
          <a:xfrm>
            <a:off x="9493117" y="2317997"/>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84" name="Rectangle 83"/>
          <p:cNvSpPr/>
          <p:nvPr userDrawn="1"/>
        </p:nvSpPr>
        <p:spPr>
          <a:xfrm>
            <a:off x="9986323" y="2315392"/>
            <a:ext cx="1054211"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SHAPE</a:t>
            </a:r>
          </a:p>
          <a:p>
            <a:pPr>
              <a:lnSpc>
                <a:spcPct val="90000"/>
              </a:lnSpc>
            </a:pPr>
            <a:r>
              <a:rPr lang="en-GB" sz="933" b="1" noProof="0">
                <a:solidFill>
                  <a:schemeClr val="tx1"/>
                </a:solidFill>
              </a:rPr>
              <a:t>THE MARKET</a:t>
            </a:r>
          </a:p>
          <a:p>
            <a:pPr>
              <a:lnSpc>
                <a:spcPct val="90000"/>
              </a:lnSpc>
            </a:pPr>
            <a:r>
              <a:rPr lang="en-GB" sz="933" noProof="0">
                <a:solidFill>
                  <a:schemeClr val="tx1"/>
                </a:solidFill>
              </a:rPr>
              <a:t>R: 0</a:t>
            </a:r>
          </a:p>
          <a:p>
            <a:pPr>
              <a:lnSpc>
                <a:spcPct val="90000"/>
              </a:lnSpc>
            </a:pPr>
            <a:r>
              <a:rPr lang="en-GB" sz="933" noProof="0">
                <a:solidFill>
                  <a:schemeClr val="tx1"/>
                </a:solidFill>
              </a:rPr>
              <a:t>G: 161</a:t>
            </a:r>
          </a:p>
          <a:p>
            <a:pPr>
              <a:lnSpc>
                <a:spcPct val="90000"/>
              </a:lnSpc>
            </a:pPr>
            <a:r>
              <a:rPr lang="en-GB" sz="933" noProof="0">
                <a:solidFill>
                  <a:schemeClr val="tx1"/>
                </a:solidFill>
              </a:rPr>
              <a:t>B: 223</a:t>
            </a:r>
          </a:p>
        </p:txBody>
      </p:sp>
      <p:sp>
        <p:nvSpPr>
          <p:cNvPr id="97" name="Freeform 8"/>
          <p:cNvSpPr>
            <a:spLocks noChangeAspect="1"/>
          </p:cNvSpPr>
          <p:nvPr userDrawn="1"/>
        </p:nvSpPr>
        <p:spPr bwMode="auto">
          <a:xfrm>
            <a:off x="5012245" y="3401125"/>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CED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98" name="Rectangle 97"/>
          <p:cNvSpPr/>
          <p:nvPr userDrawn="1"/>
        </p:nvSpPr>
        <p:spPr>
          <a:xfrm>
            <a:off x="5505451" y="3236979"/>
            <a:ext cx="951987" cy="8047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IPV</a:t>
            </a:r>
          </a:p>
          <a:p>
            <a:pPr>
              <a:lnSpc>
                <a:spcPct val="90000"/>
              </a:lnSpc>
            </a:pPr>
            <a:r>
              <a:rPr lang="en-GB" sz="933" b="1" noProof="0">
                <a:solidFill>
                  <a:schemeClr val="tx1"/>
                </a:solidFill>
              </a:rPr>
              <a:t>INJECTABLE</a:t>
            </a:r>
          </a:p>
          <a:p>
            <a:pPr>
              <a:lnSpc>
                <a:spcPct val="90000"/>
              </a:lnSpc>
            </a:pPr>
            <a:r>
              <a:rPr lang="en-GB" sz="933" b="1" noProof="0">
                <a:solidFill>
                  <a:schemeClr val="tx1"/>
                </a:solidFill>
              </a:rPr>
              <a:t>POLIO</a:t>
            </a:r>
          </a:p>
          <a:p>
            <a:pPr>
              <a:lnSpc>
                <a:spcPct val="90000"/>
              </a:lnSpc>
            </a:pPr>
            <a:r>
              <a:rPr lang="en-GB" sz="933" noProof="0">
                <a:solidFill>
                  <a:schemeClr val="tx1"/>
                </a:solidFill>
              </a:rPr>
              <a:t>R: 206</a:t>
            </a:r>
          </a:p>
          <a:p>
            <a:pPr>
              <a:lnSpc>
                <a:spcPct val="90000"/>
              </a:lnSpc>
            </a:pPr>
            <a:r>
              <a:rPr lang="en-GB" sz="933" noProof="0">
                <a:solidFill>
                  <a:schemeClr val="tx1"/>
                </a:solidFill>
              </a:rPr>
              <a:t>G: 220</a:t>
            </a:r>
          </a:p>
          <a:p>
            <a:pPr>
              <a:lnSpc>
                <a:spcPct val="90000"/>
              </a:lnSpc>
            </a:pPr>
            <a:r>
              <a:rPr lang="en-GB" sz="933" noProof="0">
                <a:solidFill>
                  <a:schemeClr val="tx1"/>
                </a:solidFill>
              </a:rPr>
              <a:t>B: 0</a:t>
            </a:r>
          </a:p>
        </p:txBody>
      </p:sp>
      <p:sp>
        <p:nvSpPr>
          <p:cNvPr id="95" name="Freeform 8"/>
          <p:cNvSpPr>
            <a:spLocks noChangeAspect="1"/>
          </p:cNvSpPr>
          <p:nvPr userDrawn="1"/>
        </p:nvSpPr>
        <p:spPr bwMode="auto">
          <a:xfrm>
            <a:off x="6457437" y="3401125"/>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B288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96" name="Rectangle 95"/>
          <p:cNvSpPr/>
          <p:nvPr userDrawn="1"/>
        </p:nvSpPr>
        <p:spPr>
          <a:xfrm>
            <a:off x="6950643" y="3398520"/>
            <a:ext cx="918760"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JAPANESE</a:t>
            </a:r>
          </a:p>
          <a:p>
            <a:pPr>
              <a:lnSpc>
                <a:spcPct val="90000"/>
              </a:lnSpc>
            </a:pPr>
            <a:r>
              <a:rPr lang="en-GB" sz="933" b="1" noProof="0">
                <a:solidFill>
                  <a:schemeClr val="tx1"/>
                </a:solidFill>
              </a:rPr>
              <a:t>ENCEPHALITIS</a:t>
            </a:r>
          </a:p>
          <a:p>
            <a:pPr>
              <a:lnSpc>
                <a:spcPct val="90000"/>
              </a:lnSpc>
            </a:pPr>
            <a:r>
              <a:rPr lang="en-GB" sz="933" noProof="0">
                <a:solidFill>
                  <a:schemeClr val="tx1"/>
                </a:solidFill>
              </a:rPr>
              <a:t>R: 178</a:t>
            </a:r>
          </a:p>
          <a:p>
            <a:pPr>
              <a:lnSpc>
                <a:spcPct val="90000"/>
              </a:lnSpc>
            </a:pPr>
            <a:r>
              <a:rPr lang="en-GB" sz="933" noProof="0">
                <a:solidFill>
                  <a:schemeClr val="tx1"/>
                </a:solidFill>
              </a:rPr>
              <a:t>G: 136</a:t>
            </a:r>
          </a:p>
          <a:p>
            <a:pPr>
              <a:lnSpc>
                <a:spcPct val="90000"/>
              </a:lnSpc>
            </a:pPr>
            <a:r>
              <a:rPr lang="en-GB" sz="933" noProof="0">
                <a:solidFill>
                  <a:schemeClr val="tx1"/>
                </a:solidFill>
              </a:rPr>
              <a:t>B: 185</a:t>
            </a:r>
          </a:p>
        </p:txBody>
      </p:sp>
      <p:sp>
        <p:nvSpPr>
          <p:cNvPr id="93" name="Freeform 8"/>
          <p:cNvSpPr>
            <a:spLocks noChangeAspect="1"/>
          </p:cNvSpPr>
          <p:nvPr userDrawn="1"/>
        </p:nvSpPr>
        <p:spPr bwMode="auto">
          <a:xfrm>
            <a:off x="7869403" y="3401125"/>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41B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94" name="Rectangle 93"/>
          <p:cNvSpPr/>
          <p:nvPr userDrawn="1"/>
        </p:nvSpPr>
        <p:spPr>
          <a:xfrm>
            <a:off x="8362608" y="3398520"/>
            <a:ext cx="590549"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MEASLES</a:t>
            </a:r>
          </a:p>
          <a:p>
            <a:pPr>
              <a:lnSpc>
                <a:spcPct val="90000"/>
              </a:lnSpc>
            </a:pPr>
            <a:r>
              <a:rPr lang="en-GB" sz="933" noProof="0">
                <a:solidFill>
                  <a:schemeClr val="tx1"/>
                </a:solidFill>
              </a:rPr>
              <a:t>R: 65</a:t>
            </a:r>
          </a:p>
          <a:p>
            <a:pPr>
              <a:lnSpc>
                <a:spcPct val="90000"/>
              </a:lnSpc>
            </a:pPr>
            <a:r>
              <a:rPr lang="en-GB" sz="933" noProof="0">
                <a:solidFill>
                  <a:schemeClr val="tx1"/>
                </a:solidFill>
              </a:rPr>
              <a:t>G: 182</a:t>
            </a:r>
          </a:p>
          <a:p>
            <a:pPr>
              <a:lnSpc>
                <a:spcPct val="90000"/>
              </a:lnSpc>
            </a:pPr>
            <a:r>
              <a:rPr lang="en-GB" sz="933" noProof="0">
                <a:solidFill>
                  <a:schemeClr val="tx1"/>
                </a:solidFill>
              </a:rPr>
              <a:t>B: 230</a:t>
            </a:r>
          </a:p>
        </p:txBody>
      </p:sp>
      <p:sp>
        <p:nvSpPr>
          <p:cNvPr id="91" name="Freeform 8"/>
          <p:cNvSpPr>
            <a:spLocks noChangeAspect="1"/>
          </p:cNvSpPr>
          <p:nvPr userDrawn="1"/>
        </p:nvSpPr>
        <p:spPr bwMode="auto">
          <a:xfrm>
            <a:off x="9493117" y="3401125"/>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0097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92" name="Rectangle 91"/>
          <p:cNvSpPr/>
          <p:nvPr userDrawn="1"/>
        </p:nvSpPr>
        <p:spPr>
          <a:xfrm>
            <a:off x="9986323" y="3398520"/>
            <a:ext cx="910211"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MEASLES</a:t>
            </a:r>
          </a:p>
          <a:p>
            <a:pPr>
              <a:lnSpc>
                <a:spcPct val="90000"/>
              </a:lnSpc>
            </a:pPr>
            <a:r>
              <a:rPr lang="en-GB" sz="933" b="1" noProof="0">
                <a:solidFill>
                  <a:schemeClr val="tx1"/>
                </a:solidFill>
              </a:rPr>
              <a:t>2</a:t>
            </a:r>
            <a:r>
              <a:rPr lang="en-GB" sz="933" b="1" baseline="30000" noProof="0">
                <a:solidFill>
                  <a:schemeClr val="tx1"/>
                </a:solidFill>
              </a:rPr>
              <a:t>ND</a:t>
            </a:r>
            <a:r>
              <a:rPr lang="en-GB" sz="933" b="1" noProof="0">
                <a:solidFill>
                  <a:schemeClr val="tx1"/>
                </a:solidFill>
              </a:rPr>
              <a:t> DOSE</a:t>
            </a:r>
          </a:p>
          <a:p>
            <a:pPr>
              <a:lnSpc>
                <a:spcPct val="90000"/>
              </a:lnSpc>
            </a:pPr>
            <a:r>
              <a:rPr lang="en-GB" sz="933" noProof="0">
                <a:solidFill>
                  <a:schemeClr val="tx1"/>
                </a:solidFill>
              </a:rPr>
              <a:t>R: 0</a:t>
            </a:r>
          </a:p>
          <a:p>
            <a:pPr>
              <a:lnSpc>
                <a:spcPct val="90000"/>
              </a:lnSpc>
            </a:pPr>
            <a:r>
              <a:rPr lang="en-GB" sz="933" noProof="0">
                <a:solidFill>
                  <a:schemeClr val="tx1"/>
                </a:solidFill>
              </a:rPr>
              <a:t>G: 151</a:t>
            </a:r>
          </a:p>
          <a:p>
            <a:pPr>
              <a:lnSpc>
                <a:spcPct val="90000"/>
              </a:lnSpc>
            </a:pPr>
            <a:r>
              <a:rPr lang="en-GB" sz="933" noProof="0">
                <a:solidFill>
                  <a:schemeClr val="tx1"/>
                </a:solidFill>
              </a:rPr>
              <a:t>B: 169</a:t>
            </a:r>
          </a:p>
        </p:txBody>
      </p:sp>
      <p:sp>
        <p:nvSpPr>
          <p:cNvPr id="110" name="Freeform 8"/>
          <p:cNvSpPr>
            <a:spLocks noChangeAspect="1"/>
          </p:cNvSpPr>
          <p:nvPr userDrawn="1"/>
        </p:nvSpPr>
        <p:spPr bwMode="auto">
          <a:xfrm>
            <a:off x="5012245" y="4244901"/>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0033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111" name="Rectangle 110"/>
          <p:cNvSpPr/>
          <p:nvPr userDrawn="1"/>
        </p:nvSpPr>
        <p:spPr>
          <a:xfrm>
            <a:off x="5505450" y="4242296"/>
            <a:ext cx="734233"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PNEUMO</a:t>
            </a:r>
          </a:p>
          <a:p>
            <a:pPr>
              <a:lnSpc>
                <a:spcPct val="90000"/>
              </a:lnSpc>
            </a:pPr>
            <a:r>
              <a:rPr lang="en-GB" sz="933" noProof="0">
                <a:solidFill>
                  <a:schemeClr val="tx1"/>
                </a:solidFill>
              </a:rPr>
              <a:t>R: 0</a:t>
            </a:r>
          </a:p>
          <a:p>
            <a:pPr>
              <a:lnSpc>
                <a:spcPct val="90000"/>
              </a:lnSpc>
            </a:pPr>
            <a:r>
              <a:rPr lang="en-GB" sz="933" noProof="0">
                <a:solidFill>
                  <a:schemeClr val="tx1"/>
                </a:solidFill>
              </a:rPr>
              <a:t>G: 51</a:t>
            </a:r>
          </a:p>
          <a:p>
            <a:pPr>
              <a:lnSpc>
                <a:spcPct val="90000"/>
              </a:lnSpc>
            </a:pPr>
            <a:r>
              <a:rPr lang="en-GB" sz="933" noProof="0">
                <a:solidFill>
                  <a:schemeClr val="tx1"/>
                </a:solidFill>
              </a:rPr>
              <a:t>B: 160</a:t>
            </a:r>
          </a:p>
        </p:txBody>
      </p:sp>
      <p:sp>
        <p:nvSpPr>
          <p:cNvPr id="108" name="Freeform 8"/>
          <p:cNvSpPr>
            <a:spLocks noChangeAspect="1"/>
          </p:cNvSpPr>
          <p:nvPr userDrawn="1"/>
        </p:nvSpPr>
        <p:spPr bwMode="auto">
          <a:xfrm>
            <a:off x="6457437" y="4244901"/>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D86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109" name="Rectangle 108"/>
          <p:cNvSpPr/>
          <p:nvPr userDrawn="1"/>
        </p:nvSpPr>
        <p:spPr>
          <a:xfrm>
            <a:off x="6950643" y="4242296"/>
            <a:ext cx="918760"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ROTAVIRUS</a:t>
            </a:r>
          </a:p>
          <a:p>
            <a:pPr>
              <a:lnSpc>
                <a:spcPct val="90000"/>
              </a:lnSpc>
            </a:pPr>
            <a:r>
              <a:rPr lang="en-GB" sz="933" noProof="0">
                <a:solidFill>
                  <a:schemeClr val="tx1"/>
                </a:solidFill>
              </a:rPr>
              <a:t>R: 216</a:t>
            </a:r>
          </a:p>
          <a:p>
            <a:pPr>
              <a:lnSpc>
                <a:spcPct val="90000"/>
              </a:lnSpc>
            </a:pPr>
            <a:r>
              <a:rPr lang="en-GB" sz="933" noProof="0">
                <a:solidFill>
                  <a:schemeClr val="tx1"/>
                </a:solidFill>
              </a:rPr>
              <a:t>G: 96</a:t>
            </a:r>
          </a:p>
          <a:p>
            <a:pPr>
              <a:lnSpc>
                <a:spcPct val="90000"/>
              </a:lnSpc>
            </a:pPr>
            <a:r>
              <a:rPr lang="en-GB" sz="933" noProof="0">
                <a:solidFill>
                  <a:schemeClr val="tx1"/>
                </a:solidFill>
              </a:rPr>
              <a:t>B: 24</a:t>
            </a:r>
          </a:p>
        </p:txBody>
      </p:sp>
      <p:sp>
        <p:nvSpPr>
          <p:cNvPr id="106" name="Freeform 8"/>
          <p:cNvSpPr>
            <a:spLocks noChangeAspect="1"/>
          </p:cNvSpPr>
          <p:nvPr userDrawn="1"/>
        </p:nvSpPr>
        <p:spPr bwMode="auto">
          <a:xfrm>
            <a:off x="7869403" y="4244901"/>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EAA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107" name="Rectangle 106"/>
          <p:cNvSpPr/>
          <p:nvPr userDrawn="1"/>
        </p:nvSpPr>
        <p:spPr>
          <a:xfrm>
            <a:off x="8362608" y="4242296"/>
            <a:ext cx="997755"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YELLOW</a:t>
            </a:r>
          </a:p>
          <a:p>
            <a:pPr>
              <a:lnSpc>
                <a:spcPct val="90000"/>
              </a:lnSpc>
            </a:pPr>
            <a:r>
              <a:rPr lang="en-GB" sz="933" b="1" noProof="0">
                <a:solidFill>
                  <a:schemeClr val="tx1"/>
                </a:solidFill>
              </a:rPr>
              <a:t>FEVER</a:t>
            </a:r>
          </a:p>
          <a:p>
            <a:pPr>
              <a:lnSpc>
                <a:spcPct val="90000"/>
              </a:lnSpc>
            </a:pPr>
            <a:r>
              <a:rPr lang="en-GB" sz="933" noProof="0">
                <a:solidFill>
                  <a:schemeClr val="tx1"/>
                </a:solidFill>
              </a:rPr>
              <a:t>R: 234</a:t>
            </a:r>
          </a:p>
          <a:p>
            <a:pPr>
              <a:lnSpc>
                <a:spcPct val="90000"/>
              </a:lnSpc>
            </a:pPr>
            <a:r>
              <a:rPr lang="en-GB" sz="933" noProof="0">
                <a:solidFill>
                  <a:schemeClr val="tx1"/>
                </a:solidFill>
              </a:rPr>
              <a:t>G: 170</a:t>
            </a:r>
          </a:p>
          <a:p>
            <a:pPr>
              <a:lnSpc>
                <a:spcPct val="90000"/>
              </a:lnSpc>
            </a:pPr>
            <a:r>
              <a:rPr lang="en-GB" sz="933" noProof="0">
                <a:solidFill>
                  <a:schemeClr val="tx1"/>
                </a:solidFill>
              </a:rPr>
              <a:t>B: 0</a:t>
            </a:r>
          </a:p>
        </p:txBody>
      </p:sp>
      <p:sp>
        <p:nvSpPr>
          <p:cNvPr id="104" name="Freeform 8"/>
          <p:cNvSpPr>
            <a:spLocks noChangeAspect="1"/>
          </p:cNvSpPr>
          <p:nvPr userDrawn="1"/>
        </p:nvSpPr>
        <p:spPr bwMode="auto">
          <a:xfrm>
            <a:off x="9493117" y="4244901"/>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7D706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105" name="Rectangle 104"/>
          <p:cNvSpPr/>
          <p:nvPr userDrawn="1"/>
        </p:nvSpPr>
        <p:spPr>
          <a:xfrm>
            <a:off x="9986323" y="4242296"/>
            <a:ext cx="766195"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TYPHOÏD</a:t>
            </a:r>
          </a:p>
          <a:p>
            <a:pPr>
              <a:lnSpc>
                <a:spcPct val="90000"/>
              </a:lnSpc>
            </a:pPr>
            <a:r>
              <a:rPr lang="en-GB" sz="933" noProof="0">
                <a:solidFill>
                  <a:schemeClr val="tx1"/>
                </a:solidFill>
              </a:rPr>
              <a:t>R: 125</a:t>
            </a:r>
          </a:p>
          <a:p>
            <a:pPr>
              <a:lnSpc>
                <a:spcPct val="90000"/>
              </a:lnSpc>
            </a:pPr>
            <a:r>
              <a:rPr lang="en-GB" sz="933" noProof="0">
                <a:solidFill>
                  <a:schemeClr val="tx1"/>
                </a:solidFill>
              </a:rPr>
              <a:t>G: 112</a:t>
            </a:r>
          </a:p>
          <a:p>
            <a:pPr>
              <a:lnSpc>
                <a:spcPct val="90000"/>
              </a:lnSpc>
            </a:pPr>
            <a:r>
              <a:rPr lang="en-GB" sz="933" noProof="0">
                <a:solidFill>
                  <a:schemeClr val="tx1"/>
                </a:solidFill>
              </a:rPr>
              <a:t>B: 97</a:t>
            </a:r>
          </a:p>
        </p:txBody>
      </p:sp>
      <p:sp>
        <p:nvSpPr>
          <p:cNvPr id="123" name="Freeform 8"/>
          <p:cNvSpPr>
            <a:spLocks noChangeAspect="1"/>
          </p:cNvSpPr>
          <p:nvPr userDrawn="1"/>
        </p:nvSpPr>
        <p:spPr bwMode="auto">
          <a:xfrm>
            <a:off x="672000" y="3401125"/>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AF5C3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124" name="Rectangle 123"/>
          <p:cNvSpPr/>
          <p:nvPr userDrawn="1"/>
        </p:nvSpPr>
        <p:spPr>
          <a:xfrm>
            <a:off x="1165206" y="3398520"/>
            <a:ext cx="590549"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CHOLERA</a:t>
            </a:r>
          </a:p>
          <a:p>
            <a:pPr>
              <a:lnSpc>
                <a:spcPct val="90000"/>
              </a:lnSpc>
            </a:pPr>
            <a:r>
              <a:rPr lang="en-GB" sz="933" noProof="0">
                <a:solidFill>
                  <a:schemeClr val="tx1"/>
                </a:solidFill>
              </a:rPr>
              <a:t>R: 175</a:t>
            </a:r>
          </a:p>
          <a:p>
            <a:pPr>
              <a:lnSpc>
                <a:spcPct val="90000"/>
              </a:lnSpc>
            </a:pPr>
            <a:r>
              <a:rPr lang="en-GB" sz="933" noProof="0">
                <a:solidFill>
                  <a:schemeClr val="tx1"/>
                </a:solidFill>
              </a:rPr>
              <a:t>G: 92</a:t>
            </a:r>
          </a:p>
          <a:p>
            <a:pPr>
              <a:lnSpc>
                <a:spcPct val="90000"/>
              </a:lnSpc>
            </a:pPr>
            <a:r>
              <a:rPr lang="en-GB" sz="933" noProof="0">
                <a:solidFill>
                  <a:schemeClr val="tx1"/>
                </a:solidFill>
              </a:rPr>
              <a:t>B: 55</a:t>
            </a:r>
          </a:p>
        </p:txBody>
      </p:sp>
      <p:sp>
        <p:nvSpPr>
          <p:cNvPr id="121" name="Freeform 8"/>
          <p:cNvSpPr>
            <a:spLocks noChangeAspect="1"/>
          </p:cNvSpPr>
          <p:nvPr userDrawn="1"/>
        </p:nvSpPr>
        <p:spPr bwMode="auto">
          <a:xfrm>
            <a:off x="2117192" y="3401125"/>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D500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122" name="Rectangle 121"/>
          <p:cNvSpPr/>
          <p:nvPr userDrawn="1"/>
        </p:nvSpPr>
        <p:spPr>
          <a:xfrm>
            <a:off x="2610398" y="3398520"/>
            <a:ext cx="590549"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HEPB</a:t>
            </a:r>
          </a:p>
          <a:p>
            <a:pPr>
              <a:lnSpc>
                <a:spcPct val="90000"/>
              </a:lnSpc>
            </a:pPr>
            <a:r>
              <a:rPr lang="en-GB" sz="933" noProof="0">
                <a:solidFill>
                  <a:schemeClr val="tx1"/>
                </a:solidFill>
              </a:rPr>
              <a:t>R: 213</a:t>
            </a:r>
          </a:p>
          <a:p>
            <a:pPr>
              <a:lnSpc>
                <a:spcPct val="90000"/>
              </a:lnSpc>
            </a:pPr>
            <a:r>
              <a:rPr lang="en-GB" sz="933" noProof="0">
                <a:solidFill>
                  <a:schemeClr val="tx1"/>
                </a:solidFill>
              </a:rPr>
              <a:t>G: 0</a:t>
            </a:r>
          </a:p>
          <a:p>
            <a:pPr>
              <a:lnSpc>
                <a:spcPct val="90000"/>
              </a:lnSpc>
            </a:pPr>
            <a:r>
              <a:rPr lang="en-GB" sz="933" noProof="0">
                <a:solidFill>
                  <a:schemeClr val="tx1"/>
                </a:solidFill>
              </a:rPr>
              <a:t>B: 50</a:t>
            </a:r>
          </a:p>
        </p:txBody>
      </p:sp>
      <p:sp>
        <p:nvSpPr>
          <p:cNvPr id="119" name="Freeform 8"/>
          <p:cNvSpPr>
            <a:spLocks noChangeAspect="1"/>
          </p:cNvSpPr>
          <p:nvPr userDrawn="1"/>
        </p:nvSpPr>
        <p:spPr bwMode="auto">
          <a:xfrm>
            <a:off x="3529157" y="3401125"/>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F59B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120" name="Rectangle 119"/>
          <p:cNvSpPr/>
          <p:nvPr userDrawn="1"/>
        </p:nvSpPr>
        <p:spPr>
          <a:xfrm>
            <a:off x="4022363" y="3398520"/>
            <a:ext cx="590549"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HPV</a:t>
            </a:r>
          </a:p>
          <a:p>
            <a:pPr>
              <a:lnSpc>
                <a:spcPct val="90000"/>
              </a:lnSpc>
            </a:pPr>
            <a:r>
              <a:rPr lang="en-GB" sz="933" noProof="0">
                <a:solidFill>
                  <a:schemeClr val="tx1"/>
                </a:solidFill>
              </a:rPr>
              <a:t>R: 245</a:t>
            </a:r>
          </a:p>
          <a:p>
            <a:pPr>
              <a:lnSpc>
                <a:spcPct val="90000"/>
              </a:lnSpc>
            </a:pPr>
            <a:r>
              <a:rPr lang="en-GB" sz="933" noProof="0">
                <a:solidFill>
                  <a:schemeClr val="tx1"/>
                </a:solidFill>
              </a:rPr>
              <a:t>G: 155</a:t>
            </a:r>
          </a:p>
          <a:p>
            <a:pPr>
              <a:lnSpc>
                <a:spcPct val="90000"/>
              </a:lnSpc>
            </a:pPr>
            <a:r>
              <a:rPr lang="en-GB" sz="933" noProof="0">
                <a:solidFill>
                  <a:schemeClr val="tx1"/>
                </a:solidFill>
              </a:rPr>
              <a:t>B: 187</a:t>
            </a:r>
          </a:p>
        </p:txBody>
      </p:sp>
      <p:sp>
        <p:nvSpPr>
          <p:cNvPr id="126" name="Freeform 8"/>
          <p:cNvSpPr>
            <a:spLocks noChangeAspect="1"/>
          </p:cNvSpPr>
          <p:nvPr userDrawn="1"/>
        </p:nvSpPr>
        <p:spPr bwMode="auto">
          <a:xfrm>
            <a:off x="5012245" y="5110123"/>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646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127" name="Rectangle 126"/>
          <p:cNvSpPr/>
          <p:nvPr userDrawn="1"/>
        </p:nvSpPr>
        <p:spPr>
          <a:xfrm>
            <a:off x="5505451" y="5107517"/>
            <a:ext cx="590549"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RABIES</a:t>
            </a:r>
          </a:p>
          <a:p>
            <a:pPr>
              <a:lnSpc>
                <a:spcPct val="90000"/>
              </a:lnSpc>
            </a:pPr>
            <a:r>
              <a:rPr lang="en-GB" sz="933" noProof="0">
                <a:solidFill>
                  <a:schemeClr val="tx1"/>
                </a:solidFill>
              </a:rPr>
              <a:t>R: 100</a:t>
            </a:r>
          </a:p>
          <a:p>
            <a:pPr>
              <a:lnSpc>
                <a:spcPct val="90000"/>
              </a:lnSpc>
            </a:pPr>
            <a:r>
              <a:rPr lang="en-GB" sz="933" noProof="0">
                <a:solidFill>
                  <a:schemeClr val="tx1"/>
                </a:solidFill>
              </a:rPr>
              <a:t>G: 99</a:t>
            </a:r>
          </a:p>
          <a:p>
            <a:pPr>
              <a:lnSpc>
                <a:spcPct val="90000"/>
              </a:lnSpc>
            </a:pPr>
            <a:r>
              <a:rPr lang="en-GB" sz="933" noProof="0">
                <a:solidFill>
                  <a:schemeClr val="tx1"/>
                </a:solidFill>
              </a:rPr>
              <a:t>B: 99</a:t>
            </a:r>
          </a:p>
        </p:txBody>
      </p:sp>
      <p:sp>
        <p:nvSpPr>
          <p:cNvPr id="137" name="Freeform 8"/>
          <p:cNvSpPr>
            <a:spLocks noChangeAspect="1"/>
          </p:cNvSpPr>
          <p:nvPr userDrawn="1"/>
        </p:nvSpPr>
        <p:spPr bwMode="auto">
          <a:xfrm>
            <a:off x="672000" y="4244901"/>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005A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138" name="Rectangle 137"/>
          <p:cNvSpPr/>
          <p:nvPr userDrawn="1"/>
        </p:nvSpPr>
        <p:spPr>
          <a:xfrm>
            <a:off x="1165205" y="4242296"/>
            <a:ext cx="802336"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MEASLES</a:t>
            </a:r>
          </a:p>
          <a:p>
            <a:pPr>
              <a:lnSpc>
                <a:spcPct val="90000"/>
              </a:lnSpc>
            </a:pPr>
            <a:r>
              <a:rPr lang="en-GB" sz="933" b="1" noProof="0">
                <a:solidFill>
                  <a:schemeClr val="tx1"/>
                </a:solidFill>
              </a:rPr>
              <a:t>RUBELLA</a:t>
            </a:r>
          </a:p>
          <a:p>
            <a:pPr>
              <a:lnSpc>
                <a:spcPct val="90000"/>
              </a:lnSpc>
            </a:pPr>
            <a:r>
              <a:rPr lang="en-GB" sz="933" noProof="0">
                <a:solidFill>
                  <a:schemeClr val="tx1"/>
                </a:solidFill>
              </a:rPr>
              <a:t>R: 0</a:t>
            </a:r>
          </a:p>
          <a:p>
            <a:pPr>
              <a:lnSpc>
                <a:spcPct val="90000"/>
              </a:lnSpc>
            </a:pPr>
            <a:r>
              <a:rPr lang="en-GB" sz="933" noProof="0">
                <a:solidFill>
                  <a:schemeClr val="tx1"/>
                </a:solidFill>
              </a:rPr>
              <a:t>G: 90</a:t>
            </a:r>
          </a:p>
          <a:p>
            <a:pPr>
              <a:lnSpc>
                <a:spcPct val="90000"/>
              </a:lnSpc>
            </a:pPr>
            <a:r>
              <a:rPr lang="en-GB" sz="933" noProof="0">
                <a:solidFill>
                  <a:schemeClr val="tx1"/>
                </a:solidFill>
              </a:rPr>
              <a:t>B: 112</a:t>
            </a:r>
          </a:p>
        </p:txBody>
      </p:sp>
      <p:sp>
        <p:nvSpPr>
          <p:cNvPr id="135" name="Freeform 8"/>
          <p:cNvSpPr>
            <a:spLocks noChangeAspect="1"/>
          </p:cNvSpPr>
          <p:nvPr userDrawn="1"/>
        </p:nvSpPr>
        <p:spPr bwMode="auto">
          <a:xfrm>
            <a:off x="2117192" y="4244901"/>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0096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136" name="Rectangle 135"/>
          <p:cNvSpPr/>
          <p:nvPr userDrawn="1"/>
        </p:nvSpPr>
        <p:spPr>
          <a:xfrm>
            <a:off x="2610397" y="4242296"/>
            <a:ext cx="918760"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MENINGITIS</a:t>
            </a:r>
          </a:p>
          <a:p>
            <a:pPr>
              <a:lnSpc>
                <a:spcPct val="90000"/>
              </a:lnSpc>
            </a:pPr>
            <a:r>
              <a:rPr lang="en-GB" sz="933" b="1" noProof="0">
                <a:solidFill>
                  <a:schemeClr val="tx1"/>
                </a:solidFill>
              </a:rPr>
              <a:t>A</a:t>
            </a:r>
          </a:p>
          <a:p>
            <a:pPr>
              <a:lnSpc>
                <a:spcPct val="90000"/>
              </a:lnSpc>
            </a:pPr>
            <a:r>
              <a:rPr lang="en-GB" sz="933" noProof="0">
                <a:solidFill>
                  <a:schemeClr val="tx1"/>
                </a:solidFill>
              </a:rPr>
              <a:t>R: 0</a:t>
            </a:r>
          </a:p>
          <a:p>
            <a:pPr>
              <a:lnSpc>
                <a:spcPct val="90000"/>
              </a:lnSpc>
            </a:pPr>
            <a:r>
              <a:rPr lang="en-GB" sz="933" noProof="0">
                <a:solidFill>
                  <a:schemeClr val="tx1"/>
                </a:solidFill>
              </a:rPr>
              <a:t>G: 150</a:t>
            </a:r>
          </a:p>
          <a:p>
            <a:pPr>
              <a:lnSpc>
                <a:spcPct val="90000"/>
              </a:lnSpc>
            </a:pPr>
            <a:r>
              <a:rPr lang="en-GB" sz="933" noProof="0">
                <a:solidFill>
                  <a:schemeClr val="tx1"/>
                </a:solidFill>
              </a:rPr>
              <a:t>B: 57</a:t>
            </a:r>
          </a:p>
        </p:txBody>
      </p:sp>
      <p:sp>
        <p:nvSpPr>
          <p:cNvPr id="133" name="Freeform 8"/>
          <p:cNvSpPr>
            <a:spLocks noChangeAspect="1"/>
          </p:cNvSpPr>
          <p:nvPr userDrawn="1"/>
        </p:nvSpPr>
        <p:spPr bwMode="auto">
          <a:xfrm>
            <a:off x="3529157" y="4244901"/>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6532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134" name="Rectangle 133"/>
          <p:cNvSpPr/>
          <p:nvPr userDrawn="1"/>
        </p:nvSpPr>
        <p:spPr>
          <a:xfrm>
            <a:off x="4022363" y="4242296"/>
            <a:ext cx="989883"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PENTA</a:t>
            </a:r>
          </a:p>
          <a:p>
            <a:pPr>
              <a:lnSpc>
                <a:spcPct val="90000"/>
              </a:lnSpc>
            </a:pPr>
            <a:r>
              <a:rPr lang="en-GB" sz="933" b="1" noProof="0">
                <a:solidFill>
                  <a:schemeClr val="tx1"/>
                </a:solidFill>
              </a:rPr>
              <a:t>DTP–HEP-HIB</a:t>
            </a:r>
          </a:p>
          <a:p>
            <a:pPr>
              <a:lnSpc>
                <a:spcPct val="90000"/>
              </a:lnSpc>
            </a:pPr>
            <a:r>
              <a:rPr lang="en-GB" sz="933" noProof="0">
                <a:solidFill>
                  <a:schemeClr val="tx1"/>
                </a:solidFill>
              </a:rPr>
              <a:t>R: 101</a:t>
            </a:r>
          </a:p>
          <a:p>
            <a:pPr>
              <a:lnSpc>
                <a:spcPct val="90000"/>
              </a:lnSpc>
            </a:pPr>
            <a:r>
              <a:rPr lang="en-GB" sz="933" noProof="0">
                <a:solidFill>
                  <a:schemeClr val="tx1"/>
                </a:solidFill>
              </a:rPr>
              <a:t>G: 50</a:t>
            </a:r>
          </a:p>
          <a:p>
            <a:pPr>
              <a:lnSpc>
                <a:spcPct val="90000"/>
              </a:lnSpc>
            </a:pPr>
            <a:r>
              <a:rPr lang="en-GB" sz="933" noProof="0">
                <a:solidFill>
                  <a:schemeClr val="tx1"/>
                </a:solidFill>
              </a:rPr>
              <a:t>B: 121</a:t>
            </a:r>
          </a:p>
        </p:txBody>
      </p:sp>
      <p:sp>
        <p:nvSpPr>
          <p:cNvPr id="149" name="Freeform 8"/>
          <p:cNvSpPr>
            <a:spLocks noChangeAspect="1"/>
          </p:cNvSpPr>
          <p:nvPr userDrawn="1"/>
        </p:nvSpPr>
        <p:spPr bwMode="auto">
          <a:xfrm>
            <a:off x="672000" y="5110123"/>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150" name="Rectangle 149"/>
          <p:cNvSpPr/>
          <p:nvPr userDrawn="1"/>
        </p:nvSpPr>
        <p:spPr>
          <a:xfrm>
            <a:off x="1165205" y="5107517"/>
            <a:ext cx="802336"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DENGUE</a:t>
            </a:r>
          </a:p>
          <a:p>
            <a:pPr>
              <a:lnSpc>
                <a:spcPct val="90000"/>
              </a:lnSpc>
            </a:pPr>
            <a:r>
              <a:rPr lang="en-GB" sz="933" noProof="0">
                <a:solidFill>
                  <a:schemeClr val="tx1"/>
                </a:solidFill>
              </a:rPr>
              <a:t>R: 198</a:t>
            </a:r>
          </a:p>
          <a:p>
            <a:pPr>
              <a:lnSpc>
                <a:spcPct val="90000"/>
              </a:lnSpc>
            </a:pPr>
            <a:r>
              <a:rPr lang="en-GB" sz="933" noProof="0">
                <a:solidFill>
                  <a:schemeClr val="tx1"/>
                </a:solidFill>
              </a:rPr>
              <a:t>G:</a:t>
            </a:r>
            <a:r>
              <a:rPr lang="en-GB" sz="933" baseline="0" noProof="0">
                <a:solidFill>
                  <a:schemeClr val="tx1"/>
                </a:solidFill>
              </a:rPr>
              <a:t> </a:t>
            </a:r>
            <a:r>
              <a:rPr lang="en-GB" sz="933" noProof="0">
                <a:solidFill>
                  <a:schemeClr val="tx1"/>
                </a:solidFill>
              </a:rPr>
              <a:t>198</a:t>
            </a:r>
          </a:p>
          <a:p>
            <a:pPr>
              <a:lnSpc>
                <a:spcPct val="90000"/>
              </a:lnSpc>
            </a:pPr>
            <a:r>
              <a:rPr lang="en-GB" sz="933" noProof="0">
                <a:solidFill>
                  <a:schemeClr val="tx1"/>
                </a:solidFill>
              </a:rPr>
              <a:t>B:</a:t>
            </a:r>
            <a:r>
              <a:rPr lang="en-GB" sz="933" baseline="0" noProof="0">
                <a:solidFill>
                  <a:schemeClr val="tx1"/>
                </a:solidFill>
              </a:rPr>
              <a:t> </a:t>
            </a:r>
            <a:r>
              <a:rPr lang="en-GB" sz="933" noProof="0">
                <a:solidFill>
                  <a:schemeClr val="tx1"/>
                </a:solidFill>
              </a:rPr>
              <a:t>198</a:t>
            </a:r>
          </a:p>
        </p:txBody>
      </p:sp>
      <p:sp>
        <p:nvSpPr>
          <p:cNvPr id="147" name="Freeform 8"/>
          <p:cNvSpPr>
            <a:spLocks noChangeAspect="1"/>
          </p:cNvSpPr>
          <p:nvPr userDrawn="1"/>
        </p:nvSpPr>
        <p:spPr bwMode="auto">
          <a:xfrm>
            <a:off x="2117192" y="5110123"/>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A8A8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148" name="Rectangle 147"/>
          <p:cNvSpPr/>
          <p:nvPr userDrawn="1"/>
        </p:nvSpPr>
        <p:spPr>
          <a:xfrm>
            <a:off x="2610398" y="5107517"/>
            <a:ext cx="590549"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MALARIA</a:t>
            </a:r>
          </a:p>
          <a:p>
            <a:pPr>
              <a:lnSpc>
                <a:spcPct val="90000"/>
              </a:lnSpc>
            </a:pPr>
            <a:r>
              <a:rPr lang="en-GB" sz="933" noProof="0">
                <a:solidFill>
                  <a:schemeClr val="tx1"/>
                </a:solidFill>
              </a:rPr>
              <a:t>R: 168</a:t>
            </a:r>
          </a:p>
          <a:p>
            <a:pPr>
              <a:lnSpc>
                <a:spcPct val="90000"/>
              </a:lnSpc>
            </a:pPr>
            <a:r>
              <a:rPr lang="en-GB" sz="933" noProof="0">
                <a:solidFill>
                  <a:schemeClr val="tx1"/>
                </a:solidFill>
              </a:rPr>
              <a:t>G: 168</a:t>
            </a:r>
          </a:p>
          <a:p>
            <a:pPr>
              <a:lnSpc>
                <a:spcPct val="90000"/>
              </a:lnSpc>
            </a:pPr>
            <a:r>
              <a:rPr lang="en-GB" sz="933" noProof="0">
                <a:solidFill>
                  <a:schemeClr val="tx1"/>
                </a:solidFill>
              </a:rPr>
              <a:t>B: 167</a:t>
            </a:r>
          </a:p>
        </p:txBody>
      </p:sp>
      <p:sp>
        <p:nvSpPr>
          <p:cNvPr id="145" name="Freeform 8"/>
          <p:cNvSpPr>
            <a:spLocks noChangeAspect="1"/>
          </p:cNvSpPr>
          <p:nvPr userDrawn="1"/>
        </p:nvSpPr>
        <p:spPr bwMode="auto">
          <a:xfrm>
            <a:off x="3529157" y="5110123"/>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8787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146" name="Rectangle 145"/>
          <p:cNvSpPr/>
          <p:nvPr userDrawn="1"/>
        </p:nvSpPr>
        <p:spPr>
          <a:xfrm>
            <a:off x="4022363" y="5107517"/>
            <a:ext cx="989883"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MATERNAL</a:t>
            </a:r>
          </a:p>
          <a:p>
            <a:pPr>
              <a:lnSpc>
                <a:spcPct val="90000"/>
              </a:lnSpc>
            </a:pPr>
            <a:r>
              <a:rPr lang="en-GB" sz="933" b="1" noProof="0">
                <a:solidFill>
                  <a:schemeClr val="tx1"/>
                </a:solidFill>
              </a:rPr>
              <a:t>FLU</a:t>
            </a:r>
          </a:p>
          <a:p>
            <a:pPr>
              <a:lnSpc>
                <a:spcPct val="90000"/>
              </a:lnSpc>
            </a:pPr>
            <a:r>
              <a:rPr lang="en-GB" sz="933" noProof="0">
                <a:solidFill>
                  <a:schemeClr val="tx1"/>
                </a:solidFill>
              </a:rPr>
              <a:t>R: 135</a:t>
            </a:r>
          </a:p>
          <a:p>
            <a:pPr>
              <a:lnSpc>
                <a:spcPct val="90000"/>
              </a:lnSpc>
            </a:pPr>
            <a:r>
              <a:rPr lang="en-GB" sz="933" noProof="0">
                <a:solidFill>
                  <a:schemeClr val="tx1"/>
                </a:solidFill>
              </a:rPr>
              <a:t>G: 135</a:t>
            </a:r>
          </a:p>
          <a:p>
            <a:pPr>
              <a:lnSpc>
                <a:spcPct val="90000"/>
              </a:lnSpc>
            </a:pPr>
            <a:r>
              <a:rPr lang="en-GB" sz="933" noProof="0">
                <a:solidFill>
                  <a:schemeClr val="tx1"/>
                </a:solidFill>
              </a:rPr>
              <a:t>B: 135</a:t>
            </a:r>
          </a:p>
        </p:txBody>
      </p:sp>
    </p:spTree>
    <p:extLst>
      <p:ext uri="{BB962C8B-B14F-4D97-AF65-F5344CB8AC3E}">
        <p14:creationId xmlns:p14="http://schemas.microsoft.com/office/powerpoint/2010/main" val="3582359245"/>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userDrawn="1">
  <p:cSld name="Text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9"/>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6"/>
            <a:ext cx="11144931"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8" y="6353142"/>
            <a:ext cx="261631" cy="136527"/>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8"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7"/>
          </a:xfrm>
          <a:prstGeom prst="rect">
            <a:avLst/>
          </a:prstGeom>
        </p:spPr>
        <p:txBody>
          <a:bodyPr anchor="b"/>
          <a:lstStyle>
            <a:lvl1pPr>
              <a:defRPr sz="800"/>
            </a:lvl1pPr>
          </a:lstStyle>
          <a:p>
            <a:r>
              <a:rPr lang="en-US"/>
              <a:t>GNN webinar on rabies 6 May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5" y="6109976"/>
            <a:ext cx="1036776" cy="381653"/>
          </a:xfrm>
          <a:prstGeom prst="rect">
            <a:avLst/>
          </a:prstGeom>
        </p:spPr>
      </p:pic>
    </p:spTree>
    <p:extLst>
      <p:ext uri="{BB962C8B-B14F-4D97-AF65-F5344CB8AC3E}">
        <p14:creationId xmlns:p14="http://schemas.microsoft.com/office/powerpoint/2010/main" val="2958095946"/>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userDrawn="1">
  <p:cSld name="2 Column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9"/>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6"/>
            <a:ext cx="11144931" cy="4608511"/>
          </a:xfrm>
        </p:spPr>
        <p:txBody>
          <a:bodyPr numCol="2" spcCol="54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8" y="6353142"/>
            <a:ext cx="261631" cy="136527"/>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8"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7"/>
          </a:xfrm>
          <a:prstGeom prst="rect">
            <a:avLst/>
          </a:prstGeom>
        </p:spPr>
        <p:txBody>
          <a:bodyPr anchor="b"/>
          <a:lstStyle>
            <a:lvl1pPr>
              <a:defRPr sz="800"/>
            </a:lvl1pPr>
          </a:lstStyle>
          <a:p>
            <a:r>
              <a:rPr lang="en-US"/>
              <a:t>GNN webinar on rabies 6 May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5" y="6109976"/>
            <a:ext cx="1036776" cy="381653"/>
          </a:xfrm>
          <a:prstGeom prst="rect">
            <a:avLst/>
          </a:prstGeom>
        </p:spPr>
      </p:pic>
    </p:spTree>
    <p:extLst>
      <p:ext uri="{BB962C8B-B14F-4D97-AF65-F5344CB8AC3E}">
        <p14:creationId xmlns:p14="http://schemas.microsoft.com/office/powerpoint/2010/main" val="2183542852"/>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userDrawn="1">
  <p:cSld name="2 Column Numbers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9"/>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708831"/>
            <a:ext cx="11144931" cy="4204608"/>
          </a:xfrm>
        </p:spPr>
        <p:txBody>
          <a:bodyPr numCol="2" spcCol="360000"/>
          <a:lstStyle>
            <a:lvl1pPr marL="457189" indent="-457189">
              <a:buClr>
                <a:schemeClr val="bg2"/>
              </a:buClr>
              <a:buFont typeface="+mj-lt"/>
              <a:buAutoNum type="arabicPeriod"/>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9" y="961079"/>
            <a:ext cx="11154344" cy="343847"/>
          </a:xfrm>
        </p:spPr>
        <p:txBody>
          <a:bodyPr/>
          <a:lstStyle>
            <a:lvl1pPr>
              <a:defRPr>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8" y="6353142"/>
            <a:ext cx="261631" cy="136527"/>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8"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7"/>
          </a:xfrm>
          <a:prstGeom prst="rect">
            <a:avLst/>
          </a:prstGeom>
        </p:spPr>
        <p:txBody>
          <a:bodyPr anchor="b"/>
          <a:lstStyle>
            <a:lvl1pPr>
              <a:defRPr sz="800"/>
            </a:lvl1pPr>
          </a:lstStyle>
          <a:p>
            <a:r>
              <a:rPr lang="en-US"/>
              <a:t>GNN webinar on rabies 6 May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5" y="6109976"/>
            <a:ext cx="1036776" cy="381653"/>
          </a:xfrm>
          <a:prstGeom prst="rect">
            <a:avLst/>
          </a:prstGeom>
        </p:spPr>
      </p:pic>
    </p:spTree>
    <p:extLst>
      <p:ext uri="{BB962C8B-B14F-4D97-AF65-F5344CB8AC3E}">
        <p14:creationId xmlns:p14="http://schemas.microsoft.com/office/powerpoint/2010/main" val="562389466"/>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userDrawn="1">
  <p:cSld name="Icons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1"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9"/>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8" y="6353142"/>
            <a:ext cx="261631" cy="136527"/>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8"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7"/>
          </a:xfrm>
          <a:prstGeom prst="rect">
            <a:avLst/>
          </a:prstGeom>
        </p:spPr>
        <p:txBody>
          <a:bodyPr anchor="b"/>
          <a:lstStyle>
            <a:lvl1pPr>
              <a:defRPr sz="800"/>
            </a:lvl1pPr>
          </a:lstStyle>
          <a:p>
            <a:r>
              <a:rPr lang="en-US"/>
              <a:t>GNN webinar on rabies 6 May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5" y="6109976"/>
            <a:ext cx="1036776" cy="381653"/>
          </a:xfrm>
          <a:prstGeom prst="rect">
            <a:avLst/>
          </a:prstGeom>
        </p:spPr>
      </p:pic>
      <p:sp>
        <p:nvSpPr>
          <p:cNvPr id="17" name="Picture Placeholder 3">
            <a:extLst>
              <a:ext uri="{FF2B5EF4-FFF2-40B4-BE49-F238E27FC236}">
                <a16:creationId xmlns:a16="http://schemas.microsoft.com/office/drawing/2014/main" id="{78B95D78-F57A-6D40-A841-7D1E3B08277B}"/>
              </a:ext>
            </a:extLst>
          </p:cNvPr>
          <p:cNvSpPr>
            <a:spLocks noGrp="1"/>
          </p:cNvSpPr>
          <p:nvPr>
            <p:ph type="pic" sz="quarter" idx="13"/>
          </p:nvPr>
        </p:nvSpPr>
        <p:spPr>
          <a:xfrm>
            <a:off x="515938" y="1518458"/>
            <a:ext cx="924455" cy="924455"/>
          </a:xfrm>
        </p:spPr>
        <p:txBody>
          <a:bodyPr anchor="ctr">
            <a:noAutofit/>
          </a:bodyPr>
          <a:lstStyle>
            <a:lvl1pPr algn="ctr">
              <a:defRPr sz="1051">
                <a:solidFill>
                  <a:schemeClr val="bg1">
                    <a:lumMod val="65000"/>
                  </a:schemeClr>
                </a:solidFill>
              </a:defRPr>
            </a:lvl1pPr>
          </a:lstStyle>
          <a:p>
            <a:r>
              <a:rPr lang="en-GB"/>
              <a:t>Click icon to add picture</a:t>
            </a:r>
          </a:p>
        </p:txBody>
      </p:sp>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7" y="3170771"/>
            <a:ext cx="2545467" cy="2888575"/>
          </a:xfrm>
        </p:spPr>
        <p:txBody>
          <a:bodyPr>
            <a:normAutofit/>
          </a:bodyPr>
          <a:lstStyle>
            <a:lvl1pPr marL="177796" indent="-177796">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7" y="2559970"/>
            <a:ext cx="2545467" cy="443199"/>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47" name="Picture Placeholder 3">
            <a:extLst>
              <a:ext uri="{FF2B5EF4-FFF2-40B4-BE49-F238E27FC236}">
                <a16:creationId xmlns:a16="http://schemas.microsoft.com/office/drawing/2014/main" id="{F48D299A-6257-AC74-0FD7-6D22E29A5C4F}"/>
              </a:ext>
            </a:extLst>
          </p:cNvPr>
          <p:cNvSpPr>
            <a:spLocks noGrp="1"/>
          </p:cNvSpPr>
          <p:nvPr>
            <p:ph type="pic" sz="quarter" idx="17"/>
          </p:nvPr>
        </p:nvSpPr>
        <p:spPr>
          <a:xfrm>
            <a:off x="3387491" y="1518458"/>
            <a:ext cx="924455" cy="924455"/>
          </a:xfrm>
        </p:spPr>
        <p:txBody>
          <a:bodyPr anchor="ctr">
            <a:noAutofit/>
          </a:bodyPr>
          <a:lstStyle>
            <a:lvl1pPr algn="ctr">
              <a:defRPr sz="1051">
                <a:solidFill>
                  <a:schemeClr val="bg1">
                    <a:lumMod val="65000"/>
                  </a:schemeClr>
                </a:solidFill>
              </a:defRPr>
            </a:lvl1pPr>
          </a:lstStyle>
          <a:p>
            <a:r>
              <a:rPr lang="en-GB"/>
              <a:t>Click icon to add picture</a:t>
            </a:r>
          </a:p>
        </p:txBody>
      </p:sp>
      <p:sp>
        <p:nvSpPr>
          <p:cNvPr id="48" name="Text Placeholder 6">
            <a:extLst>
              <a:ext uri="{FF2B5EF4-FFF2-40B4-BE49-F238E27FC236}">
                <a16:creationId xmlns:a16="http://schemas.microsoft.com/office/drawing/2014/main" id="{9E3D1709-B9E8-6689-9456-9D1A08D7BAA7}"/>
              </a:ext>
            </a:extLst>
          </p:cNvPr>
          <p:cNvSpPr>
            <a:spLocks noGrp="1"/>
          </p:cNvSpPr>
          <p:nvPr>
            <p:ph type="body" sz="quarter" idx="18"/>
          </p:nvPr>
        </p:nvSpPr>
        <p:spPr>
          <a:xfrm>
            <a:off x="3387491" y="3170771"/>
            <a:ext cx="2545467" cy="2888575"/>
          </a:xfrm>
        </p:spPr>
        <p:txBody>
          <a:bodyPr>
            <a:normAutofit/>
          </a:bodyPr>
          <a:lstStyle>
            <a:lvl1pPr marL="177796" indent="-177796">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49" name="Text Placeholder 6">
            <a:extLst>
              <a:ext uri="{FF2B5EF4-FFF2-40B4-BE49-F238E27FC236}">
                <a16:creationId xmlns:a16="http://schemas.microsoft.com/office/drawing/2014/main" id="{C714C56E-261C-2C43-2BCC-4B86E64EE017}"/>
              </a:ext>
            </a:extLst>
          </p:cNvPr>
          <p:cNvSpPr>
            <a:spLocks noGrp="1"/>
          </p:cNvSpPr>
          <p:nvPr>
            <p:ph type="body" sz="quarter" idx="19"/>
          </p:nvPr>
        </p:nvSpPr>
        <p:spPr>
          <a:xfrm>
            <a:off x="3387491" y="2559970"/>
            <a:ext cx="2545467" cy="443199"/>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0" name="Picture Placeholder 3">
            <a:extLst>
              <a:ext uri="{FF2B5EF4-FFF2-40B4-BE49-F238E27FC236}">
                <a16:creationId xmlns:a16="http://schemas.microsoft.com/office/drawing/2014/main" id="{7BD682FD-9976-0C80-A887-A4D6D2E292BF}"/>
              </a:ext>
            </a:extLst>
          </p:cNvPr>
          <p:cNvSpPr>
            <a:spLocks noGrp="1"/>
          </p:cNvSpPr>
          <p:nvPr>
            <p:ph type="pic" sz="quarter" idx="20"/>
          </p:nvPr>
        </p:nvSpPr>
        <p:spPr>
          <a:xfrm>
            <a:off x="6259045" y="1518458"/>
            <a:ext cx="924455" cy="924455"/>
          </a:xfrm>
        </p:spPr>
        <p:txBody>
          <a:bodyPr anchor="ctr">
            <a:noAutofit/>
          </a:bodyPr>
          <a:lstStyle>
            <a:lvl1pPr algn="ctr">
              <a:defRPr sz="1051">
                <a:solidFill>
                  <a:schemeClr val="bg1">
                    <a:lumMod val="65000"/>
                  </a:schemeClr>
                </a:solidFill>
              </a:defRPr>
            </a:lvl1pPr>
          </a:lstStyle>
          <a:p>
            <a:r>
              <a:rPr lang="en-GB"/>
              <a:t>Click icon to add picture</a:t>
            </a:r>
          </a:p>
        </p:txBody>
      </p:sp>
      <p:sp>
        <p:nvSpPr>
          <p:cNvPr id="51" name="Text Placeholder 6">
            <a:extLst>
              <a:ext uri="{FF2B5EF4-FFF2-40B4-BE49-F238E27FC236}">
                <a16:creationId xmlns:a16="http://schemas.microsoft.com/office/drawing/2014/main" id="{A9A5BE6C-6EDB-FAB6-4644-C243D0C50113}"/>
              </a:ext>
            </a:extLst>
          </p:cNvPr>
          <p:cNvSpPr>
            <a:spLocks noGrp="1"/>
          </p:cNvSpPr>
          <p:nvPr>
            <p:ph type="body" sz="quarter" idx="21"/>
          </p:nvPr>
        </p:nvSpPr>
        <p:spPr>
          <a:xfrm>
            <a:off x="6259044" y="3170771"/>
            <a:ext cx="2545467" cy="2888575"/>
          </a:xfrm>
        </p:spPr>
        <p:txBody>
          <a:bodyPr>
            <a:normAutofit/>
          </a:bodyPr>
          <a:lstStyle>
            <a:lvl1pPr marL="177796" indent="-177796">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2" name="Text Placeholder 6">
            <a:extLst>
              <a:ext uri="{FF2B5EF4-FFF2-40B4-BE49-F238E27FC236}">
                <a16:creationId xmlns:a16="http://schemas.microsoft.com/office/drawing/2014/main" id="{CB0F2787-5A74-A6DE-F13C-3D79E01FA602}"/>
              </a:ext>
            </a:extLst>
          </p:cNvPr>
          <p:cNvSpPr>
            <a:spLocks noGrp="1"/>
          </p:cNvSpPr>
          <p:nvPr>
            <p:ph type="body" sz="quarter" idx="22"/>
          </p:nvPr>
        </p:nvSpPr>
        <p:spPr>
          <a:xfrm>
            <a:off x="6259044" y="2559970"/>
            <a:ext cx="2545467" cy="443199"/>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3" name="Picture Placeholder 3">
            <a:extLst>
              <a:ext uri="{FF2B5EF4-FFF2-40B4-BE49-F238E27FC236}">
                <a16:creationId xmlns:a16="http://schemas.microsoft.com/office/drawing/2014/main" id="{201E793D-C775-4026-041E-34664EC7CB24}"/>
              </a:ext>
            </a:extLst>
          </p:cNvPr>
          <p:cNvSpPr>
            <a:spLocks noGrp="1"/>
          </p:cNvSpPr>
          <p:nvPr>
            <p:ph type="pic" sz="quarter" idx="23"/>
          </p:nvPr>
        </p:nvSpPr>
        <p:spPr>
          <a:xfrm>
            <a:off x="9130598" y="1518458"/>
            <a:ext cx="924455" cy="924455"/>
          </a:xfrm>
        </p:spPr>
        <p:txBody>
          <a:bodyPr anchor="ctr">
            <a:noAutofit/>
          </a:bodyPr>
          <a:lstStyle>
            <a:lvl1pPr algn="ctr">
              <a:defRPr sz="1051">
                <a:solidFill>
                  <a:schemeClr val="bg1">
                    <a:lumMod val="65000"/>
                  </a:schemeClr>
                </a:solidFill>
              </a:defRPr>
            </a:lvl1pPr>
          </a:lstStyle>
          <a:p>
            <a:r>
              <a:rPr lang="en-GB"/>
              <a:t>Click icon to add picture</a:t>
            </a:r>
          </a:p>
        </p:txBody>
      </p:sp>
      <p:sp>
        <p:nvSpPr>
          <p:cNvPr id="54" name="Text Placeholder 6">
            <a:extLst>
              <a:ext uri="{FF2B5EF4-FFF2-40B4-BE49-F238E27FC236}">
                <a16:creationId xmlns:a16="http://schemas.microsoft.com/office/drawing/2014/main" id="{804BD5F4-CAC4-3B9A-26F3-C0C1833171E1}"/>
              </a:ext>
            </a:extLst>
          </p:cNvPr>
          <p:cNvSpPr>
            <a:spLocks noGrp="1"/>
          </p:cNvSpPr>
          <p:nvPr>
            <p:ph type="body" sz="quarter" idx="24"/>
          </p:nvPr>
        </p:nvSpPr>
        <p:spPr>
          <a:xfrm>
            <a:off x="9130597" y="3170771"/>
            <a:ext cx="2545467" cy="2888575"/>
          </a:xfrm>
        </p:spPr>
        <p:txBody>
          <a:bodyPr>
            <a:normAutofit/>
          </a:bodyPr>
          <a:lstStyle>
            <a:lvl1pPr marL="177796" indent="-177796">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5" name="Text Placeholder 6">
            <a:extLst>
              <a:ext uri="{FF2B5EF4-FFF2-40B4-BE49-F238E27FC236}">
                <a16:creationId xmlns:a16="http://schemas.microsoft.com/office/drawing/2014/main" id="{B233CA27-29C3-9FC3-D859-9E09C4A5F850}"/>
              </a:ext>
            </a:extLst>
          </p:cNvPr>
          <p:cNvSpPr>
            <a:spLocks noGrp="1"/>
          </p:cNvSpPr>
          <p:nvPr>
            <p:ph type="body" sz="quarter" idx="25"/>
          </p:nvPr>
        </p:nvSpPr>
        <p:spPr>
          <a:xfrm>
            <a:off x="9130597" y="2559970"/>
            <a:ext cx="2545467" cy="443199"/>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4232481021"/>
      </p:ext>
    </p:extLst>
  </p:cSld>
  <p:clrMapOvr>
    <a:masterClrMapping/>
  </p:clrMapOvr>
  <p:extLst>
    <p:ext uri="{DCECCB84-F9BA-43D5-87BE-67443E8EF086}">
      <p15:sldGuideLst xmlns:p15="http://schemas.microsoft.com/office/powerpoint/2012/main">
        <p15:guide id="1" pos="328">
          <p15:clr>
            <a:srgbClr val="CCCCCC"/>
          </p15:clr>
        </p15:guide>
        <p15:guide id="2" pos="7352">
          <p15:clr>
            <a:srgbClr val="CCCCCC"/>
          </p15:clr>
        </p15:guide>
      </p15:sldGuideLst>
    </p:ext>
  </p:extLst>
</p:sldLayout>
</file>

<file path=ppt/slideLayouts/slideLayout355.xml><?xml version="1.0" encoding="utf-8"?>
<p:sldLayout xmlns:a="http://schemas.openxmlformats.org/drawingml/2006/main" xmlns:r="http://schemas.openxmlformats.org/officeDocument/2006/relationships" xmlns:p="http://schemas.openxmlformats.org/presentationml/2006/main" userDrawn="1">
  <p:cSld name="Title Slide">
    <p:bg>
      <p:bgPr>
        <a:blipFill dpi="0" rotWithShape="1">
          <a:blip r:embed="rId2">
            <a:lum/>
            <a:extLst>
              <a:ext uri="{28A0092B-C50C-407E-A947-70E740481C1C}">
                <a14:useLocalDpi xmlns:a14="http://schemas.microsoft.com/office/drawing/2010/main"/>
              </a:ext>
            </a:extLst>
          </a:blip>
          <a:srcRect/>
          <a:stretch>
            <a:fillRect t="-3000" b="-3000"/>
          </a:stretch>
        </a:blipFill>
        <a:effectLst/>
      </p:bgPr>
    </p:bg>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52467373-D57C-F842-8976-B87DEFBE83BE}"/>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361534" y="441777"/>
            <a:ext cx="1304260" cy="487680"/>
          </a:xfrm>
          <a:prstGeom prst="rect">
            <a:avLst/>
          </a:prstGeom>
        </p:spPr>
      </p:pic>
      <p:sp>
        <p:nvSpPr>
          <p:cNvPr id="3" name="Text Placeholder 2">
            <a:extLst>
              <a:ext uri="{FF2B5EF4-FFF2-40B4-BE49-F238E27FC236}">
                <a16:creationId xmlns:a16="http://schemas.microsoft.com/office/drawing/2014/main" id="{9D4F144B-74C7-A148-8E87-6034061E0CB6}"/>
              </a:ext>
            </a:extLst>
          </p:cNvPr>
          <p:cNvSpPr>
            <a:spLocks noGrp="1"/>
          </p:cNvSpPr>
          <p:nvPr>
            <p:ph type="body" sz="quarter" idx="10" hasCustomPrompt="1"/>
          </p:nvPr>
        </p:nvSpPr>
        <p:spPr>
          <a:xfrm>
            <a:off x="515939" y="1920396"/>
            <a:ext cx="7964947" cy="234609"/>
          </a:xfrm>
        </p:spPr>
        <p:txBody>
          <a:bodyPr>
            <a:normAutofit/>
          </a:bodyPr>
          <a:lstStyle>
            <a:lvl1pPr>
              <a:defRPr sz="1600" spc="300">
                <a:solidFill>
                  <a:schemeClr val="bg1"/>
                </a:solidFill>
              </a:defRPr>
            </a:lvl1pPr>
          </a:lstStyle>
          <a:p>
            <a:pPr lvl="0"/>
            <a:r>
              <a:rPr lang="en-GB"/>
              <a:t>SUBTITLE GOES HERE: TYPE IN CAPITALS</a:t>
            </a:r>
          </a:p>
        </p:txBody>
      </p:sp>
      <p:sp>
        <p:nvSpPr>
          <p:cNvPr id="9" name="Title 8">
            <a:extLst>
              <a:ext uri="{FF2B5EF4-FFF2-40B4-BE49-F238E27FC236}">
                <a16:creationId xmlns:a16="http://schemas.microsoft.com/office/drawing/2014/main" id="{89FFAF13-E12B-E54E-B2B2-5142A884DB82}"/>
              </a:ext>
            </a:extLst>
          </p:cNvPr>
          <p:cNvSpPr>
            <a:spLocks noGrp="1"/>
          </p:cNvSpPr>
          <p:nvPr>
            <p:ph type="title"/>
          </p:nvPr>
        </p:nvSpPr>
        <p:spPr>
          <a:xfrm>
            <a:off x="521719" y="2605179"/>
            <a:ext cx="11154344" cy="1929036"/>
          </a:xfrm>
        </p:spPr>
        <p:txBody>
          <a:bodyPr>
            <a:normAutofit/>
          </a:bodyPr>
          <a:lstStyle>
            <a:lvl1pPr>
              <a:lnSpc>
                <a:spcPct val="80000"/>
              </a:lnSpc>
              <a:defRPr sz="6600">
                <a:solidFill>
                  <a:schemeClr val="bg1"/>
                </a:solidFill>
              </a:defRPr>
            </a:lvl1pPr>
          </a:lstStyle>
          <a:p>
            <a:r>
              <a:rPr lang="en-US"/>
              <a:t>Click to edit Master title style</a:t>
            </a:r>
            <a:endParaRPr lang="en-GB"/>
          </a:p>
        </p:txBody>
      </p:sp>
      <p:sp>
        <p:nvSpPr>
          <p:cNvPr id="10" name="Text Placeholder 2">
            <a:extLst>
              <a:ext uri="{FF2B5EF4-FFF2-40B4-BE49-F238E27FC236}">
                <a16:creationId xmlns:a16="http://schemas.microsoft.com/office/drawing/2014/main" id="{9878A746-9E85-F24C-AD58-8F45F83396CC}"/>
              </a:ext>
            </a:extLst>
          </p:cNvPr>
          <p:cNvSpPr>
            <a:spLocks noGrp="1"/>
          </p:cNvSpPr>
          <p:nvPr>
            <p:ph type="body" sz="quarter" idx="11" hasCustomPrompt="1"/>
          </p:nvPr>
        </p:nvSpPr>
        <p:spPr>
          <a:xfrm>
            <a:off x="515939" y="6302342"/>
            <a:ext cx="5832475" cy="187359"/>
          </a:xfrm>
        </p:spPr>
        <p:txBody>
          <a:bodyPr anchor="b">
            <a:spAutoFit/>
          </a:bodyPr>
          <a:lstStyle>
            <a:lvl1pPr>
              <a:defRPr sz="1200" spc="0">
                <a:solidFill>
                  <a:schemeClr val="bg1"/>
                </a:solidFill>
              </a:defRPr>
            </a:lvl1pPr>
          </a:lstStyle>
          <a:p>
            <a:pPr lvl="0"/>
            <a:r>
              <a:rPr lang="en-GB"/>
              <a:t>Subtitle goes here</a:t>
            </a:r>
          </a:p>
        </p:txBody>
      </p:sp>
      <p:sp>
        <p:nvSpPr>
          <p:cNvPr id="11" name="Text Placeholder 2">
            <a:extLst>
              <a:ext uri="{FF2B5EF4-FFF2-40B4-BE49-F238E27FC236}">
                <a16:creationId xmlns:a16="http://schemas.microsoft.com/office/drawing/2014/main" id="{7AFD6BA4-8A31-2C45-81C0-67141C06959C}"/>
              </a:ext>
            </a:extLst>
          </p:cNvPr>
          <p:cNvSpPr txBox="1">
            <a:spLocks/>
          </p:cNvSpPr>
          <p:nvPr userDrawn="1"/>
        </p:nvSpPr>
        <p:spPr>
          <a:xfrm>
            <a:off x="10367425" y="6173817"/>
            <a:ext cx="1303627" cy="315884"/>
          </a:xfrm>
          <a:prstGeom prst="rect">
            <a:avLst/>
          </a:prstGeom>
        </p:spPr>
        <p:txBody>
          <a:bodyPr lIns="0" tIns="0" rIns="0" bIns="0" anchor="b"/>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en-GB" sz="1800" b="1">
                <a:solidFill>
                  <a:schemeClr val="bg2"/>
                </a:solidFill>
              </a:rPr>
              <a:t>gavi.org</a:t>
            </a:r>
          </a:p>
        </p:txBody>
      </p:sp>
    </p:spTree>
    <p:extLst>
      <p:ext uri="{BB962C8B-B14F-4D97-AF65-F5344CB8AC3E}">
        <p14:creationId xmlns:p14="http://schemas.microsoft.com/office/powerpoint/2010/main" val="3412244035"/>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2333005034"/>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2" spcCol="54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3588151375"/>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2 Column Bulle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2" spcCol="360000"/>
          <a:lstStyle>
            <a:lvl1pPr marL="342900" indent="-342900">
              <a:buClr>
                <a:schemeClr val="bg2"/>
              </a:buClr>
              <a:buFont typeface="Arial" panose="020B0604020202020204" pitchFamily="34" charset="0"/>
              <a:buChar char="•"/>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4277433071"/>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2 Column Number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2" spcCol="360000"/>
          <a:lstStyle>
            <a:lvl1pPr marL="457200" indent="-457200">
              <a:buClr>
                <a:schemeClr val="bg2"/>
              </a:buClr>
              <a:buFont typeface="+mj-lt"/>
              <a:buAutoNum type="arabicPeriod"/>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409963031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xt Section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9" y="1319651"/>
            <a:ext cx="3495194" cy="343847"/>
          </a:xfrm>
        </p:spPr>
        <p:txBody>
          <a:bodyPr>
            <a:normAutofit/>
          </a:bodyPr>
          <a:lstStyle>
            <a:lvl1pPr>
              <a:defRPr sz="1800" b="1">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United Against Rabies Forum Meeting - 6-8 November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Text Placeholder 8">
            <a:extLst>
              <a:ext uri="{FF2B5EF4-FFF2-40B4-BE49-F238E27FC236}">
                <a16:creationId xmlns:a16="http://schemas.microsoft.com/office/drawing/2014/main" id="{E867F760-C803-3AA5-7534-42750FD6DB15}"/>
              </a:ext>
            </a:extLst>
          </p:cNvPr>
          <p:cNvSpPr>
            <a:spLocks noGrp="1"/>
          </p:cNvSpPr>
          <p:nvPr>
            <p:ph type="body" idx="13"/>
          </p:nvPr>
        </p:nvSpPr>
        <p:spPr>
          <a:xfrm>
            <a:off x="531132" y="1708830"/>
            <a:ext cx="3485283"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0" name="Text Placeholder 6">
            <a:extLst>
              <a:ext uri="{FF2B5EF4-FFF2-40B4-BE49-F238E27FC236}">
                <a16:creationId xmlns:a16="http://schemas.microsoft.com/office/drawing/2014/main" id="{3FBFCDEF-6E12-C006-44B4-B2738D079269}"/>
              </a:ext>
            </a:extLst>
          </p:cNvPr>
          <p:cNvSpPr>
            <a:spLocks noGrp="1"/>
          </p:cNvSpPr>
          <p:nvPr>
            <p:ph type="body" sz="quarter" idx="15"/>
          </p:nvPr>
        </p:nvSpPr>
        <p:spPr>
          <a:xfrm>
            <a:off x="4380334" y="1319651"/>
            <a:ext cx="3495194" cy="343847"/>
          </a:xfrm>
        </p:spPr>
        <p:txBody>
          <a:bodyPr>
            <a:normAutofit/>
          </a:bodyPr>
          <a:lstStyle>
            <a:lvl1pPr>
              <a:defRPr sz="1800" b="1">
                <a:solidFill>
                  <a:schemeClr val="bg2"/>
                </a:solidFill>
              </a:defRPr>
            </a:lvl1pPr>
          </a:lstStyle>
          <a:p>
            <a:pPr lvl="0"/>
            <a:r>
              <a:rPr lang="en-GB"/>
              <a:t>Click to edit Master text styles</a:t>
            </a:r>
          </a:p>
        </p:txBody>
      </p:sp>
      <p:sp>
        <p:nvSpPr>
          <p:cNvPr id="21" name="Text Placeholder 8">
            <a:extLst>
              <a:ext uri="{FF2B5EF4-FFF2-40B4-BE49-F238E27FC236}">
                <a16:creationId xmlns:a16="http://schemas.microsoft.com/office/drawing/2014/main" id="{3B5895DB-1292-CE69-F1CC-CA026DACAC13}"/>
              </a:ext>
            </a:extLst>
          </p:cNvPr>
          <p:cNvSpPr>
            <a:spLocks noGrp="1"/>
          </p:cNvSpPr>
          <p:nvPr>
            <p:ph type="body" idx="16"/>
          </p:nvPr>
        </p:nvSpPr>
        <p:spPr>
          <a:xfrm>
            <a:off x="4395527" y="1708830"/>
            <a:ext cx="3485283"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2" name="Text Placeholder 6">
            <a:extLst>
              <a:ext uri="{FF2B5EF4-FFF2-40B4-BE49-F238E27FC236}">
                <a16:creationId xmlns:a16="http://schemas.microsoft.com/office/drawing/2014/main" id="{4394A274-82C6-2D1C-8004-8E7FF7B76E26}"/>
              </a:ext>
            </a:extLst>
          </p:cNvPr>
          <p:cNvSpPr>
            <a:spLocks noGrp="1"/>
          </p:cNvSpPr>
          <p:nvPr>
            <p:ph type="body" sz="quarter" idx="17"/>
          </p:nvPr>
        </p:nvSpPr>
        <p:spPr>
          <a:xfrm>
            <a:off x="8169806" y="1319651"/>
            <a:ext cx="3495194" cy="343847"/>
          </a:xfrm>
        </p:spPr>
        <p:txBody>
          <a:bodyPr>
            <a:normAutofit/>
          </a:bodyPr>
          <a:lstStyle>
            <a:lvl1pPr>
              <a:defRPr sz="1800" b="1">
                <a:solidFill>
                  <a:schemeClr val="bg2"/>
                </a:solidFill>
              </a:defRPr>
            </a:lvl1pPr>
          </a:lstStyle>
          <a:p>
            <a:pPr lvl="0"/>
            <a:r>
              <a:rPr lang="en-GB"/>
              <a:t>Click to edit Master text styles</a:t>
            </a:r>
          </a:p>
        </p:txBody>
      </p:sp>
      <p:sp>
        <p:nvSpPr>
          <p:cNvPr id="23" name="Text Placeholder 8">
            <a:extLst>
              <a:ext uri="{FF2B5EF4-FFF2-40B4-BE49-F238E27FC236}">
                <a16:creationId xmlns:a16="http://schemas.microsoft.com/office/drawing/2014/main" id="{B32BCAEC-CD76-D152-C494-48F60F7BFD47}"/>
              </a:ext>
            </a:extLst>
          </p:cNvPr>
          <p:cNvSpPr>
            <a:spLocks noGrp="1"/>
          </p:cNvSpPr>
          <p:nvPr>
            <p:ph type="body" idx="18"/>
          </p:nvPr>
        </p:nvSpPr>
        <p:spPr>
          <a:xfrm>
            <a:off x="8184999" y="1708830"/>
            <a:ext cx="3485283"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3316122730"/>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Text Slide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708830"/>
            <a:ext cx="11144930" cy="4204608"/>
          </a:xfrm>
        </p:spPr>
        <p:txBody>
          <a:bodyPr numCol="2" spcCol="54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3969085649"/>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2 Column Bullets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708830"/>
            <a:ext cx="11144930" cy="4204608"/>
          </a:xfrm>
        </p:spPr>
        <p:txBody>
          <a:bodyPr numCol="2" spcCol="360000"/>
          <a:lstStyle>
            <a:lvl1pPr marL="342900" indent="-342900">
              <a:buClr>
                <a:schemeClr val="bg2"/>
              </a:buClr>
              <a:buFont typeface="Arial" panose="020B0604020202020204" pitchFamily="34" charset="0"/>
              <a:buChar char="•"/>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1000765007"/>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2 Column Numbers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708830"/>
            <a:ext cx="11144930" cy="4204608"/>
          </a:xfrm>
        </p:spPr>
        <p:txBody>
          <a:bodyPr numCol="2" spcCol="360000"/>
          <a:lstStyle>
            <a:lvl1pPr marL="457200" indent="-457200">
              <a:buClr>
                <a:schemeClr val="bg2"/>
              </a:buClr>
              <a:buFont typeface="+mj-lt"/>
              <a:buAutoNum type="arabicPeriod"/>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1102325213"/>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Text Sections x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23534" y="1319651"/>
            <a:ext cx="5358213" cy="343847"/>
          </a:xfrm>
        </p:spPr>
        <p:txBody>
          <a:bodyPr>
            <a:normAutofit/>
          </a:bodyPr>
          <a:lstStyle>
            <a:lvl1pPr>
              <a:defRPr sz="1800" b="1">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Text Placeholder 8">
            <a:extLst>
              <a:ext uri="{FF2B5EF4-FFF2-40B4-BE49-F238E27FC236}">
                <a16:creationId xmlns:a16="http://schemas.microsoft.com/office/drawing/2014/main" id="{E867F760-C803-3AA5-7534-42750FD6DB15}"/>
              </a:ext>
            </a:extLst>
          </p:cNvPr>
          <p:cNvSpPr>
            <a:spLocks noGrp="1"/>
          </p:cNvSpPr>
          <p:nvPr>
            <p:ph type="body" idx="13"/>
          </p:nvPr>
        </p:nvSpPr>
        <p:spPr>
          <a:xfrm>
            <a:off x="531132" y="1708830"/>
            <a:ext cx="5343019"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8" name="Text Placeholder 6">
            <a:extLst>
              <a:ext uri="{FF2B5EF4-FFF2-40B4-BE49-F238E27FC236}">
                <a16:creationId xmlns:a16="http://schemas.microsoft.com/office/drawing/2014/main" id="{87E7DAA2-4D74-8F73-20DD-AB5A220C5D1B}"/>
              </a:ext>
            </a:extLst>
          </p:cNvPr>
          <p:cNvSpPr>
            <a:spLocks noGrp="1"/>
          </p:cNvSpPr>
          <p:nvPr>
            <p:ph type="body" sz="quarter" idx="15"/>
          </p:nvPr>
        </p:nvSpPr>
        <p:spPr>
          <a:xfrm>
            <a:off x="6317851" y="1319651"/>
            <a:ext cx="5358213" cy="343847"/>
          </a:xfrm>
        </p:spPr>
        <p:txBody>
          <a:bodyPr>
            <a:normAutofit/>
          </a:bodyPr>
          <a:lstStyle>
            <a:lvl1pPr>
              <a:defRPr sz="1800" b="1">
                <a:solidFill>
                  <a:schemeClr val="bg2"/>
                </a:solidFill>
              </a:defRPr>
            </a:lvl1pPr>
          </a:lstStyle>
          <a:p>
            <a:pPr lvl="0"/>
            <a:r>
              <a:rPr lang="en-GB"/>
              <a:t>Click to edit Master text styles</a:t>
            </a:r>
          </a:p>
        </p:txBody>
      </p:sp>
      <p:sp>
        <p:nvSpPr>
          <p:cNvPr id="19" name="Text Placeholder 8">
            <a:extLst>
              <a:ext uri="{FF2B5EF4-FFF2-40B4-BE49-F238E27FC236}">
                <a16:creationId xmlns:a16="http://schemas.microsoft.com/office/drawing/2014/main" id="{1E0345EA-841F-0CDC-4D3D-6F8A441AA78F}"/>
              </a:ext>
            </a:extLst>
          </p:cNvPr>
          <p:cNvSpPr>
            <a:spLocks noGrp="1"/>
          </p:cNvSpPr>
          <p:nvPr>
            <p:ph type="body" idx="16"/>
          </p:nvPr>
        </p:nvSpPr>
        <p:spPr>
          <a:xfrm>
            <a:off x="6333045" y="1708830"/>
            <a:ext cx="5343019"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3286457092"/>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Text Section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9" y="1319651"/>
            <a:ext cx="3495194" cy="343847"/>
          </a:xfrm>
        </p:spPr>
        <p:txBody>
          <a:bodyPr>
            <a:normAutofit/>
          </a:bodyPr>
          <a:lstStyle>
            <a:lvl1pPr>
              <a:defRPr sz="1800" b="1">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Text Placeholder 8">
            <a:extLst>
              <a:ext uri="{FF2B5EF4-FFF2-40B4-BE49-F238E27FC236}">
                <a16:creationId xmlns:a16="http://schemas.microsoft.com/office/drawing/2014/main" id="{E867F760-C803-3AA5-7534-42750FD6DB15}"/>
              </a:ext>
            </a:extLst>
          </p:cNvPr>
          <p:cNvSpPr>
            <a:spLocks noGrp="1"/>
          </p:cNvSpPr>
          <p:nvPr>
            <p:ph type="body" idx="13"/>
          </p:nvPr>
        </p:nvSpPr>
        <p:spPr>
          <a:xfrm>
            <a:off x="531132" y="1708830"/>
            <a:ext cx="3485283"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0" name="Text Placeholder 6">
            <a:extLst>
              <a:ext uri="{FF2B5EF4-FFF2-40B4-BE49-F238E27FC236}">
                <a16:creationId xmlns:a16="http://schemas.microsoft.com/office/drawing/2014/main" id="{3FBFCDEF-6E12-C006-44B4-B2738D079269}"/>
              </a:ext>
            </a:extLst>
          </p:cNvPr>
          <p:cNvSpPr>
            <a:spLocks noGrp="1"/>
          </p:cNvSpPr>
          <p:nvPr>
            <p:ph type="body" sz="quarter" idx="15"/>
          </p:nvPr>
        </p:nvSpPr>
        <p:spPr>
          <a:xfrm>
            <a:off x="4380334" y="1319651"/>
            <a:ext cx="3495194" cy="343847"/>
          </a:xfrm>
        </p:spPr>
        <p:txBody>
          <a:bodyPr>
            <a:normAutofit/>
          </a:bodyPr>
          <a:lstStyle>
            <a:lvl1pPr>
              <a:defRPr sz="1800" b="1">
                <a:solidFill>
                  <a:schemeClr val="bg2"/>
                </a:solidFill>
              </a:defRPr>
            </a:lvl1pPr>
          </a:lstStyle>
          <a:p>
            <a:pPr lvl="0"/>
            <a:r>
              <a:rPr lang="en-GB"/>
              <a:t>Click to edit Master text styles</a:t>
            </a:r>
          </a:p>
        </p:txBody>
      </p:sp>
      <p:sp>
        <p:nvSpPr>
          <p:cNvPr id="21" name="Text Placeholder 8">
            <a:extLst>
              <a:ext uri="{FF2B5EF4-FFF2-40B4-BE49-F238E27FC236}">
                <a16:creationId xmlns:a16="http://schemas.microsoft.com/office/drawing/2014/main" id="{3B5895DB-1292-CE69-F1CC-CA026DACAC13}"/>
              </a:ext>
            </a:extLst>
          </p:cNvPr>
          <p:cNvSpPr>
            <a:spLocks noGrp="1"/>
          </p:cNvSpPr>
          <p:nvPr>
            <p:ph type="body" idx="16"/>
          </p:nvPr>
        </p:nvSpPr>
        <p:spPr>
          <a:xfrm>
            <a:off x="4395527" y="1708830"/>
            <a:ext cx="3485283"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2" name="Text Placeholder 6">
            <a:extLst>
              <a:ext uri="{FF2B5EF4-FFF2-40B4-BE49-F238E27FC236}">
                <a16:creationId xmlns:a16="http://schemas.microsoft.com/office/drawing/2014/main" id="{4394A274-82C6-2D1C-8004-8E7FF7B76E26}"/>
              </a:ext>
            </a:extLst>
          </p:cNvPr>
          <p:cNvSpPr>
            <a:spLocks noGrp="1"/>
          </p:cNvSpPr>
          <p:nvPr>
            <p:ph type="body" sz="quarter" idx="17"/>
          </p:nvPr>
        </p:nvSpPr>
        <p:spPr>
          <a:xfrm>
            <a:off x="8169806" y="1319651"/>
            <a:ext cx="3495194" cy="343847"/>
          </a:xfrm>
        </p:spPr>
        <p:txBody>
          <a:bodyPr>
            <a:normAutofit/>
          </a:bodyPr>
          <a:lstStyle>
            <a:lvl1pPr>
              <a:defRPr sz="1800" b="1">
                <a:solidFill>
                  <a:schemeClr val="bg2"/>
                </a:solidFill>
              </a:defRPr>
            </a:lvl1pPr>
          </a:lstStyle>
          <a:p>
            <a:pPr lvl="0"/>
            <a:r>
              <a:rPr lang="en-GB"/>
              <a:t>Click to edit Master text styles</a:t>
            </a:r>
          </a:p>
        </p:txBody>
      </p:sp>
      <p:sp>
        <p:nvSpPr>
          <p:cNvPr id="23" name="Text Placeholder 8">
            <a:extLst>
              <a:ext uri="{FF2B5EF4-FFF2-40B4-BE49-F238E27FC236}">
                <a16:creationId xmlns:a16="http://schemas.microsoft.com/office/drawing/2014/main" id="{B32BCAEC-CD76-D152-C494-48F60F7BFD47}"/>
              </a:ext>
            </a:extLst>
          </p:cNvPr>
          <p:cNvSpPr>
            <a:spLocks noGrp="1"/>
          </p:cNvSpPr>
          <p:nvPr>
            <p:ph type="body" idx="18"/>
          </p:nvPr>
        </p:nvSpPr>
        <p:spPr>
          <a:xfrm>
            <a:off x="8184999" y="1708830"/>
            <a:ext cx="3485283"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3443560225"/>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Box Text x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29" name="Rounded Rectangle 28">
            <a:extLst>
              <a:ext uri="{FF2B5EF4-FFF2-40B4-BE49-F238E27FC236}">
                <a16:creationId xmlns:a16="http://schemas.microsoft.com/office/drawing/2014/main" id="{034B91B1-8758-0946-BB4D-13DA0D9CFAE1}"/>
              </a:ext>
            </a:extLst>
          </p:cNvPr>
          <p:cNvSpPr/>
          <p:nvPr userDrawn="1"/>
        </p:nvSpPr>
        <p:spPr>
          <a:xfrm>
            <a:off x="6241145" y="1191566"/>
            <a:ext cx="5434921"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 name="Rounded Rectangle 29">
            <a:extLst>
              <a:ext uri="{FF2B5EF4-FFF2-40B4-BE49-F238E27FC236}">
                <a16:creationId xmlns:a16="http://schemas.microsoft.com/office/drawing/2014/main" id="{6FD39105-B790-2C4F-B73F-33A5D9995EDE}"/>
              </a:ext>
            </a:extLst>
          </p:cNvPr>
          <p:cNvSpPr/>
          <p:nvPr userDrawn="1"/>
        </p:nvSpPr>
        <p:spPr>
          <a:xfrm>
            <a:off x="515936" y="1191566"/>
            <a:ext cx="5434921"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Text Placeholder 6">
            <a:extLst>
              <a:ext uri="{FF2B5EF4-FFF2-40B4-BE49-F238E27FC236}">
                <a16:creationId xmlns:a16="http://schemas.microsoft.com/office/drawing/2014/main" id="{39DFE4E8-481D-4E4A-B357-9B609A673B06}"/>
              </a:ext>
            </a:extLst>
          </p:cNvPr>
          <p:cNvSpPr>
            <a:spLocks noGrp="1"/>
          </p:cNvSpPr>
          <p:nvPr>
            <p:ph type="body" sz="quarter" idx="14" hasCustomPrompt="1"/>
          </p:nvPr>
        </p:nvSpPr>
        <p:spPr>
          <a:xfrm>
            <a:off x="715167" y="1378325"/>
            <a:ext cx="5036457"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32" name="Text Placeholder 6">
            <a:extLst>
              <a:ext uri="{FF2B5EF4-FFF2-40B4-BE49-F238E27FC236}">
                <a16:creationId xmlns:a16="http://schemas.microsoft.com/office/drawing/2014/main" id="{79EED86D-C792-B740-BC35-66A672B07629}"/>
              </a:ext>
            </a:extLst>
          </p:cNvPr>
          <p:cNvSpPr>
            <a:spLocks noGrp="1"/>
          </p:cNvSpPr>
          <p:nvPr>
            <p:ph type="body" sz="quarter" idx="15"/>
          </p:nvPr>
        </p:nvSpPr>
        <p:spPr>
          <a:xfrm>
            <a:off x="715167" y="2154362"/>
            <a:ext cx="5036457"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CE98006B-2C07-2C4F-A8AC-A5AC433ED89C}"/>
              </a:ext>
            </a:extLst>
          </p:cNvPr>
          <p:cNvSpPr>
            <a:spLocks noGrp="1"/>
          </p:cNvSpPr>
          <p:nvPr>
            <p:ph type="body" sz="quarter" idx="16"/>
          </p:nvPr>
        </p:nvSpPr>
        <p:spPr>
          <a:xfrm>
            <a:off x="715167" y="1597378"/>
            <a:ext cx="5036457" cy="382134"/>
          </a:xfrm>
        </p:spPr>
        <p:txBody>
          <a:bodyPr/>
          <a:lstStyle>
            <a:lvl1pPr>
              <a:defRPr b="1">
                <a:solidFill>
                  <a:schemeClr val="bg2"/>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40C03D58-F9E4-0944-BD0B-946EEFB24768}"/>
              </a:ext>
            </a:extLst>
          </p:cNvPr>
          <p:cNvSpPr>
            <a:spLocks noGrp="1"/>
          </p:cNvSpPr>
          <p:nvPr>
            <p:ph type="body" sz="quarter" idx="17" hasCustomPrompt="1"/>
          </p:nvPr>
        </p:nvSpPr>
        <p:spPr>
          <a:xfrm>
            <a:off x="6440376" y="1378325"/>
            <a:ext cx="5036457"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35" name="Text Placeholder 6">
            <a:extLst>
              <a:ext uri="{FF2B5EF4-FFF2-40B4-BE49-F238E27FC236}">
                <a16:creationId xmlns:a16="http://schemas.microsoft.com/office/drawing/2014/main" id="{80BF694F-37D7-D44B-8712-1767A33CD12F}"/>
              </a:ext>
            </a:extLst>
          </p:cNvPr>
          <p:cNvSpPr>
            <a:spLocks noGrp="1"/>
          </p:cNvSpPr>
          <p:nvPr>
            <p:ph type="body" sz="quarter" idx="18"/>
          </p:nvPr>
        </p:nvSpPr>
        <p:spPr>
          <a:xfrm>
            <a:off x="6440376" y="2154362"/>
            <a:ext cx="5036457"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6" name="Text Placeholder 6">
            <a:extLst>
              <a:ext uri="{FF2B5EF4-FFF2-40B4-BE49-F238E27FC236}">
                <a16:creationId xmlns:a16="http://schemas.microsoft.com/office/drawing/2014/main" id="{1C6985EF-42F3-0D40-99CA-20F5F21446FE}"/>
              </a:ext>
            </a:extLst>
          </p:cNvPr>
          <p:cNvSpPr>
            <a:spLocks noGrp="1"/>
          </p:cNvSpPr>
          <p:nvPr>
            <p:ph type="body" sz="quarter" idx="19"/>
          </p:nvPr>
        </p:nvSpPr>
        <p:spPr>
          <a:xfrm>
            <a:off x="6440376" y="1597378"/>
            <a:ext cx="5036457" cy="382134"/>
          </a:xfrm>
        </p:spPr>
        <p:txBody>
          <a:bodyPr/>
          <a:lstStyle>
            <a:lvl1pPr>
              <a:defRPr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2202179432"/>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Box Text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0" name="Rounded Rectangle 29">
            <a:extLst>
              <a:ext uri="{FF2B5EF4-FFF2-40B4-BE49-F238E27FC236}">
                <a16:creationId xmlns:a16="http://schemas.microsoft.com/office/drawing/2014/main" id="{6FD39105-B790-2C4F-B73F-33A5D9995EDE}"/>
              </a:ext>
            </a:extLst>
          </p:cNvPr>
          <p:cNvSpPr/>
          <p:nvPr userDrawn="1"/>
        </p:nvSpPr>
        <p:spPr>
          <a:xfrm>
            <a:off x="515935" y="1191566"/>
            <a:ext cx="3604651"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Text Placeholder 6">
            <a:extLst>
              <a:ext uri="{FF2B5EF4-FFF2-40B4-BE49-F238E27FC236}">
                <a16:creationId xmlns:a16="http://schemas.microsoft.com/office/drawing/2014/main" id="{39DFE4E8-481D-4E4A-B357-9B609A673B06}"/>
              </a:ext>
            </a:extLst>
          </p:cNvPr>
          <p:cNvSpPr>
            <a:spLocks noGrp="1"/>
          </p:cNvSpPr>
          <p:nvPr>
            <p:ph type="body" sz="quarter" idx="14" hasCustomPrompt="1"/>
          </p:nvPr>
        </p:nvSpPr>
        <p:spPr>
          <a:xfrm>
            <a:off x="715167" y="1378325"/>
            <a:ext cx="3214437"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32" name="Text Placeholder 6">
            <a:extLst>
              <a:ext uri="{FF2B5EF4-FFF2-40B4-BE49-F238E27FC236}">
                <a16:creationId xmlns:a16="http://schemas.microsoft.com/office/drawing/2014/main" id="{79EED86D-C792-B740-BC35-66A672B07629}"/>
              </a:ext>
            </a:extLst>
          </p:cNvPr>
          <p:cNvSpPr>
            <a:spLocks noGrp="1"/>
          </p:cNvSpPr>
          <p:nvPr>
            <p:ph type="body" sz="quarter" idx="15"/>
          </p:nvPr>
        </p:nvSpPr>
        <p:spPr>
          <a:xfrm>
            <a:off x="715167" y="2154362"/>
            <a:ext cx="3214437"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CE98006B-2C07-2C4F-A8AC-A5AC433ED89C}"/>
              </a:ext>
            </a:extLst>
          </p:cNvPr>
          <p:cNvSpPr>
            <a:spLocks noGrp="1"/>
          </p:cNvSpPr>
          <p:nvPr>
            <p:ph type="body" sz="quarter" idx="16"/>
          </p:nvPr>
        </p:nvSpPr>
        <p:spPr>
          <a:xfrm>
            <a:off x="715167" y="1597378"/>
            <a:ext cx="3214437" cy="382134"/>
          </a:xfrm>
        </p:spPr>
        <p:txBody>
          <a:bodyPr/>
          <a:lstStyle>
            <a:lvl1pPr>
              <a:defRPr b="1">
                <a:solidFill>
                  <a:schemeClr val="bg2"/>
                </a:solidFill>
              </a:defRPr>
            </a:lvl1pPr>
          </a:lstStyle>
          <a:p>
            <a:pPr lvl="0"/>
            <a:r>
              <a:rPr lang="en-GB"/>
              <a:t>Click to edit Master text styles</a:t>
            </a:r>
          </a:p>
        </p:txBody>
      </p:sp>
      <p:sp>
        <p:nvSpPr>
          <p:cNvPr id="26" name="Rounded Rectangle 25">
            <a:extLst>
              <a:ext uri="{FF2B5EF4-FFF2-40B4-BE49-F238E27FC236}">
                <a16:creationId xmlns:a16="http://schemas.microsoft.com/office/drawing/2014/main" id="{A64DF4DD-379B-FE5B-85E1-F80F85D07E89}"/>
              </a:ext>
            </a:extLst>
          </p:cNvPr>
          <p:cNvSpPr/>
          <p:nvPr userDrawn="1"/>
        </p:nvSpPr>
        <p:spPr>
          <a:xfrm>
            <a:off x="4290784" y="1191566"/>
            <a:ext cx="3604650"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 name="Text Placeholder 6">
            <a:extLst>
              <a:ext uri="{FF2B5EF4-FFF2-40B4-BE49-F238E27FC236}">
                <a16:creationId xmlns:a16="http://schemas.microsoft.com/office/drawing/2014/main" id="{602ADDF3-C22C-9F63-2736-9FAAEA9A1E97}"/>
              </a:ext>
            </a:extLst>
          </p:cNvPr>
          <p:cNvSpPr>
            <a:spLocks noGrp="1"/>
          </p:cNvSpPr>
          <p:nvPr>
            <p:ph type="body" sz="quarter" idx="17" hasCustomPrompt="1"/>
          </p:nvPr>
        </p:nvSpPr>
        <p:spPr>
          <a:xfrm>
            <a:off x="4490015" y="1378325"/>
            <a:ext cx="3201361"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28" name="Text Placeholder 6">
            <a:extLst>
              <a:ext uri="{FF2B5EF4-FFF2-40B4-BE49-F238E27FC236}">
                <a16:creationId xmlns:a16="http://schemas.microsoft.com/office/drawing/2014/main" id="{EC84208B-5390-D845-9BFC-BBE060B525EC}"/>
              </a:ext>
            </a:extLst>
          </p:cNvPr>
          <p:cNvSpPr>
            <a:spLocks noGrp="1"/>
          </p:cNvSpPr>
          <p:nvPr>
            <p:ph type="body" sz="quarter" idx="18"/>
          </p:nvPr>
        </p:nvSpPr>
        <p:spPr>
          <a:xfrm>
            <a:off x="4490015" y="2154362"/>
            <a:ext cx="3201361"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7" name="Text Placeholder 6">
            <a:extLst>
              <a:ext uri="{FF2B5EF4-FFF2-40B4-BE49-F238E27FC236}">
                <a16:creationId xmlns:a16="http://schemas.microsoft.com/office/drawing/2014/main" id="{62DC5739-6579-EFF5-5EE5-B79F9F4E344F}"/>
              </a:ext>
            </a:extLst>
          </p:cNvPr>
          <p:cNvSpPr>
            <a:spLocks noGrp="1"/>
          </p:cNvSpPr>
          <p:nvPr>
            <p:ph type="body" sz="quarter" idx="19"/>
          </p:nvPr>
        </p:nvSpPr>
        <p:spPr>
          <a:xfrm>
            <a:off x="4490015" y="1597378"/>
            <a:ext cx="3201361" cy="382134"/>
          </a:xfrm>
        </p:spPr>
        <p:txBody>
          <a:bodyPr/>
          <a:lstStyle>
            <a:lvl1pPr>
              <a:defRPr b="1">
                <a:solidFill>
                  <a:schemeClr val="bg2"/>
                </a:solidFill>
              </a:defRPr>
            </a:lvl1pPr>
          </a:lstStyle>
          <a:p>
            <a:pPr lvl="0"/>
            <a:r>
              <a:rPr lang="en-GB"/>
              <a:t>Click to edit Master text styles</a:t>
            </a:r>
          </a:p>
        </p:txBody>
      </p:sp>
      <p:sp>
        <p:nvSpPr>
          <p:cNvPr id="38" name="Rounded Rectangle 37">
            <a:extLst>
              <a:ext uri="{FF2B5EF4-FFF2-40B4-BE49-F238E27FC236}">
                <a16:creationId xmlns:a16="http://schemas.microsoft.com/office/drawing/2014/main" id="{A0FC7906-8744-F3F8-AA4F-08ADB6E6D43E}"/>
              </a:ext>
            </a:extLst>
          </p:cNvPr>
          <p:cNvSpPr/>
          <p:nvPr userDrawn="1"/>
        </p:nvSpPr>
        <p:spPr>
          <a:xfrm>
            <a:off x="8065632" y="1191566"/>
            <a:ext cx="3604650"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9" name="Text Placeholder 6">
            <a:extLst>
              <a:ext uri="{FF2B5EF4-FFF2-40B4-BE49-F238E27FC236}">
                <a16:creationId xmlns:a16="http://schemas.microsoft.com/office/drawing/2014/main" id="{F3AC3934-9579-D587-96AD-27B72F22B277}"/>
              </a:ext>
            </a:extLst>
          </p:cNvPr>
          <p:cNvSpPr>
            <a:spLocks noGrp="1"/>
          </p:cNvSpPr>
          <p:nvPr>
            <p:ph type="body" sz="quarter" idx="20" hasCustomPrompt="1"/>
          </p:nvPr>
        </p:nvSpPr>
        <p:spPr>
          <a:xfrm>
            <a:off x="8264863" y="1378325"/>
            <a:ext cx="3211970"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40" name="Text Placeholder 6">
            <a:extLst>
              <a:ext uri="{FF2B5EF4-FFF2-40B4-BE49-F238E27FC236}">
                <a16:creationId xmlns:a16="http://schemas.microsoft.com/office/drawing/2014/main" id="{37A42317-1A24-1AA6-D076-0E969CCF8BE8}"/>
              </a:ext>
            </a:extLst>
          </p:cNvPr>
          <p:cNvSpPr>
            <a:spLocks noGrp="1"/>
          </p:cNvSpPr>
          <p:nvPr>
            <p:ph type="body" sz="quarter" idx="21"/>
          </p:nvPr>
        </p:nvSpPr>
        <p:spPr>
          <a:xfrm>
            <a:off x="8264863" y="2154362"/>
            <a:ext cx="3211970"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41" name="Text Placeholder 6">
            <a:extLst>
              <a:ext uri="{FF2B5EF4-FFF2-40B4-BE49-F238E27FC236}">
                <a16:creationId xmlns:a16="http://schemas.microsoft.com/office/drawing/2014/main" id="{ADCC5B80-D27A-2762-3E95-436EEE5A0DE7}"/>
              </a:ext>
            </a:extLst>
          </p:cNvPr>
          <p:cNvSpPr>
            <a:spLocks noGrp="1"/>
          </p:cNvSpPr>
          <p:nvPr>
            <p:ph type="body" sz="quarter" idx="22"/>
          </p:nvPr>
        </p:nvSpPr>
        <p:spPr>
          <a:xfrm>
            <a:off x="8264863" y="1597378"/>
            <a:ext cx="3211970" cy="382134"/>
          </a:xfrm>
        </p:spPr>
        <p:txBody>
          <a:bodyPr/>
          <a:lstStyle>
            <a:lvl1pPr>
              <a:defRPr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757564480"/>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Icon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9" y="3319670"/>
            <a:ext cx="3287436" cy="2593767"/>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2874301"/>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A5AC520F-8595-0F44-99A9-F0873ACA435F}"/>
              </a:ext>
            </a:extLst>
          </p:cNvPr>
          <p:cNvSpPr>
            <a:spLocks noGrp="1"/>
          </p:cNvSpPr>
          <p:nvPr>
            <p:ph type="body" sz="quarter" idx="18"/>
          </p:nvPr>
        </p:nvSpPr>
        <p:spPr>
          <a:xfrm>
            <a:off x="4452282" y="3319670"/>
            <a:ext cx="3287436" cy="2593767"/>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4452282" y="2874301"/>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AD30B9DC-1666-7446-9DFD-F674A273B468}"/>
              </a:ext>
            </a:extLst>
          </p:cNvPr>
          <p:cNvSpPr>
            <a:spLocks noGrp="1"/>
          </p:cNvSpPr>
          <p:nvPr>
            <p:ph type="body" sz="quarter" idx="21"/>
          </p:nvPr>
        </p:nvSpPr>
        <p:spPr>
          <a:xfrm>
            <a:off x="8382846" y="3326198"/>
            <a:ext cx="3287436" cy="2593767"/>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C7816D18-C579-DE44-B3B4-5D38198139F6}"/>
              </a:ext>
            </a:extLst>
          </p:cNvPr>
          <p:cNvSpPr>
            <a:spLocks noGrp="1"/>
          </p:cNvSpPr>
          <p:nvPr>
            <p:ph type="body" sz="quarter" idx="22"/>
          </p:nvPr>
        </p:nvSpPr>
        <p:spPr>
          <a:xfrm>
            <a:off x="8382846" y="2880829"/>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20" name="Picture Placeholder 3">
            <a:extLst>
              <a:ext uri="{FF2B5EF4-FFF2-40B4-BE49-F238E27FC236}">
                <a16:creationId xmlns:a16="http://schemas.microsoft.com/office/drawing/2014/main" id="{319B0B18-4860-DA36-3440-4533856C9139}"/>
              </a:ext>
            </a:extLst>
          </p:cNvPr>
          <p:cNvSpPr>
            <a:spLocks noGrp="1"/>
          </p:cNvSpPr>
          <p:nvPr>
            <p:ph type="pic" sz="quarter" idx="13"/>
          </p:nvPr>
        </p:nvSpPr>
        <p:spPr>
          <a:xfrm>
            <a:off x="515938" y="1624205"/>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21" name="Picture Placeholder 3">
            <a:extLst>
              <a:ext uri="{FF2B5EF4-FFF2-40B4-BE49-F238E27FC236}">
                <a16:creationId xmlns:a16="http://schemas.microsoft.com/office/drawing/2014/main" id="{BF99AA58-9FC0-03DF-8208-27BED5F44ED6}"/>
              </a:ext>
            </a:extLst>
          </p:cNvPr>
          <p:cNvSpPr>
            <a:spLocks noGrp="1"/>
          </p:cNvSpPr>
          <p:nvPr>
            <p:ph type="pic" sz="quarter" idx="23"/>
          </p:nvPr>
        </p:nvSpPr>
        <p:spPr>
          <a:xfrm>
            <a:off x="4458071" y="1624205"/>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22" name="Picture Placeholder 3">
            <a:extLst>
              <a:ext uri="{FF2B5EF4-FFF2-40B4-BE49-F238E27FC236}">
                <a16:creationId xmlns:a16="http://schemas.microsoft.com/office/drawing/2014/main" id="{AD148B2F-B493-BFBF-8393-261886DA3EE6}"/>
              </a:ext>
            </a:extLst>
          </p:cNvPr>
          <p:cNvSpPr>
            <a:spLocks noGrp="1"/>
          </p:cNvSpPr>
          <p:nvPr>
            <p:ph type="pic" sz="quarter" idx="24"/>
          </p:nvPr>
        </p:nvSpPr>
        <p:spPr>
          <a:xfrm>
            <a:off x="8382846" y="1624205"/>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Tree>
    <p:extLst>
      <p:ext uri="{BB962C8B-B14F-4D97-AF65-F5344CB8AC3E}">
        <p14:creationId xmlns:p14="http://schemas.microsoft.com/office/powerpoint/2010/main" val="3421668680"/>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Icons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Picture Placeholder 3">
            <a:extLst>
              <a:ext uri="{FF2B5EF4-FFF2-40B4-BE49-F238E27FC236}">
                <a16:creationId xmlns:a16="http://schemas.microsoft.com/office/drawing/2014/main" id="{78B95D78-F57A-6D40-A841-7D1E3B08277B}"/>
              </a:ext>
            </a:extLst>
          </p:cNvPr>
          <p:cNvSpPr>
            <a:spLocks noGrp="1"/>
          </p:cNvSpPr>
          <p:nvPr>
            <p:ph type="pic" sz="quarter" idx="13"/>
          </p:nvPr>
        </p:nvSpPr>
        <p:spPr>
          <a:xfrm>
            <a:off x="515938"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8"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8"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47" name="Picture Placeholder 3">
            <a:extLst>
              <a:ext uri="{FF2B5EF4-FFF2-40B4-BE49-F238E27FC236}">
                <a16:creationId xmlns:a16="http://schemas.microsoft.com/office/drawing/2014/main" id="{F48D299A-6257-AC74-0FD7-6D22E29A5C4F}"/>
              </a:ext>
            </a:extLst>
          </p:cNvPr>
          <p:cNvSpPr>
            <a:spLocks noGrp="1"/>
          </p:cNvSpPr>
          <p:nvPr>
            <p:ph type="pic" sz="quarter" idx="17"/>
          </p:nvPr>
        </p:nvSpPr>
        <p:spPr>
          <a:xfrm>
            <a:off x="3387491"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48" name="Text Placeholder 6">
            <a:extLst>
              <a:ext uri="{FF2B5EF4-FFF2-40B4-BE49-F238E27FC236}">
                <a16:creationId xmlns:a16="http://schemas.microsoft.com/office/drawing/2014/main" id="{9E3D1709-B9E8-6689-9456-9D1A08D7BAA7}"/>
              </a:ext>
            </a:extLst>
          </p:cNvPr>
          <p:cNvSpPr>
            <a:spLocks noGrp="1"/>
          </p:cNvSpPr>
          <p:nvPr>
            <p:ph type="body" sz="quarter" idx="18"/>
          </p:nvPr>
        </p:nvSpPr>
        <p:spPr>
          <a:xfrm>
            <a:off x="3387491"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49" name="Text Placeholder 6">
            <a:extLst>
              <a:ext uri="{FF2B5EF4-FFF2-40B4-BE49-F238E27FC236}">
                <a16:creationId xmlns:a16="http://schemas.microsoft.com/office/drawing/2014/main" id="{C714C56E-261C-2C43-2BCC-4B86E64EE017}"/>
              </a:ext>
            </a:extLst>
          </p:cNvPr>
          <p:cNvSpPr>
            <a:spLocks noGrp="1"/>
          </p:cNvSpPr>
          <p:nvPr>
            <p:ph type="body" sz="quarter" idx="19"/>
          </p:nvPr>
        </p:nvSpPr>
        <p:spPr>
          <a:xfrm>
            <a:off x="3387491"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0" name="Picture Placeholder 3">
            <a:extLst>
              <a:ext uri="{FF2B5EF4-FFF2-40B4-BE49-F238E27FC236}">
                <a16:creationId xmlns:a16="http://schemas.microsoft.com/office/drawing/2014/main" id="{7BD682FD-9976-0C80-A887-A4D6D2E292BF}"/>
              </a:ext>
            </a:extLst>
          </p:cNvPr>
          <p:cNvSpPr>
            <a:spLocks noGrp="1"/>
          </p:cNvSpPr>
          <p:nvPr>
            <p:ph type="pic" sz="quarter" idx="20"/>
          </p:nvPr>
        </p:nvSpPr>
        <p:spPr>
          <a:xfrm>
            <a:off x="6259044"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1" name="Text Placeholder 6">
            <a:extLst>
              <a:ext uri="{FF2B5EF4-FFF2-40B4-BE49-F238E27FC236}">
                <a16:creationId xmlns:a16="http://schemas.microsoft.com/office/drawing/2014/main" id="{A9A5BE6C-6EDB-FAB6-4644-C243D0C50113}"/>
              </a:ext>
            </a:extLst>
          </p:cNvPr>
          <p:cNvSpPr>
            <a:spLocks noGrp="1"/>
          </p:cNvSpPr>
          <p:nvPr>
            <p:ph type="body" sz="quarter" idx="21"/>
          </p:nvPr>
        </p:nvSpPr>
        <p:spPr>
          <a:xfrm>
            <a:off x="6259044"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2" name="Text Placeholder 6">
            <a:extLst>
              <a:ext uri="{FF2B5EF4-FFF2-40B4-BE49-F238E27FC236}">
                <a16:creationId xmlns:a16="http://schemas.microsoft.com/office/drawing/2014/main" id="{CB0F2787-5A74-A6DE-F13C-3D79E01FA602}"/>
              </a:ext>
            </a:extLst>
          </p:cNvPr>
          <p:cNvSpPr>
            <a:spLocks noGrp="1"/>
          </p:cNvSpPr>
          <p:nvPr>
            <p:ph type="body" sz="quarter" idx="22"/>
          </p:nvPr>
        </p:nvSpPr>
        <p:spPr>
          <a:xfrm>
            <a:off x="6259044"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3" name="Picture Placeholder 3">
            <a:extLst>
              <a:ext uri="{FF2B5EF4-FFF2-40B4-BE49-F238E27FC236}">
                <a16:creationId xmlns:a16="http://schemas.microsoft.com/office/drawing/2014/main" id="{201E793D-C775-4026-041E-34664EC7CB24}"/>
              </a:ext>
            </a:extLst>
          </p:cNvPr>
          <p:cNvSpPr>
            <a:spLocks noGrp="1"/>
          </p:cNvSpPr>
          <p:nvPr>
            <p:ph type="pic" sz="quarter" idx="23"/>
          </p:nvPr>
        </p:nvSpPr>
        <p:spPr>
          <a:xfrm>
            <a:off x="9130597"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4" name="Text Placeholder 6">
            <a:extLst>
              <a:ext uri="{FF2B5EF4-FFF2-40B4-BE49-F238E27FC236}">
                <a16:creationId xmlns:a16="http://schemas.microsoft.com/office/drawing/2014/main" id="{804BD5F4-CAC4-3B9A-26F3-C0C1833171E1}"/>
              </a:ext>
            </a:extLst>
          </p:cNvPr>
          <p:cNvSpPr>
            <a:spLocks noGrp="1"/>
          </p:cNvSpPr>
          <p:nvPr>
            <p:ph type="body" sz="quarter" idx="24"/>
          </p:nvPr>
        </p:nvSpPr>
        <p:spPr>
          <a:xfrm>
            <a:off x="9130598"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5" name="Text Placeholder 6">
            <a:extLst>
              <a:ext uri="{FF2B5EF4-FFF2-40B4-BE49-F238E27FC236}">
                <a16:creationId xmlns:a16="http://schemas.microsoft.com/office/drawing/2014/main" id="{B233CA27-29C3-9FC3-D859-9E09C4A5F850}"/>
              </a:ext>
            </a:extLst>
          </p:cNvPr>
          <p:cNvSpPr>
            <a:spLocks noGrp="1"/>
          </p:cNvSpPr>
          <p:nvPr>
            <p:ph type="body" sz="quarter" idx="25"/>
          </p:nvPr>
        </p:nvSpPr>
        <p:spPr>
          <a:xfrm>
            <a:off x="9130598"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4208493461"/>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Icons x5">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Picture Placeholder 3">
            <a:extLst>
              <a:ext uri="{FF2B5EF4-FFF2-40B4-BE49-F238E27FC236}">
                <a16:creationId xmlns:a16="http://schemas.microsoft.com/office/drawing/2014/main" id="{78B95D78-F57A-6D40-A841-7D1E3B08277B}"/>
              </a:ext>
            </a:extLst>
          </p:cNvPr>
          <p:cNvSpPr>
            <a:spLocks noGrp="1"/>
          </p:cNvSpPr>
          <p:nvPr>
            <p:ph type="pic" sz="quarter" idx="13"/>
          </p:nvPr>
        </p:nvSpPr>
        <p:spPr>
          <a:xfrm>
            <a:off x="515938"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9"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47" name="Picture Placeholder 3">
            <a:extLst>
              <a:ext uri="{FF2B5EF4-FFF2-40B4-BE49-F238E27FC236}">
                <a16:creationId xmlns:a16="http://schemas.microsoft.com/office/drawing/2014/main" id="{F48D299A-6257-AC74-0FD7-6D22E29A5C4F}"/>
              </a:ext>
            </a:extLst>
          </p:cNvPr>
          <p:cNvSpPr>
            <a:spLocks noGrp="1"/>
          </p:cNvSpPr>
          <p:nvPr>
            <p:ph type="pic" sz="quarter" idx="17"/>
          </p:nvPr>
        </p:nvSpPr>
        <p:spPr>
          <a:xfrm>
            <a:off x="2802689"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48" name="Text Placeholder 6">
            <a:extLst>
              <a:ext uri="{FF2B5EF4-FFF2-40B4-BE49-F238E27FC236}">
                <a16:creationId xmlns:a16="http://schemas.microsoft.com/office/drawing/2014/main" id="{9E3D1709-B9E8-6689-9456-9D1A08D7BAA7}"/>
              </a:ext>
            </a:extLst>
          </p:cNvPr>
          <p:cNvSpPr>
            <a:spLocks noGrp="1"/>
          </p:cNvSpPr>
          <p:nvPr>
            <p:ph type="body" sz="quarter" idx="18"/>
          </p:nvPr>
        </p:nvSpPr>
        <p:spPr>
          <a:xfrm>
            <a:off x="2802689"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49" name="Text Placeholder 6">
            <a:extLst>
              <a:ext uri="{FF2B5EF4-FFF2-40B4-BE49-F238E27FC236}">
                <a16:creationId xmlns:a16="http://schemas.microsoft.com/office/drawing/2014/main" id="{C714C56E-261C-2C43-2BCC-4B86E64EE017}"/>
              </a:ext>
            </a:extLst>
          </p:cNvPr>
          <p:cNvSpPr>
            <a:spLocks noGrp="1"/>
          </p:cNvSpPr>
          <p:nvPr>
            <p:ph type="body" sz="quarter" idx="19"/>
          </p:nvPr>
        </p:nvSpPr>
        <p:spPr>
          <a:xfrm>
            <a:off x="2802689"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0" name="Picture Placeholder 3">
            <a:extLst>
              <a:ext uri="{FF2B5EF4-FFF2-40B4-BE49-F238E27FC236}">
                <a16:creationId xmlns:a16="http://schemas.microsoft.com/office/drawing/2014/main" id="{7BD682FD-9976-0C80-A887-A4D6D2E292BF}"/>
              </a:ext>
            </a:extLst>
          </p:cNvPr>
          <p:cNvSpPr>
            <a:spLocks noGrp="1"/>
          </p:cNvSpPr>
          <p:nvPr>
            <p:ph type="pic" sz="quarter" idx="20"/>
          </p:nvPr>
        </p:nvSpPr>
        <p:spPr>
          <a:xfrm>
            <a:off x="5089439"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1" name="Text Placeholder 6">
            <a:extLst>
              <a:ext uri="{FF2B5EF4-FFF2-40B4-BE49-F238E27FC236}">
                <a16:creationId xmlns:a16="http://schemas.microsoft.com/office/drawing/2014/main" id="{A9A5BE6C-6EDB-FAB6-4644-C243D0C50113}"/>
              </a:ext>
            </a:extLst>
          </p:cNvPr>
          <p:cNvSpPr>
            <a:spLocks noGrp="1"/>
          </p:cNvSpPr>
          <p:nvPr>
            <p:ph type="body" sz="quarter" idx="21"/>
          </p:nvPr>
        </p:nvSpPr>
        <p:spPr>
          <a:xfrm>
            <a:off x="5089439"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2" name="Text Placeholder 6">
            <a:extLst>
              <a:ext uri="{FF2B5EF4-FFF2-40B4-BE49-F238E27FC236}">
                <a16:creationId xmlns:a16="http://schemas.microsoft.com/office/drawing/2014/main" id="{CB0F2787-5A74-A6DE-F13C-3D79E01FA602}"/>
              </a:ext>
            </a:extLst>
          </p:cNvPr>
          <p:cNvSpPr>
            <a:spLocks noGrp="1"/>
          </p:cNvSpPr>
          <p:nvPr>
            <p:ph type="body" sz="quarter" idx="22"/>
          </p:nvPr>
        </p:nvSpPr>
        <p:spPr>
          <a:xfrm>
            <a:off x="5089439"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3" name="Picture Placeholder 3">
            <a:extLst>
              <a:ext uri="{FF2B5EF4-FFF2-40B4-BE49-F238E27FC236}">
                <a16:creationId xmlns:a16="http://schemas.microsoft.com/office/drawing/2014/main" id="{201E793D-C775-4026-041E-34664EC7CB24}"/>
              </a:ext>
            </a:extLst>
          </p:cNvPr>
          <p:cNvSpPr>
            <a:spLocks noGrp="1"/>
          </p:cNvSpPr>
          <p:nvPr>
            <p:ph type="pic" sz="quarter" idx="23"/>
          </p:nvPr>
        </p:nvSpPr>
        <p:spPr>
          <a:xfrm>
            <a:off x="7376189"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4" name="Text Placeholder 6">
            <a:extLst>
              <a:ext uri="{FF2B5EF4-FFF2-40B4-BE49-F238E27FC236}">
                <a16:creationId xmlns:a16="http://schemas.microsoft.com/office/drawing/2014/main" id="{804BD5F4-CAC4-3B9A-26F3-C0C1833171E1}"/>
              </a:ext>
            </a:extLst>
          </p:cNvPr>
          <p:cNvSpPr>
            <a:spLocks noGrp="1"/>
          </p:cNvSpPr>
          <p:nvPr>
            <p:ph type="body" sz="quarter" idx="24"/>
          </p:nvPr>
        </p:nvSpPr>
        <p:spPr>
          <a:xfrm>
            <a:off x="7376189"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5" name="Text Placeholder 6">
            <a:extLst>
              <a:ext uri="{FF2B5EF4-FFF2-40B4-BE49-F238E27FC236}">
                <a16:creationId xmlns:a16="http://schemas.microsoft.com/office/drawing/2014/main" id="{B233CA27-29C3-9FC3-D859-9E09C4A5F850}"/>
              </a:ext>
            </a:extLst>
          </p:cNvPr>
          <p:cNvSpPr>
            <a:spLocks noGrp="1"/>
          </p:cNvSpPr>
          <p:nvPr>
            <p:ph type="body" sz="quarter" idx="25"/>
          </p:nvPr>
        </p:nvSpPr>
        <p:spPr>
          <a:xfrm>
            <a:off x="7376189"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6" name="Picture Placeholder 3">
            <a:extLst>
              <a:ext uri="{FF2B5EF4-FFF2-40B4-BE49-F238E27FC236}">
                <a16:creationId xmlns:a16="http://schemas.microsoft.com/office/drawing/2014/main" id="{8B57295D-E6CF-D31C-B144-FCA5CB14DF6B}"/>
              </a:ext>
            </a:extLst>
          </p:cNvPr>
          <p:cNvSpPr>
            <a:spLocks noGrp="1"/>
          </p:cNvSpPr>
          <p:nvPr>
            <p:ph type="pic" sz="quarter" idx="26"/>
          </p:nvPr>
        </p:nvSpPr>
        <p:spPr>
          <a:xfrm>
            <a:off x="9662939"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7" name="Text Placeholder 6">
            <a:extLst>
              <a:ext uri="{FF2B5EF4-FFF2-40B4-BE49-F238E27FC236}">
                <a16:creationId xmlns:a16="http://schemas.microsoft.com/office/drawing/2014/main" id="{AD0246CA-EA99-001F-02B9-8BA52DCE7337}"/>
              </a:ext>
            </a:extLst>
          </p:cNvPr>
          <p:cNvSpPr>
            <a:spLocks noGrp="1"/>
          </p:cNvSpPr>
          <p:nvPr>
            <p:ph type="body" sz="quarter" idx="27"/>
          </p:nvPr>
        </p:nvSpPr>
        <p:spPr>
          <a:xfrm>
            <a:off x="9662940"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8" name="Text Placeholder 6">
            <a:extLst>
              <a:ext uri="{FF2B5EF4-FFF2-40B4-BE49-F238E27FC236}">
                <a16:creationId xmlns:a16="http://schemas.microsoft.com/office/drawing/2014/main" id="{3D355FF6-773D-9D18-B07A-AFAED992F8C9}"/>
              </a:ext>
            </a:extLst>
          </p:cNvPr>
          <p:cNvSpPr>
            <a:spLocks noGrp="1"/>
          </p:cNvSpPr>
          <p:nvPr>
            <p:ph type="body" sz="quarter" idx="28"/>
          </p:nvPr>
        </p:nvSpPr>
        <p:spPr>
          <a:xfrm>
            <a:off x="9662940"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101571234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ox Text x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United Against Rabies Forum Meeting - 6-8 November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29" name="Rounded Rectangle 28">
            <a:extLst>
              <a:ext uri="{FF2B5EF4-FFF2-40B4-BE49-F238E27FC236}">
                <a16:creationId xmlns:a16="http://schemas.microsoft.com/office/drawing/2014/main" id="{034B91B1-8758-0946-BB4D-13DA0D9CFAE1}"/>
              </a:ext>
            </a:extLst>
          </p:cNvPr>
          <p:cNvSpPr/>
          <p:nvPr userDrawn="1"/>
        </p:nvSpPr>
        <p:spPr>
          <a:xfrm>
            <a:off x="6241145" y="1191566"/>
            <a:ext cx="5434921"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 name="Rounded Rectangle 29">
            <a:extLst>
              <a:ext uri="{FF2B5EF4-FFF2-40B4-BE49-F238E27FC236}">
                <a16:creationId xmlns:a16="http://schemas.microsoft.com/office/drawing/2014/main" id="{6FD39105-B790-2C4F-B73F-33A5D9995EDE}"/>
              </a:ext>
            </a:extLst>
          </p:cNvPr>
          <p:cNvSpPr/>
          <p:nvPr userDrawn="1"/>
        </p:nvSpPr>
        <p:spPr>
          <a:xfrm>
            <a:off x="515936" y="1191566"/>
            <a:ext cx="5434921"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Text Placeholder 6">
            <a:extLst>
              <a:ext uri="{FF2B5EF4-FFF2-40B4-BE49-F238E27FC236}">
                <a16:creationId xmlns:a16="http://schemas.microsoft.com/office/drawing/2014/main" id="{39DFE4E8-481D-4E4A-B357-9B609A673B06}"/>
              </a:ext>
            </a:extLst>
          </p:cNvPr>
          <p:cNvSpPr>
            <a:spLocks noGrp="1"/>
          </p:cNvSpPr>
          <p:nvPr>
            <p:ph type="body" sz="quarter" idx="14" hasCustomPrompt="1"/>
          </p:nvPr>
        </p:nvSpPr>
        <p:spPr>
          <a:xfrm>
            <a:off x="715167" y="1378325"/>
            <a:ext cx="5036457"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32" name="Text Placeholder 6">
            <a:extLst>
              <a:ext uri="{FF2B5EF4-FFF2-40B4-BE49-F238E27FC236}">
                <a16:creationId xmlns:a16="http://schemas.microsoft.com/office/drawing/2014/main" id="{79EED86D-C792-B740-BC35-66A672B07629}"/>
              </a:ext>
            </a:extLst>
          </p:cNvPr>
          <p:cNvSpPr>
            <a:spLocks noGrp="1"/>
          </p:cNvSpPr>
          <p:nvPr>
            <p:ph type="body" sz="quarter" idx="15"/>
          </p:nvPr>
        </p:nvSpPr>
        <p:spPr>
          <a:xfrm>
            <a:off x="715167" y="2154362"/>
            <a:ext cx="5036457"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CE98006B-2C07-2C4F-A8AC-A5AC433ED89C}"/>
              </a:ext>
            </a:extLst>
          </p:cNvPr>
          <p:cNvSpPr>
            <a:spLocks noGrp="1"/>
          </p:cNvSpPr>
          <p:nvPr>
            <p:ph type="body" sz="quarter" idx="16"/>
          </p:nvPr>
        </p:nvSpPr>
        <p:spPr>
          <a:xfrm>
            <a:off x="715167" y="1597378"/>
            <a:ext cx="5036457" cy="382134"/>
          </a:xfrm>
        </p:spPr>
        <p:txBody>
          <a:bodyPr/>
          <a:lstStyle>
            <a:lvl1pPr>
              <a:defRPr b="1">
                <a:solidFill>
                  <a:schemeClr val="bg2"/>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40C03D58-F9E4-0944-BD0B-946EEFB24768}"/>
              </a:ext>
            </a:extLst>
          </p:cNvPr>
          <p:cNvSpPr>
            <a:spLocks noGrp="1"/>
          </p:cNvSpPr>
          <p:nvPr>
            <p:ph type="body" sz="quarter" idx="17" hasCustomPrompt="1"/>
          </p:nvPr>
        </p:nvSpPr>
        <p:spPr>
          <a:xfrm>
            <a:off x="6440376" y="1378325"/>
            <a:ext cx="5036457"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35" name="Text Placeholder 6">
            <a:extLst>
              <a:ext uri="{FF2B5EF4-FFF2-40B4-BE49-F238E27FC236}">
                <a16:creationId xmlns:a16="http://schemas.microsoft.com/office/drawing/2014/main" id="{80BF694F-37D7-D44B-8712-1767A33CD12F}"/>
              </a:ext>
            </a:extLst>
          </p:cNvPr>
          <p:cNvSpPr>
            <a:spLocks noGrp="1"/>
          </p:cNvSpPr>
          <p:nvPr>
            <p:ph type="body" sz="quarter" idx="18"/>
          </p:nvPr>
        </p:nvSpPr>
        <p:spPr>
          <a:xfrm>
            <a:off x="6440376" y="2154362"/>
            <a:ext cx="5036457"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6" name="Text Placeholder 6">
            <a:extLst>
              <a:ext uri="{FF2B5EF4-FFF2-40B4-BE49-F238E27FC236}">
                <a16:creationId xmlns:a16="http://schemas.microsoft.com/office/drawing/2014/main" id="{1C6985EF-42F3-0D40-99CA-20F5F21446FE}"/>
              </a:ext>
            </a:extLst>
          </p:cNvPr>
          <p:cNvSpPr>
            <a:spLocks noGrp="1"/>
          </p:cNvSpPr>
          <p:nvPr>
            <p:ph type="body" sz="quarter" idx="19"/>
          </p:nvPr>
        </p:nvSpPr>
        <p:spPr>
          <a:xfrm>
            <a:off x="6440376" y="1597378"/>
            <a:ext cx="5036457" cy="382134"/>
          </a:xfrm>
        </p:spPr>
        <p:txBody>
          <a:bodyPr/>
          <a:lstStyle>
            <a:lvl1pPr>
              <a:defRPr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2948834852"/>
      </p:ext>
    </p:extLst>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Icons x4 Gri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Picture Placeholder 3">
            <a:extLst>
              <a:ext uri="{FF2B5EF4-FFF2-40B4-BE49-F238E27FC236}">
                <a16:creationId xmlns:a16="http://schemas.microsoft.com/office/drawing/2014/main" id="{78B95D78-F57A-6D40-A841-7D1E3B08277B}"/>
              </a:ext>
            </a:extLst>
          </p:cNvPr>
          <p:cNvSpPr>
            <a:spLocks noGrp="1"/>
          </p:cNvSpPr>
          <p:nvPr>
            <p:ph type="pic" sz="quarter" idx="13"/>
          </p:nvPr>
        </p:nvSpPr>
        <p:spPr>
          <a:xfrm>
            <a:off x="515938" y="1304925"/>
            <a:ext cx="869950" cy="869950"/>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1549400" y="1687057"/>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1549400" y="1304925"/>
            <a:ext cx="4143829" cy="382135"/>
          </a:xfrm>
        </p:spPr>
        <p:txBody>
          <a:bodyPr>
            <a:normAutofit/>
          </a:bodyPr>
          <a:lstStyle>
            <a:lvl1pPr>
              <a:defRPr sz="1800" b="1">
                <a:solidFill>
                  <a:schemeClr val="bg2"/>
                </a:solidFill>
              </a:defRPr>
            </a:lvl1pPr>
          </a:lstStyle>
          <a:p>
            <a:pPr lvl="0"/>
            <a:r>
              <a:rPr lang="en-GB"/>
              <a:t>Click to edit Master text styles</a:t>
            </a:r>
          </a:p>
        </p:txBody>
      </p:sp>
      <p:sp>
        <p:nvSpPr>
          <p:cNvPr id="20" name="Picture Placeholder 3">
            <a:extLst>
              <a:ext uri="{FF2B5EF4-FFF2-40B4-BE49-F238E27FC236}">
                <a16:creationId xmlns:a16="http://schemas.microsoft.com/office/drawing/2014/main" id="{D3B567E7-3D24-6F43-A35A-BBC5B9C571B7}"/>
              </a:ext>
            </a:extLst>
          </p:cNvPr>
          <p:cNvSpPr>
            <a:spLocks noGrp="1"/>
          </p:cNvSpPr>
          <p:nvPr>
            <p:ph type="pic" sz="quarter" idx="17"/>
          </p:nvPr>
        </p:nvSpPr>
        <p:spPr>
          <a:xfrm>
            <a:off x="515938" y="3786232"/>
            <a:ext cx="869950" cy="869950"/>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1" name="Text Placeholder 6">
            <a:extLst>
              <a:ext uri="{FF2B5EF4-FFF2-40B4-BE49-F238E27FC236}">
                <a16:creationId xmlns:a16="http://schemas.microsoft.com/office/drawing/2014/main" id="{93E388B6-7D3E-7F4E-89BF-34EFDCA27B09}"/>
              </a:ext>
            </a:extLst>
          </p:cNvPr>
          <p:cNvSpPr>
            <a:spLocks noGrp="1"/>
          </p:cNvSpPr>
          <p:nvPr>
            <p:ph type="body" sz="quarter" idx="18"/>
          </p:nvPr>
        </p:nvSpPr>
        <p:spPr>
          <a:xfrm>
            <a:off x="1549400" y="4168364"/>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22" name="Text Placeholder 6">
            <a:extLst>
              <a:ext uri="{FF2B5EF4-FFF2-40B4-BE49-F238E27FC236}">
                <a16:creationId xmlns:a16="http://schemas.microsoft.com/office/drawing/2014/main" id="{881671EB-257B-ED4B-947C-F1B6F4FDC869}"/>
              </a:ext>
            </a:extLst>
          </p:cNvPr>
          <p:cNvSpPr>
            <a:spLocks noGrp="1"/>
          </p:cNvSpPr>
          <p:nvPr>
            <p:ph type="body" sz="quarter" idx="19"/>
          </p:nvPr>
        </p:nvSpPr>
        <p:spPr>
          <a:xfrm>
            <a:off x="1549400" y="3786232"/>
            <a:ext cx="4143829" cy="382135"/>
          </a:xfrm>
        </p:spPr>
        <p:txBody>
          <a:bodyPr>
            <a:normAutofit/>
          </a:bodyPr>
          <a:lstStyle>
            <a:lvl1pPr>
              <a:defRPr sz="1800" b="1">
                <a:solidFill>
                  <a:schemeClr val="bg2"/>
                </a:solidFill>
              </a:defRPr>
            </a:lvl1pPr>
          </a:lstStyle>
          <a:p>
            <a:pPr lvl="0"/>
            <a:r>
              <a:rPr lang="en-GB"/>
              <a:t>Click to edit Master text styles</a:t>
            </a:r>
          </a:p>
        </p:txBody>
      </p:sp>
      <p:sp>
        <p:nvSpPr>
          <p:cNvPr id="23" name="Picture Placeholder 3">
            <a:extLst>
              <a:ext uri="{FF2B5EF4-FFF2-40B4-BE49-F238E27FC236}">
                <a16:creationId xmlns:a16="http://schemas.microsoft.com/office/drawing/2014/main" id="{92691027-CA0E-E24A-BE52-C681CD1360B7}"/>
              </a:ext>
            </a:extLst>
          </p:cNvPr>
          <p:cNvSpPr>
            <a:spLocks noGrp="1"/>
          </p:cNvSpPr>
          <p:nvPr>
            <p:ph type="pic" sz="quarter" idx="20"/>
          </p:nvPr>
        </p:nvSpPr>
        <p:spPr>
          <a:xfrm>
            <a:off x="6498773" y="1304925"/>
            <a:ext cx="869950" cy="869950"/>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4" name="Text Placeholder 6">
            <a:extLst>
              <a:ext uri="{FF2B5EF4-FFF2-40B4-BE49-F238E27FC236}">
                <a16:creationId xmlns:a16="http://schemas.microsoft.com/office/drawing/2014/main" id="{6C29C828-D0AF-8740-B636-DCE11FB0484F}"/>
              </a:ext>
            </a:extLst>
          </p:cNvPr>
          <p:cNvSpPr>
            <a:spLocks noGrp="1"/>
          </p:cNvSpPr>
          <p:nvPr>
            <p:ph type="body" sz="quarter" idx="21"/>
          </p:nvPr>
        </p:nvSpPr>
        <p:spPr>
          <a:xfrm>
            <a:off x="7532235" y="1687057"/>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25" name="Text Placeholder 6">
            <a:extLst>
              <a:ext uri="{FF2B5EF4-FFF2-40B4-BE49-F238E27FC236}">
                <a16:creationId xmlns:a16="http://schemas.microsoft.com/office/drawing/2014/main" id="{58CECF4C-60E6-054F-A58B-39ED49ED6AD2}"/>
              </a:ext>
            </a:extLst>
          </p:cNvPr>
          <p:cNvSpPr>
            <a:spLocks noGrp="1"/>
          </p:cNvSpPr>
          <p:nvPr>
            <p:ph type="body" sz="quarter" idx="22"/>
          </p:nvPr>
        </p:nvSpPr>
        <p:spPr>
          <a:xfrm>
            <a:off x="7532235" y="1304925"/>
            <a:ext cx="4143829" cy="382135"/>
          </a:xfrm>
        </p:spPr>
        <p:txBody>
          <a:bodyPr>
            <a:normAutofit/>
          </a:bodyPr>
          <a:lstStyle>
            <a:lvl1pPr>
              <a:defRPr sz="1800" b="1">
                <a:solidFill>
                  <a:schemeClr val="bg2"/>
                </a:solidFill>
              </a:defRPr>
            </a:lvl1pPr>
          </a:lstStyle>
          <a:p>
            <a:pPr lvl="0"/>
            <a:r>
              <a:rPr lang="en-GB"/>
              <a:t>Click to edit Master text styles</a:t>
            </a:r>
          </a:p>
        </p:txBody>
      </p:sp>
      <p:sp>
        <p:nvSpPr>
          <p:cNvPr id="26" name="Picture Placeholder 3">
            <a:extLst>
              <a:ext uri="{FF2B5EF4-FFF2-40B4-BE49-F238E27FC236}">
                <a16:creationId xmlns:a16="http://schemas.microsoft.com/office/drawing/2014/main" id="{CD7BB1DF-4B0D-0046-AD00-F6E58908BDED}"/>
              </a:ext>
            </a:extLst>
          </p:cNvPr>
          <p:cNvSpPr>
            <a:spLocks noGrp="1"/>
          </p:cNvSpPr>
          <p:nvPr>
            <p:ph type="pic" sz="quarter" idx="23"/>
          </p:nvPr>
        </p:nvSpPr>
        <p:spPr>
          <a:xfrm>
            <a:off x="6498773" y="3786232"/>
            <a:ext cx="869950" cy="869950"/>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7" name="Text Placeholder 6">
            <a:extLst>
              <a:ext uri="{FF2B5EF4-FFF2-40B4-BE49-F238E27FC236}">
                <a16:creationId xmlns:a16="http://schemas.microsoft.com/office/drawing/2014/main" id="{FDABD8D9-C71A-A446-8E62-82A359216E99}"/>
              </a:ext>
            </a:extLst>
          </p:cNvPr>
          <p:cNvSpPr>
            <a:spLocks noGrp="1"/>
          </p:cNvSpPr>
          <p:nvPr>
            <p:ph type="body" sz="quarter" idx="24"/>
          </p:nvPr>
        </p:nvSpPr>
        <p:spPr>
          <a:xfrm>
            <a:off x="7532235" y="4168364"/>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28" name="Text Placeholder 6">
            <a:extLst>
              <a:ext uri="{FF2B5EF4-FFF2-40B4-BE49-F238E27FC236}">
                <a16:creationId xmlns:a16="http://schemas.microsoft.com/office/drawing/2014/main" id="{0340EBB2-1491-9444-9D25-3567B2AAB22F}"/>
              </a:ext>
            </a:extLst>
          </p:cNvPr>
          <p:cNvSpPr>
            <a:spLocks noGrp="1"/>
          </p:cNvSpPr>
          <p:nvPr>
            <p:ph type="body" sz="quarter" idx="25"/>
          </p:nvPr>
        </p:nvSpPr>
        <p:spPr>
          <a:xfrm>
            <a:off x="7532235" y="3786232"/>
            <a:ext cx="4143829" cy="382135"/>
          </a:xfrm>
        </p:spPr>
        <p:txBody>
          <a:bodyPr>
            <a:normAutofit/>
          </a:bodyPr>
          <a:lstStyle>
            <a:lvl1pPr>
              <a:defRPr sz="1800"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2785510248"/>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Text + 3 Objectiv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342900" indent="-342900">
              <a:buClr>
                <a:schemeClr val="bg2"/>
              </a:buClr>
              <a:buFont typeface="Arial" panose="020B0604020202020204" pitchFamily="34" charset="0"/>
              <a:buChar char="•"/>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23" name="Round Same-side Corner of Rectangle 22">
            <a:extLst>
              <a:ext uri="{FF2B5EF4-FFF2-40B4-BE49-F238E27FC236}">
                <a16:creationId xmlns:a16="http://schemas.microsoft.com/office/drawing/2014/main" id="{16D0EA1C-2C30-674C-9E0D-D3B85EFE8B44}"/>
              </a:ext>
            </a:extLst>
          </p:cNvPr>
          <p:cNvSpPr/>
          <p:nvPr userDrawn="1"/>
        </p:nvSpPr>
        <p:spPr>
          <a:xfrm rot="5400000" flipH="1">
            <a:off x="8698709" y="2420146"/>
            <a:ext cx="1350948" cy="5635632"/>
          </a:xfrm>
          <a:prstGeom prst="round2SameRect">
            <a:avLst>
              <a:gd name="adj1" fmla="val 0"/>
              <a:gd name="adj2"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lumMod val="85000"/>
                </a:schemeClr>
              </a:solidFill>
            </a:endParaRPr>
          </a:p>
        </p:txBody>
      </p:sp>
      <p:sp>
        <p:nvSpPr>
          <p:cNvPr id="24" name="Text Placeholder 6">
            <a:extLst>
              <a:ext uri="{FF2B5EF4-FFF2-40B4-BE49-F238E27FC236}">
                <a16:creationId xmlns:a16="http://schemas.microsoft.com/office/drawing/2014/main" id="{0933F7F4-7E4A-AD4A-B080-3883C01BCEA1}"/>
              </a:ext>
            </a:extLst>
          </p:cNvPr>
          <p:cNvSpPr>
            <a:spLocks noGrp="1"/>
          </p:cNvSpPr>
          <p:nvPr>
            <p:ph type="body" sz="quarter" idx="27"/>
          </p:nvPr>
        </p:nvSpPr>
        <p:spPr>
          <a:xfrm>
            <a:off x="7955149" y="5013397"/>
            <a:ext cx="3715133" cy="792044"/>
          </a:xfrm>
        </p:spPr>
        <p:txBody>
          <a:bodyPr anchor="t">
            <a:normAutofit/>
          </a:bodyPr>
          <a:lstStyle>
            <a:lvl1pPr marL="179388" indent="-179388">
              <a:lnSpc>
                <a:spcPct val="110000"/>
              </a:lnSpc>
              <a:spcBef>
                <a:spcPts val="0"/>
              </a:spcBef>
              <a:spcAft>
                <a:spcPts val="600"/>
              </a:spcAft>
              <a:buFont typeface="Arial" panose="020B0604020202020204" pitchFamily="34" charset="0"/>
              <a:buChar char="•"/>
              <a:tabLst/>
              <a:defRPr sz="1400" b="1">
                <a:solidFill>
                  <a:schemeClr val="bg1"/>
                </a:solidFill>
              </a:defRPr>
            </a:lvl1pPr>
          </a:lstStyle>
          <a:p>
            <a:pPr lvl="0"/>
            <a:r>
              <a:rPr lang="en-GB"/>
              <a:t>Click to edit Master text styles</a:t>
            </a:r>
          </a:p>
        </p:txBody>
      </p:sp>
      <p:sp>
        <p:nvSpPr>
          <p:cNvPr id="25" name="Text Placeholder 6">
            <a:extLst>
              <a:ext uri="{FF2B5EF4-FFF2-40B4-BE49-F238E27FC236}">
                <a16:creationId xmlns:a16="http://schemas.microsoft.com/office/drawing/2014/main" id="{66DF01F6-3014-6E4B-AB71-62673ED7268C}"/>
              </a:ext>
            </a:extLst>
          </p:cNvPr>
          <p:cNvSpPr>
            <a:spLocks noGrp="1"/>
          </p:cNvSpPr>
          <p:nvPr>
            <p:ph type="body" sz="quarter" idx="28" hasCustomPrompt="1"/>
          </p:nvPr>
        </p:nvSpPr>
        <p:spPr>
          <a:xfrm>
            <a:off x="7955149" y="4663313"/>
            <a:ext cx="1917616" cy="249259"/>
          </a:xfrm>
        </p:spPr>
        <p:txBody>
          <a:bodyPr anchor="t">
            <a:normAutofit/>
          </a:bodyPr>
          <a:lstStyle>
            <a:lvl1pPr algn="l">
              <a:lnSpc>
                <a:spcPct val="110000"/>
              </a:lnSpc>
              <a:spcAft>
                <a:spcPts val="600"/>
              </a:spcAft>
              <a:defRPr sz="1600" b="1">
                <a:solidFill>
                  <a:schemeClr val="tx2">
                    <a:lumMod val="40000"/>
                    <a:lumOff val="60000"/>
                  </a:schemeClr>
                </a:solidFill>
              </a:defRPr>
            </a:lvl1pPr>
          </a:lstStyle>
          <a:p>
            <a:pPr lvl="0"/>
            <a:r>
              <a:rPr lang="en-GB"/>
              <a:t>Title</a:t>
            </a:r>
          </a:p>
        </p:txBody>
      </p:sp>
      <p:sp>
        <p:nvSpPr>
          <p:cNvPr id="26" name="Picture Placeholder 3">
            <a:extLst>
              <a:ext uri="{FF2B5EF4-FFF2-40B4-BE49-F238E27FC236}">
                <a16:creationId xmlns:a16="http://schemas.microsoft.com/office/drawing/2014/main" id="{E49618F2-620F-A042-9095-E7C4C137E2ED}"/>
              </a:ext>
            </a:extLst>
          </p:cNvPr>
          <p:cNvSpPr>
            <a:spLocks noGrp="1"/>
          </p:cNvSpPr>
          <p:nvPr>
            <p:ph type="pic" sz="quarter" idx="29"/>
          </p:nvPr>
        </p:nvSpPr>
        <p:spPr>
          <a:xfrm>
            <a:off x="6957092" y="4846809"/>
            <a:ext cx="767874" cy="767874"/>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7" name="Round Same-side Corner of Rectangle 26">
            <a:extLst>
              <a:ext uri="{FF2B5EF4-FFF2-40B4-BE49-F238E27FC236}">
                <a16:creationId xmlns:a16="http://schemas.microsoft.com/office/drawing/2014/main" id="{CFB215F2-B96A-D14F-B549-E8D9FA660A0B}"/>
              </a:ext>
            </a:extLst>
          </p:cNvPr>
          <p:cNvSpPr/>
          <p:nvPr userDrawn="1"/>
        </p:nvSpPr>
        <p:spPr>
          <a:xfrm rot="5400000" flipH="1">
            <a:off x="8698709" y="791363"/>
            <a:ext cx="1350948" cy="5635632"/>
          </a:xfrm>
          <a:prstGeom prst="round2SameRect">
            <a:avLst>
              <a:gd name="adj1" fmla="val 0"/>
              <a:gd name="adj2"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lumMod val="85000"/>
                </a:schemeClr>
              </a:solidFill>
            </a:endParaRPr>
          </a:p>
        </p:txBody>
      </p:sp>
      <p:sp>
        <p:nvSpPr>
          <p:cNvPr id="28" name="Text Placeholder 6">
            <a:extLst>
              <a:ext uri="{FF2B5EF4-FFF2-40B4-BE49-F238E27FC236}">
                <a16:creationId xmlns:a16="http://schemas.microsoft.com/office/drawing/2014/main" id="{F2701821-5C13-4746-B598-28CE9EEFDFD0}"/>
              </a:ext>
            </a:extLst>
          </p:cNvPr>
          <p:cNvSpPr>
            <a:spLocks noGrp="1"/>
          </p:cNvSpPr>
          <p:nvPr>
            <p:ph type="body" sz="quarter" idx="30"/>
          </p:nvPr>
        </p:nvSpPr>
        <p:spPr>
          <a:xfrm>
            <a:off x="7955149" y="3384614"/>
            <a:ext cx="3715133" cy="792044"/>
          </a:xfrm>
        </p:spPr>
        <p:txBody>
          <a:bodyPr anchor="t">
            <a:normAutofit/>
          </a:bodyPr>
          <a:lstStyle>
            <a:lvl1pPr marL="179388" indent="-179388">
              <a:lnSpc>
                <a:spcPct val="110000"/>
              </a:lnSpc>
              <a:spcBef>
                <a:spcPts val="0"/>
              </a:spcBef>
              <a:spcAft>
                <a:spcPts val="600"/>
              </a:spcAft>
              <a:buFont typeface="Arial" panose="020B0604020202020204" pitchFamily="34" charset="0"/>
              <a:buChar char="•"/>
              <a:tabLst/>
              <a:defRPr sz="1400" b="1">
                <a:solidFill>
                  <a:schemeClr val="bg1"/>
                </a:solidFill>
              </a:defRPr>
            </a:lvl1pPr>
          </a:lstStyle>
          <a:p>
            <a:pPr lvl="0"/>
            <a:r>
              <a:rPr lang="en-GB"/>
              <a:t>Click to edit Master text styles</a:t>
            </a:r>
          </a:p>
        </p:txBody>
      </p:sp>
      <p:sp>
        <p:nvSpPr>
          <p:cNvPr id="29" name="Text Placeholder 6">
            <a:extLst>
              <a:ext uri="{FF2B5EF4-FFF2-40B4-BE49-F238E27FC236}">
                <a16:creationId xmlns:a16="http://schemas.microsoft.com/office/drawing/2014/main" id="{8C928579-FF9D-8E4F-912D-F44BF03ECF0E}"/>
              </a:ext>
            </a:extLst>
          </p:cNvPr>
          <p:cNvSpPr>
            <a:spLocks noGrp="1"/>
          </p:cNvSpPr>
          <p:nvPr>
            <p:ph type="body" sz="quarter" idx="31" hasCustomPrompt="1"/>
          </p:nvPr>
        </p:nvSpPr>
        <p:spPr>
          <a:xfrm>
            <a:off x="7955149" y="3034530"/>
            <a:ext cx="1917616" cy="249259"/>
          </a:xfrm>
        </p:spPr>
        <p:txBody>
          <a:bodyPr anchor="t">
            <a:normAutofit/>
          </a:bodyPr>
          <a:lstStyle>
            <a:lvl1pPr algn="l">
              <a:lnSpc>
                <a:spcPct val="110000"/>
              </a:lnSpc>
              <a:spcAft>
                <a:spcPts val="600"/>
              </a:spcAft>
              <a:defRPr sz="1600" b="1">
                <a:solidFill>
                  <a:schemeClr val="tx2">
                    <a:lumMod val="40000"/>
                    <a:lumOff val="60000"/>
                  </a:schemeClr>
                </a:solidFill>
              </a:defRPr>
            </a:lvl1pPr>
          </a:lstStyle>
          <a:p>
            <a:pPr lvl="0"/>
            <a:r>
              <a:rPr lang="en-GB"/>
              <a:t>Title</a:t>
            </a:r>
          </a:p>
        </p:txBody>
      </p:sp>
      <p:sp>
        <p:nvSpPr>
          <p:cNvPr id="30" name="Picture Placeholder 3">
            <a:extLst>
              <a:ext uri="{FF2B5EF4-FFF2-40B4-BE49-F238E27FC236}">
                <a16:creationId xmlns:a16="http://schemas.microsoft.com/office/drawing/2014/main" id="{B617E54E-8C7A-E24B-A3E6-FFD196430237}"/>
              </a:ext>
            </a:extLst>
          </p:cNvPr>
          <p:cNvSpPr>
            <a:spLocks noGrp="1"/>
          </p:cNvSpPr>
          <p:nvPr>
            <p:ph type="pic" sz="quarter" idx="32"/>
          </p:nvPr>
        </p:nvSpPr>
        <p:spPr>
          <a:xfrm>
            <a:off x="6957092" y="3218026"/>
            <a:ext cx="767874" cy="767874"/>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31" name="Round Same-side Corner of Rectangle 30">
            <a:extLst>
              <a:ext uri="{FF2B5EF4-FFF2-40B4-BE49-F238E27FC236}">
                <a16:creationId xmlns:a16="http://schemas.microsoft.com/office/drawing/2014/main" id="{468DF2F5-0340-4C4E-8BAB-B68D68BDB1CC}"/>
              </a:ext>
            </a:extLst>
          </p:cNvPr>
          <p:cNvSpPr/>
          <p:nvPr userDrawn="1"/>
        </p:nvSpPr>
        <p:spPr>
          <a:xfrm rot="5400000" flipH="1">
            <a:off x="8698709" y="-837418"/>
            <a:ext cx="1350948" cy="5635632"/>
          </a:xfrm>
          <a:prstGeom prst="round2SameRect">
            <a:avLst>
              <a:gd name="adj1" fmla="val 0"/>
              <a:gd name="adj2"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lumMod val="85000"/>
                </a:schemeClr>
              </a:solidFill>
            </a:endParaRPr>
          </a:p>
        </p:txBody>
      </p:sp>
      <p:sp>
        <p:nvSpPr>
          <p:cNvPr id="32" name="Text Placeholder 6">
            <a:extLst>
              <a:ext uri="{FF2B5EF4-FFF2-40B4-BE49-F238E27FC236}">
                <a16:creationId xmlns:a16="http://schemas.microsoft.com/office/drawing/2014/main" id="{8297A7AF-4FD1-0044-A50C-5C0CE488521B}"/>
              </a:ext>
            </a:extLst>
          </p:cNvPr>
          <p:cNvSpPr>
            <a:spLocks noGrp="1"/>
          </p:cNvSpPr>
          <p:nvPr>
            <p:ph type="body" sz="quarter" idx="33"/>
          </p:nvPr>
        </p:nvSpPr>
        <p:spPr>
          <a:xfrm>
            <a:off x="7955149" y="1755833"/>
            <a:ext cx="3715133" cy="792044"/>
          </a:xfrm>
        </p:spPr>
        <p:txBody>
          <a:bodyPr anchor="t">
            <a:normAutofit/>
          </a:bodyPr>
          <a:lstStyle>
            <a:lvl1pPr marL="179388" indent="-179388">
              <a:lnSpc>
                <a:spcPct val="110000"/>
              </a:lnSpc>
              <a:spcBef>
                <a:spcPts val="0"/>
              </a:spcBef>
              <a:spcAft>
                <a:spcPts val="600"/>
              </a:spcAft>
              <a:buFont typeface="Arial" panose="020B0604020202020204" pitchFamily="34" charset="0"/>
              <a:buChar char="•"/>
              <a:tabLst/>
              <a:defRPr sz="1400" b="1">
                <a:solidFill>
                  <a:schemeClr val="bg1"/>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6C19D012-767E-A845-8105-4B4C4887921E}"/>
              </a:ext>
            </a:extLst>
          </p:cNvPr>
          <p:cNvSpPr>
            <a:spLocks noGrp="1"/>
          </p:cNvSpPr>
          <p:nvPr>
            <p:ph type="body" sz="quarter" idx="34" hasCustomPrompt="1"/>
          </p:nvPr>
        </p:nvSpPr>
        <p:spPr>
          <a:xfrm>
            <a:off x="7955149" y="1405749"/>
            <a:ext cx="1917616" cy="249259"/>
          </a:xfrm>
        </p:spPr>
        <p:txBody>
          <a:bodyPr anchor="t">
            <a:normAutofit/>
          </a:bodyPr>
          <a:lstStyle>
            <a:lvl1pPr algn="l">
              <a:lnSpc>
                <a:spcPct val="110000"/>
              </a:lnSpc>
              <a:spcAft>
                <a:spcPts val="600"/>
              </a:spcAft>
              <a:defRPr sz="1600" b="1">
                <a:solidFill>
                  <a:schemeClr val="tx2">
                    <a:lumMod val="40000"/>
                    <a:lumOff val="60000"/>
                  </a:schemeClr>
                </a:solidFill>
              </a:defRPr>
            </a:lvl1pPr>
          </a:lstStyle>
          <a:p>
            <a:pPr lvl="0"/>
            <a:r>
              <a:rPr lang="en-GB"/>
              <a:t>Title</a:t>
            </a:r>
          </a:p>
        </p:txBody>
      </p:sp>
      <p:sp>
        <p:nvSpPr>
          <p:cNvPr id="34" name="Picture Placeholder 3">
            <a:extLst>
              <a:ext uri="{FF2B5EF4-FFF2-40B4-BE49-F238E27FC236}">
                <a16:creationId xmlns:a16="http://schemas.microsoft.com/office/drawing/2014/main" id="{DD5DD0FD-09C0-E049-944D-E6046E4FD565}"/>
              </a:ext>
            </a:extLst>
          </p:cNvPr>
          <p:cNvSpPr>
            <a:spLocks noGrp="1"/>
          </p:cNvSpPr>
          <p:nvPr>
            <p:ph type="pic" sz="quarter" idx="35"/>
          </p:nvPr>
        </p:nvSpPr>
        <p:spPr>
          <a:xfrm>
            <a:off x="6957092" y="1589245"/>
            <a:ext cx="767874" cy="767874"/>
          </a:xfrm>
        </p:spPr>
        <p:txBody>
          <a:bodyPr anchor="ctr">
            <a:noAutofit/>
          </a:bodyPr>
          <a:lstStyle>
            <a:lvl1pPr algn="ctr">
              <a:defRPr sz="1200">
                <a:solidFill>
                  <a:schemeClr val="bg1">
                    <a:lumMod val="65000"/>
                  </a:schemeClr>
                </a:solidFill>
              </a:defRPr>
            </a:lvl1pPr>
          </a:lstStyle>
          <a:p>
            <a:r>
              <a:rPr lang="en-GB"/>
              <a:t>Click icon to add picture</a:t>
            </a:r>
          </a:p>
        </p:txBody>
      </p:sp>
    </p:spTree>
    <p:extLst>
      <p:ext uri="{BB962C8B-B14F-4D97-AF65-F5344CB8AC3E}">
        <p14:creationId xmlns:p14="http://schemas.microsoft.com/office/powerpoint/2010/main" val="2890978063"/>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Flow Chart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grpSp>
        <p:nvGrpSpPr>
          <p:cNvPr id="18" name="Group 17">
            <a:extLst>
              <a:ext uri="{FF2B5EF4-FFF2-40B4-BE49-F238E27FC236}">
                <a16:creationId xmlns:a16="http://schemas.microsoft.com/office/drawing/2014/main" id="{5498C8CE-3879-2F54-526A-4FB3BC35A614}"/>
              </a:ext>
            </a:extLst>
          </p:cNvPr>
          <p:cNvGrpSpPr/>
          <p:nvPr userDrawn="1"/>
        </p:nvGrpSpPr>
        <p:grpSpPr>
          <a:xfrm>
            <a:off x="506981" y="2354656"/>
            <a:ext cx="11169081" cy="3558782"/>
            <a:chOff x="506982" y="1923728"/>
            <a:chExt cx="8410120" cy="2679700"/>
          </a:xfrm>
        </p:grpSpPr>
        <p:pic>
          <p:nvPicPr>
            <p:cNvPr id="3" name="Graphic 2">
              <a:extLst>
                <a:ext uri="{FF2B5EF4-FFF2-40B4-BE49-F238E27FC236}">
                  <a16:creationId xmlns:a16="http://schemas.microsoft.com/office/drawing/2014/main" id="{FF8E22B8-C626-33CF-AF31-C216F153582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6859702" y="1923728"/>
              <a:ext cx="2057400" cy="2679700"/>
            </a:xfrm>
            <a:prstGeom prst="rect">
              <a:avLst/>
            </a:prstGeom>
          </p:spPr>
        </p:pic>
        <p:pic>
          <p:nvPicPr>
            <p:cNvPr id="5" name="Graphic 4">
              <a:extLst>
                <a:ext uri="{FF2B5EF4-FFF2-40B4-BE49-F238E27FC236}">
                  <a16:creationId xmlns:a16="http://schemas.microsoft.com/office/drawing/2014/main" id="{51CC370D-D55C-CF1D-A84D-FC3FD269EFA7}"/>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733662" y="1923728"/>
              <a:ext cx="2209800" cy="2679700"/>
            </a:xfrm>
            <a:prstGeom prst="rect">
              <a:avLst/>
            </a:prstGeom>
          </p:spPr>
        </p:pic>
        <p:pic>
          <p:nvPicPr>
            <p:cNvPr id="8" name="Graphic 7">
              <a:extLst>
                <a:ext uri="{FF2B5EF4-FFF2-40B4-BE49-F238E27FC236}">
                  <a16:creationId xmlns:a16="http://schemas.microsoft.com/office/drawing/2014/main" id="{0CF38F8D-CE10-398F-DC92-0410984D5CA9}"/>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2607622" y="1923728"/>
              <a:ext cx="2209800" cy="2679700"/>
            </a:xfrm>
            <a:prstGeom prst="rect">
              <a:avLst/>
            </a:prstGeom>
          </p:spPr>
        </p:pic>
        <p:pic>
          <p:nvPicPr>
            <p:cNvPr id="11" name="Graphic 10">
              <a:extLst>
                <a:ext uri="{FF2B5EF4-FFF2-40B4-BE49-F238E27FC236}">
                  <a16:creationId xmlns:a16="http://schemas.microsoft.com/office/drawing/2014/main" id="{71C8FE21-D454-2669-5018-BDB88B7A469E}"/>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506982" y="1923728"/>
              <a:ext cx="2184400" cy="2679700"/>
            </a:xfrm>
            <a:prstGeom prst="rect">
              <a:avLst/>
            </a:prstGeom>
          </p:spPr>
        </p:pic>
      </p:grpSp>
      <p:sp>
        <p:nvSpPr>
          <p:cNvPr id="20" name="Text Placeholder 8">
            <a:extLst>
              <a:ext uri="{FF2B5EF4-FFF2-40B4-BE49-F238E27FC236}">
                <a16:creationId xmlns:a16="http://schemas.microsoft.com/office/drawing/2014/main" id="{469A369E-3216-3A94-D069-C4212D6C5B2A}"/>
              </a:ext>
            </a:extLst>
          </p:cNvPr>
          <p:cNvSpPr>
            <a:spLocks noGrp="1"/>
          </p:cNvSpPr>
          <p:nvPr>
            <p:ph type="body" idx="13"/>
          </p:nvPr>
        </p:nvSpPr>
        <p:spPr>
          <a:xfrm>
            <a:off x="531133" y="1304925"/>
            <a:ext cx="11144930" cy="853194"/>
          </a:xfrm>
        </p:spPr>
        <p:txBody>
          <a:bodyPr numCol="1" spcCol="180000"/>
          <a:lstStyle>
            <a:lvl1pPr marL="0" indent="0">
              <a:spcAft>
                <a:spcPts val="600"/>
              </a:spcAft>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21" name="Text Placeholder 6">
            <a:extLst>
              <a:ext uri="{FF2B5EF4-FFF2-40B4-BE49-F238E27FC236}">
                <a16:creationId xmlns:a16="http://schemas.microsoft.com/office/drawing/2014/main" id="{8A9C1315-921F-285F-D6BD-A177DE53DC2E}"/>
              </a:ext>
            </a:extLst>
          </p:cNvPr>
          <p:cNvSpPr>
            <a:spLocks noGrp="1"/>
          </p:cNvSpPr>
          <p:nvPr>
            <p:ph type="body" sz="quarter" idx="15"/>
          </p:nvPr>
        </p:nvSpPr>
        <p:spPr>
          <a:xfrm>
            <a:off x="675643" y="3054704"/>
            <a:ext cx="2290922" cy="2745803"/>
          </a:xfrm>
        </p:spPr>
        <p:txBody>
          <a:bodyPr>
            <a:normAutofit/>
          </a:bodyPr>
          <a:lstStyle>
            <a:lvl1pPr marL="177800" indent="-177800">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22" name="Text Placeholder 6">
            <a:extLst>
              <a:ext uri="{FF2B5EF4-FFF2-40B4-BE49-F238E27FC236}">
                <a16:creationId xmlns:a16="http://schemas.microsoft.com/office/drawing/2014/main" id="{4F0999A6-8092-1A74-E3A2-26CC341F65C7}"/>
              </a:ext>
            </a:extLst>
          </p:cNvPr>
          <p:cNvSpPr>
            <a:spLocks noGrp="1"/>
          </p:cNvSpPr>
          <p:nvPr>
            <p:ph type="body" sz="quarter" idx="16"/>
          </p:nvPr>
        </p:nvSpPr>
        <p:spPr>
          <a:xfrm>
            <a:off x="675643" y="2501966"/>
            <a:ext cx="2290922" cy="443198"/>
          </a:xfrm>
        </p:spPr>
        <p:txBody>
          <a:bodyPr wrap="square" anchor="ctr">
            <a:noAutofit/>
          </a:bodyPr>
          <a:lstStyle>
            <a:lvl1pPr>
              <a:lnSpc>
                <a:spcPct val="90000"/>
              </a:lnSpc>
              <a:defRPr sz="2000" b="1">
                <a:solidFill>
                  <a:schemeClr val="bg2"/>
                </a:solidFill>
              </a:defRPr>
            </a:lvl1pPr>
          </a:lstStyle>
          <a:p>
            <a:pPr lvl="0"/>
            <a:r>
              <a:rPr lang="en-GB"/>
              <a:t>Click to edit Master text styles</a:t>
            </a:r>
          </a:p>
        </p:txBody>
      </p:sp>
      <p:sp>
        <p:nvSpPr>
          <p:cNvPr id="26" name="Text Placeholder 6">
            <a:extLst>
              <a:ext uri="{FF2B5EF4-FFF2-40B4-BE49-F238E27FC236}">
                <a16:creationId xmlns:a16="http://schemas.microsoft.com/office/drawing/2014/main" id="{F5E81801-D408-BD68-8EF8-821176E4315D}"/>
              </a:ext>
            </a:extLst>
          </p:cNvPr>
          <p:cNvSpPr>
            <a:spLocks noGrp="1"/>
          </p:cNvSpPr>
          <p:nvPr>
            <p:ph type="body" sz="quarter" idx="17"/>
          </p:nvPr>
        </p:nvSpPr>
        <p:spPr>
          <a:xfrm>
            <a:off x="3583362" y="3054704"/>
            <a:ext cx="2231105" cy="2745803"/>
          </a:xfrm>
        </p:spPr>
        <p:txBody>
          <a:bodyPr>
            <a:normAutofit/>
          </a:bodyPr>
          <a:lstStyle>
            <a:lvl1pPr marL="177800" indent="-177800">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27" name="Text Placeholder 6">
            <a:extLst>
              <a:ext uri="{FF2B5EF4-FFF2-40B4-BE49-F238E27FC236}">
                <a16:creationId xmlns:a16="http://schemas.microsoft.com/office/drawing/2014/main" id="{FE29D8EA-6114-4150-3B97-EAD0BB047B28}"/>
              </a:ext>
            </a:extLst>
          </p:cNvPr>
          <p:cNvSpPr>
            <a:spLocks noGrp="1"/>
          </p:cNvSpPr>
          <p:nvPr>
            <p:ph type="body" sz="quarter" idx="18"/>
          </p:nvPr>
        </p:nvSpPr>
        <p:spPr>
          <a:xfrm>
            <a:off x="3583362" y="2501966"/>
            <a:ext cx="2231105" cy="443198"/>
          </a:xfrm>
        </p:spPr>
        <p:txBody>
          <a:bodyPr wrap="square" anchor="ctr">
            <a:noAutofit/>
          </a:bodyPr>
          <a:lstStyle>
            <a:lvl1pPr>
              <a:lnSpc>
                <a:spcPct val="90000"/>
              </a:lnSpc>
              <a:defRPr sz="2000" b="1">
                <a:solidFill>
                  <a:schemeClr val="accent1"/>
                </a:solidFill>
              </a:defRPr>
            </a:lvl1pPr>
          </a:lstStyle>
          <a:p>
            <a:pPr lvl="0"/>
            <a:r>
              <a:rPr lang="en-GB"/>
              <a:t>Click to edit Master text styles</a:t>
            </a:r>
          </a:p>
        </p:txBody>
      </p:sp>
      <p:sp>
        <p:nvSpPr>
          <p:cNvPr id="28" name="Text Placeholder 6">
            <a:extLst>
              <a:ext uri="{FF2B5EF4-FFF2-40B4-BE49-F238E27FC236}">
                <a16:creationId xmlns:a16="http://schemas.microsoft.com/office/drawing/2014/main" id="{832C3EE2-E731-14E8-F235-F0DC107603F1}"/>
              </a:ext>
            </a:extLst>
          </p:cNvPr>
          <p:cNvSpPr>
            <a:spLocks noGrp="1"/>
          </p:cNvSpPr>
          <p:nvPr>
            <p:ph type="body" sz="quarter" idx="19"/>
          </p:nvPr>
        </p:nvSpPr>
        <p:spPr>
          <a:xfrm>
            <a:off x="6396559" y="3054704"/>
            <a:ext cx="2251850" cy="2745803"/>
          </a:xfrm>
        </p:spPr>
        <p:txBody>
          <a:bodyPr>
            <a:normAutofit/>
          </a:bodyPr>
          <a:lstStyle>
            <a:lvl1pPr marL="177800" indent="-177800">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29" name="Text Placeholder 6">
            <a:extLst>
              <a:ext uri="{FF2B5EF4-FFF2-40B4-BE49-F238E27FC236}">
                <a16:creationId xmlns:a16="http://schemas.microsoft.com/office/drawing/2014/main" id="{3514D2BC-4EB5-482F-640F-D4ECA3398E7B}"/>
              </a:ext>
            </a:extLst>
          </p:cNvPr>
          <p:cNvSpPr>
            <a:spLocks noGrp="1"/>
          </p:cNvSpPr>
          <p:nvPr>
            <p:ph type="body" sz="quarter" idx="20"/>
          </p:nvPr>
        </p:nvSpPr>
        <p:spPr>
          <a:xfrm>
            <a:off x="6396559" y="2501966"/>
            <a:ext cx="2251850" cy="443198"/>
          </a:xfrm>
        </p:spPr>
        <p:txBody>
          <a:bodyPr wrap="square" anchor="ctr">
            <a:noAutofit/>
          </a:bodyPr>
          <a:lstStyle>
            <a:lvl1pPr>
              <a:lnSpc>
                <a:spcPct val="90000"/>
              </a:lnSpc>
              <a:defRPr sz="2000" b="1">
                <a:solidFill>
                  <a:schemeClr val="accent4"/>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176B8D71-6027-E9D4-DE0B-4336DE4C8765}"/>
              </a:ext>
            </a:extLst>
          </p:cNvPr>
          <p:cNvSpPr>
            <a:spLocks noGrp="1"/>
          </p:cNvSpPr>
          <p:nvPr>
            <p:ph type="body" sz="quarter" idx="21"/>
          </p:nvPr>
        </p:nvSpPr>
        <p:spPr>
          <a:xfrm>
            <a:off x="9244461" y="3054704"/>
            <a:ext cx="2290922" cy="2745803"/>
          </a:xfrm>
        </p:spPr>
        <p:txBody>
          <a:bodyPr>
            <a:normAutofit/>
          </a:bodyPr>
          <a:lstStyle>
            <a:lvl1pPr marL="177800" indent="-177800">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006DA17C-A871-793A-2C8F-F98A0EDA8ED0}"/>
              </a:ext>
            </a:extLst>
          </p:cNvPr>
          <p:cNvSpPr>
            <a:spLocks noGrp="1"/>
          </p:cNvSpPr>
          <p:nvPr>
            <p:ph type="body" sz="quarter" idx="22"/>
          </p:nvPr>
        </p:nvSpPr>
        <p:spPr>
          <a:xfrm>
            <a:off x="9244461" y="2501966"/>
            <a:ext cx="2290922" cy="443198"/>
          </a:xfrm>
        </p:spPr>
        <p:txBody>
          <a:bodyPr wrap="square" anchor="ctr">
            <a:noAutofit/>
          </a:bodyPr>
          <a:lstStyle>
            <a:lvl1pPr>
              <a:lnSpc>
                <a:spcPct val="90000"/>
              </a:lnSpc>
              <a:defRPr sz="2000" b="1">
                <a:solidFill>
                  <a:schemeClr val="accent5"/>
                </a:solidFill>
              </a:defRPr>
            </a:lvl1pPr>
          </a:lstStyle>
          <a:p>
            <a:pPr lvl="0"/>
            <a:r>
              <a:rPr lang="en-GB"/>
              <a:t>Click to edit Master text styles</a:t>
            </a:r>
          </a:p>
        </p:txBody>
      </p:sp>
    </p:spTree>
    <p:extLst>
      <p:ext uri="{BB962C8B-B14F-4D97-AF65-F5344CB8AC3E}">
        <p14:creationId xmlns:p14="http://schemas.microsoft.com/office/powerpoint/2010/main" val="3816088491"/>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Text + Quot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63869"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8" name="Slide Number Placeholder 2">
            <a:extLst>
              <a:ext uri="{FF2B5EF4-FFF2-40B4-BE49-F238E27FC236}">
                <a16:creationId xmlns:a16="http://schemas.microsoft.com/office/drawing/2014/main" id="{8D67BD3D-5E5B-2957-7B72-B286DEA69454}"/>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9" name="Straight Connector 18">
            <a:extLst>
              <a:ext uri="{FF2B5EF4-FFF2-40B4-BE49-F238E27FC236}">
                <a16:creationId xmlns:a16="http://schemas.microsoft.com/office/drawing/2014/main" id="{11DD0B93-9CA3-DE96-64E9-7FECBAD37972}"/>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0" name="Footer Placeholder 1">
            <a:extLst>
              <a:ext uri="{FF2B5EF4-FFF2-40B4-BE49-F238E27FC236}">
                <a16:creationId xmlns:a16="http://schemas.microsoft.com/office/drawing/2014/main" id="{F3526303-0969-95FB-D8FA-0C9E3916524B}"/>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pic>
        <p:nvPicPr>
          <p:cNvPr id="21" name="Picture 11">
            <a:extLst>
              <a:ext uri="{FF2B5EF4-FFF2-40B4-BE49-F238E27FC236}">
                <a16:creationId xmlns:a16="http://schemas.microsoft.com/office/drawing/2014/main" id="{24A4E3D3-8EF4-A80C-4780-9639C12D4E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2" name="Text Placeholder 8">
            <a:extLst>
              <a:ext uri="{FF2B5EF4-FFF2-40B4-BE49-F238E27FC236}">
                <a16:creationId xmlns:a16="http://schemas.microsoft.com/office/drawing/2014/main" id="{6DFBA0EA-6763-E017-8DB4-792094E59657}"/>
              </a:ext>
            </a:extLst>
          </p:cNvPr>
          <p:cNvSpPr>
            <a:spLocks noGrp="1"/>
          </p:cNvSpPr>
          <p:nvPr>
            <p:ph type="body" idx="21"/>
          </p:nvPr>
        </p:nvSpPr>
        <p:spPr>
          <a:xfrm>
            <a:off x="6652260" y="1304924"/>
            <a:ext cx="5033328" cy="4608501"/>
          </a:xfrm>
        </p:spPr>
        <p:txBody>
          <a:bodyPr numCol="1" spcCol="180000">
            <a:noAutofit/>
          </a:bodyPr>
          <a:lstStyle>
            <a:lvl1pPr marL="0" indent="0">
              <a:spcAft>
                <a:spcPts val="1200"/>
              </a:spcAft>
              <a:buClr>
                <a:schemeClr val="bg2"/>
              </a:buClr>
              <a:buFont typeface="Arial" panose="020B0604020202020204" pitchFamily="34" charset="0"/>
              <a:buNone/>
              <a:defRPr sz="2400" b="1">
                <a:solidFill>
                  <a:schemeClr val="accent4"/>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Tree>
    <p:extLst>
      <p:ext uri="{BB962C8B-B14F-4D97-AF65-F5344CB8AC3E}">
        <p14:creationId xmlns:p14="http://schemas.microsoft.com/office/powerpoint/2010/main" val="670207886"/>
      </p:ext>
    </p:extLst>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Text, Quote + Imag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63869"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7" name="Picture Placeholder 2">
            <a:extLst>
              <a:ext uri="{FF2B5EF4-FFF2-40B4-BE49-F238E27FC236}">
                <a16:creationId xmlns:a16="http://schemas.microsoft.com/office/drawing/2014/main" id="{D7BA9708-B496-A663-CB06-FD4F2E3602E5}"/>
              </a:ext>
            </a:extLst>
          </p:cNvPr>
          <p:cNvSpPr>
            <a:spLocks noGrp="1"/>
          </p:cNvSpPr>
          <p:nvPr>
            <p:ph type="pic" sz="quarter" idx="20"/>
          </p:nvPr>
        </p:nvSpPr>
        <p:spPr>
          <a:xfrm>
            <a:off x="6359525" y="3227929"/>
            <a:ext cx="5326063" cy="2685506"/>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18" name="Slide Number Placeholder 2">
            <a:extLst>
              <a:ext uri="{FF2B5EF4-FFF2-40B4-BE49-F238E27FC236}">
                <a16:creationId xmlns:a16="http://schemas.microsoft.com/office/drawing/2014/main" id="{8D67BD3D-5E5B-2957-7B72-B286DEA69454}"/>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9" name="Straight Connector 18">
            <a:extLst>
              <a:ext uri="{FF2B5EF4-FFF2-40B4-BE49-F238E27FC236}">
                <a16:creationId xmlns:a16="http://schemas.microsoft.com/office/drawing/2014/main" id="{11DD0B93-9CA3-DE96-64E9-7FECBAD37972}"/>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0" name="Footer Placeholder 1">
            <a:extLst>
              <a:ext uri="{FF2B5EF4-FFF2-40B4-BE49-F238E27FC236}">
                <a16:creationId xmlns:a16="http://schemas.microsoft.com/office/drawing/2014/main" id="{F3526303-0969-95FB-D8FA-0C9E3916524B}"/>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pic>
        <p:nvPicPr>
          <p:cNvPr id="21" name="Picture 11">
            <a:extLst>
              <a:ext uri="{FF2B5EF4-FFF2-40B4-BE49-F238E27FC236}">
                <a16:creationId xmlns:a16="http://schemas.microsoft.com/office/drawing/2014/main" id="{24A4E3D3-8EF4-A80C-4780-9639C12D4E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2" name="Text Placeholder 8">
            <a:extLst>
              <a:ext uri="{FF2B5EF4-FFF2-40B4-BE49-F238E27FC236}">
                <a16:creationId xmlns:a16="http://schemas.microsoft.com/office/drawing/2014/main" id="{6DFBA0EA-6763-E017-8DB4-792094E59657}"/>
              </a:ext>
            </a:extLst>
          </p:cNvPr>
          <p:cNvSpPr>
            <a:spLocks noGrp="1"/>
          </p:cNvSpPr>
          <p:nvPr>
            <p:ph type="body" idx="21"/>
          </p:nvPr>
        </p:nvSpPr>
        <p:spPr>
          <a:xfrm>
            <a:off x="6345193" y="1304925"/>
            <a:ext cx="5340395" cy="312265"/>
          </a:xfrm>
        </p:spPr>
        <p:txBody>
          <a:bodyPr numCol="1" spcCol="180000">
            <a:spAutoFit/>
          </a:bodyPr>
          <a:lstStyle>
            <a:lvl1pPr marL="0" indent="0">
              <a:spcAft>
                <a:spcPts val="600"/>
              </a:spcAft>
              <a:buClr>
                <a:schemeClr val="bg2"/>
              </a:buClr>
              <a:buFont typeface="Arial" panose="020B0604020202020204" pitchFamily="34" charset="0"/>
              <a:buNone/>
              <a:defRPr b="1">
                <a:solidFill>
                  <a:schemeClr val="accent4"/>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13" name="Text Placeholder 8">
            <a:extLst>
              <a:ext uri="{FF2B5EF4-FFF2-40B4-BE49-F238E27FC236}">
                <a16:creationId xmlns:a16="http://schemas.microsoft.com/office/drawing/2014/main" id="{4BC205A0-AF05-E822-A6D1-8E80B8895804}"/>
              </a:ext>
            </a:extLst>
          </p:cNvPr>
          <p:cNvSpPr>
            <a:spLocks noGrp="1"/>
          </p:cNvSpPr>
          <p:nvPr>
            <p:ph type="body" idx="22" hasCustomPrompt="1"/>
          </p:nvPr>
        </p:nvSpPr>
        <p:spPr>
          <a:xfrm>
            <a:off x="6345193" y="5962960"/>
            <a:ext cx="5340395" cy="140488"/>
          </a:xfrm>
        </p:spPr>
        <p:txBody>
          <a:bodyPr numCol="1" spcCol="180000">
            <a:spAutoFit/>
          </a:bodyPr>
          <a:lstStyle>
            <a:lvl1pPr marL="0" indent="0">
              <a:spcAft>
                <a:spcPts val="600"/>
              </a:spcAft>
              <a:buClr>
                <a:schemeClr val="bg2"/>
              </a:buClr>
              <a:buFont typeface="Arial" panose="020B0604020202020204" pitchFamily="34" charset="0"/>
              <a:buNone/>
              <a:defRPr sz="900" b="0">
                <a:solidFill>
                  <a:schemeClr val="bg1">
                    <a:lumMod val="65000"/>
                  </a:schemeClr>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Optional image caption</a:t>
            </a:r>
          </a:p>
        </p:txBody>
      </p:sp>
    </p:spTree>
    <p:extLst>
      <p:ext uri="{BB962C8B-B14F-4D97-AF65-F5344CB8AC3E}">
        <p14:creationId xmlns:p14="http://schemas.microsoft.com/office/powerpoint/2010/main" val="2987057923"/>
      </p:ext>
    </p:extLst>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Text + 2 Imag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 name="Picture Placeholder 2">
            <a:extLst>
              <a:ext uri="{FF2B5EF4-FFF2-40B4-BE49-F238E27FC236}">
                <a16:creationId xmlns:a16="http://schemas.microsoft.com/office/drawing/2014/main" id="{15315BB4-CEA5-4429-26F4-D4B56B8BE141}"/>
              </a:ext>
            </a:extLst>
          </p:cNvPr>
          <p:cNvSpPr>
            <a:spLocks noGrp="1"/>
          </p:cNvSpPr>
          <p:nvPr>
            <p:ph type="pic" sz="quarter" idx="19"/>
          </p:nvPr>
        </p:nvSpPr>
        <p:spPr>
          <a:xfrm>
            <a:off x="6359525" y="368300"/>
            <a:ext cx="5326063" cy="2685505"/>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17" name="Picture Placeholder 2">
            <a:extLst>
              <a:ext uri="{FF2B5EF4-FFF2-40B4-BE49-F238E27FC236}">
                <a16:creationId xmlns:a16="http://schemas.microsoft.com/office/drawing/2014/main" id="{D7BA9708-B496-A663-CB06-FD4F2E3602E5}"/>
              </a:ext>
            </a:extLst>
          </p:cNvPr>
          <p:cNvSpPr>
            <a:spLocks noGrp="1"/>
          </p:cNvSpPr>
          <p:nvPr>
            <p:ph type="pic" sz="quarter" idx="20"/>
          </p:nvPr>
        </p:nvSpPr>
        <p:spPr>
          <a:xfrm>
            <a:off x="6359525" y="3227929"/>
            <a:ext cx="5326063" cy="2685506"/>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18" name="Slide Number Placeholder 2">
            <a:extLst>
              <a:ext uri="{FF2B5EF4-FFF2-40B4-BE49-F238E27FC236}">
                <a16:creationId xmlns:a16="http://schemas.microsoft.com/office/drawing/2014/main" id="{8D67BD3D-5E5B-2957-7B72-B286DEA69454}"/>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9" name="Straight Connector 18">
            <a:extLst>
              <a:ext uri="{FF2B5EF4-FFF2-40B4-BE49-F238E27FC236}">
                <a16:creationId xmlns:a16="http://schemas.microsoft.com/office/drawing/2014/main" id="{11DD0B93-9CA3-DE96-64E9-7FECBAD37972}"/>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0" name="Footer Placeholder 1">
            <a:extLst>
              <a:ext uri="{FF2B5EF4-FFF2-40B4-BE49-F238E27FC236}">
                <a16:creationId xmlns:a16="http://schemas.microsoft.com/office/drawing/2014/main" id="{F3526303-0969-95FB-D8FA-0C9E3916524B}"/>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pic>
        <p:nvPicPr>
          <p:cNvPr id="21" name="Picture 11">
            <a:extLst>
              <a:ext uri="{FF2B5EF4-FFF2-40B4-BE49-F238E27FC236}">
                <a16:creationId xmlns:a16="http://schemas.microsoft.com/office/drawing/2014/main" id="{24A4E3D3-8EF4-A80C-4780-9639C12D4E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2" name="Text Placeholder 8">
            <a:extLst>
              <a:ext uri="{FF2B5EF4-FFF2-40B4-BE49-F238E27FC236}">
                <a16:creationId xmlns:a16="http://schemas.microsoft.com/office/drawing/2014/main" id="{02F1485A-E0B4-C14E-58C4-9144A8FEE29C}"/>
              </a:ext>
            </a:extLst>
          </p:cNvPr>
          <p:cNvSpPr>
            <a:spLocks noGrp="1"/>
          </p:cNvSpPr>
          <p:nvPr>
            <p:ph type="body" idx="22" hasCustomPrompt="1"/>
          </p:nvPr>
        </p:nvSpPr>
        <p:spPr>
          <a:xfrm>
            <a:off x="6345193" y="5962960"/>
            <a:ext cx="5340395" cy="140488"/>
          </a:xfrm>
        </p:spPr>
        <p:txBody>
          <a:bodyPr numCol="1" spcCol="180000">
            <a:spAutoFit/>
          </a:bodyPr>
          <a:lstStyle>
            <a:lvl1pPr marL="0" indent="0">
              <a:spcAft>
                <a:spcPts val="600"/>
              </a:spcAft>
              <a:buClr>
                <a:schemeClr val="bg2"/>
              </a:buClr>
              <a:buFont typeface="Arial" panose="020B0604020202020204" pitchFamily="34" charset="0"/>
              <a:buNone/>
              <a:defRPr sz="900" b="0">
                <a:solidFill>
                  <a:schemeClr val="bg1">
                    <a:lumMod val="65000"/>
                  </a:schemeClr>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Optional image caption</a:t>
            </a:r>
          </a:p>
        </p:txBody>
      </p:sp>
    </p:spTree>
    <p:extLst>
      <p:ext uri="{BB962C8B-B14F-4D97-AF65-F5344CB8AC3E}">
        <p14:creationId xmlns:p14="http://schemas.microsoft.com/office/powerpoint/2010/main" val="3196589216"/>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Text + Image 1">
    <p:spTree>
      <p:nvGrpSpPr>
        <p:cNvPr id="1" name=""/>
        <p:cNvGrpSpPr/>
        <p:nvPr/>
      </p:nvGrpSpPr>
      <p:grpSpPr>
        <a:xfrm>
          <a:off x="0" y="0"/>
          <a:ext cx="0" cy="0"/>
          <a:chOff x="0" y="0"/>
          <a:chExt cx="0" cy="0"/>
        </a:xfrm>
      </p:grpSpPr>
      <p:sp>
        <p:nvSpPr>
          <p:cNvPr id="12" name="Picture Placeholder 27">
            <a:extLst>
              <a:ext uri="{FF2B5EF4-FFF2-40B4-BE49-F238E27FC236}">
                <a16:creationId xmlns:a16="http://schemas.microsoft.com/office/drawing/2014/main" id="{1426049D-A517-EA42-AFCA-8DDB22C6BA37}"/>
              </a:ext>
            </a:extLst>
          </p:cNvPr>
          <p:cNvSpPr>
            <a:spLocks noGrp="1"/>
          </p:cNvSpPr>
          <p:nvPr>
            <p:ph type="pic" sz="quarter" idx="15" hasCustomPrompt="1"/>
          </p:nvPr>
        </p:nvSpPr>
        <p:spPr>
          <a:xfrm>
            <a:off x="6495588" y="-10508"/>
            <a:ext cx="5711376" cy="6879020"/>
          </a:xfrm>
          <a:custGeom>
            <a:avLst/>
            <a:gdLst>
              <a:gd name="connsiteX0" fmla="*/ 0 w 7962406"/>
              <a:gd name="connsiteY0" fmla="*/ 0 h 6857999"/>
              <a:gd name="connsiteX1" fmla="*/ 7962406 w 7962406"/>
              <a:gd name="connsiteY1" fmla="*/ 0 h 6857999"/>
              <a:gd name="connsiteX2" fmla="*/ 7962406 w 7962406"/>
              <a:gd name="connsiteY2" fmla="*/ 6857999 h 6857999"/>
              <a:gd name="connsiteX3" fmla="*/ 1019785 w 7962406"/>
              <a:gd name="connsiteY3" fmla="*/ 6857999 h 6857999"/>
              <a:gd name="connsiteX4" fmla="*/ 0 w 7962406"/>
              <a:gd name="connsiteY4" fmla="*/ 5838214 h 6857999"/>
              <a:gd name="connsiteX0" fmla="*/ 0 w 7962406"/>
              <a:gd name="connsiteY0" fmla="*/ 0 h 6857999"/>
              <a:gd name="connsiteX1" fmla="*/ 6039013 w 7962406"/>
              <a:gd name="connsiteY1" fmla="*/ 84083 h 6857999"/>
              <a:gd name="connsiteX2" fmla="*/ 7962406 w 7962406"/>
              <a:gd name="connsiteY2" fmla="*/ 6857999 h 6857999"/>
              <a:gd name="connsiteX3" fmla="*/ 1019785 w 7962406"/>
              <a:gd name="connsiteY3" fmla="*/ 6857999 h 6857999"/>
              <a:gd name="connsiteX4" fmla="*/ 0 w 7962406"/>
              <a:gd name="connsiteY4" fmla="*/ 5838214 h 6857999"/>
              <a:gd name="connsiteX5" fmla="*/ 0 w 7962406"/>
              <a:gd name="connsiteY5" fmla="*/ 0 h 6857999"/>
              <a:gd name="connsiteX0" fmla="*/ 0 w 7962406"/>
              <a:gd name="connsiteY0" fmla="*/ 10510 h 6868509"/>
              <a:gd name="connsiteX1" fmla="*/ 6144117 w 7962406"/>
              <a:gd name="connsiteY1" fmla="*/ 0 h 6868509"/>
              <a:gd name="connsiteX2" fmla="*/ 7962406 w 7962406"/>
              <a:gd name="connsiteY2" fmla="*/ 6868509 h 6868509"/>
              <a:gd name="connsiteX3" fmla="*/ 1019785 w 7962406"/>
              <a:gd name="connsiteY3" fmla="*/ 6868509 h 6868509"/>
              <a:gd name="connsiteX4" fmla="*/ 0 w 7962406"/>
              <a:gd name="connsiteY4" fmla="*/ 5848724 h 6868509"/>
              <a:gd name="connsiteX5" fmla="*/ 0 w 7962406"/>
              <a:gd name="connsiteY5" fmla="*/ 10510 h 6868509"/>
              <a:gd name="connsiteX0" fmla="*/ 0 w 6144117"/>
              <a:gd name="connsiteY0" fmla="*/ 10510 h 6868509"/>
              <a:gd name="connsiteX1" fmla="*/ 6144117 w 6144117"/>
              <a:gd name="connsiteY1" fmla="*/ 0 h 6868509"/>
              <a:gd name="connsiteX2" fmla="*/ 5660640 w 6144117"/>
              <a:gd name="connsiteY2" fmla="*/ 6563709 h 6868509"/>
              <a:gd name="connsiteX3" fmla="*/ 1019785 w 6144117"/>
              <a:gd name="connsiteY3" fmla="*/ 6868509 h 6868509"/>
              <a:gd name="connsiteX4" fmla="*/ 0 w 6144117"/>
              <a:gd name="connsiteY4" fmla="*/ 5848724 h 6868509"/>
              <a:gd name="connsiteX5" fmla="*/ 0 w 6144117"/>
              <a:gd name="connsiteY5" fmla="*/ 10510 h 6868509"/>
              <a:gd name="connsiteX0" fmla="*/ 0 w 6154626"/>
              <a:gd name="connsiteY0" fmla="*/ 10510 h 6879020"/>
              <a:gd name="connsiteX1" fmla="*/ 6144117 w 6154626"/>
              <a:gd name="connsiteY1" fmla="*/ 0 h 6879020"/>
              <a:gd name="connsiteX2" fmla="*/ 6154626 w 6154626"/>
              <a:gd name="connsiteY2" fmla="*/ 6879020 h 6879020"/>
              <a:gd name="connsiteX3" fmla="*/ 1019785 w 6154626"/>
              <a:gd name="connsiteY3" fmla="*/ 6868509 h 6879020"/>
              <a:gd name="connsiteX4" fmla="*/ 0 w 6154626"/>
              <a:gd name="connsiteY4" fmla="*/ 5848724 h 6879020"/>
              <a:gd name="connsiteX5" fmla="*/ 0 w 6154626"/>
              <a:gd name="connsiteY5" fmla="*/ 10510 h 6879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54626" h="6879020">
                <a:moveTo>
                  <a:pt x="0" y="10510"/>
                </a:moveTo>
                <a:lnTo>
                  <a:pt x="6144117" y="0"/>
                </a:lnTo>
                <a:lnTo>
                  <a:pt x="6154626" y="6879020"/>
                </a:lnTo>
                <a:lnTo>
                  <a:pt x="1019785" y="6868509"/>
                </a:lnTo>
                <a:cubicBezTo>
                  <a:pt x="456573" y="6868509"/>
                  <a:pt x="0" y="6411936"/>
                  <a:pt x="0" y="5848724"/>
                </a:cubicBezTo>
                <a:lnTo>
                  <a:pt x="0" y="10510"/>
                </a:lnTo>
                <a:close/>
              </a:path>
            </a:pathLst>
          </a:custGeom>
          <a:solidFill>
            <a:schemeClr val="bg1">
              <a:lumMod val="85000"/>
            </a:schemeClr>
          </a:solidFill>
        </p:spPr>
        <p:txBody>
          <a:bodyPr wrap="square" anchor="ctr">
            <a:noAutofit/>
          </a:bodyPr>
          <a:lstStyle>
            <a:lvl1pPr marL="0" indent="0" algn="ctr">
              <a:buNone/>
              <a:defRPr>
                <a:solidFill>
                  <a:schemeClr val="bg1">
                    <a:lumMod val="50000"/>
                  </a:schemeClr>
                </a:solidFill>
              </a:defRPr>
            </a:lvl1pPr>
          </a:lstStyle>
          <a:p>
            <a:r>
              <a:rPr lang="en-GB"/>
              <a:t>Click icon to insert picture</a:t>
            </a:r>
          </a:p>
        </p:txBody>
      </p:sp>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5580063"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sp>
        <p:nvSpPr>
          <p:cNvPr id="5" name="Text Placeholder 4">
            <a:extLst>
              <a:ext uri="{FF2B5EF4-FFF2-40B4-BE49-F238E27FC236}">
                <a16:creationId xmlns:a16="http://schemas.microsoft.com/office/drawing/2014/main" id="{0CE04A98-CDC1-2043-A233-CAA53ED2E1A4}"/>
              </a:ext>
            </a:extLst>
          </p:cNvPr>
          <p:cNvSpPr>
            <a:spLocks noGrp="1"/>
          </p:cNvSpPr>
          <p:nvPr>
            <p:ph type="body" sz="quarter" idx="16" hasCustomPrompt="1"/>
          </p:nvPr>
        </p:nvSpPr>
        <p:spPr>
          <a:xfrm>
            <a:off x="10643129"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Tree>
    <p:extLst>
      <p:ext uri="{BB962C8B-B14F-4D97-AF65-F5344CB8AC3E}">
        <p14:creationId xmlns:p14="http://schemas.microsoft.com/office/powerpoint/2010/main" val="2008138538"/>
      </p:ext>
    </p:extLst>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Text + Image 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5580063"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sp>
        <p:nvSpPr>
          <p:cNvPr id="5" name="Text Placeholder 4">
            <a:extLst>
              <a:ext uri="{FF2B5EF4-FFF2-40B4-BE49-F238E27FC236}">
                <a16:creationId xmlns:a16="http://schemas.microsoft.com/office/drawing/2014/main" id="{0CE04A98-CDC1-2043-A233-CAA53ED2E1A4}"/>
              </a:ext>
            </a:extLst>
          </p:cNvPr>
          <p:cNvSpPr>
            <a:spLocks noGrp="1"/>
          </p:cNvSpPr>
          <p:nvPr>
            <p:ph type="body" sz="quarter" idx="16" hasCustomPrompt="1"/>
          </p:nvPr>
        </p:nvSpPr>
        <p:spPr>
          <a:xfrm>
            <a:off x="10643129"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
        <p:nvSpPr>
          <p:cNvPr id="27" name="Picture Placeholder 26">
            <a:extLst>
              <a:ext uri="{FF2B5EF4-FFF2-40B4-BE49-F238E27FC236}">
                <a16:creationId xmlns:a16="http://schemas.microsoft.com/office/drawing/2014/main" id="{D7270696-0AB9-0445-9B12-E1B6CE40D325}"/>
              </a:ext>
            </a:extLst>
          </p:cNvPr>
          <p:cNvSpPr>
            <a:spLocks noGrp="1"/>
          </p:cNvSpPr>
          <p:nvPr>
            <p:ph type="pic" sz="quarter" idx="17"/>
          </p:nvPr>
        </p:nvSpPr>
        <p:spPr>
          <a:xfrm>
            <a:off x="5685640" y="0"/>
            <a:ext cx="6506360" cy="6858000"/>
          </a:xfrm>
          <a:custGeom>
            <a:avLst/>
            <a:gdLst>
              <a:gd name="connsiteX0" fmla="*/ 0 w 6506360"/>
              <a:gd name="connsiteY0" fmla="*/ 0 h 6858000"/>
              <a:gd name="connsiteX1" fmla="*/ 6506360 w 6506360"/>
              <a:gd name="connsiteY1" fmla="*/ 0 h 6858000"/>
              <a:gd name="connsiteX2" fmla="*/ 6506360 w 6506360"/>
              <a:gd name="connsiteY2" fmla="*/ 6858000 h 6858000"/>
              <a:gd name="connsiteX3" fmla="*/ 816590 w 6506360"/>
              <a:gd name="connsiteY3" fmla="*/ 6858000 h 6858000"/>
              <a:gd name="connsiteX4" fmla="*/ 816590 w 6506360"/>
              <a:gd name="connsiteY4" fmla="*/ 939979 h 6858000"/>
              <a:gd name="connsiteX5" fmla="*/ 57657 w 6506360"/>
              <a:gd name="connsiteY5" fmla="*/ 8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06360" h="6858000">
                <a:moveTo>
                  <a:pt x="0" y="0"/>
                </a:moveTo>
                <a:lnTo>
                  <a:pt x="6506360" y="0"/>
                </a:lnTo>
                <a:lnTo>
                  <a:pt x="6506360" y="6858000"/>
                </a:lnTo>
                <a:lnTo>
                  <a:pt x="816590" y="6858000"/>
                </a:lnTo>
                <a:lnTo>
                  <a:pt x="816590" y="939979"/>
                </a:lnTo>
                <a:cubicBezTo>
                  <a:pt x="816590" y="480656"/>
                  <a:pt x="490779" y="97429"/>
                  <a:pt x="57657" y="8800"/>
                </a:cubicBezTo>
                <a:close/>
              </a:path>
            </a:pathLst>
          </a:custGeom>
          <a:solidFill>
            <a:schemeClr val="bg1">
              <a:lumMod val="85000"/>
            </a:schemeClr>
          </a:solidFill>
        </p:spPr>
        <p:txBody>
          <a:bodyPr wrap="square" anchor="ctr">
            <a:noAutofit/>
          </a:bodyPr>
          <a:lstStyle>
            <a:lvl1pPr algn="ctr">
              <a:defRPr>
                <a:solidFill>
                  <a:schemeClr val="bg1">
                    <a:lumMod val="50000"/>
                  </a:schemeClr>
                </a:solidFill>
              </a:defRPr>
            </a:lvl1pPr>
          </a:lstStyle>
          <a:p>
            <a:r>
              <a:rPr lang="en-GB"/>
              <a:t>Click icon to add picture</a:t>
            </a:r>
          </a:p>
        </p:txBody>
      </p:sp>
      <p:sp>
        <p:nvSpPr>
          <p:cNvPr id="28" name="Text Placeholder 4">
            <a:extLst>
              <a:ext uri="{FF2B5EF4-FFF2-40B4-BE49-F238E27FC236}">
                <a16:creationId xmlns:a16="http://schemas.microsoft.com/office/drawing/2014/main" id="{7DCA613B-D18E-594C-9579-2E40707B7127}"/>
              </a:ext>
            </a:extLst>
          </p:cNvPr>
          <p:cNvSpPr>
            <a:spLocks noGrp="1"/>
          </p:cNvSpPr>
          <p:nvPr>
            <p:ph type="body" sz="quarter" idx="18" hasCustomPrompt="1"/>
          </p:nvPr>
        </p:nvSpPr>
        <p:spPr>
          <a:xfrm>
            <a:off x="10643128"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Tree>
    <p:extLst>
      <p:ext uri="{BB962C8B-B14F-4D97-AF65-F5344CB8AC3E}">
        <p14:creationId xmlns:p14="http://schemas.microsoft.com/office/powerpoint/2010/main" val="1315793554"/>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Quote + Imag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5580063"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sp>
        <p:nvSpPr>
          <p:cNvPr id="5" name="Text Placeholder 4">
            <a:extLst>
              <a:ext uri="{FF2B5EF4-FFF2-40B4-BE49-F238E27FC236}">
                <a16:creationId xmlns:a16="http://schemas.microsoft.com/office/drawing/2014/main" id="{0CE04A98-CDC1-2043-A233-CAA53ED2E1A4}"/>
              </a:ext>
            </a:extLst>
          </p:cNvPr>
          <p:cNvSpPr>
            <a:spLocks noGrp="1"/>
          </p:cNvSpPr>
          <p:nvPr>
            <p:ph type="body" sz="quarter" idx="16" hasCustomPrompt="1"/>
          </p:nvPr>
        </p:nvSpPr>
        <p:spPr>
          <a:xfrm>
            <a:off x="10643129"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
        <p:nvSpPr>
          <p:cNvPr id="27" name="Picture Placeholder 26">
            <a:extLst>
              <a:ext uri="{FF2B5EF4-FFF2-40B4-BE49-F238E27FC236}">
                <a16:creationId xmlns:a16="http://schemas.microsoft.com/office/drawing/2014/main" id="{D7270696-0AB9-0445-9B12-E1B6CE40D325}"/>
              </a:ext>
            </a:extLst>
          </p:cNvPr>
          <p:cNvSpPr>
            <a:spLocks noGrp="1"/>
          </p:cNvSpPr>
          <p:nvPr>
            <p:ph type="pic" sz="quarter" idx="17"/>
          </p:nvPr>
        </p:nvSpPr>
        <p:spPr>
          <a:xfrm>
            <a:off x="5685640" y="0"/>
            <a:ext cx="6506360" cy="6858000"/>
          </a:xfrm>
          <a:custGeom>
            <a:avLst/>
            <a:gdLst>
              <a:gd name="connsiteX0" fmla="*/ 0 w 6506360"/>
              <a:gd name="connsiteY0" fmla="*/ 0 h 6858000"/>
              <a:gd name="connsiteX1" fmla="*/ 6506360 w 6506360"/>
              <a:gd name="connsiteY1" fmla="*/ 0 h 6858000"/>
              <a:gd name="connsiteX2" fmla="*/ 6506360 w 6506360"/>
              <a:gd name="connsiteY2" fmla="*/ 6858000 h 6858000"/>
              <a:gd name="connsiteX3" fmla="*/ 816590 w 6506360"/>
              <a:gd name="connsiteY3" fmla="*/ 6858000 h 6858000"/>
              <a:gd name="connsiteX4" fmla="*/ 816590 w 6506360"/>
              <a:gd name="connsiteY4" fmla="*/ 939979 h 6858000"/>
              <a:gd name="connsiteX5" fmla="*/ 57657 w 6506360"/>
              <a:gd name="connsiteY5" fmla="*/ 8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06360" h="6858000">
                <a:moveTo>
                  <a:pt x="0" y="0"/>
                </a:moveTo>
                <a:lnTo>
                  <a:pt x="6506360" y="0"/>
                </a:lnTo>
                <a:lnTo>
                  <a:pt x="6506360" y="6858000"/>
                </a:lnTo>
                <a:lnTo>
                  <a:pt x="816590" y="6858000"/>
                </a:lnTo>
                <a:lnTo>
                  <a:pt x="816590" y="939979"/>
                </a:lnTo>
                <a:cubicBezTo>
                  <a:pt x="816590" y="480656"/>
                  <a:pt x="490779" y="97429"/>
                  <a:pt x="57657" y="8800"/>
                </a:cubicBezTo>
                <a:close/>
              </a:path>
            </a:pathLst>
          </a:custGeom>
          <a:solidFill>
            <a:schemeClr val="bg1">
              <a:lumMod val="85000"/>
            </a:schemeClr>
          </a:solidFill>
        </p:spPr>
        <p:txBody>
          <a:bodyPr wrap="square" anchor="ctr">
            <a:noAutofit/>
          </a:bodyPr>
          <a:lstStyle>
            <a:lvl1pPr algn="ctr">
              <a:defRPr>
                <a:solidFill>
                  <a:schemeClr val="bg1">
                    <a:lumMod val="50000"/>
                  </a:schemeClr>
                </a:solidFill>
              </a:defRPr>
            </a:lvl1pPr>
          </a:lstStyle>
          <a:p>
            <a:r>
              <a:rPr lang="en-GB"/>
              <a:t>Click icon to add picture</a:t>
            </a:r>
          </a:p>
        </p:txBody>
      </p:sp>
      <p:sp>
        <p:nvSpPr>
          <p:cNvPr id="28" name="Text Placeholder 4">
            <a:extLst>
              <a:ext uri="{FF2B5EF4-FFF2-40B4-BE49-F238E27FC236}">
                <a16:creationId xmlns:a16="http://schemas.microsoft.com/office/drawing/2014/main" id="{7DCA613B-D18E-594C-9579-2E40707B7127}"/>
              </a:ext>
            </a:extLst>
          </p:cNvPr>
          <p:cNvSpPr>
            <a:spLocks noGrp="1"/>
          </p:cNvSpPr>
          <p:nvPr>
            <p:ph type="body" sz="quarter" idx="18" hasCustomPrompt="1"/>
          </p:nvPr>
        </p:nvSpPr>
        <p:spPr>
          <a:xfrm>
            <a:off x="10643128"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
        <p:nvSpPr>
          <p:cNvPr id="12" name="Text Placeholder 8">
            <a:extLst>
              <a:ext uri="{FF2B5EF4-FFF2-40B4-BE49-F238E27FC236}">
                <a16:creationId xmlns:a16="http://schemas.microsoft.com/office/drawing/2014/main" id="{E2F4BDEF-FEFC-0BDD-3EB4-7710855ED6AB}"/>
              </a:ext>
            </a:extLst>
          </p:cNvPr>
          <p:cNvSpPr>
            <a:spLocks noGrp="1"/>
          </p:cNvSpPr>
          <p:nvPr>
            <p:ph type="body" idx="21"/>
          </p:nvPr>
        </p:nvSpPr>
        <p:spPr>
          <a:xfrm>
            <a:off x="515937" y="1329378"/>
            <a:ext cx="5580062" cy="4637076"/>
          </a:xfrm>
        </p:spPr>
        <p:txBody>
          <a:bodyPr numCol="1" spcCol="180000" anchor="t">
            <a:noAutofit/>
          </a:bodyPr>
          <a:lstStyle>
            <a:lvl1pPr marL="0" indent="0">
              <a:lnSpc>
                <a:spcPct val="100000"/>
              </a:lnSpc>
              <a:spcAft>
                <a:spcPts val="1800"/>
              </a:spcAft>
              <a:buClr>
                <a:schemeClr val="bg2"/>
              </a:buClr>
              <a:buFont typeface="Arial" panose="020B0604020202020204" pitchFamily="34" charset="0"/>
              <a:buNone/>
              <a:defRPr sz="2800" b="1">
                <a:solidFill>
                  <a:schemeClr val="accent4"/>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16" name="Title Placeholder 1">
            <a:extLst>
              <a:ext uri="{FF2B5EF4-FFF2-40B4-BE49-F238E27FC236}">
                <a16:creationId xmlns:a16="http://schemas.microsoft.com/office/drawing/2014/main" id="{D7D9C6B7-7323-827F-E01F-2EFDCE721461}"/>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Tree>
    <p:extLst>
      <p:ext uri="{BB962C8B-B14F-4D97-AF65-F5344CB8AC3E}">
        <p14:creationId xmlns:p14="http://schemas.microsoft.com/office/powerpoint/2010/main" val="302216262"/>
      </p:ext>
    </p:extLst>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Sections + Images x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8" y="4360961"/>
            <a:ext cx="5234437" cy="1538516"/>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8" y="3915591"/>
            <a:ext cx="5234437" cy="281103"/>
          </a:xfrm>
        </p:spPr>
        <p:txBody>
          <a:bodyPr wrap="square">
            <a:spAutoFit/>
          </a:bodyPr>
          <a:lstStyle>
            <a:lvl1pPr>
              <a:defRPr sz="1800" b="1">
                <a:solidFill>
                  <a:schemeClr val="bg2"/>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A5AC520F-8595-0F44-99A9-F0873ACA435F}"/>
              </a:ext>
            </a:extLst>
          </p:cNvPr>
          <p:cNvSpPr>
            <a:spLocks noGrp="1"/>
          </p:cNvSpPr>
          <p:nvPr>
            <p:ph type="body" sz="quarter" idx="18"/>
          </p:nvPr>
        </p:nvSpPr>
        <p:spPr>
          <a:xfrm>
            <a:off x="6441625" y="4360961"/>
            <a:ext cx="5234437" cy="1538516"/>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6441625" y="3915591"/>
            <a:ext cx="5234437" cy="281103"/>
          </a:xfrm>
        </p:spPr>
        <p:txBody>
          <a:bodyPr wrap="square">
            <a:spAutoFit/>
          </a:bodyPr>
          <a:lstStyle>
            <a:lvl1pPr>
              <a:defRPr sz="1800" b="1">
                <a:solidFill>
                  <a:schemeClr val="bg2"/>
                </a:solidFill>
              </a:defRPr>
            </a:lvl1pPr>
          </a:lstStyle>
          <a:p>
            <a:pPr lvl="0"/>
            <a:r>
              <a:rPr lang="en-GB"/>
              <a:t>Click to edit Master text styles</a:t>
            </a:r>
          </a:p>
        </p:txBody>
      </p:sp>
      <p:sp>
        <p:nvSpPr>
          <p:cNvPr id="17" name="Picture Placeholder 2">
            <a:extLst>
              <a:ext uri="{FF2B5EF4-FFF2-40B4-BE49-F238E27FC236}">
                <a16:creationId xmlns:a16="http://schemas.microsoft.com/office/drawing/2014/main" id="{4EF54ED7-3E2F-C8F7-553C-1DB155F7DBDC}"/>
              </a:ext>
            </a:extLst>
          </p:cNvPr>
          <p:cNvSpPr>
            <a:spLocks noGrp="1"/>
          </p:cNvSpPr>
          <p:nvPr>
            <p:ph type="pic" sz="quarter" idx="23"/>
          </p:nvPr>
        </p:nvSpPr>
        <p:spPr>
          <a:xfrm>
            <a:off x="515938" y="1304924"/>
            <a:ext cx="5234438" cy="2400167"/>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23" name="Picture Placeholder 2">
            <a:extLst>
              <a:ext uri="{FF2B5EF4-FFF2-40B4-BE49-F238E27FC236}">
                <a16:creationId xmlns:a16="http://schemas.microsoft.com/office/drawing/2014/main" id="{BCF59FD3-6B56-67EF-C1E8-78C92005D9AE}"/>
              </a:ext>
            </a:extLst>
          </p:cNvPr>
          <p:cNvSpPr>
            <a:spLocks noGrp="1"/>
          </p:cNvSpPr>
          <p:nvPr>
            <p:ph type="pic" sz="quarter" idx="24"/>
          </p:nvPr>
        </p:nvSpPr>
        <p:spPr>
          <a:xfrm>
            <a:off x="6441625" y="1304924"/>
            <a:ext cx="5234438" cy="2400167"/>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Tree>
    <p:extLst>
      <p:ext uri="{BB962C8B-B14F-4D97-AF65-F5344CB8AC3E}">
        <p14:creationId xmlns:p14="http://schemas.microsoft.com/office/powerpoint/2010/main" val="319601716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ox Text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United Against Rabies Forum Meeting - 6-8 November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0" name="Rounded Rectangle 29">
            <a:extLst>
              <a:ext uri="{FF2B5EF4-FFF2-40B4-BE49-F238E27FC236}">
                <a16:creationId xmlns:a16="http://schemas.microsoft.com/office/drawing/2014/main" id="{6FD39105-B790-2C4F-B73F-33A5D9995EDE}"/>
              </a:ext>
            </a:extLst>
          </p:cNvPr>
          <p:cNvSpPr/>
          <p:nvPr userDrawn="1"/>
        </p:nvSpPr>
        <p:spPr>
          <a:xfrm>
            <a:off x="515935" y="1191566"/>
            <a:ext cx="3604651"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Text Placeholder 6">
            <a:extLst>
              <a:ext uri="{FF2B5EF4-FFF2-40B4-BE49-F238E27FC236}">
                <a16:creationId xmlns:a16="http://schemas.microsoft.com/office/drawing/2014/main" id="{39DFE4E8-481D-4E4A-B357-9B609A673B06}"/>
              </a:ext>
            </a:extLst>
          </p:cNvPr>
          <p:cNvSpPr>
            <a:spLocks noGrp="1"/>
          </p:cNvSpPr>
          <p:nvPr>
            <p:ph type="body" sz="quarter" idx="14" hasCustomPrompt="1"/>
          </p:nvPr>
        </p:nvSpPr>
        <p:spPr>
          <a:xfrm>
            <a:off x="715167" y="1378325"/>
            <a:ext cx="3214437"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32" name="Text Placeholder 6">
            <a:extLst>
              <a:ext uri="{FF2B5EF4-FFF2-40B4-BE49-F238E27FC236}">
                <a16:creationId xmlns:a16="http://schemas.microsoft.com/office/drawing/2014/main" id="{79EED86D-C792-B740-BC35-66A672B07629}"/>
              </a:ext>
            </a:extLst>
          </p:cNvPr>
          <p:cNvSpPr>
            <a:spLocks noGrp="1"/>
          </p:cNvSpPr>
          <p:nvPr>
            <p:ph type="body" sz="quarter" idx="15"/>
          </p:nvPr>
        </p:nvSpPr>
        <p:spPr>
          <a:xfrm>
            <a:off x="715167" y="2154362"/>
            <a:ext cx="3214437"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CE98006B-2C07-2C4F-A8AC-A5AC433ED89C}"/>
              </a:ext>
            </a:extLst>
          </p:cNvPr>
          <p:cNvSpPr>
            <a:spLocks noGrp="1"/>
          </p:cNvSpPr>
          <p:nvPr>
            <p:ph type="body" sz="quarter" idx="16"/>
          </p:nvPr>
        </p:nvSpPr>
        <p:spPr>
          <a:xfrm>
            <a:off x="715167" y="1597378"/>
            <a:ext cx="3214437" cy="382134"/>
          </a:xfrm>
        </p:spPr>
        <p:txBody>
          <a:bodyPr/>
          <a:lstStyle>
            <a:lvl1pPr>
              <a:defRPr b="1">
                <a:solidFill>
                  <a:schemeClr val="bg2"/>
                </a:solidFill>
              </a:defRPr>
            </a:lvl1pPr>
          </a:lstStyle>
          <a:p>
            <a:pPr lvl="0"/>
            <a:r>
              <a:rPr lang="en-GB"/>
              <a:t>Click to edit Master text styles</a:t>
            </a:r>
          </a:p>
        </p:txBody>
      </p:sp>
      <p:sp>
        <p:nvSpPr>
          <p:cNvPr id="26" name="Rounded Rectangle 25">
            <a:extLst>
              <a:ext uri="{FF2B5EF4-FFF2-40B4-BE49-F238E27FC236}">
                <a16:creationId xmlns:a16="http://schemas.microsoft.com/office/drawing/2014/main" id="{A64DF4DD-379B-FE5B-85E1-F80F85D07E89}"/>
              </a:ext>
            </a:extLst>
          </p:cNvPr>
          <p:cNvSpPr/>
          <p:nvPr userDrawn="1"/>
        </p:nvSpPr>
        <p:spPr>
          <a:xfrm>
            <a:off x="4290784" y="1191566"/>
            <a:ext cx="3604650"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 name="Text Placeholder 6">
            <a:extLst>
              <a:ext uri="{FF2B5EF4-FFF2-40B4-BE49-F238E27FC236}">
                <a16:creationId xmlns:a16="http://schemas.microsoft.com/office/drawing/2014/main" id="{602ADDF3-C22C-9F63-2736-9FAAEA9A1E97}"/>
              </a:ext>
            </a:extLst>
          </p:cNvPr>
          <p:cNvSpPr>
            <a:spLocks noGrp="1"/>
          </p:cNvSpPr>
          <p:nvPr>
            <p:ph type="body" sz="quarter" idx="17" hasCustomPrompt="1"/>
          </p:nvPr>
        </p:nvSpPr>
        <p:spPr>
          <a:xfrm>
            <a:off x="4490015" y="1378325"/>
            <a:ext cx="3201361"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28" name="Text Placeholder 6">
            <a:extLst>
              <a:ext uri="{FF2B5EF4-FFF2-40B4-BE49-F238E27FC236}">
                <a16:creationId xmlns:a16="http://schemas.microsoft.com/office/drawing/2014/main" id="{EC84208B-5390-D845-9BFC-BBE060B525EC}"/>
              </a:ext>
            </a:extLst>
          </p:cNvPr>
          <p:cNvSpPr>
            <a:spLocks noGrp="1"/>
          </p:cNvSpPr>
          <p:nvPr>
            <p:ph type="body" sz="quarter" idx="18"/>
          </p:nvPr>
        </p:nvSpPr>
        <p:spPr>
          <a:xfrm>
            <a:off x="4490015" y="2154362"/>
            <a:ext cx="3201361"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7" name="Text Placeholder 6">
            <a:extLst>
              <a:ext uri="{FF2B5EF4-FFF2-40B4-BE49-F238E27FC236}">
                <a16:creationId xmlns:a16="http://schemas.microsoft.com/office/drawing/2014/main" id="{62DC5739-6579-EFF5-5EE5-B79F9F4E344F}"/>
              </a:ext>
            </a:extLst>
          </p:cNvPr>
          <p:cNvSpPr>
            <a:spLocks noGrp="1"/>
          </p:cNvSpPr>
          <p:nvPr>
            <p:ph type="body" sz="quarter" idx="19"/>
          </p:nvPr>
        </p:nvSpPr>
        <p:spPr>
          <a:xfrm>
            <a:off x="4490015" y="1597378"/>
            <a:ext cx="3201361" cy="382134"/>
          </a:xfrm>
        </p:spPr>
        <p:txBody>
          <a:bodyPr/>
          <a:lstStyle>
            <a:lvl1pPr>
              <a:defRPr b="1">
                <a:solidFill>
                  <a:schemeClr val="bg2"/>
                </a:solidFill>
              </a:defRPr>
            </a:lvl1pPr>
          </a:lstStyle>
          <a:p>
            <a:pPr lvl="0"/>
            <a:r>
              <a:rPr lang="en-GB"/>
              <a:t>Click to edit Master text styles</a:t>
            </a:r>
          </a:p>
        </p:txBody>
      </p:sp>
      <p:sp>
        <p:nvSpPr>
          <p:cNvPr id="38" name="Rounded Rectangle 37">
            <a:extLst>
              <a:ext uri="{FF2B5EF4-FFF2-40B4-BE49-F238E27FC236}">
                <a16:creationId xmlns:a16="http://schemas.microsoft.com/office/drawing/2014/main" id="{A0FC7906-8744-F3F8-AA4F-08ADB6E6D43E}"/>
              </a:ext>
            </a:extLst>
          </p:cNvPr>
          <p:cNvSpPr/>
          <p:nvPr userDrawn="1"/>
        </p:nvSpPr>
        <p:spPr>
          <a:xfrm>
            <a:off x="8065632" y="1191566"/>
            <a:ext cx="3604650"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9" name="Text Placeholder 6">
            <a:extLst>
              <a:ext uri="{FF2B5EF4-FFF2-40B4-BE49-F238E27FC236}">
                <a16:creationId xmlns:a16="http://schemas.microsoft.com/office/drawing/2014/main" id="{F3AC3934-9579-D587-96AD-27B72F22B277}"/>
              </a:ext>
            </a:extLst>
          </p:cNvPr>
          <p:cNvSpPr>
            <a:spLocks noGrp="1"/>
          </p:cNvSpPr>
          <p:nvPr>
            <p:ph type="body" sz="quarter" idx="20" hasCustomPrompt="1"/>
          </p:nvPr>
        </p:nvSpPr>
        <p:spPr>
          <a:xfrm>
            <a:off x="8264863" y="1378325"/>
            <a:ext cx="3211970"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40" name="Text Placeholder 6">
            <a:extLst>
              <a:ext uri="{FF2B5EF4-FFF2-40B4-BE49-F238E27FC236}">
                <a16:creationId xmlns:a16="http://schemas.microsoft.com/office/drawing/2014/main" id="{37A42317-1A24-1AA6-D076-0E969CCF8BE8}"/>
              </a:ext>
            </a:extLst>
          </p:cNvPr>
          <p:cNvSpPr>
            <a:spLocks noGrp="1"/>
          </p:cNvSpPr>
          <p:nvPr>
            <p:ph type="body" sz="quarter" idx="21"/>
          </p:nvPr>
        </p:nvSpPr>
        <p:spPr>
          <a:xfrm>
            <a:off x="8264863" y="2154362"/>
            <a:ext cx="3211970"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41" name="Text Placeholder 6">
            <a:extLst>
              <a:ext uri="{FF2B5EF4-FFF2-40B4-BE49-F238E27FC236}">
                <a16:creationId xmlns:a16="http://schemas.microsoft.com/office/drawing/2014/main" id="{ADCC5B80-D27A-2762-3E95-436EEE5A0DE7}"/>
              </a:ext>
            </a:extLst>
          </p:cNvPr>
          <p:cNvSpPr>
            <a:spLocks noGrp="1"/>
          </p:cNvSpPr>
          <p:nvPr>
            <p:ph type="body" sz="quarter" idx="22"/>
          </p:nvPr>
        </p:nvSpPr>
        <p:spPr>
          <a:xfrm>
            <a:off x="8264863" y="1597378"/>
            <a:ext cx="3211970" cy="382134"/>
          </a:xfrm>
        </p:spPr>
        <p:txBody>
          <a:bodyPr/>
          <a:lstStyle>
            <a:lvl1pPr>
              <a:defRPr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556869406"/>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Sections + Image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9" y="3726649"/>
            <a:ext cx="3287436" cy="2121010"/>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3281279"/>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A5AC520F-8595-0F44-99A9-F0873ACA435F}"/>
              </a:ext>
            </a:extLst>
          </p:cNvPr>
          <p:cNvSpPr>
            <a:spLocks noGrp="1"/>
          </p:cNvSpPr>
          <p:nvPr>
            <p:ph type="body" sz="quarter" idx="18"/>
          </p:nvPr>
        </p:nvSpPr>
        <p:spPr>
          <a:xfrm>
            <a:off x="4452282" y="3726649"/>
            <a:ext cx="3287436" cy="2121010"/>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4452282" y="3281279"/>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AD30B9DC-1666-7446-9DFD-F674A273B468}"/>
              </a:ext>
            </a:extLst>
          </p:cNvPr>
          <p:cNvSpPr>
            <a:spLocks noGrp="1"/>
          </p:cNvSpPr>
          <p:nvPr>
            <p:ph type="body" sz="quarter" idx="21"/>
          </p:nvPr>
        </p:nvSpPr>
        <p:spPr>
          <a:xfrm>
            <a:off x="8382846" y="3733177"/>
            <a:ext cx="3287436" cy="2121010"/>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C7816D18-C579-DE44-B3B4-5D38198139F6}"/>
              </a:ext>
            </a:extLst>
          </p:cNvPr>
          <p:cNvSpPr>
            <a:spLocks noGrp="1"/>
          </p:cNvSpPr>
          <p:nvPr>
            <p:ph type="body" sz="quarter" idx="22"/>
          </p:nvPr>
        </p:nvSpPr>
        <p:spPr>
          <a:xfrm>
            <a:off x="8382846" y="3287807"/>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17" name="Picture Placeholder 2">
            <a:extLst>
              <a:ext uri="{FF2B5EF4-FFF2-40B4-BE49-F238E27FC236}">
                <a16:creationId xmlns:a16="http://schemas.microsoft.com/office/drawing/2014/main" id="{4EF54ED7-3E2F-C8F7-553C-1DB155F7DBDC}"/>
              </a:ext>
            </a:extLst>
          </p:cNvPr>
          <p:cNvSpPr>
            <a:spLocks noGrp="1"/>
          </p:cNvSpPr>
          <p:nvPr>
            <p:ph type="pic" sz="quarter" idx="23"/>
          </p:nvPr>
        </p:nvSpPr>
        <p:spPr>
          <a:xfrm>
            <a:off x="515938" y="1304925"/>
            <a:ext cx="3287437" cy="1826421"/>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23" name="Picture Placeholder 2">
            <a:extLst>
              <a:ext uri="{FF2B5EF4-FFF2-40B4-BE49-F238E27FC236}">
                <a16:creationId xmlns:a16="http://schemas.microsoft.com/office/drawing/2014/main" id="{BCF59FD3-6B56-67EF-C1E8-78C92005D9AE}"/>
              </a:ext>
            </a:extLst>
          </p:cNvPr>
          <p:cNvSpPr>
            <a:spLocks noGrp="1"/>
          </p:cNvSpPr>
          <p:nvPr>
            <p:ph type="pic" sz="quarter" idx="24"/>
          </p:nvPr>
        </p:nvSpPr>
        <p:spPr>
          <a:xfrm>
            <a:off x="4452281" y="1304925"/>
            <a:ext cx="3287437" cy="1826421"/>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24" name="Picture Placeholder 2">
            <a:extLst>
              <a:ext uri="{FF2B5EF4-FFF2-40B4-BE49-F238E27FC236}">
                <a16:creationId xmlns:a16="http://schemas.microsoft.com/office/drawing/2014/main" id="{AA59D731-0D13-EB6C-7B10-1B59D3D8C5AA}"/>
              </a:ext>
            </a:extLst>
          </p:cNvPr>
          <p:cNvSpPr>
            <a:spLocks noGrp="1"/>
          </p:cNvSpPr>
          <p:nvPr>
            <p:ph type="pic" sz="quarter" idx="25"/>
          </p:nvPr>
        </p:nvSpPr>
        <p:spPr>
          <a:xfrm>
            <a:off x="8388626" y="1304925"/>
            <a:ext cx="3287437" cy="1826421"/>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Tree>
    <p:extLst>
      <p:ext uri="{BB962C8B-B14F-4D97-AF65-F5344CB8AC3E}">
        <p14:creationId xmlns:p14="http://schemas.microsoft.com/office/powerpoint/2010/main" val="4256548169"/>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Key Stat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4050217"/>
            <a:ext cx="3287436" cy="1188251"/>
          </a:xfrm>
        </p:spPr>
        <p:txBody>
          <a:bodyPr>
            <a:noAutofit/>
          </a:bodyPr>
          <a:lstStyle>
            <a:lvl1pPr>
              <a:defRPr sz="1800" b="1">
                <a:solidFill>
                  <a:schemeClr val="bg2"/>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4452282" y="4050217"/>
            <a:ext cx="3287436" cy="1188251"/>
          </a:xfrm>
        </p:spPr>
        <p:txBody>
          <a:bodyPr>
            <a:noAutofit/>
          </a:bodyPr>
          <a:lstStyle>
            <a:lvl1pPr>
              <a:defRPr sz="1800" b="1">
                <a:solidFill>
                  <a:schemeClr val="bg2"/>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C7816D18-C579-DE44-B3B4-5D38198139F6}"/>
              </a:ext>
            </a:extLst>
          </p:cNvPr>
          <p:cNvSpPr>
            <a:spLocks noGrp="1"/>
          </p:cNvSpPr>
          <p:nvPr>
            <p:ph type="body" sz="quarter" idx="22"/>
          </p:nvPr>
        </p:nvSpPr>
        <p:spPr>
          <a:xfrm>
            <a:off x="8382846" y="4056745"/>
            <a:ext cx="3287436" cy="1188251"/>
          </a:xfrm>
        </p:spPr>
        <p:txBody>
          <a:bodyPr>
            <a:noAutofit/>
          </a:bodyPr>
          <a:lstStyle>
            <a:lvl1pPr>
              <a:defRPr sz="1800" b="1">
                <a:solidFill>
                  <a:schemeClr val="bg2"/>
                </a:solidFill>
              </a:defRPr>
            </a:lvl1pPr>
          </a:lstStyle>
          <a:p>
            <a:pPr lvl="0"/>
            <a:r>
              <a:rPr lang="en-GB"/>
              <a:t>Click to edit Master text styles</a:t>
            </a:r>
          </a:p>
        </p:txBody>
      </p:sp>
      <p:sp>
        <p:nvSpPr>
          <p:cNvPr id="17" name="Text Placeholder 6">
            <a:extLst>
              <a:ext uri="{FF2B5EF4-FFF2-40B4-BE49-F238E27FC236}">
                <a16:creationId xmlns:a16="http://schemas.microsoft.com/office/drawing/2014/main" id="{B0250E06-295E-B6E6-95C4-089EF7886C76}"/>
              </a:ext>
            </a:extLst>
          </p:cNvPr>
          <p:cNvSpPr>
            <a:spLocks noGrp="1"/>
          </p:cNvSpPr>
          <p:nvPr>
            <p:ph type="body" sz="quarter" idx="25" hasCustomPrompt="1"/>
          </p:nvPr>
        </p:nvSpPr>
        <p:spPr>
          <a:xfrm>
            <a:off x="515939" y="2881801"/>
            <a:ext cx="3287436" cy="1115264"/>
          </a:xfrm>
        </p:spPr>
        <p:txBody>
          <a:bodyPr anchor="b">
            <a:normAutofit/>
          </a:bodyPr>
          <a:lstStyle>
            <a:lvl1pPr>
              <a:defRPr sz="6600" b="1">
                <a:solidFill>
                  <a:schemeClr val="bg2"/>
                </a:solidFill>
              </a:defRPr>
            </a:lvl1pPr>
          </a:lstStyle>
          <a:p>
            <a:pPr lvl="0"/>
            <a:r>
              <a:rPr lang="en-GB"/>
              <a:t>XXXX</a:t>
            </a:r>
          </a:p>
        </p:txBody>
      </p:sp>
      <p:sp>
        <p:nvSpPr>
          <p:cNvPr id="23" name="Text Placeholder 6">
            <a:extLst>
              <a:ext uri="{FF2B5EF4-FFF2-40B4-BE49-F238E27FC236}">
                <a16:creationId xmlns:a16="http://schemas.microsoft.com/office/drawing/2014/main" id="{41638B5E-8DB0-EAFF-0CF3-8812AF05A9BF}"/>
              </a:ext>
            </a:extLst>
          </p:cNvPr>
          <p:cNvSpPr>
            <a:spLocks noGrp="1"/>
          </p:cNvSpPr>
          <p:nvPr>
            <p:ph type="body" sz="quarter" idx="26" hasCustomPrompt="1"/>
          </p:nvPr>
        </p:nvSpPr>
        <p:spPr>
          <a:xfrm>
            <a:off x="4449392" y="2881801"/>
            <a:ext cx="3287436" cy="1115264"/>
          </a:xfrm>
        </p:spPr>
        <p:txBody>
          <a:bodyPr anchor="b">
            <a:normAutofit/>
          </a:bodyPr>
          <a:lstStyle>
            <a:lvl1pPr>
              <a:defRPr sz="6600" b="1">
                <a:solidFill>
                  <a:schemeClr val="bg2"/>
                </a:solidFill>
              </a:defRPr>
            </a:lvl1pPr>
          </a:lstStyle>
          <a:p>
            <a:pPr lvl="0"/>
            <a:r>
              <a:rPr lang="en-GB"/>
              <a:t>XXXX</a:t>
            </a:r>
          </a:p>
        </p:txBody>
      </p:sp>
      <p:sp>
        <p:nvSpPr>
          <p:cNvPr id="24" name="Text Placeholder 6">
            <a:extLst>
              <a:ext uri="{FF2B5EF4-FFF2-40B4-BE49-F238E27FC236}">
                <a16:creationId xmlns:a16="http://schemas.microsoft.com/office/drawing/2014/main" id="{248EBF9A-10A9-92FA-05B2-3A9523883401}"/>
              </a:ext>
            </a:extLst>
          </p:cNvPr>
          <p:cNvSpPr>
            <a:spLocks noGrp="1"/>
          </p:cNvSpPr>
          <p:nvPr>
            <p:ph type="body" sz="quarter" idx="27" hasCustomPrompt="1"/>
          </p:nvPr>
        </p:nvSpPr>
        <p:spPr>
          <a:xfrm>
            <a:off x="8382846" y="2881801"/>
            <a:ext cx="3287436" cy="1115264"/>
          </a:xfrm>
        </p:spPr>
        <p:txBody>
          <a:bodyPr anchor="b">
            <a:normAutofit/>
          </a:bodyPr>
          <a:lstStyle>
            <a:lvl1pPr>
              <a:defRPr sz="6600" b="1">
                <a:solidFill>
                  <a:schemeClr val="bg2"/>
                </a:solidFill>
              </a:defRPr>
            </a:lvl1pPr>
          </a:lstStyle>
          <a:p>
            <a:pPr lvl="0"/>
            <a:r>
              <a:rPr lang="en-GB"/>
              <a:t>XXXX</a:t>
            </a:r>
          </a:p>
        </p:txBody>
      </p:sp>
      <p:sp>
        <p:nvSpPr>
          <p:cNvPr id="20" name="Text Placeholder 8">
            <a:extLst>
              <a:ext uri="{FF2B5EF4-FFF2-40B4-BE49-F238E27FC236}">
                <a16:creationId xmlns:a16="http://schemas.microsoft.com/office/drawing/2014/main" id="{D2E71522-4C4D-EAC4-2A71-F45B1F18D569}"/>
              </a:ext>
            </a:extLst>
          </p:cNvPr>
          <p:cNvSpPr>
            <a:spLocks noGrp="1"/>
          </p:cNvSpPr>
          <p:nvPr>
            <p:ph type="body" idx="13"/>
          </p:nvPr>
        </p:nvSpPr>
        <p:spPr>
          <a:xfrm>
            <a:off x="531133" y="1304925"/>
            <a:ext cx="11144930" cy="1369692"/>
          </a:xfrm>
        </p:spPr>
        <p:txBody>
          <a:bodyPr numCol="1" spcCol="180000">
            <a:normAutofit/>
          </a:bodyPr>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Tree>
    <p:extLst>
      <p:ext uri="{BB962C8B-B14F-4D97-AF65-F5344CB8AC3E}">
        <p14:creationId xmlns:p14="http://schemas.microsoft.com/office/powerpoint/2010/main" val="1289609738"/>
      </p:ext>
    </p:extLst>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Key Stats x5">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62" name="Title Placeholder 1">
            <a:extLst>
              <a:ext uri="{FF2B5EF4-FFF2-40B4-BE49-F238E27FC236}">
                <a16:creationId xmlns:a16="http://schemas.microsoft.com/office/drawing/2014/main" id="{14F0825D-90B8-6120-7F14-9DC0960BC9E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63" name="Text Placeholder 6">
            <a:extLst>
              <a:ext uri="{FF2B5EF4-FFF2-40B4-BE49-F238E27FC236}">
                <a16:creationId xmlns:a16="http://schemas.microsoft.com/office/drawing/2014/main" id="{AF40E274-F0AF-0436-1F33-86E04DCC0DAA}"/>
              </a:ext>
            </a:extLst>
          </p:cNvPr>
          <p:cNvSpPr>
            <a:spLocks noGrp="1"/>
          </p:cNvSpPr>
          <p:nvPr>
            <p:ph type="body" sz="quarter" idx="25" hasCustomPrompt="1"/>
          </p:nvPr>
        </p:nvSpPr>
        <p:spPr>
          <a:xfrm>
            <a:off x="515939" y="2931453"/>
            <a:ext cx="2007342" cy="844151"/>
          </a:xfrm>
        </p:spPr>
        <p:txBody>
          <a:bodyPr anchor="b">
            <a:normAutofit/>
          </a:bodyPr>
          <a:lstStyle>
            <a:lvl1pPr>
              <a:defRPr sz="4600" b="1">
                <a:solidFill>
                  <a:schemeClr val="bg2"/>
                </a:solidFill>
              </a:defRPr>
            </a:lvl1pPr>
          </a:lstStyle>
          <a:p>
            <a:pPr lvl="0"/>
            <a:r>
              <a:rPr lang="en-GB"/>
              <a:t>XXXXX</a:t>
            </a:r>
          </a:p>
        </p:txBody>
      </p:sp>
      <p:sp>
        <p:nvSpPr>
          <p:cNvPr id="64" name="Text Placeholder 8">
            <a:extLst>
              <a:ext uri="{FF2B5EF4-FFF2-40B4-BE49-F238E27FC236}">
                <a16:creationId xmlns:a16="http://schemas.microsoft.com/office/drawing/2014/main" id="{DB2C3DC3-9DBF-095B-1AEB-4513EE50C647}"/>
              </a:ext>
            </a:extLst>
          </p:cNvPr>
          <p:cNvSpPr>
            <a:spLocks noGrp="1"/>
          </p:cNvSpPr>
          <p:nvPr>
            <p:ph type="body" idx="13"/>
          </p:nvPr>
        </p:nvSpPr>
        <p:spPr>
          <a:xfrm>
            <a:off x="531133" y="1304924"/>
            <a:ext cx="11144930" cy="1566849"/>
          </a:xfrm>
        </p:spPr>
        <p:txBody>
          <a:bodyPr numCol="1" spcCol="180000">
            <a:normAutofit/>
          </a:bodyPr>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65" name="Text Placeholder 6">
            <a:extLst>
              <a:ext uri="{FF2B5EF4-FFF2-40B4-BE49-F238E27FC236}">
                <a16:creationId xmlns:a16="http://schemas.microsoft.com/office/drawing/2014/main" id="{EBBD32EE-C0FF-E8CB-43E3-315A609AEFE7}"/>
              </a:ext>
            </a:extLst>
          </p:cNvPr>
          <p:cNvSpPr>
            <a:spLocks noGrp="1"/>
          </p:cNvSpPr>
          <p:nvPr>
            <p:ph type="body" sz="quarter" idx="16"/>
          </p:nvPr>
        </p:nvSpPr>
        <p:spPr>
          <a:xfrm>
            <a:off x="515939"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6" name="Text Placeholder 6">
            <a:extLst>
              <a:ext uri="{FF2B5EF4-FFF2-40B4-BE49-F238E27FC236}">
                <a16:creationId xmlns:a16="http://schemas.microsoft.com/office/drawing/2014/main" id="{9E2EB64B-500A-8201-8F3F-287FDE60FB19}"/>
              </a:ext>
            </a:extLst>
          </p:cNvPr>
          <p:cNvSpPr>
            <a:spLocks noGrp="1"/>
          </p:cNvSpPr>
          <p:nvPr>
            <p:ph type="body" sz="quarter" idx="19"/>
          </p:nvPr>
        </p:nvSpPr>
        <p:spPr>
          <a:xfrm>
            <a:off x="2802689"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7" name="Text Placeholder 6">
            <a:extLst>
              <a:ext uri="{FF2B5EF4-FFF2-40B4-BE49-F238E27FC236}">
                <a16:creationId xmlns:a16="http://schemas.microsoft.com/office/drawing/2014/main" id="{709BC01A-3AFB-CE31-0E4A-EE885FE2D5A4}"/>
              </a:ext>
            </a:extLst>
          </p:cNvPr>
          <p:cNvSpPr>
            <a:spLocks noGrp="1"/>
          </p:cNvSpPr>
          <p:nvPr>
            <p:ph type="body" sz="quarter" idx="22"/>
          </p:nvPr>
        </p:nvSpPr>
        <p:spPr>
          <a:xfrm>
            <a:off x="5089439"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8" name="Text Placeholder 6">
            <a:extLst>
              <a:ext uri="{FF2B5EF4-FFF2-40B4-BE49-F238E27FC236}">
                <a16:creationId xmlns:a16="http://schemas.microsoft.com/office/drawing/2014/main" id="{CD03EE5B-6B86-7B77-E541-93CE05115235}"/>
              </a:ext>
            </a:extLst>
          </p:cNvPr>
          <p:cNvSpPr>
            <a:spLocks noGrp="1"/>
          </p:cNvSpPr>
          <p:nvPr>
            <p:ph type="body" sz="quarter" idx="28"/>
          </p:nvPr>
        </p:nvSpPr>
        <p:spPr>
          <a:xfrm>
            <a:off x="7376189"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9" name="Text Placeholder 6">
            <a:extLst>
              <a:ext uri="{FF2B5EF4-FFF2-40B4-BE49-F238E27FC236}">
                <a16:creationId xmlns:a16="http://schemas.microsoft.com/office/drawing/2014/main" id="{F9CB884D-6999-7DC7-1825-FC60BEC935BD}"/>
              </a:ext>
            </a:extLst>
          </p:cNvPr>
          <p:cNvSpPr>
            <a:spLocks noGrp="1"/>
          </p:cNvSpPr>
          <p:nvPr>
            <p:ph type="body" sz="quarter" idx="29"/>
          </p:nvPr>
        </p:nvSpPr>
        <p:spPr>
          <a:xfrm>
            <a:off x="9662940"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70" name="Text Placeholder 6">
            <a:extLst>
              <a:ext uri="{FF2B5EF4-FFF2-40B4-BE49-F238E27FC236}">
                <a16:creationId xmlns:a16="http://schemas.microsoft.com/office/drawing/2014/main" id="{F03D69DA-4061-E20B-1262-8A9F09B92D26}"/>
              </a:ext>
            </a:extLst>
          </p:cNvPr>
          <p:cNvSpPr>
            <a:spLocks noGrp="1"/>
          </p:cNvSpPr>
          <p:nvPr>
            <p:ph type="body" sz="quarter" idx="30" hasCustomPrompt="1"/>
          </p:nvPr>
        </p:nvSpPr>
        <p:spPr>
          <a:xfrm>
            <a:off x="2790107" y="2931453"/>
            <a:ext cx="2007342" cy="844151"/>
          </a:xfrm>
        </p:spPr>
        <p:txBody>
          <a:bodyPr anchor="b">
            <a:normAutofit/>
          </a:bodyPr>
          <a:lstStyle>
            <a:lvl1pPr>
              <a:defRPr sz="4600" b="1">
                <a:solidFill>
                  <a:schemeClr val="bg2"/>
                </a:solidFill>
              </a:defRPr>
            </a:lvl1pPr>
          </a:lstStyle>
          <a:p>
            <a:pPr lvl="0"/>
            <a:r>
              <a:rPr lang="en-GB"/>
              <a:t>XXXXX</a:t>
            </a:r>
          </a:p>
        </p:txBody>
      </p:sp>
      <p:sp>
        <p:nvSpPr>
          <p:cNvPr id="71" name="Text Placeholder 6">
            <a:extLst>
              <a:ext uri="{FF2B5EF4-FFF2-40B4-BE49-F238E27FC236}">
                <a16:creationId xmlns:a16="http://schemas.microsoft.com/office/drawing/2014/main" id="{4DA3F266-6EB8-18CF-146E-FCE0EE2BCCED}"/>
              </a:ext>
            </a:extLst>
          </p:cNvPr>
          <p:cNvSpPr>
            <a:spLocks noGrp="1"/>
          </p:cNvSpPr>
          <p:nvPr>
            <p:ph type="body" sz="quarter" idx="31" hasCustomPrompt="1"/>
          </p:nvPr>
        </p:nvSpPr>
        <p:spPr>
          <a:xfrm>
            <a:off x="5064275" y="2931453"/>
            <a:ext cx="2007342" cy="844151"/>
          </a:xfrm>
        </p:spPr>
        <p:txBody>
          <a:bodyPr anchor="b">
            <a:normAutofit/>
          </a:bodyPr>
          <a:lstStyle>
            <a:lvl1pPr>
              <a:defRPr sz="4600" b="1">
                <a:solidFill>
                  <a:schemeClr val="bg2"/>
                </a:solidFill>
              </a:defRPr>
            </a:lvl1pPr>
          </a:lstStyle>
          <a:p>
            <a:pPr lvl="0"/>
            <a:r>
              <a:rPr lang="en-GB"/>
              <a:t>XXXXX</a:t>
            </a:r>
          </a:p>
        </p:txBody>
      </p:sp>
      <p:sp>
        <p:nvSpPr>
          <p:cNvPr id="72" name="Text Placeholder 6">
            <a:extLst>
              <a:ext uri="{FF2B5EF4-FFF2-40B4-BE49-F238E27FC236}">
                <a16:creationId xmlns:a16="http://schemas.microsoft.com/office/drawing/2014/main" id="{ABAC94EC-4D3A-CEAC-3763-AE5EBA842951}"/>
              </a:ext>
            </a:extLst>
          </p:cNvPr>
          <p:cNvSpPr>
            <a:spLocks noGrp="1"/>
          </p:cNvSpPr>
          <p:nvPr>
            <p:ph type="body" sz="quarter" idx="32" hasCustomPrompt="1"/>
          </p:nvPr>
        </p:nvSpPr>
        <p:spPr>
          <a:xfrm>
            <a:off x="7376189" y="2931453"/>
            <a:ext cx="2007342" cy="844151"/>
          </a:xfrm>
        </p:spPr>
        <p:txBody>
          <a:bodyPr anchor="b">
            <a:normAutofit/>
          </a:bodyPr>
          <a:lstStyle>
            <a:lvl1pPr>
              <a:defRPr sz="4600" b="1">
                <a:solidFill>
                  <a:schemeClr val="bg2"/>
                </a:solidFill>
              </a:defRPr>
            </a:lvl1pPr>
          </a:lstStyle>
          <a:p>
            <a:pPr lvl="0"/>
            <a:r>
              <a:rPr lang="en-GB"/>
              <a:t>XXXXX</a:t>
            </a:r>
          </a:p>
        </p:txBody>
      </p:sp>
      <p:sp>
        <p:nvSpPr>
          <p:cNvPr id="73" name="Text Placeholder 6">
            <a:extLst>
              <a:ext uri="{FF2B5EF4-FFF2-40B4-BE49-F238E27FC236}">
                <a16:creationId xmlns:a16="http://schemas.microsoft.com/office/drawing/2014/main" id="{CB8F9A8E-E04A-1CA2-A320-7A4AE6F70DD9}"/>
              </a:ext>
            </a:extLst>
          </p:cNvPr>
          <p:cNvSpPr>
            <a:spLocks noGrp="1"/>
          </p:cNvSpPr>
          <p:nvPr>
            <p:ph type="body" sz="quarter" idx="33" hasCustomPrompt="1"/>
          </p:nvPr>
        </p:nvSpPr>
        <p:spPr>
          <a:xfrm>
            <a:off x="9662940" y="2931453"/>
            <a:ext cx="2007342" cy="844151"/>
          </a:xfrm>
        </p:spPr>
        <p:txBody>
          <a:bodyPr anchor="b">
            <a:normAutofit/>
          </a:bodyPr>
          <a:lstStyle>
            <a:lvl1pPr>
              <a:defRPr sz="4600" b="1">
                <a:solidFill>
                  <a:schemeClr val="bg2"/>
                </a:solidFill>
              </a:defRPr>
            </a:lvl1pPr>
          </a:lstStyle>
          <a:p>
            <a:pPr lvl="0"/>
            <a:r>
              <a:rPr lang="en-GB"/>
              <a:t>XXXXX</a:t>
            </a:r>
          </a:p>
        </p:txBody>
      </p:sp>
    </p:spTree>
    <p:extLst>
      <p:ext uri="{BB962C8B-B14F-4D97-AF65-F5344CB8AC3E}">
        <p14:creationId xmlns:p14="http://schemas.microsoft.com/office/powerpoint/2010/main" val="198198532"/>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Timeline/Milestones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graphicFrame>
        <p:nvGraphicFramePr>
          <p:cNvPr id="48" name="Table 47">
            <a:extLst>
              <a:ext uri="{FF2B5EF4-FFF2-40B4-BE49-F238E27FC236}">
                <a16:creationId xmlns:a16="http://schemas.microsoft.com/office/drawing/2014/main" id="{B7F29198-E920-459C-2862-C2C7FB6FEB65}"/>
              </a:ext>
            </a:extLst>
          </p:cNvPr>
          <p:cNvGraphicFramePr>
            <a:graphicFrameLocks noGrp="1"/>
          </p:cNvGraphicFramePr>
          <p:nvPr userDrawn="1">
            <p:extLst>
              <p:ext uri="{D42A27DB-BD31-4B8C-83A1-F6EECF244321}">
                <p14:modId xmlns:p14="http://schemas.microsoft.com/office/powerpoint/2010/main" val="2545069581"/>
              </p:ext>
            </p:extLst>
          </p:nvPr>
        </p:nvGraphicFramePr>
        <p:xfrm>
          <a:off x="606585" y="2278196"/>
          <a:ext cx="11007608" cy="3618726"/>
        </p:xfrm>
        <a:graphic>
          <a:graphicData uri="http://schemas.openxmlformats.org/drawingml/2006/table">
            <a:tbl>
              <a:tblPr bandCol="1">
                <a:tableStyleId>{2D5ABB26-0587-4C30-8999-92F81FD0307C}</a:tableStyleId>
              </a:tblPr>
              <a:tblGrid>
                <a:gridCol w="2751902">
                  <a:extLst>
                    <a:ext uri="{9D8B030D-6E8A-4147-A177-3AD203B41FA5}">
                      <a16:colId xmlns:a16="http://schemas.microsoft.com/office/drawing/2014/main" val="4151945498"/>
                    </a:ext>
                  </a:extLst>
                </a:gridCol>
                <a:gridCol w="2751902">
                  <a:extLst>
                    <a:ext uri="{9D8B030D-6E8A-4147-A177-3AD203B41FA5}">
                      <a16:colId xmlns:a16="http://schemas.microsoft.com/office/drawing/2014/main" val="1382627474"/>
                    </a:ext>
                  </a:extLst>
                </a:gridCol>
                <a:gridCol w="2751902">
                  <a:extLst>
                    <a:ext uri="{9D8B030D-6E8A-4147-A177-3AD203B41FA5}">
                      <a16:colId xmlns:a16="http://schemas.microsoft.com/office/drawing/2014/main" val="2312284562"/>
                    </a:ext>
                  </a:extLst>
                </a:gridCol>
                <a:gridCol w="2751902">
                  <a:extLst>
                    <a:ext uri="{9D8B030D-6E8A-4147-A177-3AD203B41FA5}">
                      <a16:colId xmlns:a16="http://schemas.microsoft.com/office/drawing/2014/main" val="380964293"/>
                    </a:ext>
                  </a:extLst>
                </a:gridCol>
              </a:tblGrid>
              <a:tr h="3618726">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extLst>
                  <a:ext uri="{0D108BD9-81ED-4DB2-BD59-A6C34878D82A}">
                    <a16:rowId xmlns:a16="http://schemas.microsoft.com/office/drawing/2014/main" val="3469904028"/>
                  </a:ext>
                </a:extLst>
              </a:tr>
            </a:tbl>
          </a:graphicData>
        </a:graphic>
      </p:graphicFrame>
      <p:sp>
        <p:nvSpPr>
          <p:cNvPr id="49" name="object 14">
            <a:extLst>
              <a:ext uri="{FF2B5EF4-FFF2-40B4-BE49-F238E27FC236}">
                <a16:creationId xmlns:a16="http://schemas.microsoft.com/office/drawing/2014/main" id="{A52E1F34-96C7-3C86-48A7-FAB9C405C20B}"/>
              </a:ext>
            </a:extLst>
          </p:cNvPr>
          <p:cNvSpPr/>
          <p:nvPr userDrawn="1"/>
        </p:nvSpPr>
        <p:spPr>
          <a:xfrm>
            <a:off x="577805" y="2278195"/>
            <a:ext cx="11036388" cy="45719"/>
          </a:xfrm>
          <a:custGeom>
            <a:avLst/>
            <a:gdLst/>
            <a:ahLst/>
            <a:cxnLst/>
            <a:rect l="l" t="t" r="r" b="b"/>
            <a:pathLst>
              <a:path w="18209260">
                <a:moveTo>
                  <a:pt x="0" y="0"/>
                </a:moveTo>
                <a:lnTo>
                  <a:pt x="18208869" y="0"/>
                </a:lnTo>
              </a:path>
            </a:pathLst>
          </a:custGeom>
          <a:ln w="9525">
            <a:solidFill>
              <a:schemeClr val="bg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7" y="222114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1" name="Oval 50">
            <a:extLst>
              <a:ext uri="{FF2B5EF4-FFF2-40B4-BE49-F238E27FC236}">
                <a16:creationId xmlns:a16="http://schemas.microsoft.com/office/drawing/2014/main" id="{47D58FC1-83B9-3BAD-C3EF-06E8D5DE120F}"/>
              </a:ext>
            </a:extLst>
          </p:cNvPr>
          <p:cNvSpPr>
            <a:spLocks noChangeAspect="1"/>
          </p:cNvSpPr>
          <p:nvPr userDrawn="1"/>
        </p:nvSpPr>
        <p:spPr>
          <a:xfrm>
            <a:off x="3460438" y="222114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2" name="Oval 51">
            <a:extLst>
              <a:ext uri="{FF2B5EF4-FFF2-40B4-BE49-F238E27FC236}">
                <a16:creationId xmlns:a16="http://schemas.microsoft.com/office/drawing/2014/main" id="{9D582DFC-3D0D-D5F8-AA6B-5676C8C4B3BF}"/>
              </a:ext>
            </a:extLst>
          </p:cNvPr>
          <p:cNvSpPr>
            <a:spLocks noChangeAspect="1"/>
          </p:cNvSpPr>
          <p:nvPr userDrawn="1"/>
        </p:nvSpPr>
        <p:spPr>
          <a:xfrm>
            <a:off x="6227970" y="222114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3" name="Oval 52">
            <a:extLst>
              <a:ext uri="{FF2B5EF4-FFF2-40B4-BE49-F238E27FC236}">
                <a16:creationId xmlns:a16="http://schemas.microsoft.com/office/drawing/2014/main" id="{DF486150-9219-560A-8B4F-FB551F786E68}"/>
              </a:ext>
            </a:extLst>
          </p:cNvPr>
          <p:cNvSpPr>
            <a:spLocks noChangeAspect="1"/>
          </p:cNvSpPr>
          <p:nvPr userDrawn="1"/>
        </p:nvSpPr>
        <p:spPr>
          <a:xfrm>
            <a:off x="8985924" y="222114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7" y="1818875"/>
            <a:ext cx="2767426" cy="300442"/>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5" name="Text Placeholder 71">
            <a:extLst>
              <a:ext uri="{FF2B5EF4-FFF2-40B4-BE49-F238E27FC236}">
                <a16:creationId xmlns:a16="http://schemas.microsoft.com/office/drawing/2014/main" id="{799F0539-8B24-4E4B-EF4C-121B551D8BA3}"/>
              </a:ext>
            </a:extLst>
          </p:cNvPr>
          <p:cNvSpPr>
            <a:spLocks noGrp="1"/>
          </p:cNvSpPr>
          <p:nvPr>
            <p:ph type="body" sz="quarter" idx="16" hasCustomPrompt="1"/>
          </p:nvPr>
        </p:nvSpPr>
        <p:spPr>
          <a:xfrm>
            <a:off x="3344603" y="1818875"/>
            <a:ext cx="2746295" cy="300442"/>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6" name="Text Placeholder 71">
            <a:extLst>
              <a:ext uri="{FF2B5EF4-FFF2-40B4-BE49-F238E27FC236}">
                <a16:creationId xmlns:a16="http://schemas.microsoft.com/office/drawing/2014/main" id="{9DFB2CE5-A177-E72D-3CD4-2646E4DCE502}"/>
              </a:ext>
            </a:extLst>
          </p:cNvPr>
          <p:cNvSpPr>
            <a:spLocks noGrp="1"/>
          </p:cNvSpPr>
          <p:nvPr>
            <p:ph type="body" sz="quarter" idx="18" hasCustomPrompt="1"/>
          </p:nvPr>
        </p:nvSpPr>
        <p:spPr>
          <a:xfrm>
            <a:off x="6100141" y="1818875"/>
            <a:ext cx="2745959" cy="300442"/>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7" name="Text Placeholder 71">
            <a:extLst>
              <a:ext uri="{FF2B5EF4-FFF2-40B4-BE49-F238E27FC236}">
                <a16:creationId xmlns:a16="http://schemas.microsoft.com/office/drawing/2014/main" id="{7A262EC1-F639-E81C-3343-3DA348DA9266}"/>
              </a:ext>
            </a:extLst>
          </p:cNvPr>
          <p:cNvSpPr>
            <a:spLocks noGrp="1"/>
          </p:cNvSpPr>
          <p:nvPr>
            <p:ph type="body" sz="quarter" idx="20" hasCustomPrompt="1"/>
          </p:nvPr>
        </p:nvSpPr>
        <p:spPr>
          <a:xfrm>
            <a:off x="8846100" y="1818875"/>
            <a:ext cx="2773719" cy="300442"/>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8" name="Text Placeholder 4">
            <a:extLst>
              <a:ext uri="{FF2B5EF4-FFF2-40B4-BE49-F238E27FC236}">
                <a16:creationId xmlns:a16="http://schemas.microsoft.com/office/drawing/2014/main" id="{0FE60C61-D20F-0DE2-38DC-62D2FAD38472}"/>
              </a:ext>
            </a:extLst>
          </p:cNvPr>
          <p:cNvSpPr>
            <a:spLocks noGrp="1"/>
          </p:cNvSpPr>
          <p:nvPr>
            <p:ph type="body" sz="quarter" idx="29"/>
          </p:nvPr>
        </p:nvSpPr>
        <p:spPr>
          <a:xfrm>
            <a:off x="606471"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59" name="Text Placeholder 4">
            <a:extLst>
              <a:ext uri="{FF2B5EF4-FFF2-40B4-BE49-F238E27FC236}">
                <a16:creationId xmlns:a16="http://schemas.microsoft.com/office/drawing/2014/main" id="{7F661011-0524-7D80-F0B1-7EB66B450ADE}"/>
              </a:ext>
            </a:extLst>
          </p:cNvPr>
          <p:cNvSpPr>
            <a:spLocks noGrp="1"/>
          </p:cNvSpPr>
          <p:nvPr>
            <p:ph type="body" sz="quarter" idx="30"/>
          </p:nvPr>
        </p:nvSpPr>
        <p:spPr>
          <a:xfrm>
            <a:off x="3361059"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0" name="Text Placeholder 4">
            <a:extLst>
              <a:ext uri="{FF2B5EF4-FFF2-40B4-BE49-F238E27FC236}">
                <a16:creationId xmlns:a16="http://schemas.microsoft.com/office/drawing/2014/main" id="{5F501377-4DE1-C96B-B5CB-4675C424B7FF}"/>
              </a:ext>
            </a:extLst>
          </p:cNvPr>
          <p:cNvSpPr>
            <a:spLocks noGrp="1"/>
          </p:cNvSpPr>
          <p:nvPr>
            <p:ph type="body" sz="quarter" idx="31"/>
          </p:nvPr>
        </p:nvSpPr>
        <p:spPr>
          <a:xfrm>
            <a:off x="6100140"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1" name="Text Placeholder 4">
            <a:extLst>
              <a:ext uri="{FF2B5EF4-FFF2-40B4-BE49-F238E27FC236}">
                <a16:creationId xmlns:a16="http://schemas.microsoft.com/office/drawing/2014/main" id="{71120A03-3A4D-1301-C17A-86C4C1605881}"/>
              </a:ext>
            </a:extLst>
          </p:cNvPr>
          <p:cNvSpPr>
            <a:spLocks noGrp="1"/>
          </p:cNvSpPr>
          <p:nvPr>
            <p:ph type="body" sz="quarter" idx="32"/>
          </p:nvPr>
        </p:nvSpPr>
        <p:spPr>
          <a:xfrm>
            <a:off x="8848429"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538593323"/>
      </p:ext>
    </p:extLst>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Timeline/Milestones x5">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graphicFrame>
        <p:nvGraphicFramePr>
          <p:cNvPr id="48" name="Table 47">
            <a:extLst>
              <a:ext uri="{FF2B5EF4-FFF2-40B4-BE49-F238E27FC236}">
                <a16:creationId xmlns:a16="http://schemas.microsoft.com/office/drawing/2014/main" id="{B7F29198-E920-459C-2862-C2C7FB6FEB65}"/>
              </a:ext>
            </a:extLst>
          </p:cNvPr>
          <p:cNvGraphicFramePr>
            <a:graphicFrameLocks noGrp="1"/>
          </p:cNvGraphicFramePr>
          <p:nvPr userDrawn="1">
            <p:extLst>
              <p:ext uri="{D42A27DB-BD31-4B8C-83A1-F6EECF244321}">
                <p14:modId xmlns:p14="http://schemas.microsoft.com/office/powerpoint/2010/main" val="1495489908"/>
              </p:ext>
            </p:extLst>
          </p:nvPr>
        </p:nvGraphicFramePr>
        <p:xfrm>
          <a:off x="606585" y="2265316"/>
          <a:ext cx="11007610" cy="3618719"/>
        </p:xfrm>
        <a:graphic>
          <a:graphicData uri="http://schemas.openxmlformats.org/drawingml/2006/table">
            <a:tbl>
              <a:tblPr bandCol="1">
                <a:tableStyleId>{2D5ABB26-0587-4C30-8999-92F81FD0307C}</a:tableStyleId>
              </a:tblPr>
              <a:tblGrid>
                <a:gridCol w="2201522">
                  <a:extLst>
                    <a:ext uri="{9D8B030D-6E8A-4147-A177-3AD203B41FA5}">
                      <a16:colId xmlns:a16="http://schemas.microsoft.com/office/drawing/2014/main" val="4151945498"/>
                    </a:ext>
                  </a:extLst>
                </a:gridCol>
                <a:gridCol w="2201522">
                  <a:extLst>
                    <a:ext uri="{9D8B030D-6E8A-4147-A177-3AD203B41FA5}">
                      <a16:colId xmlns:a16="http://schemas.microsoft.com/office/drawing/2014/main" val="1382627474"/>
                    </a:ext>
                  </a:extLst>
                </a:gridCol>
                <a:gridCol w="2201522">
                  <a:extLst>
                    <a:ext uri="{9D8B030D-6E8A-4147-A177-3AD203B41FA5}">
                      <a16:colId xmlns:a16="http://schemas.microsoft.com/office/drawing/2014/main" val="2312284562"/>
                    </a:ext>
                  </a:extLst>
                </a:gridCol>
                <a:gridCol w="2201522">
                  <a:extLst>
                    <a:ext uri="{9D8B030D-6E8A-4147-A177-3AD203B41FA5}">
                      <a16:colId xmlns:a16="http://schemas.microsoft.com/office/drawing/2014/main" val="380964293"/>
                    </a:ext>
                  </a:extLst>
                </a:gridCol>
                <a:gridCol w="2201522">
                  <a:extLst>
                    <a:ext uri="{9D8B030D-6E8A-4147-A177-3AD203B41FA5}">
                      <a16:colId xmlns:a16="http://schemas.microsoft.com/office/drawing/2014/main" val="2456329606"/>
                    </a:ext>
                  </a:extLst>
                </a:gridCol>
              </a:tblGrid>
              <a:tr h="3618719">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noFill/>
                  </a:tcPr>
                </a:tc>
                <a:extLst>
                  <a:ext uri="{0D108BD9-81ED-4DB2-BD59-A6C34878D82A}">
                    <a16:rowId xmlns:a16="http://schemas.microsoft.com/office/drawing/2014/main" val="3469904028"/>
                  </a:ext>
                </a:extLst>
              </a:tr>
            </a:tbl>
          </a:graphicData>
        </a:graphic>
      </p:graphicFrame>
      <p:sp>
        <p:nvSpPr>
          <p:cNvPr id="49" name="object 14">
            <a:extLst>
              <a:ext uri="{FF2B5EF4-FFF2-40B4-BE49-F238E27FC236}">
                <a16:creationId xmlns:a16="http://schemas.microsoft.com/office/drawing/2014/main" id="{A52E1F34-96C7-3C86-48A7-FAB9C405C20B}"/>
              </a:ext>
            </a:extLst>
          </p:cNvPr>
          <p:cNvSpPr/>
          <p:nvPr userDrawn="1"/>
        </p:nvSpPr>
        <p:spPr>
          <a:xfrm>
            <a:off x="577805" y="2265316"/>
            <a:ext cx="11042014" cy="0"/>
          </a:xfrm>
          <a:custGeom>
            <a:avLst/>
            <a:gdLst/>
            <a:ahLst/>
            <a:cxnLst/>
            <a:rect l="l" t="t" r="r" b="b"/>
            <a:pathLst>
              <a:path w="18209260">
                <a:moveTo>
                  <a:pt x="0" y="0"/>
                </a:moveTo>
                <a:lnTo>
                  <a:pt x="18208869" y="0"/>
                </a:lnTo>
              </a:path>
            </a:pathLst>
          </a:custGeom>
          <a:ln w="9525">
            <a:solidFill>
              <a:schemeClr val="bg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7"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1" name="Oval 50">
            <a:extLst>
              <a:ext uri="{FF2B5EF4-FFF2-40B4-BE49-F238E27FC236}">
                <a16:creationId xmlns:a16="http://schemas.microsoft.com/office/drawing/2014/main" id="{47D58FC1-83B9-3BAD-C3EF-06E8D5DE120F}"/>
              </a:ext>
            </a:extLst>
          </p:cNvPr>
          <p:cNvSpPr>
            <a:spLocks noChangeAspect="1"/>
          </p:cNvSpPr>
          <p:nvPr userDrawn="1"/>
        </p:nvSpPr>
        <p:spPr>
          <a:xfrm>
            <a:off x="2892295"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7" y="1805995"/>
            <a:ext cx="2217229"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5" name="Text Placeholder 71">
            <a:extLst>
              <a:ext uri="{FF2B5EF4-FFF2-40B4-BE49-F238E27FC236}">
                <a16:creationId xmlns:a16="http://schemas.microsoft.com/office/drawing/2014/main" id="{799F0539-8B24-4E4B-EF4C-121B551D8BA3}"/>
              </a:ext>
            </a:extLst>
          </p:cNvPr>
          <p:cNvSpPr>
            <a:spLocks noGrp="1"/>
          </p:cNvSpPr>
          <p:nvPr>
            <p:ph type="body" sz="quarter" idx="16" hasCustomPrompt="1"/>
          </p:nvPr>
        </p:nvSpPr>
        <p:spPr>
          <a:xfrm>
            <a:off x="2789882" y="1805995"/>
            <a:ext cx="2200300"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8" name="Text Placeholder 4">
            <a:extLst>
              <a:ext uri="{FF2B5EF4-FFF2-40B4-BE49-F238E27FC236}">
                <a16:creationId xmlns:a16="http://schemas.microsoft.com/office/drawing/2014/main" id="{0FE60C61-D20F-0DE2-38DC-62D2FAD38472}"/>
              </a:ext>
            </a:extLst>
          </p:cNvPr>
          <p:cNvSpPr>
            <a:spLocks noGrp="1"/>
          </p:cNvSpPr>
          <p:nvPr>
            <p:ph type="body" sz="quarter" idx="29"/>
          </p:nvPr>
        </p:nvSpPr>
        <p:spPr>
          <a:xfrm>
            <a:off x="606471" y="2567720"/>
            <a:ext cx="2193481"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59" name="Text Placeholder 4">
            <a:extLst>
              <a:ext uri="{FF2B5EF4-FFF2-40B4-BE49-F238E27FC236}">
                <a16:creationId xmlns:a16="http://schemas.microsoft.com/office/drawing/2014/main" id="{7F661011-0524-7D80-F0B1-7EB66B450ADE}"/>
              </a:ext>
            </a:extLst>
          </p:cNvPr>
          <p:cNvSpPr>
            <a:spLocks noGrp="1"/>
          </p:cNvSpPr>
          <p:nvPr>
            <p:ph type="body" sz="quarter" idx="30"/>
          </p:nvPr>
        </p:nvSpPr>
        <p:spPr>
          <a:xfrm>
            <a:off x="2806338" y="2567720"/>
            <a:ext cx="2193482"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3" name="Oval 22">
            <a:extLst>
              <a:ext uri="{FF2B5EF4-FFF2-40B4-BE49-F238E27FC236}">
                <a16:creationId xmlns:a16="http://schemas.microsoft.com/office/drawing/2014/main" id="{52428D8F-1413-2F6F-66F0-EA64E72C6F19}"/>
              </a:ext>
            </a:extLst>
          </p:cNvPr>
          <p:cNvSpPr>
            <a:spLocks noChangeAspect="1"/>
          </p:cNvSpPr>
          <p:nvPr userDrawn="1"/>
        </p:nvSpPr>
        <p:spPr>
          <a:xfrm>
            <a:off x="5108619"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24" name="Text Placeholder 71">
            <a:extLst>
              <a:ext uri="{FF2B5EF4-FFF2-40B4-BE49-F238E27FC236}">
                <a16:creationId xmlns:a16="http://schemas.microsoft.com/office/drawing/2014/main" id="{ED2B6425-619B-AFAF-1CF5-12D51DA09538}"/>
              </a:ext>
            </a:extLst>
          </p:cNvPr>
          <p:cNvSpPr>
            <a:spLocks noGrp="1"/>
          </p:cNvSpPr>
          <p:nvPr>
            <p:ph type="body" sz="quarter" idx="33" hasCustomPrompt="1"/>
          </p:nvPr>
        </p:nvSpPr>
        <p:spPr>
          <a:xfrm>
            <a:off x="5006206" y="1805995"/>
            <a:ext cx="2200300"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25" name="Text Placeholder 4">
            <a:extLst>
              <a:ext uri="{FF2B5EF4-FFF2-40B4-BE49-F238E27FC236}">
                <a16:creationId xmlns:a16="http://schemas.microsoft.com/office/drawing/2014/main" id="{42048595-A0EA-7BB4-A2D8-622DB0779CAC}"/>
              </a:ext>
            </a:extLst>
          </p:cNvPr>
          <p:cNvSpPr>
            <a:spLocks noGrp="1"/>
          </p:cNvSpPr>
          <p:nvPr>
            <p:ph type="body" sz="quarter" idx="34"/>
          </p:nvPr>
        </p:nvSpPr>
        <p:spPr>
          <a:xfrm>
            <a:off x="5022662" y="2567720"/>
            <a:ext cx="2193482"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Oval 25">
            <a:extLst>
              <a:ext uri="{FF2B5EF4-FFF2-40B4-BE49-F238E27FC236}">
                <a16:creationId xmlns:a16="http://schemas.microsoft.com/office/drawing/2014/main" id="{E31A4FAF-CCB7-1F56-BEE2-622CF1A54FAB}"/>
              </a:ext>
            </a:extLst>
          </p:cNvPr>
          <p:cNvSpPr>
            <a:spLocks noChangeAspect="1"/>
          </p:cNvSpPr>
          <p:nvPr userDrawn="1"/>
        </p:nvSpPr>
        <p:spPr>
          <a:xfrm>
            <a:off x="7304231"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27" name="Text Placeholder 71">
            <a:extLst>
              <a:ext uri="{FF2B5EF4-FFF2-40B4-BE49-F238E27FC236}">
                <a16:creationId xmlns:a16="http://schemas.microsoft.com/office/drawing/2014/main" id="{AD33553F-FF2E-A084-58B1-CABD32043C6D}"/>
              </a:ext>
            </a:extLst>
          </p:cNvPr>
          <p:cNvSpPr>
            <a:spLocks noGrp="1"/>
          </p:cNvSpPr>
          <p:nvPr>
            <p:ph type="body" sz="quarter" idx="35" hasCustomPrompt="1"/>
          </p:nvPr>
        </p:nvSpPr>
        <p:spPr>
          <a:xfrm>
            <a:off x="7201818" y="1805995"/>
            <a:ext cx="2200300"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28" name="Text Placeholder 4">
            <a:extLst>
              <a:ext uri="{FF2B5EF4-FFF2-40B4-BE49-F238E27FC236}">
                <a16:creationId xmlns:a16="http://schemas.microsoft.com/office/drawing/2014/main" id="{E55650A2-C067-405B-1B74-AC970B406C55}"/>
              </a:ext>
            </a:extLst>
          </p:cNvPr>
          <p:cNvSpPr>
            <a:spLocks noGrp="1"/>
          </p:cNvSpPr>
          <p:nvPr>
            <p:ph type="body" sz="quarter" idx="36"/>
          </p:nvPr>
        </p:nvSpPr>
        <p:spPr>
          <a:xfrm>
            <a:off x="7218274" y="2567720"/>
            <a:ext cx="2193482"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9" name="Oval 28">
            <a:extLst>
              <a:ext uri="{FF2B5EF4-FFF2-40B4-BE49-F238E27FC236}">
                <a16:creationId xmlns:a16="http://schemas.microsoft.com/office/drawing/2014/main" id="{965D2802-7493-9694-05E4-80CC2EF9B231}"/>
              </a:ext>
            </a:extLst>
          </p:cNvPr>
          <p:cNvSpPr>
            <a:spLocks noChangeAspect="1"/>
          </p:cNvSpPr>
          <p:nvPr userDrawn="1"/>
        </p:nvSpPr>
        <p:spPr>
          <a:xfrm>
            <a:off x="9512554"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30" name="Text Placeholder 71">
            <a:extLst>
              <a:ext uri="{FF2B5EF4-FFF2-40B4-BE49-F238E27FC236}">
                <a16:creationId xmlns:a16="http://schemas.microsoft.com/office/drawing/2014/main" id="{71110D7A-CD1D-2C97-57A0-9A17C8D3134A}"/>
              </a:ext>
            </a:extLst>
          </p:cNvPr>
          <p:cNvSpPr>
            <a:spLocks noGrp="1"/>
          </p:cNvSpPr>
          <p:nvPr>
            <p:ph type="body" sz="quarter" idx="37" hasCustomPrompt="1"/>
          </p:nvPr>
        </p:nvSpPr>
        <p:spPr>
          <a:xfrm>
            <a:off x="9410141" y="1805995"/>
            <a:ext cx="2200300"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31" name="Text Placeholder 4">
            <a:extLst>
              <a:ext uri="{FF2B5EF4-FFF2-40B4-BE49-F238E27FC236}">
                <a16:creationId xmlns:a16="http://schemas.microsoft.com/office/drawing/2014/main" id="{4E1F3181-D3F3-3AA6-E3A7-A60D86BCE4F3}"/>
              </a:ext>
            </a:extLst>
          </p:cNvPr>
          <p:cNvSpPr>
            <a:spLocks noGrp="1"/>
          </p:cNvSpPr>
          <p:nvPr>
            <p:ph type="body" sz="quarter" idx="38"/>
          </p:nvPr>
        </p:nvSpPr>
        <p:spPr>
          <a:xfrm>
            <a:off x="9426597" y="2567720"/>
            <a:ext cx="2193482"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2296439594"/>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Timeline/Milestones x6">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graphicFrame>
        <p:nvGraphicFramePr>
          <p:cNvPr id="48" name="Table 47">
            <a:extLst>
              <a:ext uri="{FF2B5EF4-FFF2-40B4-BE49-F238E27FC236}">
                <a16:creationId xmlns:a16="http://schemas.microsoft.com/office/drawing/2014/main" id="{B7F29198-E920-459C-2862-C2C7FB6FEB65}"/>
              </a:ext>
            </a:extLst>
          </p:cNvPr>
          <p:cNvGraphicFramePr>
            <a:graphicFrameLocks noGrp="1"/>
          </p:cNvGraphicFramePr>
          <p:nvPr userDrawn="1">
            <p:extLst>
              <p:ext uri="{D42A27DB-BD31-4B8C-83A1-F6EECF244321}">
                <p14:modId xmlns:p14="http://schemas.microsoft.com/office/powerpoint/2010/main" val="3220648469"/>
              </p:ext>
            </p:extLst>
          </p:nvPr>
        </p:nvGraphicFramePr>
        <p:xfrm>
          <a:off x="577178" y="2265316"/>
          <a:ext cx="11007612" cy="3618719"/>
        </p:xfrm>
        <a:graphic>
          <a:graphicData uri="http://schemas.openxmlformats.org/drawingml/2006/table">
            <a:tbl>
              <a:tblPr bandCol="1">
                <a:tableStyleId>{2D5ABB26-0587-4C30-8999-92F81FD0307C}</a:tableStyleId>
              </a:tblPr>
              <a:tblGrid>
                <a:gridCol w="1834602">
                  <a:extLst>
                    <a:ext uri="{9D8B030D-6E8A-4147-A177-3AD203B41FA5}">
                      <a16:colId xmlns:a16="http://schemas.microsoft.com/office/drawing/2014/main" val="4151945498"/>
                    </a:ext>
                  </a:extLst>
                </a:gridCol>
                <a:gridCol w="1834602">
                  <a:extLst>
                    <a:ext uri="{9D8B030D-6E8A-4147-A177-3AD203B41FA5}">
                      <a16:colId xmlns:a16="http://schemas.microsoft.com/office/drawing/2014/main" val="1382627474"/>
                    </a:ext>
                  </a:extLst>
                </a:gridCol>
                <a:gridCol w="1834602">
                  <a:extLst>
                    <a:ext uri="{9D8B030D-6E8A-4147-A177-3AD203B41FA5}">
                      <a16:colId xmlns:a16="http://schemas.microsoft.com/office/drawing/2014/main" val="2312284562"/>
                    </a:ext>
                  </a:extLst>
                </a:gridCol>
                <a:gridCol w="1834602">
                  <a:extLst>
                    <a:ext uri="{9D8B030D-6E8A-4147-A177-3AD203B41FA5}">
                      <a16:colId xmlns:a16="http://schemas.microsoft.com/office/drawing/2014/main" val="380964293"/>
                    </a:ext>
                  </a:extLst>
                </a:gridCol>
                <a:gridCol w="1834602">
                  <a:extLst>
                    <a:ext uri="{9D8B030D-6E8A-4147-A177-3AD203B41FA5}">
                      <a16:colId xmlns:a16="http://schemas.microsoft.com/office/drawing/2014/main" val="2456329606"/>
                    </a:ext>
                  </a:extLst>
                </a:gridCol>
                <a:gridCol w="1834602">
                  <a:extLst>
                    <a:ext uri="{9D8B030D-6E8A-4147-A177-3AD203B41FA5}">
                      <a16:colId xmlns:a16="http://schemas.microsoft.com/office/drawing/2014/main" val="2168740535"/>
                    </a:ext>
                  </a:extLst>
                </a:gridCol>
              </a:tblGrid>
              <a:tr h="3618719">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extLst>
                  <a:ext uri="{0D108BD9-81ED-4DB2-BD59-A6C34878D82A}">
                    <a16:rowId xmlns:a16="http://schemas.microsoft.com/office/drawing/2014/main" val="3469904028"/>
                  </a:ext>
                </a:extLst>
              </a:tr>
            </a:tbl>
          </a:graphicData>
        </a:graphic>
      </p:graphicFrame>
      <p:sp>
        <p:nvSpPr>
          <p:cNvPr id="49" name="object 14">
            <a:extLst>
              <a:ext uri="{FF2B5EF4-FFF2-40B4-BE49-F238E27FC236}">
                <a16:creationId xmlns:a16="http://schemas.microsoft.com/office/drawing/2014/main" id="{A52E1F34-96C7-3C86-48A7-FAB9C405C20B}"/>
              </a:ext>
            </a:extLst>
          </p:cNvPr>
          <p:cNvSpPr/>
          <p:nvPr userDrawn="1"/>
        </p:nvSpPr>
        <p:spPr>
          <a:xfrm>
            <a:off x="577805" y="2265315"/>
            <a:ext cx="11006985" cy="45719"/>
          </a:xfrm>
          <a:custGeom>
            <a:avLst/>
            <a:gdLst/>
            <a:ahLst/>
            <a:cxnLst/>
            <a:rect l="l" t="t" r="r" b="b"/>
            <a:pathLst>
              <a:path w="18209260">
                <a:moveTo>
                  <a:pt x="0" y="0"/>
                </a:moveTo>
                <a:lnTo>
                  <a:pt x="18208869" y="0"/>
                </a:lnTo>
              </a:path>
            </a:pathLst>
          </a:custGeom>
          <a:ln w="9525">
            <a:solidFill>
              <a:schemeClr val="bg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7"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7"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8" name="Text Placeholder 4">
            <a:extLst>
              <a:ext uri="{FF2B5EF4-FFF2-40B4-BE49-F238E27FC236}">
                <a16:creationId xmlns:a16="http://schemas.microsoft.com/office/drawing/2014/main" id="{0FE60C61-D20F-0DE2-38DC-62D2FAD38472}"/>
              </a:ext>
            </a:extLst>
          </p:cNvPr>
          <p:cNvSpPr>
            <a:spLocks noGrp="1"/>
          </p:cNvSpPr>
          <p:nvPr>
            <p:ph type="body" sz="quarter" idx="29"/>
          </p:nvPr>
        </p:nvSpPr>
        <p:spPr>
          <a:xfrm>
            <a:off x="577178"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2" name="Oval 61">
            <a:extLst>
              <a:ext uri="{FF2B5EF4-FFF2-40B4-BE49-F238E27FC236}">
                <a16:creationId xmlns:a16="http://schemas.microsoft.com/office/drawing/2014/main" id="{178D6D93-FD32-F6AE-2A57-61C348C02B3E}"/>
              </a:ext>
            </a:extLst>
          </p:cNvPr>
          <p:cNvSpPr>
            <a:spLocks noChangeAspect="1"/>
          </p:cNvSpPr>
          <p:nvPr userDrawn="1"/>
        </p:nvSpPr>
        <p:spPr>
          <a:xfrm>
            <a:off x="2515019"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63" name="Text Placeholder 71">
            <a:extLst>
              <a:ext uri="{FF2B5EF4-FFF2-40B4-BE49-F238E27FC236}">
                <a16:creationId xmlns:a16="http://schemas.microsoft.com/office/drawing/2014/main" id="{21AE5853-8A99-8A93-1D01-2F7FCE23E3DD}"/>
              </a:ext>
            </a:extLst>
          </p:cNvPr>
          <p:cNvSpPr>
            <a:spLocks noGrp="1"/>
          </p:cNvSpPr>
          <p:nvPr>
            <p:ph type="body" sz="quarter" idx="30" hasCustomPrompt="1"/>
          </p:nvPr>
        </p:nvSpPr>
        <p:spPr>
          <a:xfrm>
            <a:off x="2411179"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64" name="Text Placeholder 4">
            <a:extLst>
              <a:ext uri="{FF2B5EF4-FFF2-40B4-BE49-F238E27FC236}">
                <a16:creationId xmlns:a16="http://schemas.microsoft.com/office/drawing/2014/main" id="{1AA430BA-739B-1F40-97FF-53B14467EF88}"/>
              </a:ext>
            </a:extLst>
          </p:cNvPr>
          <p:cNvSpPr>
            <a:spLocks noGrp="1"/>
          </p:cNvSpPr>
          <p:nvPr>
            <p:ph type="body" sz="quarter" idx="31"/>
          </p:nvPr>
        </p:nvSpPr>
        <p:spPr>
          <a:xfrm>
            <a:off x="2411180"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5" name="Oval 64">
            <a:extLst>
              <a:ext uri="{FF2B5EF4-FFF2-40B4-BE49-F238E27FC236}">
                <a16:creationId xmlns:a16="http://schemas.microsoft.com/office/drawing/2014/main" id="{DC0E5BE5-8378-48E2-C8D1-F22E49536780}"/>
              </a:ext>
            </a:extLst>
          </p:cNvPr>
          <p:cNvSpPr>
            <a:spLocks noChangeAspect="1"/>
          </p:cNvSpPr>
          <p:nvPr userDrawn="1"/>
        </p:nvSpPr>
        <p:spPr>
          <a:xfrm>
            <a:off x="4364033"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66" name="Text Placeholder 71">
            <a:extLst>
              <a:ext uri="{FF2B5EF4-FFF2-40B4-BE49-F238E27FC236}">
                <a16:creationId xmlns:a16="http://schemas.microsoft.com/office/drawing/2014/main" id="{DDCEF4C9-0B45-4A5E-2D03-31D3672575C4}"/>
              </a:ext>
            </a:extLst>
          </p:cNvPr>
          <p:cNvSpPr>
            <a:spLocks noGrp="1"/>
          </p:cNvSpPr>
          <p:nvPr>
            <p:ph type="body" sz="quarter" idx="32" hasCustomPrompt="1"/>
          </p:nvPr>
        </p:nvSpPr>
        <p:spPr>
          <a:xfrm>
            <a:off x="4260193"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67" name="Text Placeholder 4">
            <a:extLst>
              <a:ext uri="{FF2B5EF4-FFF2-40B4-BE49-F238E27FC236}">
                <a16:creationId xmlns:a16="http://schemas.microsoft.com/office/drawing/2014/main" id="{B994265A-DDDF-4B03-8D82-FB42EFBCBCE6}"/>
              </a:ext>
            </a:extLst>
          </p:cNvPr>
          <p:cNvSpPr>
            <a:spLocks noGrp="1"/>
          </p:cNvSpPr>
          <p:nvPr>
            <p:ph type="body" sz="quarter" idx="33"/>
          </p:nvPr>
        </p:nvSpPr>
        <p:spPr>
          <a:xfrm>
            <a:off x="4260194"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8" name="Oval 67">
            <a:extLst>
              <a:ext uri="{FF2B5EF4-FFF2-40B4-BE49-F238E27FC236}">
                <a16:creationId xmlns:a16="http://schemas.microsoft.com/office/drawing/2014/main" id="{0F31CF81-312F-837D-5714-92C7014354C5}"/>
              </a:ext>
            </a:extLst>
          </p:cNvPr>
          <p:cNvSpPr>
            <a:spLocks noChangeAspect="1"/>
          </p:cNvSpPr>
          <p:nvPr userDrawn="1"/>
        </p:nvSpPr>
        <p:spPr>
          <a:xfrm>
            <a:off x="6199839"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69" name="Text Placeholder 71">
            <a:extLst>
              <a:ext uri="{FF2B5EF4-FFF2-40B4-BE49-F238E27FC236}">
                <a16:creationId xmlns:a16="http://schemas.microsoft.com/office/drawing/2014/main" id="{62AEAA69-3020-A0FF-5608-7AFD7A5D2986}"/>
              </a:ext>
            </a:extLst>
          </p:cNvPr>
          <p:cNvSpPr>
            <a:spLocks noGrp="1"/>
          </p:cNvSpPr>
          <p:nvPr>
            <p:ph type="body" sz="quarter" idx="34" hasCustomPrompt="1"/>
          </p:nvPr>
        </p:nvSpPr>
        <p:spPr>
          <a:xfrm>
            <a:off x="6095999"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70" name="Text Placeholder 4">
            <a:extLst>
              <a:ext uri="{FF2B5EF4-FFF2-40B4-BE49-F238E27FC236}">
                <a16:creationId xmlns:a16="http://schemas.microsoft.com/office/drawing/2014/main" id="{79626162-0EE9-3BA8-0CDF-67028FE32F18}"/>
              </a:ext>
            </a:extLst>
          </p:cNvPr>
          <p:cNvSpPr>
            <a:spLocks noGrp="1"/>
          </p:cNvSpPr>
          <p:nvPr>
            <p:ph type="body" sz="quarter" idx="35"/>
          </p:nvPr>
        </p:nvSpPr>
        <p:spPr>
          <a:xfrm>
            <a:off x="6096000"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71" name="Oval 70">
            <a:extLst>
              <a:ext uri="{FF2B5EF4-FFF2-40B4-BE49-F238E27FC236}">
                <a16:creationId xmlns:a16="http://schemas.microsoft.com/office/drawing/2014/main" id="{D4AB8F32-B492-2CD9-826C-E5C5378592C9}"/>
              </a:ext>
            </a:extLst>
          </p:cNvPr>
          <p:cNvSpPr>
            <a:spLocks noChangeAspect="1"/>
          </p:cNvSpPr>
          <p:nvPr userDrawn="1"/>
        </p:nvSpPr>
        <p:spPr>
          <a:xfrm>
            <a:off x="8035644"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72" name="Text Placeholder 71">
            <a:extLst>
              <a:ext uri="{FF2B5EF4-FFF2-40B4-BE49-F238E27FC236}">
                <a16:creationId xmlns:a16="http://schemas.microsoft.com/office/drawing/2014/main" id="{3F1D7A91-7111-6E5C-279C-1B1D96950821}"/>
              </a:ext>
            </a:extLst>
          </p:cNvPr>
          <p:cNvSpPr>
            <a:spLocks noGrp="1"/>
          </p:cNvSpPr>
          <p:nvPr>
            <p:ph type="body" sz="quarter" idx="36" hasCustomPrompt="1"/>
          </p:nvPr>
        </p:nvSpPr>
        <p:spPr>
          <a:xfrm>
            <a:off x="7931804"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73" name="Text Placeholder 4">
            <a:extLst>
              <a:ext uri="{FF2B5EF4-FFF2-40B4-BE49-F238E27FC236}">
                <a16:creationId xmlns:a16="http://schemas.microsoft.com/office/drawing/2014/main" id="{0E2562B9-545B-AF00-D9F9-44E167A11B93}"/>
              </a:ext>
            </a:extLst>
          </p:cNvPr>
          <p:cNvSpPr>
            <a:spLocks noGrp="1"/>
          </p:cNvSpPr>
          <p:nvPr>
            <p:ph type="body" sz="quarter" idx="37"/>
          </p:nvPr>
        </p:nvSpPr>
        <p:spPr>
          <a:xfrm>
            <a:off x="7931805"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74" name="Oval 73">
            <a:extLst>
              <a:ext uri="{FF2B5EF4-FFF2-40B4-BE49-F238E27FC236}">
                <a16:creationId xmlns:a16="http://schemas.microsoft.com/office/drawing/2014/main" id="{A45C6367-A74F-1C2C-672E-F2E6078D3C68}"/>
              </a:ext>
            </a:extLst>
          </p:cNvPr>
          <p:cNvSpPr>
            <a:spLocks noChangeAspect="1"/>
          </p:cNvSpPr>
          <p:nvPr userDrawn="1"/>
        </p:nvSpPr>
        <p:spPr>
          <a:xfrm>
            <a:off x="9847196"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75" name="Text Placeholder 71">
            <a:extLst>
              <a:ext uri="{FF2B5EF4-FFF2-40B4-BE49-F238E27FC236}">
                <a16:creationId xmlns:a16="http://schemas.microsoft.com/office/drawing/2014/main" id="{5865903F-F98B-94C0-7563-3A297E41DA2E}"/>
              </a:ext>
            </a:extLst>
          </p:cNvPr>
          <p:cNvSpPr>
            <a:spLocks noGrp="1"/>
          </p:cNvSpPr>
          <p:nvPr>
            <p:ph type="body" sz="quarter" idx="38" hasCustomPrompt="1"/>
          </p:nvPr>
        </p:nvSpPr>
        <p:spPr>
          <a:xfrm>
            <a:off x="9743356"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76" name="Text Placeholder 4">
            <a:extLst>
              <a:ext uri="{FF2B5EF4-FFF2-40B4-BE49-F238E27FC236}">
                <a16:creationId xmlns:a16="http://schemas.microsoft.com/office/drawing/2014/main" id="{CAB912CE-814A-19EE-2402-D55C72FA588E}"/>
              </a:ext>
            </a:extLst>
          </p:cNvPr>
          <p:cNvSpPr>
            <a:spLocks noGrp="1"/>
          </p:cNvSpPr>
          <p:nvPr>
            <p:ph type="body" sz="quarter" idx="39"/>
          </p:nvPr>
        </p:nvSpPr>
        <p:spPr>
          <a:xfrm>
            <a:off x="9743357"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4146991331"/>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Annual Timeline">
    <p:spTree>
      <p:nvGrpSpPr>
        <p:cNvPr id="1" name=""/>
        <p:cNvGrpSpPr/>
        <p:nvPr/>
      </p:nvGrpSpPr>
      <p:grpSpPr>
        <a:xfrm>
          <a:off x="0" y="0"/>
          <a:ext cx="0" cy="0"/>
          <a:chOff x="0" y="0"/>
          <a:chExt cx="0" cy="0"/>
        </a:xfrm>
      </p:grpSpPr>
      <p:graphicFrame>
        <p:nvGraphicFramePr>
          <p:cNvPr id="30" name="Table 29">
            <a:extLst>
              <a:ext uri="{FF2B5EF4-FFF2-40B4-BE49-F238E27FC236}">
                <a16:creationId xmlns:a16="http://schemas.microsoft.com/office/drawing/2014/main" id="{803BAA2C-9254-B18D-A058-251E52C66E89}"/>
              </a:ext>
            </a:extLst>
          </p:cNvPr>
          <p:cNvGraphicFramePr>
            <a:graphicFrameLocks noGrp="1"/>
          </p:cNvGraphicFramePr>
          <p:nvPr userDrawn="1">
            <p:extLst>
              <p:ext uri="{D42A27DB-BD31-4B8C-83A1-F6EECF244321}">
                <p14:modId xmlns:p14="http://schemas.microsoft.com/office/powerpoint/2010/main" val="4106880639"/>
              </p:ext>
            </p:extLst>
          </p:nvPr>
        </p:nvGraphicFramePr>
        <p:xfrm>
          <a:off x="606585" y="2278196"/>
          <a:ext cx="11007612" cy="3618726"/>
        </p:xfrm>
        <a:graphic>
          <a:graphicData uri="http://schemas.openxmlformats.org/drawingml/2006/table">
            <a:tbl>
              <a:tblPr bandCol="1">
                <a:tableStyleId>{2D5ABB26-0587-4C30-8999-92F81FD0307C}</a:tableStyleId>
              </a:tblPr>
              <a:tblGrid>
                <a:gridCol w="917301">
                  <a:extLst>
                    <a:ext uri="{9D8B030D-6E8A-4147-A177-3AD203B41FA5}">
                      <a16:colId xmlns:a16="http://schemas.microsoft.com/office/drawing/2014/main" val="4151945498"/>
                    </a:ext>
                  </a:extLst>
                </a:gridCol>
                <a:gridCol w="917301">
                  <a:extLst>
                    <a:ext uri="{9D8B030D-6E8A-4147-A177-3AD203B41FA5}">
                      <a16:colId xmlns:a16="http://schemas.microsoft.com/office/drawing/2014/main" val="1382627474"/>
                    </a:ext>
                  </a:extLst>
                </a:gridCol>
                <a:gridCol w="917301">
                  <a:extLst>
                    <a:ext uri="{9D8B030D-6E8A-4147-A177-3AD203B41FA5}">
                      <a16:colId xmlns:a16="http://schemas.microsoft.com/office/drawing/2014/main" val="2312284562"/>
                    </a:ext>
                  </a:extLst>
                </a:gridCol>
                <a:gridCol w="917301">
                  <a:extLst>
                    <a:ext uri="{9D8B030D-6E8A-4147-A177-3AD203B41FA5}">
                      <a16:colId xmlns:a16="http://schemas.microsoft.com/office/drawing/2014/main" val="380964293"/>
                    </a:ext>
                  </a:extLst>
                </a:gridCol>
                <a:gridCol w="917301">
                  <a:extLst>
                    <a:ext uri="{9D8B030D-6E8A-4147-A177-3AD203B41FA5}">
                      <a16:colId xmlns:a16="http://schemas.microsoft.com/office/drawing/2014/main" val="2227914870"/>
                    </a:ext>
                  </a:extLst>
                </a:gridCol>
                <a:gridCol w="917301">
                  <a:extLst>
                    <a:ext uri="{9D8B030D-6E8A-4147-A177-3AD203B41FA5}">
                      <a16:colId xmlns:a16="http://schemas.microsoft.com/office/drawing/2014/main" val="2386396939"/>
                    </a:ext>
                  </a:extLst>
                </a:gridCol>
                <a:gridCol w="917301">
                  <a:extLst>
                    <a:ext uri="{9D8B030D-6E8A-4147-A177-3AD203B41FA5}">
                      <a16:colId xmlns:a16="http://schemas.microsoft.com/office/drawing/2014/main" val="1442862435"/>
                    </a:ext>
                  </a:extLst>
                </a:gridCol>
                <a:gridCol w="917301">
                  <a:extLst>
                    <a:ext uri="{9D8B030D-6E8A-4147-A177-3AD203B41FA5}">
                      <a16:colId xmlns:a16="http://schemas.microsoft.com/office/drawing/2014/main" val="2496167856"/>
                    </a:ext>
                  </a:extLst>
                </a:gridCol>
                <a:gridCol w="917301">
                  <a:extLst>
                    <a:ext uri="{9D8B030D-6E8A-4147-A177-3AD203B41FA5}">
                      <a16:colId xmlns:a16="http://schemas.microsoft.com/office/drawing/2014/main" val="936398145"/>
                    </a:ext>
                  </a:extLst>
                </a:gridCol>
                <a:gridCol w="917301">
                  <a:extLst>
                    <a:ext uri="{9D8B030D-6E8A-4147-A177-3AD203B41FA5}">
                      <a16:colId xmlns:a16="http://schemas.microsoft.com/office/drawing/2014/main" val="3251811526"/>
                    </a:ext>
                  </a:extLst>
                </a:gridCol>
                <a:gridCol w="917301">
                  <a:extLst>
                    <a:ext uri="{9D8B030D-6E8A-4147-A177-3AD203B41FA5}">
                      <a16:colId xmlns:a16="http://schemas.microsoft.com/office/drawing/2014/main" val="2298212362"/>
                    </a:ext>
                  </a:extLst>
                </a:gridCol>
                <a:gridCol w="917301">
                  <a:extLst>
                    <a:ext uri="{9D8B030D-6E8A-4147-A177-3AD203B41FA5}">
                      <a16:colId xmlns:a16="http://schemas.microsoft.com/office/drawing/2014/main" val="1474312375"/>
                    </a:ext>
                  </a:extLst>
                </a:gridCol>
              </a:tblGrid>
              <a:tr h="3618726">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noFill/>
                  </a:tcPr>
                </a:tc>
                <a:extLst>
                  <a:ext uri="{0D108BD9-81ED-4DB2-BD59-A6C34878D82A}">
                    <a16:rowId xmlns:a16="http://schemas.microsoft.com/office/drawing/2014/main" val="3469904028"/>
                  </a:ext>
                </a:extLst>
              </a:tr>
            </a:tbl>
          </a:graphicData>
        </a:graphic>
      </p:graphicFrame>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49" name="object 14">
            <a:extLst>
              <a:ext uri="{FF2B5EF4-FFF2-40B4-BE49-F238E27FC236}">
                <a16:creationId xmlns:a16="http://schemas.microsoft.com/office/drawing/2014/main" id="{A52E1F34-96C7-3C86-48A7-FAB9C405C20B}"/>
              </a:ext>
            </a:extLst>
          </p:cNvPr>
          <p:cNvSpPr/>
          <p:nvPr userDrawn="1"/>
        </p:nvSpPr>
        <p:spPr>
          <a:xfrm>
            <a:off x="577805" y="2278195"/>
            <a:ext cx="11036388" cy="45719"/>
          </a:xfrm>
          <a:custGeom>
            <a:avLst/>
            <a:gdLst/>
            <a:ahLst/>
            <a:cxnLst/>
            <a:rect l="l" t="t" r="r" b="b"/>
            <a:pathLst>
              <a:path w="18209260">
                <a:moveTo>
                  <a:pt x="0" y="0"/>
                </a:moveTo>
                <a:lnTo>
                  <a:pt x="18208869" y="0"/>
                </a:lnTo>
              </a:path>
            </a:pathLst>
          </a:custGeom>
          <a:ln w="9525">
            <a:solidFill>
              <a:schemeClr val="tx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7"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1" name="Oval 50">
            <a:extLst>
              <a:ext uri="{FF2B5EF4-FFF2-40B4-BE49-F238E27FC236}">
                <a16:creationId xmlns:a16="http://schemas.microsoft.com/office/drawing/2014/main" id="{47D58FC1-83B9-3BAD-C3EF-06E8D5DE120F}"/>
              </a:ext>
            </a:extLst>
          </p:cNvPr>
          <p:cNvSpPr>
            <a:spLocks noChangeAspect="1"/>
          </p:cNvSpPr>
          <p:nvPr userDrawn="1"/>
        </p:nvSpPr>
        <p:spPr>
          <a:xfrm>
            <a:off x="3460438"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2" name="Oval 51">
            <a:extLst>
              <a:ext uri="{FF2B5EF4-FFF2-40B4-BE49-F238E27FC236}">
                <a16:creationId xmlns:a16="http://schemas.microsoft.com/office/drawing/2014/main" id="{9D582DFC-3D0D-D5F8-AA6B-5676C8C4B3BF}"/>
              </a:ext>
            </a:extLst>
          </p:cNvPr>
          <p:cNvSpPr>
            <a:spLocks noChangeAspect="1"/>
          </p:cNvSpPr>
          <p:nvPr userDrawn="1"/>
        </p:nvSpPr>
        <p:spPr>
          <a:xfrm>
            <a:off x="6227970"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3" name="Oval 52">
            <a:extLst>
              <a:ext uri="{FF2B5EF4-FFF2-40B4-BE49-F238E27FC236}">
                <a16:creationId xmlns:a16="http://schemas.microsoft.com/office/drawing/2014/main" id="{DF486150-9219-560A-8B4F-FB551F786E68}"/>
              </a:ext>
            </a:extLst>
          </p:cNvPr>
          <p:cNvSpPr>
            <a:spLocks noChangeAspect="1"/>
          </p:cNvSpPr>
          <p:nvPr userDrawn="1"/>
        </p:nvSpPr>
        <p:spPr>
          <a:xfrm>
            <a:off x="8985924"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7" y="1818875"/>
            <a:ext cx="2767426" cy="300442"/>
          </a:xfrm>
        </p:spPr>
        <p:txBody>
          <a:bodyPr lIns="108000" rIns="288000" anchor="b" anchorCtr="0">
            <a:noAutofit/>
          </a:bodyPr>
          <a:lstStyle>
            <a:lvl1pPr>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55" name="Text Placeholder 71">
            <a:extLst>
              <a:ext uri="{FF2B5EF4-FFF2-40B4-BE49-F238E27FC236}">
                <a16:creationId xmlns:a16="http://schemas.microsoft.com/office/drawing/2014/main" id="{799F0539-8B24-4E4B-EF4C-121B551D8BA3}"/>
              </a:ext>
            </a:extLst>
          </p:cNvPr>
          <p:cNvSpPr>
            <a:spLocks noGrp="1"/>
          </p:cNvSpPr>
          <p:nvPr>
            <p:ph type="body" sz="quarter" idx="16" hasCustomPrompt="1"/>
          </p:nvPr>
        </p:nvSpPr>
        <p:spPr>
          <a:xfrm>
            <a:off x="3344603" y="1818875"/>
            <a:ext cx="2746295" cy="300442"/>
          </a:xfrm>
        </p:spPr>
        <p:txBody>
          <a:bodyPr lIns="108000" rIns="288000" anchor="b" anchorCtr="0">
            <a:noAutofit/>
          </a:bodyPr>
          <a:lstStyle>
            <a:lvl1pPr marL="0" marR="0" indent="0" algn="l" defTabSz="914400" rtl="0" eaLnBrk="1" fontAlgn="auto" latinLnBrk="0" hangingPunct="1">
              <a:lnSpc>
                <a:spcPct val="110000"/>
              </a:lnSpc>
              <a:spcBef>
                <a:spcPts val="0"/>
              </a:spcBef>
              <a:spcAft>
                <a:spcPts val="1200"/>
              </a:spcAft>
              <a:buClrTx/>
              <a:buSzTx/>
              <a:buFont typeface="Arial" panose="020B0604020202020204" pitchFamily="34" charset="0"/>
              <a:buNone/>
              <a:tabLst/>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56" name="Text Placeholder 71">
            <a:extLst>
              <a:ext uri="{FF2B5EF4-FFF2-40B4-BE49-F238E27FC236}">
                <a16:creationId xmlns:a16="http://schemas.microsoft.com/office/drawing/2014/main" id="{9DFB2CE5-A177-E72D-3CD4-2646E4DCE502}"/>
              </a:ext>
            </a:extLst>
          </p:cNvPr>
          <p:cNvSpPr>
            <a:spLocks noGrp="1"/>
          </p:cNvSpPr>
          <p:nvPr>
            <p:ph type="body" sz="quarter" idx="18" hasCustomPrompt="1"/>
          </p:nvPr>
        </p:nvSpPr>
        <p:spPr>
          <a:xfrm>
            <a:off x="6100141" y="1818875"/>
            <a:ext cx="2745959" cy="300442"/>
          </a:xfrm>
        </p:spPr>
        <p:txBody>
          <a:bodyPr lIns="108000" rIns="288000" anchor="b" anchorCtr="0">
            <a:noAutofit/>
          </a:bodyPr>
          <a:lstStyle>
            <a:lvl1pPr>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57" name="Text Placeholder 71">
            <a:extLst>
              <a:ext uri="{FF2B5EF4-FFF2-40B4-BE49-F238E27FC236}">
                <a16:creationId xmlns:a16="http://schemas.microsoft.com/office/drawing/2014/main" id="{7A262EC1-F639-E81C-3343-3DA348DA9266}"/>
              </a:ext>
            </a:extLst>
          </p:cNvPr>
          <p:cNvSpPr>
            <a:spLocks noGrp="1"/>
          </p:cNvSpPr>
          <p:nvPr>
            <p:ph type="body" sz="quarter" idx="20" hasCustomPrompt="1"/>
          </p:nvPr>
        </p:nvSpPr>
        <p:spPr>
          <a:xfrm>
            <a:off x="8846100" y="1818875"/>
            <a:ext cx="2773719" cy="300442"/>
          </a:xfrm>
        </p:spPr>
        <p:txBody>
          <a:bodyPr lIns="108000" rIns="288000" anchor="b" anchorCtr="0">
            <a:noAutofit/>
          </a:bodyPr>
          <a:lstStyle>
            <a:lvl1pPr>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23" name="Text Placeholder 2">
            <a:extLst>
              <a:ext uri="{FF2B5EF4-FFF2-40B4-BE49-F238E27FC236}">
                <a16:creationId xmlns:a16="http://schemas.microsoft.com/office/drawing/2014/main" id="{3031F97C-D610-4D45-F78B-D175D9A0E755}"/>
              </a:ext>
            </a:extLst>
          </p:cNvPr>
          <p:cNvSpPr>
            <a:spLocks noGrp="1"/>
          </p:cNvSpPr>
          <p:nvPr>
            <p:ph type="body" sz="quarter" idx="47"/>
          </p:nvPr>
        </p:nvSpPr>
        <p:spPr>
          <a:xfrm>
            <a:off x="3485839" y="2583275"/>
            <a:ext cx="8012329" cy="380567"/>
          </a:xfrm>
          <a:prstGeom prst="roundRect">
            <a:avLst>
              <a:gd name="adj" fmla="val 50000"/>
            </a:avLst>
          </a:prstGeom>
          <a:solidFill>
            <a:srgbClr val="E6E6E6"/>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tx2">
                    <a:lumMod val="50000"/>
                  </a:schemeClr>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4" name="Text Placeholder 2">
            <a:extLst>
              <a:ext uri="{FF2B5EF4-FFF2-40B4-BE49-F238E27FC236}">
                <a16:creationId xmlns:a16="http://schemas.microsoft.com/office/drawing/2014/main" id="{1FF72A2C-EC93-1960-E000-9D1BE3C473D1}"/>
              </a:ext>
            </a:extLst>
          </p:cNvPr>
          <p:cNvSpPr>
            <a:spLocks noGrp="1"/>
          </p:cNvSpPr>
          <p:nvPr>
            <p:ph type="body" sz="quarter" idx="48"/>
          </p:nvPr>
        </p:nvSpPr>
        <p:spPr>
          <a:xfrm>
            <a:off x="718374" y="2588233"/>
            <a:ext cx="2451893" cy="380567"/>
          </a:xfrm>
          <a:prstGeom prst="roundRect">
            <a:avLst>
              <a:gd name="adj" fmla="val 50000"/>
            </a:avLst>
          </a:prstGeom>
          <a:solidFill>
            <a:schemeClr val="bg2"/>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5" name="Text Placeholder 2">
            <a:extLst>
              <a:ext uri="{FF2B5EF4-FFF2-40B4-BE49-F238E27FC236}">
                <a16:creationId xmlns:a16="http://schemas.microsoft.com/office/drawing/2014/main" id="{7B3311CB-DC37-BF2B-8E33-872990686A6F}"/>
              </a:ext>
            </a:extLst>
          </p:cNvPr>
          <p:cNvSpPr>
            <a:spLocks noGrp="1"/>
          </p:cNvSpPr>
          <p:nvPr>
            <p:ph type="body" sz="quarter" idx="49"/>
          </p:nvPr>
        </p:nvSpPr>
        <p:spPr>
          <a:xfrm>
            <a:off x="9020770" y="3112528"/>
            <a:ext cx="2477398" cy="380567"/>
          </a:xfrm>
          <a:prstGeom prst="roundRect">
            <a:avLst>
              <a:gd name="adj" fmla="val 50000"/>
            </a:avLst>
          </a:prstGeom>
          <a:solidFill>
            <a:schemeClr val="bg2"/>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6" name="Text Placeholder 2">
            <a:extLst>
              <a:ext uri="{FF2B5EF4-FFF2-40B4-BE49-F238E27FC236}">
                <a16:creationId xmlns:a16="http://schemas.microsoft.com/office/drawing/2014/main" id="{4C6A5BFA-3D10-182C-1A20-2F9F25DA5EC7}"/>
              </a:ext>
            </a:extLst>
          </p:cNvPr>
          <p:cNvSpPr>
            <a:spLocks noGrp="1"/>
          </p:cNvSpPr>
          <p:nvPr>
            <p:ph type="body" sz="quarter" idx="50"/>
          </p:nvPr>
        </p:nvSpPr>
        <p:spPr>
          <a:xfrm>
            <a:off x="718374" y="3112528"/>
            <a:ext cx="8012329" cy="380567"/>
          </a:xfrm>
          <a:prstGeom prst="roundRect">
            <a:avLst>
              <a:gd name="adj" fmla="val 50000"/>
            </a:avLst>
          </a:prstGeom>
          <a:solidFill>
            <a:srgbClr val="E6E6E6"/>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tx2">
                    <a:lumMod val="50000"/>
                  </a:schemeClr>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7" name="Text Placeholder 2">
            <a:extLst>
              <a:ext uri="{FF2B5EF4-FFF2-40B4-BE49-F238E27FC236}">
                <a16:creationId xmlns:a16="http://schemas.microsoft.com/office/drawing/2014/main" id="{63D306BC-6AA0-5B15-EAD0-1C4B6C007AE2}"/>
              </a:ext>
            </a:extLst>
          </p:cNvPr>
          <p:cNvSpPr>
            <a:spLocks noGrp="1"/>
          </p:cNvSpPr>
          <p:nvPr>
            <p:ph type="body" sz="quarter" idx="52"/>
          </p:nvPr>
        </p:nvSpPr>
        <p:spPr>
          <a:xfrm>
            <a:off x="718374" y="3636823"/>
            <a:ext cx="10779794" cy="380567"/>
          </a:xfrm>
          <a:prstGeom prst="roundRect">
            <a:avLst>
              <a:gd name="adj" fmla="val 50000"/>
            </a:avLst>
          </a:prstGeom>
          <a:solidFill>
            <a:schemeClr val="tx2"/>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8" name="Text Placeholder 2">
            <a:extLst>
              <a:ext uri="{FF2B5EF4-FFF2-40B4-BE49-F238E27FC236}">
                <a16:creationId xmlns:a16="http://schemas.microsoft.com/office/drawing/2014/main" id="{2F279148-11D1-D193-7504-E15A8DBBB7ED}"/>
              </a:ext>
            </a:extLst>
          </p:cNvPr>
          <p:cNvSpPr>
            <a:spLocks noGrp="1"/>
          </p:cNvSpPr>
          <p:nvPr>
            <p:ph type="body" sz="quarter" idx="54"/>
          </p:nvPr>
        </p:nvSpPr>
        <p:spPr>
          <a:xfrm>
            <a:off x="1947773" y="4161117"/>
            <a:ext cx="9537643" cy="380567"/>
          </a:xfrm>
          <a:prstGeom prst="roundRect">
            <a:avLst>
              <a:gd name="adj" fmla="val 50000"/>
            </a:avLst>
          </a:prstGeom>
          <a:solidFill>
            <a:srgbClr val="E6E6E6"/>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tx2">
                    <a:lumMod val="50000"/>
                  </a:schemeClr>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9" name="Text Placeholder 2">
            <a:extLst>
              <a:ext uri="{FF2B5EF4-FFF2-40B4-BE49-F238E27FC236}">
                <a16:creationId xmlns:a16="http://schemas.microsoft.com/office/drawing/2014/main" id="{B7F7FC01-6091-5D90-D333-FA5671F43B8E}"/>
              </a:ext>
            </a:extLst>
          </p:cNvPr>
          <p:cNvSpPr>
            <a:spLocks noGrp="1"/>
          </p:cNvSpPr>
          <p:nvPr>
            <p:ph type="body" sz="quarter" idx="56"/>
          </p:nvPr>
        </p:nvSpPr>
        <p:spPr>
          <a:xfrm>
            <a:off x="7492654" y="4685411"/>
            <a:ext cx="3986410" cy="380567"/>
          </a:xfrm>
          <a:prstGeom prst="roundRect">
            <a:avLst>
              <a:gd name="adj" fmla="val 50000"/>
            </a:avLst>
          </a:prstGeom>
          <a:solidFill>
            <a:schemeClr val="accent5"/>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Tree>
    <p:extLst>
      <p:ext uri="{BB962C8B-B14F-4D97-AF65-F5344CB8AC3E}">
        <p14:creationId xmlns:p14="http://schemas.microsoft.com/office/powerpoint/2010/main" val="4081402722"/>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5" name="Text Placeholder 8">
            <a:extLst>
              <a:ext uri="{FF2B5EF4-FFF2-40B4-BE49-F238E27FC236}">
                <a16:creationId xmlns:a16="http://schemas.microsoft.com/office/drawing/2014/main" id="{645879FE-583A-DE44-88BA-EB276A69E0F6}"/>
              </a:ext>
            </a:extLst>
          </p:cNvPr>
          <p:cNvSpPr>
            <a:spLocks noGrp="1"/>
          </p:cNvSpPr>
          <p:nvPr>
            <p:ph type="body" idx="13"/>
          </p:nvPr>
        </p:nvSpPr>
        <p:spPr>
          <a:xfrm>
            <a:off x="531133" y="1304925"/>
            <a:ext cx="11144930" cy="592778"/>
          </a:xfrm>
        </p:spPr>
        <p:txBody>
          <a:bodyPr numCol="1" spcCol="180000">
            <a:normAutofit/>
          </a:bodyPr>
          <a:lstStyle>
            <a:lvl1pPr marL="0" indent="0">
              <a:buClr>
                <a:schemeClr val="bg2"/>
              </a:buClr>
              <a:buFont typeface="Arial" panose="020B0604020202020204" pitchFamily="34" charset="0"/>
              <a:buNone/>
              <a:defRPr sz="1600">
                <a:solidFill>
                  <a:schemeClr val="tx2">
                    <a:lumMod val="50000"/>
                  </a:schemeClr>
                </a:solidFill>
              </a:defRPr>
            </a:lvl1pPr>
          </a:lstStyle>
          <a:p>
            <a:pPr lvl="0"/>
            <a:r>
              <a:rPr lang="en-GB"/>
              <a:t>Click to edit Master text styles</a:t>
            </a:r>
          </a:p>
        </p:txBody>
      </p:sp>
      <p:sp>
        <p:nvSpPr>
          <p:cNvPr id="5" name="Table Placeholder 4">
            <a:extLst>
              <a:ext uri="{FF2B5EF4-FFF2-40B4-BE49-F238E27FC236}">
                <a16:creationId xmlns:a16="http://schemas.microsoft.com/office/drawing/2014/main" id="{229D7B8B-35CA-A145-A474-98CA941C8914}"/>
              </a:ext>
            </a:extLst>
          </p:cNvPr>
          <p:cNvSpPr>
            <a:spLocks noGrp="1"/>
          </p:cNvSpPr>
          <p:nvPr>
            <p:ph type="tbl" sz="quarter" idx="14"/>
          </p:nvPr>
        </p:nvSpPr>
        <p:spPr>
          <a:xfrm>
            <a:off x="515938" y="2081213"/>
            <a:ext cx="11153775" cy="3832225"/>
          </a:xfrm>
        </p:spPr>
        <p:txBody>
          <a:bodyPr anchor="ctr">
            <a:normAutofit/>
          </a:bodyPr>
          <a:lstStyle>
            <a:lvl1pPr algn="ctr">
              <a:defRPr sz="1600">
                <a:solidFill>
                  <a:schemeClr val="bg1">
                    <a:lumMod val="50000"/>
                  </a:schemeClr>
                </a:solidFill>
              </a:defRPr>
            </a:lvl1pPr>
          </a:lstStyle>
          <a:p>
            <a:r>
              <a:rPr lang="en-GB"/>
              <a:t>Click icon to add table</a:t>
            </a:r>
          </a:p>
        </p:txBody>
      </p:sp>
    </p:spTree>
    <p:extLst>
      <p:ext uri="{BB962C8B-B14F-4D97-AF65-F5344CB8AC3E}">
        <p14:creationId xmlns:p14="http://schemas.microsoft.com/office/powerpoint/2010/main" val="3549050130"/>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Graph">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lvl1pPr>
              <a:defRPr>
                <a:solidFill>
                  <a:schemeClr val="tx2"/>
                </a:solidFill>
              </a:defRPr>
            </a:lvl1p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6" name="Chart Placeholder 5">
            <a:extLst>
              <a:ext uri="{FF2B5EF4-FFF2-40B4-BE49-F238E27FC236}">
                <a16:creationId xmlns:a16="http://schemas.microsoft.com/office/drawing/2014/main" id="{D54A1155-34EB-A04A-AA96-8DCEA2A0B8AF}"/>
              </a:ext>
            </a:extLst>
          </p:cNvPr>
          <p:cNvSpPr>
            <a:spLocks noGrp="1"/>
          </p:cNvSpPr>
          <p:nvPr>
            <p:ph type="chart" sz="quarter" idx="13" hasCustomPrompt="1"/>
          </p:nvPr>
        </p:nvSpPr>
        <p:spPr>
          <a:xfrm>
            <a:off x="515938" y="1304925"/>
            <a:ext cx="11160125" cy="4608513"/>
          </a:xfrm>
        </p:spPr>
        <p:txBody>
          <a:bodyPr anchor="ctr">
            <a:normAutofit/>
          </a:bodyPr>
          <a:lstStyle>
            <a:lvl1pPr algn="ctr">
              <a:defRPr sz="1600">
                <a:solidFill>
                  <a:schemeClr val="bg1">
                    <a:lumMod val="50000"/>
                  </a:schemeClr>
                </a:solidFill>
              </a:defRPr>
            </a:lvl1pPr>
          </a:lstStyle>
          <a:p>
            <a:r>
              <a:rPr lang="en-GB"/>
              <a:t>Click icon to add graph</a:t>
            </a:r>
          </a:p>
        </p:txBody>
      </p:sp>
    </p:spTree>
    <p:extLst>
      <p:ext uri="{BB962C8B-B14F-4D97-AF65-F5344CB8AC3E}">
        <p14:creationId xmlns:p14="http://schemas.microsoft.com/office/powerpoint/2010/main" val="2506997394"/>
      </p:ext>
    </p:extLst>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Graph + Intro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lvl1pPr>
              <a:defRPr>
                <a:solidFill>
                  <a:schemeClr val="tx2"/>
                </a:solidFill>
              </a:defRPr>
            </a:lvl1p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6" name="Chart Placeholder 5">
            <a:extLst>
              <a:ext uri="{FF2B5EF4-FFF2-40B4-BE49-F238E27FC236}">
                <a16:creationId xmlns:a16="http://schemas.microsoft.com/office/drawing/2014/main" id="{D54A1155-34EB-A04A-AA96-8DCEA2A0B8AF}"/>
              </a:ext>
            </a:extLst>
          </p:cNvPr>
          <p:cNvSpPr>
            <a:spLocks noGrp="1"/>
          </p:cNvSpPr>
          <p:nvPr>
            <p:ph type="chart" sz="quarter" idx="13" hasCustomPrompt="1"/>
          </p:nvPr>
        </p:nvSpPr>
        <p:spPr>
          <a:xfrm>
            <a:off x="515938" y="2186941"/>
            <a:ext cx="11160125" cy="3726497"/>
          </a:xfrm>
        </p:spPr>
        <p:txBody>
          <a:bodyPr anchor="ctr">
            <a:normAutofit/>
          </a:bodyPr>
          <a:lstStyle>
            <a:lvl1pPr algn="ctr">
              <a:defRPr sz="1600">
                <a:solidFill>
                  <a:schemeClr val="bg1">
                    <a:lumMod val="50000"/>
                  </a:schemeClr>
                </a:solidFill>
              </a:defRPr>
            </a:lvl1pPr>
          </a:lstStyle>
          <a:p>
            <a:r>
              <a:rPr lang="en-GB"/>
              <a:t>Click icon to add graph</a:t>
            </a:r>
          </a:p>
        </p:txBody>
      </p:sp>
      <p:sp>
        <p:nvSpPr>
          <p:cNvPr id="9" name="Text Placeholder 8">
            <a:extLst>
              <a:ext uri="{FF2B5EF4-FFF2-40B4-BE49-F238E27FC236}">
                <a16:creationId xmlns:a16="http://schemas.microsoft.com/office/drawing/2014/main" id="{70B67ED7-707C-628A-DD8C-8D05275A882F}"/>
              </a:ext>
            </a:extLst>
          </p:cNvPr>
          <p:cNvSpPr>
            <a:spLocks noGrp="1"/>
          </p:cNvSpPr>
          <p:nvPr>
            <p:ph type="body" idx="14"/>
          </p:nvPr>
        </p:nvSpPr>
        <p:spPr>
          <a:xfrm>
            <a:off x="531133" y="1304924"/>
            <a:ext cx="11144930" cy="760095"/>
          </a:xfrm>
        </p:spPr>
        <p:txBody>
          <a:bodyPr numCol="1" spcCol="180000">
            <a:normAutofit/>
          </a:bodyPr>
          <a:lstStyle>
            <a:lvl1pPr marL="0" indent="0">
              <a:buClr>
                <a:schemeClr val="bg2"/>
              </a:buClr>
              <a:buFont typeface="Arial" panose="020B0604020202020204" pitchFamily="34" charset="0"/>
              <a:buNone/>
              <a:defRPr sz="1600">
                <a:solidFill>
                  <a:schemeClr val="tx2">
                    <a:lumMod val="50000"/>
                  </a:schemeClr>
                </a:solidFill>
              </a:defRPr>
            </a:lvl1pPr>
          </a:lstStyle>
          <a:p>
            <a:pPr lvl="0"/>
            <a:r>
              <a:rPr lang="en-GB"/>
              <a:t>Click to edit Master text styles</a:t>
            </a:r>
          </a:p>
        </p:txBody>
      </p:sp>
    </p:spTree>
    <p:extLst>
      <p:ext uri="{BB962C8B-B14F-4D97-AF65-F5344CB8AC3E}">
        <p14:creationId xmlns:p14="http://schemas.microsoft.com/office/powerpoint/2010/main" val="165035401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Icon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United Against Rabies Forum Meeting - 6-8 November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9" y="3319670"/>
            <a:ext cx="3287436" cy="2593767"/>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2874301"/>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A5AC520F-8595-0F44-99A9-F0873ACA435F}"/>
              </a:ext>
            </a:extLst>
          </p:cNvPr>
          <p:cNvSpPr>
            <a:spLocks noGrp="1"/>
          </p:cNvSpPr>
          <p:nvPr>
            <p:ph type="body" sz="quarter" idx="18"/>
          </p:nvPr>
        </p:nvSpPr>
        <p:spPr>
          <a:xfrm>
            <a:off x="4452282" y="3319670"/>
            <a:ext cx="3287436" cy="2593767"/>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4452282" y="2874301"/>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AD30B9DC-1666-7446-9DFD-F674A273B468}"/>
              </a:ext>
            </a:extLst>
          </p:cNvPr>
          <p:cNvSpPr>
            <a:spLocks noGrp="1"/>
          </p:cNvSpPr>
          <p:nvPr>
            <p:ph type="body" sz="quarter" idx="21"/>
          </p:nvPr>
        </p:nvSpPr>
        <p:spPr>
          <a:xfrm>
            <a:off x="8382846" y="3326198"/>
            <a:ext cx="3287436" cy="2593767"/>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C7816D18-C579-DE44-B3B4-5D38198139F6}"/>
              </a:ext>
            </a:extLst>
          </p:cNvPr>
          <p:cNvSpPr>
            <a:spLocks noGrp="1"/>
          </p:cNvSpPr>
          <p:nvPr>
            <p:ph type="body" sz="quarter" idx="22"/>
          </p:nvPr>
        </p:nvSpPr>
        <p:spPr>
          <a:xfrm>
            <a:off x="8382846" y="2880829"/>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20" name="Picture Placeholder 3">
            <a:extLst>
              <a:ext uri="{FF2B5EF4-FFF2-40B4-BE49-F238E27FC236}">
                <a16:creationId xmlns:a16="http://schemas.microsoft.com/office/drawing/2014/main" id="{319B0B18-4860-DA36-3440-4533856C9139}"/>
              </a:ext>
            </a:extLst>
          </p:cNvPr>
          <p:cNvSpPr>
            <a:spLocks noGrp="1"/>
          </p:cNvSpPr>
          <p:nvPr>
            <p:ph type="pic" sz="quarter" idx="13"/>
          </p:nvPr>
        </p:nvSpPr>
        <p:spPr>
          <a:xfrm>
            <a:off x="515938" y="1624205"/>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21" name="Picture Placeholder 3">
            <a:extLst>
              <a:ext uri="{FF2B5EF4-FFF2-40B4-BE49-F238E27FC236}">
                <a16:creationId xmlns:a16="http://schemas.microsoft.com/office/drawing/2014/main" id="{BF99AA58-9FC0-03DF-8208-27BED5F44ED6}"/>
              </a:ext>
            </a:extLst>
          </p:cNvPr>
          <p:cNvSpPr>
            <a:spLocks noGrp="1"/>
          </p:cNvSpPr>
          <p:nvPr>
            <p:ph type="pic" sz="quarter" idx="23"/>
          </p:nvPr>
        </p:nvSpPr>
        <p:spPr>
          <a:xfrm>
            <a:off x="4458071" y="1624205"/>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22" name="Picture Placeholder 3">
            <a:extLst>
              <a:ext uri="{FF2B5EF4-FFF2-40B4-BE49-F238E27FC236}">
                <a16:creationId xmlns:a16="http://schemas.microsoft.com/office/drawing/2014/main" id="{AD148B2F-B493-BFBF-8393-261886DA3EE6}"/>
              </a:ext>
            </a:extLst>
          </p:cNvPr>
          <p:cNvSpPr>
            <a:spLocks noGrp="1"/>
          </p:cNvSpPr>
          <p:nvPr>
            <p:ph type="pic" sz="quarter" idx="24"/>
          </p:nvPr>
        </p:nvSpPr>
        <p:spPr>
          <a:xfrm>
            <a:off x="8382846" y="1624205"/>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Tree>
    <p:extLst>
      <p:ext uri="{BB962C8B-B14F-4D97-AF65-F5344CB8AC3E}">
        <p14:creationId xmlns:p14="http://schemas.microsoft.com/office/powerpoint/2010/main" val="3142881698"/>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Text + Graph">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lvl1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 name="Chart Placeholder 2">
            <a:extLst>
              <a:ext uri="{FF2B5EF4-FFF2-40B4-BE49-F238E27FC236}">
                <a16:creationId xmlns:a16="http://schemas.microsoft.com/office/drawing/2014/main" id="{5F41B758-C970-D84A-B3ED-8A3CB892A835}"/>
              </a:ext>
            </a:extLst>
          </p:cNvPr>
          <p:cNvSpPr>
            <a:spLocks noGrp="1"/>
          </p:cNvSpPr>
          <p:nvPr>
            <p:ph type="chart" sz="quarter" idx="14" hasCustomPrompt="1"/>
          </p:nvPr>
        </p:nvSpPr>
        <p:spPr>
          <a:xfrm>
            <a:off x="6762750" y="366371"/>
            <a:ext cx="4913313" cy="5547067"/>
          </a:xfrm>
        </p:spPr>
        <p:txBody>
          <a:bodyPr anchor="ctr">
            <a:normAutofit/>
          </a:bodyPr>
          <a:lstStyle>
            <a:lvl1pPr algn="ctr">
              <a:defRPr sz="1600">
                <a:solidFill>
                  <a:schemeClr val="bg1">
                    <a:lumMod val="50000"/>
                  </a:schemeClr>
                </a:solidFill>
              </a:defRPr>
            </a:lvl1pPr>
          </a:lstStyle>
          <a:p>
            <a:r>
              <a:rPr lang="en-GB"/>
              <a:t>Click icon to add graph</a:t>
            </a:r>
          </a:p>
        </p:txBody>
      </p:sp>
    </p:spTree>
    <p:extLst>
      <p:ext uri="{BB962C8B-B14F-4D97-AF65-F5344CB8AC3E}">
        <p14:creationId xmlns:p14="http://schemas.microsoft.com/office/powerpoint/2010/main" val="871422866"/>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Text + Graph + Key Sta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2951067"/>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 name="Chart Placeholder 2">
            <a:extLst>
              <a:ext uri="{FF2B5EF4-FFF2-40B4-BE49-F238E27FC236}">
                <a16:creationId xmlns:a16="http://schemas.microsoft.com/office/drawing/2014/main" id="{5F41B758-C970-D84A-B3ED-8A3CB892A835}"/>
              </a:ext>
            </a:extLst>
          </p:cNvPr>
          <p:cNvSpPr>
            <a:spLocks noGrp="1"/>
          </p:cNvSpPr>
          <p:nvPr>
            <p:ph type="chart" sz="quarter" idx="14" hasCustomPrompt="1"/>
          </p:nvPr>
        </p:nvSpPr>
        <p:spPr>
          <a:xfrm>
            <a:off x="6762750" y="366371"/>
            <a:ext cx="4913313" cy="5547067"/>
          </a:xfrm>
        </p:spPr>
        <p:txBody>
          <a:bodyPr anchor="ctr">
            <a:normAutofit/>
          </a:bodyPr>
          <a:lstStyle>
            <a:lvl1pPr algn="ctr">
              <a:defRPr sz="1600">
                <a:solidFill>
                  <a:schemeClr val="bg1">
                    <a:lumMod val="50000"/>
                  </a:schemeClr>
                </a:solidFill>
              </a:defRPr>
            </a:lvl1pPr>
          </a:lstStyle>
          <a:p>
            <a:r>
              <a:rPr lang="en-GB"/>
              <a:t>Click icon to add graph</a:t>
            </a:r>
          </a:p>
        </p:txBody>
      </p:sp>
      <p:sp>
        <p:nvSpPr>
          <p:cNvPr id="12" name="Table Placeholder 13">
            <a:extLst>
              <a:ext uri="{FF2B5EF4-FFF2-40B4-BE49-F238E27FC236}">
                <a16:creationId xmlns:a16="http://schemas.microsoft.com/office/drawing/2014/main" id="{0471F0B8-12A0-7A45-8C7A-E02063FE5C87}"/>
              </a:ext>
            </a:extLst>
          </p:cNvPr>
          <p:cNvSpPr>
            <a:spLocks noGrp="1"/>
          </p:cNvSpPr>
          <p:nvPr>
            <p:ph type="tbl" sz="quarter" idx="16" hasCustomPrompt="1"/>
          </p:nvPr>
        </p:nvSpPr>
        <p:spPr>
          <a:xfrm>
            <a:off x="531813" y="4531663"/>
            <a:ext cx="5564187" cy="1381775"/>
          </a:xfrm>
        </p:spPr>
        <p:txBody>
          <a:bodyPr anchor="ctr">
            <a:normAutofit/>
          </a:bodyPr>
          <a:lstStyle>
            <a:lvl1pPr algn="ctr">
              <a:defRPr sz="1600">
                <a:solidFill>
                  <a:schemeClr val="bg1">
                    <a:lumMod val="50000"/>
                  </a:schemeClr>
                </a:solidFill>
              </a:defRPr>
            </a:lvl1pPr>
          </a:lstStyle>
          <a:p>
            <a:r>
              <a:rPr lang="en-GB"/>
              <a:t>Click here to insert table of key statistics</a:t>
            </a:r>
          </a:p>
        </p:txBody>
      </p:sp>
    </p:spTree>
    <p:extLst>
      <p:ext uri="{BB962C8B-B14F-4D97-AF65-F5344CB8AC3E}">
        <p14:creationId xmlns:p14="http://schemas.microsoft.com/office/powerpoint/2010/main" val="887798577"/>
      </p:ext>
    </p:extLst>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Headshots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9" name="Picture Placeholder 9">
            <a:extLst>
              <a:ext uri="{FF2B5EF4-FFF2-40B4-BE49-F238E27FC236}">
                <a16:creationId xmlns:a16="http://schemas.microsoft.com/office/drawing/2014/main" id="{F7144900-27CB-F8C8-8750-EBFD50556D3C}"/>
              </a:ext>
            </a:extLst>
          </p:cNvPr>
          <p:cNvSpPr>
            <a:spLocks noGrp="1"/>
          </p:cNvSpPr>
          <p:nvPr>
            <p:ph type="pic" sz="quarter" idx="20" hasCustomPrompt="1"/>
          </p:nvPr>
        </p:nvSpPr>
        <p:spPr>
          <a:xfrm>
            <a:off x="515937" y="1738603"/>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1" name="Picture Placeholder 9">
            <a:extLst>
              <a:ext uri="{FF2B5EF4-FFF2-40B4-BE49-F238E27FC236}">
                <a16:creationId xmlns:a16="http://schemas.microsoft.com/office/drawing/2014/main" id="{BA371966-686F-3873-1B61-8D4F2F1781AB}"/>
              </a:ext>
            </a:extLst>
          </p:cNvPr>
          <p:cNvSpPr>
            <a:spLocks noGrp="1"/>
          </p:cNvSpPr>
          <p:nvPr>
            <p:ph type="pic" sz="quarter" idx="21" hasCustomPrompt="1"/>
          </p:nvPr>
        </p:nvSpPr>
        <p:spPr>
          <a:xfrm>
            <a:off x="6409056" y="1738603"/>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2" name="Text Placeholder 15">
            <a:extLst>
              <a:ext uri="{FF2B5EF4-FFF2-40B4-BE49-F238E27FC236}">
                <a16:creationId xmlns:a16="http://schemas.microsoft.com/office/drawing/2014/main" id="{71BA048F-6972-4609-34F2-EF8FDBBDBB0C}"/>
              </a:ext>
            </a:extLst>
          </p:cNvPr>
          <p:cNvSpPr>
            <a:spLocks noGrp="1"/>
          </p:cNvSpPr>
          <p:nvPr>
            <p:ph type="body" sz="quarter" idx="22"/>
          </p:nvPr>
        </p:nvSpPr>
        <p:spPr>
          <a:xfrm>
            <a:off x="8234278" y="1915486"/>
            <a:ext cx="3355742" cy="1163606"/>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17" name="Picture Placeholder 9">
            <a:extLst>
              <a:ext uri="{FF2B5EF4-FFF2-40B4-BE49-F238E27FC236}">
                <a16:creationId xmlns:a16="http://schemas.microsoft.com/office/drawing/2014/main" id="{224FF60B-6BD0-9B1E-2959-11D6263640AF}"/>
              </a:ext>
            </a:extLst>
          </p:cNvPr>
          <p:cNvSpPr>
            <a:spLocks noGrp="1"/>
          </p:cNvSpPr>
          <p:nvPr>
            <p:ph type="pic" sz="quarter" idx="25" hasCustomPrompt="1"/>
          </p:nvPr>
        </p:nvSpPr>
        <p:spPr>
          <a:xfrm>
            <a:off x="515937" y="3998564"/>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8" name="Picture Placeholder 9">
            <a:extLst>
              <a:ext uri="{FF2B5EF4-FFF2-40B4-BE49-F238E27FC236}">
                <a16:creationId xmlns:a16="http://schemas.microsoft.com/office/drawing/2014/main" id="{2DB6CCCB-718D-70C8-7A09-2EE0D7144525}"/>
              </a:ext>
            </a:extLst>
          </p:cNvPr>
          <p:cNvSpPr>
            <a:spLocks noGrp="1"/>
          </p:cNvSpPr>
          <p:nvPr>
            <p:ph type="pic" sz="quarter" idx="27" hasCustomPrompt="1"/>
          </p:nvPr>
        </p:nvSpPr>
        <p:spPr>
          <a:xfrm>
            <a:off x="6409056" y="3998564"/>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9" name="Text Placeholder 15">
            <a:extLst>
              <a:ext uri="{FF2B5EF4-FFF2-40B4-BE49-F238E27FC236}">
                <a16:creationId xmlns:a16="http://schemas.microsoft.com/office/drawing/2014/main" id="{B6878B28-F503-455B-0FEA-80DE70905427}"/>
              </a:ext>
            </a:extLst>
          </p:cNvPr>
          <p:cNvSpPr>
            <a:spLocks noGrp="1"/>
          </p:cNvSpPr>
          <p:nvPr>
            <p:ph type="body" sz="quarter" idx="28"/>
          </p:nvPr>
        </p:nvSpPr>
        <p:spPr>
          <a:xfrm>
            <a:off x="8234278" y="4175447"/>
            <a:ext cx="3355742" cy="1163606"/>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20" name="Text Placeholder 15">
            <a:extLst>
              <a:ext uri="{FF2B5EF4-FFF2-40B4-BE49-F238E27FC236}">
                <a16:creationId xmlns:a16="http://schemas.microsoft.com/office/drawing/2014/main" id="{AAADD6C4-F1D9-F92B-C5FD-4B4DA8B17CF1}"/>
              </a:ext>
            </a:extLst>
          </p:cNvPr>
          <p:cNvSpPr>
            <a:spLocks noGrp="1"/>
          </p:cNvSpPr>
          <p:nvPr>
            <p:ph type="body" sz="quarter" idx="29"/>
          </p:nvPr>
        </p:nvSpPr>
        <p:spPr>
          <a:xfrm>
            <a:off x="2333196" y="1915486"/>
            <a:ext cx="3355742" cy="1163606"/>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21" name="Text Placeholder 15">
            <a:extLst>
              <a:ext uri="{FF2B5EF4-FFF2-40B4-BE49-F238E27FC236}">
                <a16:creationId xmlns:a16="http://schemas.microsoft.com/office/drawing/2014/main" id="{A5E09E69-6CAD-B355-9823-320AB8FAE66F}"/>
              </a:ext>
            </a:extLst>
          </p:cNvPr>
          <p:cNvSpPr>
            <a:spLocks noGrp="1"/>
          </p:cNvSpPr>
          <p:nvPr>
            <p:ph type="body" sz="quarter" idx="30"/>
          </p:nvPr>
        </p:nvSpPr>
        <p:spPr>
          <a:xfrm>
            <a:off x="2333196" y="4175447"/>
            <a:ext cx="3355742" cy="1163606"/>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Tree>
    <p:extLst>
      <p:ext uri="{BB962C8B-B14F-4D97-AF65-F5344CB8AC3E}">
        <p14:creationId xmlns:p14="http://schemas.microsoft.com/office/powerpoint/2010/main" val="3635918003"/>
      </p:ext>
    </p:extLst>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Headshots x9">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22" name="Picture Placeholder 9">
            <a:extLst>
              <a:ext uri="{FF2B5EF4-FFF2-40B4-BE49-F238E27FC236}">
                <a16:creationId xmlns:a16="http://schemas.microsoft.com/office/drawing/2014/main" id="{9DD9632F-ADC6-0F07-8F3F-62F1AF846E10}"/>
              </a:ext>
            </a:extLst>
          </p:cNvPr>
          <p:cNvSpPr>
            <a:spLocks noGrp="1"/>
          </p:cNvSpPr>
          <p:nvPr>
            <p:ph type="pic" sz="quarter" idx="20" hasCustomPrompt="1"/>
          </p:nvPr>
        </p:nvSpPr>
        <p:spPr>
          <a:xfrm>
            <a:off x="515938" y="1711994"/>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23" name="Text Placeholder 15">
            <a:extLst>
              <a:ext uri="{FF2B5EF4-FFF2-40B4-BE49-F238E27FC236}">
                <a16:creationId xmlns:a16="http://schemas.microsoft.com/office/drawing/2014/main" id="{A6BDD17B-1F38-C02C-FBE9-A0D8E16AB19C}"/>
              </a:ext>
            </a:extLst>
          </p:cNvPr>
          <p:cNvSpPr>
            <a:spLocks noGrp="1"/>
          </p:cNvSpPr>
          <p:nvPr>
            <p:ph type="body" sz="quarter" idx="15"/>
          </p:nvPr>
        </p:nvSpPr>
        <p:spPr>
          <a:xfrm>
            <a:off x="1699411" y="1711994"/>
            <a:ext cx="2116757" cy="987159"/>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24" name="Picture Placeholder 9">
            <a:extLst>
              <a:ext uri="{FF2B5EF4-FFF2-40B4-BE49-F238E27FC236}">
                <a16:creationId xmlns:a16="http://schemas.microsoft.com/office/drawing/2014/main" id="{25EC710C-2932-CFFF-F55D-955597F0FB30}"/>
              </a:ext>
            </a:extLst>
          </p:cNvPr>
          <p:cNvSpPr>
            <a:spLocks noGrp="1"/>
          </p:cNvSpPr>
          <p:nvPr>
            <p:ph type="pic" sz="quarter" idx="21" hasCustomPrompt="1"/>
          </p:nvPr>
        </p:nvSpPr>
        <p:spPr>
          <a:xfrm>
            <a:off x="4335796" y="1711994"/>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25" name="Text Placeholder 15">
            <a:extLst>
              <a:ext uri="{FF2B5EF4-FFF2-40B4-BE49-F238E27FC236}">
                <a16:creationId xmlns:a16="http://schemas.microsoft.com/office/drawing/2014/main" id="{247CB122-DF3E-CDA7-027B-26E525434AE2}"/>
              </a:ext>
            </a:extLst>
          </p:cNvPr>
          <p:cNvSpPr>
            <a:spLocks noGrp="1"/>
          </p:cNvSpPr>
          <p:nvPr>
            <p:ph type="body" sz="quarter" idx="22"/>
          </p:nvPr>
        </p:nvSpPr>
        <p:spPr>
          <a:xfrm>
            <a:off x="5527232" y="1711994"/>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0" name="Picture Placeholder 9">
            <a:extLst>
              <a:ext uri="{FF2B5EF4-FFF2-40B4-BE49-F238E27FC236}">
                <a16:creationId xmlns:a16="http://schemas.microsoft.com/office/drawing/2014/main" id="{27971BF0-784D-F3CF-2C6F-CA5180542041}"/>
              </a:ext>
            </a:extLst>
          </p:cNvPr>
          <p:cNvSpPr>
            <a:spLocks noGrp="1"/>
          </p:cNvSpPr>
          <p:nvPr>
            <p:ph type="pic" sz="quarter" idx="23" hasCustomPrompt="1"/>
          </p:nvPr>
        </p:nvSpPr>
        <p:spPr>
          <a:xfrm>
            <a:off x="8220024" y="1711994"/>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1" name="Text Placeholder 15">
            <a:extLst>
              <a:ext uri="{FF2B5EF4-FFF2-40B4-BE49-F238E27FC236}">
                <a16:creationId xmlns:a16="http://schemas.microsoft.com/office/drawing/2014/main" id="{0B2CA69D-267F-C90D-4248-B4C35F26DF79}"/>
              </a:ext>
            </a:extLst>
          </p:cNvPr>
          <p:cNvSpPr>
            <a:spLocks noGrp="1"/>
          </p:cNvSpPr>
          <p:nvPr>
            <p:ph type="body" sz="quarter" idx="24"/>
          </p:nvPr>
        </p:nvSpPr>
        <p:spPr>
          <a:xfrm>
            <a:off x="9411460" y="1711994"/>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2" name="Picture Placeholder 9">
            <a:extLst>
              <a:ext uri="{FF2B5EF4-FFF2-40B4-BE49-F238E27FC236}">
                <a16:creationId xmlns:a16="http://schemas.microsoft.com/office/drawing/2014/main" id="{5897A2C1-9865-7BB8-2197-358370EFD4AC}"/>
              </a:ext>
            </a:extLst>
          </p:cNvPr>
          <p:cNvSpPr>
            <a:spLocks noGrp="1"/>
          </p:cNvSpPr>
          <p:nvPr>
            <p:ph type="pic" sz="quarter" idx="25" hasCustomPrompt="1"/>
          </p:nvPr>
        </p:nvSpPr>
        <p:spPr>
          <a:xfrm>
            <a:off x="515938" y="3155667"/>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3" name="Text Placeholder 15">
            <a:extLst>
              <a:ext uri="{FF2B5EF4-FFF2-40B4-BE49-F238E27FC236}">
                <a16:creationId xmlns:a16="http://schemas.microsoft.com/office/drawing/2014/main" id="{62920B1E-EBA9-626D-6305-A1ADAE904D1A}"/>
              </a:ext>
            </a:extLst>
          </p:cNvPr>
          <p:cNvSpPr>
            <a:spLocks noGrp="1"/>
          </p:cNvSpPr>
          <p:nvPr>
            <p:ph type="body" sz="quarter" idx="26"/>
          </p:nvPr>
        </p:nvSpPr>
        <p:spPr>
          <a:xfrm>
            <a:off x="1699411" y="3155667"/>
            <a:ext cx="2116757" cy="987159"/>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4" name="Picture Placeholder 9">
            <a:extLst>
              <a:ext uri="{FF2B5EF4-FFF2-40B4-BE49-F238E27FC236}">
                <a16:creationId xmlns:a16="http://schemas.microsoft.com/office/drawing/2014/main" id="{544F1E77-8814-8A3B-D86A-076D4023ACA7}"/>
              </a:ext>
            </a:extLst>
          </p:cNvPr>
          <p:cNvSpPr>
            <a:spLocks noGrp="1"/>
          </p:cNvSpPr>
          <p:nvPr>
            <p:ph type="pic" sz="quarter" idx="27" hasCustomPrompt="1"/>
          </p:nvPr>
        </p:nvSpPr>
        <p:spPr>
          <a:xfrm>
            <a:off x="4335796" y="3155667"/>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5" name="Text Placeholder 15">
            <a:extLst>
              <a:ext uri="{FF2B5EF4-FFF2-40B4-BE49-F238E27FC236}">
                <a16:creationId xmlns:a16="http://schemas.microsoft.com/office/drawing/2014/main" id="{C7619CC2-0DAA-26FC-AEAA-30394D48883A}"/>
              </a:ext>
            </a:extLst>
          </p:cNvPr>
          <p:cNvSpPr>
            <a:spLocks noGrp="1"/>
          </p:cNvSpPr>
          <p:nvPr>
            <p:ph type="body" sz="quarter" idx="28"/>
          </p:nvPr>
        </p:nvSpPr>
        <p:spPr>
          <a:xfrm>
            <a:off x="5527232" y="3155667"/>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6" name="Picture Placeholder 9">
            <a:extLst>
              <a:ext uri="{FF2B5EF4-FFF2-40B4-BE49-F238E27FC236}">
                <a16:creationId xmlns:a16="http://schemas.microsoft.com/office/drawing/2014/main" id="{8FAFCD1B-5A84-929A-D622-CC609C41B001}"/>
              </a:ext>
            </a:extLst>
          </p:cNvPr>
          <p:cNvSpPr>
            <a:spLocks noGrp="1"/>
          </p:cNvSpPr>
          <p:nvPr>
            <p:ph type="pic" sz="quarter" idx="29" hasCustomPrompt="1"/>
          </p:nvPr>
        </p:nvSpPr>
        <p:spPr>
          <a:xfrm>
            <a:off x="8220024" y="3155667"/>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7" name="Text Placeholder 15">
            <a:extLst>
              <a:ext uri="{FF2B5EF4-FFF2-40B4-BE49-F238E27FC236}">
                <a16:creationId xmlns:a16="http://schemas.microsoft.com/office/drawing/2014/main" id="{32DEC219-4AAE-290C-5636-F26705700111}"/>
              </a:ext>
            </a:extLst>
          </p:cNvPr>
          <p:cNvSpPr>
            <a:spLocks noGrp="1"/>
          </p:cNvSpPr>
          <p:nvPr>
            <p:ph type="body" sz="quarter" idx="30"/>
          </p:nvPr>
        </p:nvSpPr>
        <p:spPr>
          <a:xfrm>
            <a:off x="9411460" y="3155667"/>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8" name="Picture Placeholder 9">
            <a:extLst>
              <a:ext uri="{FF2B5EF4-FFF2-40B4-BE49-F238E27FC236}">
                <a16:creationId xmlns:a16="http://schemas.microsoft.com/office/drawing/2014/main" id="{B2CF404E-74E2-7F8B-678B-6E7F764D9BF2}"/>
              </a:ext>
            </a:extLst>
          </p:cNvPr>
          <p:cNvSpPr>
            <a:spLocks noGrp="1"/>
          </p:cNvSpPr>
          <p:nvPr>
            <p:ph type="pic" sz="quarter" idx="31" hasCustomPrompt="1"/>
          </p:nvPr>
        </p:nvSpPr>
        <p:spPr>
          <a:xfrm>
            <a:off x="515938" y="4599456"/>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9" name="Text Placeholder 15">
            <a:extLst>
              <a:ext uri="{FF2B5EF4-FFF2-40B4-BE49-F238E27FC236}">
                <a16:creationId xmlns:a16="http://schemas.microsoft.com/office/drawing/2014/main" id="{494146F5-9D36-2EF7-388E-A72B6DA0D9BB}"/>
              </a:ext>
            </a:extLst>
          </p:cNvPr>
          <p:cNvSpPr>
            <a:spLocks noGrp="1"/>
          </p:cNvSpPr>
          <p:nvPr>
            <p:ph type="body" sz="quarter" idx="32"/>
          </p:nvPr>
        </p:nvSpPr>
        <p:spPr>
          <a:xfrm>
            <a:off x="1699411" y="4599456"/>
            <a:ext cx="2116757" cy="987159"/>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0" name="Picture Placeholder 9">
            <a:extLst>
              <a:ext uri="{FF2B5EF4-FFF2-40B4-BE49-F238E27FC236}">
                <a16:creationId xmlns:a16="http://schemas.microsoft.com/office/drawing/2014/main" id="{B71BEAAD-C8C5-6988-5CBE-F7E302410597}"/>
              </a:ext>
            </a:extLst>
          </p:cNvPr>
          <p:cNvSpPr>
            <a:spLocks noGrp="1"/>
          </p:cNvSpPr>
          <p:nvPr>
            <p:ph type="pic" sz="quarter" idx="33" hasCustomPrompt="1"/>
          </p:nvPr>
        </p:nvSpPr>
        <p:spPr>
          <a:xfrm>
            <a:off x="4335796" y="4599456"/>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1" name="Text Placeholder 15">
            <a:extLst>
              <a:ext uri="{FF2B5EF4-FFF2-40B4-BE49-F238E27FC236}">
                <a16:creationId xmlns:a16="http://schemas.microsoft.com/office/drawing/2014/main" id="{138E6919-019E-02BB-5D0D-FF9C12142411}"/>
              </a:ext>
            </a:extLst>
          </p:cNvPr>
          <p:cNvSpPr>
            <a:spLocks noGrp="1"/>
          </p:cNvSpPr>
          <p:nvPr>
            <p:ph type="body" sz="quarter" idx="34"/>
          </p:nvPr>
        </p:nvSpPr>
        <p:spPr>
          <a:xfrm>
            <a:off x="5527232" y="4599456"/>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2" name="Picture Placeholder 9">
            <a:extLst>
              <a:ext uri="{FF2B5EF4-FFF2-40B4-BE49-F238E27FC236}">
                <a16:creationId xmlns:a16="http://schemas.microsoft.com/office/drawing/2014/main" id="{50AEE6D7-E551-8465-B986-00D61EB9730A}"/>
              </a:ext>
            </a:extLst>
          </p:cNvPr>
          <p:cNvSpPr>
            <a:spLocks noGrp="1"/>
          </p:cNvSpPr>
          <p:nvPr>
            <p:ph type="pic" sz="quarter" idx="35" hasCustomPrompt="1"/>
          </p:nvPr>
        </p:nvSpPr>
        <p:spPr>
          <a:xfrm>
            <a:off x="8220024" y="4599456"/>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3" name="Text Placeholder 15">
            <a:extLst>
              <a:ext uri="{FF2B5EF4-FFF2-40B4-BE49-F238E27FC236}">
                <a16:creationId xmlns:a16="http://schemas.microsoft.com/office/drawing/2014/main" id="{EABA07AD-B083-3DC8-2E9C-6607785D0D9F}"/>
              </a:ext>
            </a:extLst>
          </p:cNvPr>
          <p:cNvSpPr>
            <a:spLocks noGrp="1"/>
          </p:cNvSpPr>
          <p:nvPr>
            <p:ph type="body" sz="quarter" idx="36"/>
          </p:nvPr>
        </p:nvSpPr>
        <p:spPr>
          <a:xfrm>
            <a:off x="9411460" y="4599456"/>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Tree>
    <p:extLst>
      <p:ext uri="{BB962C8B-B14F-4D97-AF65-F5344CB8AC3E}">
        <p14:creationId xmlns:p14="http://schemas.microsoft.com/office/powerpoint/2010/main" val="3554280637"/>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Headshots x1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22" name="Picture Placeholder 9">
            <a:extLst>
              <a:ext uri="{FF2B5EF4-FFF2-40B4-BE49-F238E27FC236}">
                <a16:creationId xmlns:a16="http://schemas.microsoft.com/office/drawing/2014/main" id="{9DD9632F-ADC6-0F07-8F3F-62F1AF846E10}"/>
              </a:ext>
            </a:extLst>
          </p:cNvPr>
          <p:cNvSpPr>
            <a:spLocks noGrp="1"/>
          </p:cNvSpPr>
          <p:nvPr>
            <p:ph type="pic" sz="quarter" idx="20" hasCustomPrompt="1"/>
          </p:nvPr>
        </p:nvSpPr>
        <p:spPr>
          <a:xfrm>
            <a:off x="515939" y="1711995"/>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23" name="Text Placeholder 15">
            <a:extLst>
              <a:ext uri="{FF2B5EF4-FFF2-40B4-BE49-F238E27FC236}">
                <a16:creationId xmlns:a16="http://schemas.microsoft.com/office/drawing/2014/main" id="{A6BDD17B-1F38-C02C-FBE9-A0D8E16AB19C}"/>
              </a:ext>
            </a:extLst>
          </p:cNvPr>
          <p:cNvSpPr>
            <a:spLocks noGrp="1"/>
          </p:cNvSpPr>
          <p:nvPr>
            <p:ph type="body" sz="quarter" idx="15"/>
          </p:nvPr>
        </p:nvSpPr>
        <p:spPr>
          <a:xfrm>
            <a:off x="1596367" y="1711995"/>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39" name="Picture Placeholder 9">
            <a:extLst>
              <a:ext uri="{FF2B5EF4-FFF2-40B4-BE49-F238E27FC236}">
                <a16:creationId xmlns:a16="http://schemas.microsoft.com/office/drawing/2014/main" id="{0A36E1BF-5D7A-3667-C65B-2DB32E2BD388}"/>
              </a:ext>
            </a:extLst>
          </p:cNvPr>
          <p:cNvSpPr>
            <a:spLocks noGrp="1"/>
          </p:cNvSpPr>
          <p:nvPr>
            <p:ph type="pic" sz="quarter" idx="43" hasCustomPrompt="1"/>
          </p:nvPr>
        </p:nvSpPr>
        <p:spPr>
          <a:xfrm>
            <a:off x="515939" y="2786398"/>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4" name="Text Placeholder 15">
            <a:extLst>
              <a:ext uri="{FF2B5EF4-FFF2-40B4-BE49-F238E27FC236}">
                <a16:creationId xmlns:a16="http://schemas.microsoft.com/office/drawing/2014/main" id="{A3EF6248-9648-B0CE-3E04-C8F8A63036EA}"/>
              </a:ext>
            </a:extLst>
          </p:cNvPr>
          <p:cNvSpPr>
            <a:spLocks noGrp="1"/>
          </p:cNvSpPr>
          <p:nvPr>
            <p:ph type="body" sz="quarter" idx="44"/>
          </p:nvPr>
        </p:nvSpPr>
        <p:spPr>
          <a:xfrm>
            <a:off x="1596367" y="2791091"/>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5" name="Picture Placeholder 9">
            <a:extLst>
              <a:ext uri="{FF2B5EF4-FFF2-40B4-BE49-F238E27FC236}">
                <a16:creationId xmlns:a16="http://schemas.microsoft.com/office/drawing/2014/main" id="{C5444EBA-19D0-8678-BDDD-147CE44BC1E1}"/>
              </a:ext>
            </a:extLst>
          </p:cNvPr>
          <p:cNvSpPr>
            <a:spLocks noGrp="1"/>
          </p:cNvSpPr>
          <p:nvPr>
            <p:ph type="pic" sz="quarter" idx="45" hasCustomPrompt="1"/>
          </p:nvPr>
        </p:nvSpPr>
        <p:spPr>
          <a:xfrm>
            <a:off x="515939" y="3870187"/>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6" name="Text Placeholder 15">
            <a:extLst>
              <a:ext uri="{FF2B5EF4-FFF2-40B4-BE49-F238E27FC236}">
                <a16:creationId xmlns:a16="http://schemas.microsoft.com/office/drawing/2014/main" id="{7D5C4711-97F4-DDD0-D960-DEDF44E5F474}"/>
              </a:ext>
            </a:extLst>
          </p:cNvPr>
          <p:cNvSpPr>
            <a:spLocks noGrp="1"/>
          </p:cNvSpPr>
          <p:nvPr>
            <p:ph type="body" sz="quarter" idx="46"/>
          </p:nvPr>
        </p:nvSpPr>
        <p:spPr>
          <a:xfrm>
            <a:off x="1596367" y="3870187"/>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7" name="Picture Placeholder 9">
            <a:extLst>
              <a:ext uri="{FF2B5EF4-FFF2-40B4-BE49-F238E27FC236}">
                <a16:creationId xmlns:a16="http://schemas.microsoft.com/office/drawing/2014/main" id="{E65DD9AF-BC5A-0D6D-203A-19C299826DFB}"/>
              </a:ext>
            </a:extLst>
          </p:cNvPr>
          <p:cNvSpPr>
            <a:spLocks noGrp="1"/>
          </p:cNvSpPr>
          <p:nvPr>
            <p:ph type="pic" sz="quarter" idx="47" hasCustomPrompt="1"/>
          </p:nvPr>
        </p:nvSpPr>
        <p:spPr>
          <a:xfrm>
            <a:off x="515939" y="4949284"/>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8" name="Text Placeholder 15">
            <a:extLst>
              <a:ext uri="{FF2B5EF4-FFF2-40B4-BE49-F238E27FC236}">
                <a16:creationId xmlns:a16="http://schemas.microsoft.com/office/drawing/2014/main" id="{50F33994-9EA1-2A51-A537-50F4FB57B23A}"/>
              </a:ext>
            </a:extLst>
          </p:cNvPr>
          <p:cNvSpPr>
            <a:spLocks noGrp="1"/>
          </p:cNvSpPr>
          <p:nvPr>
            <p:ph type="body" sz="quarter" idx="48"/>
          </p:nvPr>
        </p:nvSpPr>
        <p:spPr>
          <a:xfrm>
            <a:off x="1596367" y="4949284"/>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9" name="Picture Placeholder 9">
            <a:extLst>
              <a:ext uri="{FF2B5EF4-FFF2-40B4-BE49-F238E27FC236}">
                <a16:creationId xmlns:a16="http://schemas.microsoft.com/office/drawing/2014/main" id="{F4BC789A-02DE-1B25-C17D-56031BFFAC79}"/>
              </a:ext>
            </a:extLst>
          </p:cNvPr>
          <p:cNvSpPr>
            <a:spLocks noGrp="1"/>
          </p:cNvSpPr>
          <p:nvPr>
            <p:ph type="pic" sz="quarter" idx="49" hasCustomPrompt="1"/>
          </p:nvPr>
        </p:nvSpPr>
        <p:spPr>
          <a:xfrm>
            <a:off x="4357530" y="1711995"/>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0" name="Text Placeholder 15">
            <a:extLst>
              <a:ext uri="{FF2B5EF4-FFF2-40B4-BE49-F238E27FC236}">
                <a16:creationId xmlns:a16="http://schemas.microsoft.com/office/drawing/2014/main" id="{397D8B8C-1AD2-D2A1-C4BA-DC06F2B6EF69}"/>
              </a:ext>
            </a:extLst>
          </p:cNvPr>
          <p:cNvSpPr>
            <a:spLocks noGrp="1"/>
          </p:cNvSpPr>
          <p:nvPr>
            <p:ph type="body" sz="quarter" idx="50"/>
          </p:nvPr>
        </p:nvSpPr>
        <p:spPr>
          <a:xfrm>
            <a:off x="5437958" y="1711995"/>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1" name="Picture Placeholder 9">
            <a:extLst>
              <a:ext uri="{FF2B5EF4-FFF2-40B4-BE49-F238E27FC236}">
                <a16:creationId xmlns:a16="http://schemas.microsoft.com/office/drawing/2014/main" id="{96F24F90-0E84-D6E6-53DE-5CA754BCC220}"/>
              </a:ext>
            </a:extLst>
          </p:cNvPr>
          <p:cNvSpPr>
            <a:spLocks noGrp="1"/>
          </p:cNvSpPr>
          <p:nvPr>
            <p:ph type="pic" sz="quarter" idx="51" hasCustomPrompt="1"/>
          </p:nvPr>
        </p:nvSpPr>
        <p:spPr>
          <a:xfrm>
            <a:off x="4357530" y="2786398"/>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2" name="Text Placeholder 15">
            <a:extLst>
              <a:ext uri="{FF2B5EF4-FFF2-40B4-BE49-F238E27FC236}">
                <a16:creationId xmlns:a16="http://schemas.microsoft.com/office/drawing/2014/main" id="{FEE53D37-03B9-FEA3-D9B3-377C5ACE8FBB}"/>
              </a:ext>
            </a:extLst>
          </p:cNvPr>
          <p:cNvSpPr>
            <a:spLocks noGrp="1"/>
          </p:cNvSpPr>
          <p:nvPr>
            <p:ph type="body" sz="quarter" idx="52"/>
          </p:nvPr>
        </p:nvSpPr>
        <p:spPr>
          <a:xfrm>
            <a:off x="5437958" y="2791091"/>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3" name="Picture Placeholder 9">
            <a:extLst>
              <a:ext uri="{FF2B5EF4-FFF2-40B4-BE49-F238E27FC236}">
                <a16:creationId xmlns:a16="http://schemas.microsoft.com/office/drawing/2014/main" id="{D91880C0-5866-3A2D-E9A1-293A080C3CBC}"/>
              </a:ext>
            </a:extLst>
          </p:cNvPr>
          <p:cNvSpPr>
            <a:spLocks noGrp="1"/>
          </p:cNvSpPr>
          <p:nvPr>
            <p:ph type="pic" sz="quarter" idx="53" hasCustomPrompt="1"/>
          </p:nvPr>
        </p:nvSpPr>
        <p:spPr>
          <a:xfrm>
            <a:off x="4357530" y="3870187"/>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4" name="Text Placeholder 15">
            <a:extLst>
              <a:ext uri="{FF2B5EF4-FFF2-40B4-BE49-F238E27FC236}">
                <a16:creationId xmlns:a16="http://schemas.microsoft.com/office/drawing/2014/main" id="{68479F4A-C40B-C6DF-03E8-C507FF3D4573}"/>
              </a:ext>
            </a:extLst>
          </p:cNvPr>
          <p:cNvSpPr>
            <a:spLocks noGrp="1"/>
          </p:cNvSpPr>
          <p:nvPr>
            <p:ph type="body" sz="quarter" idx="54"/>
          </p:nvPr>
        </p:nvSpPr>
        <p:spPr>
          <a:xfrm>
            <a:off x="5437958" y="3870187"/>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5" name="Picture Placeholder 9">
            <a:extLst>
              <a:ext uri="{FF2B5EF4-FFF2-40B4-BE49-F238E27FC236}">
                <a16:creationId xmlns:a16="http://schemas.microsoft.com/office/drawing/2014/main" id="{C62DBBD6-D33E-DF74-5AE8-96D1913C8C20}"/>
              </a:ext>
            </a:extLst>
          </p:cNvPr>
          <p:cNvSpPr>
            <a:spLocks noGrp="1"/>
          </p:cNvSpPr>
          <p:nvPr>
            <p:ph type="pic" sz="quarter" idx="55" hasCustomPrompt="1"/>
          </p:nvPr>
        </p:nvSpPr>
        <p:spPr>
          <a:xfrm>
            <a:off x="4357530" y="4949284"/>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6" name="Text Placeholder 15">
            <a:extLst>
              <a:ext uri="{FF2B5EF4-FFF2-40B4-BE49-F238E27FC236}">
                <a16:creationId xmlns:a16="http://schemas.microsoft.com/office/drawing/2014/main" id="{05529239-A4B5-258D-03F5-01D3ADFE8873}"/>
              </a:ext>
            </a:extLst>
          </p:cNvPr>
          <p:cNvSpPr>
            <a:spLocks noGrp="1"/>
          </p:cNvSpPr>
          <p:nvPr>
            <p:ph type="body" sz="quarter" idx="56"/>
          </p:nvPr>
        </p:nvSpPr>
        <p:spPr>
          <a:xfrm>
            <a:off x="5437958" y="4949284"/>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7" name="Picture Placeholder 9">
            <a:extLst>
              <a:ext uri="{FF2B5EF4-FFF2-40B4-BE49-F238E27FC236}">
                <a16:creationId xmlns:a16="http://schemas.microsoft.com/office/drawing/2014/main" id="{114AD459-859C-6C0F-FB75-4B02606E57BB}"/>
              </a:ext>
            </a:extLst>
          </p:cNvPr>
          <p:cNvSpPr>
            <a:spLocks noGrp="1"/>
          </p:cNvSpPr>
          <p:nvPr>
            <p:ph type="pic" sz="quarter" idx="57" hasCustomPrompt="1"/>
          </p:nvPr>
        </p:nvSpPr>
        <p:spPr>
          <a:xfrm>
            <a:off x="8199122" y="1711995"/>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8" name="Text Placeholder 15">
            <a:extLst>
              <a:ext uri="{FF2B5EF4-FFF2-40B4-BE49-F238E27FC236}">
                <a16:creationId xmlns:a16="http://schemas.microsoft.com/office/drawing/2014/main" id="{4EAF0426-CCDA-221A-38EC-BBD417EBF569}"/>
              </a:ext>
            </a:extLst>
          </p:cNvPr>
          <p:cNvSpPr>
            <a:spLocks noGrp="1"/>
          </p:cNvSpPr>
          <p:nvPr>
            <p:ph type="body" sz="quarter" idx="58"/>
          </p:nvPr>
        </p:nvSpPr>
        <p:spPr>
          <a:xfrm>
            <a:off x="9279550" y="1711995"/>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9" name="Picture Placeholder 9">
            <a:extLst>
              <a:ext uri="{FF2B5EF4-FFF2-40B4-BE49-F238E27FC236}">
                <a16:creationId xmlns:a16="http://schemas.microsoft.com/office/drawing/2014/main" id="{EF2E7661-7F3A-851E-C60B-815DA8CE2A18}"/>
              </a:ext>
            </a:extLst>
          </p:cNvPr>
          <p:cNvSpPr>
            <a:spLocks noGrp="1"/>
          </p:cNvSpPr>
          <p:nvPr>
            <p:ph type="pic" sz="quarter" idx="59" hasCustomPrompt="1"/>
          </p:nvPr>
        </p:nvSpPr>
        <p:spPr>
          <a:xfrm>
            <a:off x="8199122" y="2786398"/>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70" name="Text Placeholder 15">
            <a:extLst>
              <a:ext uri="{FF2B5EF4-FFF2-40B4-BE49-F238E27FC236}">
                <a16:creationId xmlns:a16="http://schemas.microsoft.com/office/drawing/2014/main" id="{8748A2D7-29EB-EEF8-E6A5-383DA278969D}"/>
              </a:ext>
            </a:extLst>
          </p:cNvPr>
          <p:cNvSpPr>
            <a:spLocks noGrp="1"/>
          </p:cNvSpPr>
          <p:nvPr>
            <p:ph type="body" sz="quarter" idx="60"/>
          </p:nvPr>
        </p:nvSpPr>
        <p:spPr>
          <a:xfrm>
            <a:off x="9279550" y="2791091"/>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71" name="Picture Placeholder 9">
            <a:extLst>
              <a:ext uri="{FF2B5EF4-FFF2-40B4-BE49-F238E27FC236}">
                <a16:creationId xmlns:a16="http://schemas.microsoft.com/office/drawing/2014/main" id="{E88761E4-7653-636A-0723-500AE4782BC6}"/>
              </a:ext>
            </a:extLst>
          </p:cNvPr>
          <p:cNvSpPr>
            <a:spLocks noGrp="1"/>
          </p:cNvSpPr>
          <p:nvPr>
            <p:ph type="pic" sz="quarter" idx="61" hasCustomPrompt="1"/>
          </p:nvPr>
        </p:nvSpPr>
        <p:spPr>
          <a:xfrm>
            <a:off x="8199122" y="3870187"/>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72" name="Text Placeholder 15">
            <a:extLst>
              <a:ext uri="{FF2B5EF4-FFF2-40B4-BE49-F238E27FC236}">
                <a16:creationId xmlns:a16="http://schemas.microsoft.com/office/drawing/2014/main" id="{B10E2844-BD47-9C07-357D-9EA651BBCA67}"/>
              </a:ext>
            </a:extLst>
          </p:cNvPr>
          <p:cNvSpPr>
            <a:spLocks noGrp="1"/>
          </p:cNvSpPr>
          <p:nvPr>
            <p:ph type="body" sz="quarter" idx="62"/>
          </p:nvPr>
        </p:nvSpPr>
        <p:spPr>
          <a:xfrm>
            <a:off x="9279550" y="3870187"/>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73" name="Picture Placeholder 9">
            <a:extLst>
              <a:ext uri="{FF2B5EF4-FFF2-40B4-BE49-F238E27FC236}">
                <a16:creationId xmlns:a16="http://schemas.microsoft.com/office/drawing/2014/main" id="{310F2473-00CD-C33D-50C3-3F40271F3927}"/>
              </a:ext>
            </a:extLst>
          </p:cNvPr>
          <p:cNvSpPr>
            <a:spLocks noGrp="1"/>
          </p:cNvSpPr>
          <p:nvPr>
            <p:ph type="pic" sz="quarter" idx="63" hasCustomPrompt="1"/>
          </p:nvPr>
        </p:nvSpPr>
        <p:spPr>
          <a:xfrm>
            <a:off x="8199122" y="4949284"/>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74" name="Text Placeholder 15">
            <a:extLst>
              <a:ext uri="{FF2B5EF4-FFF2-40B4-BE49-F238E27FC236}">
                <a16:creationId xmlns:a16="http://schemas.microsoft.com/office/drawing/2014/main" id="{789611C4-8E98-E2CF-35EB-922860C66E00}"/>
              </a:ext>
            </a:extLst>
          </p:cNvPr>
          <p:cNvSpPr>
            <a:spLocks noGrp="1"/>
          </p:cNvSpPr>
          <p:nvPr>
            <p:ph type="body" sz="quarter" idx="64"/>
          </p:nvPr>
        </p:nvSpPr>
        <p:spPr>
          <a:xfrm>
            <a:off x="9279550" y="4949284"/>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Tree>
    <p:extLst>
      <p:ext uri="{BB962C8B-B14F-4D97-AF65-F5344CB8AC3E}">
        <p14:creationId xmlns:p14="http://schemas.microsoft.com/office/powerpoint/2010/main" val="4139621474"/>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33" name="Text Placeholder 8">
            <a:extLst>
              <a:ext uri="{FF2B5EF4-FFF2-40B4-BE49-F238E27FC236}">
                <a16:creationId xmlns:a16="http://schemas.microsoft.com/office/drawing/2014/main" id="{81187F35-DC43-A850-FE4F-7D60E8ED7A96}"/>
              </a:ext>
            </a:extLst>
          </p:cNvPr>
          <p:cNvSpPr>
            <a:spLocks noGrp="1"/>
          </p:cNvSpPr>
          <p:nvPr>
            <p:ph type="body" idx="13"/>
          </p:nvPr>
        </p:nvSpPr>
        <p:spPr>
          <a:xfrm>
            <a:off x="531133" y="1708830"/>
            <a:ext cx="11144930" cy="4204608"/>
          </a:xfrm>
        </p:spPr>
        <p:txBody>
          <a:bodyPr numCol="2" spcCol="360000">
            <a:normAutofit/>
          </a:bodyPr>
          <a:lstStyle>
            <a:lvl1pPr marL="457200" indent="-457200">
              <a:spcBef>
                <a:spcPts val="1800"/>
              </a:spcBef>
              <a:spcAft>
                <a:spcPts val="600"/>
              </a:spcAft>
              <a:buClr>
                <a:schemeClr val="bg2"/>
              </a:buClr>
              <a:buFont typeface="+mj-lt"/>
              <a:buAutoNum type="arabicPeriod"/>
              <a:defRPr sz="2400" b="1">
                <a:solidFill>
                  <a:schemeClr val="tx2">
                    <a:lumMod val="50000"/>
                  </a:schemeClr>
                </a:solidFill>
              </a:defRPr>
            </a:lvl1pPr>
            <a:lvl2pPr>
              <a:spcAft>
                <a:spcPts val="600"/>
              </a:spcAft>
              <a:defRPr sz="2000" b="1">
                <a:solidFill>
                  <a:schemeClr val="tx2">
                    <a:lumMod val="50000"/>
                  </a:schemeClr>
                </a:solidFill>
              </a:defRPr>
            </a:lvl2pPr>
            <a:lvl3pPr>
              <a:defRPr sz="2000" b="1">
                <a:solidFill>
                  <a:schemeClr val="tx2">
                    <a:lumMod val="50000"/>
                  </a:schemeClr>
                </a:solidFill>
              </a:defRPr>
            </a:lvl3pPr>
            <a:lvl4pPr>
              <a:defRPr sz="1800" b="1">
                <a:solidFill>
                  <a:schemeClr val="tx2">
                    <a:lumMod val="50000"/>
                  </a:schemeClr>
                </a:solidFill>
              </a:defRPr>
            </a:lvl4pPr>
            <a:lvl5pPr>
              <a:defRPr sz="1800" b="1">
                <a:solidFill>
                  <a:schemeClr val="tx2">
                    <a:lumMod val="50000"/>
                  </a:schemeClr>
                </a:solidFill>
              </a:defRPr>
            </a:lvl5pPr>
          </a:lstStyle>
          <a:p>
            <a:pPr lvl="0"/>
            <a:r>
              <a:rPr lang="en-GB"/>
              <a:t>Click to edit Master text styles</a:t>
            </a:r>
          </a:p>
          <a:p>
            <a:pPr lvl="1"/>
            <a:r>
              <a:rPr lang="en-GB"/>
              <a:t>Second level</a:t>
            </a:r>
          </a:p>
        </p:txBody>
      </p:sp>
    </p:spTree>
    <p:extLst>
      <p:ext uri="{BB962C8B-B14F-4D97-AF65-F5344CB8AC3E}">
        <p14:creationId xmlns:p14="http://schemas.microsoft.com/office/powerpoint/2010/main" val="843535308"/>
      </p:ext>
    </p:extLst>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6275323"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6275323" cy="343847"/>
          </a:xfrm>
        </p:spPr>
        <p:txBody>
          <a:bodyPr/>
          <a:lstStyle>
            <a:lvl1pPr>
              <a:defRPr>
                <a:solidFill>
                  <a:schemeClr val="bg2"/>
                </a:solidFill>
              </a:defRPr>
            </a:lvl1pPr>
          </a:lstStyle>
          <a:p>
            <a:pPr lvl="0"/>
            <a:r>
              <a:rPr lang="en-GB"/>
              <a:t>Click to edit Master text styles</a:t>
            </a:r>
          </a:p>
        </p:txBody>
      </p:sp>
      <p:sp>
        <p:nvSpPr>
          <p:cNvPr id="33" name="Text Placeholder 8">
            <a:extLst>
              <a:ext uri="{FF2B5EF4-FFF2-40B4-BE49-F238E27FC236}">
                <a16:creationId xmlns:a16="http://schemas.microsoft.com/office/drawing/2014/main" id="{81187F35-DC43-A850-FE4F-7D60E8ED7A96}"/>
              </a:ext>
            </a:extLst>
          </p:cNvPr>
          <p:cNvSpPr>
            <a:spLocks noGrp="1"/>
          </p:cNvSpPr>
          <p:nvPr>
            <p:ph type="body" idx="13"/>
          </p:nvPr>
        </p:nvSpPr>
        <p:spPr>
          <a:xfrm>
            <a:off x="531133" y="1708830"/>
            <a:ext cx="5376371" cy="4204608"/>
          </a:xfrm>
        </p:spPr>
        <p:txBody>
          <a:bodyPr numCol="1" spcCol="360000">
            <a:normAutofit/>
          </a:bodyPr>
          <a:lstStyle>
            <a:lvl1pPr marL="457200" indent="-457200">
              <a:spcBef>
                <a:spcPts val="600"/>
              </a:spcBef>
              <a:spcAft>
                <a:spcPts val="600"/>
              </a:spcAft>
              <a:buClr>
                <a:schemeClr val="bg2"/>
              </a:buClr>
              <a:buFont typeface="+mj-lt"/>
              <a:buAutoNum type="arabicPeriod"/>
              <a:defRPr sz="2400" b="1">
                <a:solidFill>
                  <a:schemeClr val="tx2">
                    <a:lumMod val="50000"/>
                  </a:schemeClr>
                </a:solidFill>
              </a:defRPr>
            </a:lvl1pPr>
            <a:lvl2pPr>
              <a:spcAft>
                <a:spcPts val="600"/>
              </a:spcAft>
              <a:defRPr sz="2000" b="1">
                <a:solidFill>
                  <a:schemeClr val="tx2">
                    <a:lumMod val="50000"/>
                  </a:schemeClr>
                </a:solidFill>
              </a:defRPr>
            </a:lvl2pPr>
            <a:lvl3pPr>
              <a:defRPr sz="2000" b="1">
                <a:solidFill>
                  <a:schemeClr val="tx2">
                    <a:lumMod val="50000"/>
                  </a:schemeClr>
                </a:solidFill>
              </a:defRPr>
            </a:lvl3pPr>
            <a:lvl4pPr>
              <a:defRPr sz="1800" b="1">
                <a:solidFill>
                  <a:schemeClr val="tx2">
                    <a:lumMod val="50000"/>
                  </a:schemeClr>
                </a:solidFill>
              </a:defRPr>
            </a:lvl4pPr>
            <a:lvl5pPr>
              <a:defRPr sz="1800" b="1">
                <a:solidFill>
                  <a:schemeClr val="tx2">
                    <a:lumMod val="50000"/>
                  </a:schemeClr>
                </a:solidFill>
              </a:defRPr>
            </a:lvl5pPr>
          </a:lstStyle>
          <a:p>
            <a:pPr lvl="0"/>
            <a:r>
              <a:rPr lang="en-GB"/>
              <a:t>Click to edit Master text styles</a:t>
            </a:r>
          </a:p>
          <a:p>
            <a:pPr lvl="1"/>
            <a:r>
              <a:rPr lang="en-GB"/>
              <a:t>Second level</a:t>
            </a:r>
          </a:p>
        </p:txBody>
      </p:sp>
      <p:sp>
        <p:nvSpPr>
          <p:cNvPr id="11" name="Text Placeholder 8">
            <a:extLst>
              <a:ext uri="{FF2B5EF4-FFF2-40B4-BE49-F238E27FC236}">
                <a16:creationId xmlns:a16="http://schemas.microsoft.com/office/drawing/2014/main" id="{91F8B0E5-465B-1592-BFB3-5F01C3B0E690}"/>
              </a:ext>
            </a:extLst>
          </p:cNvPr>
          <p:cNvSpPr>
            <a:spLocks noGrp="1"/>
          </p:cNvSpPr>
          <p:nvPr>
            <p:ph type="body" idx="15" hasCustomPrompt="1"/>
          </p:nvPr>
        </p:nvSpPr>
        <p:spPr>
          <a:xfrm>
            <a:off x="6132637" y="1708830"/>
            <a:ext cx="664405" cy="4204608"/>
          </a:xfrm>
        </p:spPr>
        <p:txBody>
          <a:bodyPr numCol="1" spcCol="360000">
            <a:normAutofit/>
          </a:bodyPr>
          <a:lstStyle>
            <a:lvl1pPr marL="0" indent="0" algn="r">
              <a:spcBef>
                <a:spcPts val="600"/>
              </a:spcBef>
              <a:spcAft>
                <a:spcPts val="600"/>
              </a:spcAft>
              <a:buClr>
                <a:schemeClr val="bg2"/>
              </a:buClr>
              <a:buFont typeface="+mj-lt"/>
              <a:buNone/>
              <a:defRPr sz="2400" b="0">
                <a:solidFill>
                  <a:schemeClr val="tx2">
                    <a:lumMod val="50000"/>
                  </a:schemeClr>
                </a:solidFill>
              </a:defRPr>
            </a:lvl1pPr>
            <a:lvl2pPr>
              <a:spcAft>
                <a:spcPts val="600"/>
              </a:spcAft>
              <a:defRPr sz="2000" b="1">
                <a:solidFill>
                  <a:schemeClr val="tx2">
                    <a:lumMod val="50000"/>
                  </a:schemeClr>
                </a:solidFill>
              </a:defRPr>
            </a:lvl2pPr>
            <a:lvl3pPr>
              <a:defRPr sz="2000" b="1">
                <a:solidFill>
                  <a:schemeClr val="tx2">
                    <a:lumMod val="50000"/>
                  </a:schemeClr>
                </a:solidFill>
              </a:defRPr>
            </a:lvl3pPr>
            <a:lvl4pPr>
              <a:defRPr sz="1800" b="1">
                <a:solidFill>
                  <a:schemeClr val="tx2">
                    <a:lumMod val="50000"/>
                  </a:schemeClr>
                </a:solidFill>
              </a:defRPr>
            </a:lvl4pPr>
            <a:lvl5pPr>
              <a:defRPr sz="1800" b="1">
                <a:solidFill>
                  <a:schemeClr val="tx2">
                    <a:lumMod val="50000"/>
                  </a:schemeClr>
                </a:solidFill>
              </a:defRPr>
            </a:lvl5pPr>
          </a:lstStyle>
          <a:p>
            <a:pPr lvl="0"/>
            <a:r>
              <a:rPr lang="en-GB"/>
              <a:t>X</a:t>
            </a:r>
          </a:p>
          <a:p>
            <a:pPr lvl="0"/>
            <a:endParaRPr lang="en-GB"/>
          </a:p>
        </p:txBody>
      </p:sp>
      <p:sp>
        <p:nvSpPr>
          <p:cNvPr id="12" name="Picture Placeholder 2">
            <a:extLst>
              <a:ext uri="{FF2B5EF4-FFF2-40B4-BE49-F238E27FC236}">
                <a16:creationId xmlns:a16="http://schemas.microsoft.com/office/drawing/2014/main" id="{EA8C7E29-42A4-2542-6547-ACCD8C92B2B5}"/>
              </a:ext>
            </a:extLst>
          </p:cNvPr>
          <p:cNvSpPr>
            <a:spLocks noGrp="1"/>
          </p:cNvSpPr>
          <p:nvPr>
            <p:ph type="pic" sz="quarter" idx="24"/>
          </p:nvPr>
        </p:nvSpPr>
        <p:spPr>
          <a:xfrm>
            <a:off x="7368539" y="366371"/>
            <a:ext cx="4307523" cy="5530549"/>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Tree>
    <p:extLst>
      <p:ext uri="{BB962C8B-B14F-4D97-AF65-F5344CB8AC3E}">
        <p14:creationId xmlns:p14="http://schemas.microsoft.com/office/powerpoint/2010/main" val="1508525669"/>
      </p:ext>
    </p:extLst>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3924245446"/>
      </p:ext>
    </p:extLst>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Title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2672103791"/>
      </p:ext>
    </p:extLst>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151537222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ubtitle, 2 columns">
    <p:spTree>
      <p:nvGrpSpPr>
        <p:cNvPr id="1" name=""/>
        <p:cNvGrpSpPr/>
        <p:nvPr/>
      </p:nvGrpSpPr>
      <p:grpSpPr>
        <a:xfrm>
          <a:off x="0" y="0"/>
          <a:ext cx="0" cy="0"/>
          <a:chOff x="0" y="0"/>
          <a:chExt cx="0" cy="0"/>
        </a:xfrm>
      </p:grpSpPr>
      <p:sp>
        <p:nvSpPr>
          <p:cNvPr id="13" name="Rectángulo 9"/>
          <p:cNvSpPr/>
          <p:nvPr userDrawn="1"/>
        </p:nvSpPr>
        <p:spPr>
          <a:xfrm>
            <a:off x="0" y="0"/>
            <a:ext cx="12187995" cy="108000"/>
          </a:xfrm>
          <a:prstGeom prst="rect">
            <a:avLst/>
          </a:prstGeom>
          <a:gradFill rotWithShape="1">
            <a:gsLst>
              <a:gs pos="0">
                <a:srgbClr val="A50021"/>
              </a:gs>
              <a:gs pos="100000">
                <a:srgbClr val="636463"/>
              </a:gs>
            </a:gsLst>
            <a:lin ang="16200000" scaled="0"/>
          </a:gradFill>
          <a:ln w="952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srgbClr val="F3EBDD"/>
              </a:solidFill>
              <a:effectLst/>
              <a:uLnTx/>
              <a:uFillTx/>
              <a:latin typeface="Arial"/>
              <a:ea typeface="+mn-ea"/>
              <a:cs typeface="+mn-cs"/>
            </a:endParaRPr>
          </a:p>
        </p:txBody>
      </p:sp>
      <p:sp>
        <p:nvSpPr>
          <p:cNvPr id="6" name="Rectangle 2"/>
          <p:cNvSpPr>
            <a:spLocks noGrp="1" noChangeArrowheads="1"/>
          </p:cNvSpPr>
          <p:nvPr>
            <p:ph type="title"/>
          </p:nvPr>
        </p:nvSpPr>
        <p:spPr bwMode="auto">
          <a:xfrm>
            <a:off x="609600" y="274638"/>
            <a:ext cx="10972800" cy="90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defRPr>
                <a:solidFill>
                  <a:srgbClr val="A50021"/>
                </a:solidFill>
              </a:defRPr>
            </a:lvl1pPr>
          </a:lstStyle>
          <a:p>
            <a:pPr lvl="0"/>
            <a:r>
              <a:rPr lang="fr-FR"/>
              <a:t>Cliquez pour modifier le style du titre</a:t>
            </a:r>
          </a:p>
        </p:txBody>
      </p:sp>
      <p:sp>
        <p:nvSpPr>
          <p:cNvPr id="4" name="Espace réservé du texte 2"/>
          <p:cNvSpPr>
            <a:spLocks noGrp="1"/>
          </p:cNvSpPr>
          <p:nvPr>
            <p:ph type="body" sz="half" idx="1"/>
          </p:nvPr>
        </p:nvSpPr>
        <p:spPr>
          <a:xfrm>
            <a:off x="609600" y="1614505"/>
            <a:ext cx="5384800" cy="4536504"/>
          </a:xfrm>
        </p:spPr>
        <p:txBody>
          <a:bodyPr/>
          <a:lstStyle>
            <a:lvl1pPr marL="342900" indent="-342900">
              <a:buClr>
                <a:srgbClr val="A50021"/>
              </a:buClr>
              <a:buFont typeface="Wingdings" pitchFamily="2" charset="2"/>
              <a:buChar char="§"/>
              <a:defRPr sz="3000">
                <a:latin typeface="Arial" pitchFamily="34" charset="0"/>
                <a:cs typeface="Arial" pitchFamily="34" charset="0"/>
              </a:defRPr>
            </a:lvl1pPr>
            <a:lvl2pPr marL="742950" indent="-285750">
              <a:buSzPct val="100000"/>
              <a:buFont typeface="Arial" pitchFamily="34" charset="0"/>
              <a:buChar char="•"/>
              <a:defRPr>
                <a:latin typeface="Arial" pitchFamily="34" charset="0"/>
                <a:cs typeface="Arial" pitchFamily="34" charset="0"/>
              </a:defRPr>
            </a:lvl2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contenu 3"/>
          <p:cNvSpPr>
            <a:spLocks noGrp="1"/>
          </p:cNvSpPr>
          <p:nvPr>
            <p:ph sz="half" idx="2"/>
          </p:nvPr>
        </p:nvSpPr>
        <p:spPr>
          <a:xfrm>
            <a:off x="6197600" y="1614505"/>
            <a:ext cx="5384800" cy="4536504"/>
          </a:xfrm>
        </p:spPr>
        <p:txBody>
          <a:bodyPr/>
          <a:lstStyle>
            <a:lvl1pPr marL="342900" indent="-342900">
              <a:buClr>
                <a:srgbClr val="A50021"/>
              </a:buClr>
              <a:buFont typeface="Wingdings" pitchFamily="2" charset="2"/>
              <a:buChar char="§"/>
              <a:defRPr sz="3000">
                <a:latin typeface="Arial" pitchFamily="34" charset="0"/>
                <a:cs typeface="Arial" pitchFamily="34" charset="0"/>
              </a:defRPr>
            </a:lvl1pPr>
            <a:lvl2pPr marL="742950" indent="-285750">
              <a:buSzPct val="100000"/>
              <a:buFont typeface="Arial" pitchFamily="34" charset="0"/>
              <a:buChar char="•"/>
              <a:defRPr>
                <a:latin typeface="Arial" pitchFamily="34" charset="0"/>
                <a:cs typeface="Arial" pitchFamily="34" charset="0"/>
              </a:defRPr>
            </a:lvl2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8" name="Espace réservé du texte 4"/>
          <p:cNvSpPr>
            <a:spLocks noGrp="1"/>
          </p:cNvSpPr>
          <p:nvPr>
            <p:ph type="body" sz="quarter" idx="12" hasCustomPrompt="1"/>
          </p:nvPr>
        </p:nvSpPr>
        <p:spPr>
          <a:xfrm>
            <a:off x="624417" y="908720"/>
            <a:ext cx="10944191" cy="504056"/>
          </a:xfrm>
          <a:noFill/>
        </p:spPr>
        <p:txBody>
          <a:bodyPr/>
          <a:lstStyle>
            <a:lvl1pPr marL="0" indent="0" algn="ctr" rtl="0" eaLnBrk="0" fontAlgn="base" hangingPunct="0">
              <a:spcBef>
                <a:spcPct val="0"/>
              </a:spcBef>
              <a:spcAft>
                <a:spcPct val="0"/>
              </a:spcAft>
              <a:buNone/>
              <a:defRPr lang="fr-FR" sz="2400" b="0" i="1" kern="1200" dirty="0" smtClean="0">
                <a:solidFill>
                  <a:srgbClr val="636463"/>
                </a:solidFill>
                <a:latin typeface="Arial"/>
                <a:ea typeface="+mn-ea"/>
                <a:cs typeface="+mn-cs"/>
              </a:defRPr>
            </a:lvl1pPr>
          </a:lstStyle>
          <a:p>
            <a:pPr lvl="0"/>
            <a:r>
              <a:rPr lang="fr-FR" err="1"/>
              <a:t>Subtitle</a:t>
            </a:r>
            <a:r>
              <a:rPr lang="fr-FR"/>
              <a:t> </a:t>
            </a:r>
          </a:p>
        </p:txBody>
      </p:sp>
    </p:spTree>
    <p:extLst>
      <p:ext uri="{BB962C8B-B14F-4D97-AF65-F5344CB8AC3E}">
        <p14:creationId xmlns:p14="http://schemas.microsoft.com/office/powerpoint/2010/main" val="396887122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Icons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United Against Rabies Forum Meeting - 6-8 November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Picture Placeholder 3">
            <a:extLst>
              <a:ext uri="{FF2B5EF4-FFF2-40B4-BE49-F238E27FC236}">
                <a16:creationId xmlns:a16="http://schemas.microsoft.com/office/drawing/2014/main" id="{78B95D78-F57A-6D40-A841-7D1E3B08277B}"/>
              </a:ext>
            </a:extLst>
          </p:cNvPr>
          <p:cNvSpPr>
            <a:spLocks noGrp="1"/>
          </p:cNvSpPr>
          <p:nvPr>
            <p:ph type="pic" sz="quarter" idx="13"/>
          </p:nvPr>
        </p:nvSpPr>
        <p:spPr>
          <a:xfrm>
            <a:off x="515938"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8"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8"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47" name="Picture Placeholder 3">
            <a:extLst>
              <a:ext uri="{FF2B5EF4-FFF2-40B4-BE49-F238E27FC236}">
                <a16:creationId xmlns:a16="http://schemas.microsoft.com/office/drawing/2014/main" id="{F48D299A-6257-AC74-0FD7-6D22E29A5C4F}"/>
              </a:ext>
            </a:extLst>
          </p:cNvPr>
          <p:cNvSpPr>
            <a:spLocks noGrp="1"/>
          </p:cNvSpPr>
          <p:nvPr>
            <p:ph type="pic" sz="quarter" idx="17"/>
          </p:nvPr>
        </p:nvSpPr>
        <p:spPr>
          <a:xfrm>
            <a:off x="3387491"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48" name="Text Placeholder 6">
            <a:extLst>
              <a:ext uri="{FF2B5EF4-FFF2-40B4-BE49-F238E27FC236}">
                <a16:creationId xmlns:a16="http://schemas.microsoft.com/office/drawing/2014/main" id="{9E3D1709-B9E8-6689-9456-9D1A08D7BAA7}"/>
              </a:ext>
            </a:extLst>
          </p:cNvPr>
          <p:cNvSpPr>
            <a:spLocks noGrp="1"/>
          </p:cNvSpPr>
          <p:nvPr>
            <p:ph type="body" sz="quarter" idx="18"/>
          </p:nvPr>
        </p:nvSpPr>
        <p:spPr>
          <a:xfrm>
            <a:off x="3387491"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49" name="Text Placeholder 6">
            <a:extLst>
              <a:ext uri="{FF2B5EF4-FFF2-40B4-BE49-F238E27FC236}">
                <a16:creationId xmlns:a16="http://schemas.microsoft.com/office/drawing/2014/main" id="{C714C56E-261C-2C43-2BCC-4B86E64EE017}"/>
              </a:ext>
            </a:extLst>
          </p:cNvPr>
          <p:cNvSpPr>
            <a:spLocks noGrp="1"/>
          </p:cNvSpPr>
          <p:nvPr>
            <p:ph type="body" sz="quarter" idx="19"/>
          </p:nvPr>
        </p:nvSpPr>
        <p:spPr>
          <a:xfrm>
            <a:off x="3387491"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0" name="Picture Placeholder 3">
            <a:extLst>
              <a:ext uri="{FF2B5EF4-FFF2-40B4-BE49-F238E27FC236}">
                <a16:creationId xmlns:a16="http://schemas.microsoft.com/office/drawing/2014/main" id="{7BD682FD-9976-0C80-A887-A4D6D2E292BF}"/>
              </a:ext>
            </a:extLst>
          </p:cNvPr>
          <p:cNvSpPr>
            <a:spLocks noGrp="1"/>
          </p:cNvSpPr>
          <p:nvPr>
            <p:ph type="pic" sz="quarter" idx="20"/>
          </p:nvPr>
        </p:nvSpPr>
        <p:spPr>
          <a:xfrm>
            <a:off x="6259044"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1" name="Text Placeholder 6">
            <a:extLst>
              <a:ext uri="{FF2B5EF4-FFF2-40B4-BE49-F238E27FC236}">
                <a16:creationId xmlns:a16="http://schemas.microsoft.com/office/drawing/2014/main" id="{A9A5BE6C-6EDB-FAB6-4644-C243D0C50113}"/>
              </a:ext>
            </a:extLst>
          </p:cNvPr>
          <p:cNvSpPr>
            <a:spLocks noGrp="1"/>
          </p:cNvSpPr>
          <p:nvPr>
            <p:ph type="body" sz="quarter" idx="21"/>
          </p:nvPr>
        </p:nvSpPr>
        <p:spPr>
          <a:xfrm>
            <a:off x="6259044"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2" name="Text Placeholder 6">
            <a:extLst>
              <a:ext uri="{FF2B5EF4-FFF2-40B4-BE49-F238E27FC236}">
                <a16:creationId xmlns:a16="http://schemas.microsoft.com/office/drawing/2014/main" id="{CB0F2787-5A74-A6DE-F13C-3D79E01FA602}"/>
              </a:ext>
            </a:extLst>
          </p:cNvPr>
          <p:cNvSpPr>
            <a:spLocks noGrp="1"/>
          </p:cNvSpPr>
          <p:nvPr>
            <p:ph type="body" sz="quarter" idx="22"/>
          </p:nvPr>
        </p:nvSpPr>
        <p:spPr>
          <a:xfrm>
            <a:off x="6259044"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3" name="Picture Placeholder 3">
            <a:extLst>
              <a:ext uri="{FF2B5EF4-FFF2-40B4-BE49-F238E27FC236}">
                <a16:creationId xmlns:a16="http://schemas.microsoft.com/office/drawing/2014/main" id="{201E793D-C775-4026-041E-34664EC7CB24}"/>
              </a:ext>
            </a:extLst>
          </p:cNvPr>
          <p:cNvSpPr>
            <a:spLocks noGrp="1"/>
          </p:cNvSpPr>
          <p:nvPr>
            <p:ph type="pic" sz="quarter" idx="23"/>
          </p:nvPr>
        </p:nvSpPr>
        <p:spPr>
          <a:xfrm>
            <a:off x="9130597"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4" name="Text Placeholder 6">
            <a:extLst>
              <a:ext uri="{FF2B5EF4-FFF2-40B4-BE49-F238E27FC236}">
                <a16:creationId xmlns:a16="http://schemas.microsoft.com/office/drawing/2014/main" id="{804BD5F4-CAC4-3B9A-26F3-C0C1833171E1}"/>
              </a:ext>
            </a:extLst>
          </p:cNvPr>
          <p:cNvSpPr>
            <a:spLocks noGrp="1"/>
          </p:cNvSpPr>
          <p:nvPr>
            <p:ph type="body" sz="quarter" idx="24"/>
          </p:nvPr>
        </p:nvSpPr>
        <p:spPr>
          <a:xfrm>
            <a:off x="9130598"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5" name="Text Placeholder 6">
            <a:extLst>
              <a:ext uri="{FF2B5EF4-FFF2-40B4-BE49-F238E27FC236}">
                <a16:creationId xmlns:a16="http://schemas.microsoft.com/office/drawing/2014/main" id="{B233CA27-29C3-9FC3-D859-9E09C4A5F850}"/>
              </a:ext>
            </a:extLst>
          </p:cNvPr>
          <p:cNvSpPr>
            <a:spLocks noGrp="1"/>
          </p:cNvSpPr>
          <p:nvPr>
            <p:ph type="body" sz="quarter" idx="25"/>
          </p:nvPr>
        </p:nvSpPr>
        <p:spPr>
          <a:xfrm>
            <a:off x="9130598"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3642468818"/>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Title Only – Dark">
    <p:bg>
      <p:bgPr>
        <a:solidFill>
          <a:schemeClr val="tx2">
            <a:lumMod val="75000"/>
          </a:schemeClr>
        </a:solidFill>
        <a:effectLst/>
      </p:bgPr>
    </p:bg>
    <p:spTree>
      <p:nvGrpSpPr>
        <p:cNvPr id="1" name=""/>
        <p:cNvGrpSpPr/>
        <p:nvPr/>
      </p:nvGrpSpPr>
      <p:grpSpPr>
        <a:xfrm>
          <a:off x="0" y="0"/>
          <a:ext cx="0" cy="0"/>
          <a:chOff x="0" y="0"/>
          <a:chExt cx="0" cy="0"/>
        </a:xfrm>
      </p:grpSpPr>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lvl1pPr>
              <a:defRPr>
                <a:solidFill>
                  <a:schemeClr val="bg1"/>
                </a:solidFill>
              </a:defRPr>
            </a:lvl1p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solidFill>
                  <a:schemeClr val="bg1">
                    <a:lumMod val="85000"/>
                  </a:schemeClr>
                </a:solidFill>
              </a:defRPr>
            </a:lvl1pPr>
          </a:lstStyle>
          <a:p>
            <a:fld id="{AB746B08-255A-2748-8A21-40BE94A17FD1}" type="slidenum">
              <a:rPr lang="en-GB" smtClean="0"/>
              <a:pPr/>
              <a:t>‹#›</a:t>
            </a:fld>
            <a:endParaRPr lang="en-GB"/>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solidFill>
                  <a:schemeClr val="bg1">
                    <a:lumMod val="85000"/>
                  </a:schemeClr>
                </a:solidFill>
              </a:defRPr>
            </a:lvl1pPr>
          </a:lstStyle>
          <a:p>
            <a:r>
              <a:rPr lang="en-US"/>
              <a:t>GNN webinar on rabies 6 May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3206335454"/>
      </p:ext>
    </p:extLst>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Large Key Stat">
    <p:bg>
      <p:bgPr>
        <a:blipFill dpi="0" rotWithShape="1">
          <a:blip r:embed="rId2">
            <a:lum/>
            <a:extLst>
              <a:ext uri="{28A0092B-C50C-407E-A947-70E740481C1C}">
                <a14:useLocalDpi xmlns:a14="http://schemas.microsoft.com/office/drawing/2010/main"/>
              </a:ext>
            </a:extLst>
          </a:blip>
          <a:srcRect/>
          <a:stretch>
            <a:fillRect t="-3000" b="-3000"/>
          </a:stretch>
        </a:blip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9290FAF2-2869-2B9B-5880-4EE57045BC4F}"/>
              </a:ext>
            </a:extLst>
          </p:cNvPr>
          <p:cNvSpPr>
            <a:spLocks noGrp="1"/>
          </p:cNvSpPr>
          <p:nvPr>
            <p:ph type="title" hasCustomPrompt="1"/>
          </p:nvPr>
        </p:nvSpPr>
        <p:spPr>
          <a:xfrm>
            <a:off x="518828" y="1249683"/>
            <a:ext cx="11208352" cy="2690816"/>
          </a:xfrm>
          <a:prstGeom prst="rect">
            <a:avLst/>
          </a:prstGeom>
        </p:spPr>
        <p:txBody>
          <a:bodyPr vert="horz" lIns="0" tIns="0" rIns="0" bIns="0" rtlCol="0" anchor="b">
            <a:noAutofit/>
          </a:bodyPr>
          <a:lstStyle>
            <a:lvl1pPr>
              <a:defRPr sz="11500">
                <a:solidFill>
                  <a:schemeClr val="bg1"/>
                </a:solidFill>
              </a:defRPr>
            </a:lvl1pPr>
          </a:lstStyle>
          <a:p>
            <a:r>
              <a:rPr lang="en-GB"/>
              <a:t>XXXXXX</a:t>
            </a:r>
          </a:p>
        </p:txBody>
      </p:sp>
      <p:sp>
        <p:nvSpPr>
          <p:cNvPr id="8" name="Slide Number Placeholder 2">
            <a:extLst>
              <a:ext uri="{FF2B5EF4-FFF2-40B4-BE49-F238E27FC236}">
                <a16:creationId xmlns:a16="http://schemas.microsoft.com/office/drawing/2014/main" id="{0F9BA01A-4636-2441-F8D0-2E265BF7D8B4}"/>
              </a:ext>
            </a:extLst>
          </p:cNvPr>
          <p:cNvSpPr>
            <a:spLocks noGrp="1"/>
          </p:cNvSpPr>
          <p:nvPr>
            <p:ph type="sldNum" sz="quarter" idx="12"/>
          </p:nvPr>
        </p:nvSpPr>
        <p:spPr>
          <a:xfrm>
            <a:off x="515937" y="6353142"/>
            <a:ext cx="261630" cy="136526"/>
          </a:xfrm>
          <a:prstGeom prst="rect">
            <a:avLst/>
          </a:prstGeom>
        </p:spPr>
        <p:txBody>
          <a:bodyPr anchor="b"/>
          <a:lstStyle>
            <a:lvl1pPr>
              <a:defRPr sz="800">
                <a:solidFill>
                  <a:schemeClr val="bg1">
                    <a:lumMod val="85000"/>
                  </a:schemeClr>
                </a:solidFill>
              </a:defRPr>
            </a:lvl1pPr>
          </a:lstStyle>
          <a:p>
            <a:fld id="{AB746B08-255A-2748-8A21-40BE94A17FD1}" type="slidenum">
              <a:rPr lang="en-GB" smtClean="0"/>
              <a:pPr/>
              <a:t>‹#›</a:t>
            </a:fld>
            <a:endParaRPr lang="en-GB"/>
          </a:p>
        </p:txBody>
      </p:sp>
      <p:cxnSp>
        <p:nvCxnSpPr>
          <p:cNvPr id="12" name="Straight Connector 11">
            <a:extLst>
              <a:ext uri="{FF2B5EF4-FFF2-40B4-BE49-F238E27FC236}">
                <a16:creationId xmlns:a16="http://schemas.microsoft.com/office/drawing/2014/main" id="{AC751308-8682-E296-A343-1719555B3C95}"/>
              </a:ext>
            </a:extLst>
          </p:cNvPr>
          <p:cNvCxnSpPr>
            <a:cxnSpLocks/>
          </p:cNvCxnSpPr>
          <p:nvPr userDrawn="1"/>
        </p:nvCxnSpPr>
        <p:spPr>
          <a:xfrm>
            <a:off x="515937" y="6293461"/>
            <a:ext cx="1001979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3" name="Footer Placeholder 1">
            <a:extLst>
              <a:ext uri="{FF2B5EF4-FFF2-40B4-BE49-F238E27FC236}">
                <a16:creationId xmlns:a16="http://schemas.microsoft.com/office/drawing/2014/main" id="{A1AFB23D-B299-93C8-2304-575B5ED93621}"/>
              </a:ext>
            </a:extLst>
          </p:cNvPr>
          <p:cNvSpPr>
            <a:spLocks noGrp="1"/>
          </p:cNvSpPr>
          <p:nvPr>
            <p:ph type="ftr" sz="quarter" idx="11"/>
          </p:nvPr>
        </p:nvSpPr>
        <p:spPr>
          <a:xfrm>
            <a:off x="777567" y="6353142"/>
            <a:ext cx="4114800" cy="136526"/>
          </a:xfrm>
          <a:prstGeom prst="rect">
            <a:avLst/>
          </a:prstGeom>
        </p:spPr>
        <p:txBody>
          <a:bodyPr anchor="b"/>
          <a:lstStyle>
            <a:lvl1pPr>
              <a:defRPr sz="800">
                <a:solidFill>
                  <a:schemeClr val="bg1">
                    <a:lumMod val="85000"/>
                  </a:schemeClr>
                </a:solidFill>
              </a:defRPr>
            </a:lvl1pPr>
          </a:lstStyle>
          <a:p>
            <a:r>
              <a:rPr lang="en-US"/>
              <a:t>GNN webinar on rabies 6 May 2024</a:t>
            </a:r>
            <a:endParaRPr lang="en-GB"/>
          </a:p>
        </p:txBody>
      </p:sp>
      <p:pic>
        <p:nvPicPr>
          <p:cNvPr id="15" name="Picture 11">
            <a:extLst>
              <a:ext uri="{FF2B5EF4-FFF2-40B4-BE49-F238E27FC236}">
                <a16:creationId xmlns:a16="http://schemas.microsoft.com/office/drawing/2014/main" id="{A4BBC3E9-F3A2-C188-5A3A-9D714331C860}"/>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633506" y="6109976"/>
            <a:ext cx="1036776" cy="381653"/>
          </a:xfrm>
          <a:prstGeom prst="rect">
            <a:avLst/>
          </a:prstGeom>
        </p:spPr>
      </p:pic>
      <p:sp>
        <p:nvSpPr>
          <p:cNvPr id="16" name="Text Placeholder 6">
            <a:extLst>
              <a:ext uri="{FF2B5EF4-FFF2-40B4-BE49-F238E27FC236}">
                <a16:creationId xmlns:a16="http://schemas.microsoft.com/office/drawing/2014/main" id="{64AB32E5-85C1-B8E6-505F-2580C9B2E9EE}"/>
              </a:ext>
            </a:extLst>
          </p:cNvPr>
          <p:cNvSpPr>
            <a:spLocks noGrp="1"/>
          </p:cNvSpPr>
          <p:nvPr>
            <p:ph type="body" sz="quarter" idx="16"/>
          </p:nvPr>
        </p:nvSpPr>
        <p:spPr>
          <a:xfrm>
            <a:off x="515936" y="4053840"/>
            <a:ext cx="6364924" cy="1668779"/>
          </a:xfrm>
        </p:spPr>
        <p:txBody>
          <a:bodyPr>
            <a:noAutofit/>
          </a:bodyPr>
          <a:lstStyle>
            <a:lvl1pPr>
              <a:defRPr sz="2400" b="1">
                <a:solidFill>
                  <a:schemeClr val="bg1"/>
                </a:solidFill>
              </a:defRPr>
            </a:lvl1pPr>
          </a:lstStyle>
          <a:p>
            <a:pPr lvl="0"/>
            <a:r>
              <a:rPr lang="en-GB"/>
              <a:t>Click to edit Master text styles</a:t>
            </a:r>
          </a:p>
        </p:txBody>
      </p:sp>
    </p:spTree>
    <p:extLst>
      <p:ext uri="{BB962C8B-B14F-4D97-AF65-F5344CB8AC3E}">
        <p14:creationId xmlns:p14="http://schemas.microsoft.com/office/powerpoint/2010/main" val="184222652"/>
      </p:ext>
    </p:extLst>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userDrawn="1">
  <p:cSld name="Thank You">
    <p:bg>
      <p:bgPr>
        <a:blipFill dpi="0" rotWithShape="1">
          <a:blip r:embed="rId2">
            <a:lum/>
            <a:extLst>
              <a:ext uri="{28A0092B-C50C-407E-A947-70E740481C1C}">
                <a14:useLocalDpi xmlns:a14="http://schemas.microsoft.com/office/drawing/2010/main"/>
              </a:ext>
            </a:extLst>
          </a:blip>
          <a:srcRect/>
          <a:stretch>
            <a:fillRect t="-3000" b="-3000"/>
          </a:stretch>
        </a:blipFill>
        <a:effectLst/>
      </p:bgPr>
    </p:bg>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52467373-D57C-F842-8976-B87DEFBE83BE}"/>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361533" y="441777"/>
            <a:ext cx="1304260" cy="487680"/>
          </a:xfrm>
          <a:prstGeom prst="rect">
            <a:avLst/>
          </a:prstGeom>
        </p:spPr>
      </p:pic>
      <p:sp>
        <p:nvSpPr>
          <p:cNvPr id="9" name="Title 8">
            <a:extLst>
              <a:ext uri="{FF2B5EF4-FFF2-40B4-BE49-F238E27FC236}">
                <a16:creationId xmlns:a16="http://schemas.microsoft.com/office/drawing/2014/main" id="{89FFAF13-E12B-E54E-B2B2-5142A884DB82}"/>
              </a:ext>
            </a:extLst>
          </p:cNvPr>
          <p:cNvSpPr>
            <a:spLocks noGrp="1"/>
          </p:cNvSpPr>
          <p:nvPr>
            <p:ph type="title" hasCustomPrompt="1"/>
          </p:nvPr>
        </p:nvSpPr>
        <p:spPr>
          <a:xfrm>
            <a:off x="521719" y="2936557"/>
            <a:ext cx="11154344" cy="984885"/>
          </a:xfrm>
        </p:spPr>
        <p:txBody>
          <a:bodyPr anchor="ctr">
            <a:spAutoFit/>
          </a:bodyPr>
          <a:lstStyle>
            <a:lvl1pPr>
              <a:lnSpc>
                <a:spcPct val="80000"/>
              </a:lnSpc>
              <a:defRPr sz="8000">
                <a:solidFill>
                  <a:schemeClr val="bg1"/>
                </a:solidFill>
              </a:defRPr>
            </a:lvl1pPr>
          </a:lstStyle>
          <a:p>
            <a:r>
              <a:rPr lang="en-GB"/>
              <a:t>Thank you</a:t>
            </a:r>
          </a:p>
        </p:txBody>
      </p:sp>
    </p:spTree>
    <p:extLst>
      <p:ext uri="{BB962C8B-B14F-4D97-AF65-F5344CB8AC3E}">
        <p14:creationId xmlns:p14="http://schemas.microsoft.com/office/powerpoint/2010/main" val="3866403814"/>
      </p:ext>
    </p:extLst>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extLst>
              <a:ext uri="{28A0092B-C50C-407E-A947-70E740481C1C}">
                <a14:useLocalDpi xmlns:a14="http://schemas.microsoft.com/office/drawing/2010/main"/>
              </a:ext>
            </a:extLst>
          </a:blip>
          <a:srcRect/>
          <a:stretch>
            <a:fillRect t="-3000" b="-3000"/>
          </a:stretch>
        </a:blipFill>
        <a:effectLst/>
      </p:bgPr>
    </p:bg>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52467373-D57C-F842-8976-B87DEFBE83BE}"/>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361533" y="441777"/>
            <a:ext cx="1304260" cy="487680"/>
          </a:xfrm>
          <a:prstGeom prst="rect">
            <a:avLst/>
          </a:prstGeom>
        </p:spPr>
      </p:pic>
      <p:sp>
        <p:nvSpPr>
          <p:cNvPr id="3" name="Text Placeholder 2">
            <a:extLst>
              <a:ext uri="{FF2B5EF4-FFF2-40B4-BE49-F238E27FC236}">
                <a16:creationId xmlns:a16="http://schemas.microsoft.com/office/drawing/2014/main" id="{9D4F144B-74C7-A148-8E87-6034061E0CB6}"/>
              </a:ext>
            </a:extLst>
          </p:cNvPr>
          <p:cNvSpPr>
            <a:spLocks noGrp="1"/>
          </p:cNvSpPr>
          <p:nvPr>
            <p:ph type="body" sz="quarter" idx="10" hasCustomPrompt="1"/>
          </p:nvPr>
        </p:nvSpPr>
        <p:spPr>
          <a:xfrm>
            <a:off x="515938" y="1920394"/>
            <a:ext cx="7964947" cy="234609"/>
          </a:xfrm>
        </p:spPr>
        <p:txBody>
          <a:bodyPr>
            <a:normAutofit/>
          </a:bodyPr>
          <a:lstStyle>
            <a:lvl1pPr>
              <a:defRPr sz="1600" spc="300">
                <a:solidFill>
                  <a:schemeClr val="bg1"/>
                </a:solidFill>
              </a:defRPr>
            </a:lvl1pPr>
          </a:lstStyle>
          <a:p>
            <a:pPr lvl="0"/>
            <a:r>
              <a:rPr lang="en-GB"/>
              <a:t>SUBTITLE GOES HERE: TYPE IN CAPITALS</a:t>
            </a:r>
          </a:p>
        </p:txBody>
      </p:sp>
      <p:sp>
        <p:nvSpPr>
          <p:cNvPr id="9" name="Title 8">
            <a:extLst>
              <a:ext uri="{FF2B5EF4-FFF2-40B4-BE49-F238E27FC236}">
                <a16:creationId xmlns:a16="http://schemas.microsoft.com/office/drawing/2014/main" id="{89FFAF13-E12B-E54E-B2B2-5142A884DB82}"/>
              </a:ext>
            </a:extLst>
          </p:cNvPr>
          <p:cNvSpPr>
            <a:spLocks noGrp="1"/>
          </p:cNvSpPr>
          <p:nvPr>
            <p:ph type="title"/>
          </p:nvPr>
        </p:nvSpPr>
        <p:spPr>
          <a:xfrm>
            <a:off x="521719" y="2605179"/>
            <a:ext cx="11154344" cy="1929036"/>
          </a:xfrm>
        </p:spPr>
        <p:txBody>
          <a:bodyPr>
            <a:normAutofit/>
          </a:bodyPr>
          <a:lstStyle>
            <a:lvl1pPr>
              <a:lnSpc>
                <a:spcPct val="80000"/>
              </a:lnSpc>
              <a:defRPr sz="6600">
                <a:solidFill>
                  <a:schemeClr val="bg1"/>
                </a:solidFill>
              </a:defRPr>
            </a:lvl1pPr>
          </a:lstStyle>
          <a:p>
            <a:r>
              <a:rPr lang="en-US"/>
              <a:t>Click to edit Master title style</a:t>
            </a:r>
            <a:endParaRPr lang="en-GB"/>
          </a:p>
        </p:txBody>
      </p:sp>
      <p:sp>
        <p:nvSpPr>
          <p:cNvPr id="10" name="Text Placeholder 2">
            <a:extLst>
              <a:ext uri="{FF2B5EF4-FFF2-40B4-BE49-F238E27FC236}">
                <a16:creationId xmlns:a16="http://schemas.microsoft.com/office/drawing/2014/main" id="{9878A746-9E85-F24C-AD58-8F45F83396CC}"/>
              </a:ext>
            </a:extLst>
          </p:cNvPr>
          <p:cNvSpPr>
            <a:spLocks noGrp="1"/>
          </p:cNvSpPr>
          <p:nvPr>
            <p:ph type="body" sz="quarter" idx="11" hasCustomPrompt="1"/>
          </p:nvPr>
        </p:nvSpPr>
        <p:spPr>
          <a:xfrm>
            <a:off x="515938" y="6302341"/>
            <a:ext cx="5832475" cy="187359"/>
          </a:xfrm>
        </p:spPr>
        <p:txBody>
          <a:bodyPr anchor="b">
            <a:spAutoFit/>
          </a:bodyPr>
          <a:lstStyle>
            <a:lvl1pPr>
              <a:defRPr sz="1200" spc="0">
                <a:solidFill>
                  <a:schemeClr val="bg1"/>
                </a:solidFill>
              </a:defRPr>
            </a:lvl1pPr>
          </a:lstStyle>
          <a:p>
            <a:pPr lvl="0"/>
            <a:r>
              <a:rPr lang="en-GB"/>
              <a:t>Subtitle goes here</a:t>
            </a:r>
          </a:p>
        </p:txBody>
      </p:sp>
      <p:sp>
        <p:nvSpPr>
          <p:cNvPr id="11" name="Text Placeholder 2">
            <a:extLst>
              <a:ext uri="{FF2B5EF4-FFF2-40B4-BE49-F238E27FC236}">
                <a16:creationId xmlns:a16="http://schemas.microsoft.com/office/drawing/2014/main" id="{7AFD6BA4-8A31-2C45-81C0-67141C06959C}"/>
              </a:ext>
            </a:extLst>
          </p:cNvPr>
          <p:cNvSpPr txBox="1">
            <a:spLocks/>
          </p:cNvSpPr>
          <p:nvPr userDrawn="1"/>
        </p:nvSpPr>
        <p:spPr>
          <a:xfrm>
            <a:off x="10367425" y="6173816"/>
            <a:ext cx="1303626" cy="315884"/>
          </a:xfrm>
          <a:prstGeom prst="rect">
            <a:avLst/>
          </a:prstGeom>
        </p:spPr>
        <p:txBody>
          <a:bodyPr lIns="0" tIns="0" rIns="0" bIns="0" anchor="b"/>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a:r>
              <a:rPr lang="en-GB" sz="1800" b="1">
                <a:solidFill>
                  <a:schemeClr val="bg2"/>
                </a:solidFill>
              </a:rPr>
              <a:t>gavi.org</a:t>
            </a:r>
          </a:p>
        </p:txBody>
      </p:sp>
    </p:spTree>
    <p:extLst>
      <p:ext uri="{BB962C8B-B14F-4D97-AF65-F5344CB8AC3E}">
        <p14:creationId xmlns:p14="http://schemas.microsoft.com/office/powerpoint/2010/main" val="2898837311"/>
      </p:ext>
    </p:extLst>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Title Slide + Image">
    <p:bg>
      <p:bgPr>
        <a:blipFill dpi="0" rotWithShape="1">
          <a:blip r:embed="rId2">
            <a:lum/>
            <a:extLst>
              <a:ext uri="{28A0092B-C50C-407E-A947-70E740481C1C}">
                <a14:useLocalDpi xmlns:a14="http://schemas.microsoft.com/office/drawing/2010/main"/>
              </a:ext>
            </a:extLst>
          </a:blip>
          <a:srcRect/>
          <a:stretch>
            <a:fillRect t="-3000" b="-3000"/>
          </a:stretch>
        </a:blipFill>
        <a:effectLst/>
      </p:bgPr>
    </p:bg>
    <p:spTree>
      <p:nvGrpSpPr>
        <p:cNvPr id="1" name=""/>
        <p:cNvGrpSpPr/>
        <p:nvPr/>
      </p:nvGrpSpPr>
      <p:grpSpPr>
        <a:xfrm>
          <a:off x="0" y="0"/>
          <a:ext cx="0" cy="0"/>
          <a:chOff x="0" y="0"/>
          <a:chExt cx="0" cy="0"/>
        </a:xfrm>
      </p:grpSpPr>
      <p:sp>
        <p:nvSpPr>
          <p:cNvPr id="7" name="Picture Placeholder 14">
            <a:extLst>
              <a:ext uri="{FF2B5EF4-FFF2-40B4-BE49-F238E27FC236}">
                <a16:creationId xmlns:a16="http://schemas.microsoft.com/office/drawing/2014/main" id="{86A756F5-203A-4C4F-9479-348B2905A666}"/>
              </a:ext>
            </a:extLst>
          </p:cNvPr>
          <p:cNvSpPr>
            <a:spLocks noGrp="1"/>
          </p:cNvSpPr>
          <p:nvPr>
            <p:ph type="pic" sz="quarter" idx="18" hasCustomPrompt="1"/>
          </p:nvPr>
        </p:nvSpPr>
        <p:spPr>
          <a:xfrm>
            <a:off x="5501514" y="0"/>
            <a:ext cx="6690486" cy="6858000"/>
          </a:xfrm>
          <a:custGeom>
            <a:avLst/>
            <a:gdLst>
              <a:gd name="connsiteX0" fmla="*/ 0 w 7942912"/>
              <a:gd name="connsiteY0" fmla="*/ 0 h 6858000"/>
              <a:gd name="connsiteX1" fmla="*/ 7942912 w 7942912"/>
              <a:gd name="connsiteY1" fmla="*/ 0 h 6858000"/>
              <a:gd name="connsiteX2" fmla="*/ 7942912 w 7942912"/>
              <a:gd name="connsiteY2" fmla="*/ 6858000 h 6858000"/>
              <a:gd name="connsiteX3" fmla="*/ 704040 w 7942912"/>
              <a:gd name="connsiteY3" fmla="*/ 6858000 h 6858000"/>
              <a:gd name="connsiteX4" fmla="*/ 704040 w 7942912"/>
              <a:gd name="connsiteY4" fmla="*/ 704067 h 6858000"/>
              <a:gd name="connsiteX5" fmla="*/ 141865 w 7942912"/>
              <a:gd name="connsiteY5" fmla="*/ 1430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42912" h="6858000">
                <a:moveTo>
                  <a:pt x="0" y="0"/>
                </a:moveTo>
                <a:lnTo>
                  <a:pt x="7942912" y="0"/>
                </a:lnTo>
                <a:lnTo>
                  <a:pt x="7942912" y="6858000"/>
                </a:lnTo>
                <a:lnTo>
                  <a:pt x="704040" y="6858000"/>
                </a:lnTo>
                <a:lnTo>
                  <a:pt x="704040" y="704067"/>
                </a:lnTo>
                <a:cubicBezTo>
                  <a:pt x="704040" y="363826"/>
                  <a:pt x="462698" y="79953"/>
                  <a:pt x="141865" y="14301"/>
                </a:cubicBezTo>
                <a:close/>
              </a:path>
            </a:pathLst>
          </a:custGeom>
          <a:solidFill>
            <a:schemeClr val="bg1">
              <a:lumMod val="85000"/>
            </a:schemeClr>
          </a:solidFill>
        </p:spPr>
        <p:txBody>
          <a:bodyPr wrap="square" anchor="ctr">
            <a:noAutofit/>
          </a:bodyPr>
          <a:lstStyle>
            <a:lvl1pPr marL="0" indent="0" algn="ctr">
              <a:buNone/>
              <a:defRPr sz="1600">
                <a:solidFill>
                  <a:schemeClr val="bg1">
                    <a:lumMod val="50000"/>
                  </a:schemeClr>
                </a:solidFill>
              </a:defRPr>
            </a:lvl1pPr>
          </a:lstStyle>
          <a:p>
            <a:r>
              <a:rPr lang="en-GB"/>
              <a:t>Click icon to insert picture</a:t>
            </a:r>
          </a:p>
        </p:txBody>
      </p:sp>
      <p:sp>
        <p:nvSpPr>
          <p:cNvPr id="3" name="Text Placeholder 2">
            <a:extLst>
              <a:ext uri="{FF2B5EF4-FFF2-40B4-BE49-F238E27FC236}">
                <a16:creationId xmlns:a16="http://schemas.microsoft.com/office/drawing/2014/main" id="{9D4F144B-74C7-A148-8E87-6034061E0CB6}"/>
              </a:ext>
            </a:extLst>
          </p:cNvPr>
          <p:cNvSpPr>
            <a:spLocks noGrp="1"/>
          </p:cNvSpPr>
          <p:nvPr>
            <p:ph type="body" sz="quarter" idx="10" hasCustomPrompt="1"/>
          </p:nvPr>
        </p:nvSpPr>
        <p:spPr>
          <a:xfrm>
            <a:off x="515939" y="1700213"/>
            <a:ext cx="4692628" cy="234609"/>
          </a:xfrm>
        </p:spPr>
        <p:txBody>
          <a:bodyPr>
            <a:normAutofit/>
          </a:bodyPr>
          <a:lstStyle>
            <a:lvl1pPr>
              <a:defRPr sz="1400" spc="300">
                <a:solidFill>
                  <a:schemeClr val="bg1"/>
                </a:solidFill>
              </a:defRPr>
            </a:lvl1pPr>
          </a:lstStyle>
          <a:p>
            <a:pPr lvl="0"/>
            <a:r>
              <a:rPr lang="en-GB"/>
              <a:t>SUBTITLE GOES HERE: TYPE IN CAPITALS</a:t>
            </a:r>
          </a:p>
        </p:txBody>
      </p:sp>
      <p:sp>
        <p:nvSpPr>
          <p:cNvPr id="9" name="Title 8">
            <a:extLst>
              <a:ext uri="{FF2B5EF4-FFF2-40B4-BE49-F238E27FC236}">
                <a16:creationId xmlns:a16="http://schemas.microsoft.com/office/drawing/2014/main" id="{89FFAF13-E12B-E54E-B2B2-5142A884DB82}"/>
              </a:ext>
            </a:extLst>
          </p:cNvPr>
          <p:cNvSpPr>
            <a:spLocks noGrp="1"/>
          </p:cNvSpPr>
          <p:nvPr>
            <p:ph type="title"/>
          </p:nvPr>
        </p:nvSpPr>
        <p:spPr>
          <a:xfrm>
            <a:off x="521719" y="2309427"/>
            <a:ext cx="4692628" cy="2518484"/>
          </a:xfrm>
        </p:spPr>
        <p:txBody>
          <a:bodyPr>
            <a:noAutofit/>
          </a:bodyPr>
          <a:lstStyle>
            <a:lvl1pPr>
              <a:lnSpc>
                <a:spcPct val="90000"/>
              </a:lnSpc>
              <a:defRPr sz="6000">
                <a:solidFill>
                  <a:schemeClr val="bg1"/>
                </a:solidFill>
              </a:defRPr>
            </a:lvl1pPr>
          </a:lstStyle>
          <a:p>
            <a:r>
              <a:rPr lang="en-US"/>
              <a:t>Click to edit Master title style</a:t>
            </a:r>
            <a:endParaRPr lang="en-GB"/>
          </a:p>
        </p:txBody>
      </p:sp>
      <p:sp>
        <p:nvSpPr>
          <p:cNvPr id="10" name="Text Placeholder 2">
            <a:extLst>
              <a:ext uri="{FF2B5EF4-FFF2-40B4-BE49-F238E27FC236}">
                <a16:creationId xmlns:a16="http://schemas.microsoft.com/office/drawing/2014/main" id="{9878A746-9E85-F24C-AD58-8F45F83396CC}"/>
              </a:ext>
            </a:extLst>
          </p:cNvPr>
          <p:cNvSpPr>
            <a:spLocks noGrp="1"/>
          </p:cNvSpPr>
          <p:nvPr>
            <p:ph type="body" sz="quarter" idx="11" hasCustomPrompt="1"/>
          </p:nvPr>
        </p:nvSpPr>
        <p:spPr>
          <a:xfrm>
            <a:off x="515939" y="5721999"/>
            <a:ext cx="4692628" cy="187359"/>
          </a:xfrm>
        </p:spPr>
        <p:txBody>
          <a:bodyPr anchor="b">
            <a:spAutoFit/>
          </a:bodyPr>
          <a:lstStyle>
            <a:lvl1pPr>
              <a:defRPr sz="1200" spc="0">
                <a:solidFill>
                  <a:schemeClr val="bg1"/>
                </a:solidFill>
              </a:defRPr>
            </a:lvl1pPr>
          </a:lstStyle>
          <a:p>
            <a:pPr lvl="0"/>
            <a:r>
              <a:rPr lang="en-GB"/>
              <a:t>Subtitle goes here</a:t>
            </a:r>
          </a:p>
        </p:txBody>
      </p:sp>
      <p:sp>
        <p:nvSpPr>
          <p:cNvPr id="11" name="Text Placeholder 2">
            <a:extLst>
              <a:ext uri="{FF2B5EF4-FFF2-40B4-BE49-F238E27FC236}">
                <a16:creationId xmlns:a16="http://schemas.microsoft.com/office/drawing/2014/main" id="{7AFD6BA4-8A31-2C45-81C0-67141C06959C}"/>
              </a:ext>
            </a:extLst>
          </p:cNvPr>
          <p:cNvSpPr txBox="1">
            <a:spLocks/>
          </p:cNvSpPr>
          <p:nvPr userDrawn="1"/>
        </p:nvSpPr>
        <p:spPr>
          <a:xfrm>
            <a:off x="515938" y="6173816"/>
            <a:ext cx="1303626" cy="315884"/>
          </a:xfrm>
          <a:prstGeom prst="rect">
            <a:avLst/>
          </a:prstGeom>
        </p:spPr>
        <p:txBody>
          <a:bodyPr lIns="0" tIns="0" rIns="0" bIns="0" anchor="b"/>
          <a:lst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GB" sz="1800" b="1">
                <a:solidFill>
                  <a:schemeClr val="bg2"/>
                </a:solidFill>
              </a:rPr>
              <a:t>gavi.org</a:t>
            </a:r>
          </a:p>
        </p:txBody>
      </p:sp>
      <p:sp>
        <p:nvSpPr>
          <p:cNvPr id="14" name="Text Placeholder 13">
            <a:extLst>
              <a:ext uri="{FF2B5EF4-FFF2-40B4-BE49-F238E27FC236}">
                <a16:creationId xmlns:a16="http://schemas.microsoft.com/office/drawing/2014/main" id="{C10119D7-2EC9-4840-AC33-164E7101833C}"/>
              </a:ext>
            </a:extLst>
          </p:cNvPr>
          <p:cNvSpPr>
            <a:spLocks noGrp="1"/>
          </p:cNvSpPr>
          <p:nvPr>
            <p:ph type="body" sz="quarter" idx="19" hasCustomPrompt="1"/>
          </p:nvPr>
        </p:nvSpPr>
        <p:spPr>
          <a:xfrm>
            <a:off x="10351263" y="443457"/>
            <a:ext cx="1324800" cy="486000"/>
          </a:xfrm>
          <a:blipFill>
            <a:blip r:embed="rId3">
              <a:extLst>
                <a:ext uri="{96DAC541-7B7A-43D3-8B79-37D633B846F1}">
                  <asvg:svgBlip xmlns:asvg="http://schemas.microsoft.com/office/drawing/2016/SVG/main" r:embed="rId4"/>
                </a:ext>
              </a:extLst>
            </a:blip>
            <a:stretch>
              <a:fillRect/>
            </a:stretch>
          </a:blipFill>
        </p:spPr>
        <p:txBody>
          <a:bodyPr/>
          <a:lstStyle/>
          <a:p>
            <a:pPr lvl="0"/>
            <a:r>
              <a:rPr lang="en-GB"/>
              <a:t> </a:t>
            </a:r>
          </a:p>
        </p:txBody>
      </p:sp>
    </p:spTree>
    <p:extLst>
      <p:ext uri="{BB962C8B-B14F-4D97-AF65-F5344CB8AC3E}">
        <p14:creationId xmlns:p14="http://schemas.microsoft.com/office/powerpoint/2010/main" val="2549949544"/>
      </p:ext>
    </p:extLst>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Section Divider (Text Only)">
    <p:bg>
      <p:bgPr>
        <a:solidFill>
          <a:schemeClr val="tx2">
            <a:lumMod val="75000"/>
          </a:schemeClr>
        </a:solidFill>
        <a:effectLst/>
      </p:bgPr>
    </p:bg>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52467373-D57C-F842-8976-B87DEFBE83B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1777"/>
            <a:ext cx="1304260" cy="487680"/>
          </a:xfrm>
          <a:prstGeom prst="rect">
            <a:avLst/>
          </a:prstGeom>
        </p:spPr>
      </p:pic>
      <p:sp>
        <p:nvSpPr>
          <p:cNvPr id="3" name="Text Placeholder 2">
            <a:extLst>
              <a:ext uri="{FF2B5EF4-FFF2-40B4-BE49-F238E27FC236}">
                <a16:creationId xmlns:a16="http://schemas.microsoft.com/office/drawing/2014/main" id="{9D4F144B-74C7-A148-8E87-6034061E0CB6}"/>
              </a:ext>
            </a:extLst>
          </p:cNvPr>
          <p:cNvSpPr>
            <a:spLocks noGrp="1"/>
          </p:cNvSpPr>
          <p:nvPr>
            <p:ph type="body" sz="quarter" idx="10" hasCustomPrompt="1"/>
          </p:nvPr>
        </p:nvSpPr>
        <p:spPr>
          <a:xfrm>
            <a:off x="515938" y="3185432"/>
            <a:ext cx="6966786" cy="234609"/>
          </a:xfrm>
        </p:spPr>
        <p:txBody>
          <a:bodyPr>
            <a:normAutofit/>
          </a:bodyPr>
          <a:lstStyle>
            <a:lvl1pPr>
              <a:defRPr sz="1600" spc="300">
                <a:solidFill>
                  <a:schemeClr val="bg2">
                    <a:lumMod val="20000"/>
                    <a:lumOff val="80000"/>
                  </a:schemeClr>
                </a:solidFill>
              </a:defRPr>
            </a:lvl1pPr>
          </a:lstStyle>
          <a:p>
            <a:pPr lvl="0"/>
            <a:r>
              <a:rPr lang="en-GB"/>
              <a:t>SUBTITLE GOES HERE: TYPE IN CAPITALS</a:t>
            </a:r>
          </a:p>
        </p:txBody>
      </p:sp>
      <p:sp>
        <p:nvSpPr>
          <p:cNvPr id="9" name="Title 8">
            <a:extLst>
              <a:ext uri="{FF2B5EF4-FFF2-40B4-BE49-F238E27FC236}">
                <a16:creationId xmlns:a16="http://schemas.microsoft.com/office/drawing/2014/main" id="{89FFAF13-E12B-E54E-B2B2-5142A884DB82}"/>
              </a:ext>
            </a:extLst>
          </p:cNvPr>
          <p:cNvSpPr>
            <a:spLocks noGrp="1"/>
          </p:cNvSpPr>
          <p:nvPr>
            <p:ph type="title"/>
          </p:nvPr>
        </p:nvSpPr>
        <p:spPr>
          <a:xfrm>
            <a:off x="521719" y="3666552"/>
            <a:ext cx="11154344" cy="1929036"/>
          </a:xfrm>
        </p:spPr>
        <p:txBody>
          <a:bodyPr>
            <a:normAutofit/>
          </a:bodyPr>
          <a:lstStyle>
            <a:lvl1pPr>
              <a:lnSpc>
                <a:spcPct val="80000"/>
              </a:lnSpc>
              <a:defRPr sz="6600">
                <a:solidFill>
                  <a:schemeClr val="bg1"/>
                </a:solidFill>
              </a:defRPr>
            </a:lvl1pPr>
          </a:lstStyle>
          <a:p>
            <a:r>
              <a:rPr lang="en-US"/>
              <a:t>Click to edit Master title style</a:t>
            </a:r>
            <a:endParaRPr lang="en-GB"/>
          </a:p>
        </p:txBody>
      </p:sp>
      <p:pic>
        <p:nvPicPr>
          <p:cNvPr id="7" name="Picture 6" descr="Shape&#10;&#10;Description automatically generated">
            <a:extLst>
              <a:ext uri="{FF2B5EF4-FFF2-40B4-BE49-F238E27FC236}">
                <a16:creationId xmlns:a16="http://schemas.microsoft.com/office/drawing/2014/main" id="{D2830A3C-7ED1-2741-8ED4-600D60D8DBDA}"/>
              </a:ext>
            </a:extLst>
          </p:cNvPr>
          <p:cNvPicPr>
            <a:picLocks noChangeAspect="1"/>
          </p:cNvPicPr>
          <p:nvPr userDrawn="1"/>
        </p:nvPicPr>
        <p:blipFill>
          <a:blip r:embed="rId4">
            <a:extLst>
              <a:ext uri="{BEBA8EAE-BF5A-486C-A8C5-ECC9F3942E4B}">
                <a14:imgProps xmlns:a14="http://schemas.microsoft.com/office/drawing/2010/main">
                  <a14:imgLayer r:embed="rId5">
                    <a14:imgEffect>
                      <a14:brightnessContrast bright="-20000"/>
                    </a14:imgEffect>
                  </a14:imgLayer>
                </a14:imgProps>
              </a:ext>
            </a:extLst>
          </a:blip>
          <a:stretch>
            <a:fillRect/>
          </a:stretch>
        </p:blipFill>
        <p:spPr>
          <a:xfrm flipH="1">
            <a:off x="0" y="0"/>
            <a:ext cx="5103637" cy="2938921"/>
          </a:xfrm>
          <a:prstGeom prst="rect">
            <a:avLst/>
          </a:prstGeom>
        </p:spPr>
      </p:pic>
      <p:sp>
        <p:nvSpPr>
          <p:cNvPr id="4" name="Text Placeholder 3">
            <a:extLst>
              <a:ext uri="{FF2B5EF4-FFF2-40B4-BE49-F238E27FC236}">
                <a16:creationId xmlns:a16="http://schemas.microsoft.com/office/drawing/2014/main" id="{D1962001-1C91-5E41-8B60-B760F9679B6C}"/>
              </a:ext>
            </a:extLst>
          </p:cNvPr>
          <p:cNvSpPr>
            <a:spLocks noGrp="1"/>
          </p:cNvSpPr>
          <p:nvPr>
            <p:ph type="body" sz="quarter" idx="12" hasCustomPrompt="1"/>
          </p:nvPr>
        </p:nvSpPr>
        <p:spPr>
          <a:xfrm>
            <a:off x="515938" y="441777"/>
            <a:ext cx="2115580" cy="1331912"/>
          </a:xfrm>
        </p:spPr>
        <p:txBody>
          <a:bodyPr>
            <a:normAutofit/>
          </a:bodyPr>
          <a:lstStyle>
            <a:lvl1pPr>
              <a:lnSpc>
                <a:spcPct val="80000"/>
              </a:lnSpc>
              <a:spcAft>
                <a:spcPts val="0"/>
              </a:spcAft>
              <a:defRPr sz="9600" b="1">
                <a:solidFill>
                  <a:schemeClr val="bg1"/>
                </a:solidFill>
              </a:defRPr>
            </a:lvl1pPr>
          </a:lstStyle>
          <a:p>
            <a:pPr lvl="0"/>
            <a:r>
              <a:rPr lang="en-GB"/>
              <a:t>XX</a:t>
            </a:r>
          </a:p>
        </p:txBody>
      </p:sp>
    </p:spTree>
    <p:extLst>
      <p:ext uri="{BB962C8B-B14F-4D97-AF65-F5344CB8AC3E}">
        <p14:creationId xmlns:p14="http://schemas.microsoft.com/office/powerpoint/2010/main" val="3451333106"/>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Section Divider + Number">
    <p:spTree>
      <p:nvGrpSpPr>
        <p:cNvPr id="1" name=""/>
        <p:cNvGrpSpPr/>
        <p:nvPr/>
      </p:nvGrpSpPr>
      <p:grpSpPr>
        <a:xfrm>
          <a:off x="0" y="0"/>
          <a:ext cx="0" cy="0"/>
          <a:chOff x="0" y="0"/>
          <a:chExt cx="0" cy="0"/>
        </a:xfrm>
      </p:grpSpPr>
      <p:pic>
        <p:nvPicPr>
          <p:cNvPr id="10" name="Picture Placeholder 5" descr="A picture containing ray, fish&#10;&#10;Description automatically generated">
            <a:extLst>
              <a:ext uri="{FF2B5EF4-FFF2-40B4-BE49-F238E27FC236}">
                <a16:creationId xmlns:a16="http://schemas.microsoft.com/office/drawing/2014/main" id="{E64479CB-DB0F-9D45-918A-B9BEDD2EC8BD}"/>
              </a:ext>
            </a:extLst>
          </p:cNvPr>
          <p:cNvPicPr>
            <a:picLocks noChangeAspect="1"/>
          </p:cNvPicPr>
          <p:nvPr userDrawn="1"/>
        </p:nvPicPr>
        <p:blipFill rotWithShape="1">
          <a:blip r:embed="rId2">
            <a:extLst>
              <a:ext uri="{28A0092B-C50C-407E-A947-70E740481C1C}">
                <a14:useLocalDpi xmlns:a14="http://schemas.microsoft.com/office/drawing/2010/main"/>
              </a:ext>
            </a:extLst>
          </a:blip>
          <a:srcRect l="31272" r="15376"/>
          <a:stretch/>
        </p:blipFill>
        <p:spPr>
          <a:xfrm>
            <a:off x="-3" y="0"/>
            <a:ext cx="6096001" cy="6858000"/>
          </a:xfrm>
          <a:prstGeom prst="round1Rect">
            <a:avLst>
              <a:gd name="adj" fmla="val 14304"/>
            </a:avLst>
          </a:prstGeom>
        </p:spPr>
      </p:pic>
      <p:sp>
        <p:nvSpPr>
          <p:cNvPr id="6" name="Text Placeholder 29">
            <a:extLst>
              <a:ext uri="{FF2B5EF4-FFF2-40B4-BE49-F238E27FC236}">
                <a16:creationId xmlns:a16="http://schemas.microsoft.com/office/drawing/2014/main" id="{DAB788B4-A63C-D849-B216-E7D266CBBABA}"/>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tx2"/>
                </a:solidFill>
              </a:defRPr>
            </a:lvl1pPr>
          </a:lstStyle>
          <a:p>
            <a:pPr lvl="0"/>
            <a:r>
              <a:rPr lang="en-GB"/>
              <a:t>Section title goes here</a:t>
            </a:r>
          </a:p>
        </p:txBody>
      </p:sp>
      <p:sp>
        <p:nvSpPr>
          <p:cNvPr id="7" name="Text Placeholder 31">
            <a:extLst>
              <a:ext uri="{FF2B5EF4-FFF2-40B4-BE49-F238E27FC236}">
                <a16:creationId xmlns:a16="http://schemas.microsoft.com/office/drawing/2014/main" id="{F314B004-6AB6-8142-919B-E7ECC468456B}"/>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tx2">
                    <a:lumMod val="50000"/>
                  </a:schemeClr>
                </a:solidFill>
              </a:defRPr>
            </a:lvl1pPr>
          </a:lstStyle>
          <a:p>
            <a:pPr lvl="0"/>
            <a:r>
              <a:rPr lang="en-GB"/>
              <a:t>SUBTITLE GOES HERE: TYPE IN CAPITALS</a:t>
            </a:r>
          </a:p>
        </p:txBody>
      </p:sp>
      <p:pic>
        <p:nvPicPr>
          <p:cNvPr id="14" name="Graphic 13">
            <a:extLst>
              <a:ext uri="{FF2B5EF4-FFF2-40B4-BE49-F238E27FC236}">
                <a16:creationId xmlns:a16="http://schemas.microsoft.com/office/drawing/2014/main" id="{85DA45A5-9E96-A540-A7CB-C6C50E73A72E}"/>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361533" y="445558"/>
            <a:ext cx="1304260" cy="480118"/>
          </a:xfrm>
          <a:prstGeom prst="rect">
            <a:avLst/>
          </a:prstGeom>
        </p:spPr>
      </p:pic>
      <p:sp>
        <p:nvSpPr>
          <p:cNvPr id="8" name="Text Placeholder 29">
            <a:extLst>
              <a:ext uri="{FF2B5EF4-FFF2-40B4-BE49-F238E27FC236}">
                <a16:creationId xmlns:a16="http://schemas.microsoft.com/office/drawing/2014/main" id="{BFF0CE34-D1A8-0246-ADEF-5C8D7757129F}"/>
              </a:ext>
            </a:extLst>
          </p:cNvPr>
          <p:cNvSpPr>
            <a:spLocks noGrp="1"/>
          </p:cNvSpPr>
          <p:nvPr>
            <p:ph type="body" sz="quarter" idx="14" hasCustomPrompt="1"/>
          </p:nvPr>
        </p:nvSpPr>
        <p:spPr>
          <a:xfrm>
            <a:off x="515938" y="1963923"/>
            <a:ext cx="5064591" cy="3104603"/>
          </a:xfrm>
        </p:spPr>
        <p:txBody>
          <a:bodyPr>
            <a:noAutofit/>
          </a:bodyPr>
          <a:lstStyle>
            <a:lvl1pPr algn="ctr">
              <a:lnSpc>
                <a:spcPct val="80000"/>
              </a:lnSpc>
              <a:spcAft>
                <a:spcPts val="0"/>
              </a:spcAft>
              <a:defRPr sz="32500" b="1">
                <a:solidFill>
                  <a:schemeClr val="bg1"/>
                </a:solidFill>
              </a:defRPr>
            </a:lvl1pPr>
          </a:lstStyle>
          <a:p>
            <a:pPr lvl="0"/>
            <a:r>
              <a:rPr lang="en-GB"/>
              <a:t>X</a:t>
            </a:r>
          </a:p>
        </p:txBody>
      </p:sp>
    </p:spTree>
    <p:extLst>
      <p:ext uri="{BB962C8B-B14F-4D97-AF65-F5344CB8AC3E}">
        <p14:creationId xmlns:p14="http://schemas.microsoft.com/office/powerpoint/2010/main" val="1378291051"/>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Section Divider + Image">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85DA45A5-9E96-A540-A7CB-C6C50E73A72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5558"/>
            <a:ext cx="1304260" cy="480118"/>
          </a:xfrm>
          <a:prstGeom prst="rect">
            <a:avLst/>
          </a:prstGeom>
        </p:spPr>
      </p:pic>
      <p:sp>
        <p:nvSpPr>
          <p:cNvPr id="9" name="Picture Placeholder 4">
            <a:extLst>
              <a:ext uri="{FF2B5EF4-FFF2-40B4-BE49-F238E27FC236}">
                <a16:creationId xmlns:a16="http://schemas.microsoft.com/office/drawing/2014/main" id="{45CF2AFF-6382-CC47-A9B2-6962575BD2AF}"/>
              </a:ext>
            </a:extLst>
          </p:cNvPr>
          <p:cNvSpPr>
            <a:spLocks noGrp="1"/>
          </p:cNvSpPr>
          <p:nvPr>
            <p:ph type="pic" sz="quarter" idx="10"/>
          </p:nvPr>
        </p:nvSpPr>
        <p:spPr>
          <a:xfrm>
            <a:off x="-2" y="0"/>
            <a:ext cx="6096001" cy="6858000"/>
          </a:xfrm>
          <a:prstGeom prst="round1Rect">
            <a:avLst>
              <a:gd name="adj" fmla="val 14462"/>
            </a:avLst>
          </a:prstGeom>
          <a:solidFill>
            <a:schemeClr val="bg1">
              <a:lumMod val="85000"/>
            </a:schemeClr>
          </a:solidFill>
        </p:spPr>
        <p:txBody>
          <a:bodyPr anchor="ctr">
            <a:normAutofit/>
          </a:bodyPr>
          <a:lstStyle>
            <a:lvl1pPr algn="ctr">
              <a:defRPr sz="1600">
                <a:solidFill>
                  <a:schemeClr val="bg1">
                    <a:lumMod val="50000"/>
                  </a:schemeClr>
                </a:solidFill>
              </a:defRPr>
            </a:lvl1pPr>
          </a:lstStyle>
          <a:p>
            <a:r>
              <a:rPr lang="en-US"/>
              <a:t>Click icon to add picture</a:t>
            </a:r>
            <a:endParaRPr lang="en-GB"/>
          </a:p>
        </p:txBody>
      </p:sp>
      <p:sp>
        <p:nvSpPr>
          <p:cNvPr id="8" name="Text Placeholder 29">
            <a:extLst>
              <a:ext uri="{FF2B5EF4-FFF2-40B4-BE49-F238E27FC236}">
                <a16:creationId xmlns:a16="http://schemas.microsoft.com/office/drawing/2014/main" id="{0061CA4A-3267-0A05-192C-5D4306FFB822}"/>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tx2"/>
                </a:solidFill>
              </a:defRPr>
            </a:lvl1pPr>
          </a:lstStyle>
          <a:p>
            <a:pPr lvl="0"/>
            <a:r>
              <a:rPr lang="en-GB"/>
              <a:t>Section title goes here</a:t>
            </a:r>
          </a:p>
        </p:txBody>
      </p:sp>
      <p:sp>
        <p:nvSpPr>
          <p:cNvPr id="10" name="Text Placeholder 31">
            <a:extLst>
              <a:ext uri="{FF2B5EF4-FFF2-40B4-BE49-F238E27FC236}">
                <a16:creationId xmlns:a16="http://schemas.microsoft.com/office/drawing/2014/main" id="{1A9FCAB2-BA25-DBAB-7A6E-265C863487B9}"/>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tx2">
                    <a:lumMod val="50000"/>
                  </a:schemeClr>
                </a:solidFill>
              </a:defRPr>
            </a:lvl1pPr>
          </a:lstStyle>
          <a:p>
            <a:pPr lvl="0"/>
            <a:r>
              <a:rPr lang="en-GB"/>
              <a:t>SUBTITLE GOES HERE: TYPE IN CAPITALS</a:t>
            </a:r>
          </a:p>
        </p:txBody>
      </p:sp>
    </p:spTree>
    <p:extLst>
      <p:ext uri="{BB962C8B-B14F-4D97-AF65-F5344CB8AC3E}">
        <p14:creationId xmlns:p14="http://schemas.microsoft.com/office/powerpoint/2010/main" val="2858555185"/>
      </p:ext>
    </p:extLst>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Section Divider + Image A1">
    <p:spTree>
      <p:nvGrpSpPr>
        <p:cNvPr id="1" name=""/>
        <p:cNvGrpSpPr/>
        <p:nvPr/>
      </p:nvGrpSpPr>
      <p:grpSpPr>
        <a:xfrm>
          <a:off x="0" y="0"/>
          <a:ext cx="0" cy="0"/>
          <a:chOff x="0" y="0"/>
          <a:chExt cx="0" cy="0"/>
        </a:xfrm>
      </p:grpSpPr>
      <p:sp>
        <p:nvSpPr>
          <p:cNvPr id="26" name="Picture Placeholder 25">
            <a:extLst>
              <a:ext uri="{FF2B5EF4-FFF2-40B4-BE49-F238E27FC236}">
                <a16:creationId xmlns:a16="http://schemas.microsoft.com/office/drawing/2014/main" id="{2F82B885-0103-7D42-AE00-61FB2FE0C2F4}"/>
              </a:ext>
            </a:extLst>
          </p:cNvPr>
          <p:cNvSpPr>
            <a:spLocks noGrp="1"/>
          </p:cNvSpPr>
          <p:nvPr>
            <p:ph type="pic" sz="quarter" idx="10"/>
          </p:nvPr>
        </p:nvSpPr>
        <p:spPr>
          <a:xfrm>
            <a:off x="-2" y="0"/>
            <a:ext cx="6096001" cy="6858000"/>
          </a:xfrm>
          <a:custGeom>
            <a:avLst/>
            <a:gdLst>
              <a:gd name="connsiteX0" fmla="*/ 3022951 w 6096001"/>
              <a:gd name="connsiteY0" fmla="*/ 1876235 h 6858000"/>
              <a:gd name="connsiteX1" fmla="*/ 2208500 w 6096001"/>
              <a:gd name="connsiteY1" fmla="*/ 2461578 h 6858000"/>
              <a:gd name="connsiteX2" fmla="*/ 2208500 w 6096001"/>
              <a:gd name="connsiteY2" fmla="*/ 2993835 h 6858000"/>
              <a:gd name="connsiteX3" fmla="*/ 2859036 w 6096001"/>
              <a:gd name="connsiteY3" fmla="*/ 2643188 h 6858000"/>
              <a:gd name="connsiteX4" fmla="*/ 2859036 w 6096001"/>
              <a:gd name="connsiteY4" fmla="*/ 4981766 h 6858000"/>
              <a:gd name="connsiteX5" fmla="*/ 3371270 w 6096001"/>
              <a:gd name="connsiteY5" fmla="*/ 4981766 h 6858000"/>
              <a:gd name="connsiteX6" fmla="*/ 3371270 w 6096001"/>
              <a:gd name="connsiteY6" fmla="*/ 1876235 h 6858000"/>
              <a:gd name="connsiteX7" fmla="*/ 0 w 6096001"/>
              <a:gd name="connsiteY7" fmla="*/ 0 h 6858000"/>
              <a:gd name="connsiteX8" fmla="*/ 5214397 w 6096001"/>
              <a:gd name="connsiteY8" fmla="*/ 0 h 6858000"/>
              <a:gd name="connsiteX9" fmla="*/ 6096001 w 6096001"/>
              <a:gd name="connsiteY9" fmla="*/ 881604 h 6858000"/>
              <a:gd name="connsiteX10" fmla="*/ 6096001 w 6096001"/>
              <a:gd name="connsiteY10" fmla="*/ 6858000 h 6858000"/>
              <a:gd name="connsiteX11" fmla="*/ 0 w 6096001"/>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96001" h="6858000">
                <a:moveTo>
                  <a:pt x="3022951" y="1876235"/>
                </a:moveTo>
                <a:cubicBezTo>
                  <a:pt x="2752748" y="2187766"/>
                  <a:pt x="2482545" y="2379155"/>
                  <a:pt x="2208500" y="2461578"/>
                </a:cubicBezTo>
                <a:lnTo>
                  <a:pt x="2208500" y="2993835"/>
                </a:lnTo>
                <a:cubicBezTo>
                  <a:pt x="2426199" y="2942146"/>
                  <a:pt x="2640057" y="2824798"/>
                  <a:pt x="2859036" y="2643188"/>
                </a:cubicBezTo>
                <a:lnTo>
                  <a:pt x="2859036" y="4981766"/>
                </a:lnTo>
                <a:lnTo>
                  <a:pt x="3371270" y="4981766"/>
                </a:lnTo>
                <a:lnTo>
                  <a:pt x="3371270" y="1876235"/>
                </a:ln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tIns="720000">
            <a:noAutofit/>
          </a:bodyPr>
          <a:lstStyle>
            <a:lvl1pPr algn="ctr">
              <a:defRPr sz="1600">
                <a:solidFill>
                  <a:schemeClr val="bg1">
                    <a:lumMod val="50000"/>
                  </a:schemeClr>
                </a:solidFill>
              </a:defRPr>
            </a:lvl1pPr>
          </a:lstStyle>
          <a:p>
            <a:r>
              <a:rPr lang="en-US"/>
              <a:t>Click icon to add picture</a:t>
            </a:r>
            <a:endParaRPr lang="en-GB"/>
          </a:p>
        </p:txBody>
      </p:sp>
      <p:pic>
        <p:nvPicPr>
          <p:cNvPr id="7" name="Graphic 6">
            <a:extLst>
              <a:ext uri="{FF2B5EF4-FFF2-40B4-BE49-F238E27FC236}">
                <a16:creationId xmlns:a16="http://schemas.microsoft.com/office/drawing/2014/main" id="{7986D095-697A-1E47-8E9F-EB12D0E9F60B}"/>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5558"/>
            <a:ext cx="1304260" cy="480118"/>
          </a:xfrm>
          <a:prstGeom prst="rect">
            <a:avLst/>
          </a:prstGeom>
        </p:spPr>
      </p:pic>
      <p:sp>
        <p:nvSpPr>
          <p:cNvPr id="8" name="Text Placeholder 29">
            <a:extLst>
              <a:ext uri="{FF2B5EF4-FFF2-40B4-BE49-F238E27FC236}">
                <a16:creationId xmlns:a16="http://schemas.microsoft.com/office/drawing/2014/main" id="{814918A3-C773-18F8-ADDE-EC691CAF16CC}"/>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tx2"/>
                </a:solidFill>
              </a:defRPr>
            </a:lvl1pPr>
          </a:lstStyle>
          <a:p>
            <a:pPr lvl="0"/>
            <a:r>
              <a:rPr lang="en-GB"/>
              <a:t>Section title goes here</a:t>
            </a:r>
          </a:p>
        </p:txBody>
      </p:sp>
      <p:sp>
        <p:nvSpPr>
          <p:cNvPr id="9" name="Text Placeholder 31">
            <a:extLst>
              <a:ext uri="{FF2B5EF4-FFF2-40B4-BE49-F238E27FC236}">
                <a16:creationId xmlns:a16="http://schemas.microsoft.com/office/drawing/2014/main" id="{B0C1A345-F393-A646-D204-1844335C51EA}"/>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tx2">
                    <a:lumMod val="50000"/>
                  </a:schemeClr>
                </a:solidFill>
              </a:defRPr>
            </a:lvl1pPr>
          </a:lstStyle>
          <a:p>
            <a:pPr lvl="0"/>
            <a:r>
              <a:rPr lang="en-GB"/>
              <a:t>SUBTITLE GOES HERE: TYPE IN CAPITALS</a:t>
            </a:r>
          </a:p>
        </p:txBody>
      </p:sp>
    </p:spTree>
    <p:extLst>
      <p:ext uri="{BB962C8B-B14F-4D97-AF65-F5344CB8AC3E}">
        <p14:creationId xmlns:p14="http://schemas.microsoft.com/office/powerpoint/2010/main" val="711661904"/>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Section Divider + Image A2">
    <p:spTree>
      <p:nvGrpSpPr>
        <p:cNvPr id="1" name=""/>
        <p:cNvGrpSpPr/>
        <p:nvPr/>
      </p:nvGrpSpPr>
      <p:grpSpPr>
        <a:xfrm>
          <a:off x="0" y="0"/>
          <a:ext cx="0" cy="0"/>
          <a:chOff x="0" y="0"/>
          <a:chExt cx="0" cy="0"/>
        </a:xfrm>
      </p:grpSpPr>
      <p:sp>
        <p:nvSpPr>
          <p:cNvPr id="39" name="Picture Placeholder 38">
            <a:extLst>
              <a:ext uri="{FF2B5EF4-FFF2-40B4-BE49-F238E27FC236}">
                <a16:creationId xmlns:a16="http://schemas.microsoft.com/office/drawing/2014/main" id="{785EFCE5-1951-3242-A232-F252911C4EAB}"/>
              </a:ext>
            </a:extLst>
          </p:cNvPr>
          <p:cNvSpPr>
            <a:spLocks noGrp="1"/>
          </p:cNvSpPr>
          <p:nvPr>
            <p:ph type="pic" sz="quarter" idx="10"/>
          </p:nvPr>
        </p:nvSpPr>
        <p:spPr>
          <a:xfrm>
            <a:off x="-2" y="0"/>
            <a:ext cx="6096001" cy="6858000"/>
          </a:xfrm>
          <a:custGeom>
            <a:avLst/>
            <a:gdLst>
              <a:gd name="connsiteX0" fmla="*/ 3078800 w 6096001"/>
              <a:gd name="connsiteY0" fmla="*/ 1892300 h 6858000"/>
              <a:gd name="connsiteX1" fmla="*/ 2003079 w 6096001"/>
              <a:gd name="connsiteY1" fmla="*/ 2443193 h 6858000"/>
              <a:gd name="connsiteX2" fmla="*/ 2435905 w 6096001"/>
              <a:gd name="connsiteY2" fmla="*/ 2746603 h 6858000"/>
              <a:gd name="connsiteX3" fmla="*/ 3026635 w 6096001"/>
              <a:gd name="connsiteY3" fmla="*/ 2408238 h 6858000"/>
              <a:gd name="connsiteX4" fmla="*/ 3472150 w 6096001"/>
              <a:gd name="connsiteY4" fmla="*/ 2777364 h 6858000"/>
              <a:gd name="connsiteX5" fmla="*/ 2825026 w 6096001"/>
              <a:gd name="connsiteY5" fmla="*/ 3514218 h 6858000"/>
              <a:gd name="connsiteX6" fmla="*/ 1986161 w 6096001"/>
              <a:gd name="connsiteY6" fmla="*/ 4857893 h 6858000"/>
              <a:gd name="connsiteX7" fmla="*/ 1986161 w 6096001"/>
              <a:gd name="connsiteY7" fmla="*/ 5014492 h 6858000"/>
              <a:gd name="connsiteX8" fmla="*/ 4102356 w 6096001"/>
              <a:gd name="connsiteY8" fmla="*/ 5014492 h 6858000"/>
              <a:gd name="connsiteX9" fmla="*/ 4102356 w 6096001"/>
              <a:gd name="connsiteY9" fmla="*/ 4515333 h 6858000"/>
              <a:gd name="connsiteX10" fmla="*/ 2614957 w 6096001"/>
              <a:gd name="connsiteY10" fmla="*/ 4515333 h 6858000"/>
              <a:gd name="connsiteX11" fmla="*/ 3301557 w 6096001"/>
              <a:gd name="connsiteY11" fmla="*/ 3809239 h 6858000"/>
              <a:gd name="connsiteX12" fmla="*/ 4053011 w 6096001"/>
              <a:gd name="connsiteY12" fmla="*/ 2750798 h 6858000"/>
              <a:gd name="connsiteX13" fmla="*/ 3078800 w 6096001"/>
              <a:gd name="connsiteY13" fmla="*/ 1892300 h 6858000"/>
              <a:gd name="connsiteX14" fmla="*/ 0 w 6096001"/>
              <a:gd name="connsiteY14" fmla="*/ 0 h 6858000"/>
              <a:gd name="connsiteX15" fmla="*/ 5214397 w 6096001"/>
              <a:gd name="connsiteY15" fmla="*/ 0 h 6858000"/>
              <a:gd name="connsiteX16" fmla="*/ 6096001 w 6096001"/>
              <a:gd name="connsiteY16" fmla="*/ 881604 h 6858000"/>
              <a:gd name="connsiteX17" fmla="*/ 6096001 w 6096001"/>
              <a:gd name="connsiteY17" fmla="*/ 6858000 h 6858000"/>
              <a:gd name="connsiteX18" fmla="*/ 0 w 6096001"/>
              <a:gd name="connsiteY1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096001" h="6858000">
                <a:moveTo>
                  <a:pt x="3078800" y="1892300"/>
                </a:moveTo>
                <a:cubicBezTo>
                  <a:pt x="2571252" y="1892300"/>
                  <a:pt x="2235706" y="2082456"/>
                  <a:pt x="2003079" y="2443193"/>
                </a:cubicBezTo>
                <a:lnTo>
                  <a:pt x="2435905" y="2746603"/>
                </a:lnTo>
                <a:cubicBezTo>
                  <a:pt x="2576891" y="2529882"/>
                  <a:pt x="2768632" y="2408238"/>
                  <a:pt x="3026635" y="2408238"/>
                </a:cubicBezTo>
                <a:cubicBezTo>
                  <a:pt x="3318476" y="2408238"/>
                  <a:pt x="3472150" y="2556447"/>
                  <a:pt x="3472150" y="2777364"/>
                </a:cubicBezTo>
                <a:cubicBezTo>
                  <a:pt x="3472150" y="3020651"/>
                  <a:pt x="3301557" y="3198224"/>
                  <a:pt x="2825026" y="3514218"/>
                </a:cubicBezTo>
                <a:cubicBezTo>
                  <a:pt x="2231476" y="3916901"/>
                  <a:pt x="1986161" y="4315389"/>
                  <a:pt x="1986161" y="4857893"/>
                </a:cubicBezTo>
                <a:lnTo>
                  <a:pt x="1986161" y="5014492"/>
                </a:lnTo>
                <a:lnTo>
                  <a:pt x="4102356" y="5014492"/>
                </a:lnTo>
                <a:lnTo>
                  <a:pt x="4102356" y="4515333"/>
                </a:lnTo>
                <a:lnTo>
                  <a:pt x="2614957" y="4515333"/>
                </a:lnTo>
                <a:cubicBezTo>
                  <a:pt x="2645974" y="4346150"/>
                  <a:pt x="2891289" y="4081889"/>
                  <a:pt x="3301557" y="3809239"/>
                </a:cubicBezTo>
                <a:cubicBezTo>
                  <a:pt x="3834483" y="3456891"/>
                  <a:pt x="4053011" y="3175852"/>
                  <a:pt x="4053011" y="2750798"/>
                </a:cubicBezTo>
                <a:cubicBezTo>
                  <a:pt x="4053011" y="2255833"/>
                  <a:pt x="3646972" y="1892300"/>
                  <a:pt x="3078800" y="1892300"/>
                </a:cubicBez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tIns="720000">
            <a:noAutofit/>
          </a:bodyPr>
          <a:lstStyle>
            <a:lvl1pPr algn="ctr">
              <a:defRPr sz="1600">
                <a:solidFill>
                  <a:schemeClr val="bg1">
                    <a:lumMod val="50000"/>
                  </a:schemeClr>
                </a:solidFill>
              </a:defRPr>
            </a:lvl1pPr>
          </a:lstStyle>
          <a:p>
            <a:r>
              <a:rPr lang="en-US"/>
              <a:t>Click icon to add picture</a:t>
            </a:r>
            <a:endParaRPr lang="en-GB"/>
          </a:p>
        </p:txBody>
      </p:sp>
      <p:pic>
        <p:nvPicPr>
          <p:cNvPr id="40" name="Graphic 39">
            <a:extLst>
              <a:ext uri="{FF2B5EF4-FFF2-40B4-BE49-F238E27FC236}">
                <a16:creationId xmlns:a16="http://schemas.microsoft.com/office/drawing/2014/main" id="{A70D9B68-451F-F24D-9AD8-10CAC4552665}"/>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5558"/>
            <a:ext cx="1304260" cy="480118"/>
          </a:xfrm>
          <a:prstGeom prst="rect">
            <a:avLst/>
          </a:prstGeom>
        </p:spPr>
      </p:pic>
      <p:sp>
        <p:nvSpPr>
          <p:cNvPr id="6" name="Text Placeholder 29">
            <a:extLst>
              <a:ext uri="{FF2B5EF4-FFF2-40B4-BE49-F238E27FC236}">
                <a16:creationId xmlns:a16="http://schemas.microsoft.com/office/drawing/2014/main" id="{AD887088-580E-3280-834E-11FE0CAB12A0}"/>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tx2"/>
                </a:solidFill>
              </a:defRPr>
            </a:lvl1pPr>
          </a:lstStyle>
          <a:p>
            <a:pPr lvl="0"/>
            <a:r>
              <a:rPr lang="en-GB"/>
              <a:t>Section title goes here</a:t>
            </a:r>
          </a:p>
        </p:txBody>
      </p:sp>
      <p:sp>
        <p:nvSpPr>
          <p:cNvPr id="7" name="Text Placeholder 31">
            <a:extLst>
              <a:ext uri="{FF2B5EF4-FFF2-40B4-BE49-F238E27FC236}">
                <a16:creationId xmlns:a16="http://schemas.microsoft.com/office/drawing/2014/main" id="{9D3AEDA3-676C-74F6-E9E7-0A9358720A3F}"/>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tx2">
                    <a:lumMod val="50000"/>
                  </a:schemeClr>
                </a:solidFill>
              </a:defRPr>
            </a:lvl1pPr>
          </a:lstStyle>
          <a:p>
            <a:pPr lvl="0"/>
            <a:r>
              <a:rPr lang="en-GB"/>
              <a:t>SUBTITLE GOES HERE: TYPE IN CAPITALS</a:t>
            </a:r>
          </a:p>
        </p:txBody>
      </p:sp>
    </p:spTree>
    <p:extLst>
      <p:ext uri="{BB962C8B-B14F-4D97-AF65-F5344CB8AC3E}">
        <p14:creationId xmlns:p14="http://schemas.microsoft.com/office/powerpoint/2010/main" val="110975136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Icons x5">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United Against Rabies Forum Meeting - 6-8 November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Picture Placeholder 3">
            <a:extLst>
              <a:ext uri="{FF2B5EF4-FFF2-40B4-BE49-F238E27FC236}">
                <a16:creationId xmlns:a16="http://schemas.microsoft.com/office/drawing/2014/main" id="{78B95D78-F57A-6D40-A841-7D1E3B08277B}"/>
              </a:ext>
            </a:extLst>
          </p:cNvPr>
          <p:cNvSpPr>
            <a:spLocks noGrp="1"/>
          </p:cNvSpPr>
          <p:nvPr>
            <p:ph type="pic" sz="quarter" idx="13"/>
          </p:nvPr>
        </p:nvSpPr>
        <p:spPr>
          <a:xfrm>
            <a:off x="515938"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9"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47" name="Picture Placeholder 3">
            <a:extLst>
              <a:ext uri="{FF2B5EF4-FFF2-40B4-BE49-F238E27FC236}">
                <a16:creationId xmlns:a16="http://schemas.microsoft.com/office/drawing/2014/main" id="{F48D299A-6257-AC74-0FD7-6D22E29A5C4F}"/>
              </a:ext>
            </a:extLst>
          </p:cNvPr>
          <p:cNvSpPr>
            <a:spLocks noGrp="1"/>
          </p:cNvSpPr>
          <p:nvPr>
            <p:ph type="pic" sz="quarter" idx="17"/>
          </p:nvPr>
        </p:nvSpPr>
        <p:spPr>
          <a:xfrm>
            <a:off x="2802689"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48" name="Text Placeholder 6">
            <a:extLst>
              <a:ext uri="{FF2B5EF4-FFF2-40B4-BE49-F238E27FC236}">
                <a16:creationId xmlns:a16="http://schemas.microsoft.com/office/drawing/2014/main" id="{9E3D1709-B9E8-6689-9456-9D1A08D7BAA7}"/>
              </a:ext>
            </a:extLst>
          </p:cNvPr>
          <p:cNvSpPr>
            <a:spLocks noGrp="1"/>
          </p:cNvSpPr>
          <p:nvPr>
            <p:ph type="body" sz="quarter" idx="18"/>
          </p:nvPr>
        </p:nvSpPr>
        <p:spPr>
          <a:xfrm>
            <a:off x="2802689"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49" name="Text Placeholder 6">
            <a:extLst>
              <a:ext uri="{FF2B5EF4-FFF2-40B4-BE49-F238E27FC236}">
                <a16:creationId xmlns:a16="http://schemas.microsoft.com/office/drawing/2014/main" id="{C714C56E-261C-2C43-2BCC-4B86E64EE017}"/>
              </a:ext>
            </a:extLst>
          </p:cNvPr>
          <p:cNvSpPr>
            <a:spLocks noGrp="1"/>
          </p:cNvSpPr>
          <p:nvPr>
            <p:ph type="body" sz="quarter" idx="19"/>
          </p:nvPr>
        </p:nvSpPr>
        <p:spPr>
          <a:xfrm>
            <a:off x="2802689"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0" name="Picture Placeholder 3">
            <a:extLst>
              <a:ext uri="{FF2B5EF4-FFF2-40B4-BE49-F238E27FC236}">
                <a16:creationId xmlns:a16="http://schemas.microsoft.com/office/drawing/2014/main" id="{7BD682FD-9976-0C80-A887-A4D6D2E292BF}"/>
              </a:ext>
            </a:extLst>
          </p:cNvPr>
          <p:cNvSpPr>
            <a:spLocks noGrp="1"/>
          </p:cNvSpPr>
          <p:nvPr>
            <p:ph type="pic" sz="quarter" idx="20"/>
          </p:nvPr>
        </p:nvSpPr>
        <p:spPr>
          <a:xfrm>
            <a:off x="5089439"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1" name="Text Placeholder 6">
            <a:extLst>
              <a:ext uri="{FF2B5EF4-FFF2-40B4-BE49-F238E27FC236}">
                <a16:creationId xmlns:a16="http://schemas.microsoft.com/office/drawing/2014/main" id="{A9A5BE6C-6EDB-FAB6-4644-C243D0C50113}"/>
              </a:ext>
            </a:extLst>
          </p:cNvPr>
          <p:cNvSpPr>
            <a:spLocks noGrp="1"/>
          </p:cNvSpPr>
          <p:nvPr>
            <p:ph type="body" sz="quarter" idx="21"/>
          </p:nvPr>
        </p:nvSpPr>
        <p:spPr>
          <a:xfrm>
            <a:off x="5089439"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2" name="Text Placeholder 6">
            <a:extLst>
              <a:ext uri="{FF2B5EF4-FFF2-40B4-BE49-F238E27FC236}">
                <a16:creationId xmlns:a16="http://schemas.microsoft.com/office/drawing/2014/main" id="{CB0F2787-5A74-A6DE-F13C-3D79E01FA602}"/>
              </a:ext>
            </a:extLst>
          </p:cNvPr>
          <p:cNvSpPr>
            <a:spLocks noGrp="1"/>
          </p:cNvSpPr>
          <p:nvPr>
            <p:ph type="body" sz="quarter" idx="22"/>
          </p:nvPr>
        </p:nvSpPr>
        <p:spPr>
          <a:xfrm>
            <a:off x="5089439"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3" name="Picture Placeholder 3">
            <a:extLst>
              <a:ext uri="{FF2B5EF4-FFF2-40B4-BE49-F238E27FC236}">
                <a16:creationId xmlns:a16="http://schemas.microsoft.com/office/drawing/2014/main" id="{201E793D-C775-4026-041E-34664EC7CB24}"/>
              </a:ext>
            </a:extLst>
          </p:cNvPr>
          <p:cNvSpPr>
            <a:spLocks noGrp="1"/>
          </p:cNvSpPr>
          <p:nvPr>
            <p:ph type="pic" sz="quarter" idx="23"/>
          </p:nvPr>
        </p:nvSpPr>
        <p:spPr>
          <a:xfrm>
            <a:off x="7376189"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4" name="Text Placeholder 6">
            <a:extLst>
              <a:ext uri="{FF2B5EF4-FFF2-40B4-BE49-F238E27FC236}">
                <a16:creationId xmlns:a16="http://schemas.microsoft.com/office/drawing/2014/main" id="{804BD5F4-CAC4-3B9A-26F3-C0C1833171E1}"/>
              </a:ext>
            </a:extLst>
          </p:cNvPr>
          <p:cNvSpPr>
            <a:spLocks noGrp="1"/>
          </p:cNvSpPr>
          <p:nvPr>
            <p:ph type="body" sz="quarter" idx="24"/>
          </p:nvPr>
        </p:nvSpPr>
        <p:spPr>
          <a:xfrm>
            <a:off x="7376189"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5" name="Text Placeholder 6">
            <a:extLst>
              <a:ext uri="{FF2B5EF4-FFF2-40B4-BE49-F238E27FC236}">
                <a16:creationId xmlns:a16="http://schemas.microsoft.com/office/drawing/2014/main" id="{B233CA27-29C3-9FC3-D859-9E09C4A5F850}"/>
              </a:ext>
            </a:extLst>
          </p:cNvPr>
          <p:cNvSpPr>
            <a:spLocks noGrp="1"/>
          </p:cNvSpPr>
          <p:nvPr>
            <p:ph type="body" sz="quarter" idx="25"/>
          </p:nvPr>
        </p:nvSpPr>
        <p:spPr>
          <a:xfrm>
            <a:off x="7376189"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6" name="Picture Placeholder 3">
            <a:extLst>
              <a:ext uri="{FF2B5EF4-FFF2-40B4-BE49-F238E27FC236}">
                <a16:creationId xmlns:a16="http://schemas.microsoft.com/office/drawing/2014/main" id="{8B57295D-E6CF-D31C-B144-FCA5CB14DF6B}"/>
              </a:ext>
            </a:extLst>
          </p:cNvPr>
          <p:cNvSpPr>
            <a:spLocks noGrp="1"/>
          </p:cNvSpPr>
          <p:nvPr>
            <p:ph type="pic" sz="quarter" idx="26"/>
          </p:nvPr>
        </p:nvSpPr>
        <p:spPr>
          <a:xfrm>
            <a:off x="9662939"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7" name="Text Placeholder 6">
            <a:extLst>
              <a:ext uri="{FF2B5EF4-FFF2-40B4-BE49-F238E27FC236}">
                <a16:creationId xmlns:a16="http://schemas.microsoft.com/office/drawing/2014/main" id="{AD0246CA-EA99-001F-02B9-8BA52DCE7337}"/>
              </a:ext>
            </a:extLst>
          </p:cNvPr>
          <p:cNvSpPr>
            <a:spLocks noGrp="1"/>
          </p:cNvSpPr>
          <p:nvPr>
            <p:ph type="body" sz="quarter" idx="27"/>
          </p:nvPr>
        </p:nvSpPr>
        <p:spPr>
          <a:xfrm>
            <a:off x="9662940"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8" name="Text Placeholder 6">
            <a:extLst>
              <a:ext uri="{FF2B5EF4-FFF2-40B4-BE49-F238E27FC236}">
                <a16:creationId xmlns:a16="http://schemas.microsoft.com/office/drawing/2014/main" id="{3D355FF6-773D-9D18-B07A-AFAED992F8C9}"/>
              </a:ext>
            </a:extLst>
          </p:cNvPr>
          <p:cNvSpPr>
            <a:spLocks noGrp="1"/>
          </p:cNvSpPr>
          <p:nvPr>
            <p:ph type="body" sz="quarter" idx="28"/>
          </p:nvPr>
        </p:nvSpPr>
        <p:spPr>
          <a:xfrm>
            <a:off x="9662940"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2802428743"/>
      </p:ext>
    </p:extLst>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Section Divider + Image A3">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736D7151-EE44-6D41-A861-17BC5B8F0001}"/>
              </a:ext>
            </a:extLst>
          </p:cNvPr>
          <p:cNvSpPr>
            <a:spLocks noGrp="1"/>
          </p:cNvSpPr>
          <p:nvPr>
            <p:ph type="pic" sz="quarter" idx="10"/>
          </p:nvPr>
        </p:nvSpPr>
        <p:spPr>
          <a:xfrm>
            <a:off x="-2" y="0"/>
            <a:ext cx="6096001" cy="6858000"/>
          </a:xfrm>
          <a:custGeom>
            <a:avLst/>
            <a:gdLst>
              <a:gd name="connsiteX0" fmla="*/ 3115819 w 6096001"/>
              <a:gd name="connsiteY0" fmla="*/ 1901215 h 6858000"/>
              <a:gd name="connsiteX1" fmla="*/ 2096475 w 6096001"/>
              <a:gd name="connsiteY1" fmla="*/ 2469051 h 6858000"/>
              <a:gd name="connsiteX2" fmla="*/ 2517092 w 6096001"/>
              <a:gd name="connsiteY2" fmla="*/ 2737003 h 6858000"/>
              <a:gd name="connsiteX3" fmla="*/ 3061016 w 6096001"/>
              <a:gd name="connsiteY3" fmla="*/ 2401022 h 6858000"/>
              <a:gd name="connsiteX4" fmla="*/ 3455600 w 6096001"/>
              <a:gd name="connsiteY4" fmla="*/ 2732838 h 6858000"/>
              <a:gd name="connsiteX5" fmla="*/ 2725345 w 6096001"/>
              <a:gd name="connsiteY5" fmla="*/ 3202101 h 6858000"/>
              <a:gd name="connsiteX6" fmla="*/ 2725345 w 6096001"/>
              <a:gd name="connsiteY6" fmla="*/ 3663034 h 6858000"/>
              <a:gd name="connsiteX7" fmla="*/ 3570688 w 6096001"/>
              <a:gd name="connsiteY7" fmla="*/ 4110083 h 6858000"/>
              <a:gd name="connsiteX8" fmla="*/ 3044575 w 6096001"/>
              <a:gd name="connsiteY8" fmla="*/ 4544637 h 6858000"/>
              <a:gd name="connsiteX9" fmla="*/ 2300618 w 6096001"/>
              <a:gd name="connsiteY9" fmla="*/ 4273909 h 6858000"/>
              <a:gd name="connsiteX10" fmla="*/ 1977278 w 6096001"/>
              <a:gd name="connsiteY10" fmla="*/ 4712628 h 6858000"/>
              <a:gd name="connsiteX11" fmla="*/ 1978648 w 6096001"/>
              <a:gd name="connsiteY11" fmla="*/ 4711240 h 6858000"/>
              <a:gd name="connsiteX12" fmla="*/ 3048685 w 6096001"/>
              <a:gd name="connsiteY12" fmla="*/ 5043056 h 6858000"/>
              <a:gd name="connsiteX13" fmla="*/ 4118722 w 6096001"/>
              <a:gd name="connsiteY13" fmla="*/ 4126744 h 6858000"/>
              <a:gd name="connsiteX14" fmla="*/ 3455600 w 6096001"/>
              <a:gd name="connsiteY14" fmla="*/ 3360373 h 6858000"/>
              <a:gd name="connsiteX15" fmla="*/ 3999524 w 6096001"/>
              <a:gd name="connsiteY15" fmla="*/ 2628712 h 6858000"/>
              <a:gd name="connsiteX16" fmla="*/ 3115819 w 6096001"/>
              <a:gd name="connsiteY16" fmla="*/ 1901215 h 6858000"/>
              <a:gd name="connsiteX17" fmla="*/ 0 w 6096001"/>
              <a:gd name="connsiteY17" fmla="*/ 0 h 6858000"/>
              <a:gd name="connsiteX18" fmla="*/ 5214397 w 6096001"/>
              <a:gd name="connsiteY18" fmla="*/ 0 h 6858000"/>
              <a:gd name="connsiteX19" fmla="*/ 6096001 w 6096001"/>
              <a:gd name="connsiteY19" fmla="*/ 881604 h 6858000"/>
              <a:gd name="connsiteX20" fmla="*/ 6096001 w 6096001"/>
              <a:gd name="connsiteY20" fmla="*/ 6858000 h 6858000"/>
              <a:gd name="connsiteX21" fmla="*/ 0 w 6096001"/>
              <a:gd name="connsiteY2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096001" h="6858000">
                <a:moveTo>
                  <a:pt x="3115819" y="1901215"/>
                </a:moveTo>
                <a:cubicBezTo>
                  <a:pt x="2614368" y="1901215"/>
                  <a:pt x="2278697" y="2128905"/>
                  <a:pt x="2096475" y="2469051"/>
                </a:cubicBezTo>
                <a:lnTo>
                  <a:pt x="2517092" y="2737003"/>
                </a:lnTo>
                <a:cubicBezTo>
                  <a:pt x="2602037" y="2581508"/>
                  <a:pt x="2780148" y="2401022"/>
                  <a:pt x="3061016" y="2401022"/>
                </a:cubicBezTo>
                <a:cubicBezTo>
                  <a:pt x="3302151" y="2401022"/>
                  <a:pt x="3455600" y="2534304"/>
                  <a:pt x="3455600" y="2732838"/>
                </a:cubicBezTo>
                <a:cubicBezTo>
                  <a:pt x="3455600" y="2964693"/>
                  <a:pt x="3285710" y="3197936"/>
                  <a:pt x="2725345" y="3202101"/>
                </a:cubicBezTo>
                <a:lnTo>
                  <a:pt x="2725345" y="3663034"/>
                </a:lnTo>
                <a:cubicBezTo>
                  <a:pt x="3303521" y="3663034"/>
                  <a:pt x="3570688" y="3825471"/>
                  <a:pt x="3570688" y="4110083"/>
                </a:cubicBezTo>
                <a:cubicBezTo>
                  <a:pt x="3570688" y="4372481"/>
                  <a:pt x="3384356" y="4544637"/>
                  <a:pt x="3044575" y="4544637"/>
                </a:cubicBezTo>
                <a:cubicBezTo>
                  <a:pt x="2737676" y="4544637"/>
                  <a:pt x="2504761" y="4433570"/>
                  <a:pt x="2300618" y="4273909"/>
                </a:cubicBezTo>
                <a:lnTo>
                  <a:pt x="1977278" y="4712628"/>
                </a:lnTo>
                <a:lnTo>
                  <a:pt x="1978648" y="4711240"/>
                </a:lnTo>
                <a:cubicBezTo>
                  <a:pt x="2271846" y="4926434"/>
                  <a:pt x="2581486" y="5043056"/>
                  <a:pt x="3048685" y="5043056"/>
                </a:cubicBezTo>
                <a:cubicBezTo>
                  <a:pt x="3698106" y="5043056"/>
                  <a:pt x="4118722" y="4659870"/>
                  <a:pt x="4118722" y="4126744"/>
                </a:cubicBezTo>
                <a:cubicBezTo>
                  <a:pt x="4118722" y="3708850"/>
                  <a:pt x="3863886" y="3468665"/>
                  <a:pt x="3455600" y="3360373"/>
                </a:cubicBezTo>
                <a:cubicBezTo>
                  <a:pt x="3791271" y="3239587"/>
                  <a:pt x="3999524" y="2999402"/>
                  <a:pt x="3999524" y="2628712"/>
                </a:cubicBezTo>
                <a:cubicBezTo>
                  <a:pt x="3999524" y="2206653"/>
                  <a:pt x="3617271" y="1901215"/>
                  <a:pt x="3115819" y="1901215"/>
                </a:cubicBez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tIns="720000">
            <a:noAutofit/>
          </a:bodyPr>
          <a:lstStyle>
            <a:lvl1pPr algn="ctr">
              <a:defRPr sz="1600">
                <a:solidFill>
                  <a:schemeClr val="bg1">
                    <a:lumMod val="50000"/>
                  </a:schemeClr>
                </a:solidFill>
              </a:defRPr>
            </a:lvl1pPr>
          </a:lstStyle>
          <a:p>
            <a:r>
              <a:rPr lang="en-US"/>
              <a:t>Click icon to add picture</a:t>
            </a:r>
            <a:endParaRPr lang="en-GB"/>
          </a:p>
        </p:txBody>
      </p:sp>
      <p:pic>
        <p:nvPicPr>
          <p:cNvPr id="14" name="Graphic 13">
            <a:extLst>
              <a:ext uri="{FF2B5EF4-FFF2-40B4-BE49-F238E27FC236}">
                <a16:creationId xmlns:a16="http://schemas.microsoft.com/office/drawing/2014/main" id="{85DA45A5-9E96-A540-A7CB-C6C50E73A72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5558"/>
            <a:ext cx="1304260" cy="480118"/>
          </a:xfrm>
          <a:prstGeom prst="rect">
            <a:avLst/>
          </a:prstGeom>
        </p:spPr>
      </p:pic>
      <p:sp>
        <p:nvSpPr>
          <p:cNvPr id="8" name="Text Placeholder 29">
            <a:extLst>
              <a:ext uri="{FF2B5EF4-FFF2-40B4-BE49-F238E27FC236}">
                <a16:creationId xmlns:a16="http://schemas.microsoft.com/office/drawing/2014/main" id="{B2461434-5D17-DC5F-DC1A-E69D4E2BBC1D}"/>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tx2"/>
                </a:solidFill>
              </a:defRPr>
            </a:lvl1pPr>
          </a:lstStyle>
          <a:p>
            <a:pPr lvl="0"/>
            <a:r>
              <a:rPr lang="en-GB"/>
              <a:t>Section title goes here</a:t>
            </a:r>
          </a:p>
        </p:txBody>
      </p:sp>
      <p:sp>
        <p:nvSpPr>
          <p:cNvPr id="9" name="Text Placeholder 31">
            <a:extLst>
              <a:ext uri="{FF2B5EF4-FFF2-40B4-BE49-F238E27FC236}">
                <a16:creationId xmlns:a16="http://schemas.microsoft.com/office/drawing/2014/main" id="{63FD04FF-C6D3-AE64-9C91-6E3CEBDB6B0C}"/>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tx2">
                    <a:lumMod val="50000"/>
                  </a:schemeClr>
                </a:solidFill>
              </a:defRPr>
            </a:lvl1pPr>
          </a:lstStyle>
          <a:p>
            <a:pPr lvl="0"/>
            <a:r>
              <a:rPr lang="en-GB"/>
              <a:t>SUBTITLE GOES HERE: TYPE IN CAPITALS</a:t>
            </a:r>
          </a:p>
        </p:txBody>
      </p:sp>
    </p:spTree>
    <p:extLst>
      <p:ext uri="{BB962C8B-B14F-4D97-AF65-F5344CB8AC3E}">
        <p14:creationId xmlns:p14="http://schemas.microsoft.com/office/powerpoint/2010/main" val="483737154"/>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Section Divider + Image A4">
    <p:spTree>
      <p:nvGrpSpPr>
        <p:cNvPr id="1" name=""/>
        <p:cNvGrpSpPr/>
        <p:nvPr/>
      </p:nvGrpSpPr>
      <p:grpSpPr>
        <a:xfrm>
          <a:off x="0" y="0"/>
          <a:ext cx="0" cy="0"/>
          <a:chOff x="0" y="0"/>
          <a:chExt cx="0" cy="0"/>
        </a:xfrm>
      </p:grpSpPr>
      <p:sp>
        <p:nvSpPr>
          <p:cNvPr id="29" name="Picture Placeholder 28">
            <a:extLst>
              <a:ext uri="{FF2B5EF4-FFF2-40B4-BE49-F238E27FC236}">
                <a16:creationId xmlns:a16="http://schemas.microsoft.com/office/drawing/2014/main" id="{8AEA1B93-DB0B-33C4-6C50-8FD2474CA50D}"/>
              </a:ext>
            </a:extLst>
          </p:cNvPr>
          <p:cNvSpPr>
            <a:spLocks noGrp="1"/>
          </p:cNvSpPr>
          <p:nvPr>
            <p:ph type="pic" sz="quarter" idx="14"/>
          </p:nvPr>
        </p:nvSpPr>
        <p:spPr>
          <a:xfrm>
            <a:off x="0" y="0"/>
            <a:ext cx="6096001" cy="6858000"/>
          </a:xfrm>
          <a:custGeom>
            <a:avLst/>
            <a:gdLst>
              <a:gd name="connsiteX0" fmla="*/ 3218999 w 6096001"/>
              <a:gd name="connsiteY0" fmla="*/ 2668987 h 6858000"/>
              <a:gd name="connsiteX1" fmla="*/ 3218999 w 6096001"/>
              <a:gd name="connsiteY1" fmla="*/ 3752595 h 6858000"/>
              <a:gd name="connsiteX2" fmla="*/ 2442001 w 6096001"/>
              <a:gd name="connsiteY2" fmla="*/ 3752595 h 6858000"/>
              <a:gd name="connsiteX3" fmla="*/ 3218999 w 6096001"/>
              <a:gd name="connsiteY3" fmla="*/ 1883188 h 6858000"/>
              <a:gd name="connsiteX4" fmla="*/ 1820976 w 6096001"/>
              <a:gd name="connsiteY4" fmla="*/ 3839578 h 6858000"/>
              <a:gd name="connsiteX5" fmla="*/ 1820976 w 6096001"/>
              <a:gd name="connsiteY5" fmla="*/ 4242061 h 6858000"/>
              <a:gd name="connsiteX6" fmla="*/ 3218999 w 6096001"/>
              <a:gd name="connsiteY6" fmla="*/ 4242061 h 6858000"/>
              <a:gd name="connsiteX7" fmla="*/ 3218999 w 6096001"/>
              <a:gd name="connsiteY7" fmla="*/ 5164970 h 6858000"/>
              <a:gd name="connsiteX8" fmla="*/ 3791372 w 6096001"/>
              <a:gd name="connsiteY8" fmla="*/ 5164970 h 6858000"/>
              <a:gd name="connsiteX9" fmla="*/ 3791372 w 6096001"/>
              <a:gd name="connsiteY9" fmla="*/ 4242061 h 6858000"/>
              <a:gd name="connsiteX10" fmla="*/ 4275028 w 6096001"/>
              <a:gd name="connsiteY10" fmla="*/ 4242061 h 6858000"/>
              <a:gd name="connsiteX11" fmla="*/ 4275028 w 6096001"/>
              <a:gd name="connsiteY11" fmla="*/ 3752595 h 6858000"/>
              <a:gd name="connsiteX12" fmla="*/ 3791372 w 6096001"/>
              <a:gd name="connsiteY12" fmla="*/ 3752595 h 6858000"/>
              <a:gd name="connsiteX13" fmla="*/ 3791372 w 6096001"/>
              <a:gd name="connsiteY13" fmla="*/ 1883188 h 6858000"/>
              <a:gd name="connsiteX14" fmla="*/ 0 w 6096001"/>
              <a:gd name="connsiteY14" fmla="*/ 0 h 6858000"/>
              <a:gd name="connsiteX15" fmla="*/ 5214397 w 6096001"/>
              <a:gd name="connsiteY15" fmla="*/ 0 h 6858000"/>
              <a:gd name="connsiteX16" fmla="*/ 6096001 w 6096001"/>
              <a:gd name="connsiteY16" fmla="*/ 881604 h 6858000"/>
              <a:gd name="connsiteX17" fmla="*/ 6096001 w 6096001"/>
              <a:gd name="connsiteY17" fmla="*/ 6858000 h 6858000"/>
              <a:gd name="connsiteX18" fmla="*/ 0 w 6096001"/>
              <a:gd name="connsiteY1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096001" h="6858000">
                <a:moveTo>
                  <a:pt x="3218999" y="2668987"/>
                </a:moveTo>
                <a:lnTo>
                  <a:pt x="3218999" y="3752595"/>
                </a:lnTo>
                <a:lnTo>
                  <a:pt x="2442001" y="3752595"/>
                </a:lnTo>
                <a:close/>
                <a:moveTo>
                  <a:pt x="3218999" y="1883188"/>
                </a:moveTo>
                <a:lnTo>
                  <a:pt x="1820976" y="3839578"/>
                </a:lnTo>
                <a:lnTo>
                  <a:pt x="1820976" y="4242061"/>
                </a:lnTo>
                <a:lnTo>
                  <a:pt x="3218999" y="4242061"/>
                </a:lnTo>
                <a:lnTo>
                  <a:pt x="3218999" y="5164970"/>
                </a:lnTo>
                <a:lnTo>
                  <a:pt x="3791372" y="5164970"/>
                </a:lnTo>
                <a:lnTo>
                  <a:pt x="3791372" y="4242061"/>
                </a:lnTo>
                <a:lnTo>
                  <a:pt x="4275028" y="4242061"/>
                </a:lnTo>
                <a:lnTo>
                  <a:pt x="4275028" y="3752595"/>
                </a:lnTo>
                <a:lnTo>
                  <a:pt x="3791372" y="3752595"/>
                </a:lnTo>
                <a:lnTo>
                  <a:pt x="3791372" y="1883188"/>
                </a:ln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anchor="ctr">
            <a:noAutofit/>
          </a:bodyPr>
          <a:lstStyle>
            <a:lvl1pPr algn="ctr">
              <a:defRPr sz="1600">
                <a:solidFill>
                  <a:schemeClr val="bg1">
                    <a:lumMod val="50000"/>
                  </a:schemeClr>
                </a:solidFill>
              </a:defRPr>
            </a:lvl1pPr>
          </a:lstStyle>
          <a:p>
            <a:r>
              <a:rPr lang="en-US"/>
              <a:t>Click icon to add picture</a:t>
            </a:r>
            <a:endParaRPr lang="en-GB"/>
          </a:p>
        </p:txBody>
      </p:sp>
      <p:pic>
        <p:nvPicPr>
          <p:cNvPr id="14" name="Graphic 13">
            <a:extLst>
              <a:ext uri="{FF2B5EF4-FFF2-40B4-BE49-F238E27FC236}">
                <a16:creationId xmlns:a16="http://schemas.microsoft.com/office/drawing/2014/main" id="{85DA45A5-9E96-A540-A7CB-C6C50E73A72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5558"/>
            <a:ext cx="1304260" cy="480118"/>
          </a:xfrm>
          <a:prstGeom prst="rect">
            <a:avLst/>
          </a:prstGeom>
        </p:spPr>
      </p:pic>
      <p:sp>
        <p:nvSpPr>
          <p:cNvPr id="8" name="Text Placeholder 29">
            <a:extLst>
              <a:ext uri="{FF2B5EF4-FFF2-40B4-BE49-F238E27FC236}">
                <a16:creationId xmlns:a16="http://schemas.microsoft.com/office/drawing/2014/main" id="{3314B818-1A45-4088-0941-EB7C6968EA16}"/>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tx2"/>
                </a:solidFill>
              </a:defRPr>
            </a:lvl1pPr>
          </a:lstStyle>
          <a:p>
            <a:pPr lvl="0"/>
            <a:r>
              <a:rPr lang="en-GB"/>
              <a:t>Section title goes here</a:t>
            </a:r>
          </a:p>
        </p:txBody>
      </p:sp>
      <p:sp>
        <p:nvSpPr>
          <p:cNvPr id="9" name="Text Placeholder 31">
            <a:extLst>
              <a:ext uri="{FF2B5EF4-FFF2-40B4-BE49-F238E27FC236}">
                <a16:creationId xmlns:a16="http://schemas.microsoft.com/office/drawing/2014/main" id="{5C3A23D4-78BE-16F7-8E29-ADEBA311D003}"/>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tx2">
                    <a:lumMod val="50000"/>
                  </a:schemeClr>
                </a:solidFill>
              </a:defRPr>
            </a:lvl1pPr>
          </a:lstStyle>
          <a:p>
            <a:pPr lvl="0"/>
            <a:r>
              <a:rPr lang="en-GB"/>
              <a:t>SUBTITLE GOES HERE: TYPE IN CAPITALS</a:t>
            </a:r>
          </a:p>
        </p:txBody>
      </p:sp>
    </p:spTree>
    <p:extLst>
      <p:ext uri="{BB962C8B-B14F-4D97-AF65-F5344CB8AC3E}">
        <p14:creationId xmlns:p14="http://schemas.microsoft.com/office/powerpoint/2010/main" val="3410804440"/>
      </p:ext>
    </p:extLst>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Section Divider + Image A5">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85DA45A5-9E96-A540-A7CB-C6C50E73A72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5558"/>
            <a:ext cx="1304260" cy="480118"/>
          </a:xfrm>
          <a:prstGeom prst="rect">
            <a:avLst/>
          </a:prstGeom>
        </p:spPr>
      </p:pic>
      <p:sp>
        <p:nvSpPr>
          <p:cNvPr id="16" name="Picture Placeholder 15">
            <a:extLst>
              <a:ext uri="{FF2B5EF4-FFF2-40B4-BE49-F238E27FC236}">
                <a16:creationId xmlns:a16="http://schemas.microsoft.com/office/drawing/2014/main" id="{343EB15E-A314-36FE-8F19-4C79176CF3CC}"/>
              </a:ext>
            </a:extLst>
          </p:cNvPr>
          <p:cNvSpPr>
            <a:spLocks noGrp="1"/>
          </p:cNvSpPr>
          <p:nvPr>
            <p:ph type="pic" sz="quarter" idx="14"/>
          </p:nvPr>
        </p:nvSpPr>
        <p:spPr>
          <a:xfrm>
            <a:off x="-2" y="0"/>
            <a:ext cx="6096001" cy="6858000"/>
          </a:xfrm>
          <a:custGeom>
            <a:avLst/>
            <a:gdLst>
              <a:gd name="connsiteX0" fmla="*/ 2264571 w 6096001"/>
              <a:gd name="connsiteY0" fmla="*/ 1883188 h 6858000"/>
              <a:gd name="connsiteX1" fmla="*/ 2167943 w 6096001"/>
              <a:gd name="connsiteY1" fmla="*/ 3625805 h 6858000"/>
              <a:gd name="connsiteX2" fmla="*/ 2578239 w 6096001"/>
              <a:gd name="connsiteY2" fmla="*/ 3754069 h 6858000"/>
              <a:gd name="connsiteX3" fmla="*/ 3056918 w 6096001"/>
              <a:gd name="connsiteY3" fmla="*/ 3625805 h 6858000"/>
              <a:gd name="connsiteX4" fmla="*/ 3638171 w 6096001"/>
              <a:gd name="connsiteY4" fmla="*/ 4124117 h 6858000"/>
              <a:gd name="connsiteX5" fmla="*/ 3047999 w 6096001"/>
              <a:gd name="connsiteY5" fmla="*/ 4644543 h 6858000"/>
              <a:gd name="connsiteX6" fmla="*/ 2222946 w 6096001"/>
              <a:gd name="connsiteY6" fmla="*/ 4342313 h 6858000"/>
              <a:gd name="connsiteX7" fmla="*/ 1933063 w 6096001"/>
              <a:gd name="connsiteY7" fmla="*/ 4822933 h 6858000"/>
              <a:gd name="connsiteX8" fmla="*/ 3058405 w 6096001"/>
              <a:gd name="connsiteY8" fmla="*/ 5175290 h 6858000"/>
              <a:gd name="connsiteX9" fmla="*/ 4229830 w 6096001"/>
              <a:gd name="connsiteY9" fmla="*/ 4110849 h 6858000"/>
              <a:gd name="connsiteX10" fmla="*/ 3178818 w 6096001"/>
              <a:gd name="connsiteY10" fmla="*/ 3114225 h 6858000"/>
              <a:gd name="connsiteX11" fmla="*/ 2689733 w 6096001"/>
              <a:gd name="connsiteY11" fmla="*/ 3214477 h 6858000"/>
              <a:gd name="connsiteX12" fmla="*/ 2744736 w 6096001"/>
              <a:gd name="connsiteY12" fmla="*/ 2409511 h 6858000"/>
              <a:gd name="connsiteX13" fmla="*/ 4026169 w 6096001"/>
              <a:gd name="connsiteY13" fmla="*/ 2409511 h 6858000"/>
              <a:gd name="connsiteX14" fmla="*/ 4026169 w 6096001"/>
              <a:gd name="connsiteY14" fmla="*/ 1883188 h 6858000"/>
              <a:gd name="connsiteX15" fmla="*/ 0 w 6096001"/>
              <a:gd name="connsiteY15" fmla="*/ 0 h 6858000"/>
              <a:gd name="connsiteX16" fmla="*/ 5214397 w 6096001"/>
              <a:gd name="connsiteY16" fmla="*/ 0 h 6858000"/>
              <a:gd name="connsiteX17" fmla="*/ 6096001 w 6096001"/>
              <a:gd name="connsiteY17" fmla="*/ 881604 h 6858000"/>
              <a:gd name="connsiteX18" fmla="*/ 6096001 w 6096001"/>
              <a:gd name="connsiteY18" fmla="*/ 6858000 h 6858000"/>
              <a:gd name="connsiteX19" fmla="*/ 0 w 6096001"/>
              <a:gd name="connsiteY1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096001" h="6858000">
                <a:moveTo>
                  <a:pt x="2264571" y="1883188"/>
                </a:moveTo>
                <a:lnTo>
                  <a:pt x="2167943" y="3625805"/>
                </a:lnTo>
                <a:lnTo>
                  <a:pt x="2578239" y="3754069"/>
                </a:lnTo>
                <a:cubicBezTo>
                  <a:pt x="2706085" y="3671508"/>
                  <a:pt x="2863663" y="3625805"/>
                  <a:pt x="3056918" y="3625805"/>
                </a:cubicBezTo>
                <a:cubicBezTo>
                  <a:pt x="3412211" y="3625805"/>
                  <a:pt x="3638171" y="3814515"/>
                  <a:pt x="3638171" y="4124117"/>
                </a:cubicBezTo>
                <a:cubicBezTo>
                  <a:pt x="3638171" y="4433719"/>
                  <a:pt x="3412211" y="4644543"/>
                  <a:pt x="3047999" y="4644543"/>
                </a:cubicBezTo>
                <a:cubicBezTo>
                  <a:pt x="2720951" y="4644543"/>
                  <a:pt x="2435527" y="4511857"/>
                  <a:pt x="2222946" y="4342313"/>
                </a:cubicBezTo>
                <a:lnTo>
                  <a:pt x="1933063" y="4822933"/>
                </a:lnTo>
                <a:cubicBezTo>
                  <a:pt x="2173889" y="5024912"/>
                  <a:pt x="2542561" y="5175290"/>
                  <a:pt x="3058405" y="5175290"/>
                </a:cubicBezTo>
                <a:cubicBezTo>
                  <a:pt x="3755611" y="5175290"/>
                  <a:pt x="4229830" y="4728578"/>
                  <a:pt x="4229830" y="4110849"/>
                </a:cubicBezTo>
                <a:cubicBezTo>
                  <a:pt x="4229830" y="3493119"/>
                  <a:pt x="3801695" y="3114225"/>
                  <a:pt x="3178818" y="3114225"/>
                </a:cubicBezTo>
                <a:cubicBezTo>
                  <a:pt x="3007861" y="3114225"/>
                  <a:pt x="2810146" y="3155505"/>
                  <a:pt x="2689733" y="3214477"/>
                </a:cubicBezTo>
                <a:lnTo>
                  <a:pt x="2744736" y="2409511"/>
                </a:lnTo>
                <a:lnTo>
                  <a:pt x="4026169" y="2409511"/>
                </a:lnTo>
                <a:lnTo>
                  <a:pt x="4026169" y="1883188"/>
                </a:ln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anchor="ctr">
            <a:noAutofit/>
          </a:bodyPr>
          <a:lstStyle>
            <a:lvl1pPr algn="ctr">
              <a:defRPr sz="1600">
                <a:solidFill>
                  <a:schemeClr val="bg1">
                    <a:lumMod val="50000"/>
                  </a:schemeClr>
                </a:solidFill>
              </a:defRPr>
            </a:lvl1pPr>
          </a:lstStyle>
          <a:p>
            <a:r>
              <a:rPr lang="en-US"/>
              <a:t>Click icon to add picture</a:t>
            </a:r>
            <a:endParaRPr lang="en-GB"/>
          </a:p>
        </p:txBody>
      </p:sp>
      <p:sp>
        <p:nvSpPr>
          <p:cNvPr id="8" name="Text Placeholder 29">
            <a:extLst>
              <a:ext uri="{FF2B5EF4-FFF2-40B4-BE49-F238E27FC236}">
                <a16:creationId xmlns:a16="http://schemas.microsoft.com/office/drawing/2014/main" id="{44E4F9BB-131C-DA11-8330-1278532DD3C7}"/>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tx2"/>
                </a:solidFill>
              </a:defRPr>
            </a:lvl1pPr>
          </a:lstStyle>
          <a:p>
            <a:pPr lvl="0"/>
            <a:r>
              <a:rPr lang="en-GB"/>
              <a:t>Section title goes here</a:t>
            </a:r>
          </a:p>
        </p:txBody>
      </p:sp>
      <p:sp>
        <p:nvSpPr>
          <p:cNvPr id="9" name="Text Placeholder 31">
            <a:extLst>
              <a:ext uri="{FF2B5EF4-FFF2-40B4-BE49-F238E27FC236}">
                <a16:creationId xmlns:a16="http://schemas.microsoft.com/office/drawing/2014/main" id="{26A6169B-562B-8F66-2B5C-19489101B699}"/>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tx2">
                    <a:lumMod val="50000"/>
                  </a:schemeClr>
                </a:solidFill>
              </a:defRPr>
            </a:lvl1pPr>
          </a:lstStyle>
          <a:p>
            <a:pPr lvl="0"/>
            <a:r>
              <a:rPr lang="en-GB"/>
              <a:t>SUBTITLE GOES HERE: TYPE IN CAPITALS</a:t>
            </a:r>
          </a:p>
        </p:txBody>
      </p:sp>
    </p:spTree>
    <p:extLst>
      <p:ext uri="{BB962C8B-B14F-4D97-AF65-F5344CB8AC3E}">
        <p14:creationId xmlns:p14="http://schemas.microsoft.com/office/powerpoint/2010/main" val="3009098707"/>
      </p:ext>
    </p:extLst>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Section Divider + Image A6">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A1BA5AB5-3C92-5003-411D-080017FB62FA}"/>
              </a:ext>
            </a:extLst>
          </p:cNvPr>
          <p:cNvSpPr>
            <a:spLocks noGrp="1"/>
          </p:cNvSpPr>
          <p:nvPr>
            <p:ph type="pic" sz="quarter" idx="14"/>
          </p:nvPr>
        </p:nvSpPr>
        <p:spPr>
          <a:xfrm>
            <a:off x="-2" y="0"/>
            <a:ext cx="6096001" cy="6858000"/>
          </a:xfrm>
          <a:custGeom>
            <a:avLst/>
            <a:gdLst>
              <a:gd name="connsiteX0" fmla="*/ 3077268 w 6096001"/>
              <a:gd name="connsiteY0" fmla="*/ 3517274 h 6858000"/>
              <a:gd name="connsiteX1" fmla="*/ 3608256 w 6096001"/>
              <a:gd name="connsiteY1" fmla="*/ 4024085 h 6858000"/>
              <a:gd name="connsiteX2" fmla="*/ 3609649 w 6096001"/>
              <a:gd name="connsiteY2" fmla="*/ 4025458 h 6858000"/>
              <a:gd name="connsiteX3" fmla="*/ 3064725 w 6096001"/>
              <a:gd name="connsiteY3" fmla="*/ 4548751 h 6858000"/>
              <a:gd name="connsiteX4" fmla="*/ 2503076 w 6096001"/>
              <a:gd name="connsiteY4" fmla="*/ 3973266 h 6858000"/>
              <a:gd name="connsiteX5" fmla="*/ 3077268 w 6096001"/>
              <a:gd name="connsiteY5" fmla="*/ 3517274 h 6858000"/>
              <a:gd name="connsiteX6" fmla="*/ 3834030 w 6096001"/>
              <a:gd name="connsiteY6" fmla="*/ 1925421 h 6858000"/>
              <a:gd name="connsiteX7" fmla="*/ 1945608 w 6096001"/>
              <a:gd name="connsiteY7" fmla="*/ 3731535 h 6858000"/>
              <a:gd name="connsiteX8" fmla="*/ 3085630 w 6096001"/>
              <a:gd name="connsiteY8" fmla="*/ 5025345 h 6858000"/>
              <a:gd name="connsiteX9" fmla="*/ 4148999 w 6096001"/>
              <a:gd name="connsiteY9" fmla="*/ 4015844 h 6858000"/>
              <a:gd name="connsiteX10" fmla="*/ 4150393 w 6096001"/>
              <a:gd name="connsiteY10" fmla="*/ 4015844 h 6858000"/>
              <a:gd name="connsiteX11" fmla="*/ 3195730 w 6096001"/>
              <a:gd name="connsiteY11" fmla="*/ 3083257 h 6858000"/>
              <a:gd name="connsiteX12" fmla="*/ 2525374 w 6096001"/>
              <a:gd name="connsiteY12" fmla="*/ 3338723 h 6858000"/>
              <a:gd name="connsiteX13" fmla="*/ 3946917 w 6096001"/>
              <a:gd name="connsiteY13" fmla="*/ 2402015 h 6858000"/>
              <a:gd name="connsiteX14" fmla="*/ 0 w 6096001"/>
              <a:gd name="connsiteY14" fmla="*/ 0 h 6858000"/>
              <a:gd name="connsiteX15" fmla="*/ 5214397 w 6096001"/>
              <a:gd name="connsiteY15" fmla="*/ 0 h 6858000"/>
              <a:gd name="connsiteX16" fmla="*/ 6096001 w 6096001"/>
              <a:gd name="connsiteY16" fmla="*/ 881604 h 6858000"/>
              <a:gd name="connsiteX17" fmla="*/ 6096001 w 6096001"/>
              <a:gd name="connsiteY17" fmla="*/ 6858000 h 6858000"/>
              <a:gd name="connsiteX18" fmla="*/ 0 w 6096001"/>
              <a:gd name="connsiteY1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096001" h="6858000">
                <a:moveTo>
                  <a:pt x="3077268" y="3517274"/>
                </a:moveTo>
                <a:cubicBezTo>
                  <a:pt x="3396418" y="3517274"/>
                  <a:pt x="3608256" y="3704066"/>
                  <a:pt x="3608256" y="4024085"/>
                </a:cubicBezTo>
                <a:lnTo>
                  <a:pt x="3609649" y="4025458"/>
                </a:lnTo>
                <a:cubicBezTo>
                  <a:pt x="3609649" y="4352344"/>
                  <a:pt x="3379694" y="4548751"/>
                  <a:pt x="3064725" y="4548751"/>
                </a:cubicBezTo>
                <a:cubicBezTo>
                  <a:pt x="2727457" y="4548751"/>
                  <a:pt x="2503076" y="4293285"/>
                  <a:pt x="2503076" y="3973266"/>
                </a:cubicBezTo>
                <a:cubicBezTo>
                  <a:pt x="2503076" y="3691705"/>
                  <a:pt x="2779022" y="3517274"/>
                  <a:pt x="3077268" y="3517274"/>
                </a:cubicBezTo>
                <a:close/>
                <a:moveTo>
                  <a:pt x="3834030" y="1925421"/>
                </a:moveTo>
                <a:cubicBezTo>
                  <a:pt x="2503076" y="1967999"/>
                  <a:pt x="1945608" y="2776973"/>
                  <a:pt x="1945608" y="3731535"/>
                </a:cubicBezTo>
                <a:cubicBezTo>
                  <a:pt x="1945608" y="4574847"/>
                  <a:pt x="2416668" y="5025345"/>
                  <a:pt x="3085630" y="5025345"/>
                </a:cubicBezTo>
                <a:cubicBezTo>
                  <a:pt x="3700238" y="5025345"/>
                  <a:pt x="4148999" y="4616051"/>
                  <a:pt x="4148999" y="4015844"/>
                </a:cubicBezTo>
                <a:lnTo>
                  <a:pt x="4150393" y="4015844"/>
                </a:lnTo>
                <a:cubicBezTo>
                  <a:pt x="4150393" y="3432119"/>
                  <a:pt x="3730899" y="3083257"/>
                  <a:pt x="3195730" y="3083257"/>
                </a:cubicBezTo>
                <a:cubicBezTo>
                  <a:pt x="2897484" y="3083257"/>
                  <a:pt x="2654986" y="3210990"/>
                  <a:pt x="2525374" y="3338723"/>
                </a:cubicBezTo>
                <a:cubicBezTo>
                  <a:pt x="2710732" y="2700059"/>
                  <a:pt x="3160888" y="2436352"/>
                  <a:pt x="3946917" y="2402015"/>
                </a:cubicBez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anchor="ctr">
            <a:noAutofit/>
          </a:bodyPr>
          <a:lstStyle>
            <a:lvl1pPr algn="ctr">
              <a:defRPr sz="1600">
                <a:solidFill>
                  <a:schemeClr val="bg1">
                    <a:lumMod val="50000"/>
                  </a:schemeClr>
                </a:solidFill>
              </a:defRPr>
            </a:lvl1pPr>
          </a:lstStyle>
          <a:p>
            <a:r>
              <a:rPr lang="en-US"/>
              <a:t>Click icon to add picture</a:t>
            </a:r>
            <a:endParaRPr lang="en-GB"/>
          </a:p>
        </p:txBody>
      </p:sp>
      <p:pic>
        <p:nvPicPr>
          <p:cNvPr id="14" name="Graphic 13">
            <a:extLst>
              <a:ext uri="{FF2B5EF4-FFF2-40B4-BE49-F238E27FC236}">
                <a16:creationId xmlns:a16="http://schemas.microsoft.com/office/drawing/2014/main" id="{85DA45A5-9E96-A540-A7CB-C6C50E73A72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5558"/>
            <a:ext cx="1304260" cy="480118"/>
          </a:xfrm>
          <a:prstGeom prst="rect">
            <a:avLst/>
          </a:prstGeom>
        </p:spPr>
      </p:pic>
      <p:sp>
        <p:nvSpPr>
          <p:cNvPr id="8" name="Text Placeholder 29">
            <a:extLst>
              <a:ext uri="{FF2B5EF4-FFF2-40B4-BE49-F238E27FC236}">
                <a16:creationId xmlns:a16="http://schemas.microsoft.com/office/drawing/2014/main" id="{7BB44742-AE3F-8E84-7834-7B05B9090FA0}"/>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tx2"/>
                </a:solidFill>
              </a:defRPr>
            </a:lvl1pPr>
          </a:lstStyle>
          <a:p>
            <a:pPr lvl="0"/>
            <a:r>
              <a:rPr lang="en-GB"/>
              <a:t>Section title goes here</a:t>
            </a:r>
          </a:p>
        </p:txBody>
      </p:sp>
      <p:sp>
        <p:nvSpPr>
          <p:cNvPr id="9" name="Text Placeholder 31">
            <a:extLst>
              <a:ext uri="{FF2B5EF4-FFF2-40B4-BE49-F238E27FC236}">
                <a16:creationId xmlns:a16="http://schemas.microsoft.com/office/drawing/2014/main" id="{7B5AA4FE-F153-D70D-DFCB-AA26BFD8A1F4}"/>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tx2">
                    <a:lumMod val="50000"/>
                  </a:schemeClr>
                </a:solidFill>
              </a:defRPr>
            </a:lvl1pPr>
          </a:lstStyle>
          <a:p>
            <a:pPr lvl="0"/>
            <a:r>
              <a:rPr lang="en-GB"/>
              <a:t>SUBTITLE GOES HERE: TYPE IN CAPITALS</a:t>
            </a:r>
          </a:p>
        </p:txBody>
      </p:sp>
    </p:spTree>
    <p:extLst>
      <p:ext uri="{BB962C8B-B14F-4D97-AF65-F5344CB8AC3E}">
        <p14:creationId xmlns:p14="http://schemas.microsoft.com/office/powerpoint/2010/main" val="941985359"/>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Section Divider + Image B1">
    <p:bg>
      <p:bgPr>
        <a:solidFill>
          <a:schemeClr val="tx2">
            <a:lumMod val="75000"/>
          </a:schemeClr>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D21E2CB-391E-E74E-90AE-4B5A47140739}"/>
              </a:ext>
            </a:extLst>
          </p:cNvPr>
          <p:cNvSpPr/>
          <p:nvPr userDrawn="1"/>
        </p:nvSpPr>
        <p:spPr>
          <a:xfrm>
            <a:off x="83127" y="105798"/>
            <a:ext cx="4898251" cy="6635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sp>
        <p:nvSpPr>
          <p:cNvPr id="26" name="Picture Placeholder 25">
            <a:extLst>
              <a:ext uri="{FF2B5EF4-FFF2-40B4-BE49-F238E27FC236}">
                <a16:creationId xmlns:a16="http://schemas.microsoft.com/office/drawing/2014/main" id="{2F82B885-0103-7D42-AE00-61FB2FE0C2F4}"/>
              </a:ext>
            </a:extLst>
          </p:cNvPr>
          <p:cNvSpPr>
            <a:spLocks noGrp="1"/>
          </p:cNvSpPr>
          <p:nvPr>
            <p:ph type="pic" sz="quarter" idx="10"/>
          </p:nvPr>
        </p:nvSpPr>
        <p:spPr>
          <a:xfrm>
            <a:off x="-2" y="0"/>
            <a:ext cx="6096001" cy="6858000"/>
          </a:xfrm>
          <a:custGeom>
            <a:avLst/>
            <a:gdLst>
              <a:gd name="connsiteX0" fmla="*/ 3022951 w 6096001"/>
              <a:gd name="connsiteY0" fmla="*/ 1876235 h 6858000"/>
              <a:gd name="connsiteX1" fmla="*/ 2208500 w 6096001"/>
              <a:gd name="connsiteY1" fmla="*/ 2461578 h 6858000"/>
              <a:gd name="connsiteX2" fmla="*/ 2208500 w 6096001"/>
              <a:gd name="connsiteY2" fmla="*/ 2993835 h 6858000"/>
              <a:gd name="connsiteX3" fmla="*/ 2859036 w 6096001"/>
              <a:gd name="connsiteY3" fmla="*/ 2643188 h 6858000"/>
              <a:gd name="connsiteX4" fmla="*/ 2859036 w 6096001"/>
              <a:gd name="connsiteY4" fmla="*/ 4981766 h 6858000"/>
              <a:gd name="connsiteX5" fmla="*/ 3371270 w 6096001"/>
              <a:gd name="connsiteY5" fmla="*/ 4981766 h 6858000"/>
              <a:gd name="connsiteX6" fmla="*/ 3371270 w 6096001"/>
              <a:gd name="connsiteY6" fmla="*/ 1876235 h 6858000"/>
              <a:gd name="connsiteX7" fmla="*/ 0 w 6096001"/>
              <a:gd name="connsiteY7" fmla="*/ 0 h 6858000"/>
              <a:gd name="connsiteX8" fmla="*/ 5214397 w 6096001"/>
              <a:gd name="connsiteY8" fmla="*/ 0 h 6858000"/>
              <a:gd name="connsiteX9" fmla="*/ 6096001 w 6096001"/>
              <a:gd name="connsiteY9" fmla="*/ 881604 h 6858000"/>
              <a:gd name="connsiteX10" fmla="*/ 6096001 w 6096001"/>
              <a:gd name="connsiteY10" fmla="*/ 6858000 h 6858000"/>
              <a:gd name="connsiteX11" fmla="*/ 0 w 6096001"/>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96001" h="6858000">
                <a:moveTo>
                  <a:pt x="3022951" y="1876235"/>
                </a:moveTo>
                <a:cubicBezTo>
                  <a:pt x="2752748" y="2187766"/>
                  <a:pt x="2482545" y="2379155"/>
                  <a:pt x="2208500" y="2461578"/>
                </a:cubicBezTo>
                <a:lnTo>
                  <a:pt x="2208500" y="2993835"/>
                </a:lnTo>
                <a:cubicBezTo>
                  <a:pt x="2426199" y="2942146"/>
                  <a:pt x="2640057" y="2824798"/>
                  <a:pt x="2859036" y="2643188"/>
                </a:cubicBezTo>
                <a:lnTo>
                  <a:pt x="2859036" y="4981766"/>
                </a:lnTo>
                <a:lnTo>
                  <a:pt x="3371270" y="4981766"/>
                </a:lnTo>
                <a:lnTo>
                  <a:pt x="3371270" y="1876235"/>
                </a:ln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tIns="720000">
            <a:noAutofit/>
          </a:bodyPr>
          <a:lstStyle>
            <a:lvl1pPr marL="0" marR="0" indent="0" algn="ctr" defTabSz="914400" rtl="0" eaLnBrk="1" fontAlgn="auto" latinLnBrk="0" hangingPunct="1">
              <a:lnSpc>
                <a:spcPct val="110000"/>
              </a:lnSpc>
              <a:spcBef>
                <a:spcPts val="0"/>
              </a:spcBef>
              <a:spcAft>
                <a:spcPts val="1200"/>
              </a:spcAft>
              <a:buClrTx/>
              <a:buSzTx/>
              <a:buFont typeface="Arial" panose="020B0604020202020204" pitchFamily="34" charset="0"/>
              <a:buNone/>
              <a:tabLst/>
              <a:defRPr sz="1600">
                <a:solidFill>
                  <a:schemeClr val="bg1">
                    <a:lumMod val="50000"/>
                  </a:schemeClr>
                </a:solidFill>
              </a:defRPr>
            </a:lvl1pPr>
          </a:lstStyle>
          <a:p>
            <a:r>
              <a:rPr lang="en-US"/>
              <a:t>Click icon to add picture</a:t>
            </a:r>
            <a:endParaRPr lang="en-GB"/>
          </a:p>
        </p:txBody>
      </p:sp>
      <p:pic>
        <p:nvPicPr>
          <p:cNvPr id="8" name="Graphic 7">
            <a:extLst>
              <a:ext uri="{FF2B5EF4-FFF2-40B4-BE49-F238E27FC236}">
                <a16:creationId xmlns:a16="http://schemas.microsoft.com/office/drawing/2014/main" id="{3EC50268-B292-A44F-BED3-2C5DBBD2606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1777"/>
            <a:ext cx="1304260" cy="487680"/>
          </a:xfrm>
          <a:prstGeom prst="rect">
            <a:avLst/>
          </a:prstGeom>
        </p:spPr>
      </p:pic>
      <p:sp>
        <p:nvSpPr>
          <p:cNvPr id="7" name="Text Placeholder 29">
            <a:extLst>
              <a:ext uri="{FF2B5EF4-FFF2-40B4-BE49-F238E27FC236}">
                <a16:creationId xmlns:a16="http://schemas.microsoft.com/office/drawing/2014/main" id="{F9D1ECA4-2E76-AFCB-1752-45EC49E126B9}"/>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bg1"/>
                </a:solidFill>
              </a:defRPr>
            </a:lvl1pPr>
          </a:lstStyle>
          <a:p>
            <a:pPr lvl="0"/>
            <a:r>
              <a:rPr lang="en-GB"/>
              <a:t>Section title goes here</a:t>
            </a:r>
          </a:p>
        </p:txBody>
      </p:sp>
      <p:sp>
        <p:nvSpPr>
          <p:cNvPr id="9" name="Text Placeholder 31">
            <a:extLst>
              <a:ext uri="{FF2B5EF4-FFF2-40B4-BE49-F238E27FC236}">
                <a16:creationId xmlns:a16="http://schemas.microsoft.com/office/drawing/2014/main" id="{210A6CFC-9DAE-801C-CBAB-81E6DC1F915B}"/>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bg2">
                    <a:lumMod val="40000"/>
                    <a:lumOff val="60000"/>
                  </a:schemeClr>
                </a:solidFill>
              </a:defRPr>
            </a:lvl1pPr>
          </a:lstStyle>
          <a:p>
            <a:pPr lvl="0"/>
            <a:r>
              <a:rPr lang="en-GB"/>
              <a:t>SUBTITLE GOES HERE: TYPE IN CAPITALS</a:t>
            </a:r>
          </a:p>
        </p:txBody>
      </p:sp>
    </p:spTree>
    <p:extLst>
      <p:ext uri="{BB962C8B-B14F-4D97-AF65-F5344CB8AC3E}">
        <p14:creationId xmlns:p14="http://schemas.microsoft.com/office/powerpoint/2010/main" val="3441691782"/>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Section Divider + Image B2">
    <p:bg>
      <p:bgPr>
        <a:solidFill>
          <a:schemeClr val="tx2">
            <a:lumMod val="75000"/>
          </a:schemeClr>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D8B3FAE-10BA-7845-921A-76D948055D40}"/>
              </a:ext>
            </a:extLst>
          </p:cNvPr>
          <p:cNvSpPr/>
          <p:nvPr userDrawn="1"/>
        </p:nvSpPr>
        <p:spPr>
          <a:xfrm>
            <a:off x="83127" y="105798"/>
            <a:ext cx="4898251" cy="6635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pic>
        <p:nvPicPr>
          <p:cNvPr id="9" name="Graphic 8">
            <a:extLst>
              <a:ext uri="{FF2B5EF4-FFF2-40B4-BE49-F238E27FC236}">
                <a16:creationId xmlns:a16="http://schemas.microsoft.com/office/drawing/2014/main" id="{71AEB3A9-DC85-414C-A1EF-308330C0697B}"/>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1777"/>
            <a:ext cx="1304260" cy="487680"/>
          </a:xfrm>
          <a:prstGeom prst="rect">
            <a:avLst/>
          </a:prstGeom>
        </p:spPr>
      </p:pic>
      <p:sp>
        <p:nvSpPr>
          <p:cNvPr id="39" name="Picture Placeholder 38">
            <a:extLst>
              <a:ext uri="{FF2B5EF4-FFF2-40B4-BE49-F238E27FC236}">
                <a16:creationId xmlns:a16="http://schemas.microsoft.com/office/drawing/2014/main" id="{785EFCE5-1951-3242-A232-F252911C4EAB}"/>
              </a:ext>
            </a:extLst>
          </p:cNvPr>
          <p:cNvSpPr>
            <a:spLocks noGrp="1"/>
          </p:cNvSpPr>
          <p:nvPr>
            <p:ph type="pic" sz="quarter" idx="10"/>
          </p:nvPr>
        </p:nvSpPr>
        <p:spPr>
          <a:xfrm>
            <a:off x="-2" y="0"/>
            <a:ext cx="6096001" cy="6858000"/>
          </a:xfrm>
          <a:custGeom>
            <a:avLst/>
            <a:gdLst>
              <a:gd name="connsiteX0" fmla="*/ 3078800 w 6096001"/>
              <a:gd name="connsiteY0" fmla="*/ 1892300 h 6858000"/>
              <a:gd name="connsiteX1" fmla="*/ 2003079 w 6096001"/>
              <a:gd name="connsiteY1" fmla="*/ 2443193 h 6858000"/>
              <a:gd name="connsiteX2" fmla="*/ 2435905 w 6096001"/>
              <a:gd name="connsiteY2" fmla="*/ 2746603 h 6858000"/>
              <a:gd name="connsiteX3" fmla="*/ 3026635 w 6096001"/>
              <a:gd name="connsiteY3" fmla="*/ 2408238 h 6858000"/>
              <a:gd name="connsiteX4" fmla="*/ 3472150 w 6096001"/>
              <a:gd name="connsiteY4" fmla="*/ 2777364 h 6858000"/>
              <a:gd name="connsiteX5" fmla="*/ 2825026 w 6096001"/>
              <a:gd name="connsiteY5" fmla="*/ 3514218 h 6858000"/>
              <a:gd name="connsiteX6" fmla="*/ 1986161 w 6096001"/>
              <a:gd name="connsiteY6" fmla="*/ 4857893 h 6858000"/>
              <a:gd name="connsiteX7" fmla="*/ 1986161 w 6096001"/>
              <a:gd name="connsiteY7" fmla="*/ 5014492 h 6858000"/>
              <a:gd name="connsiteX8" fmla="*/ 4102356 w 6096001"/>
              <a:gd name="connsiteY8" fmla="*/ 5014492 h 6858000"/>
              <a:gd name="connsiteX9" fmla="*/ 4102356 w 6096001"/>
              <a:gd name="connsiteY9" fmla="*/ 4515333 h 6858000"/>
              <a:gd name="connsiteX10" fmla="*/ 2614957 w 6096001"/>
              <a:gd name="connsiteY10" fmla="*/ 4515333 h 6858000"/>
              <a:gd name="connsiteX11" fmla="*/ 3301557 w 6096001"/>
              <a:gd name="connsiteY11" fmla="*/ 3809239 h 6858000"/>
              <a:gd name="connsiteX12" fmla="*/ 4053011 w 6096001"/>
              <a:gd name="connsiteY12" fmla="*/ 2750798 h 6858000"/>
              <a:gd name="connsiteX13" fmla="*/ 3078800 w 6096001"/>
              <a:gd name="connsiteY13" fmla="*/ 1892300 h 6858000"/>
              <a:gd name="connsiteX14" fmla="*/ 0 w 6096001"/>
              <a:gd name="connsiteY14" fmla="*/ 0 h 6858000"/>
              <a:gd name="connsiteX15" fmla="*/ 5214397 w 6096001"/>
              <a:gd name="connsiteY15" fmla="*/ 0 h 6858000"/>
              <a:gd name="connsiteX16" fmla="*/ 6096001 w 6096001"/>
              <a:gd name="connsiteY16" fmla="*/ 881604 h 6858000"/>
              <a:gd name="connsiteX17" fmla="*/ 6096001 w 6096001"/>
              <a:gd name="connsiteY17" fmla="*/ 6858000 h 6858000"/>
              <a:gd name="connsiteX18" fmla="*/ 0 w 6096001"/>
              <a:gd name="connsiteY1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096001" h="6858000">
                <a:moveTo>
                  <a:pt x="3078800" y="1892300"/>
                </a:moveTo>
                <a:cubicBezTo>
                  <a:pt x="2571252" y="1892300"/>
                  <a:pt x="2235706" y="2082456"/>
                  <a:pt x="2003079" y="2443193"/>
                </a:cubicBezTo>
                <a:lnTo>
                  <a:pt x="2435905" y="2746603"/>
                </a:lnTo>
                <a:cubicBezTo>
                  <a:pt x="2576891" y="2529882"/>
                  <a:pt x="2768632" y="2408238"/>
                  <a:pt x="3026635" y="2408238"/>
                </a:cubicBezTo>
                <a:cubicBezTo>
                  <a:pt x="3318476" y="2408238"/>
                  <a:pt x="3472150" y="2556447"/>
                  <a:pt x="3472150" y="2777364"/>
                </a:cubicBezTo>
                <a:cubicBezTo>
                  <a:pt x="3472150" y="3020651"/>
                  <a:pt x="3301557" y="3198224"/>
                  <a:pt x="2825026" y="3514218"/>
                </a:cubicBezTo>
                <a:cubicBezTo>
                  <a:pt x="2231476" y="3916901"/>
                  <a:pt x="1986161" y="4315389"/>
                  <a:pt x="1986161" y="4857893"/>
                </a:cubicBezTo>
                <a:lnTo>
                  <a:pt x="1986161" y="5014492"/>
                </a:lnTo>
                <a:lnTo>
                  <a:pt x="4102356" y="5014492"/>
                </a:lnTo>
                <a:lnTo>
                  <a:pt x="4102356" y="4515333"/>
                </a:lnTo>
                <a:lnTo>
                  <a:pt x="2614957" y="4515333"/>
                </a:lnTo>
                <a:cubicBezTo>
                  <a:pt x="2645974" y="4346150"/>
                  <a:pt x="2891289" y="4081889"/>
                  <a:pt x="3301557" y="3809239"/>
                </a:cubicBezTo>
                <a:cubicBezTo>
                  <a:pt x="3834483" y="3456891"/>
                  <a:pt x="4053011" y="3175852"/>
                  <a:pt x="4053011" y="2750798"/>
                </a:cubicBezTo>
                <a:cubicBezTo>
                  <a:pt x="4053011" y="2255833"/>
                  <a:pt x="3646972" y="1892300"/>
                  <a:pt x="3078800" y="1892300"/>
                </a:cubicBez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tIns="720000">
            <a:noAutofit/>
          </a:bodyPr>
          <a:lstStyle>
            <a:lvl1pPr algn="ctr">
              <a:defRPr sz="1600">
                <a:solidFill>
                  <a:schemeClr val="bg1">
                    <a:lumMod val="50000"/>
                  </a:schemeClr>
                </a:solidFill>
              </a:defRPr>
            </a:lvl1pPr>
          </a:lstStyle>
          <a:p>
            <a:r>
              <a:rPr lang="en-US"/>
              <a:t>Click icon to add picture</a:t>
            </a:r>
            <a:endParaRPr lang="en-GB"/>
          </a:p>
        </p:txBody>
      </p:sp>
      <p:sp>
        <p:nvSpPr>
          <p:cNvPr id="10" name="Text Placeholder 29">
            <a:extLst>
              <a:ext uri="{FF2B5EF4-FFF2-40B4-BE49-F238E27FC236}">
                <a16:creationId xmlns:a16="http://schemas.microsoft.com/office/drawing/2014/main" id="{06A0666E-A97D-1003-AAE7-6FAEBACEBC15}"/>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bg1"/>
                </a:solidFill>
              </a:defRPr>
            </a:lvl1pPr>
          </a:lstStyle>
          <a:p>
            <a:pPr lvl="0"/>
            <a:r>
              <a:rPr lang="en-GB"/>
              <a:t>Section title goes here</a:t>
            </a:r>
          </a:p>
        </p:txBody>
      </p:sp>
      <p:sp>
        <p:nvSpPr>
          <p:cNvPr id="11" name="Text Placeholder 31">
            <a:extLst>
              <a:ext uri="{FF2B5EF4-FFF2-40B4-BE49-F238E27FC236}">
                <a16:creationId xmlns:a16="http://schemas.microsoft.com/office/drawing/2014/main" id="{098A54B8-9E40-BE44-A31D-00E6FC191FAA}"/>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bg2">
                    <a:lumMod val="40000"/>
                    <a:lumOff val="60000"/>
                  </a:schemeClr>
                </a:solidFill>
              </a:defRPr>
            </a:lvl1pPr>
          </a:lstStyle>
          <a:p>
            <a:pPr lvl="0"/>
            <a:r>
              <a:rPr lang="en-GB"/>
              <a:t>SUBTITLE GOES HERE: TYPE IN CAPITALS</a:t>
            </a:r>
          </a:p>
        </p:txBody>
      </p:sp>
    </p:spTree>
    <p:extLst>
      <p:ext uri="{BB962C8B-B14F-4D97-AF65-F5344CB8AC3E}">
        <p14:creationId xmlns:p14="http://schemas.microsoft.com/office/powerpoint/2010/main" val="3497347757"/>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Section Divider + Image B3">
    <p:bg>
      <p:bgPr>
        <a:solidFill>
          <a:schemeClr val="tx2">
            <a:lumMod val="75000"/>
          </a:schemeClr>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B27288C-7259-9C4C-AE4F-E7A2FDA0B2B2}"/>
              </a:ext>
            </a:extLst>
          </p:cNvPr>
          <p:cNvSpPr/>
          <p:nvPr userDrawn="1"/>
        </p:nvSpPr>
        <p:spPr>
          <a:xfrm>
            <a:off x="83127" y="105798"/>
            <a:ext cx="4898251" cy="6635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pic>
        <p:nvPicPr>
          <p:cNvPr id="11" name="Graphic 10">
            <a:extLst>
              <a:ext uri="{FF2B5EF4-FFF2-40B4-BE49-F238E27FC236}">
                <a16:creationId xmlns:a16="http://schemas.microsoft.com/office/drawing/2014/main" id="{B864648D-453B-ED4C-8BB1-586D325E3F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1777"/>
            <a:ext cx="1304260" cy="487680"/>
          </a:xfrm>
          <a:prstGeom prst="rect">
            <a:avLst/>
          </a:prstGeom>
        </p:spPr>
      </p:pic>
      <p:sp>
        <p:nvSpPr>
          <p:cNvPr id="13" name="Picture Placeholder 12">
            <a:extLst>
              <a:ext uri="{FF2B5EF4-FFF2-40B4-BE49-F238E27FC236}">
                <a16:creationId xmlns:a16="http://schemas.microsoft.com/office/drawing/2014/main" id="{736D7151-EE44-6D41-A861-17BC5B8F0001}"/>
              </a:ext>
            </a:extLst>
          </p:cNvPr>
          <p:cNvSpPr>
            <a:spLocks noGrp="1"/>
          </p:cNvSpPr>
          <p:nvPr>
            <p:ph type="pic" sz="quarter" idx="10"/>
          </p:nvPr>
        </p:nvSpPr>
        <p:spPr>
          <a:xfrm>
            <a:off x="-2" y="0"/>
            <a:ext cx="6096001" cy="6858000"/>
          </a:xfrm>
          <a:custGeom>
            <a:avLst/>
            <a:gdLst>
              <a:gd name="connsiteX0" fmla="*/ 3115819 w 6096001"/>
              <a:gd name="connsiteY0" fmla="*/ 1901215 h 6858000"/>
              <a:gd name="connsiteX1" fmla="*/ 2096475 w 6096001"/>
              <a:gd name="connsiteY1" fmla="*/ 2469051 h 6858000"/>
              <a:gd name="connsiteX2" fmla="*/ 2517092 w 6096001"/>
              <a:gd name="connsiteY2" fmla="*/ 2737003 h 6858000"/>
              <a:gd name="connsiteX3" fmla="*/ 3061016 w 6096001"/>
              <a:gd name="connsiteY3" fmla="*/ 2401022 h 6858000"/>
              <a:gd name="connsiteX4" fmla="*/ 3455600 w 6096001"/>
              <a:gd name="connsiteY4" fmla="*/ 2732838 h 6858000"/>
              <a:gd name="connsiteX5" fmla="*/ 2725345 w 6096001"/>
              <a:gd name="connsiteY5" fmla="*/ 3202101 h 6858000"/>
              <a:gd name="connsiteX6" fmla="*/ 2725345 w 6096001"/>
              <a:gd name="connsiteY6" fmla="*/ 3663034 h 6858000"/>
              <a:gd name="connsiteX7" fmla="*/ 3570688 w 6096001"/>
              <a:gd name="connsiteY7" fmla="*/ 4110083 h 6858000"/>
              <a:gd name="connsiteX8" fmla="*/ 3044575 w 6096001"/>
              <a:gd name="connsiteY8" fmla="*/ 4544637 h 6858000"/>
              <a:gd name="connsiteX9" fmla="*/ 2300618 w 6096001"/>
              <a:gd name="connsiteY9" fmla="*/ 4273909 h 6858000"/>
              <a:gd name="connsiteX10" fmla="*/ 1977278 w 6096001"/>
              <a:gd name="connsiteY10" fmla="*/ 4712628 h 6858000"/>
              <a:gd name="connsiteX11" fmla="*/ 1978648 w 6096001"/>
              <a:gd name="connsiteY11" fmla="*/ 4711240 h 6858000"/>
              <a:gd name="connsiteX12" fmla="*/ 3048685 w 6096001"/>
              <a:gd name="connsiteY12" fmla="*/ 5043056 h 6858000"/>
              <a:gd name="connsiteX13" fmla="*/ 4118722 w 6096001"/>
              <a:gd name="connsiteY13" fmla="*/ 4126744 h 6858000"/>
              <a:gd name="connsiteX14" fmla="*/ 3455600 w 6096001"/>
              <a:gd name="connsiteY14" fmla="*/ 3360373 h 6858000"/>
              <a:gd name="connsiteX15" fmla="*/ 3999524 w 6096001"/>
              <a:gd name="connsiteY15" fmla="*/ 2628712 h 6858000"/>
              <a:gd name="connsiteX16" fmla="*/ 3115819 w 6096001"/>
              <a:gd name="connsiteY16" fmla="*/ 1901215 h 6858000"/>
              <a:gd name="connsiteX17" fmla="*/ 0 w 6096001"/>
              <a:gd name="connsiteY17" fmla="*/ 0 h 6858000"/>
              <a:gd name="connsiteX18" fmla="*/ 5214397 w 6096001"/>
              <a:gd name="connsiteY18" fmla="*/ 0 h 6858000"/>
              <a:gd name="connsiteX19" fmla="*/ 6096001 w 6096001"/>
              <a:gd name="connsiteY19" fmla="*/ 881604 h 6858000"/>
              <a:gd name="connsiteX20" fmla="*/ 6096001 w 6096001"/>
              <a:gd name="connsiteY20" fmla="*/ 6858000 h 6858000"/>
              <a:gd name="connsiteX21" fmla="*/ 0 w 6096001"/>
              <a:gd name="connsiteY2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096001" h="6858000">
                <a:moveTo>
                  <a:pt x="3115819" y="1901215"/>
                </a:moveTo>
                <a:cubicBezTo>
                  <a:pt x="2614368" y="1901215"/>
                  <a:pt x="2278697" y="2128905"/>
                  <a:pt x="2096475" y="2469051"/>
                </a:cubicBezTo>
                <a:lnTo>
                  <a:pt x="2517092" y="2737003"/>
                </a:lnTo>
                <a:cubicBezTo>
                  <a:pt x="2602037" y="2581508"/>
                  <a:pt x="2780148" y="2401022"/>
                  <a:pt x="3061016" y="2401022"/>
                </a:cubicBezTo>
                <a:cubicBezTo>
                  <a:pt x="3302151" y="2401022"/>
                  <a:pt x="3455600" y="2534304"/>
                  <a:pt x="3455600" y="2732838"/>
                </a:cubicBezTo>
                <a:cubicBezTo>
                  <a:pt x="3455600" y="2964693"/>
                  <a:pt x="3285710" y="3197936"/>
                  <a:pt x="2725345" y="3202101"/>
                </a:cubicBezTo>
                <a:lnTo>
                  <a:pt x="2725345" y="3663034"/>
                </a:lnTo>
                <a:cubicBezTo>
                  <a:pt x="3303521" y="3663034"/>
                  <a:pt x="3570688" y="3825471"/>
                  <a:pt x="3570688" y="4110083"/>
                </a:cubicBezTo>
                <a:cubicBezTo>
                  <a:pt x="3570688" y="4372481"/>
                  <a:pt x="3384356" y="4544637"/>
                  <a:pt x="3044575" y="4544637"/>
                </a:cubicBezTo>
                <a:cubicBezTo>
                  <a:pt x="2737676" y="4544637"/>
                  <a:pt x="2504761" y="4433570"/>
                  <a:pt x="2300618" y="4273909"/>
                </a:cubicBezTo>
                <a:lnTo>
                  <a:pt x="1977278" y="4712628"/>
                </a:lnTo>
                <a:lnTo>
                  <a:pt x="1978648" y="4711240"/>
                </a:lnTo>
                <a:cubicBezTo>
                  <a:pt x="2271846" y="4926434"/>
                  <a:pt x="2581486" y="5043056"/>
                  <a:pt x="3048685" y="5043056"/>
                </a:cubicBezTo>
                <a:cubicBezTo>
                  <a:pt x="3698106" y="5043056"/>
                  <a:pt x="4118722" y="4659870"/>
                  <a:pt x="4118722" y="4126744"/>
                </a:cubicBezTo>
                <a:cubicBezTo>
                  <a:pt x="4118722" y="3708850"/>
                  <a:pt x="3863886" y="3468665"/>
                  <a:pt x="3455600" y="3360373"/>
                </a:cubicBezTo>
                <a:cubicBezTo>
                  <a:pt x="3791271" y="3239587"/>
                  <a:pt x="3999524" y="2999402"/>
                  <a:pt x="3999524" y="2628712"/>
                </a:cubicBezTo>
                <a:cubicBezTo>
                  <a:pt x="3999524" y="2206653"/>
                  <a:pt x="3617271" y="1901215"/>
                  <a:pt x="3115819" y="1901215"/>
                </a:cubicBez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tIns="720000">
            <a:noAutofit/>
          </a:bodyPr>
          <a:lstStyle>
            <a:lvl1pPr algn="ctr">
              <a:defRPr sz="1600">
                <a:solidFill>
                  <a:schemeClr val="bg1">
                    <a:lumMod val="50000"/>
                  </a:schemeClr>
                </a:solidFill>
              </a:defRPr>
            </a:lvl1pPr>
          </a:lstStyle>
          <a:p>
            <a:r>
              <a:rPr lang="en-US"/>
              <a:t>Click icon to add picture</a:t>
            </a:r>
            <a:endParaRPr lang="en-GB"/>
          </a:p>
        </p:txBody>
      </p:sp>
      <p:sp>
        <p:nvSpPr>
          <p:cNvPr id="7" name="Text Placeholder 29">
            <a:extLst>
              <a:ext uri="{FF2B5EF4-FFF2-40B4-BE49-F238E27FC236}">
                <a16:creationId xmlns:a16="http://schemas.microsoft.com/office/drawing/2014/main" id="{25C2FE18-7101-835D-ADE0-E6D02E757D2C}"/>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bg1"/>
                </a:solidFill>
              </a:defRPr>
            </a:lvl1pPr>
          </a:lstStyle>
          <a:p>
            <a:pPr lvl="0"/>
            <a:r>
              <a:rPr lang="en-GB"/>
              <a:t>Section title goes here</a:t>
            </a:r>
          </a:p>
        </p:txBody>
      </p:sp>
      <p:sp>
        <p:nvSpPr>
          <p:cNvPr id="12" name="Text Placeholder 31">
            <a:extLst>
              <a:ext uri="{FF2B5EF4-FFF2-40B4-BE49-F238E27FC236}">
                <a16:creationId xmlns:a16="http://schemas.microsoft.com/office/drawing/2014/main" id="{E4418E5A-E58F-0B96-77BA-27495CF8E9DA}"/>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bg2">
                    <a:lumMod val="40000"/>
                    <a:lumOff val="60000"/>
                  </a:schemeClr>
                </a:solidFill>
              </a:defRPr>
            </a:lvl1pPr>
          </a:lstStyle>
          <a:p>
            <a:pPr lvl="0"/>
            <a:r>
              <a:rPr lang="en-GB"/>
              <a:t>SUBTITLE GOES HERE: TYPE IN CAPITALS</a:t>
            </a:r>
          </a:p>
        </p:txBody>
      </p:sp>
    </p:spTree>
    <p:extLst>
      <p:ext uri="{BB962C8B-B14F-4D97-AF65-F5344CB8AC3E}">
        <p14:creationId xmlns:p14="http://schemas.microsoft.com/office/powerpoint/2010/main" val="4156478230"/>
      </p:ext>
    </p:extLst>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Section Divider + Image B4">
    <p:bg>
      <p:bgPr>
        <a:solidFill>
          <a:schemeClr val="tx2">
            <a:lumMod val="75000"/>
          </a:schemeClr>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B27288C-7259-9C4C-AE4F-E7A2FDA0B2B2}"/>
              </a:ext>
            </a:extLst>
          </p:cNvPr>
          <p:cNvSpPr/>
          <p:nvPr userDrawn="1"/>
        </p:nvSpPr>
        <p:spPr>
          <a:xfrm>
            <a:off x="83127" y="105798"/>
            <a:ext cx="4898251" cy="6635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pic>
        <p:nvPicPr>
          <p:cNvPr id="11" name="Graphic 10">
            <a:extLst>
              <a:ext uri="{FF2B5EF4-FFF2-40B4-BE49-F238E27FC236}">
                <a16:creationId xmlns:a16="http://schemas.microsoft.com/office/drawing/2014/main" id="{B864648D-453B-ED4C-8BB1-586D325E3F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1777"/>
            <a:ext cx="1304260" cy="487680"/>
          </a:xfrm>
          <a:prstGeom prst="rect">
            <a:avLst/>
          </a:prstGeom>
        </p:spPr>
      </p:pic>
      <p:sp>
        <p:nvSpPr>
          <p:cNvPr id="7" name="Picture Placeholder 6">
            <a:extLst>
              <a:ext uri="{FF2B5EF4-FFF2-40B4-BE49-F238E27FC236}">
                <a16:creationId xmlns:a16="http://schemas.microsoft.com/office/drawing/2014/main" id="{A66FEC1B-CB13-FBEB-0D56-B30A0523DF3A}"/>
              </a:ext>
            </a:extLst>
          </p:cNvPr>
          <p:cNvSpPr>
            <a:spLocks noGrp="1"/>
          </p:cNvSpPr>
          <p:nvPr>
            <p:ph type="pic" sz="quarter" idx="14"/>
          </p:nvPr>
        </p:nvSpPr>
        <p:spPr>
          <a:xfrm>
            <a:off x="0" y="0"/>
            <a:ext cx="6096001" cy="6858000"/>
          </a:xfrm>
          <a:custGeom>
            <a:avLst/>
            <a:gdLst>
              <a:gd name="connsiteX0" fmla="*/ 3218999 w 6096001"/>
              <a:gd name="connsiteY0" fmla="*/ 2668987 h 6858000"/>
              <a:gd name="connsiteX1" fmla="*/ 3218999 w 6096001"/>
              <a:gd name="connsiteY1" fmla="*/ 3752595 h 6858000"/>
              <a:gd name="connsiteX2" fmla="*/ 2442001 w 6096001"/>
              <a:gd name="connsiteY2" fmla="*/ 3752595 h 6858000"/>
              <a:gd name="connsiteX3" fmla="*/ 3218999 w 6096001"/>
              <a:gd name="connsiteY3" fmla="*/ 1883188 h 6858000"/>
              <a:gd name="connsiteX4" fmla="*/ 1820976 w 6096001"/>
              <a:gd name="connsiteY4" fmla="*/ 3839578 h 6858000"/>
              <a:gd name="connsiteX5" fmla="*/ 1820976 w 6096001"/>
              <a:gd name="connsiteY5" fmla="*/ 4242061 h 6858000"/>
              <a:gd name="connsiteX6" fmla="*/ 3218999 w 6096001"/>
              <a:gd name="connsiteY6" fmla="*/ 4242061 h 6858000"/>
              <a:gd name="connsiteX7" fmla="*/ 3218999 w 6096001"/>
              <a:gd name="connsiteY7" fmla="*/ 5164970 h 6858000"/>
              <a:gd name="connsiteX8" fmla="*/ 3791372 w 6096001"/>
              <a:gd name="connsiteY8" fmla="*/ 5164970 h 6858000"/>
              <a:gd name="connsiteX9" fmla="*/ 3791372 w 6096001"/>
              <a:gd name="connsiteY9" fmla="*/ 4242061 h 6858000"/>
              <a:gd name="connsiteX10" fmla="*/ 4275028 w 6096001"/>
              <a:gd name="connsiteY10" fmla="*/ 4242061 h 6858000"/>
              <a:gd name="connsiteX11" fmla="*/ 4275028 w 6096001"/>
              <a:gd name="connsiteY11" fmla="*/ 3752595 h 6858000"/>
              <a:gd name="connsiteX12" fmla="*/ 3791372 w 6096001"/>
              <a:gd name="connsiteY12" fmla="*/ 3752595 h 6858000"/>
              <a:gd name="connsiteX13" fmla="*/ 3791372 w 6096001"/>
              <a:gd name="connsiteY13" fmla="*/ 1883188 h 6858000"/>
              <a:gd name="connsiteX14" fmla="*/ 0 w 6096001"/>
              <a:gd name="connsiteY14" fmla="*/ 0 h 6858000"/>
              <a:gd name="connsiteX15" fmla="*/ 5214397 w 6096001"/>
              <a:gd name="connsiteY15" fmla="*/ 0 h 6858000"/>
              <a:gd name="connsiteX16" fmla="*/ 6096001 w 6096001"/>
              <a:gd name="connsiteY16" fmla="*/ 881604 h 6858000"/>
              <a:gd name="connsiteX17" fmla="*/ 6096001 w 6096001"/>
              <a:gd name="connsiteY17" fmla="*/ 6858000 h 6858000"/>
              <a:gd name="connsiteX18" fmla="*/ 0 w 6096001"/>
              <a:gd name="connsiteY1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096001" h="6858000">
                <a:moveTo>
                  <a:pt x="3218999" y="2668987"/>
                </a:moveTo>
                <a:lnTo>
                  <a:pt x="3218999" y="3752595"/>
                </a:lnTo>
                <a:lnTo>
                  <a:pt x="2442001" y="3752595"/>
                </a:lnTo>
                <a:close/>
                <a:moveTo>
                  <a:pt x="3218999" y="1883188"/>
                </a:moveTo>
                <a:lnTo>
                  <a:pt x="1820976" y="3839578"/>
                </a:lnTo>
                <a:lnTo>
                  <a:pt x="1820976" y="4242061"/>
                </a:lnTo>
                <a:lnTo>
                  <a:pt x="3218999" y="4242061"/>
                </a:lnTo>
                <a:lnTo>
                  <a:pt x="3218999" y="5164970"/>
                </a:lnTo>
                <a:lnTo>
                  <a:pt x="3791372" y="5164970"/>
                </a:lnTo>
                <a:lnTo>
                  <a:pt x="3791372" y="4242061"/>
                </a:lnTo>
                <a:lnTo>
                  <a:pt x="4275028" y="4242061"/>
                </a:lnTo>
                <a:lnTo>
                  <a:pt x="4275028" y="3752595"/>
                </a:lnTo>
                <a:lnTo>
                  <a:pt x="3791372" y="3752595"/>
                </a:lnTo>
                <a:lnTo>
                  <a:pt x="3791372" y="1883188"/>
                </a:ln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anchor="ctr">
            <a:noAutofit/>
          </a:bodyPr>
          <a:lstStyle>
            <a:lvl1pPr algn="ctr">
              <a:defRPr sz="1600">
                <a:solidFill>
                  <a:schemeClr val="bg1">
                    <a:lumMod val="50000"/>
                  </a:schemeClr>
                </a:solidFill>
              </a:defRPr>
            </a:lvl1pPr>
          </a:lstStyle>
          <a:p>
            <a:r>
              <a:rPr lang="en-US"/>
              <a:t>Click icon to add picture</a:t>
            </a:r>
            <a:endParaRPr lang="en-GB"/>
          </a:p>
        </p:txBody>
      </p:sp>
      <p:sp>
        <p:nvSpPr>
          <p:cNvPr id="12" name="Text Placeholder 29">
            <a:extLst>
              <a:ext uri="{FF2B5EF4-FFF2-40B4-BE49-F238E27FC236}">
                <a16:creationId xmlns:a16="http://schemas.microsoft.com/office/drawing/2014/main" id="{685E723E-9B95-DE16-D2D8-EB21AE8AD08F}"/>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bg1"/>
                </a:solidFill>
              </a:defRPr>
            </a:lvl1pPr>
          </a:lstStyle>
          <a:p>
            <a:pPr lvl="0"/>
            <a:r>
              <a:rPr lang="en-GB"/>
              <a:t>Section title goes here</a:t>
            </a:r>
          </a:p>
        </p:txBody>
      </p:sp>
      <p:sp>
        <p:nvSpPr>
          <p:cNvPr id="13" name="Text Placeholder 31">
            <a:extLst>
              <a:ext uri="{FF2B5EF4-FFF2-40B4-BE49-F238E27FC236}">
                <a16:creationId xmlns:a16="http://schemas.microsoft.com/office/drawing/2014/main" id="{92B6EC2E-829A-8421-4DF9-E5CDC6DA5409}"/>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bg2">
                    <a:lumMod val="40000"/>
                    <a:lumOff val="60000"/>
                  </a:schemeClr>
                </a:solidFill>
              </a:defRPr>
            </a:lvl1pPr>
          </a:lstStyle>
          <a:p>
            <a:pPr lvl="0"/>
            <a:r>
              <a:rPr lang="en-GB"/>
              <a:t>SUBTITLE GOES HERE: TYPE IN CAPITALS</a:t>
            </a:r>
          </a:p>
        </p:txBody>
      </p:sp>
    </p:spTree>
    <p:extLst>
      <p:ext uri="{BB962C8B-B14F-4D97-AF65-F5344CB8AC3E}">
        <p14:creationId xmlns:p14="http://schemas.microsoft.com/office/powerpoint/2010/main" val="3899406326"/>
      </p:ext>
    </p:extLst>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Section Divider + Image B5">
    <p:bg>
      <p:bgPr>
        <a:solidFill>
          <a:schemeClr val="tx2">
            <a:lumMod val="75000"/>
          </a:schemeClr>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B27288C-7259-9C4C-AE4F-E7A2FDA0B2B2}"/>
              </a:ext>
            </a:extLst>
          </p:cNvPr>
          <p:cNvSpPr/>
          <p:nvPr userDrawn="1"/>
        </p:nvSpPr>
        <p:spPr>
          <a:xfrm>
            <a:off x="83127" y="105798"/>
            <a:ext cx="4898251" cy="6635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pic>
        <p:nvPicPr>
          <p:cNvPr id="11" name="Graphic 10">
            <a:extLst>
              <a:ext uri="{FF2B5EF4-FFF2-40B4-BE49-F238E27FC236}">
                <a16:creationId xmlns:a16="http://schemas.microsoft.com/office/drawing/2014/main" id="{B864648D-453B-ED4C-8BB1-586D325E3F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1777"/>
            <a:ext cx="1304260" cy="487680"/>
          </a:xfrm>
          <a:prstGeom prst="rect">
            <a:avLst/>
          </a:prstGeom>
        </p:spPr>
      </p:pic>
      <p:sp>
        <p:nvSpPr>
          <p:cNvPr id="12" name="Picture Placeholder 11">
            <a:extLst>
              <a:ext uri="{FF2B5EF4-FFF2-40B4-BE49-F238E27FC236}">
                <a16:creationId xmlns:a16="http://schemas.microsoft.com/office/drawing/2014/main" id="{965DBAFD-23F0-1A0E-5FDF-8321772FC365}"/>
              </a:ext>
            </a:extLst>
          </p:cNvPr>
          <p:cNvSpPr>
            <a:spLocks noGrp="1"/>
          </p:cNvSpPr>
          <p:nvPr>
            <p:ph type="pic" sz="quarter" idx="14"/>
          </p:nvPr>
        </p:nvSpPr>
        <p:spPr>
          <a:xfrm>
            <a:off x="-2" y="0"/>
            <a:ext cx="6096001" cy="6858000"/>
          </a:xfrm>
          <a:custGeom>
            <a:avLst/>
            <a:gdLst>
              <a:gd name="connsiteX0" fmla="*/ 2264571 w 6096001"/>
              <a:gd name="connsiteY0" fmla="*/ 1883188 h 6858000"/>
              <a:gd name="connsiteX1" fmla="*/ 2167943 w 6096001"/>
              <a:gd name="connsiteY1" fmla="*/ 3625805 h 6858000"/>
              <a:gd name="connsiteX2" fmla="*/ 2578239 w 6096001"/>
              <a:gd name="connsiteY2" fmla="*/ 3754069 h 6858000"/>
              <a:gd name="connsiteX3" fmla="*/ 3056918 w 6096001"/>
              <a:gd name="connsiteY3" fmla="*/ 3625805 h 6858000"/>
              <a:gd name="connsiteX4" fmla="*/ 3638171 w 6096001"/>
              <a:gd name="connsiteY4" fmla="*/ 4124117 h 6858000"/>
              <a:gd name="connsiteX5" fmla="*/ 3047999 w 6096001"/>
              <a:gd name="connsiteY5" fmla="*/ 4644543 h 6858000"/>
              <a:gd name="connsiteX6" fmla="*/ 2222946 w 6096001"/>
              <a:gd name="connsiteY6" fmla="*/ 4342313 h 6858000"/>
              <a:gd name="connsiteX7" fmla="*/ 1933063 w 6096001"/>
              <a:gd name="connsiteY7" fmla="*/ 4822933 h 6858000"/>
              <a:gd name="connsiteX8" fmla="*/ 3058405 w 6096001"/>
              <a:gd name="connsiteY8" fmla="*/ 5175290 h 6858000"/>
              <a:gd name="connsiteX9" fmla="*/ 4229830 w 6096001"/>
              <a:gd name="connsiteY9" fmla="*/ 4110849 h 6858000"/>
              <a:gd name="connsiteX10" fmla="*/ 3178818 w 6096001"/>
              <a:gd name="connsiteY10" fmla="*/ 3114225 h 6858000"/>
              <a:gd name="connsiteX11" fmla="*/ 2689733 w 6096001"/>
              <a:gd name="connsiteY11" fmla="*/ 3214477 h 6858000"/>
              <a:gd name="connsiteX12" fmla="*/ 2744736 w 6096001"/>
              <a:gd name="connsiteY12" fmla="*/ 2409511 h 6858000"/>
              <a:gd name="connsiteX13" fmla="*/ 4026169 w 6096001"/>
              <a:gd name="connsiteY13" fmla="*/ 2409511 h 6858000"/>
              <a:gd name="connsiteX14" fmla="*/ 4026169 w 6096001"/>
              <a:gd name="connsiteY14" fmla="*/ 1883188 h 6858000"/>
              <a:gd name="connsiteX15" fmla="*/ 0 w 6096001"/>
              <a:gd name="connsiteY15" fmla="*/ 0 h 6858000"/>
              <a:gd name="connsiteX16" fmla="*/ 5214397 w 6096001"/>
              <a:gd name="connsiteY16" fmla="*/ 0 h 6858000"/>
              <a:gd name="connsiteX17" fmla="*/ 6096001 w 6096001"/>
              <a:gd name="connsiteY17" fmla="*/ 881604 h 6858000"/>
              <a:gd name="connsiteX18" fmla="*/ 6096001 w 6096001"/>
              <a:gd name="connsiteY18" fmla="*/ 6858000 h 6858000"/>
              <a:gd name="connsiteX19" fmla="*/ 0 w 6096001"/>
              <a:gd name="connsiteY19"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096001" h="6858000">
                <a:moveTo>
                  <a:pt x="2264571" y="1883188"/>
                </a:moveTo>
                <a:lnTo>
                  <a:pt x="2167943" y="3625805"/>
                </a:lnTo>
                <a:lnTo>
                  <a:pt x="2578239" y="3754069"/>
                </a:lnTo>
                <a:cubicBezTo>
                  <a:pt x="2706085" y="3671508"/>
                  <a:pt x="2863663" y="3625805"/>
                  <a:pt x="3056918" y="3625805"/>
                </a:cubicBezTo>
                <a:cubicBezTo>
                  <a:pt x="3412211" y="3625805"/>
                  <a:pt x="3638171" y="3814515"/>
                  <a:pt x="3638171" y="4124117"/>
                </a:cubicBezTo>
                <a:cubicBezTo>
                  <a:pt x="3638171" y="4433719"/>
                  <a:pt x="3412211" y="4644543"/>
                  <a:pt x="3047999" y="4644543"/>
                </a:cubicBezTo>
                <a:cubicBezTo>
                  <a:pt x="2720951" y="4644543"/>
                  <a:pt x="2435527" y="4511857"/>
                  <a:pt x="2222946" y="4342313"/>
                </a:cubicBezTo>
                <a:lnTo>
                  <a:pt x="1933063" y="4822933"/>
                </a:lnTo>
                <a:cubicBezTo>
                  <a:pt x="2173889" y="5024912"/>
                  <a:pt x="2542561" y="5175290"/>
                  <a:pt x="3058405" y="5175290"/>
                </a:cubicBezTo>
                <a:cubicBezTo>
                  <a:pt x="3755611" y="5175290"/>
                  <a:pt x="4229830" y="4728578"/>
                  <a:pt x="4229830" y="4110849"/>
                </a:cubicBezTo>
                <a:cubicBezTo>
                  <a:pt x="4229830" y="3493119"/>
                  <a:pt x="3801695" y="3114225"/>
                  <a:pt x="3178818" y="3114225"/>
                </a:cubicBezTo>
                <a:cubicBezTo>
                  <a:pt x="3007861" y="3114225"/>
                  <a:pt x="2810146" y="3155505"/>
                  <a:pt x="2689733" y="3214477"/>
                </a:cubicBezTo>
                <a:lnTo>
                  <a:pt x="2744736" y="2409511"/>
                </a:lnTo>
                <a:lnTo>
                  <a:pt x="4026169" y="2409511"/>
                </a:lnTo>
                <a:lnTo>
                  <a:pt x="4026169" y="1883188"/>
                </a:ln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anchor="ctr">
            <a:noAutofit/>
          </a:bodyPr>
          <a:lstStyle>
            <a:lvl1pPr algn="ctr">
              <a:defRPr sz="1600">
                <a:solidFill>
                  <a:schemeClr val="bg1">
                    <a:lumMod val="50000"/>
                  </a:schemeClr>
                </a:solidFill>
              </a:defRPr>
            </a:lvl1pPr>
          </a:lstStyle>
          <a:p>
            <a:r>
              <a:rPr lang="en-US"/>
              <a:t>Click icon to add picture</a:t>
            </a:r>
            <a:endParaRPr lang="en-GB"/>
          </a:p>
        </p:txBody>
      </p:sp>
      <p:sp>
        <p:nvSpPr>
          <p:cNvPr id="7" name="Text Placeholder 29">
            <a:extLst>
              <a:ext uri="{FF2B5EF4-FFF2-40B4-BE49-F238E27FC236}">
                <a16:creationId xmlns:a16="http://schemas.microsoft.com/office/drawing/2014/main" id="{40CB19B9-B076-F72F-4871-28E77338605E}"/>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bg1"/>
                </a:solidFill>
              </a:defRPr>
            </a:lvl1pPr>
          </a:lstStyle>
          <a:p>
            <a:pPr lvl="0"/>
            <a:r>
              <a:rPr lang="en-GB"/>
              <a:t>Section title goes here</a:t>
            </a:r>
          </a:p>
        </p:txBody>
      </p:sp>
      <p:sp>
        <p:nvSpPr>
          <p:cNvPr id="13" name="Text Placeholder 31">
            <a:extLst>
              <a:ext uri="{FF2B5EF4-FFF2-40B4-BE49-F238E27FC236}">
                <a16:creationId xmlns:a16="http://schemas.microsoft.com/office/drawing/2014/main" id="{A7A9F534-6D07-AD6C-9EA8-9F5BCBDDD1B2}"/>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bg2">
                    <a:lumMod val="40000"/>
                    <a:lumOff val="60000"/>
                  </a:schemeClr>
                </a:solidFill>
              </a:defRPr>
            </a:lvl1pPr>
          </a:lstStyle>
          <a:p>
            <a:pPr lvl="0"/>
            <a:r>
              <a:rPr lang="en-GB"/>
              <a:t>SUBTITLE GOES HERE: TYPE IN CAPITALS</a:t>
            </a:r>
          </a:p>
        </p:txBody>
      </p:sp>
    </p:spTree>
    <p:extLst>
      <p:ext uri="{BB962C8B-B14F-4D97-AF65-F5344CB8AC3E}">
        <p14:creationId xmlns:p14="http://schemas.microsoft.com/office/powerpoint/2010/main" val="3571552579"/>
      </p:ext>
    </p:extLst>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Section Divider + Image B6">
    <p:bg>
      <p:bgPr>
        <a:solidFill>
          <a:schemeClr val="tx2">
            <a:lumMod val="75000"/>
          </a:schemeClr>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B27288C-7259-9C4C-AE4F-E7A2FDA0B2B2}"/>
              </a:ext>
            </a:extLst>
          </p:cNvPr>
          <p:cNvSpPr/>
          <p:nvPr userDrawn="1"/>
        </p:nvSpPr>
        <p:spPr>
          <a:xfrm>
            <a:off x="83127" y="105798"/>
            <a:ext cx="4898251" cy="66350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pic>
        <p:nvPicPr>
          <p:cNvPr id="11" name="Graphic 10">
            <a:extLst>
              <a:ext uri="{FF2B5EF4-FFF2-40B4-BE49-F238E27FC236}">
                <a16:creationId xmlns:a16="http://schemas.microsoft.com/office/drawing/2014/main" id="{B864648D-453B-ED4C-8BB1-586D325E3F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361533" y="441777"/>
            <a:ext cx="1304260" cy="487680"/>
          </a:xfrm>
          <a:prstGeom prst="rect">
            <a:avLst/>
          </a:prstGeom>
        </p:spPr>
      </p:pic>
      <p:sp>
        <p:nvSpPr>
          <p:cNvPr id="12" name="Picture Placeholder 11">
            <a:extLst>
              <a:ext uri="{FF2B5EF4-FFF2-40B4-BE49-F238E27FC236}">
                <a16:creationId xmlns:a16="http://schemas.microsoft.com/office/drawing/2014/main" id="{3F971249-5979-2368-F1C4-62CA7A3E8DC6}"/>
              </a:ext>
            </a:extLst>
          </p:cNvPr>
          <p:cNvSpPr>
            <a:spLocks noGrp="1"/>
          </p:cNvSpPr>
          <p:nvPr>
            <p:ph type="pic" sz="quarter" idx="14"/>
          </p:nvPr>
        </p:nvSpPr>
        <p:spPr>
          <a:xfrm>
            <a:off x="0" y="0"/>
            <a:ext cx="6096001" cy="6858000"/>
          </a:xfrm>
          <a:custGeom>
            <a:avLst/>
            <a:gdLst>
              <a:gd name="connsiteX0" fmla="*/ 3077268 w 6096001"/>
              <a:gd name="connsiteY0" fmla="*/ 3517274 h 6858000"/>
              <a:gd name="connsiteX1" fmla="*/ 3608256 w 6096001"/>
              <a:gd name="connsiteY1" fmla="*/ 4024085 h 6858000"/>
              <a:gd name="connsiteX2" fmla="*/ 3609649 w 6096001"/>
              <a:gd name="connsiteY2" fmla="*/ 4025458 h 6858000"/>
              <a:gd name="connsiteX3" fmla="*/ 3064725 w 6096001"/>
              <a:gd name="connsiteY3" fmla="*/ 4548751 h 6858000"/>
              <a:gd name="connsiteX4" fmla="*/ 2503076 w 6096001"/>
              <a:gd name="connsiteY4" fmla="*/ 3973266 h 6858000"/>
              <a:gd name="connsiteX5" fmla="*/ 3077268 w 6096001"/>
              <a:gd name="connsiteY5" fmla="*/ 3517274 h 6858000"/>
              <a:gd name="connsiteX6" fmla="*/ 3834030 w 6096001"/>
              <a:gd name="connsiteY6" fmla="*/ 1925421 h 6858000"/>
              <a:gd name="connsiteX7" fmla="*/ 1945608 w 6096001"/>
              <a:gd name="connsiteY7" fmla="*/ 3731535 h 6858000"/>
              <a:gd name="connsiteX8" fmla="*/ 3085630 w 6096001"/>
              <a:gd name="connsiteY8" fmla="*/ 5025345 h 6858000"/>
              <a:gd name="connsiteX9" fmla="*/ 4148999 w 6096001"/>
              <a:gd name="connsiteY9" fmla="*/ 4015844 h 6858000"/>
              <a:gd name="connsiteX10" fmla="*/ 4150393 w 6096001"/>
              <a:gd name="connsiteY10" fmla="*/ 4015844 h 6858000"/>
              <a:gd name="connsiteX11" fmla="*/ 3195730 w 6096001"/>
              <a:gd name="connsiteY11" fmla="*/ 3083257 h 6858000"/>
              <a:gd name="connsiteX12" fmla="*/ 2525374 w 6096001"/>
              <a:gd name="connsiteY12" fmla="*/ 3338723 h 6858000"/>
              <a:gd name="connsiteX13" fmla="*/ 3946917 w 6096001"/>
              <a:gd name="connsiteY13" fmla="*/ 2402015 h 6858000"/>
              <a:gd name="connsiteX14" fmla="*/ 0 w 6096001"/>
              <a:gd name="connsiteY14" fmla="*/ 0 h 6858000"/>
              <a:gd name="connsiteX15" fmla="*/ 5214397 w 6096001"/>
              <a:gd name="connsiteY15" fmla="*/ 0 h 6858000"/>
              <a:gd name="connsiteX16" fmla="*/ 6096001 w 6096001"/>
              <a:gd name="connsiteY16" fmla="*/ 881604 h 6858000"/>
              <a:gd name="connsiteX17" fmla="*/ 6096001 w 6096001"/>
              <a:gd name="connsiteY17" fmla="*/ 6858000 h 6858000"/>
              <a:gd name="connsiteX18" fmla="*/ 0 w 6096001"/>
              <a:gd name="connsiteY1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096001" h="6858000">
                <a:moveTo>
                  <a:pt x="3077268" y="3517274"/>
                </a:moveTo>
                <a:cubicBezTo>
                  <a:pt x="3396418" y="3517274"/>
                  <a:pt x="3608256" y="3704066"/>
                  <a:pt x="3608256" y="4024085"/>
                </a:cubicBezTo>
                <a:lnTo>
                  <a:pt x="3609649" y="4025458"/>
                </a:lnTo>
                <a:cubicBezTo>
                  <a:pt x="3609649" y="4352344"/>
                  <a:pt x="3379694" y="4548751"/>
                  <a:pt x="3064725" y="4548751"/>
                </a:cubicBezTo>
                <a:cubicBezTo>
                  <a:pt x="2727457" y="4548751"/>
                  <a:pt x="2503076" y="4293285"/>
                  <a:pt x="2503076" y="3973266"/>
                </a:cubicBezTo>
                <a:cubicBezTo>
                  <a:pt x="2503076" y="3691705"/>
                  <a:pt x="2779022" y="3517274"/>
                  <a:pt x="3077268" y="3517274"/>
                </a:cubicBezTo>
                <a:close/>
                <a:moveTo>
                  <a:pt x="3834030" y="1925421"/>
                </a:moveTo>
                <a:cubicBezTo>
                  <a:pt x="2503076" y="1967999"/>
                  <a:pt x="1945608" y="2776973"/>
                  <a:pt x="1945608" y="3731535"/>
                </a:cubicBezTo>
                <a:cubicBezTo>
                  <a:pt x="1945608" y="4574847"/>
                  <a:pt x="2416668" y="5025345"/>
                  <a:pt x="3085630" y="5025345"/>
                </a:cubicBezTo>
                <a:cubicBezTo>
                  <a:pt x="3700238" y="5025345"/>
                  <a:pt x="4148999" y="4616051"/>
                  <a:pt x="4148999" y="4015844"/>
                </a:cubicBezTo>
                <a:lnTo>
                  <a:pt x="4150393" y="4015844"/>
                </a:lnTo>
                <a:cubicBezTo>
                  <a:pt x="4150393" y="3432119"/>
                  <a:pt x="3730899" y="3083257"/>
                  <a:pt x="3195730" y="3083257"/>
                </a:cubicBezTo>
                <a:cubicBezTo>
                  <a:pt x="2897484" y="3083257"/>
                  <a:pt x="2654986" y="3210990"/>
                  <a:pt x="2525374" y="3338723"/>
                </a:cubicBezTo>
                <a:cubicBezTo>
                  <a:pt x="2710732" y="2700059"/>
                  <a:pt x="3160888" y="2436352"/>
                  <a:pt x="3946917" y="2402015"/>
                </a:cubicBezTo>
                <a:close/>
                <a:moveTo>
                  <a:pt x="0" y="0"/>
                </a:moveTo>
                <a:lnTo>
                  <a:pt x="5214397" y="0"/>
                </a:lnTo>
                <a:cubicBezTo>
                  <a:pt x="5701293" y="0"/>
                  <a:pt x="6096001" y="394708"/>
                  <a:pt x="6096001" y="881604"/>
                </a:cubicBezTo>
                <a:lnTo>
                  <a:pt x="6096001" y="6858000"/>
                </a:lnTo>
                <a:lnTo>
                  <a:pt x="0" y="6858000"/>
                </a:lnTo>
                <a:close/>
              </a:path>
            </a:pathLst>
          </a:custGeom>
          <a:solidFill>
            <a:schemeClr val="bg1">
              <a:lumMod val="85000"/>
            </a:schemeClr>
          </a:solidFill>
        </p:spPr>
        <p:txBody>
          <a:bodyPr wrap="square" anchor="ctr">
            <a:noAutofit/>
          </a:bodyPr>
          <a:lstStyle>
            <a:lvl1pPr algn="ctr">
              <a:defRPr sz="1600">
                <a:solidFill>
                  <a:schemeClr val="bg1">
                    <a:lumMod val="50000"/>
                  </a:schemeClr>
                </a:solidFill>
              </a:defRPr>
            </a:lvl1pPr>
          </a:lstStyle>
          <a:p>
            <a:r>
              <a:rPr lang="en-US"/>
              <a:t>Click icon to add picture</a:t>
            </a:r>
            <a:endParaRPr lang="en-GB"/>
          </a:p>
        </p:txBody>
      </p:sp>
      <p:sp>
        <p:nvSpPr>
          <p:cNvPr id="7" name="Text Placeholder 29">
            <a:extLst>
              <a:ext uri="{FF2B5EF4-FFF2-40B4-BE49-F238E27FC236}">
                <a16:creationId xmlns:a16="http://schemas.microsoft.com/office/drawing/2014/main" id="{90F01191-6B5C-8711-84AB-0C200ABE5B85}"/>
              </a:ext>
            </a:extLst>
          </p:cNvPr>
          <p:cNvSpPr>
            <a:spLocks noGrp="1"/>
          </p:cNvSpPr>
          <p:nvPr>
            <p:ph type="body" sz="quarter" idx="12" hasCustomPrompt="1"/>
          </p:nvPr>
        </p:nvSpPr>
        <p:spPr>
          <a:xfrm>
            <a:off x="6653214" y="2843359"/>
            <a:ext cx="5012580" cy="2476786"/>
          </a:xfrm>
        </p:spPr>
        <p:txBody>
          <a:bodyPr>
            <a:normAutofit/>
          </a:bodyPr>
          <a:lstStyle>
            <a:lvl1pPr>
              <a:lnSpc>
                <a:spcPct val="80000"/>
              </a:lnSpc>
              <a:spcAft>
                <a:spcPts val="0"/>
              </a:spcAft>
              <a:defRPr sz="6000" b="1">
                <a:solidFill>
                  <a:schemeClr val="bg1"/>
                </a:solidFill>
              </a:defRPr>
            </a:lvl1pPr>
          </a:lstStyle>
          <a:p>
            <a:pPr lvl="0"/>
            <a:r>
              <a:rPr lang="en-GB"/>
              <a:t>Section title goes here</a:t>
            </a:r>
          </a:p>
        </p:txBody>
      </p:sp>
      <p:sp>
        <p:nvSpPr>
          <p:cNvPr id="13" name="Text Placeholder 31">
            <a:extLst>
              <a:ext uri="{FF2B5EF4-FFF2-40B4-BE49-F238E27FC236}">
                <a16:creationId xmlns:a16="http://schemas.microsoft.com/office/drawing/2014/main" id="{CC808A73-1645-699E-2C12-C2D15CC5206C}"/>
              </a:ext>
            </a:extLst>
          </p:cNvPr>
          <p:cNvSpPr>
            <a:spLocks noGrp="1"/>
          </p:cNvSpPr>
          <p:nvPr>
            <p:ph type="body" sz="quarter" idx="13" hasCustomPrompt="1"/>
          </p:nvPr>
        </p:nvSpPr>
        <p:spPr>
          <a:xfrm>
            <a:off x="6653214" y="2189162"/>
            <a:ext cx="5012580" cy="540077"/>
          </a:xfrm>
        </p:spPr>
        <p:txBody>
          <a:bodyPr>
            <a:normAutofit/>
          </a:bodyPr>
          <a:lstStyle>
            <a:lvl1pPr>
              <a:defRPr sz="1400" spc="300">
                <a:solidFill>
                  <a:schemeClr val="bg2">
                    <a:lumMod val="40000"/>
                    <a:lumOff val="60000"/>
                  </a:schemeClr>
                </a:solidFill>
              </a:defRPr>
            </a:lvl1pPr>
          </a:lstStyle>
          <a:p>
            <a:pPr lvl="0"/>
            <a:r>
              <a:rPr lang="en-GB"/>
              <a:t>SUBTITLE GOES HERE: TYPE IN CAPITALS</a:t>
            </a:r>
          </a:p>
        </p:txBody>
      </p:sp>
    </p:spTree>
    <p:extLst>
      <p:ext uri="{BB962C8B-B14F-4D97-AF65-F5344CB8AC3E}">
        <p14:creationId xmlns:p14="http://schemas.microsoft.com/office/powerpoint/2010/main" val="140360455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Icons x4 Gri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United Against Rabies Forum Meeting - 6-8 November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Picture Placeholder 3">
            <a:extLst>
              <a:ext uri="{FF2B5EF4-FFF2-40B4-BE49-F238E27FC236}">
                <a16:creationId xmlns:a16="http://schemas.microsoft.com/office/drawing/2014/main" id="{78B95D78-F57A-6D40-A841-7D1E3B08277B}"/>
              </a:ext>
            </a:extLst>
          </p:cNvPr>
          <p:cNvSpPr>
            <a:spLocks noGrp="1"/>
          </p:cNvSpPr>
          <p:nvPr>
            <p:ph type="pic" sz="quarter" idx="13"/>
          </p:nvPr>
        </p:nvSpPr>
        <p:spPr>
          <a:xfrm>
            <a:off x="515938" y="1304925"/>
            <a:ext cx="869950" cy="869950"/>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1549400" y="1687057"/>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1549400" y="1304925"/>
            <a:ext cx="4143829" cy="382135"/>
          </a:xfrm>
        </p:spPr>
        <p:txBody>
          <a:bodyPr>
            <a:normAutofit/>
          </a:bodyPr>
          <a:lstStyle>
            <a:lvl1pPr>
              <a:defRPr sz="1800" b="1">
                <a:solidFill>
                  <a:schemeClr val="bg2"/>
                </a:solidFill>
              </a:defRPr>
            </a:lvl1pPr>
          </a:lstStyle>
          <a:p>
            <a:pPr lvl="0"/>
            <a:r>
              <a:rPr lang="en-GB"/>
              <a:t>Click to edit Master text styles</a:t>
            </a:r>
          </a:p>
        </p:txBody>
      </p:sp>
      <p:sp>
        <p:nvSpPr>
          <p:cNvPr id="20" name="Picture Placeholder 3">
            <a:extLst>
              <a:ext uri="{FF2B5EF4-FFF2-40B4-BE49-F238E27FC236}">
                <a16:creationId xmlns:a16="http://schemas.microsoft.com/office/drawing/2014/main" id="{D3B567E7-3D24-6F43-A35A-BBC5B9C571B7}"/>
              </a:ext>
            </a:extLst>
          </p:cNvPr>
          <p:cNvSpPr>
            <a:spLocks noGrp="1"/>
          </p:cNvSpPr>
          <p:nvPr>
            <p:ph type="pic" sz="quarter" idx="17"/>
          </p:nvPr>
        </p:nvSpPr>
        <p:spPr>
          <a:xfrm>
            <a:off x="515938" y="3786232"/>
            <a:ext cx="869950" cy="869950"/>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1" name="Text Placeholder 6">
            <a:extLst>
              <a:ext uri="{FF2B5EF4-FFF2-40B4-BE49-F238E27FC236}">
                <a16:creationId xmlns:a16="http://schemas.microsoft.com/office/drawing/2014/main" id="{93E388B6-7D3E-7F4E-89BF-34EFDCA27B09}"/>
              </a:ext>
            </a:extLst>
          </p:cNvPr>
          <p:cNvSpPr>
            <a:spLocks noGrp="1"/>
          </p:cNvSpPr>
          <p:nvPr>
            <p:ph type="body" sz="quarter" idx="18"/>
          </p:nvPr>
        </p:nvSpPr>
        <p:spPr>
          <a:xfrm>
            <a:off x="1549400" y="4168364"/>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22" name="Text Placeholder 6">
            <a:extLst>
              <a:ext uri="{FF2B5EF4-FFF2-40B4-BE49-F238E27FC236}">
                <a16:creationId xmlns:a16="http://schemas.microsoft.com/office/drawing/2014/main" id="{881671EB-257B-ED4B-947C-F1B6F4FDC869}"/>
              </a:ext>
            </a:extLst>
          </p:cNvPr>
          <p:cNvSpPr>
            <a:spLocks noGrp="1"/>
          </p:cNvSpPr>
          <p:nvPr>
            <p:ph type="body" sz="quarter" idx="19"/>
          </p:nvPr>
        </p:nvSpPr>
        <p:spPr>
          <a:xfrm>
            <a:off x="1549400" y="3786232"/>
            <a:ext cx="4143829" cy="382135"/>
          </a:xfrm>
        </p:spPr>
        <p:txBody>
          <a:bodyPr>
            <a:normAutofit/>
          </a:bodyPr>
          <a:lstStyle>
            <a:lvl1pPr>
              <a:defRPr sz="1800" b="1">
                <a:solidFill>
                  <a:schemeClr val="bg2"/>
                </a:solidFill>
              </a:defRPr>
            </a:lvl1pPr>
          </a:lstStyle>
          <a:p>
            <a:pPr lvl="0"/>
            <a:r>
              <a:rPr lang="en-GB"/>
              <a:t>Click to edit Master text styles</a:t>
            </a:r>
          </a:p>
        </p:txBody>
      </p:sp>
      <p:sp>
        <p:nvSpPr>
          <p:cNvPr id="23" name="Picture Placeholder 3">
            <a:extLst>
              <a:ext uri="{FF2B5EF4-FFF2-40B4-BE49-F238E27FC236}">
                <a16:creationId xmlns:a16="http://schemas.microsoft.com/office/drawing/2014/main" id="{92691027-CA0E-E24A-BE52-C681CD1360B7}"/>
              </a:ext>
            </a:extLst>
          </p:cNvPr>
          <p:cNvSpPr>
            <a:spLocks noGrp="1"/>
          </p:cNvSpPr>
          <p:nvPr>
            <p:ph type="pic" sz="quarter" idx="20"/>
          </p:nvPr>
        </p:nvSpPr>
        <p:spPr>
          <a:xfrm>
            <a:off x="6498773" y="1304925"/>
            <a:ext cx="869950" cy="869950"/>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4" name="Text Placeholder 6">
            <a:extLst>
              <a:ext uri="{FF2B5EF4-FFF2-40B4-BE49-F238E27FC236}">
                <a16:creationId xmlns:a16="http://schemas.microsoft.com/office/drawing/2014/main" id="{6C29C828-D0AF-8740-B636-DCE11FB0484F}"/>
              </a:ext>
            </a:extLst>
          </p:cNvPr>
          <p:cNvSpPr>
            <a:spLocks noGrp="1"/>
          </p:cNvSpPr>
          <p:nvPr>
            <p:ph type="body" sz="quarter" idx="21"/>
          </p:nvPr>
        </p:nvSpPr>
        <p:spPr>
          <a:xfrm>
            <a:off x="7532235" y="1687057"/>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25" name="Text Placeholder 6">
            <a:extLst>
              <a:ext uri="{FF2B5EF4-FFF2-40B4-BE49-F238E27FC236}">
                <a16:creationId xmlns:a16="http://schemas.microsoft.com/office/drawing/2014/main" id="{58CECF4C-60E6-054F-A58B-39ED49ED6AD2}"/>
              </a:ext>
            </a:extLst>
          </p:cNvPr>
          <p:cNvSpPr>
            <a:spLocks noGrp="1"/>
          </p:cNvSpPr>
          <p:nvPr>
            <p:ph type="body" sz="quarter" idx="22"/>
          </p:nvPr>
        </p:nvSpPr>
        <p:spPr>
          <a:xfrm>
            <a:off x="7532235" y="1304925"/>
            <a:ext cx="4143829" cy="382135"/>
          </a:xfrm>
        </p:spPr>
        <p:txBody>
          <a:bodyPr>
            <a:normAutofit/>
          </a:bodyPr>
          <a:lstStyle>
            <a:lvl1pPr>
              <a:defRPr sz="1800" b="1">
                <a:solidFill>
                  <a:schemeClr val="bg2"/>
                </a:solidFill>
              </a:defRPr>
            </a:lvl1pPr>
          </a:lstStyle>
          <a:p>
            <a:pPr lvl="0"/>
            <a:r>
              <a:rPr lang="en-GB"/>
              <a:t>Click to edit Master text styles</a:t>
            </a:r>
          </a:p>
        </p:txBody>
      </p:sp>
      <p:sp>
        <p:nvSpPr>
          <p:cNvPr id="26" name="Picture Placeholder 3">
            <a:extLst>
              <a:ext uri="{FF2B5EF4-FFF2-40B4-BE49-F238E27FC236}">
                <a16:creationId xmlns:a16="http://schemas.microsoft.com/office/drawing/2014/main" id="{CD7BB1DF-4B0D-0046-AD00-F6E58908BDED}"/>
              </a:ext>
            </a:extLst>
          </p:cNvPr>
          <p:cNvSpPr>
            <a:spLocks noGrp="1"/>
          </p:cNvSpPr>
          <p:nvPr>
            <p:ph type="pic" sz="quarter" idx="23"/>
          </p:nvPr>
        </p:nvSpPr>
        <p:spPr>
          <a:xfrm>
            <a:off x="6498773" y="3786232"/>
            <a:ext cx="869950" cy="869950"/>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7" name="Text Placeholder 6">
            <a:extLst>
              <a:ext uri="{FF2B5EF4-FFF2-40B4-BE49-F238E27FC236}">
                <a16:creationId xmlns:a16="http://schemas.microsoft.com/office/drawing/2014/main" id="{FDABD8D9-C71A-A446-8E62-82A359216E99}"/>
              </a:ext>
            </a:extLst>
          </p:cNvPr>
          <p:cNvSpPr>
            <a:spLocks noGrp="1"/>
          </p:cNvSpPr>
          <p:nvPr>
            <p:ph type="body" sz="quarter" idx="24"/>
          </p:nvPr>
        </p:nvSpPr>
        <p:spPr>
          <a:xfrm>
            <a:off x="7532235" y="4168364"/>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28" name="Text Placeholder 6">
            <a:extLst>
              <a:ext uri="{FF2B5EF4-FFF2-40B4-BE49-F238E27FC236}">
                <a16:creationId xmlns:a16="http://schemas.microsoft.com/office/drawing/2014/main" id="{0340EBB2-1491-9444-9D25-3567B2AAB22F}"/>
              </a:ext>
            </a:extLst>
          </p:cNvPr>
          <p:cNvSpPr>
            <a:spLocks noGrp="1"/>
          </p:cNvSpPr>
          <p:nvPr>
            <p:ph type="body" sz="quarter" idx="25"/>
          </p:nvPr>
        </p:nvSpPr>
        <p:spPr>
          <a:xfrm>
            <a:off x="7532235" y="3786232"/>
            <a:ext cx="4143829" cy="382135"/>
          </a:xfrm>
        </p:spPr>
        <p:txBody>
          <a:bodyPr>
            <a:normAutofit/>
          </a:bodyPr>
          <a:lstStyle>
            <a:lvl1pPr>
              <a:defRPr sz="1800"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210696023"/>
      </p:ext>
    </p:extLst>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Thank You">
    <p:bg>
      <p:bgPr>
        <a:blipFill dpi="0" rotWithShape="1">
          <a:blip r:embed="rId2">
            <a:lum/>
            <a:extLst>
              <a:ext uri="{28A0092B-C50C-407E-A947-70E740481C1C}">
                <a14:useLocalDpi xmlns:a14="http://schemas.microsoft.com/office/drawing/2010/main"/>
              </a:ext>
            </a:extLst>
          </a:blip>
          <a:srcRect/>
          <a:stretch>
            <a:fillRect t="-3000" b="-3000"/>
          </a:stretch>
        </a:blipFill>
        <a:effectLst/>
      </p:bgPr>
    </p:bg>
    <p:spTree>
      <p:nvGrpSpPr>
        <p:cNvPr id="1" name=""/>
        <p:cNvGrpSpPr/>
        <p:nvPr/>
      </p:nvGrpSpPr>
      <p:grpSpPr>
        <a:xfrm>
          <a:off x="0" y="0"/>
          <a:ext cx="0" cy="0"/>
          <a:chOff x="0" y="0"/>
          <a:chExt cx="0" cy="0"/>
        </a:xfrm>
      </p:grpSpPr>
      <p:pic>
        <p:nvPicPr>
          <p:cNvPr id="14" name="Graphic 13">
            <a:extLst>
              <a:ext uri="{FF2B5EF4-FFF2-40B4-BE49-F238E27FC236}">
                <a16:creationId xmlns:a16="http://schemas.microsoft.com/office/drawing/2014/main" id="{52467373-D57C-F842-8976-B87DEFBE83BE}"/>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361533" y="441777"/>
            <a:ext cx="1304260" cy="487680"/>
          </a:xfrm>
          <a:prstGeom prst="rect">
            <a:avLst/>
          </a:prstGeom>
        </p:spPr>
      </p:pic>
      <p:sp>
        <p:nvSpPr>
          <p:cNvPr id="9" name="Title 8">
            <a:extLst>
              <a:ext uri="{FF2B5EF4-FFF2-40B4-BE49-F238E27FC236}">
                <a16:creationId xmlns:a16="http://schemas.microsoft.com/office/drawing/2014/main" id="{89FFAF13-E12B-E54E-B2B2-5142A884DB82}"/>
              </a:ext>
            </a:extLst>
          </p:cNvPr>
          <p:cNvSpPr>
            <a:spLocks noGrp="1"/>
          </p:cNvSpPr>
          <p:nvPr>
            <p:ph type="title" hasCustomPrompt="1"/>
          </p:nvPr>
        </p:nvSpPr>
        <p:spPr>
          <a:xfrm>
            <a:off x="521719" y="2936557"/>
            <a:ext cx="11154344" cy="984885"/>
          </a:xfrm>
        </p:spPr>
        <p:txBody>
          <a:bodyPr anchor="ctr">
            <a:spAutoFit/>
          </a:bodyPr>
          <a:lstStyle>
            <a:lvl1pPr>
              <a:lnSpc>
                <a:spcPct val="80000"/>
              </a:lnSpc>
              <a:defRPr sz="8000">
                <a:solidFill>
                  <a:schemeClr val="bg1"/>
                </a:solidFill>
              </a:defRPr>
            </a:lvl1pPr>
          </a:lstStyle>
          <a:p>
            <a:r>
              <a:rPr lang="en-GB"/>
              <a:t>Thank you</a:t>
            </a:r>
          </a:p>
        </p:txBody>
      </p:sp>
    </p:spTree>
    <p:extLst>
      <p:ext uri="{BB962C8B-B14F-4D97-AF65-F5344CB8AC3E}">
        <p14:creationId xmlns:p14="http://schemas.microsoft.com/office/powerpoint/2010/main" val="3237310237"/>
      </p:ext>
    </p:extLst>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Thank You + Image">
    <p:bg>
      <p:bgPr>
        <a:blipFill dpi="0" rotWithShape="1">
          <a:blip r:embed="rId2">
            <a:lum/>
            <a:extLst>
              <a:ext uri="{28A0092B-C50C-407E-A947-70E740481C1C}">
                <a14:useLocalDpi xmlns:a14="http://schemas.microsoft.com/office/drawing/2010/main"/>
              </a:ext>
            </a:extLst>
          </a:blip>
          <a:srcRect/>
          <a:stretch>
            <a:fillRect t="-3000" b="-3000"/>
          </a:stretch>
        </a:blipFill>
        <a:effectLst/>
      </p:bgPr>
    </p:bg>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89FFAF13-E12B-E54E-B2B2-5142A884DB82}"/>
              </a:ext>
            </a:extLst>
          </p:cNvPr>
          <p:cNvSpPr>
            <a:spLocks noGrp="1"/>
          </p:cNvSpPr>
          <p:nvPr>
            <p:ph type="title" hasCustomPrompt="1"/>
          </p:nvPr>
        </p:nvSpPr>
        <p:spPr>
          <a:xfrm>
            <a:off x="6603106" y="2169758"/>
            <a:ext cx="4692628" cy="2518484"/>
          </a:xfrm>
        </p:spPr>
        <p:txBody>
          <a:bodyPr anchor="ctr">
            <a:noAutofit/>
          </a:bodyPr>
          <a:lstStyle>
            <a:lvl1pPr>
              <a:lnSpc>
                <a:spcPct val="90000"/>
              </a:lnSpc>
              <a:defRPr sz="6000">
                <a:solidFill>
                  <a:schemeClr val="bg1"/>
                </a:solidFill>
              </a:defRPr>
            </a:lvl1pPr>
          </a:lstStyle>
          <a:p>
            <a:r>
              <a:rPr lang="en-GB"/>
              <a:t>Thank you</a:t>
            </a:r>
          </a:p>
        </p:txBody>
      </p:sp>
      <p:pic>
        <p:nvPicPr>
          <p:cNvPr id="6" name="Graphic 5">
            <a:extLst>
              <a:ext uri="{FF2B5EF4-FFF2-40B4-BE49-F238E27FC236}">
                <a16:creationId xmlns:a16="http://schemas.microsoft.com/office/drawing/2014/main" id="{66C7CBD7-5355-7F4D-BEF2-28CEADC3C9D5}"/>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361533" y="441777"/>
            <a:ext cx="1304260" cy="487680"/>
          </a:xfrm>
          <a:prstGeom prst="rect">
            <a:avLst/>
          </a:prstGeom>
        </p:spPr>
      </p:pic>
      <p:sp>
        <p:nvSpPr>
          <p:cNvPr id="7" name="Picture Placeholder 4">
            <a:extLst>
              <a:ext uri="{FF2B5EF4-FFF2-40B4-BE49-F238E27FC236}">
                <a16:creationId xmlns:a16="http://schemas.microsoft.com/office/drawing/2014/main" id="{B4768C2A-8E3C-DC4A-8FF7-DCBDDC643F7C}"/>
              </a:ext>
            </a:extLst>
          </p:cNvPr>
          <p:cNvSpPr>
            <a:spLocks noGrp="1"/>
          </p:cNvSpPr>
          <p:nvPr>
            <p:ph type="pic" sz="quarter" idx="10"/>
          </p:nvPr>
        </p:nvSpPr>
        <p:spPr>
          <a:xfrm>
            <a:off x="-2" y="0"/>
            <a:ext cx="6096001" cy="6858000"/>
          </a:xfrm>
          <a:prstGeom prst="round1Rect">
            <a:avLst>
              <a:gd name="adj" fmla="val 14462"/>
            </a:avLst>
          </a:prstGeom>
          <a:solidFill>
            <a:schemeClr val="bg1">
              <a:lumMod val="85000"/>
            </a:schemeClr>
          </a:solidFill>
        </p:spPr>
        <p:txBody>
          <a:bodyPr anchor="ctr">
            <a:normAutofit/>
          </a:bodyPr>
          <a:lstStyle>
            <a:lvl1pPr algn="ctr">
              <a:defRPr sz="1600">
                <a:solidFill>
                  <a:schemeClr val="bg1">
                    <a:lumMod val="50000"/>
                  </a:schemeClr>
                </a:solidFill>
              </a:defRPr>
            </a:lvl1pPr>
          </a:lstStyle>
          <a:p>
            <a:r>
              <a:rPr lang="en-US"/>
              <a:t>Click icon to add picture</a:t>
            </a:r>
            <a:endParaRPr lang="en-GB"/>
          </a:p>
        </p:txBody>
      </p:sp>
    </p:spTree>
    <p:extLst>
      <p:ext uri="{BB962C8B-B14F-4D97-AF65-F5344CB8AC3E}">
        <p14:creationId xmlns:p14="http://schemas.microsoft.com/office/powerpoint/2010/main" val="3541667595"/>
      </p:ext>
    </p:extLst>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userDrawn="1">
  <p:cSld name="Text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2067093845"/>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userDrawn="1">
  <p:cSld name="2 Column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2" spcCol="54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1505628364"/>
      </p:ext>
    </p:extLst>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type="obj">
  <p:cSld name="1_Content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3" name="Espace réservé du contenu 2"/>
          <p:cNvSpPr>
            <a:spLocks noGrp="1"/>
          </p:cNvSpPr>
          <p:nvPr>
            <p:ph idx="1" hasCustomPrompt="1"/>
          </p:nvPr>
        </p:nvSpPr>
        <p:spPr bwMode="gray">
          <a:xfrm>
            <a:off x="508000" y="1304931"/>
            <a:ext cx="10532533" cy="4716463"/>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3" name="Espace réservé de la date 12"/>
          <p:cNvSpPr>
            <a:spLocks noGrp="1"/>
          </p:cNvSpPr>
          <p:nvPr>
            <p:ph type="dt" sz="half" idx="10"/>
          </p:nvPr>
        </p:nvSpPr>
        <p:spPr bwMode="gray">
          <a:xfrm>
            <a:off x="-738717" y="6498000"/>
            <a:ext cx="1246719" cy="360000"/>
          </a:xfrm>
          <a:prstGeom prst="rect">
            <a:avLst/>
          </a:prstGeom>
        </p:spPr>
        <p:txBody>
          <a:bodyPr/>
          <a:lstStyle/>
          <a:p>
            <a:endParaRPr lang="en-GB" noProof="0"/>
          </a:p>
        </p:txBody>
      </p:sp>
      <p:sp>
        <p:nvSpPr>
          <p:cNvPr id="14" name="Espace réservé du numéro de diapositive 13"/>
          <p:cNvSpPr>
            <a:spLocks noGrp="1"/>
          </p:cNvSpPr>
          <p:nvPr>
            <p:ph type="sldNum" sz="quarter" idx="11"/>
          </p:nvPr>
        </p:nvSpPr>
        <p:spPr bwMode="gray"/>
        <p:txBody>
          <a:bodyPr/>
          <a:lstStyle/>
          <a:p>
            <a:fld id="{733122C9-A0B9-462F-8757-0847AD287B63}" type="slidenum">
              <a:rPr lang="en-GB" noProof="0" smtClean="0"/>
              <a:pPr/>
              <a:t>‹#›</a:t>
            </a:fld>
            <a:endParaRPr lang="en-GB" noProof="0"/>
          </a:p>
        </p:txBody>
      </p:sp>
    </p:spTree>
    <p:extLst>
      <p:ext uri="{BB962C8B-B14F-4D97-AF65-F5344CB8AC3E}">
        <p14:creationId xmlns:p14="http://schemas.microsoft.com/office/powerpoint/2010/main" val="2209782458"/>
      </p:ext>
    </p:extLst>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1644152375"/>
      </p:ext>
    </p:extLst>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2" spcCol="54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1509429521"/>
      </p:ext>
    </p:extLst>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2 Column Bulle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2" spcCol="360000"/>
          <a:lstStyle>
            <a:lvl1pPr marL="342900" indent="-342900">
              <a:buClr>
                <a:schemeClr val="bg2"/>
              </a:buClr>
              <a:buFont typeface="Arial" panose="020B0604020202020204" pitchFamily="34" charset="0"/>
              <a:buChar char="•"/>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3653521627"/>
      </p:ext>
    </p:extLst>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2 Column Number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2" spcCol="360000"/>
          <a:lstStyle>
            <a:lvl1pPr marL="457200" indent="-457200">
              <a:buClr>
                <a:schemeClr val="bg2"/>
              </a:buClr>
              <a:buFont typeface="+mj-lt"/>
              <a:buAutoNum type="arabicPeriod"/>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1517658438"/>
      </p:ext>
    </p:extLst>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Text Slide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708830"/>
            <a:ext cx="11144930" cy="4204608"/>
          </a:xfrm>
        </p:spPr>
        <p:txBody>
          <a:bodyPr numCol="2" spcCol="54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301232429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ext + 3 Objectiv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342900" indent="-342900">
              <a:buClr>
                <a:schemeClr val="bg2"/>
              </a:buClr>
              <a:buFont typeface="Arial" panose="020B0604020202020204" pitchFamily="34" charset="0"/>
              <a:buChar char="•"/>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United Against Rabies Forum Meeting - 6-8 November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23" name="Round Same-side Corner of Rectangle 22">
            <a:extLst>
              <a:ext uri="{FF2B5EF4-FFF2-40B4-BE49-F238E27FC236}">
                <a16:creationId xmlns:a16="http://schemas.microsoft.com/office/drawing/2014/main" id="{16D0EA1C-2C30-674C-9E0D-D3B85EFE8B44}"/>
              </a:ext>
            </a:extLst>
          </p:cNvPr>
          <p:cNvSpPr/>
          <p:nvPr userDrawn="1"/>
        </p:nvSpPr>
        <p:spPr>
          <a:xfrm rot="5400000" flipH="1">
            <a:off x="8698709" y="2420146"/>
            <a:ext cx="1350948" cy="5635632"/>
          </a:xfrm>
          <a:prstGeom prst="round2SameRect">
            <a:avLst>
              <a:gd name="adj1" fmla="val 0"/>
              <a:gd name="adj2"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lumMod val="85000"/>
                </a:schemeClr>
              </a:solidFill>
            </a:endParaRPr>
          </a:p>
        </p:txBody>
      </p:sp>
      <p:sp>
        <p:nvSpPr>
          <p:cNvPr id="24" name="Text Placeholder 6">
            <a:extLst>
              <a:ext uri="{FF2B5EF4-FFF2-40B4-BE49-F238E27FC236}">
                <a16:creationId xmlns:a16="http://schemas.microsoft.com/office/drawing/2014/main" id="{0933F7F4-7E4A-AD4A-B080-3883C01BCEA1}"/>
              </a:ext>
            </a:extLst>
          </p:cNvPr>
          <p:cNvSpPr>
            <a:spLocks noGrp="1"/>
          </p:cNvSpPr>
          <p:nvPr>
            <p:ph type="body" sz="quarter" idx="27"/>
          </p:nvPr>
        </p:nvSpPr>
        <p:spPr>
          <a:xfrm>
            <a:off x="7955149" y="5013397"/>
            <a:ext cx="3715133" cy="792044"/>
          </a:xfrm>
        </p:spPr>
        <p:txBody>
          <a:bodyPr anchor="t">
            <a:normAutofit/>
          </a:bodyPr>
          <a:lstStyle>
            <a:lvl1pPr marL="179388" indent="-179388">
              <a:lnSpc>
                <a:spcPct val="110000"/>
              </a:lnSpc>
              <a:spcBef>
                <a:spcPts val="0"/>
              </a:spcBef>
              <a:spcAft>
                <a:spcPts val="600"/>
              </a:spcAft>
              <a:buFont typeface="Arial" panose="020B0604020202020204" pitchFamily="34" charset="0"/>
              <a:buChar char="•"/>
              <a:tabLst/>
              <a:defRPr sz="1400" b="1">
                <a:solidFill>
                  <a:schemeClr val="bg1"/>
                </a:solidFill>
              </a:defRPr>
            </a:lvl1pPr>
          </a:lstStyle>
          <a:p>
            <a:pPr lvl="0"/>
            <a:r>
              <a:rPr lang="en-GB"/>
              <a:t>Click to edit Master text styles</a:t>
            </a:r>
          </a:p>
        </p:txBody>
      </p:sp>
      <p:sp>
        <p:nvSpPr>
          <p:cNvPr id="25" name="Text Placeholder 6">
            <a:extLst>
              <a:ext uri="{FF2B5EF4-FFF2-40B4-BE49-F238E27FC236}">
                <a16:creationId xmlns:a16="http://schemas.microsoft.com/office/drawing/2014/main" id="{66DF01F6-3014-6E4B-AB71-62673ED7268C}"/>
              </a:ext>
            </a:extLst>
          </p:cNvPr>
          <p:cNvSpPr>
            <a:spLocks noGrp="1"/>
          </p:cNvSpPr>
          <p:nvPr>
            <p:ph type="body" sz="quarter" idx="28" hasCustomPrompt="1"/>
          </p:nvPr>
        </p:nvSpPr>
        <p:spPr>
          <a:xfrm>
            <a:off x="7955149" y="4663313"/>
            <a:ext cx="1917616" cy="249259"/>
          </a:xfrm>
        </p:spPr>
        <p:txBody>
          <a:bodyPr anchor="t">
            <a:normAutofit/>
          </a:bodyPr>
          <a:lstStyle>
            <a:lvl1pPr algn="l">
              <a:lnSpc>
                <a:spcPct val="110000"/>
              </a:lnSpc>
              <a:spcAft>
                <a:spcPts val="600"/>
              </a:spcAft>
              <a:defRPr sz="1600" b="1">
                <a:solidFill>
                  <a:schemeClr val="tx2">
                    <a:lumMod val="40000"/>
                    <a:lumOff val="60000"/>
                  </a:schemeClr>
                </a:solidFill>
              </a:defRPr>
            </a:lvl1pPr>
          </a:lstStyle>
          <a:p>
            <a:pPr lvl="0"/>
            <a:r>
              <a:rPr lang="en-GB"/>
              <a:t>Title</a:t>
            </a:r>
          </a:p>
        </p:txBody>
      </p:sp>
      <p:sp>
        <p:nvSpPr>
          <p:cNvPr id="26" name="Picture Placeholder 3">
            <a:extLst>
              <a:ext uri="{FF2B5EF4-FFF2-40B4-BE49-F238E27FC236}">
                <a16:creationId xmlns:a16="http://schemas.microsoft.com/office/drawing/2014/main" id="{E49618F2-620F-A042-9095-E7C4C137E2ED}"/>
              </a:ext>
            </a:extLst>
          </p:cNvPr>
          <p:cNvSpPr>
            <a:spLocks noGrp="1"/>
          </p:cNvSpPr>
          <p:nvPr>
            <p:ph type="pic" sz="quarter" idx="29"/>
          </p:nvPr>
        </p:nvSpPr>
        <p:spPr>
          <a:xfrm>
            <a:off x="6957092" y="4846809"/>
            <a:ext cx="767874" cy="767874"/>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7" name="Round Same-side Corner of Rectangle 26">
            <a:extLst>
              <a:ext uri="{FF2B5EF4-FFF2-40B4-BE49-F238E27FC236}">
                <a16:creationId xmlns:a16="http://schemas.microsoft.com/office/drawing/2014/main" id="{CFB215F2-B96A-D14F-B549-E8D9FA660A0B}"/>
              </a:ext>
            </a:extLst>
          </p:cNvPr>
          <p:cNvSpPr/>
          <p:nvPr userDrawn="1"/>
        </p:nvSpPr>
        <p:spPr>
          <a:xfrm rot="5400000" flipH="1">
            <a:off x="8698709" y="791363"/>
            <a:ext cx="1350948" cy="5635632"/>
          </a:xfrm>
          <a:prstGeom prst="round2SameRect">
            <a:avLst>
              <a:gd name="adj1" fmla="val 0"/>
              <a:gd name="adj2"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lumMod val="85000"/>
                </a:schemeClr>
              </a:solidFill>
            </a:endParaRPr>
          </a:p>
        </p:txBody>
      </p:sp>
      <p:sp>
        <p:nvSpPr>
          <p:cNvPr id="28" name="Text Placeholder 6">
            <a:extLst>
              <a:ext uri="{FF2B5EF4-FFF2-40B4-BE49-F238E27FC236}">
                <a16:creationId xmlns:a16="http://schemas.microsoft.com/office/drawing/2014/main" id="{F2701821-5C13-4746-B598-28CE9EEFDFD0}"/>
              </a:ext>
            </a:extLst>
          </p:cNvPr>
          <p:cNvSpPr>
            <a:spLocks noGrp="1"/>
          </p:cNvSpPr>
          <p:nvPr>
            <p:ph type="body" sz="quarter" idx="30"/>
          </p:nvPr>
        </p:nvSpPr>
        <p:spPr>
          <a:xfrm>
            <a:off x="7955149" y="3384614"/>
            <a:ext cx="3715133" cy="792044"/>
          </a:xfrm>
        </p:spPr>
        <p:txBody>
          <a:bodyPr anchor="t">
            <a:normAutofit/>
          </a:bodyPr>
          <a:lstStyle>
            <a:lvl1pPr marL="179388" indent="-179388">
              <a:lnSpc>
                <a:spcPct val="110000"/>
              </a:lnSpc>
              <a:spcBef>
                <a:spcPts val="0"/>
              </a:spcBef>
              <a:spcAft>
                <a:spcPts val="600"/>
              </a:spcAft>
              <a:buFont typeface="Arial" panose="020B0604020202020204" pitchFamily="34" charset="0"/>
              <a:buChar char="•"/>
              <a:tabLst/>
              <a:defRPr sz="1400" b="1">
                <a:solidFill>
                  <a:schemeClr val="bg1"/>
                </a:solidFill>
              </a:defRPr>
            </a:lvl1pPr>
          </a:lstStyle>
          <a:p>
            <a:pPr lvl="0"/>
            <a:r>
              <a:rPr lang="en-GB"/>
              <a:t>Click to edit Master text styles</a:t>
            </a:r>
          </a:p>
        </p:txBody>
      </p:sp>
      <p:sp>
        <p:nvSpPr>
          <p:cNvPr id="29" name="Text Placeholder 6">
            <a:extLst>
              <a:ext uri="{FF2B5EF4-FFF2-40B4-BE49-F238E27FC236}">
                <a16:creationId xmlns:a16="http://schemas.microsoft.com/office/drawing/2014/main" id="{8C928579-FF9D-8E4F-912D-F44BF03ECF0E}"/>
              </a:ext>
            </a:extLst>
          </p:cNvPr>
          <p:cNvSpPr>
            <a:spLocks noGrp="1"/>
          </p:cNvSpPr>
          <p:nvPr>
            <p:ph type="body" sz="quarter" idx="31" hasCustomPrompt="1"/>
          </p:nvPr>
        </p:nvSpPr>
        <p:spPr>
          <a:xfrm>
            <a:off x="7955149" y="3034530"/>
            <a:ext cx="1917616" cy="249259"/>
          </a:xfrm>
        </p:spPr>
        <p:txBody>
          <a:bodyPr anchor="t">
            <a:normAutofit/>
          </a:bodyPr>
          <a:lstStyle>
            <a:lvl1pPr algn="l">
              <a:lnSpc>
                <a:spcPct val="110000"/>
              </a:lnSpc>
              <a:spcAft>
                <a:spcPts val="600"/>
              </a:spcAft>
              <a:defRPr sz="1600" b="1">
                <a:solidFill>
                  <a:schemeClr val="tx2">
                    <a:lumMod val="40000"/>
                    <a:lumOff val="60000"/>
                  </a:schemeClr>
                </a:solidFill>
              </a:defRPr>
            </a:lvl1pPr>
          </a:lstStyle>
          <a:p>
            <a:pPr lvl="0"/>
            <a:r>
              <a:rPr lang="en-GB"/>
              <a:t>Title</a:t>
            </a:r>
          </a:p>
        </p:txBody>
      </p:sp>
      <p:sp>
        <p:nvSpPr>
          <p:cNvPr id="30" name="Picture Placeholder 3">
            <a:extLst>
              <a:ext uri="{FF2B5EF4-FFF2-40B4-BE49-F238E27FC236}">
                <a16:creationId xmlns:a16="http://schemas.microsoft.com/office/drawing/2014/main" id="{B617E54E-8C7A-E24B-A3E6-FFD196430237}"/>
              </a:ext>
            </a:extLst>
          </p:cNvPr>
          <p:cNvSpPr>
            <a:spLocks noGrp="1"/>
          </p:cNvSpPr>
          <p:nvPr>
            <p:ph type="pic" sz="quarter" idx="32"/>
          </p:nvPr>
        </p:nvSpPr>
        <p:spPr>
          <a:xfrm>
            <a:off x="6957092" y="3218026"/>
            <a:ext cx="767874" cy="767874"/>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31" name="Round Same-side Corner of Rectangle 30">
            <a:extLst>
              <a:ext uri="{FF2B5EF4-FFF2-40B4-BE49-F238E27FC236}">
                <a16:creationId xmlns:a16="http://schemas.microsoft.com/office/drawing/2014/main" id="{468DF2F5-0340-4C4E-8BAB-B68D68BDB1CC}"/>
              </a:ext>
            </a:extLst>
          </p:cNvPr>
          <p:cNvSpPr/>
          <p:nvPr userDrawn="1"/>
        </p:nvSpPr>
        <p:spPr>
          <a:xfrm rot="5400000" flipH="1">
            <a:off x="8698709" y="-837418"/>
            <a:ext cx="1350948" cy="5635632"/>
          </a:xfrm>
          <a:prstGeom prst="round2SameRect">
            <a:avLst>
              <a:gd name="adj1" fmla="val 0"/>
              <a:gd name="adj2"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lumMod val="85000"/>
                </a:schemeClr>
              </a:solidFill>
            </a:endParaRPr>
          </a:p>
        </p:txBody>
      </p:sp>
      <p:sp>
        <p:nvSpPr>
          <p:cNvPr id="32" name="Text Placeholder 6">
            <a:extLst>
              <a:ext uri="{FF2B5EF4-FFF2-40B4-BE49-F238E27FC236}">
                <a16:creationId xmlns:a16="http://schemas.microsoft.com/office/drawing/2014/main" id="{8297A7AF-4FD1-0044-A50C-5C0CE488521B}"/>
              </a:ext>
            </a:extLst>
          </p:cNvPr>
          <p:cNvSpPr>
            <a:spLocks noGrp="1"/>
          </p:cNvSpPr>
          <p:nvPr>
            <p:ph type="body" sz="quarter" idx="33"/>
          </p:nvPr>
        </p:nvSpPr>
        <p:spPr>
          <a:xfrm>
            <a:off x="7955149" y="1755833"/>
            <a:ext cx="3715133" cy="792044"/>
          </a:xfrm>
        </p:spPr>
        <p:txBody>
          <a:bodyPr anchor="t">
            <a:normAutofit/>
          </a:bodyPr>
          <a:lstStyle>
            <a:lvl1pPr marL="179388" indent="-179388">
              <a:lnSpc>
                <a:spcPct val="110000"/>
              </a:lnSpc>
              <a:spcBef>
                <a:spcPts val="0"/>
              </a:spcBef>
              <a:spcAft>
                <a:spcPts val="600"/>
              </a:spcAft>
              <a:buFont typeface="Arial" panose="020B0604020202020204" pitchFamily="34" charset="0"/>
              <a:buChar char="•"/>
              <a:tabLst/>
              <a:defRPr sz="1400" b="1">
                <a:solidFill>
                  <a:schemeClr val="bg1"/>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6C19D012-767E-A845-8105-4B4C4887921E}"/>
              </a:ext>
            </a:extLst>
          </p:cNvPr>
          <p:cNvSpPr>
            <a:spLocks noGrp="1"/>
          </p:cNvSpPr>
          <p:nvPr>
            <p:ph type="body" sz="quarter" idx="34" hasCustomPrompt="1"/>
          </p:nvPr>
        </p:nvSpPr>
        <p:spPr>
          <a:xfrm>
            <a:off x="7955149" y="1405749"/>
            <a:ext cx="1917616" cy="249259"/>
          </a:xfrm>
        </p:spPr>
        <p:txBody>
          <a:bodyPr anchor="t">
            <a:normAutofit/>
          </a:bodyPr>
          <a:lstStyle>
            <a:lvl1pPr algn="l">
              <a:lnSpc>
                <a:spcPct val="110000"/>
              </a:lnSpc>
              <a:spcAft>
                <a:spcPts val="600"/>
              </a:spcAft>
              <a:defRPr sz="1600" b="1">
                <a:solidFill>
                  <a:schemeClr val="tx2">
                    <a:lumMod val="40000"/>
                    <a:lumOff val="60000"/>
                  </a:schemeClr>
                </a:solidFill>
              </a:defRPr>
            </a:lvl1pPr>
          </a:lstStyle>
          <a:p>
            <a:pPr lvl="0"/>
            <a:r>
              <a:rPr lang="en-GB"/>
              <a:t>Title</a:t>
            </a:r>
          </a:p>
        </p:txBody>
      </p:sp>
      <p:sp>
        <p:nvSpPr>
          <p:cNvPr id="34" name="Picture Placeholder 3">
            <a:extLst>
              <a:ext uri="{FF2B5EF4-FFF2-40B4-BE49-F238E27FC236}">
                <a16:creationId xmlns:a16="http://schemas.microsoft.com/office/drawing/2014/main" id="{DD5DD0FD-09C0-E049-944D-E6046E4FD565}"/>
              </a:ext>
            </a:extLst>
          </p:cNvPr>
          <p:cNvSpPr>
            <a:spLocks noGrp="1"/>
          </p:cNvSpPr>
          <p:nvPr>
            <p:ph type="pic" sz="quarter" idx="35"/>
          </p:nvPr>
        </p:nvSpPr>
        <p:spPr>
          <a:xfrm>
            <a:off x="6957092" y="1589245"/>
            <a:ext cx="767874" cy="767874"/>
          </a:xfrm>
        </p:spPr>
        <p:txBody>
          <a:bodyPr anchor="ctr">
            <a:noAutofit/>
          </a:bodyPr>
          <a:lstStyle>
            <a:lvl1pPr algn="ctr">
              <a:defRPr sz="1200">
                <a:solidFill>
                  <a:schemeClr val="bg1">
                    <a:lumMod val="65000"/>
                  </a:schemeClr>
                </a:solidFill>
              </a:defRPr>
            </a:lvl1pPr>
          </a:lstStyle>
          <a:p>
            <a:r>
              <a:rPr lang="en-GB"/>
              <a:t>Click icon to add picture</a:t>
            </a:r>
          </a:p>
        </p:txBody>
      </p:sp>
    </p:spTree>
    <p:extLst>
      <p:ext uri="{BB962C8B-B14F-4D97-AF65-F5344CB8AC3E}">
        <p14:creationId xmlns:p14="http://schemas.microsoft.com/office/powerpoint/2010/main" val="3533669715"/>
      </p:ext>
    </p:extLst>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2 Column Bullets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708830"/>
            <a:ext cx="11144930" cy="4204608"/>
          </a:xfrm>
        </p:spPr>
        <p:txBody>
          <a:bodyPr numCol="2" spcCol="360000"/>
          <a:lstStyle>
            <a:lvl1pPr marL="342900" indent="-342900">
              <a:buClr>
                <a:schemeClr val="bg2"/>
              </a:buClr>
              <a:buFont typeface="Arial" panose="020B0604020202020204" pitchFamily="34" charset="0"/>
              <a:buChar char="•"/>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4172611353"/>
      </p:ext>
    </p:extLst>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2 Column Numbers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708830"/>
            <a:ext cx="11144930" cy="4204608"/>
          </a:xfrm>
        </p:spPr>
        <p:txBody>
          <a:bodyPr numCol="2" spcCol="360000"/>
          <a:lstStyle>
            <a:lvl1pPr marL="457200" indent="-457200">
              <a:buClr>
                <a:schemeClr val="bg2"/>
              </a:buClr>
              <a:buFont typeface="+mj-lt"/>
              <a:buAutoNum type="arabicPeriod"/>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3811270759"/>
      </p:ext>
    </p:extLst>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Text Sections x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23534" y="1319651"/>
            <a:ext cx="5358213" cy="343847"/>
          </a:xfrm>
        </p:spPr>
        <p:txBody>
          <a:bodyPr>
            <a:normAutofit/>
          </a:bodyPr>
          <a:lstStyle>
            <a:lvl1pPr>
              <a:defRPr sz="1800" b="1">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Text Placeholder 8">
            <a:extLst>
              <a:ext uri="{FF2B5EF4-FFF2-40B4-BE49-F238E27FC236}">
                <a16:creationId xmlns:a16="http://schemas.microsoft.com/office/drawing/2014/main" id="{E867F760-C803-3AA5-7534-42750FD6DB15}"/>
              </a:ext>
            </a:extLst>
          </p:cNvPr>
          <p:cNvSpPr>
            <a:spLocks noGrp="1"/>
          </p:cNvSpPr>
          <p:nvPr>
            <p:ph type="body" idx="13"/>
          </p:nvPr>
        </p:nvSpPr>
        <p:spPr>
          <a:xfrm>
            <a:off x="531132" y="1708830"/>
            <a:ext cx="5343019"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8" name="Text Placeholder 6">
            <a:extLst>
              <a:ext uri="{FF2B5EF4-FFF2-40B4-BE49-F238E27FC236}">
                <a16:creationId xmlns:a16="http://schemas.microsoft.com/office/drawing/2014/main" id="{87E7DAA2-4D74-8F73-20DD-AB5A220C5D1B}"/>
              </a:ext>
            </a:extLst>
          </p:cNvPr>
          <p:cNvSpPr>
            <a:spLocks noGrp="1"/>
          </p:cNvSpPr>
          <p:nvPr>
            <p:ph type="body" sz="quarter" idx="15"/>
          </p:nvPr>
        </p:nvSpPr>
        <p:spPr>
          <a:xfrm>
            <a:off x="6317851" y="1319651"/>
            <a:ext cx="5358213" cy="343847"/>
          </a:xfrm>
        </p:spPr>
        <p:txBody>
          <a:bodyPr>
            <a:normAutofit/>
          </a:bodyPr>
          <a:lstStyle>
            <a:lvl1pPr>
              <a:defRPr sz="1800" b="1">
                <a:solidFill>
                  <a:schemeClr val="bg2"/>
                </a:solidFill>
              </a:defRPr>
            </a:lvl1pPr>
          </a:lstStyle>
          <a:p>
            <a:pPr lvl="0"/>
            <a:r>
              <a:rPr lang="en-GB"/>
              <a:t>Click to edit Master text styles</a:t>
            </a:r>
          </a:p>
        </p:txBody>
      </p:sp>
      <p:sp>
        <p:nvSpPr>
          <p:cNvPr id="19" name="Text Placeholder 8">
            <a:extLst>
              <a:ext uri="{FF2B5EF4-FFF2-40B4-BE49-F238E27FC236}">
                <a16:creationId xmlns:a16="http://schemas.microsoft.com/office/drawing/2014/main" id="{1E0345EA-841F-0CDC-4D3D-6F8A441AA78F}"/>
              </a:ext>
            </a:extLst>
          </p:cNvPr>
          <p:cNvSpPr>
            <a:spLocks noGrp="1"/>
          </p:cNvSpPr>
          <p:nvPr>
            <p:ph type="body" idx="16"/>
          </p:nvPr>
        </p:nvSpPr>
        <p:spPr>
          <a:xfrm>
            <a:off x="6333045" y="1708830"/>
            <a:ext cx="5343019"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3650109105"/>
      </p:ext>
    </p:extLst>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Text Section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9" y="1319651"/>
            <a:ext cx="3495194" cy="343847"/>
          </a:xfrm>
        </p:spPr>
        <p:txBody>
          <a:bodyPr>
            <a:normAutofit/>
          </a:bodyPr>
          <a:lstStyle>
            <a:lvl1pPr>
              <a:defRPr sz="1800" b="1">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Text Placeholder 8">
            <a:extLst>
              <a:ext uri="{FF2B5EF4-FFF2-40B4-BE49-F238E27FC236}">
                <a16:creationId xmlns:a16="http://schemas.microsoft.com/office/drawing/2014/main" id="{E867F760-C803-3AA5-7534-42750FD6DB15}"/>
              </a:ext>
            </a:extLst>
          </p:cNvPr>
          <p:cNvSpPr>
            <a:spLocks noGrp="1"/>
          </p:cNvSpPr>
          <p:nvPr>
            <p:ph type="body" idx="13"/>
          </p:nvPr>
        </p:nvSpPr>
        <p:spPr>
          <a:xfrm>
            <a:off x="531132" y="1708830"/>
            <a:ext cx="3485283"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0" name="Text Placeholder 6">
            <a:extLst>
              <a:ext uri="{FF2B5EF4-FFF2-40B4-BE49-F238E27FC236}">
                <a16:creationId xmlns:a16="http://schemas.microsoft.com/office/drawing/2014/main" id="{3FBFCDEF-6E12-C006-44B4-B2738D079269}"/>
              </a:ext>
            </a:extLst>
          </p:cNvPr>
          <p:cNvSpPr>
            <a:spLocks noGrp="1"/>
          </p:cNvSpPr>
          <p:nvPr>
            <p:ph type="body" sz="quarter" idx="15"/>
          </p:nvPr>
        </p:nvSpPr>
        <p:spPr>
          <a:xfrm>
            <a:off x="4380334" y="1319651"/>
            <a:ext cx="3495194" cy="343847"/>
          </a:xfrm>
        </p:spPr>
        <p:txBody>
          <a:bodyPr>
            <a:normAutofit/>
          </a:bodyPr>
          <a:lstStyle>
            <a:lvl1pPr>
              <a:defRPr sz="1800" b="1">
                <a:solidFill>
                  <a:schemeClr val="bg2"/>
                </a:solidFill>
              </a:defRPr>
            </a:lvl1pPr>
          </a:lstStyle>
          <a:p>
            <a:pPr lvl="0"/>
            <a:r>
              <a:rPr lang="en-GB"/>
              <a:t>Click to edit Master text styles</a:t>
            </a:r>
          </a:p>
        </p:txBody>
      </p:sp>
      <p:sp>
        <p:nvSpPr>
          <p:cNvPr id="21" name="Text Placeholder 8">
            <a:extLst>
              <a:ext uri="{FF2B5EF4-FFF2-40B4-BE49-F238E27FC236}">
                <a16:creationId xmlns:a16="http://schemas.microsoft.com/office/drawing/2014/main" id="{3B5895DB-1292-CE69-F1CC-CA026DACAC13}"/>
              </a:ext>
            </a:extLst>
          </p:cNvPr>
          <p:cNvSpPr>
            <a:spLocks noGrp="1"/>
          </p:cNvSpPr>
          <p:nvPr>
            <p:ph type="body" idx="16"/>
          </p:nvPr>
        </p:nvSpPr>
        <p:spPr>
          <a:xfrm>
            <a:off x="4395527" y="1708830"/>
            <a:ext cx="3485283"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2" name="Text Placeholder 6">
            <a:extLst>
              <a:ext uri="{FF2B5EF4-FFF2-40B4-BE49-F238E27FC236}">
                <a16:creationId xmlns:a16="http://schemas.microsoft.com/office/drawing/2014/main" id="{4394A274-82C6-2D1C-8004-8E7FF7B76E26}"/>
              </a:ext>
            </a:extLst>
          </p:cNvPr>
          <p:cNvSpPr>
            <a:spLocks noGrp="1"/>
          </p:cNvSpPr>
          <p:nvPr>
            <p:ph type="body" sz="quarter" idx="17"/>
          </p:nvPr>
        </p:nvSpPr>
        <p:spPr>
          <a:xfrm>
            <a:off x="8169806" y="1319651"/>
            <a:ext cx="3495194" cy="343847"/>
          </a:xfrm>
        </p:spPr>
        <p:txBody>
          <a:bodyPr>
            <a:normAutofit/>
          </a:bodyPr>
          <a:lstStyle>
            <a:lvl1pPr>
              <a:defRPr sz="1800" b="1">
                <a:solidFill>
                  <a:schemeClr val="bg2"/>
                </a:solidFill>
              </a:defRPr>
            </a:lvl1pPr>
          </a:lstStyle>
          <a:p>
            <a:pPr lvl="0"/>
            <a:r>
              <a:rPr lang="en-GB"/>
              <a:t>Click to edit Master text styles</a:t>
            </a:r>
          </a:p>
        </p:txBody>
      </p:sp>
      <p:sp>
        <p:nvSpPr>
          <p:cNvPr id="23" name="Text Placeholder 8">
            <a:extLst>
              <a:ext uri="{FF2B5EF4-FFF2-40B4-BE49-F238E27FC236}">
                <a16:creationId xmlns:a16="http://schemas.microsoft.com/office/drawing/2014/main" id="{B32BCAEC-CD76-D152-C494-48F60F7BFD47}"/>
              </a:ext>
            </a:extLst>
          </p:cNvPr>
          <p:cNvSpPr>
            <a:spLocks noGrp="1"/>
          </p:cNvSpPr>
          <p:nvPr>
            <p:ph type="body" idx="18"/>
          </p:nvPr>
        </p:nvSpPr>
        <p:spPr>
          <a:xfrm>
            <a:off x="8184999" y="1708830"/>
            <a:ext cx="3485283"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3128905242"/>
      </p:ext>
    </p:extLst>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Box Text x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29" name="Rounded Rectangle 28">
            <a:extLst>
              <a:ext uri="{FF2B5EF4-FFF2-40B4-BE49-F238E27FC236}">
                <a16:creationId xmlns:a16="http://schemas.microsoft.com/office/drawing/2014/main" id="{034B91B1-8758-0946-BB4D-13DA0D9CFAE1}"/>
              </a:ext>
            </a:extLst>
          </p:cNvPr>
          <p:cNvSpPr/>
          <p:nvPr userDrawn="1"/>
        </p:nvSpPr>
        <p:spPr>
          <a:xfrm>
            <a:off x="6241145" y="1191566"/>
            <a:ext cx="5434921"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0" name="Rounded Rectangle 29">
            <a:extLst>
              <a:ext uri="{FF2B5EF4-FFF2-40B4-BE49-F238E27FC236}">
                <a16:creationId xmlns:a16="http://schemas.microsoft.com/office/drawing/2014/main" id="{6FD39105-B790-2C4F-B73F-33A5D9995EDE}"/>
              </a:ext>
            </a:extLst>
          </p:cNvPr>
          <p:cNvSpPr/>
          <p:nvPr userDrawn="1"/>
        </p:nvSpPr>
        <p:spPr>
          <a:xfrm>
            <a:off x="515936" y="1191566"/>
            <a:ext cx="5434921"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Text Placeholder 6">
            <a:extLst>
              <a:ext uri="{FF2B5EF4-FFF2-40B4-BE49-F238E27FC236}">
                <a16:creationId xmlns:a16="http://schemas.microsoft.com/office/drawing/2014/main" id="{39DFE4E8-481D-4E4A-B357-9B609A673B06}"/>
              </a:ext>
            </a:extLst>
          </p:cNvPr>
          <p:cNvSpPr>
            <a:spLocks noGrp="1"/>
          </p:cNvSpPr>
          <p:nvPr>
            <p:ph type="body" sz="quarter" idx="14" hasCustomPrompt="1"/>
          </p:nvPr>
        </p:nvSpPr>
        <p:spPr>
          <a:xfrm>
            <a:off x="715167" y="1378325"/>
            <a:ext cx="5036457"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32" name="Text Placeholder 6">
            <a:extLst>
              <a:ext uri="{FF2B5EF4-FFF2-40B4-BE49-F238E27FC236}">
                <a16:creationId xmlns:a16="http://schemas.microsoft.com/office/drawing/2014/main" id="{79EED86D-C792-B740-BC35-66A672B07629}"/>
              </a:ext>
            </a:extLst>
          </p:cNvPr>
          <p:cNvSpPr>
            <a:spLocks noGrp="1"/>
          </p:cNvSpPr>
          <p:nvPr>
            <p:ph type="body" sz="quarter" idx="15"/>
          </p:nvPr>
        </p:nvSpPr>
        <p:spPr>
          <a:xfrm>
            <a:off x="715167" y="2154362"/>
            <a:ext cx="5036457"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CE98006B-2C07-2C4F-A8AC-A5AC433ED89C}"/>
              </a:ext>
            </a:extLst>
          </p:cNvPr>
          <p:cNvSpPr>
            <a:spLocks noGrp="1"/>
          </p:cNvSpPr>
          <p:nvPr>
            <p:ph type="body" sz="quarter" idx="16"/>
          </p:nvPr>
        </p:nvSpPr>
        <p:spPr>
          <a:xfrm>
            <a:off x="715167" y="1597378"/>
            <a:ext cx="5036457" cy="382134"/>
          </a:xfrm>
        </p:spPr>
        <p:txBody>
          <a:bodyPr/>
          <a:lstStyle>
            <a:lvl1pPr>
              <a:defRPr b="1">
                <a:solidFill>
                  <a:schemeClr val="bg2"/>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40C03D58-F9E4-0944-BD0B-946EEFB24768}"/>
              </a:ext>
            </a:extLst>
          </p:cNvPr>
          <p:cNvSpPr>
            <a:spLocks noGrp="1"/>
          </p:cNvSpPr>
          <p:nvPr>
            <p:ph type="body" sz="quarter" idx="17" hasCustomPrompt="1"/>
          </p:nvPr>
        </p:nvSpPr>
        <p:spPr>
          <a:xfrm>
            <a:off x="6440376" y="1378325"/>
            <a:ext cx="5036457"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35" name="Text Placeholder 6">
            <a:extLst>
              <a:ext uri="{FF2B5EF4-FFF2-40B4-BE49-F238E27FC236}">
                <a16:creationId xmlns:a16="http://schemas.microsoft.com/office/drawing/2014/main" id="{80BF694F-37D7-D44B-8712-1767A33CD12F}"/>
              </a:ext>
            </a:extLst>
          </p:cNvPr>
          <p:cNvSpPr>
            <a:spLocks noGrp="1"/>
          </p:cNvSpPr>
          <p:nvPr>
            <p:ph type="body" sz="quarter" idx="18"/>
          </p:nvPr>
        </p:nvSpPr>
        <p:spPr>
          <a:xfrm>
            <a:off x="6440376" y="2154362"/>
            <a:ext cx="5036457"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6" name="Text Placeholder 6">
            <a:extLst>
              <a:ext uri="{FF2B5EF4-FFF2-40B4-BE49-F238E27FC236}">
                <a16:creationId xmlns:a16="http://schemas.microsoft.com/office/drawing/2014/main" id="{1C6985EF-42F3-0D40-99CA-20F5F21446FE}"/>
              </a:ext>
            </a:extLst>
          </p:cNvPr>
          <p:cNvSpPr>
            <a:spLocks noGrp="1"/>
          </p:cNvSpPr>
          <p:nvPr>
            <p:ph type="body" sz="quarter" idx="19"/>
          </p:nvPr>
        </p:nvSpPr>
        <p:spPr>
          <a:xfrm>
            <a:off x="6440376" y="1597378"/>
            <a:ext cx="5036457" cy="382134"/>
          </a:xfrm>
        </p:spPr>
        <p:txBody>
          <a:bodyPr/>
          <a:lstStyle>
            <a:lvl1pPr>
              <a:defRPr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234467589"/>
      </p:ext>
    </p:extLst>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Box Text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0" name="Rounded Rectangle 29">
            <a:extLst>
              <a:ext uri="{FF2B5EF4-FFF2-40B4-BE49-F238E27FC236}">
                <a16:creationId xmlns:a16="http://schemas.microsoft.com/office/drawing/2014/main" id="{6FD39105-B790-2C4F-B73F-33A5D9995EDE}"/>
              </a:ext>
            </a:extLst>
          </p:cNvPr>
          <p:cNvSpPr/>
          <p:nvPr userDrawn="1"/>
        </p:nvSpPr>
        <p:spPr>
          <a:xfrm>
            <a:off x="515935" y="1191566"/>
            <a:ext cx="3604651"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Text Placeholder 6">
            <a:extLst>
              <a:ext uri="{FF2B5EF4-FFF2-40B4-BE49-F238E27FC236}">
                <a16:creationId xmlns:a16="http://schemas.microsoft.com/office/drawing/2014/main" id="{39DFE4E8-481D-4E4A-B357-9B609A673B06}"/>
              </a:ext>
            </a:extLst>
          </p:cNvPr>
          <p:cNvSpPr>
            <a:spLocks noGrp="1"/>
          </p:cNvSpPr>
          <p:nvPr>
            <p:ph type="body" sz="quarter" idx="14" hasCustomPrompt="1"/>
          </p:nvPr>
        </p:nvSpPr>
        <p:spPr>
          <a:xfrm>
            <a:off x="715167" y="1378325"/>
            <a:ext cx="3214437"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32" name="Text Placeholder 6">
            <a:extLst>
              <a:ext uri="{FF2B5EF4-FFF2-40B4-BE49-F238E27FC236}">
                <a16:creationId xmlns:a16="http://schemas.microsoft.com/office/drawing/2014/main" id="{79EED86D-C792-B740-BC35-66A672B07629}"/>
              </a:ext>
            </a:extLst>
          </p:cNvPr>
          <p:cNvSpPr>
            <a:spLocks noGrp="1"/>
          </p:cNvSpPr>
          <p:nvPr>
            <p:ph type="body" sz="quarter" idx="15"/>
          </p:nvPr>
        </p:nvSpPr>
        <p:spPr>
          <a:xfrm>
            <a:off x="715167" y="2154362"/>
            <a:ext cx="3214437"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CE98006B-2C07-2C4F-A8AC-A5AC433ED89C}"/>
              </a:ext>
            </a:extLst>
          </p:cNvPr>
          <p:cNvSpPr>
            <a:spLocks noGrp="1"/>
          </p:cNvSpPr>
          <p:nvPr>
            <p:ph type="body" sz="quarter" idx="16"/>
          </p:nvPr>
        </p:nvSpPr>
        <p:spPr>
          <a:xfrm>
            <a:off x="715167" y="1597378"/>
            <a:ext cx="3214437" cy="382134"/>
          </a:xfrm>
        </p:spPr>
        <p:txBody>
          <a:bodyPr/>
          <a:lstStyle>
            <a:lvl1pPr>
              <a:defRPr b="1">
                <a:solidFill>
                  <a:schemeClr val="bg2"/>
                </a:solidFill>
              </a:defRPr>
            </a:lvl1pPr>
          </a:lstStyle>
          <a:p>
            <a:pPr lvl="0"/>
            <a:r>
              <a:rPr lang="en-GB"/>
              <a:t>Click to edit Master text styles</a:t>
            </a:r>
          </a:p>
        </p:txBody>
      </p:sp>
      <p:sp>
        <p:nvSpPr>
          <p:cNvPr id="26" name="Rounded Rectangle 25">
            <a:extLst>
              <a:ext uri="{FF2B5EF4-FFF2-40B4-BE49-F238E27FC236}">
                <a16:creationId xmlns:a16="http://schemas.microsoft.com/office/drawing/2014/main" id="{A64DF4DD-379B-FE5B-85E1-F80F85D07E89}"/>
              </a:ext>
            </a:extLst>
          </p:cNvPr>
          <p:cNvSpPr/>
          <p:nvPr userDrawn="1"/>
        </p:nvSpPr>
        <p:spPr>
          <a:xfrm>
            <a:off x="4290784" y="1191566"/>
            <a:ext cx="3604650"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 name="Text Placeholder 6">
            <a:extLst>
              <a:ext uri="{FF2B5EF4-FFF2-40B4-BE49-F238E27FC236}">
                <a16:creationId xmlns:a16="http://schemas.microsoft.com/office/drawing/2014/main" id="{602ADDF3-C22C-9F63-2736-9FAAEA9A1E97}"/>
              </a:ext>
            </a:extLst>
          </p:cNvPr>
          <p:cNvSpPr>
            <a:spLocks noGrp="1"/>
          </p:cNvSpPr>
          <p:nvPr>
            <p:ph type="body" sz="quarter" idx="17" hasCustomPrompt="1"/>
          </p:nvPr>
        </p:nvSpPr>
        <p:spPr>
          <a:xfrm>
            <a:off x="4490015" y="1378325"/>
            <a:ext cx="3201361"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28" name="Text Placeholder 6">
            <a:extLst>
              <a:ext uri="{FF2B5EF4-FFF2-40B4-BE49-F238E27FC236}">
                <a16:creationId xmlns:a16="http://schemas.microsoft.com/office/drawing/2014/main" id="{EC84208B-5390-D845-9BFC-BBE060B525EC}"/>
              </a:ext>
            </a:extLst>
          </p:cNvPr>
          <p:cNvSpPr>
            <a:spLocks noGrp="1"/>
          </p:cNvSpPr>
          <p:nvPr>
            <p:ph type="body" sz="quarter" idx="18"/>
          </p:nvPr>
        </p:nvSpPr>
        <p:spPr>
          <a:xfrm>
            <a:off x="4490015" y="2154362"/>
            <a:ext cx="3201361"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7" name="Text Placeholder 6">
            <a:extLst>
              <a:ext uri="{FF2B5EF4-FFF2-40B4-BE49-F238E27FC236}">
                <a16:creationId xmlns:a16="http://schemas.microsoft.com/office/drawing/2014/main" id="{62DC5739-6579-EFF5-5EE5-B79F9F4E344F}"/>
              </a:ext>
            </a:extLst>
          </p:cNvPr>
          <p:cNvSpPr>
            <a:spLocks noGrp="1"/>
          </p:cNvSpPr>
          <p:nvPr>
            <p:ph type="body" sz="quarter" idx="19"/>
          </p:nvPr>
        </p:nvSpPr>
        <p:spPr>
          <a:xfrm>
            <a:off x="4490015" y="1597378"/>
            <a:ext cx="3201361" cy="382134"/>
          </a:xfrm>
        </p:spPr>
        <p:txBody>
          <a:bodyPr/>
          <a:lstStyle>
            <a:lvl1pPr>
              <a:defRPr b="1">
                <a:solidFill>
                  <a:schemeClr val="bg2"/>
                </a:solidFill>
              </a:defRPr>
            </a:lvl1pPr>
          </a:lstStyle>
          <a:p>
            <a:pPr lvl="0"/>
            <a:r>
              <a:rPr lang="en-GB"/>
              <a:t>Click to edit Master text styles</a:t>
            </a:r>
          </a:p>
        </p:txBody>
      </p:sp>
      <p:sp>
        <p:nvSpPr>
          <p:cNvPr id="38" name="Rounded Rectangle 37">
            <a:extLst>
              <a:ext uri="{FF2B5EF4-FFF2-40B4-BE49-F238E27FC236}">
                <a16:creationId xmlns:a16="http://schemas.microsoft.com/office/drawing/2014/main" id="{A0FC7906-8744-F3F8-AA4F-08ADB6E6D43E}"/>
              </a:ext>
            </a:extLst>
          </p:cNvPr>
          <p:cNvSpPr/>
          <p:nvPr userDrawn="1"/>
        </p:nvSpPr>
        <p:spPr>
          <a:xfrm>
            <a:off x="8065632" y="1191566"/>
            <a:ext cx="3604650"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9" name="Text Placeholder 6">
            <a:extLst>
              <a:ext uri="{FF2B5EF4-FFF2-40B4-BE49-F238E27FC236}">
                <a16:creationId xmlns:a16="http://schemas.microsoft.com/office/drawing/2014/main" id="{F3AC3934-9579-D587-96AD-27B72F22B277}"/>
              </a:ext>
            </a:extLst>
          </p:cNvPr>
          <p:cNvSpPr>
            <a:spLocks noGrp="1"/>
          </p:cNvSpPr>
          <p:nvPr>
            <p:ph type="body" sz="quarter" idx="20" hasCustomPrompt="1"/>
          </p:nvPr>
        </p:nvSpPr>
        <p:spPr>
          <a:xfrm>
            <a:off x="8264863" y="1378325"/>
            <a:ext cx="3211970"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40" name="Text Placeholder 6">
            <a:extLst>
              <a:ext uri="{FF2B5EF4-FFF2-40B4-BE49-F238E27FC236}">
                <a16:creationId xmlns:a16="http://schemas.microsoft.com/office/drawing/2014/main" id="{37A42317-1A24-1AA6-D076-0E969CCF8BE8}"/>
              </a:ext>
            </a:extLst>
          </p:cNvPr>
          <p:cNvSpPr>
            <a:spLocks noGrp="1"/>
          </p:cNvSpPr>
          <p:nvPr>
            <p:ph type="body" sz="quarter" idx="21"/>
          </p:nvPr>
        </p:nvSpPr>
        <p:spPr>
          <a:xfrm>
            <a:off x="8264863" y="2154362"/>
            <a:ext cx="3211970"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41" name="Text Placeholder 6">
            <a:extLst>
              <a:ext uri="{FF2B5EF4-FFF2-40B4-BE49-F238E27FC236}">
                <a16:creationId xmlns:a16="http://schemas.microsoft.com/office/drawing/2014/main" id="{ADCC5B80-D27A-2762-3E95-436EEE5A0DE7}"/>
              </a:ext>
            </a:extLst>
          </p:cNvPr>
          <p:cNvSpPr>
            <a:spLocks noGrp="1"/>
          </p:cNvSpPr>
          <p:nvPr>
            <p:ph type="body" sz="quarter" idx="22"/>
          </p:nvPr>
        </p:nvSpPr>
        <p:spPr>
          <a:xfrm>
            <a:off x="8264863" y="1597378"/>
            <a:ext cx="3211970" cy="382134"/>
          </a:xfrm>
        </p:spPr>
        <p:txBody>
          <a:bodyPr/>
          <a:lstStyle>
            <a:lvl1pPr>
              <a:defRPr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123321324"/>
      </p:ext>
    </p:extLst>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Icon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9" y="3319670"/>
            <a:ext cx="3287436" cy="2593767"/>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2874301"/>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A5AC520F-8595-0F44-99A9-F0873ACA435F}"/>
              </a:ext>
            </a:extLst>
          </p:cNvPr>
          <p:cNvSpPr>
            <a:spLocks noGrp="1"/>
          </p:cNvSpPr>
          <p:nvPr>
            <p:ph type="body" sz="quarter" idx="18"/>
          </p:nvPr>
        </p:nvSpPr>
        <p:spPr>
          <a:xfrm>
            <a:off x="4452282" y="3319670"/>
            <a:ext cx="3287436" cy="2593767"/>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4452282" y="2874301"/>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AD30B9DC-1666-7446-9DFD-F674A273B468}"/>
              </a:ext>
            </a:extLst>
          </p:cNvPr>
          <p:cNvSpPr>
            <a:spLocks noGrp="1"/>
          </p:cNvSpPr>
          <p:nvPr>
            <p:ph type="body" sz="quarter" idx="21"/>
          </p:nvPr>
        </p:nvSpPr>
        <p:spPr>
          <a:xfrm>
            <a:off x="8382846" y="3326198"/>
            <a:ext cx="3287436" cy="2593767"/>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C7816D18-C579-DE44-B3B4-5D38198139F6}"/>
              </a:ext>
            </a:extLst>
          </p:cNvPr>
          <p:cNvSpPr>
            <a:spLocks noGrp="1"/>
          </p:cNvSpPr>
          <p:nvPr>
            <p:ph type="body" sz="quarter" idx="22"/>
          </p:nvPr>
        </p:nvSpPr>
        <p:spPr>
          <a:xfrm>
            <a:off x="8382846" y="2880829"/>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20" name="Picture Placeholder 3">
            <a:extLst>
              <a:ext uri="{FF2B5EF4-FFF2-40B4-BE49-F238E27FC236}">
                <a16:creationId xmlns:a16="http://schemas.microsoft.com/office/drawing/2014/main" id="{319B0B18-4860-DA36-3440-4533856C9139}"/>
              </a:ext>
            </a:extLst>
          </p:cNvPr>
          <p:cNvSpPr>
            <a:spLocks noGrp="1"/>
          </p:cNvSpPr>
          <p:nvPr>
            <p:ph type="pic" sz="quarter" idx="13"/>
          </p:nvPr>
        </p:nvSpPr>
        <p:spPr>
          <a:xfrm>
            <a:off x="515938" y="1624205"/>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21" name="Picture Placeholder 3">
            <a:extLst>
              <a:ext uri="{FF2B5EF4-FFF2-40B4-BE49-F238E27FC236}">
                <a16:creationId xmlns:a16="http://schemas.microsoft.com/office/drawing/2014/main" id="{BF99AA58-9FC0-03DF-8208-27BED5F44ED6}"/>
              </a:ext>
            </a:extLst>
          </p:cNvPr>
          <p:cNvSpPr>
            <a:spLocks noGrp="1"/>
          </p:cNvSpPr>
          <p:nvPr>
            <p:ph type="pic" sz="quarter" idx="23"/>
          </p:nvPr>
        </p:nvSpPr>
        <p:spPr>
          <a:xfrm>
            <a:off x="4458071" y="1624205"/>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22" name="Picture Placeholder 3">
            <a:extLst>
              <a:ext uri="{FF2B5EF4-FFF2-40B4-BE49-F238E27FC236}">
                <a16:creationId xmlns:a16="http://schemas.microsoft.com/office/drawing/2014/main" id="{AD148B2F-B493-BFBF-8393-261886DA3EE6}"/>
              </a:ext>
            </a:extLst>
          </p:cNvPr>
          <p:cNvSpPr>
            <a:spLocks noGrp="1"/>
          </p:cNvSpPr>
          <p:nvPr>
            <p:ph type="pic" sz="quarter" idx="24"/>
          </p:nvPr>
        </p:nvSpPr>
        <p:spPr>
          <a:xfrm>
            <a:off x="8382846" y="1624205"/>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Tree>
    <p:extLst>
      <p:ext uri="{BB962C8B-B14F-4D97-AF65-F5344CB8AC3E}">
        <p14:creationId xmlns:p14="http://schemas.microsoft.com/office/powerpoint/2010/main" val="3303905059"/>
      </p:ext>
    </p:extLst>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Icons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Picture Placeholder 3">
            <a:extLst>
              <a:ext uri="{FF2B5EF4-FFF2-40B4-BE49-F238E27FC236}">
                <a16:creationId xmlns:a16="http://schemas.microsoft.com/office/drawing/2014/main" id="{78B95D78-F57A-6D40-A841-7D1E3B08277B}"/>
              </a:ext>
            </a:extLst>
          </p:cNvPr>
          <p:cNvSpPr>
            <a:spLocks noGrp="1"/>
          </p:cNvSpPr>
          <p:nvPr>
            <p:ph type="pic" sz="quarter" idx="13"/>
          </p:nvPr>
        </p:nvSpPr>
        <p:spPr>
          <a:xfrm>
            <a:off x="515938"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8"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8"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47" name="Picture Placeholder 3">
            <a:extLst>
              <a:ext uri="{FF2B5EF4-FFF2-40B4-BE49-F238E27FC236}">
                <a16:creationId xmlns:a16="http://schemas.microsoft.com/office/drawing/2014/main" id="{F48D299A-6257-AC74-0FD7-6D22E29A5C4F}"/>
              </a:ext>
            </a:extLst>
          </p:cNvPr>
          <p:cNvSpPr>
            <a:spLocks noGrp="1"/>
          </p:cNvSpPr>
          <p:nvPr>
            <p:ph type="pic" sz="quarter" idx="17"/>
          </p:nvPr>
        </p:nvSpPr>
        <p:spPr>
          <a:xfrm>
            <a:off x="3387491"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48" name="Text Placeholder 6">
            <a:extLst>
              <a:ext uri="{FF2B5EF4-FFF2-40B4-BE49-F238E27FC236}">
                <a16:creationId xmlns:a16="http://schemas.microsoft.com/office/drawing/2014/main" id="{9E3D1709-B9E8-6689-9456-9D1A08D7BAA7}"/>
              </a:ext>
            </a:extLst>
          </p:cNvPr>
          <p:cNvSpPr>
            <a:spLocks noGrp="1"/>
          </p:cNvSpPr>
          <p:nvPr>
            <p:ph type="body" sz="quarter" idx="18"/>
          </p:nvPr>
        </p:nvSpPr>
        <p:spPr>
          <a:xfrm>
            <a:off x="3387491"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49" name="Text Placeholder 6">
            <a:extLst>
              <a:ext uri="{FF2B5EF4-FFF2-40B4-BE49-F238E27FC236}">
                <a16:creationId xmlns:a16="http://schemas.microsoft.com/office/drawing/2014/main" id="{C714C56E-261C-2C43-2BCC-4B86E64EE017}"/>
              </a:ext>
            </a:extLst>
          </p:cNvPr>
          <p:cNvSpPr>
            <a:spLocks noGrp="1"/>
          </p:cNvSpPr>
          <p:nvPr>
            <p:ph type="body" sz="quarter" idx="19"/>
          </p:nvPr>
        </p:nvSpPr>
        <p:spPr>
          <a:xfrm>
            <a:off x="3387491"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0" name="Picture Placeholder 3">
            <a:extLst>
              <a:ext uri="{FF2B5EF4-FFF2-40B4-BE49-F238E27FC236}">
                <a16:creationId xmlns:a16="http://schemas.microsoft.com/office/drawing/2014/main" id="{7BD682FD-9976-0C80-A887-A4D6D2E292BF}"/>
              </a:ext>
            </a:extLst>
          </p:cNvPr>
          <p:cNvSpPr>
            <a:spLocks noGrp="1"/>
          </p:cNvSpPr>
          <p:nvPr>
            <p:ph type="pic" sz="quarter" idx="20"/>
          </p:nvPr>
        </p:nvSpPr>
        <p:spPr>
          <a:xfrm>
            <a:off x="6259044"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1" name="Text Placeholder 6">
            <a:extLst>
              <a:ext uri="{FF2B5EF4-FFF2-40B4-BE49-F238E27FC236}">
                <a16:creationId xmlns:a16="http://schemas.microsoft.com/office/drawing/2014/main" id="{A9A5BE6C-6EDB-FAB6-4644-C243D0C50113}"/>
              </a:ext>
            </a:extLst>
          </p:cNvPr>
          <p:cNvSpPr>
            <a:spLocks noGrp="1"/>
          </p:cNvSpPr>
          <p:nvPr>
            <p:ph type="body" sz="quarter" idx="21"/>
          </p:nvPr>
        </p:nvSpPr>
        <p:spPr>
          <a:xfrm>
            <a:off x="6259044"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2" name="Text Placeholder 6">
            <a:extLst>
              <a:ext uri="{FF2B5EF4-FFF2-40B4-BE49-F238E27FC236}">
                <a16:creationId xmlns:a16="http://schemas.microsoft.com/office/drawing/2014/main" id="{CB0F2787-5A74-A6DE-F13C-3D79E01FA602}"/>
              </a:ext>
            </a:extLst>
          </p:cNvPr>
          <p:cNvSpPr>
            <a:spLocks noGrp="1"/>
          </p:cNvSpPr>
          <p:nvPr>
            <p:ph type="body" sz="quarter" idx="22"/>
          </p:nvPr>
        </p:nvSpPr>
        <p:spPr>
          <a:xfrm>
            <a:off x="6259044"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3" name="Picture Placeholder 3">
            <a:extLst>
              <a:ext uri="{FF2B5EF4-FFF2-40B4-BE49-F238E27FC236}">
                <a16:creationId xmlns:a16="http://schemas.microsoft.com/office/drawing/2014/main" id="{201E793D-C775-4026-041E-34664EC7CB24}"/>
              </a:ext>
            </a:extLst>
          </p:cNvPr>
          <p:cNvSpPr>
            <a:spLocks noGrp="1"/>
          </p:cNvSpPr>
          <p:nvPr>
            <p:ph type="pic" sz="quarter" idx="23"/>
          </p:nvPr>
        </p:nvSpPr>
        <p:spPr>
          <a:xfrm>
            <a:off x="9130597"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4" name="Text Placeholder 6">
            <a:extLst>
              <a:ext uri="{FF2B5EF4-FFF2-40B4-BE49-F238E27FC236}">
                <a16:creationId xmlns:a16="http://schemas.microsoft.com/office/drawing/2014/main" id="{804BD5F4-CAC4-3B9A-26F3-C0C1833171E1}"/>
              </a:ext>
            </a:extLst>
          </p:cNvPr>
          <p:cNvSpPr>
            <a:spLocks noGrp="1"/>
          </p:cNvSpPr>
          <p:nvPr>
            <p:ph type="body" sz="quarter" idx="24"/>
          </p:nvPr>
        </p:nvSpPr>
        <p:spPr>
          <a:xfrm>
            <a:off x="9130598"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5" name="Text Placeholder 6">
            <a:extLst>
              <a:ext uri="{FF2B5EF4-FFF2-40B4-BE49-F238E27FC236}">
                <a16:creationId xmlns:a16="http://schemas.microsoft.com/office/drawing/2014/main" id="{B233CA27-29C3-9FC3-D859-9E09C4A5F850}"/>
              </a:ext>
            </a:extLst>
          </p:cNvPr>
          <p:cNvSpPr>
            <a:spLocks noGrp="1"/>
          </p:cNvSpPr>
          <p:nvPr>
            <p:ph type="body" sz="quarter" idx="25"/>
          </p:nvPr>
        </p:nvSpPr>
        <p:spPr>
          <a:xfrm>
            <a:off x="9130598"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3025520284"/>
      </p:ext>
    </p:extLst>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Icons x5">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Picture Placeholder 3">
            <a:extLst>
              <a:ext uri="{FF2B5EF4-FFF2-40B4-BE49-F238E27FC236}">
                <a16:creationId xmlns:a16="http://schemas.microsoft.com/office/drawing/2014/main" id="{78B95D78-F57A-6D40-A841-7D1E3B08277B}"/>
              </a:ext>
            </a:extLst>
          </p:cNvPr>
          <p:cNvSpPr>
            <a:spLocks noGrp="1"/>
          </p:cNvSpPr>
          <p:nvPr>
            <p:ph type="pic" sz="quarter" idx="13"/>
          </p:nvPr>
        </p:nvSpPr>
        <p:spPr>
          <a:xfrm>
            <a:off x="515938"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9"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47" name="Picture Placeholder 3">
            <a:extLst>
              <a:ext uri="{FF2B5EF4-FFF2-40B4-BE49-F238E27FC236}">
                <a16:creationId xmlns:a16="http://schemas.microsoft.com/office/drawing/2014/main" id="{F48D299A-6257-AC74-0FD7-6D22E29A5C4F}"/>
              </a:ext>
            </a:extLst>
          </p:cNvPr>
          <p:cNvSpPr>
            <a:spLocks noGrp="1"/>
          </p:cNvSpPr>
          <p:nvPr>
            <p:ph type="pic" sz="quarter" idx="17"/>
          </p:nvPr>
        </p:nvSpPr>
        <p:spPr>
          <a:xfrm>
            <a:off x="2802689"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48" name="Text Placeholder 6">
            <a:extLst>
              <a:ext uri="{FF2B5EF4-FFF2-40B4-BE49-F238E27FC236}">
                <a16:creationId xmlns:a16="http://schemas.microsoft.com/office/drawing/2014/main" id="{9E3D1709-B9E8-6689-9456-9D1A08D7BAA7}"/>
              </a:ext>
            </a:extLst>
          </p:cNvPr>
          <p:cNvSpPr>
            <a:spLocks noGrp="1"/>
          </p:cNvSpPr>
          <p:nvPr>
            <p:ph type="body" sz="quarter" idx="18"/>
          </p:nvPr>
        </p:nvSpPr>
        <p:spPr>
          <a:xfrm>
            <a:off x="2802689"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49" name="Text Placeholder 6">
            <a:extLst>
              <a:ext uri="{FF2B5EF4-FFF2-40B4-BE49-F238E27FC236}">
                <a16:creationId xmlns:a16="http://schemas.microsoft.com/office/drawing/2014/main" id="{C714C56E-261C-2C43-2BCC-4B86E64EE017}"/>
              </a:ext>
            </a:extLst>
          </p:cNvPr>
          <p:cNvSpPr>
            <a:spLocks noGrp="1"/>
          </p:cNvSpPr>
          <p:nvPr>
            <p:ph type="body" sz="quarter" idx="19"/>
          </p:nvPr>
        </p:nvSpPr>
        <p:spPr>
          <a:xfrm>
            <a:off x="2802689"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0" name="Picture Placeholder 3">
            <a:extLst>
              <a:ext uri="{FF2B5EF4-FFF2-40B4-BE49-F238E27FC236}">
                <a16:creationId xmlns:a16="http://schemas.microsoft.com/office/drawing/2014/main" id="{7BD682FD-9976-0C80-A887-A4D6D2E292BF}"/>
              </a:ext>
            </a:extLst>
          </p:cNvPr>
          <p:cNvSpPr>
            <a:spLocks noGrp="1"/>
          </p:cNvSpPr>
          <p:nvPr>
            <p:ph type="pic" sz="quarter" idx="20"/>
          </p:nvPr>
        </p:nvSpPr>
        <p:spPr>
          <a:xfrm>
            <a:off x="5089439"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1" name="Text Placeholder 6">
            <a:extLst>
              <a:ext uri="{FF2B5EF4-FFF2-40B4-BE49-F238E27FC236}">
                <a16:creationId xmlns:a16="http://schemas.microsoft.com/office/drawing/2014/main" id="{A9A5BE6C-6EDB-FAB6-4644-C243D0C50113}"/>
              </a:ext>
            </a:extLst>
          </p:cNvPr>
          <p:cNvSpPr>
            <a:spLocks noGrp="1"/>
          </p:cNvSpPr>
          <p:nvPr>
            <p:ph type="body" sz="quarter" idx="21"/>
          </p:nvPr>
        </p:nvSpPr>
        <p:spPr>
          <a:xfrm>
            <a:off x="5089439"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2" name="Text Placeholder 6">
            <a:extLst>
              <a:ext uri="{FF2B5EF4-FFF2-40B4-BE49-F238E27FC236}">
                <a16:creationId xmlns:a16="http://schemas.microsoft.com/office/drawing/2014/main" id="{CB0F2787-5A74-A6DE-F13C-3D79E01FA602}"/>
              </a:ext>
            </a:extLst>
          </p:cNvPr>
          <p:cNvSpPr>
            <a:spLocks noGrp="1"/>
          </p:cNvSpPr>
          <p:nvPr>
            <p:ph type="body" sz="quarter" idx="22"/>
          </p:nvPr>
        </p:nvSpPr>
        <p:spPr>
          <a:xfrm>
            <a:off x="5089439"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3" name="Picture Placeholder 3">
            <a:extLst>
              <a:ext uri="{FF2B5EF4-FFF2-40B4-BE49-F238E27FC236}">
                <a16:creationId xmlns:a16="http://schemas.microsoft.com/office/drawing/2014/main" id="{201E793D-C775-4026-041E-34664EC7CB24}"/>
              </a:ext>
            </a:extLst>
          </p:cNvPr>
          <p:cNvSpPr>
            <a:spLocks noGrp="1"/>
          </p:cNvSpPr>
          <p:nvPr>
            <p:ph type="pic" sz="quarter" idx="23"/>
          </p:nvPr>
        </p:nvSpPr>
        <p:spPr>
          <a:xfrm>
            <a:off x="7376189"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4" name="Text Placeholder 6">
            <a:extLst>
              <a:ext uri="{FF2B5EF4-FFF2-40B4-BE49-F238E27FC236}">
                <a16:creationId xmlns:a16="http://schemas.microsoft.com/office/drawing/2014/main" id="{804BD5F4-CAC4-3B9A-26F3-C0C1833171E1}"/>
              </a:ext>
            </a:extLst>
          </p:cNvPr>
          <p:cNvSpPr>
            <a:spLocks noGrp="1"/>
          </p:cNvSpPr>
          <p:nvPr>
            <p:ph type="body" sz="quarter" idx="24"/>
          </p:nvPr>
        </p:nvSpPr>
        <p:spPr>
          <a:xfrm>
            <a:off x="7376189"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5" name="Text Placeholder 6">
            <a:extLst>
              <a:ext uri="{FF2B5EF4-FFF2-40B4-BE49-F238E27FC236}">
                <a16:creationId xmlns:a16="http://schemas.microsoft.com/office/drawing/2014/main" id="{B233CA27-29C3-9FC3-D859-9E09C4A5F850}"/>
              </a:ext>
            </a:extLst>
          </p:cNvPr>
          <p:cNvSpPr>
            <a:spLocks noGrp="1"/>
          </p:cNvSpPr>
          <p:nvPr>
            <p:ph type="body" sz="quarter" idx="25"/>
          </p:nvPr>
        </p:nvSpPr>
        <p:spPr>
          <a:xfrm>
            <a:off x="7376189"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6" name="Picture Placeholder 3">
            <a:extLst>
              <a:ext uri="{FF2B5EF4-FFF2-40B4-BE49-F238E27FC236}">
                <a16:creationId xmlns:a16="http://schemas.microsoft.com/office/drawing/2014/main" id="{8B57295D-E6CF-D31C-B144-FCA5CB14DF6B}"/>
              </a:ext>
            </a:extLst>
          </p:cNvPr>
          <p:cNvSpPr>
            <a:spLocks noGrp="1"/>
          </p:cNvSpPr>
          <p:nvPr>
            <p:ph type="pic" sz="quarter" idx="26"/>
          </p:nvPr>
        </p:nvSpPr>
        <p:spPr>
          <a:xfrm>
            <a:off x="9662939"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7" name="Text Placeholder 6">
            <a:extLst>
              <a:ext uri="{FF2B5EF4-FFF2-40B4-BE49-F238E27FC236}">
                <a16:creationId xmlns:a16="http://schemas.microsoft.com/office/drawing/2014/main" id="{AD0246CA-EA99-001F-02B9-8BA52DCE7337}"/>
              </a:ext>
            </a:extLst>
          </p:cNvPr>
          <p:cNvSpPr>
            <a:spLocks noGrp="1"/>
          </p:cNvSpPr>
          <p:nvPr>
            <p:ph type="body" sz="quarter" idx="27"/>
          </p:nvPr>
        </p:nvSpPr>
        <p:spPr>
          <a:xfrm>
            <a:off x="9662940"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8" name="Text Placeholder 6">
            <a:extLst>
              <a:ext uri="{FF2B5EF4-FFF2-40B4-BE49-F238E27FC236}">
                <a16:creationId xmlns:a16="http://schemas.microsoft.com/office/drawing/2014/main" id="{3D355FF6-773D-9D18-B07A-AFAED992F8C9}"/>
              </a:ext>
            </a:extLst>
          </p:cNvPr>
          <p:cNvSpPr>
            <a:spLocks noGrp="1"/>
          </p:cNvSpPr>
          <p:nvPr>
            <p:ph type="body" sz="quarter" idx="28"/>
          </p:nvPr>
        </p:nvSpPr>
        <p:spPr>
          <a:xfrm>
            <a:off x="9662940"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1701529203"/>
      </p:ext>
    </p:extLst>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Icons x4 Gri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Picture Placeholder 3">
            <a:extLst>
              <a:ext uri="{FF2B5EF4-FFF2-40B4-BE49-F238E27FC236}">
                <a16:creationId xmlns:a16="http://schemas.microsoft.com/office/drawing/2014/main" id="{78B95D78-F57A-6D40-A841-7D1E3B08277B}"/>
              </a:ext>
            </a:extLst>
          </p:cNvPr>
          <p:cNvSpPr>
            <a:spLocks noGrp="1"/>
          </p:cNvSpPr>
          <p:nvPr>
            <p:ph type="pic" sz="quarter" idx="13"/>
          </p:nvPr>
        </p:nvSpPr>
        <p:spPr>
          <a:xfrm>
            <a:off x="515938" y="1304925"/>
            <a:ext cx="869950" cy="869950"/>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1549400" y="1687057"/>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1549400" y="1304925"/>
            <a:ext cx="4143829" cy="382135"/>
          </a:xfrm>
        </p:spPr>
        <p:txBody>
          <a:bodyPr>
            <a:normAutofit/>
          </a:bodyPr>
          <a:lstStyle>
            <a:lvl1pPr>
              <a:defRPr sz="1800" b="1">
                <a:solidFill>
                  <a:schemeClr val="bg2"/>
                </a:solidFill>
              </a:defRPr>
            </a:lvl1pPr>
          </a:lstStyle>
          <a:p>
            <a:pPr lvl="0"/>
            <a:r>
              <a:rPr lang="en-GB"/>
              <a:t>Click to edit Master text styles</a:t>
            </a:r>
          </a:p>
        </p:txBody>
      </p:sp>
      <p:sp>
        <p:nvSpPr>
          <p:cNvPr id="20" name="Picture Placeholder 3">
            <a:extLst>
              <a:ext uri="{FF2B5EF4-FFF2-40B4-BE49-F238E27FC236}">
                <a16:creationId xmlns:a16="http://schemas.microsoft.com/office/drawing/2014/main" id="{D3B567E7-3D24-6F43-A35A-BBC5B9C571B7}"/>
              </a:ext>
            </a:extLst>
          </p:cNvPr>
          <p:cNvSpPr>
            <a:spLocks noGrp="1"/>
          </p:cNvSpPr>
          <p:nvPr>
            <p:ph type="pic" sz="quarter" idx="17"/>
          </p:nvPr>
        </p:nvSpPr>
        <p:spPr>
          <a:xfrm>
            <a:off x="515938" y="3786232"/>
            <a:ext cx="869950" cy="869950"/>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1" name="Text Placeholder 6">
            <a:extLst>
              <a:ext uri="{FF2B5EF4-FFF2-40B4-BE49-F238E27FC236}">
                <a16:creationId xmlns:a16="http://schemas.microsoft.com/office/drawing/2014/main" id="{93E388B6-7D3E-7F4E-89BF-34EFDCA27B09}"/>
              </a:ext>
            </a:extLst>
          </p:cNvPr>
          <p:cNvSpPr>
            <a:spLocks noGrp="1"/>
          </p:cNvSpPr>
          <p:nvPr>
            <p:ph type="body" sz="quarter" idx="18"/>
          </p:nvPr>
        </p:nvSpPr>
        <p:spPr>
          <a:xfrm>
            <a:off x="1549400" y="4168364"/>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22" name="Text Placeholder 6">
            <a:extLst>
              <a:ext uri="{FF2B5EF4-FFF2-40B4-BE49-F238E27FC236}">
                <a16:creationId xmlns:a16="http://schemas.microsoft.com/office/drawing/2014/main" id="{881671EB-257B-ED4B-947C-F1B6F4FDC869}"/>
              </a:ext>
            </a:extLst>
          </p:cNvPr>
          <p:cNvSpPr>
            <a:spLocks noGrp="1"/>
          </p:cNvSpPr>
          <p:nvPr>
            <p:ph type="body" sz="quarter" idx="19"/>
          </p:nvPr>
        </p:nvSpPr>
        <p:spPr>
          <a:xfrm>
            <a:off x="1549400" y="3786232"/>
            <a:ext cx="4143829" cy="382135"/>
          </a:xfrm>
        </p:spPr>
        <p:txBody>
          <a:bodyPr>
            <a:normAutofit/>
          </a:bodyPr>
          <a:lstStyle>
            <a:lvl1pPr>
              <a:defRPr sz="1800" b="1">
                <a:solidFill>
                  <a:schemeClr val="bg2"/>
                </a:solidFill>
              </a:defRPr>
            </a:lvl1pPr>
          </a:lstStyle>
          <a:p>
            <a:pPr lvl="0"/>
            <a:r>
              <a:rPr lang="en-GB"/>
              <a:t>Click to edit Master text styles</a:t>
            </a:r>
          </a:p>
        </p:txBody>
      </p:sp>
      <p:sp>
        <p:nvSpPr>
          <p:cNvPr id="23" name="Picture Placeholder 3">
            <a:extLst>
              <a:ext uri="{FF2B5EF4-FFF2-40B4-BE49-F238E27FC236}">
                <a16:creationId xmlns:a16="http://schemas.microsoft.com/office/drawing/2014/main" id="{92691027-CA0E-E24A-BE52-C681CD1360B7}"/>
              </a:ext>
            </a:extLst>
          </p:cNvPr>
          <p:cNvSpPr>
            <a:spLocks noGrp="1"/>
          </p:cNvSpPr>
          <p:nvPr>
            <p:ph type="pic" sz="quarter" idx="20"/>
          </p:nvPr>
        </p:nvSpPr>
        <p:spPr>
          <a:xfrm>
            <a:off x="6498773" y="1304925"/>
            <a:ext cx="869950" cy="869950"/>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4" name="Text Placeholder 6">
            <a:extLst>
              <a:ext uri="{FF2B5EF4-FFF2-40B4-BE49-F238E27FC236}">
                <a16:creationId xmlns:a16="http://schemas.microsoft.com/office/drawing/2014/main" id="{6C29C828-D0AF-8740-B636-DCE11FB0484F}"/>
              </a:ext>
            </a:extLst>
          </p:cNvPr>
          <p:cNvSpPr>
            <a:spLocks noGrp="1"/>
          </p:cNvSpPr>
          <p:nvPr>
            <p:ph type="body" sz="quarter" idx="21"/>
          </p:nvPr>
        </p:nvSpPr>
        <p:spPr>
          <a:xfrm>
            <a:off x="7532235" y="1687057"/>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25" name="Text Placeholder 6">
            <a:extLst>
              <a:ext uri="{FF2B5EF4-FFF2-40B4-BE49-F238E27FC236}">
                <a16:creationId xmlns:a16="http://schemas.microsoft.com/office/drawing/2014/main" id="{58CECF4C-60E6-054F-A58B-39ED49ED6AD2}"/>
              </a:ext>
            </a:extLst>
          </p:cNvPr>
          <p:cNvSpPr>
            <a:spLocks noGrp="1"/>
          </p:cNvSpPr>
          <p:nvPr>
            <p:ph type="body" sz="quarter" idx="22"/>
          </p:nvPr>
        </p:nvSpPr>
        <p:spPr>
          <a:xfrm>
            <a:off x="7532235" y="1304925"/>
            <a:ext cx="4143829" cy="382135"/>
          </a:xfrm>
        </p:spPr>
        <p:txBody>
          <a:bodyPr>
            <a:normAutofit/>
          </a:bodyPr>
          <a:lstStyle>
            <a:lvl1pPr>
              <a:defRPr sz="1800" b="1">
                <a:solidFill>
                  <a:schemeClr val="bg2"/>
                </a:solidFill>
              </a:defRPr>
            </a:lvl1pPr>
          </a:lstStyle>
          <a:p>
            <a:pPr lvl="0"/>
            <a:r>
              <a:rPr lang="en-GB"/>
              <a:t>Click to edit Master text styles</a:t>
            </a:r>
          </a:p>
        </p:txBody>
      </p:sp>
      <p:sp>
        <p:nvSpPr>
          <p:cNvPr id="26" name="Picture Placeholder 3">
            <a:extLst>
              <a:ext uri="{FF2B5EF4-FFF2-40B4-BE49-F238E27FC236}">
                <a16:creationId xmlns:a16="http://schemas.microsoft.com/office/drawing/2014/main" id="{CD7BB1DF-4B0D-0046-AD00-F6E58908BDED}"/>
              </a:ext>
            </a:extLst>
          </p:cNvPr>
          <p:cNvSpPr>
            <a:spLocks noGrp="1"/>
          </p:cNvSpPr>
          <p:nvPr>
            <p:ph type="pic" sz="quarter" idx="23"/>
          </p:nvPr>
        </p:nvSpPr>
        <p:spPr>
          <a:xfrm>
            <a:off x="6498773" y="3786232"/>
            <a:ext cx="869950" cy="869950"/>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7" name="Text Placeholder 6">
            <a:extLst>
              <a:ext uri="{FF2B5EF4-FFF2-40B4-BE49-F238E27FC236}">
                <a16:creationId xmlns:a16="http://schemas.microsoft.com/office/drawing/2014/main" id="{FDABD8D9-C71A-A446-8E62-82A359216E99}"/>
              </a:ext>
            </a:extLst>
          </p:cNvPr>
          <p:cNvSpPr>
            <a:spLocks noGrp="1"/>
          </p:cNvSpPr>
          <p:nvPr>
            <p:ph type="body" sz="quarter" idx="24"/>
          </p:nvPr>
        </p:nvSpPr>
        <p:spPr>
          <a:xfrm>
            <a:off x="7532235" y="4168364"/>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28" name="Text Placeholder 6">
            <a:extLst>
              <a:ext uri="{FF2B5EF4-FFF2-40B4-BE49-F238E27FC236}">
                <a16:creationId xmlns:a16="http://schemas.microsoft.com/office/drawing/2014/main" id="{0340EBB2-1491-9444-9D25-3567B2AAB22F}"/>
              </a:ext>
            </a:extLst>
          </p:cNvPr>
          <p:cNvSpPr>
            <a:spLocks noGrp="1"/>
          </p:cNvSpPr>
          <p:nvPr>
            <p:ph type="body" sz="quarter" idx="25"/>
          </p:nvPr>
        </p:nvSpPr>
        <p:spPr>
          <a:xfrm>
            <a:off x="7532235" y="3786232"/>
            <a:ext cx="4143829" cy="382135"/>
          </a:xfrm>
        </p:spPr>
        <p:txBody>
          <a:bodyPr>
            <a:normAutofit/>
          </a:bodyPr>
          <a:lstStyle>
            <a:lvl1pPr>
              <a:defRPr sz="1800"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410377206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Flow Chart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United Against Rabies Forum Meeting - 6-8 November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grpSp>
        <p:nvGrpSpPr>
          <p:cNvPr id="18" name="Group 17">
            <a:extLst>
              <a:ext uri="{FF2B5EF4-FFF2-40B4-BE49-F238E27FC236}">
                <a16:creationId xmlns:a16="http://schemas.microsoft.com/office/drawing/2014/main" id="{5498C8CE-3879-2F54-526A-4FB3BC35A614}"/>
              </a:ext>
            </a:extLst>
          </p:cNvPr>
          <p:cNvGrpSpPr/>
          <p:nvPr userDrawn="1"/>
        </p:nvGrpSpPr>
        <p:grpSpPr>
          <a:xfrm>
            <a:off x="506981" y="2354656"/>
            <a:ext cx="11169081" cy="3558782"/>
            <a:chOff x="506982" y="1923728"/>
            <a:chExt cx="8410120" cy="2679700"/>
          </a:xfrm>
        </p:grpSpPr>
        <p:pic>
          <p:nvPicPr>
            <p:cNvPr id="3" name="Graphic 2">
              <a:extLst>
                <a:ext uri="{FF2B5EF4-FFF2-40B4-BE49-F238E27FC236}">
                  <a16:creationId xmlns:a16="http://schemas.microsoft.com/office/drawing/2014/main" id="{FF8E22B8-C626-33CF-AF31-C216F153582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6859702" y="1923728"/>
              <a:ext cx="2057400" cy="2679700"/>
            </a:xfrm>
            <a:prstGeom prst="rect">
              <a:avLst/>
            </a:prstGeom>
          </p:spPr>
        </p:pic>
        <p:pic>
          <p:nvPicPr>
            <p:cNvPr id="5" name="Graphic 4">
              <a:extLst>
                <a:ext uri="{FF2B5EF4-FFF2-40B4-BE49-F238E27FC236}">
                  <a16:creationId xmlns:a16="http://schemas.microsoft.com/office/drawing/2014/main" id="{51CC370D-D55C-CF1D-A84D-FC3FD269EFA7}"/>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733662" y="1923728"/>
              <a:ext cx="2209800" cy="2679700"/>
            </a:xfrm>
            <a:prstGeom prst="rect">
              <a:avLst/>
            </a:prstGeom>
          </p:spPr>
        </p:pic>
        <p:pic>
          <p:nvPicPr>
            <p:cNvPr id="8" name="Graphic 7">
              <a:extLst>
                <a:ext uri="{FF2B5EF4-FFF2-40B4-BE49-F238E27FC236}">
                  <a16:creationId xmlns:a16="http://schemas.microsoft.com/office/drawing/2014/main" id="{0CF38F8D-CE10-398F-DC92-0410984D5CA9}"/>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2607622" y="1923728"/>
              <a:ext cx="2209800" cy="2679700"/>
            </a:xfrm>
            <a:prstGeom prst="rect">
              <a:avLst/>
            </a:prstGeom>
          </p:spPr>
        </p:pic>
        <p:pic>
          <p:nvPicPr>
            <p:cNvPr id="11" name="Graphic 10">
              <a:extLst>
                <a:ext uri="{FF2B5EF4-FFF2-40B4-BE49-F238E27FC236}">
                  <a16:creationId xmlns:a16="http://schemas.microsoft.com/office/drawing/2014/main" id="{71C8FE21-D454-2669-5018-BDB88B7A469E}"/>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506982" y="1923728"/>
              <a:ext cx="2184400" cy="2679700"/>
            </a:xfrm>
            <a:prstGeom prst="rect">
              <a:avLst/>
            </a:prstGeom>
          </p:spPr>
        </p:pic>
      </p:grpSp>
      <p:sp>
        <p:nvSpPr>
          <p:cNvPr id="20" name="Text Placeholder 8">
            <a:extLst>
              <a:ext uri="{FF2B5EF4-FFF2-40B4-BE49-F238E27FC236}">
                <a16:creationId xmlns:a16="http://schemas.microsoft.com/office/drawing/2014/main" id="{469A369E-3216-3A94-D069-C4212D6C5B2A}"/>
              </a:ext>
            </a:extLst>
          </p:cNvPr>
          <p:cNvSpPr>
            <a:spLocks noGrp="1"/>
          </p:cNvSpPr>
          <p:nvPr>
            <p:ph type="body" idx="13"/>
          </p:nvPr>
        </p:nvSpPr>
        <p:spPr>
          <a:xfrm>
            <a:off x="531133" y="1304925"/>
            <a:ext cx="11144930" cy="853194"/>
          </a:xfrm>
        </p:spPr>
        <p:txBody>
          <a:bodyPr numCol="1" spcCol="180000"/>
          <a:lstStyle>
            <a:lvl1pPr marL="0" indent="0">
              <a:spcAft>
                <a:spcPts val="600"/>
              </a:spcAft>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21" name="Text Placeholder 6">
            <a:extLst>
              <a:ext uri="{FF2B5EF4-FFF2-40B4-BE49-F238E27FC236}">
                <a16:creationId xmlns:a16="http://schemas.microsoft.com/office/drawing/2014/main" id="{8A9C1315-921F-285F-D6BD-A177DE53DC2E}"/>
              </a:ext>
            </a:extLst>
          </p:cNvPr>
          <p:cNvSpPr>
            <a:spLocks noGrp="1"/>
          </p:cNvSpPr>
          <p:nvPr>
            <p:ph type="body" sz="quarter" idx="15"/>
          </p:nvPr>
        </p:nvSpPr>
        <p:spPr>
          <a:xfrm>
            <a:off x="675643" y="3054704"/>
            <a:ext cx="2290922" cy="2745803"/>
          </a:xfrm>
        </p:spPr>
        <p:txBody>
          <a:bodyPr>
            <a:normAutofit/>
          </a:bodyPr>
          <a:lstStyle>
            <a:lvl1pPr marL="177800" indent="-177800">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22" name="Text Placeholder 6">
            <a:extLst>
              <a:ext uri="{FF2B5EF4-FFF2-40B4-BE49-F238E27FC236}">
                <a16:creationId xmlns:a16="http://schemas.microsoft.com/office/drawing/2014/main" id="{4F0999A6-8092-1A74-E3A2-26CC341F65C7}"/>
              </a:ext>
            </a:extLst>
          </p:cNvPr>
          <p:cNvSpPr>
            <a:spLocks noGrp="1"/>
          </p:cNvSpPr>
          <p:nvPr>
            <p:ph type="body" sz="quarter" idx="16"/>
          </p:nvPr>
        </p:nvSpPr>
        <p:spPr>
          <a:xfrm>
            <a:off x="675643" y="2501966"/>
            <a:ext cx="2290922" cy="443198"/>
          </a:xfrm>
        </p:spPr>
        <p:txBody>
          <a:bodyPr wrap="square" anchor="ctr">
            <a:noAutofit/>
          </a:bodyPr>
          <a:lstStyle>
            <a:lvl1pPr>
              <a:lnSpc>
                <a:spcPct val="90000"/>
              </a:lnSpc>
              <a:defRPr sz="2000" b="1">
                <a:solidFill>
                  <a:schemeClr val="bg2"/>
                </a:solidFill>
              </a:defRPr>
            </a:lvl1pPr>
          </a:lstStyle>
          <a:p>
            <a:pPr lvl="0"/>
            <a:r>
              <a:rPr lang="en-GB"/>
              <a:t>Click to edit Master text styles</a:t>
            </a:r>
          </a:p>
        </p:txBody>
      </p:sp>
      <p:sp>
        <p:nvSpPr>
          <p:cNvPr id="26" name="Text Placeholder 6">
            <a:extLst>
              <a:ext uri="{FF2B5EF4-FFF2-40B4-BE49-F238E27FC236}">
                <a16:creationId xmlns:a16="http://schemas.microsoft.com/office/drawing/2014/main" id="{F5E81801-D408-BD68-8EF8-821176E4315D}"/>
              </a:ext>
            </a:extLst>
          </p:cNvPr>
          <p:cNvSpPr>
            <a:spLocks noGrp="1"/>
          </p:cNvSpPr>
          <p:nvPr>
            <p:ph type="body" sz="quarter" idx="17"/>
          </p:nvPr>
        </p:nvSpPr>
        <p:spPr>
          <a:xfrm>
            <a:off x="3583362" y="3054704"/>
            <a:ext cx="2231105" cy="2745803"/>
          </a:xfrm>
        </p:spPr>
        <p:txBody>
          <a:bodyPr>
            <a:normAutofit/>
          </a:bodyPr>
          <a:lstStyle>
            <a:lvl1pPr marL="177800" indent="-177800">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27" name="Text Placeholder 6">
            <a:extLst>
              <a:ext uri="{FF2B5EF4-FFF2-40B4-BE49-F238E27FC236}">
                <a16:creationId xmlns:a16="http://schemas.microsoft.com/office/drawing/2014/main" id="{FE29D8EA-6114-4150-3B97-EAD0BB047B28}"/>
              </a:ext>
            </a:extLst>
          </p:cNvPr>
          <p:cNvSpPr>
            <a:spLocks noGrp="1"/>
          </p:cNvSpPr>
          <p:nvPr>
            <p:ph type="body" sz="quarter" idx="18"/>
          </p:nvPr>
        </p:nvSpPr>
        <p:spPr>
          <a:xfrm>
            <a:off x="3583362" y="2501966"/>
            <a:ext cx="2231105" cy="443198"/>
          </a:xfrm>
        </p:spPr>
        <p:txBody>
          <a:bodyPr wrap="square" anchor="ctr">
            <a:noAutofit/>
          </a:bodyPr>
          <a:lstStyle>
            <a:lvl1pPr>
              <a:lnSpc>
                <a:spcPct val="90000"/>
              </a:lnSpc>
              <a:defRPr sz="2000" b="1">
                <a:solidFill>
                  <a:schemeClr val="accent1"/>
                </a:solidFill>
              </a:defRPr>
            </a:lvl1pPr>
          </a:lstStyle>
          <a:p>
            <a:pPr lvl="0"/>
            <a:r>
              <a:rPr lang="en-GB"/>
              <a:t>Click to edit Master text styles</a:t>
            </a:r>
          </a:p>
        </p:txBody>
      </p:sp>
      <p:sp>
        <p:nvSpPr>
          <p:cNvPr id="28" name="Text Placeholder 6">
            <a:extLst>
              <a:ext uri="{FF2B5EF4-FFF2-40B4-BE49-F238E27FC236}">
                <a16:creationId xmlns:a16="http://schemas.microsoft.com/office/drawing/2014/main" id="{832C3EE2-E731-14E8-F235-F0DC107603F1}"/>
              </a:ext>
            </a:extLst>
          </p:cNvPr>
          <p:cNvSpPr>
            <a:spLocks noGrp="1"/>
          </p:cNvSpPr>
          <p:nvPr>
            <p:ph type="body" sz="quarter" idx="19"/>
          </p:nvPr>
        </p:nvSpPr>
        <p:spPr>
          <a:xfrm>
            <a:off x="6396559" y="3054704"/>
            <a:ext cx="2251850" cy="2745803"/>
          </a:xfrm>
        </p:spPr>
        <p:txBody>
          <a:bodyPr>
            <a:normAutofit/>
          </a:bodyPr>
          <a:lstStyle>
            <a:lvl1pPr marL="177800" indent="-177800">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29" name="Text Placeholder 6">
            <a:extLst>
              <a:ext uri="{FF2B5EF4-FFF2-40B4-BE49-F238E27FC236}">
                <a16:creationId xmlns:a16="http://schemas.microsoft.com/office/drawing/2014/main" id="{3514D2BC-4EB5-482F-640F-D4ECA3398E7B}"/>
              </a:ext>
            </a:extLst>
          </p:cNvPr>
          <p:cNvSpPr>
            <a:spLocks noGrp="1"/>
          </p:cNvSpPr>
          <p:nvPr>
            <p:ph type="body" sz="quarter" idx="20"/>
          </p:nvPr>
        </p:nvSpPr>
        <p:spPr>
          <a:xfrm>
            <a:off x="6396559" y="2501966"/>
            <a:ext cx="2251850" cy="443198"/>
          </a:xfrm>
        </p:spPr>
        <p:txBody>
          <a:bodyPr wrap="square" anchor="ctr">
            <a:noAutofit/>
          </a:bodyPr>
          <a:lstStyle>
            <a:lvl1pPr>
              <a:lnSpc>
                <a:spcPct val="90000"/>
              </a:lnSpc>
              <a:defRPr sz="2000" b="1">
                <a:solidFill>
                  <a:schemeClr val="accent4"/>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176B8D71-6027-E9D4-DE0B-4336DE4C8765}"/>
              </a:ext>
            </a:extLst>
          </p:cNvPr>
          <p:cNvSpPr>
            <a:spLocks noGrp="1"/>
          </p:cNvSpPr>
          <p:nvPr>
            <p:ph type="body" sz="quarter" idx="21"/>
          </p:nvPr>
        </p:nvSpPr>
        <p:spPr>
          <a:xfrm>
            <a:off x="9244461" y="3054704"/>
            <a:ext cx="2290922" cy="2745803"/>
          </a:xfrm>
        </p:spPr>
        <p:txBody>
          <a:bodyPr>
            <a:normAutofit/>
          </a:bodyPr>
          <a:lstStyle>
            <a:lvl1pPr marL="177800" indent="-177800">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006DA17C-A871-793A-2C8F-F98A0EDA8ED0}"/>
              </a:ext>
            </a:extLst>
          </p:cNvPr>
          <p:cNvSpPr>
            <a:spLocks noGrp="1"/>
          </p:cNvSpPr>
          <p:nvPr>
            <p:ph type="body" sz="quarter" idx="22"/>
          </p:nvPr>
        </p:nvSpPr>
        <p:spPr>
          <a:xfrm>
            <a:off x="9244461" y="2501966"/>
            <a:ext cx="2290922" cy="443198"/>
          </a:xfrm>
        </p:spPr>
        <p:txBody>
          <a:bodyPr wrap="square" anchor="ctr">
            <a:noAutofit/>
          </a:bodyPr>
          <a:lstStyle>
            <a:lvl1pPr>
              <a:lnSpc>
                <a:spcPct val="90000"/>
              </a:lnSpc>
              <a:defRPr sz="2000" b="1">
                <a:solidFill>
                  <a:schemeClr val="accent5"/>
                </a:solidFill>
              </a:defRPr>
            </a:lvl1pPr>
          </a:lstStyle>
          <a:p>
            <a:pPr lvl="0"/>
            <a:r>
              <a:rPr lang="en-GB"/>
              <a:t>Click to edit Master text styles</a:t>
            </a:r>
          </a:p>
        </p:txBody>
      </p:sp>
    </p:spTree>
    <p:extLst>
      <p:ext uri="{BB962C8B-B14F-4D97-AF65-F5344CB8AC3E}">
        <p14:creationId xmlns:p14="http://schemas.microsoft.com/office/powerpoint/2010/main" val="1334008852"/>
      </p:ext>
    </p:extLst>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Text + 3 Objectiv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342900" indent="-342900">
              <a:buClr>
                <a:schemeClr val="bg2"/>
              </a:buClr>
              <a:buFont typeface="Arial" panose="020B0604020202020204" pitchFamily="34" charset="0"/>
              <a:buChar char="•"/>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23" name="Round Same-side Corner of Rectangle 22">
            <a:extLst>
              <a:ext uri="{FF2B5EF4-FFF2-40B4-BE49-F238E27FC236}">
                <a16:creationId xmlns:a16="http://schemas.microsoft.com/office/drawing/2014/main" id="{16D0EA1C-2C30-674C-9E0D-D3B85EFE8B44}"/>
              </a:ext>
            </a:extLst>
          </p:cNvPr>
          <p:cNvSpPr/>
          <p:nvPr userDrawn="1"/>
        </p:nvSpPr>
        <p:spPr>
          <a:xfrm rot="5400000" flipH="1">
            <a:off x="8698709" y="2420146"/>
            <a:ext cx="1350948" cy="5635632"/>
          </a:xfrm>
          <a:prstGeom prst="round2SameRect">
            <a:avLst>
              <a:gd name="adj1" fmla="val 0"/>
              <a:gd name="adj2"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lumMod val="85000"/>
                </a:schemeClr>
              </a:solidFill>
            </a:endParaRPr>
          </a:p>
        </p:txBody>
      </p:sp>
      <p:sp>
        <p:nvSpPr>
          <p:cNvPr id="24" name="Text Placeholder 6">
            <a:extLst>
              <a:ext uri="{FF2B5EF4-FFF2-40B4-BE49-F238E27FC236}">
                <a16:creationId xmlns:a16="http://schemas.microsoft.com/office/drawing/2014/main" id="{0933F7F4-7E4A-AD4A-B080-3883C01BCEA1}"/>
              </a:ext>
            </a:extLst>
          </p:cNvPr>
          <p:cNvSpPr>
            <a:spLocks noGrp="1"/>
          </p:cNvSpPr>
          <p:nvPr>
            <p:ph type="body" sz="quarter" idx="27"/>
          </p:nvPr>
        </p:nvSpPr>
        <p:spPr>
          <a:xfrm>
            <a:off x="7955149" y="5013397"/>
            <a:ext cx="3715133" cy="792044"/>
          </a:xfrm>
        </p:spPr>
        <p:txBody>
          <a:bodyPr anchor="t">
            <a:normAutofit/>
          </a:bodyPr>
          <a:lstStyle>
            <a:lvl1pPr marL="179388" indent="-179388">
              <a:lnSpc>
                <a:spcPct val="110000"/>
              </a:lnSpc>
              <a:spcBef>
                <a:spcPts val="0"/>
              </a:spcBef>
              <a:spcAft>
                <a:spcPts val="600"/>
              </a:spcAft>
              <a:buFont typeface="Arial" panose="020B0604020202020204" pitchFamily="34" charset="0"/>
              <a:buChar char="•"/>
              <a:tabLst/>
              <a:defRPr sz="1400" b="1">
                <a:solidFill>
                  <a:schemeClr val="bg1"/>
                </a:solidFill>
              </a:defRPr>
            </a:lvl1pPr>
          </a:lstStyle>
          <a:p>
            <a:pPr lvl="0"/>
            <a:r>
              <a:rPr lang="en-GB"/>
              <a:t>Click to edit Master text styles</a:t>
            </a:r>
          </a:p>
        </p:txBody>
      </p:sp>
      <p:sp>
        <p:nvSpPr>
          <p:cNvPr id="25" name="Text Placeholder 6">
            <a:extLst>
              <a:ext uri="{FF2B5EF4-FFF2-40B4-BE49-F238E27FC236}">
                <a16:creationId xmlns:a16="http://schemas.microsoft.com/office/drawing/2014/main" id="{66DF01F6-3014-6E4B-AB71-62673ED7268C}"/>
              </a:ext>
            </a:extLst>
          </p:cNvPr>
          <p:cNvSpPr>
            <a:spLocks noGrp="1"/>
          </p:cNvSpPr>
          <p:nvPr>
            <p:ph type="body" sz="quarter" idx="28" hasCustomPrompt="1"/>
          </p:nvPr>
        </p:nvSpPr>
        <p:spPr>
          <a:xfrm>
            <a:off x="7955149" y="4663313"/>
            <a:ext cx="1917616" cy="249259"/>
          </a:xfrm>
        </p:spPr>
        <p:txBody>
          <a:bodyPr anchor="t">
            <a:normAutofit/>
          </a:bodyPr>
          <a:lstStyle>
            <a:lvl1pPr algn="l">
              <a:lnSpc>
                <a:spcPct val="110000"/>
              </a:lnSpc>
              <a:spcAft>
                <a:spcPts val="600"/>
              </a:spcAft>
              <a:defRPr sz="1600" b="1">
                <a:solidFill>
                  <a:schemeClr val="tx2">
                    <a:lumMod val="40000"/>
                    <a:lumOff val="60000"/>
                  </a:schemeClr>
                </a:solidFill>
              </a:defRPr>
            </a:lvl1pPr>
          </a:lstStyle>
          <a:p>
            <a:pPr lvl="0"/>
            <a:r>
              <a:rPr lang="en-GB"/>
              <a:t>Title</a:t>
            </a:r>
          </a:p>
        </p:txBody>
      </p:sp>
      <p:sp>
        <p:nvSpPr>
          <p:cNvPr id="26" name="Picture Placeholder 3">
            <a:extLst>
              <a:ext uri="{FF2B5EF4-FFF2-40B4-BE49-F238E27FC236}">
                <a16:creationId xmlns:a16="http://schemas.microsoft.com/office/drawing/2014/main" id="{E49618F2-620F-A042-9095-E7C4C137E2ED}"/>
              </a:ext>
            </a:extLst>
          </p:cNvPr>
          <p:cNvSpPr>
            <a:spLocks noGrp="1"/>
          </p:cNvSpPr>
          <p:nvPr>
            <p:ph type="pic" sz="quarter" idx="29"/>
          </p:nvPr>
        </p:nvSpPr>
        <p:spPr>
          <a:xfrm>
            <a:off x="6957092" y="4846809"/>
            <a:ext cx="767874" cy="767874"/>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7" name="Round Same-side Corner of Rectangle 26">
            <a:extLst>
              <a:ext uri="{FF2B5EF4-FFF2-40B4-BE49-F238E27FC236}">
                <a16:creationId xmlns:a16="http://schemas.microsoft.com/office/drawing/2014/main" id="{CFB215F2-B96A-D14F-B549-E8D9FA660A0B}"/>
              </a:ext>
            </a:extLst>
          </p:cNvPr>
          <p:cNvSpPr/>
          <p:nvPr userDrawn="1"/>
        </p:nvSpPr>
        <p:spPr>
          <a:xfrm rot="5400000" flipH="1">
            <a:off x="8698709" y="791363"/>
            <a:ext cx="1350948" cy="5635632"/>
          </a:xfrm>
          <a:prstGeom prst="round2SameRect">
            <a:avLst>
              <a:gd name="adj1" fmla="val 0"/>
              <a:gd name="adj2"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lumMod val="85000"/>
                </a:schemeClr>
              </a:solidFill>
            </a:endParaRPr>
          </a:p>
        </p:txBody>
      </p:sp>
      <p:sp>
        <p:nvSpPr>
          <p:cNvPr id="28" name="Text Placeholder 6">
            <a:extLst>
              <a:ext uri="{FF2B5EF4-FFF2-40B4-BE49-F238E27FC236}">
                <a16:creationId xmlns:a16="http://schemas.microsoft.com/office/drawing/2014/main" id="{F2701821-5C13-4746-B598-28CE9EEFDFD0}"/>
              </a:ext>
            </a:extLst>
          </p:cNvPr>
          <p:cNvSpPr>
            <a:spLocks noGrp="1"/>
          </p:cNvSpPr>
          <p:nvPr>
            <p:ph type="body" sz="quarter" idx="30"/>
          </p:nvPr>
        </p:nvSpPr>
        <p:spPr>
          <a:xfrm>
            <a:off x="7955149" y="3384614"/>
            <a:ext cx="3715133" cy="792044"/>
          </a:xfrm>
        </p:spPr>
        <p:txBody>
          <a:bodyPr anchor="t">
            <a:normAutofit/>
          </a:bodyPr>
          <a:lstStyle>
            <a:lvl1pPr marL="179388" indent="-179388">
              <a:lnSpc>
                <a:spcPct val="110000"/>
              </a:lnSpc>
              <a:spcBef>
                <a:spcPts val="0"/>
              </a:spcBef>
              <a:spcAft>
                <a:spcPts val="600"/>
              </a:spcAft>
              <a:buFont typeface="Arial" panose="020B0604020202020204" pitchFamily="34" charset="0"/>
              <a:buChar char="•"/>
              <a:tabLst/>
              <a:defRPr sz="1400" b="1">
                <a:solidFill>
                  <a:schemeClr val="bg1"/>
                </a:solidFill>
              </a:defRPr>
            </a:lvl1pPr>
          </a:lstStyle>
          <a:p>
            <a:pPr lvl="0"/>
            <a:r>
              <a:rPr lang="en-GB"/>
              <a:t>Click to edit Master text styles</a:t>
            </a:r>
          </a:p>
        </p:txBody>
      </p:sp>
      <p:sp>
        <p:nvSpPr>
          <p:cNvPr id="29" name="Text Placeholder 6">
            <a:extLst>
              <a:ext uri="{FF2B5EF4-FFF2-40B4-BE49-F238E27FC236}">
                <a16:creationId xmlns:a16="http://schemas.microsoft.com/office/drawing/2014/main" id="{8C928579-FF9D-8E4F-912D-F44BF03ECF0E}"/>
              </a:ext>
            </a:extLst>
          </p:cNvPr>
          <p:cNvSpPr>
            <a:spLocks noGrp="1"/>
          </p:cNvSpPr>
          <p:nvPr>
            <p:ph type="body" sz="quarter" idx="31" hasCustomPrompt="1"/>
          </p:nvPr>
        </p:nvSpPr>
        <p:spPr>
          <a:xfrm>
            <a:off x="7955149" y="3034530"/>
            <a:ext cx="1917616" cy="249259"/>
          </a:xfrm>
        </p:spPr>
        <p:txBody>
          <a:bodyPr anchor="t">
            <a:normAutofit/>
          </a:bodyPr>
          <a:lstStyle>
            <a:lvl1pPr algn="l">
              <a:lnSpc>
                <a:spcPct val="110000"/>
              </a:lnSpc>
              <a:spcAft>
                <a:spcPts val="600"/>
              </a:spcAft>
              <a:defRPr sz="1600" b="1">
                <a:solidFill>
                  <a:schemeClr val="tx2">
                    <a:lumMod val="40000"/>
                    <a:lumOff val="60000"/>
                  </a:schemeClr>
                </a:solidFill>
              </a:defRPr>
            </a:lvl1pPr>
          </a:lstStyle>
          <a:p>
            <a:pPr lvl="0"/>
            <a:r>
              <a:rPr lang="en-GB"/>
              <a:t>Title</a:t>
            </a:r>
          </a:p>
        </p:txBody>
      </p:sp>
      <p:sp>
        <p:nvSpPr>
          <p:cNvPr id="30" name="Picture Placeholder 3">
            <a:extLst>
              <a:ext uri="{FF2B5EF4-FFF2-40B4-BE49-F238E27FC236}">
                <a16:creationId xmlns:a16="http://schemas.microsoft.com/office/drawing/2014/main" id="{B617E54E-8C7A-E24B-A3E6-FFD196430237}"/>
              </a:ext>
            </a:extLst>
          </p:cNvPr>
          <p:cNvSpPr>
            <a:spLocks noGrp="1"/>
          </p:cNvSpPr>
          <p:nvPr>
            <p:ph type="pic" sz="quarter" idx="32"/>
          </p:nvPr>
        </p:nvSpPr>
        <p:spPr>
          <a:xfrm>
            <a:off x="6957092" y="3218026"/>
            <a:ext cx="767874" cy="767874"/>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31" name="Round Same-side Corner of Rectangle 30">
            <a:extLst>
              <a:ext uri="{FF2B5EF4-FFF2-40B4-BE49-F238E27FC236}">
                <a16:creationId xmlns:a16="http://schemas.microsoft.com/office/drawing/2014/main" id="{468DF2F5-0340-4C4E-8BAB-B68D68BDB1CC}"/>
              </a:ext>
            </a:extLst>
          </p:cNvPr>
          <p:cNvSpPr/>
          <p:nvPr userDrawn="1"/>
        </p:nvSpPr>
        <p:spPr>
          <a:xfrm rot="5400000" flipH="1">
            <a:off x="8698709" y="-837418"/>
            <a:ext cx="1350948" cy="5635632"/>
          </a:xfrm>
          <a:prstGeom prst="round2SameRect">
            <a:avLst>
              <a:gd name="adj1" fmla="val 0"/>
              <a:gd name="adj2"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bg1">
                  <a:lumMod val="85000"/>
                </a:schemeClr>
              </a:solidFill>
            </a:endParaRPr>
          </a:p>
        </p:txBody>
      </p:sp>
      <p:sp>
        <p:nvSpPr>
          <p:cNvPr id="32" name="Text Placeholder 6">
            <a:extLst>
              <a:ext uri="{FF2B5EF4-FFF2-40B4-BE49-F238E27FC236}">
                <a16:creationId xmlns:a16="http://schemas.microsoft.com/office/drawing/2014/main" id="{8297A7AF-4FD1-0044-A50C-5C0CE488521B}"/>
              </a:ext>
            </a:extLst>
          </p:cNvPr>
          <p:cNvSpPr>
            <a:spLocks noGrp="1"/>
          </p:cNvSpPr>
          <p:nvPr>
            <p:ph type="body" sz="quarter" idx="33"/>
          </p:nvPr>
        </p:nvSpPr>
        <p:spPr>
          <a:xfrm>
            <a:off x="7955149" y="1755833"/>
            <a:ext cx="3715133" cy="792044"/>
          </a:xfrm>
        </p:spPr>
        <p:txBody>
          <a:bodyPr anchor="t">
            <a:normAutofit/>
          </a:bodyPr>
          <a:lstStyle>
            <a:lvl1pPr marL="179388" indent="-179388">
              <a:lnSpc>
                <a:spcPct val="110000"/>
              </a:lnSpc>
              <a:spcBef>
                <a:spcPts val="0"/>
              </a:spcBef>
              <a:spcAft>
                <a:spcPts val="600"/>
              </a:spcAft>
              <a:buFont typeface="Arial" panose="020B0604020202020204" pitchFamily="34" charset="0"/>
              <a:buChar char="•"/>
              <a:tabLst/>
              <a:defRPr sz="1400" b="1">
                <a:solidFill>
                  <a:schemeClr val="bg1"/>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6C19D012-767E-A845-8105-4B4C4887921E}"/>
              </a:ext>
            </a:extLst>
          </p:cNvPr>
          <p:cNvSpPr>
            <a:spLocks noGrp="1"/>
          </p:cNvSpPr>
          <p:nvPr>
            <p:ph type="body" sz="quarter" idx="34" hasCustomPrompt="1"/>
          </p:nvPr>
        </p:nvSpPr>
        <p:spPr>
          <a:xfrm>
            <a:off x="7955149" y="1405749"/>
            <a:ext cx="1917616" cy="249259"/>
          </a:xfrm>
        </p:spPr>
        <p:txBody>
          <a:bodyPr anchor="t">
            <a:normAutofit/>
          </a:bodyPr>
          <a:lstStyle>
            <a:lvl1pPr algn="l">
              <a:lnSpc>
                <a:spcPct val="110000"/>
              </a:lnSpc>
              <a:spcAft>
                <a:spcPts val="600"/>
              </a:spcAft>
              <a:defRPr sz="1600" b="1">
                <a:solidFill>
                  <a:schemeClr val="tx2">
                    <a:lumMod val="40000"/>
                    <a:lumOff val="60000"/>
                  </a:schemeClr>
                </a:solidFill>
              </a:defRPr>
            </a:lvl1pPr>
          </a:lstStyle>
          <a:p>
            <a:pPr lvl="0"/>
            <a:r>
              <a:rPr lang="en-GB"/>
              <a:t>Title</a:t>
            </a:r>
          </a:p>
        </p:txBody>
      </p:sp>
      <p:sp>
        <p:nvSpPr>
          <p:cNvPr id="34" name="Picture Placeholder 3">
            <a:extLst>
              <a:ext uri="{FF2B5EF4-FFF2-40B4-BE49-F238E27FC236}">
                <a16:creationId xmlns:a16="http://schemas.microsoft.com/office/drawing/2014/main" id="{DD5DD0FD-09C0-E049-944D-E6046E4FD565}"/>
              </a:ext>
            </a:extLst>
          </p:cNvPr>
          <p:cNvSpPr>
            <a:spLocks noGrp="1"/>
          </p:cNvSpPr>
          <p:nvPr>
            <p:ph type="pic" sz="quarter" idx="35"/>
          </p:nvPr>
        </p:nvSpPr>
        <p:spPr>
          <a:xfrm>
            <a:off x="6957092" y="1589245"/>
            <a:ext cx="767874" cy="767874"/>
          </a:xfrm>
        </p:spPr>
        <p:txBody>
          <a:bodyPr anchor="ctr">
            <a:noAutofit/>
          </a:bodyPr>
          <a:lstStyle>
            <a:lvl1pPr algn="ctr">
              <a:defRPr sz="1200">
                <a:solidFill>
                  <a:schemeClr val="bg1">
                    <a:lumMod val="65000"/>
                  </a:schemeClr>
                </a:solidFill>
              </a:defRPr>
            </a:lvl1pPr>
          </a:lstStyle>
          <a:p>
            <a:r>
              <a:rPr lang="en-GB"/>
              <a:t>Click icon to add picture</a:t>
            </a:r>
          </a:p>
        </p:txBody>
      </p:sp>
    </p:spTree>
    <p:extLst>
      <p:ext uri="{BB962C8B-B14F-4D97-AF65-F5344CB8AC3E}">
        <p14:creationId xmlns:p14="http://schemas.microsoft.com/office/powerpoint/2010/main" val="2028690077"/>
      </p:ext>
    </p:extLst>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Flow Chart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grpSp>
        <p:nvGrpSpPr>
          <p:cNvPr id="18" name="Group 17">
            <a:extLst>
              <a:ext uri="{FF2B5EF4-FFF2-40B4-BE49-F238E27FC236}">
                <a16:creationId xmlns:a16="http://schemas.microsoft.com/office/drawing/2014/main" id="{5498C8CE-3879-2F54-526A-4FB3BC35A614}"/>
              </a:ext>
            </a:extLst>
          </p:cNvPr>
          <p:cNvGrpSpPr/>
          <p:nvPr userDrawn="1"/>
        </p:nvGrpSpPr>
        <p:grpSpPr>
          <a:xfrm>
            <a:off x="506981" y="2354656"/>
            <a:ext cx="11169081" cy="3558782"/>
            <a:chOff x="506982" y="1923728"/>
            <a:chExt cx="8410120" cy="2679700"/>
          </a:xfrm>
        </p:grpSpPr>
        <p:pic>
          <p:nvPicPr>
            <p:cNvPr id="3" name="Graphic 2">
              <a:extLst>
                <a:ext uri="{FF2B5EF4-FFF2-40B4-BE49-F238E27FC236}">
                  <a16:creationId xmlns:a16="http://schemas.microsoft.com/office/drawing/2014/main" id="{FF8E22B8-C626-33CF-AF31-C216F153582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6859702" y="1923728"/>
              <a:ext cx="2057400" cy="2679700"/>
            </a:xfrm>
            <a:prstGeom prst="rect">
              <a:avLst/>
            </a:prstGeom>
          </p:spPr>
        </p:pic>
        <p:pic>
          <p:nvPicPr>
            <p:cNvPr id="5" name="Graphic 4">
              <a:extLst>
                <a:ext uri="{FF2B5EF4-FFF2-40B4-BE49-F238E27FC236}">
                  <a16:creationId xmlns:a16="http://schemas.microsoft.com/office/drawing/2014/main" id="{51CC370D-D55C-CF1D-A84D-FC3FD269EFA7}"/>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733662" y="1923728"/>
              <a:ext cx="2209800" cy="2679700"/>
            </a:xfrm>
            <a:prstGeom prst="rect">
              <a:avLst/>
            </a:prstGeom>
          </p:spPr>
        </p:pic>
        <p:pic>
          <p:nvPicPr>
            <p:cNvPr id="8" name="Graphic 7">
              <a:extLst>
                <a:ext uri="{FF2B5EF4-FFF2-40B4-BE49-F238E27FC236}">
                  <a16:creationId xmlns:a16="http://schemas.microsoft.com/office/drawing/2014/main" id="{0CF38F8D-CE10-398F-DC92-0410984D5CA9}"/>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2607622" y="1923728"/>
              <a:ext cx="2209800" cy="2679700"/>
            </a:xfrm>
            <a:prstGeom prst="rect">
              <a:avLst/>
            </a:prstGeom>
          </p:spPr>
        </p:pic>
        <p:pic>
          <p:nvPicPr>
            <p:cNvPr id="11" name="Graphic 10">
              <a:extLst>
                <a:ext uri="{FF2B5EF4-FFF2-40B4-BE49-F238E27FC236}">
                  <a16:creationId xmlns:a16="http://schemas.microsoft.com/office/drawing/2014/main" id="{71C8FE21-D454-2669-5018-BDB88B7A469E}"/>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506982" y="1923728"/>
              <a:ext cx="2184400" cy="2679700"/>
            </a:xfrm>
            <a:prstGeom prst="rect">
              <a:avLst/>
            </a:prstGeom>
          </p:spPr>
        </p:pic>
      </p:grpSp>
      <p:sp>
        <p:nvSpPr>
          <p:cNvPr id="20" name="Text Placeholder 8">
            <a:extLst>
              <a:ext uri="{FF2B5EF4-FFF2-40B4-BE49-F238E27FC236}">
                <a16:creationId xmlns:a16="http://schemas.microsoft.com/office/drawing/2014/main" id="{469A369E-3216-3A94-D069-C4212D6C5B2A}"/>
              </a:ext>
            </a:extLst>
          </p:cNvPr>
          <p:cNvSpPr>
            <a:spLocks noGrp="1"/>
          </p:cNvSpPr>
          <p:nvPr>
            <p:ph type="body" idx="13"/>
          </p:nvPr>
        </p:nvSpPr>
        <p:spPr>
          <a:xfrm>
            <a:off x="531133" y="1304925"/>
            <a:ext cx="11144930" cy="853194"/>
          </a:xfrm>
        </p:spPr>
        <p:txBody>
          <a:bodyPr numCol="1" spcCol="180000"/>
          <a:lstStyle>
            <a:lvl1pPr marL="0" indent="0">
              <a:spcAft>
                <a:spcPts val="600"/>
              </a:spcAft>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21" name="Text Placeholder 6">
            <a:extLst>
              <a:ext uri="{FF2B5EF4-FFF2-40B4-BE49-F238E27FC236}">
                <a16:creationId xmlns:a16="http://schemas.microsoft.com/office/drawing/2014/main" id="{8A9C1315-921F-285F-D6BD-A177DE53DC2E}"/>
              </a:ext>
            </a:extLst>
          </p:cNvPr>
          <p:cNvSpPr>
            <a:spLocks noGrp="1"/>
          </p:cNvSpPr>
          <p:nvPr>
            <p:ph type="body" sz="quarter" idx="15"/>
          </p:nvPr>
        </p:nvSpPr>
        <p:spPr>
          <a:xfrm>
            <a:off x="675643" y="3054704"/>
            <a:ext cx="2290922" cy="2745803"/>
          </a:xfrm>
        </p:spPr>
        <p:txBody>
          <a:bodyPr>
            <a:normAutofit/>
          </a:bodyPr>
          <a:lstStyle>
            <a:lvl1pPr marL="177800" indent="-177800">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22" name="Text Placeholder 6">
            <a:extLst>
              <a:ext uri="{FF2B5EF4-FFF2-40B4-BE49-F238E27FC236}">
                <a16:creationId xmlns:a16="http://schemas.microsoft.com/office/drawing/2014/main" id="{4F0999A6-8092-1A74-E3A2-26CC341F65C7}"/>
              </a:ext>
            </a:extLst>
          </p:cNvPr>
          <p:cNvSpPr>
            <a:spLocks noGrp="1"/>
          </p:cNvSpPr>
          <p:nvPr>
            <p:ph type="body" sz="quarter" idx="16"/>
          </p:nvPr>
        </p:nvSpPr>
        <p:spPr>
          <a:xfrm>
            <a:off x="675643" y="2501966"/>
            <a:ext cx="2290922" cy="443198"/>
          </a:xfrm>
        </p:spPr>
        <p:txBody>
          <a:bodyPr wrap="square" anchor="ctr">
            <a:noAutofit/>
          </a:bodyPr>
          <a:lstStyle>
            <a:lvl1pPr>
              <a:lnSpc>
                <a:spcPct val="90000"/>
              </a:lnSpc>
              <a:defRPr sz="2000" b="1">
                <a:solidFill>
                  <a:schemeClr val="bg2"/>
                </a:solidFill>
              </a:defRPr>
            </a:lvl1pPr>
          </a:lstStyle>
          <a:p>
            <a:pPr lvl="0"/>
            <a:r>
              <a:rPr lang="en-GB"/>
              <a:t>Click to edit Master text styles</a:t>
            </a:r>
          </a:p>
        </p:txBody>
      </p:sp>
      <p:sp>
        <p:nvSpPr>
          <p:cNvPr id="26" name="Text Placeholder 6">
            <a:extLst>
              <a:ext uri="{FF2B5EF4-FFF2-40B4-BE49-F238E27FC236}">
                <a16:creationId xmlns:a16="http://schemas.microsoft.com/office/drawing/2014/main" id="{F5E81801-D408-BD68-8EF8-821176E4315D}"/>
              </a:ext>
            </a:extLst>
          </p:cNvPr>
          <p:cNvSpPr>
            <a:spLocks noGrp="1"/>
          </p:cNvSpPr>
          <p:nvPr>
            <p:ph type="body" sz="quarter" idx="17"/>
          </p:nvPr>
        </p:nvSpPr>
        <p:spPr>
          <a:xfrm>
            <a:off x="3583362" y="3054704"/>
            <a:ext cx="2231105" cy="2745803"/>
          </a:xfrm>
        </p:spPr>
        <p:txBody>
          <a:bodyPr>
            <a:normAutofit/>
          </a:bodyPr>
          <a:lstStyle>
            <a:lvl1pPr marL="177800" indent="-177800">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27" name="Text Placeholder 6">
            <a:extLst>
              <a:ext uri="{FF2B5EF4-FFF2-40B4-BE49-F238E27FC236}">
                <a16:creationId xmlns:a16="http://schemas.microsoft.com/office/drawing/2014/main" id="{FE29D8EA-6114-4150-3B97-EAD0BB047B28}"/>
              </a:ext>
            </a:extLst>
          </p:cNvPr>
          <p:cNvSpPr>
            <a:spLocks noGrp="1"/>
          </p:cNvSpPr>
          <p:nvPr>
            <p:ph type="body" sz="quarter" idx="18"/>
          </p:nvPr>
        </p:nvSpPr>
        <p:spPr>
          <a:xfrm>
            <a:off x="3583362" y="2501966"/>
            <a:ext cx="2231105" cy="443198"/>
          </a:xfrm>
        </p:spPr>
        <p:txBody>
          <a:bodyPr wrap="square" anchor="ctr">
            <a:noAutofit/>
          </a:bodyPr>
          <a:lstStyle>
            <a:lvl1pPr>
              <a:lnSpc>
                <a:spcPct val="90000"/>
              </a:lnSpc>
              <a:defRPr sz="2000" b="1">
                <a:solidFill>
                  <a:schemeClr val="accent1"/>
                </a:solidFill>
              </a:defRPr>
            </a:lvl1pPr>
          </a:lstStyle>
          <a:p>
            <a:pPr lvl="0"/>
            <a:r>
              <a:rPr lang="en-GB"/>
              <a:t>Click to edit Master text styles</a:t>
            </a:r>
          </a:p>
        </p:txBody>
      </p:sp>
      <p:sp>
        <p:nvSpPr>
          <p:cNvPr id="28" name="Text Placeholder 6">
            <a:extLst>
              <a:ext uri="{FF2B5EF4-FFF2-40B4-BE49-F238E27FC236}">
                <a16:creationId xmlns:a16="http://schemas.microsoft.com/office/drawing/2014/main" id="{832C3EE2-E731-14E8-F235-F0DC107603F1}"/>
              </a:ext>
            </a:extLst>
          </p:cNvPr>
          <p:cNvSpPr>
            <a:spLocks noGrp="1"/>
          </p:cNvSpPr>
          <p:nvPr>
            <p:ph type="body" sz="quarter" idx="19"/>
          </p:nvPr>
        </p:nvSpPr>
        <p:spPr>
          <a:xfrm>
            <a:off x="6396559" y="3054704"/>
            <a:ext cx="2251850" cy="2745803"/>
          </a:xfrm>
        </p:spPr>
        <p:txBody>
          <a:bodyPr>
            <a:normAutofit/>
          </a:bodyPr>
          <a:lstStyle>
            <a:lvl1pPr marL="177800" indent="-177800">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29" name="Text Placeholder 6">
            <a:extLst>
              <a:ext uri="{FF2B5EF4-FFF2-40B4-BE49-F238E27FC236}">
                <a16:creationId xmlns:a16="http://schemas.microsoft.com/office/drawing/2014/main" id="{3514D2BC-4EB5-482F-640F-D4ECA3398E7B}"/>
              </a:ext>
            </a:extLst>
          </p:cNvPr>
          <p:cNvSpPr>
            <a:spLocks noGrp="1"/>
          </p:cNvSpPr>
          <p:nvPr>
            <p:ph type="body" sz="quarter" idx="20"/>
          </p:nvPr>
        </p:nvSpPr>
        <p:spPr>
          <a:xfrm>
            <a:off x="6396559" y="2501966"/>
            <a:ext cx="2251850" cy="443198"/>
          </a:xfrm>
        </p:spPr>
        <p:txBody>
          <a:bodyPr wrap="square" anchor="ctr">
            <a:noAutofit/>
          </a:bodyPr>
          <a:lstStyle>
            <a:lvl1pPr>
              <a:lnSpc>
                <a:spcPct val="90000"/>
              </a:lnSpc>
              <a:defRPr sz="2000" b="1">
                <a:solidFill>
                  <a:schemeClr val="accent4"/>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176B8D71-6027-E9D4-DE0B-4336DE4C8765}"/>
              </a:ext>
            </a:extLst>
          </p:cNvPr>
          <p:cNvSpPr>
            <a:spLocks noGrp="1"/>
          </p:cNvSpPr>
          <p:nvPr>
            <p:ph type="body" sz="quarter" idx="21"/>
          </p:nvPr>
        </p:nvSpPr>
        <p:spPr>
          <a:xfrm>
            <a:off x="9244461" y="3054704"/>
            <a:ext cx="2290922" cy="2745803"/>
          </a:xfrm>
        </p:spPr>
        <p:txBody>
          <a:bodyPr>
            <a:normAutofit/>
          </a:bodyPr>
          <a:lstStyle>
            <a:lvl1pPr marL="177800" indent="-177800">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006DA17C-A871-793A-2C8F-F98A0EDA8ED0}"/>
              </a:ext>
            </a:extLst>
          </p:cNvPr>
          <p:cNvSpPr>
            <a:spLocks noGrp="1"/>
          </p:cNvSpPr>
          <p:nvPr>
            <p:ph type="body" sz="quarter" idx="22"/>
          </p:nvPr>
        </p:nvSpPr>
        <p:spPr>
          <a:xfrm>
            <a:off x="9244461" y="2501966"/>
            <a:ext cx="2290922" cy="443198"/>
          </a:xfrm>
        </p:spPr>
        <p:txBody>
          <a:bodyPr wrap="square" anchor="ctr">
            <a:noAutofit/>
          </a:bodyPr>
          <a:lstStyle>
            <a:lvl1pPr>
              <a:lnSpc>
                <a:spcPct val="90000"/>
              </a:lnSpc>
              <a:defRPr sz="2000" b="1">
                <a:solidFill>
                  <a:schemeClr val="accent5"/>
                </a:solidFill>
              </a:defRPr>
            </a:lvl1pPr>
          </a:lstStyle>
          <a:p>
            <a:pPr lvl="0"/>
            <a:r>
              <a:rPr lang="en-GB"/>
              <a:t>Click to edit Master text styles</a:t>
            </a:r>
          </a:p>
        </p:txBody>
      </p:sp>
    </p:spTree>
    <p:extLst>
      <p:ext uri="{BB962C8B-B14F-4D97-AF65-F5344CB8AC3E}">
        <p14:creationId xmlns:p14="http://schemas.microsoft.com/office/powerpoint/2010/main" val="3498184236"/>
      </p:ext>
    </p:extLst>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Text + Quot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63869"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8" name="Slide Number Placeholder 2">
            <a:extLst>
              <a:ext uri="{FF2B5EF4-FFF2-40B4-BE49-F238E27FC236}">
                <a16:creationId xmlns:a16="http://schemas.microsoft.com/office/drawing/2014/main" id="{8D67BD3D-5E5B-2957-7B72-B286DEA69454}"/>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9" name="Straight Connector 18">
            <a:extLst>
              <a:ext uri="{FF2B5EF4-FFF2-40B4-BE49-F238E27FC236}">
                <a16:creationId xmlns:a16="http://schemas.microsoft.com/office/drawing/2014/main" id="{11DD0B93-9CA3-DE96-64E9-7FECBAD37972}"/>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0" name="Footer Placeholder 1">
            <a:extLst>
              <a:ext uri="{FF2B5EF4-FFF2-40B4-BE49-F238E27FC236}">
                <a16:creationId xmlns:a16="http://schemas.microsoft.com/office/drawing/2014/main" id="{F3526303-0969-95FB-D8FA-0C9E3916524B}"/>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pic>
        <p:nvPicPr>
          <p:cNvPr id="21" name="Picture 11">
            <a:extLst>
              <a:ext uri="{FF2B5EF4-FFF2-40B4-BE49-F238E27FC236}">
                <a16:creationId xmlns:a16="http://schemas.microsoft.com/office/drawing/2014/main" id="{24A4E3D3-8EF4-A80C-4780-9639C12D4E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2" name="Text Placeholder 8">
            <a:extLst>
              <a:ext uri="{FF2B5EF4-FFF2-40B4-BE49-F238E27FC236}">
                <a16:creationId xmlns:a16="http://schemas.microsoft.com/office/drawing/2014/main" id="{6DFBA0EA-6763-E017-8DB4-792094E59657}"/>
              </a:ext>
            </a:extLst>
          </p:cNvPr>
          <p:cNvSpPr>
            <a:spLocks noGrp="1"/>
          </p:cNvSpPr>
          <p:nvPr>
            <p:ph type="body" idx="21"/>
          </p:nvPr>
        </p:nvSpPr>
        <p:spPr>
          <a:xfrm>
            <a:off x="6652260" y="1304924"/>
            <a:ext cx="5033328" cy="4608501"/>
          </a:xfrm>
        </p:spPr>
        <p:txBody>
          <a:bodyPr numCol="1" spcCol="180000">
            <a:noAutofit/>
          </a:bodyPr>
          <a:lstStyle>
            <a:lvl1pPr marL="0" indent="0">
              <a:spcAft>
                <a:spcPts val="1200"/>
              </a:spcAft>
              <a:buClr>
                <a:schemeClr val="bg2"/>
              </a:buClr>
              <a:buFont typeface="Arial" panose="020B0604020202020204" pitchFamily="34" charset="0"/>
              <a:buNone/>
              <a:defRPr sz="2400" b="1">
                <a:solidFill>
                  <a:schemeClr val="accent4"/>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Tree>
    <p:extLst>
      <p:ext uri="{BB962C8B-B14F-4D97-AF65-F5344CB8AC3E}">
        <p14:creationId xmlns:p14="http://schemas.microsoft.com/office/powerpoint/2010/main" val="826795485"/>
      </p:ext>
    </p:extLst>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Text, Quote + Imag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63869"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7" name="Picture Placeholder 2">
            <a:extLst>
              <a:ext uri="{FF2B5EF4-FFF2-40B4-BE49-F238E27FC236}">
                <a16:creationId xmlns:a16="http://schemas.microsoft.com/office/drawing/2014/main" id="{D7BA9708-B496-A663-CB06-FD4F2E3602E5}"/>
              </a:ext>
            </a:extLst>
          </p:cNvPr>
          <p:cNvSpPr>
            <a:spLocks noGrp="1"/>
          </p:cNvSpPr>
          <p:nvPr>
            <p:ph type="pic" sz="quarter" idx="20"/>
          </p:nvPr>
        </p:nvSpPr>
        <p:spPr>
          <a:xfrm>
            <a:off x="6359525" y="3227929"/>
            <a:ext cx="5326063" cy="2685506"/>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18" name="Slide Number Placeholder 2">
            <a:extLst>
              <a:ext uri="{FF2B5EF4-FFF2-40B4-BE49-F238E27FC236}">
                <a16:creationId xmlns:a16="http://schemas.microsoft.com/office/drawing/2014/main" id="{8D67BD3D-5E5B-2957-7B72-B286DEA69454}"/>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9" name="Straight Connector 18">
            <a:extLst>
              <a:ext uri="{FF2B5EF4-FFF2-40B4-BE49-F238E27FC236}">
                <a16:creationId xmlns:a16="http://schemas.microsoft.com/office/drawing/2014/main" id="{11DD0B93-9CA3-DE96-64E9-7FECBAD37972}"/>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0" name="Footer Placeholder 1">
            <a:extLst>
              <a:ext uri="{FF2B5EF4-FFF2-40B4-BE49-F238E27FC236}">
                <a16:creationId xmlns:a16="http://schemas.microsoft.com/office/drawing/2014/main" id="{F3526303-0969-95FB-D8FA-0C9E3916524B}"/>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pic>
        <p:nvPicPr>
          <p:cNvPr id="21" name="Picture 11">
            <a:extLst>
              <a:ext uri="{FF2B5EF4-FFF2-40B4-BE49-F238E27FC236}">
                <a16:creationId xmlns:a16="http://schemas.microsoft.com/office/drawing/2014/main" id="{24A4E3D3-8EF4-A80C-4780-9639C12D4E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2" name="Text Placeholder 8">
            <a:extLst>
              <a:ext uri="{FF2B5EF4-FFF2-40B4-BE49-F238E27FC236}">
                <a16:creationId xmlns:a16="http://schemas.microsoft.com/office/drawing/2014/main" id="{6DFBA0EA-6763-E017-8DB4-792094E59657}"/>
              </a:ext>
            </a:extLst>
          </p:cNvPr>
          <p:cNvSpPr>
            <a:spLocks noGrp="1"/>
          </p:cNvSpPr>
          <p:nvPr>
            <p:ph type="body" idx="21"/>
          </p:nvPr>
        </p:nvSpPr>
        <p:spPr>
          <a:xfrm>
            <a:off x="6345193" y="1304925"/>
            <a:ext cx="5340395" cy="312265"/>
          </a:xfrm>
        </p:spPr>
        <p:txBody>
          <a:bodyPr numCol="1" spcCol="180000">
            <a:spAutoFit/>
          </a:bodyPr>
          <a:lstStyle>
            <a:lvl1pPr marL="0" indent="0">
              <a:spcAft>
                <a:spcPts val="600"/>
              </a:spcAft>
              <a:buClr>
                <a:schemeClr val="bg2"/>
              </a:buClr>
              <a:buFont typeface="Arial" panose="020B0604020202020204" pitchFamily="34" charset="0"/>
              <a:buNone/>
              <a:defRPr b="1">
                <a:solidFill>
                  <a:schemeClr val="accent4"/>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13" name="Text Placeholder 8">
            <a:extLst>
              <a:ext uri="{FF2B5EF4-FFF2-40B4-BE49-F238E27FC236}">
                <a16:creationId xmlns:a16="http://schemas.microsoft.com/office/drawing/2014/main" id="{4BC205A0-AF05-E822-A6D1-8E80B8895804}"/>
              </a:ext>
            </a:extLst>
          </p:cNvPr>
          <p:cNvSpPr>
            <a:spLocks noGrp="1"/>
          </p:cNvSpPr>
          <p:nvPr>
            <p:ph type="body" idx="22" hasCustomPrompt="1"/>
          </p:nvPr>
        </p:nvSpPr>
        <p:spPr>
          <a:xfrm>
            <a:off x="6345193" y="5962960"/>
            <a:ext cx="5340395" cy="140488"/>
          </a:xfrm>
        </p:spPr>
        <p:txBody>
          <a:bodyPr numCol="1" spcCol="180000">
            <a:spAutoFit/>
          </a:bodyPr>
          <a:lstStyle>
            <a:lvl1pPr marL="0" indent="0">
              <a:spcAft>
                <a:spcPts val="600"/>
              </a:spcAft>
              <a:buClr>
                <a:schemeClr val="bg2"/>
              </a:buClr>
              <a:buFont typeface="Arial" panose="020B0604020202020204" pitchFamily="34" charset="0"/>
              <a:buNone/>
              <a:defRPr sz="900" b="0">
                <a:solidFill>
                  <a:schemeClr val="bg1">
                    <a:lumMod val="65000"/>
                  </a:schemeClr>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Optional image caption</a:t>
            </a:r>
          </a:p>
        </p:txBody>
      </p:sp>
    </p:spTree>
    <p:extLst>
      <p:ext uri="{BB962C8B-B14F-4D97-AF65-F5344CB8AC3E}">
        <p14:creationId xmlns:p14="http://schemas.microsoft.com/office/powerpoint/2010/main" val="1248875932"/>
      </p:ext>
    </p:extLst>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Text + 2 Imag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 name="Picture Placeholder 2">
            <a:extLst>
              <a:ext uri="{FF2B5EF4-FFF2-40B4-BE49-F238E27FC236}">
                <a16:creationId xmlns:a16="http://schemas.microsoft.com/office/drawing/2014/main" id="{15315BB4-CEA5-4429-26F4-D4B56B8BE141}"/>
              </a:ext>
            </a:extLst>
          </p:cNvPr>
          <p:cNvSpPr>
            <a:spLocks noGrp="1"/>
          </p:cNvSpPr>
          <p:nvPr>
            <p:ph type="pic" sz="quarter" idx="19"/>
          </p:nvPr>
        </p:nvSpPr>
        <p:spPr>
          <a:xfrm>
            <a:off x="6359525" y="368300"/>
            <a:ext cx="5326063" cy="2685505"/>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17" name="Picture Placeholder 2">
            <a:extLst>
              <a:ext uri="{FF2B5EF4-FFF2-40B4-BE49-F238E27FC236}">
                <a16:creationId xmlns:a16="http://schemas.microsoft.com/office/drawing/2014/main" id="{D7BA9708-B496-A663-CB06-FD4F2E3602E5}"/>
              </a:ext>
            </a:extLst>
          </p:cNvPr>
          <p:cNvSpPr>
            <a:spLocks noGrp="1"/>
          </p:cNvSpPr>
          <p:nvPr>
            <p:ph type="pic" sz="quarter" idx="20"/>
          </p:nvPr>
        </p:nvSpPr>
        <p:spPr>
          <a:xfrm>
            <a:off x="6359525" y="3227929"/>
            <a:ext cx="5326063" cy="2685506"/>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18" name="Slide Number Placeholder 2">
            <a:extLst>
              <a:ext uri="{FF2B5EF4-FFF2-40B4-BE49-F238E27FC236}">
                <a16:creationId xmlns:a16="http://schemas.microsoft.com/office/drawing/2014/main" id="{8D67BD3D-5E5B-2957-7B72-B286DEA69454}"/>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9" name="Straight Connector 18">
            <a:extLst>
              <a:ext uri="{FF2B5EF4-FFF2-40B4-BE49-F238E27FC236}">
                <a16:creationId xmlns:a16="http://schemas.microsoft.com/office/drawing/2014/main" id="{11DD0B93-9CA3-DE96-64E9-7FECBAD37972}"/>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0" name="Footer Placeholder 1">
            <a:extLst>
              <a:ext uri="{FF2B5EF4-FFF2-40B4-BE49-F238E27FC236}">
                <a16:creationId xmlns:a16="http://schemas.microsoft.com/office/drawing/2014/main" id="{F3526303-0969-95FB-D8FA-0C9E3916524B}"/>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pic>
        <p:nvPicPr>
          <p:cNvPr id="21" name="Picture 11">
            <a:extLst>
              <a:ext uri="{FF2B5EF4-FFF2-40B4-BE49-F238E27FC236}">
                <a16:creationId xmlns:a16="http://schemas.microsoft.com/office/drawing/2014/main" id="{24A4E3D3-8EF4-A80C-4780-9639C12D4E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2" name="Text Placeholder 8">
            <a:extLst>
              <a:ext uri="{FF2B5EF4-FFF2-40B4-BE49-F238E27FC236}">
                <a16:creationId xmlns:a16="http://schemas.microsoft.com/office/drawing/2014/main" id="{02F1485A-E0B4-C14E-58C4-9144A8FEE29C}"/>
              </a:ext>
            </a:extLst>
          </p:cNvPr>
          <p:cNvSpPr>
            <a:spLocks noGrp="1"/>
          </p:cNvSpPr>
          <p:nvPr>
            <p:ph type="body" idx="22" hasCustomPrompt="1"/>
          </p:nvPr>
        </p:nvSpPr>
        <p:spPr>
          <a:xfrm>
            <a:off x="6345193" y="5962960"/>
            <a:ext cx="5340395" cy="140488"/>
          </a:xfrm>
        </p:spPr>
        <p:txBody>
          <a:bodyPr numCol="1" spcCol="180000">
            <a:spAutoFit/>
          </a:bodyPr>
          <a:lstStyle>
            <a:lvl1pPr marL="0" indent="0">
              <a:spcAft>
                <a:spcPts val="600"/>
              </a:spcAft>
              <a:buClr>
                <a:schemeClr val="bg2"/>
              </a:buClr>
              <a:buFont typeface="Arial" panose="020B0604020202020204" pitchFamily="34" charset="0"/>
              <a:buNone/>
              <a:defRPr sz="900" b="0">
                <a:solidFill>
                  <a:schemeClr val="bg1">
                    <a:lumMod val="65000"/>
                  </a:schemeClr>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Optional image caption</a:t>
            </a:r>
          </a:p>
        </p:txBody>
      </p:sp>
    </p:spTree>
    <p:extLst>
      <p:ext uri="{BB962C8B-B14F-4D97-AF65-F5344CB8AC3E}">
        <p14:creationId xmlns:p14="http://schemas.microsoft.com/office/powerpoint/2010/main" val="2987735521"/>
      </p:ext>
    </p:extLst>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Text + Image 1">
    <p:spTree>
      <p:nvGrpSpPr>
        <p:cNvPr id="1" name=""/>
        <p:cNvGrpSpPr/>
        <p:nvPr/>
      </p:nvGrpSpPr>
      <p:grpSpPr>
        <a:xfrm>
          <a:off x="0" y="0"/>
          <a:ext cx="0" cy="0"/>
          <a:chOff x="0" y="0"/>
          <a:chExt cx="0" cy="0"/>
        </a:xfrm>
      </p:grpSpPr>
      <p:sp>
        <p:nvSpPr>
          <p:cNvPr id="12" name="Picture Placeholder 27">
            <a:extLst>
              <a:ext uri="{FF2B5EF4-FFF2-40B4-BE49-F238E27FC236}">
                <a16:creationId xmlns:a16="http://schemas.microsoft.com/office/drawing/2014/main" id="{1426049D-A517-EA42-AFCA-8DDB22C6BA37}"/>
              </a:ext>
            </a:extLst>
          </p:cNvPr>
          <p:cNvSpPr>
            <a:spLocks noGrp="1"/>
          </p:cNvSpPr>
          <p:nvPr>
            <p:ph type="pic" sz="quarter" idx="15" hasCustomPrompt="1"/>
          </p:nvPr>
        </p:nvSpPr>
        <p:spPr>
          <a:xfrm>
            <a:off x="6495588" y="-10508"/>
            <a:ext cx="5711376" cy="6879020"/>
          </a:xfrm>
          <a:custGeom>
            <a:avLst/>
            <a:gdLst>
              <a:gd name="connsiteX0" fmla="*/ 0 w 7962406"/>
              <a:gd name="connsiteY0" fmla="*/ 0 h 6857999"/>
              <a:gd name="connsiteX1" fmla="*/ 7962406 w 7962406"/>
              <a:gd name="connsiteY1" fmla="*/ 0 h 6857999"/>
              <a:gd name="connsiteX2" fmla="*/ 7962406 w 7962406"/>
              <a:gd name="connsiteY2" fmla="*/ 6857999 h 6857999"/>
              <a:gd name="connsiteX3" fmla="*/ 1019785 w 7962406"/>
              <a:gd name="connsiteY3" fmla="*/ 6857999 h 6857999"/>
              <a:gd name="connsiteX4" fmla="*/ 0 w 7962406"/>
              <a:gd name="connsiteY4" fmla="*/ 5838214 h 6857999"/>
              <a:gd name="connsiteX0" fmla="*/ 0 w 7962406"/>
              <a:gd name="connsiteY0" fmla="*/ 0 h 6857999"/>
              <a:gd name="connsiteX1" fmla="*/ 6039013 w 7962406"/>
              <a:gd name="connsiteY1" fmla="*/ 84083 h 6857999"/>
              <a:gd name="connsiteX2" fmla="*/ 7962406 w 7962406"/>
              <a:gd name="connsiteY2" fmla="*/ 6857999 h 6857999"/>
              <a:gd name="connsiteX3" fmla="*/ 1019785 w 7962406"/>
              <a:gd name="connsiteY3" fmla="*/ 6857999 h 6857999"/>
              <a:gd name="connsiteX4" fmla="*/ 0 w 7962406"/>
              <a:gd name="connsiteY4" fmla="*/ 5838214 h 6857999"/>
              <a:gd name="connsiteX5" fmla="*/ 0 w 7962406"/>
              <a:gd name="connsiteY5" fmla="*/ 0 h 6857999"/>
              <a:gd name="connsiteX0" fmla="*/ 0 w 7962406"/>
              <a:gd name="connsiteY0" fmla="*/ 10510 h 6868509"/>
              <a:gd name="connsiteX1" fmla="*/ 6144117 w 7962406"/>
              <a:gd name="connsiteY1" fmla="*/ 0 h 6868509"/>
              <a:gd name="connsiteX2" fmla="*/ 7962406 w 7962406"/>
              <a:gd name="connsiteY2" fmla="*/ 6868509 h 6868509"/>
              <a:gd name="connsiteX3" fmla="*/ 1019785 w 7962406"/>
              <a:gd name="connsiteY3" fmla="*/ 6868509 h 6868509"/>
              <a:gd name="connsiteX4" fmla="*/ 0 w 7962406"/>
              <a:gd name="connsiteY4" fmla="*/ 5848724 h 6868509"/>
              <a:gd name="connsiteX5" fmla="*/ 0 w 7962406"/>
              <a:gd name="connsiteY5" fmla="*/ 10510 h 6868509"/>
              <a:gd name="connsiteX0" fmla="*/ 0 w 6144117"/>
              <a:gd name="connsiteY0" fmla="*/ 10510 h 6868509"/>
              <a:gd name="connsiteX1" fmla="*/ 6144117 w 6144117"/>
              <a:gd name="connsiteY1" fmla="*/ 0 h 6868509"/>
              <a:gd name="connsiteX2" fmla="*/ 5660640 w 6144117"/>
              <a:gd name="connsiteY2" fmla="*/ 6563709 h 6868509"/>
              <a:gd name="connsiteX3" fmla="*/ 1019785 w 6144117"/>
              <a:gd name="connsiteY3" fmla="*/ 6868509 h 6868509"/>
              <a:gd name="connsiteX4" fmla="*/ 0 w 6144117"/>
              <a:gd name="connsiteY4" fmla="*/ 5848724 h 6868509"/>
              <a:gd name="connsiteX5" fmla="*/ 0 w 6144117"/>
              <a:gd name="connsiteY5" fmla="*/ 10510 h 6868509"/>
              <a:gd name="connsiteX0" fmla="*/ 0 w 6154626"/>
              <a:gd name="connsiteY0" fmla="*/ 10510 h 6879020"/>
              <a:gd name="connsiteX1" fmla="*/ 6144117 w 6154626"/>
              <a:gd name="connsiteY1" fmla="*/ 0 h 6879020"/>
              <a:gd name="connsiteX2" fmla="*/ 6154626 w 6154626"/>
              <a:gd name="connsiteY2" fmla="*/ 6879020 h 6879020"/>
              <a:gd name="connsiteX3" fmla="*/ 1019785 w 6154626"/>
              <a:gd name="connsiteY3" fmla="*/ 6868509 h 6879020"/>
              <a:gd name="connsiteX4" fmla="*/ 0 w 6154626"/>
              <a:gd name="connsiteY4" fmla="*/ 5848724 h 6879020"/>
              <a:gd name="connsiteX5" fmla="*/ 0 w 6154626"/>
              <a:gd name="connsiteY5" fmla="*/ 10510 h 6879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54626" h="6879020">
                <a:moveTo>
                  <a:pt x="0" y="10510"/>
                </a:moveTo>
                <a:lnTo>
                  <a:pt x="6144117" y="0"/>
                </a:lnTo>
                <a:lnTo>
                  <a:pt x="6154626" y="6879020"/>
                </a:lnTo>
                <a:lnTo>
                  <a:pt x="1019785" y="6868509"/>
                </a:lnTo>
                <a:cubicBezTo>
                  <a:pt x="456573" y="6868509"/>
                  <a:pt x="0" y="6411936"/>
                  <a:pt x="0" y="5848724"/>
                </a:cubicBezTo>
                <a:lnTo>
                  <a:pt x="0" y="10510"/>
                </a:lnTo>
                <a:close/>
              </a:path>
            </a:pathLst>
          </a:custGeom>
          <a:solidFill>
            <a:schemeClr val="bg1">
              <a:lumMod val="85000"/>
            </a:schemeClr>
          </a:solidFill>
        </p:spPr>
        <p:txBody>
          <a:bodyPr wrap="square" anchor="ctr">
            <a:noAutofit/>
          </a:bodyPr>
          <a:lstStyle>
            <a:lvl1pPr marL="0" indent="0" algn="ctr">
              <a:buNone/>
              <a:defRPr>
                <a:solidFill>
                  <a:schemeClr val="bg1">
                    <a:lumMod val="50000"/>
                  </a:schemeClr>
                </a:solidFill>
              </a:defRPr>
            </a:lvl1pPr>
          </a:lstStyle>
          <a:p>
            <a:r>
              <a:rPr lang="en-GB"/>
              <a:t>Click icon to insert picture</a:t>
            </a:r>
          </a:p>
        </p:txBody>
      </p:sp>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5580063"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sp>
        <p:nvSpPr>
          <p:cNvPr id="5" name="Text Placeholder 4">
            <a:extLst>
              <a:ext uri="{FF2B5EF4-FFF2-40B4-BE49-F238E27FC236}">
                <a16:creationId xmlns:a16="http://schemas.microsoft.com/office/drawing/2014/main" id="{0CE04A98-CDC1-2043-A233-CAA53ED2E1A4}"/>
              </a:ext>
            </a:extLst>
          </p:cNvPr>
          <p:cNvSpPr>
            <a:spLocks noGrp="1"/>
          </p:cNvSpPr>
          <p:nvPr>
            <p:ph type="body" sz="quarter" idx="16" hasCustomPrompt="1"/>
          </p:nvPr>
        </p:nvSpPr>
        <p:spPr>
          <a:xfrm>
            <a:off x="10643129"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Tree>
    <p:extLst>
      <p:ext uri="{BB962C8B-B14F-4D97-AF65-F5344CB8AC3E}">
        <p14:creationId xmlns:p14="http://schemas.microsoft.com/office/powerpoint/2010/main" val="2584463968"/>
      </p:ext>
    </p:extLst>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Text + Image 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5580063"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sp>
        <p:nvSpPr>
          <p:cNvPr id="5" name="Text Placeholder 4">
            <a:extLst>
              <a:ext uri="{FF2B5EF4-FFF2-40B4-BE49-F238E27FC236}">
                <a16:creationId xmlns:a16="http://schemas.microsoft.com/office/drawing/2014/main" id="{0CE04A98-CDC1-2043-A233-CAA53ED2E1A4}"/>
              </a:ext>
            </a:extLst>
          </p:cNvPr>
          <p:cNvSpPr>
            <a:spLocks noGrp="1"/>
          </p:cNvSpPr>
          <p:nvPr>
            <p:ph type="body" sz="quarter" idx="16" hasCustomPrompt="1"/>
          </p:nvPr>
        </p:nvSpPr>
        <p:spPr>
          <a:xfrm>
            <a:off x="10643129"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
        <p:nvSpPr>
          <p:cNvPr id="27" name="Picture Placeholder 26">
            <a:extLst>
              <a:ext uri="{FF2B5EF4-FFF2-40B4-BE49-F238E27FC236}">
                <a16:creationId xmlns:a16="http://schemas.microsoft.com/office/drawing/2014/main" id="{D7270696-0AB9-0445-9B12-E1B6CE40D325}"/>
              </a:ext>
            </a:extLst>
          </p:cNvPr>
          <p:cNvSpPr>
            <a:spLocks noGrp="1"/>
          </p:cNvSpPr>
          <p:nvPr>
            <p:ph type="pic" sz="quarter" idx="17"/>
          </p:nvPr>
        </p:nvSpPr>
        <p:spPr>
          <a:xfrm>
            <a:off x="5685640" y="0"/>
            <a:ext cx="6506360" cy="6858000"/>
          </a:xfrm>
          <a:custGeom>
            <a:avLst/>
            <a:gdLst>
              <a:gd name="connsiteX0" fmla="*/ 0 w 6506360"/>
              <a:gd name="connsiteY0" fmla="*/ 0 h 6858000"/>
              <a:gd name="connsiteX1" fmla="*/ 6506360 w 6506360"/>
              <a:gd name="connsiteY1" fmla="*/ 0 h 6858000"/>
              <a:gd name="connsiteX2" fmla="*/ 6506360 w 6506360"/>
              <a:gd name="connsiteY2" fmla="*/ 6858000 h 6858000"/>
              <a:gd name="connsiteX3" fmla="*/ 816590 w 6506360"/>
              <a:gd name="connsiteY3" fmla="*/ 6858000 h 6858000"/>
              <a:gd name="connsiteX4" fmla="*/ 816590 w 6506360"/>
              <a:gd name="connsiteY4" fmla="*/ 939979 h 6858000"/>
              <a:gd name="connsiteX5" fmla="*/ 57657 w 6506360"/>
              <a:gd name="connsiteY5" fmla="*/ 8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06360" h="6858000">
                <a:moveTo>
                  <a:pt x="0" y="0"/>
                </a:moveTo>
                <a:lnTo>
                  <a:pt x="6506360" y="0"/>
                </a:lnTo>
                <a:lnTo>
                  <a:pt x="6506360" y="6858000"/>
                </a:lnTo>
                <a:lnTo>
                  <a:pt x="816590" y="6858000"/>
                </a:lnTo>
                <a:lnTo>
                  <a:pt x="816590" y="939979"/>
                </a:lnTo>
                <a:cubicBezTo>
                  <a:pt x="816590" y="480656"/>
                  <a:pt x="490779" y="97429"/>
                  <a:pt x="57657" y="8800"/>
                </a:cubicBezTo>
                <a:close/>
              </a:path>
            </a:pathLst>
          </a:custGeom>
          <a:solidFill>
            <a:schemeClr val="bg1">
              <a:lumMod val="85000"/>
            </a:schemeClr>
          </a:solidFill>
        </p:spPr>
        <p:txBody>
          <a:bodyPr wrap="square" anchor="ctr">
            <a:noAutofit/>
          </a:bodyPr>
          <a:lstStyle>
            <a:lvl1pPr algn="ctr">
              <a:defRPr>
                <a:solidFill>
                  <a:schemeClr val="bg1">
                    <a:lumMod val="50000"/>
                  </a:schemeClr>
                </a:solidFill>
              </a:defRPr>
            </a:lvl1pPr>
          </a:lstStyle>
          <a:p>
            <a:r>
              <a:rPr lang="en-GB"/>
              <a:t>Click icon to add picture</a:t>
            </a:r>
          </a:p>
        </p:txBody>
      </p:sp>
      <p:sp>
        <p:nvSpPr>
          <p:cNvPr id="28" name="Text Placeholder 4">
            <a:extLst>
              <a:ext uri="{FF2B5EF4-FFF2-40B4-BE49-F238E27FC236}">
                <a16:creationId xmlns:a16="http://schemas.microsoft.com/office/drawing/2014/main" id="{7DCA613B-D18E-594C-9579-2E40707B7127}"/>
              </a:ext>
            </a:extLst>
          </p:cNvPr>
          <p:cNvSpPr>
            <a:spLocks noGrp="1"/>
          </p:cNvSpPr>
          <p:nvPr>
            <p:ph type="body" sz="quarter" idx="18" hasCustomPrompt="1"/>
          </p:nvPr>
        </p:nvSpPr>
        <p:spPr>
          <a:xfrm>
            <a:off x="10643128"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Tree>
    <p:extLst>
      <p:ext uri="{BB962C8B-B14F-4D97-AF65-F5344CB8AC3E}">
        <p14:creationId xmlns:p14="http://schemas.microsoft.com/office/powerpoint/2010/main" val="768196434"/>
      </p:ext>
    </p:extLst>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Quote + Imag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5580063"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sp>
        <p:nvSpPr>
          <p:cNvPr id="5" name="Text Placeholder 4">
            <a:extLst>
              <a:ext uri="{FF2B5EF4-FFF2-40B4-BE49-F238E27FC236}">
                <a16:creationId xmlns:a16="http://schemas.microsoft.com/office/drawing/2014/main" id="{0CE04A98-CDC1-2043-A233-CAA53ED2E1A4}"/>
              </a:ext>
            </a:extLst>
          </p:cNvPr>
          <p:cNvSpPr>
            <a:spLocks noGrp="1"/>
          </p:cNvSpPr>
          <p:nvPr>
            <p:ph type="body" sz="quarter" idx="16" hasCustomPrompt="1"/>
          </p:nvPr>
        </p:nvSpPr>
        <p:spPr>
          <a:xfrm>
            <a:off x="10643129"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
        <p:nvSpPr>
          <p:cNvPr id="27" name="Picture Placeholder 26">
            <a:extLst>
              <a:ext uri="{FF2B5EF4-FFF2-40B4-BE49-F238E27FC236}">
                <a16:creationId xmlns:a16="http://schemas.microsoft.com/office/drawing/2014/main" id="{D7270696-0AB9-0445-9B12-E1B6CE40D325}"/>
              </a:ext>
            </a:extLst>
          </p:cNvPr>
          <p:cNvSpPr>
            <a:spLocks noGrp="1"/>
          </p:cNvSpPr>
          <p:nvPr>
            <p:ph type="pic" sz="quarter" idx="17"/>
          </p:nvPr>
        </p:nvSpPr>
        <p:spPr>
          <a:xfrm>
            <a:off x="5685640" y="0"/>
            <a:ext cx="6506360" cy="6858000"/>
          </a:xfrm>
          <a:custGeom>
            <a:avLst/>
            <a:gdLst>
              <a:gd name="connsiteX0" fmla="*/ 0 w 6506360"/>
              <a:gd name="connsiteY0" fmla="*/ 0 h 6858000"/>
              <a:gd name="connsiteX1" fmla="*/ 6506360 w 6506360"/>
              <a:gd name="connsiteY1" fmla="*/ 0 h 6858000"/>
              <a:gd name="connsiteX2" fmla="*/ 6506360 w 6506360"/>
              <a:gd name="connsiteY2" fmla="*/ 6858000 h 6858000"/>
              <a:gd name="connsiteX3" fmla="*/ 816590 w 6506360"/>
              <a:gd name="connsiteY3" fmla="*/ 6858000 h 6858000"/>
              <a:gd name="connsiteX4" fmla="*/ 816590 w 6506360"/>
              <a:gd name="connsiteY4" fmla="*/ 939979 h 6858000"/>
              <a:gd name="connsiteX5" fmla="*/ 57657 w 6506360"/>
              <a:gd name="connsiteY5" fmla="*/ 8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06360" h="6858000">
                <a:moveTo>
                  <a:pt x="0" y="0"/>
                </a:moveTo>
                <a:lnTo>
                  <a:pt x="6506360" y="0"/>
                </a:lnTo>
                <a:lnTo>
                  <a:pt x="6506360" y="6858000"/>
                </a:lnTo>
                <a:lnTo>
                  <a:pt x="816590" y="6858000"/>
                </a:lnTo>
                <a:lnTo>
                  <a:pt x="816590" y="939979"/>
                </a:lnTo>
                <a:cubicBezTo>
                  <a:pt x="816590" y="480656"/>
                  <a:pt x="490779" y="97429"/>
                  <a:pt x="57657" y="8800"/>
                </a:cubicBezTo>
                <a:close/>
              </a:path>
            </a:pathLst>
          </a:custGeom>
          <a:solidFill>
            <a:schemeClr val="bg1">
              <a:lumMod val="85000"/>
            </a:schemeClr>
          </a:solidFill>
        </p:spPr>
        <p:txBody>
          <a:bodyPr wrap="square" anchor="ctr">
            <a:noAutofit/>
          </a:bodyPr>
          <a:lstStyle>
            <a:lvl1pPr algn="ctr">
              <a:defRPr>
                <a:solidFill>
                  <a:schemeClr val="bg1">
                    <a:lumMod val="50000"/>
                  </a:schemeClr>
                </a:solidFill>
              </a:defRPr>
            </a:lvl1pPr>
          </a:lstStyle>
          <a:p>
            <a:r>
              <a:rPr lang="en-GB"/>
              <a:t>Click icon to add picture</a:t>
            </a:r>
          </a:p>
        </p:txBody>
      </p:sp>
      <p:sp>
        <p:nvSpPr>
          <p:cNvPr id="28" name="Text Placeholder 4">
            <a:extLst>
              <a:ext uri="{FF2B5EF4-FFF2-40B4-BE49-F238E27FC236}">
                <a16:creationId xmlns:a16="http://schemas.microsoft.com/office/drawing/2014/main" id="{7DCA613B-D18E-594C-9579-2E40707B7127}"/>
              </a:ext>
            </a:extLst>
          </p:cNvPr>
          <p:cNvSpPr>
            <a:spLocks noGrp="1"/>
          </p:cNvSpPr>
          <p:nvPr>
            <p:ph type="body" sz="quarter" idx="18" hasCustomPrompt="1"/>
          </p:nvPr>
        </p:nvSpPr>
        <p:spPr>
          <a:xfrm>
            <a:off x="10643128"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
        <p:nvSpPr>
          <p:cNvPr id="12" name="Text Placeholder 8">
            <a:extLst>
              <a:ext uri="{FF2B5EF4-FFF2-40B4-BE49-F238E27FC236}">
                <a16:creationId xmlns:a16="http://schemas.microsoft.com/office/drawing/2014/main" id="{E2F4BDEF-FEFC-0BDD-3EB4-7710855ED6AB}"/>
              </a:ext>
            </a:extLst>
          </p:cNvPr>
          <p:cNvSpPr>
            <a:spLocks noGrp="1"/>
          </p:cNvSpPr>
          <p:nvPr>
            <p:ph type="body" idx="21"/>
          </p:nvPr>
        </p:nvSpPr>
        <p:spPr>
          <a:xfrm>
            <a:off x="515937" y="1329378"/>
            <a:ext cx="5580062" cy="4637076"/>
          </a:xfrm>
        </p:spPr>
        <p:txBody>
          <a:bodyPr numCol="1" spcCol="180000" anchor="t">
            <a:noAutofit/>
          </a:bodyPr>
          <a:lstStyle>
            <a:lvl1pPr marL="0" indent="0">
              <a:lnSpc>
                <a:spcPct val="100000"/>
              </a:lnSpc>
              <a:spcAft>
                <a:spcPts val="1800"/>
              </a:spcAft>
              <a:buClr>
                <a:schemeClr val="bg2"/>
              </a:buClr>
              <a:buFont typeface="Arial" panose="020B0604020202020204" pitchFamily="34" charset="0"/>
              <a:buNone/>
              <a:defRPr sz="2800" b="1">
                <a:solidFill>
                  <a:schemeClr val="accent4"/>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16" name="Title Placeholder 1">
            <a:extLst>
              <a:ext uri="{FF2B5EF4-FFF2-40B4-BE49-F238E27FC236}">
                <a16:creationId xmlns:a16="http://schemas.microsoft.com/office/drawing/2014/main" id="{D7D9C6B7-7323-827F-E01F-2EFDCE721461}"/>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Tree>
    <p:extLst>
      <p:ext uri="{BB962C8B-B14F-4D97-AF65-F5344CB8AC3E}">
        <p14:creationId xmlns:p14="http://schemas.microsoft.com/office/powerpoint/2010/main" val="1434563698"/>
      </p:ext>
    </p:extLst>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Sections + Images x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8" y="4360961"/>
            <a:ext cx="5234437" cy="1538516"/>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8" y="3915591"/>
            <a:ext cx="5234437" cy="281103"/>
          </a:xfrm>
        </p:spPr>
        <p:txBody>
          <a:bodyPr wrap="square">
            <a:spAutoFit/>
          </a:bodyPr>
          <a:lstStyle>
            <a:lvl1pPr>
              <a:defRPr sz="1800" b="1">
                <a:solidFill>
                  <a:schemeClr val="bg2"/>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A5AC520F-8595-0F44-99A9-F0873ACA435F}"/>
              </a:ext>
            </a:extLst>
          </p:cNvPr>
          <p:cNvSpPr>
            <a:spLocks noGrp="1"/>
          </p:cNvSpPr>
          <p:nvPr>
            <p:ph type="body" sz="quarter" idx="18"/>
          </p:nvPr>
        </p:nvSpPr>
        <p:spPr>
          <a:xfrm>
            <a:off x="6441625" y="4360961"/>
            <a:ext cx="5234437" cy="1538516"/>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6441625" y="3915591"/>
            <a:ext cx="5234437" cy="281103"/>
          </a:xfrm>
        </p:spPr>
        <p:txBody>
          <a:bodyPr wrap="square">
            <a:spAutoFit/>
          </a:bodyPr>
          <a:lstStyle>
            <a:lvl1pPr>
              <a:defRPr sz="1800" b="1">
                <a:solidFill>
                  <a:schemeClr val="bg2"/>
                </a:solidFill>
              </a:defRPr>
            </a:lvl1pPr>
          </a:lstStyle>
          <a:p>
            <a:pPr lvl="0"/>
            <a:r>
              <a:rPr lang="en-GB"/>
              <a:t>Click to edit Master text styles</a:t>
            </a:r>
          </a:p>
        </p:txBody>
      </p:sp>
      <p:sp>
        <p:nvSpPr>
          <p:cNvPr id="17" name="Picture Placeholder 2">
            <a:extLst>
              <a:ext uri="{FF2B5EF4-FFF2-40B4-BE49-F238E27FC236}">
                <a16:creationId xmlns:a16="http://schemas.microsoft.com/office/drawing/2014/main" id="{4EF54ED7-3E2F-C8F7-553C-1DB155F7DBDC}"/>
              </a:ext>
            </a:extLst>
          </p:cNvPr>
          <p:cNvSpPr>
            <a:spLocks noGrp="1"/>
          </p:cNvSpPr>
          <p:nvPr>
            <p:ph type="pic" sz="quarter" idx="23"/>
          </p:nvPr>
        </p:nvSpPr>
        <p:spPr>
          <a:xfrm>
            <a:off x="515938" y="1304924"/>
            <a:ext cx="5234438" cy="2400167"/>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23" name="Picture Placeholder 2">
            <a:extLst>
              <a:ext uri="{FF2B5EF4-FFF2-40B4-BE49-F238E27FC236}">
                <a16:creationId xmlns:a16="http://schemas.microsoft.com/office/drawing/2014/main" id="{BCF59FD3-6B56-67EF-C1E8-78C92005D9AE}"/>
              </a:ext>
            </a:extLst>
          </p:cNvPr>
          <p:cNvSpPr>
            <a:spLocks noGrp="1"/>
          </p:cNvSpPr>
          <p:nvPr>
            <p:ph type="pic" sz="quarter" idx="24"/>
          </p:nvPr>
        </p:nvSpPr>
        <p:spPr>
          <a:xfrm>
            <a:off x="6441625" y="1304924"/>
            <a:ext cx="5234438" cy="2400167"/>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Tree>
    <p:extLst>
      <p:ext uri="{BB962C8B-B14F-4D97-AF65-F5344CB8AC3E}">
        <p14:creationId xmlns:p14="http://schemas.microsoft.com/office/powerpoint/2010/main" val="4185430340"/>
      </p:ext>
    </p:extLst>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Sections + Image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9" y="3726649"/>
            <a:ext cx="3287436" cy="2121010"/>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3281279"/>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A5AC520F-8595-0F44-99A9-F0873ACA435F}"/>
              </a:ext>
            </a:extLst>
          </p:cNvPr>
          <p:cNvSpPr>
            <a:spLocks noGrp="1"/>
          </p:cNvSpPr>
          <p:nvPr>
            <p:ph type="body" sz="quarter" idx="18"/>
          </p:nvPr>
        </p:nvSpPr>
        <p:spPr>
          <a:xfrm>
            <a:off x="4452282" y="3726649"/>
            <a:ext cx="3287436" cy="2121010"/>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4452282" y="3281279"/>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AD30B9DC-1666-7446-9DFD-F674A273B468}"/>
              </a:ext>
            </a:extLst>
          </p:cNvPr>
          <p:cNvSpPr>
            <a:spLocks noGrp="1"/>
          </p:cNvSpPr>
          <p:nvPr>
            <p:ph type="body" sz="quarter" idx="21"/>
          </p:nvPr>
        </p:nvSpPr>
        <p:spPr>
          <a:xfrm>
            <a:off x="8382846" y="3733177"/>
            <a:ext cx="3287436" cy="2121010"/>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C7816D18-C579-DE44-B3B4-5D38198139F6}"/>
              </a:ext>
            </a:extLst>
          </p:cNvPr>
          <p:cNvSpPr>
            <a:spLocks noGrp="1"/>
          </p:cNvSpPr>
          <p:nvPr>
            <p:ph type="body" sz="quarter" idx="22"/>
          </p:nvPr>
        </p:nvSpPr>
        <p:spPr>
          <a:xfrm>
            <a:off x="8382846" y="3287807"/>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17" name="Picture Placeholder 2">
            <a:extLst>
              <a:ext uri="{FF2B5EF4-FFF2-40B4-BE49-F238E27FC236}">
                <a16:creationId xmlns:a16="http://schemas.microsoft.com/office/drawing/2014/main" id="{4EF54ED7-3E2F-C8F7-553C-1DB155F7DBDC}"/>
              </a:ext>
            </a:extLst>
          </p:cNvPr>
          <p:cNvSpPr>
            <a:spLocks noGrp="1"/>
          </p:cNvSpPr>
          <p:nvPr>
            <p:ph type="pic" sz="quarter" idx="23"/>
          </p:nvPr>
        </p:nvSpPr>
        <p:spPr>
          <a:xfrm>
            <a:off x="515938" y="1304925"/>
            <a:ext cx="3287437" cy="1826421"/>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23" name="Picture Placeholder 2">
            <a:extLst>
              <a:ext uri="{FF2B5EF4-FFF2-40B4-BE49-F238E27FC236}">
                <a16:creationId xmlns:a16="http://schemas.microsoft.com/office/drawing/2014/main" id="{BCF59FD3-6B56-67EF-C1E8-78C92005D9AE}"/>
              </a:ext>
            </a:extLst>
          </p:cNvPr>
          <p:cNvSpPr>
            <a:spLocks noGrp="1"/>
          </p:cNvSpPr>
          <p:nvPr>
            <p:ph type="pic" sz="quarter" idx="24"/>
          </p:nvPr>
        </p:nvSpPr>
        <p:spPr>
          <a:xfrm>
            <a:off x="4452281" y="1304925"/>
            <a:ext cx="3287437" cy="1826421"/>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24" name="Picture Placeholder 2">
            <a:extLst>
              <a:ext uri="{FF2B5EF4-FFF2-40B4-BE49-F238E27FC236}">
                <a16:creationId xmlns:a16="http://schemas.microsoft.com/office/drawing/2014/main" id="{AA59D731-0D13-EB6C-7B10-1B59D3D8C5AA}"/>
              </a:ext>
            </a:extLst>
          </p:cNvPr>
          <p:cNvSpPr>
            <a:spLocks noGrp="1"/>
          </p:cNvSpPr>
          <p:nvPr>
            <p:ph type="pic" sz="quarter" idx="25"/>
          </p:nvPr>
        </p:nvSpPr>
        <p:spPr>
          <a:xfrm>
            <a:off x="8388626" y="1304925"/>
            <a:ext cx="3287437" cy="1826421"/>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Tree>
    <p:extLst>
      <p:ext uri="{BB962C8B-B14F-4D97-AF65-F5344CB8AC3E}">
        <p14:creationId xmlns:p14="http://schemas.microsoft.com/office/powerpoint/2010/main" val="74909547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ext + Quot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63869"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8" name="Slide Number Placeholder 2">
            <a:extLst>
              <a:ext uri="{FF2B5EF4-FFF2-40B4-BE49-F238E27FC236}">
                <a16:creationId xmlns:a16="http://schemas.microsoft.com/office/drawing/2014/main" id="{8D67BD3D-5E5B-2957-7B72-B286DEA69454}"/>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9" name="Straight Connector 18">
            <a:extLst>
              <a:ext uri="{FF2B5EF4-FFF2-40B4-BE49-F238E27FC236}">
                <a16:creationId xmlns:a16="http://schemas.microsoft.com/office/drawing/2014/main" id="{11DD0B93-9CA3-DE96-64E9-7FECBAD37972}"/>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0" name="Footer Placeholder 1">
            <a:extLst>
              <a:ext uri="{FF2B5EF4-FFF2-40B4-BE49-F238E27FC236}">
                <a16:creationId xmlns:a16="http://schemas.microsoft.com/office/drawing/2014/main" id="{F3526303-0969-95FB-D8FA-0C9E3916524B}"/>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United Against Rabies Forum Meeting - 6-8 November 2023</a:t>
            </a:r>
            <a:endParaRPr lang="en-GB"/>
          </a:p>
        </p:txBody>
      </p:sp>
      <p:pic>
        <p:nvPicPr>
          <p:cNvPr id="21" name="Picture 11">
            <a:extLst>
              <a:ext uri="{FF2B5EF4-FFF2-40B4-BE49-F238E27FC236}">
                <a16:creationId xmlns:a16="http://schemas.microsoft.com/office/drawing/2014/main" id="{24A4E3D3-8EF4-A80C-4780-9639C12D4E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2" name="Text Placeholder 8">
            <a:extLst>
              <a:ext uri="{FF2B5EF4-FFF2-40B4-BE49-F238E27FC236}">
                <a16:creationId xmlns:a16="http://schemas.microsoft.com/office/drawing/2014/main" id="{6DFBA0EA-6763-E017-8DB4-792094E59657}"/>
              </a:ext>
            </a:extLst>
          </p:cNvPr>
          <p:cNvSpPr>
            <a:spLocks noGrp="1"/>
          </p:cNvSpPr>
          <p:nvPr>
            <p:ph type="body" idx="21"/>
          </p:nvPr>
        </p:nvSpPr>
        <p:spPr>
          <a:xfrm>
            <a:off x="6652260" y="1304924"/>
            <a:ext cx="5033328" cy="4608501"/>
          </a:xfrm>
        </p:spPr>
        <p:txBody>
          <a:bodyPr numCol="1" spcCol="180000">
            <a:noAutofit/>
          </a:bodyPr>
          <a:lstStyle>
            <a:lvl1pPr marL="0" indent="0">
              <a:spcAft>
                <a:spcPts val="1200"/>
              </a:spcAft>
              <a:buClr>
                <a:schemeClr val="bg2"/>
              </a:buClr>
              <a:buFont typeface="Arial" panose="020B0604020202020204" pitchFamily="34" charset="0"/>
              <a:buNone/>
              <a:defRPr sz="2400" b="1">
                <a:solidFill>
                  <a:schemeClr val="accent4"/>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Tree>
    <p:extLst>
      <p:ext uri="{BB962C8B-B14F-4D97-AF65-F5344CB8AC3E}">
        <p14:creationId xmlns:p14="http://schemas.microsoft.com/office/powerpoint/2010/main" val="1655927702"/>
      </p:ext>
    </p:extLst>
  </p:cSld>
  <p:clrMapOvr>
    <a:masterClrMapping/>
  </p:clrMapOvr>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Key Stat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4050217"/>
            <a:ext cx="3287436" cy="1188251"/>
          </a:xfrm>
        </p:spPr>
        <p:txBody>
          <a:bodyPr>
            <a:noAutofit/>
          </a:bodyPr>
          <a:lstStyle>
            <a:lvl1pPr>
              <a:defRPr sz="1800" b="1">
                <a:solidFill>
                  <a:schemeClr val="bg2"/>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4452282" y="4050217"/>
            <a:ext cx="3287436" cy="1188251"/>
          </a:xfrm>
        </p:spPr>
        <p:txBody>
          <a:bodyPr>
            <a:noAutofit/>
          </a:bodyPr>
          <a:lstStyle>
            <a:lvl1pPr>
              <a:defRPr sz="1800" b="1">
                <a:solidFill>
                  <a:schemeClr val="bg2"/>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C7816D18-C579-DE44-B3B4-5D38198139F6}"/>
              </a:ext>
            </a:extLst>
          </p:cNvPr>
          <p:cNvSpPr>
            <a:spLocks noGrp="1"/>
          </p:cNvSpPr>
          <p:nvPr>
            <p:ph type="body" sz="quarter" idx="22"/>
          </p:nvPr>
        </p:nvSpPr>
        <p:spPr>
          <a:xfrm>
            <a:off x="8382846" y="4056745"/>
            <a:ext cx="3287436" cy="1188251"/>
          </a:xfrm>
        </p:spPr>
        <p:txBody>
          <a:bodyPr>
            <a:noAutofit/>
          </a:bodyPr>
          <a:lstStyle>
            <a:lvl1pPr>
              <a:defRPr sz="1800" b="1">
                <a:solidFill>
                  <a:schemeClr val="bg2"/>
                </a:solidFill>
              </a:defRPr>
            </a:lvl1pPr>
          </a:lstStyle>
          <a:p>
            <a:pPr lvl="0"/>
            <a:r>
              <a:rPr lang="en-GB"/>
              <a:t>Click to edit Master text styles</a:t>
            </a:r>
          </a:p>
        </p:txBody>
      </p:sp>
      <p:sp>
        <p:nvSpPr>
          <p:cNvPr id="17" name="Text Placeholder 6">
            <a:extLst>
              <a:ext uri="{FF2B5EF4-FFF2-40B4-BE49-F238E27FC236}">
                <a16:creationId xmlns:a16="http://schemas.microsoft.com/office/drawing/2014/main" id="{B0250E06-295E-B6E6-95C4-089EF7886C76}"/>
              </a:ext>
            </a:extLst>
          </p:cNvPr>
          <p:cNvSpPr>
            <a:spLocks noGrp="1"/>
          </p:cNvSpPr>
          <p:nvPr>
            <p:ph type="body" sz="quarter" idx="25" hasCustomPrompt="1"/>
          </p:nvPr>
        </p:nvSpPr>
        <p:spPr>
          <a:xfrm>
            <a:off x="515939" y="2881801"/>
            <a:ext cx="3287436" cy="1115264"/>
          </a:xfrm>
        </p:spPr>
        <p:txBody>
          <a:bodyPr anchor="b">
            <a:normAutofit/>
          </a:bodyPr>
          <a:lstStyle>
            <a:lvl1pPr>
              <a:defRPr sz="6600" b="1">
                <a:solidFill>
                  <a:schemeClr val="bg2"/>
                </a:solidFill>
              </a:defRPr>
            </a:lvl1pPr>
          </a:lstStyle>
          <a:p>
            <a:pPr lvl="0"/>
            <a:r>
              <a:rPr lang="en-GB"/>
              <a:t>XXXX</a:t>
            </a:r>
          </a:p>
        </p:txBody>
      </p:sp>
      <p:sp>
        <p:nvSpPr>
          <p:cNvPr id="23" name="Text Placeholder 6">
            <a:extLst>
              <a:ext uri="{FF2B5EF4-FFF2-40B4-BE49-F238E27FC236}">
                <a16:creationId xmlns:a16="http://schemas.microsoft.com/office/drawing/2014/main" id="{41638B5E-8DB0-EAFF-0CF3-8812AF05A9BF}"/>
              </a:ext>
            </a:extLst>
          </p:cNvPr>
          <p:cNvSpPr>
            <a:spLocks noGrp="1"/>
          </p:cNvSpPr>
          <p:nvPr>
            <p:ph type="body" sz="quarter" idx="26" hasCustomPrompt="1"/>
          </p:nvPr>
        </p:nvSpPr>
        <p:spPr>
          <a:xfrm>
            <a:off x="4449392" y="2881801"/>
            <a:ext cx="3287436" cy="1115264"/>
          </a:xfrm>
        </p:spPr>
        <p:txBody>
          <a:bodyPr anchor="b">
            <a:normAutofit/>
          </a:bodyPr>
          <a:lstStyle>
            <a:lvl1pPr>
              <a:defRPr sz="6600" b="1">
                <a:solidFill>
                  <a:schemeClr val="bg2"/>
                </a:solidFill>
              </a:defRPr>
            </a:lvl1pPr>
          </a:lstStyle>
          <a:p>
            <a:pPr lvl="0"/>
            <a:r>
              <a:rPr lang="en-GB"/>
              <a:t>XXXX</a:t>
            </a:r>
          </a:p>
        </p:txBody>
      </p:sp>
      <p:sp>
        <p:nvSpPr>
          <p:cNvPr id="24" name="Text Placeholder 6">
            <a:extLst>
              <a:ext uri="{FF2B5EF4-FFF2-40B4-BE49-F238E27FC236}">
                <a16:creationId xmlns:a16="http://schemas.microsoft.com/office/drawing/2014/main" id="{248EBF9A-10A9-92FA-05B2-3A9523883401}"/>
              </a:ext>
            </a:extLst>
          </p:cNvPr>
          <p:cNvSpPr>
            <a:spLocks noGrp="1"/>
          </p:cNvSpPr>
          <p:nvPr>
            <p:ph type="body" sz="quarter" idx="27" hasCustomPrompt="1"/>
          </p:nvPr>
        </p:nvSpPr>
        <p:spPr>
          <a:xfrm>
            <a:off x="8382846" y="2881801"/>
            <a:ext cx="3287436" cy="1115264"/>
          </a:xfrm>
        </p:spPr>
        <p:txBody>
          <a:bodyPr anchor="b">
            <a:normAutofit/>
          </a:bodyPr>
          <a:lstStyle>
            <a:lvl1pPr>
              <a:defRPr sz="6600" b="1">
                <a:solidFill>
                  <a:schemeClr val="bg2"/>
                </a:solidFill>
              </a:defRPr>
            </a:lvl1pPr>
          </a:lstStyle>
          <a:p>
            <a:pPr lvl="0"/>
            <a:r>
              <a:rPr lang="en-GB"/>
              <a:t>XXXX</a:t>
            </a:r>
          </a:p>
        </p:txBody>
      </p:sp>
      <p:sp>
        <p:nvSpPr>
          <p:cNvPr id="20" name="Text Placeholder 8">
            <a:extLst>
              <a:ext uri="{FF2B5EF4-FFF2-40B4-BE49-F238E27FC236}">
                <a16:creationId xmlns:a16="http://schemas.microsoft.com/office/drawing/2014/main" id="{D2E71522-4C4D-EAC4-2A71-F45B1F18D569}"/>
              </a:ext>
            </a:extLst>
          </p:cNvPr>
          <p:cNvSpPr>
            <a:spLocks noGrp="1"/>
          </p:cNvSpPr>
          <p:nvPr>
            <p:ph type="body" idx="13"/>
          </p:nvPr>
        </p:nvSpPr>
        <p:spPr>
          <a:xfrm>
            <a:off x="531133" y="1304925"/>
            <a:ext cx="11144930" cy="1369692"/>
          </a:xfrm>
        </p:spPr>
        <p:txBody>
          <a:bodyPr numCol="1" spcCol="180000">
            <a:normAutofit/>
          </a:bodyPr>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Tree>
    <p:extLst>
      <p:ext uri="{BB962C8B-B14F-4D97-AF65-F5344CB8AC3E}">
        <p14:creationId xmlns:p14="http://schemas.microsoft.com/office/powerpoint/2010/main" val="761903641"/>
      </p:ext>
    </p:extLst>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Key Stats x5">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62" name="Title Placeholder 1">
            <a:extLst>
              <a:ext uri="{FF2B5EF4-FFF2-40B4-BE49-F238E27FC236}">
                <a16:creationId xmlns:a16="http://schemas.microsoft.com/office/drawing/2014/main" id="{14F0825D-90B8-6120-7F14-9DC0960BC9E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63" name="Text Placeholder 6">
            <a:extLst>
              <a:ext uri="{FF2B5EF4-FFF2-40B4-BE49-F238E27FC236}">
                <a16:creationId xmlns:a16="http://schemas.microsoft.com/office/drawing/2014/main" id="{AF40E274-F0AF-0436-1F33-86E04DCC0DAA}"/>
              </a:ext>
            </a:extLst>
          </p:cNvPr>
          <p:cNvSpPr>
            <a:spLocks noGrp="1"/>
          </p:cNvSpPr>
          <p:nvPr>
            <p:ph type="body" sz="quarter" idx="25" hasCustomPrompt="1"/>
          </p:nvPr>
        </p:nvSpPr>
        <p:spPr>
          <a:xfrm>
            <a:off x="515939" y="2931453"/>
            <a:ext cx="2007342" cy="844151"/>
          </a:xfrm>
        </p:spPr>
        <p:txBody>
          <a:bodyPr anchor="b">
            <a:normAutofit/>
          </a:bodyPr>
          <a:lstStyle>
            <a:lvl1pPr>
              <a:defRPr sz="4600" b="1">
                <a:solidFill>
                  <a:schemeClr val="bg2"/>
                </a:solidFill>
              </a:defRPr>
            </a:lvl1pPr>
          </a:lstStyle>
          <a:p>
            <a:pPr lvl="0"/>
            <a:r>
              <a:rPr lang="en-GB"/>
              <a:t>XXXXX</a:t>
            </a:r>
          </a:p>
        </p:txBody>
      </p:sp>
      <p:sp>
        <p:nvSpPr>
          <p:cNvPr id="64" name="Text Placeholder 8">
            <a:extLst>
              <a:ext uri="{FF2B5EF4-FFF2-40B4-BE49-F238E27FC236}">
                <a16:creationId xmlns:a16="http://schemas.microsoft.com/office/drawing/2014/main" id="{DB2C3DC3-9DBF-095B-1AEB-4513EE50C647}"/>
              </a:ext>
            </a:extLst>
          </p:cNvPr>
          <p:cNvSpPr>
            <a:spLocks noGrp="1"/>
          </p:cNvSpPr>
          <p:nvPr>
            <p:ph type="body" idx="13"/>
          </p:nvPr>
        </p:nvSpPr>
        <p:spPr>
          <a:xfrm>
            <a:off x="531133" y="1304924"/>
            <a:ext cx="11144930" cy="1566849"/>
          </a:xfrm>
        </p:spPr>
        <p:txBody>
          <a:bodyPr numCol="1" spcCol="180000">
            <a:normAutofit/>
          </a:bodyPr>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65" name="Text Placeholder 6">
            <a:extLst>
              <a:ext uri="{FF2B5EF4-FFF2-40B4-BE49-F238E27FC236}">
                <a16:creationId xmlns:a16="http://schemas.microsoft.com/office/drawing/2014/main" id="{EBBD32EE-C0FF-E8CB-43E3-315A609AEFE7}"/>
              </a:ext>
            </a:extLst>
          </p:cNvPr>
          <p:cNvSpPr>
            <a:spLocks noGrp="1"/>
          </p:cNvSpPr>
          <p:nvPr>
            <p:ph type="body" sz="quarter" idx="16"/>
          </p:nvPr>
        </p:nvSpPr>
        <p:spPr>
          <a:xfrm>
            <a:off x="515939"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6" name="Text Placeholder 6">
            <a:extLst>
              <a:ext uri="{FF2B5EF4-FFF2-40B4-BE49-F238E27FC236}">
                <a16:creationId xmlns:a16="http://schemas.microsoft.com/office/drawing/2014/main" id="{9E2EB64B-500A-8201-8F3F-287FDE60FB19}"/>
              </a:ext>
            </a:extLst>
          </p:cNvPr>
          <p:cNvSpPr>
            <a:spLocks noGrp="1"/>
          </p:cNvSpPr>
          <p:nvPr>
            <p:ph type="body" sz="quarter" idx="19"/>
          </p:nvPr>
        </p:nvSpPr>
        <p:spPr>
          <a:xfrm>
            <a:off x="2802689"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7" name="Text Placeholder 6">
            <a:extLst>
              <a:ext uri="{FF2B5EF4-FFF2-40B4-BE49-F238E27FC236}">
                <a16:creationId xmlns:a16="http://schemas.microsoft.com/office/drawing/2014/main" id="{709BC01A-3AFB-CE31-0E4A-EE885FE2D5A4}"/>
              </a:ext>
            </a:extLst>
          </p:cNvPr>
          <p:cNvSpPr>
            <a:spLocks noGrp="1"/>
          </p:cNvSpPr>
          <p:nvPr>
            <p:ph type="body" sz="quarter" idx="22"/>
          </p:nvPr>
        </p:nvSpPr>
        <p:spPr>
          <a:xfrm>
            <a:off x="5089439"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8" name="Text Placeholder 6">
            <a:extLst>
              <a:ext uri="{FF2B5EF4-FFF2-40B4-BE49-F238E27FC236}">
                <a16:creationId xmlns:a16="http://schemas.microsoft.com/office/drawing/2014/main" id="{CD03EE5B-6B86-7B77-E541-93CE05115235}"/>
              </a:ext>
            </a:extLst>
          </p:cNvPr>
          <p:cNvSpPr>
            <a:spLocks noGrp="1"/>
          </p:cNvSpPr>
          <p:nvPr>
            <p:ph type="body" sz="quarter" idx="28"/>
          </p:nvPr>
        </p:nvSpPr>
        <p:spPr>
          <a:xfrm>
            <a:off x="7376189"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9" name="Text Placeholder 6">
            <a:extLst>
              <a:ext uri="{FF2B5EF4-FFF2-40B4-BE49-F238E27FC236}">
                <a16:creationId xmlns:a16="http://schemas.microsoft.com/office/drawing/2014/main" id="{F9CB884D-6999-7DC7-1825-FC60BEC935BD}"/>
              </a:ext>
            </a:extLst>
          </p:cNvPr>
          <p:cNvSpPr>
            <a:spLocks noGrp="1"/>
          </p:cNvSpPr>
          <p:nvPr>
            <p:ph type="body" sz="quarter" idx="29"/>
          </p:nvPr>
        </p:nvSpPr>
        <p:spPr>
          <a:xfrm>
            <a:off x="9662940"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70" name="Text Placeholder 6">
            <a:extLst>
              <a:ext uri="{FF2B5EF4-FFF2-40B4-BE49-F238E27FC236}">
                <a16:creationId xmlns:a16="http://schemas.microsoft.com/office/drawing/2014/main" id="{F03D69DA-4061-E20B-1262-8A9F09B92D26}"/>
              </a:ext>
            </a:extLst>
          </p:cNvPr>
          <p:cNvSpPr>
            <a:spLocks noGrp="1"/>
          </p:cNvSpPr>
          <p:nvPr>
            <p:ph type="body" sz="quarter" idx="30" hasCustomPrompt="1"/>
          </p:nvPr>
        </p:nvSpPr>
        <p:spPr>
          <a:xfrm>
            <a:off x="2790107" y="2931453"/>
            <a:ext cx="2007342" cy="844151"/>
          </a:xfrm>
        </p:spPr>
        <p:txBody>
          <a:bodyPr anchor="b">
            <a:normAutofit/>
          </a:bodyPr>
          <a:lstStyle>
            <a:lvl1pPr>
              <a:defRPr sz="4600" b="1">
                <a:solidFill>
                  <a:schemeClr val="bg2"/>
                </a:solidFill>
              </a:defRPr>
            </a:lvl1pPr>
          </a:lstStyle>
          <a:p>
            <a:pPr lvl="0"/>
            <a:r>
              <a:rPr lang="en-GB"/>
              <a:t>XXXXX</a:t>
            </a:r>
          </a:p>
        </p:txBody>
      </p:sp>
      <p:sp>
        <p:nvSpPr>
          <p:cNvPr id="71" name="Text Placeholder 6">
            <a:extLst>
              <a:ext uri="{FF2B5EF4-FFF2-40B4-BE49-F238E27FC236}">
                <a16:creationId xmlns:a16="http://schemas.microsoft.com/office/drawing/2014/main" id="{4DA3F266-6EB8-18CF-146E-FCE0EE2BCCED}"/>
              </a:ext>
            </a:extLst>
          </p:cNvPr>
          <p:cNvSpPr>
            <a:spLocks noGrp="1"/>
          </p:cNvSpPr>
          <p:nvPr>
            <p:ph type="body" sz="quarter" idx="31" hasCustomPrompt="1"/>
          </p:nvPr>
        </p:nvSpPr>
        <p:spPr>
          <a:xfrm>
            <a:off x="5064275" y="2931453"/>
            <a:ext cx="2007342" cy="844151"/>
          </a:xfrm>
        </p:spPr>
        <p:txBody>
          <a:bodyPr anchor="b">
            <a:normAutofit/>
          </a:bodyPr>
          <a:lstStyle>
            <a:lvl1pPr>
              <a:defRPr sz="4600" b="1">
                <a:solidFill>
                  <a:schemeClr val="bg2"/>
                </a:solidFill>
              </a:defRPr>
            </a:lvl1pPr>
          </a:lstStyle>
          <a:p>
            <a:pPr lvl="0"/>
            <a:r>
              <a:rPr lang="en-GB"/>
              <a:t>XXXXX</a:t>
            </a:r>
          </a:p>
        </p:txBody>
      </p:sp>
      <p:sp>
        <p:nvSpPr>
          <p:cNvPr id="72" name="Text Placeholder 6">
            <a:extLst>
              <a:ext uri="{FF2B5EF4-FFF2-40B4-BE49-F238E27FC236}">
                <a16:creationId xmlns:a16="http://schemas.microsoft.com/office/drawing/2014/main" id="{ABAC94EC-4D3A-CEAC-3763-AE5EBA842951}"/>
              </a:ext>
            </a:extLst>
          </p:cNvPr>
          <p:cNvSpPr>
            <a:spLocks noGrp="1"/>
          </p:cNvSpPr>
          <p:nvPr>
            <p:ph type="body" sz="quarter" idx="32" hasCustomPrompt="1"/>
          </p:nvPr>
        </p:nvSpPr>
        <p:spPr>
          <a:xfrm>
            <a:off x="7376189" y="2931453"/>
            <a:ext cx="2007342" cy="844151"/>
          </a:xfrm>
        </p:spPr>
        <p:txBody>
          <a:bodyPr anchor="b">
            <a:normAutofit/>
          </a:bodyPr>
          <a:lstStyle>
            <a:lvl1pPr>
              <a:defRPr sz="4600" b="1">
                <a:solidFill>
                  <a:schemeClr val="bg2"/>
                </a:solidFill>
              </a:defRPr>
            </a:lvl1pPr>
          </a:lstStyle>
          <a:p>
            <a:pPr lvl="0"/>
            <a:r>
              <a:rPr lang="en-GB"/>
              <a:t>XXXXX</a:t>
            </a:r>
          </a:p>
        </p:txBody>
      </p:sp>
      <p:sp>
        <p:nvSpPr>
          <p:cNvPr id="73" name="Text Placeholder 6">
            <a:extLst>
              <a:ext uri="{FF2B5EF4-FFF2-40B4-BE49-F238E27FC236}">
                <a16:creationId xmlns:a16="http://schemas.microsoft.com/office/drawing/2014/main" id="{CB8F9A8E-E04A-1CA2-A320-7A4AE6F70DD9}"/>
              </a:ext>
            </a:extLst>
          </p:cNvPr>
          <p:cNvSpPr>
            <a:spLocks noGrp="1"/>
          </p:cNvSpPr>
          <p:nvPr>
            <p:ph type="body" sz="quarter" idx="33" hasCustomPrompt="1"/>
          </p:nvPr>
        </p:nvSpPr>
        <p:spPr>
          <a:xfrm>
            <a:off x="9662940" y="2931453"/>
            <a:ext cx="2007342" cy="844151"/>
          </a:xfrm>
        </p:spPr>
        <p:txBody>
          <a:bodyPr anchor="b">
            <a:normAutofit/>
          </a:bodyPr>
          <a:lstStyle>
            <a:lvl1pPr>
              <a:defRPr sz="4600" b="1">
                <a:solidFill>
                  <a:schemeClr val="bg2"/>
                </a:solidFill>
              </a:defRPr>
            </a:lvl1pPr>
          </a:lstStyle>
          <a:p>
            <a:pPr lvl="0"/>
            <a:r>
              <a:rPr lang="en-GB"/>
              <a:t>XXXXX</a:t>
            </a:r>
          </a:p>
        </p:txBody>
      </p:sp>
    </p:spTree>
    <p:extLst>
      <p:ext uri="{BB962C8B-B14F-4D97-AF65-F5344CB8AC3E}">
        <p14:creationId xmlns:p14="http://schemas.microsoft.com/office/powerpoint/2010/main" val="2010339517"/>
      </p:ext>
    </p:extLst>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Timeline/Milestones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graphicFrame>
        <p:nvGraphicFramePr>
          <p:cNvPr id="48" name="Table 47">
            <a:extLst>
              <a:ext uri="{FF2B5EF4-FFF2-40B4-BE49-F238E27FC236}">
                <a16:creationId xmlns:a16="http://schemas.microsoft.com/office/drawing/2014/main" id="{B7F29198-E920-459C-2862-C2C7FB6FEB65}"/>
              </a:ext>
            </a:extLst>
          </p:cNvPr>
          <p:cNvGraphicFramePr>
            <a:graphicFrameLocks noGrp="1"/>
          </p:cNvGraphicFramePr>
          <p:nvPr userDrawn="1">
            <p:extLst>
              <p:ext uri="{D42A27DB-BD31-4B8C-83A1-F6EECF244321}">
                <p14:modId xmlns:p14="http://schemas.microsoft.com/office/powerpoint/2010/main" val="2545069581"/>
              </p:ext>
            </p:extLst>
          </p:nvPr>
        </p:nvGraphicFramePr>
        <p:xfrm>
          <a:off x="606585" y="2278196"/>
          <a:ext cx="11007608" cy="3618726"/>
        </p:xfrm>
        <a:graphic>
          <a:graphicData uri="http://schemas.openxmlformats.org/drawingml/2006/table">
            <a:tbl>
              <a:tblPr bandCol="1">
                <a:tableStyleId>{2D5ABB26-0587-4C30-8999-92F81FD0307C}</a:tableStyleId>
              </a:tblPr>
              <a:tblGrid>
                <a:gridCol w="2751902">
                  <a:extLst>
                    <a:ext uri="{9D8B030D-6E8A-4147-A177-3AD203B41FA5}">
                      <a16:colId xmlns:a16="http://schemas.microsoft.com/office/drawing/2014/main" val="4151945498"/>
                    </a:ext>
                  </a:extLst>
                </a:gridCol>
                <a:gridCol w="2751902">
                  <a:extLst>
                    <a:ext uri="{9D8B030D-6E8A-4147-A177-3AD203B41FA5}">
                      <a16:colId xmlns:a16="http://schemas.microsoft.com/office/drawing/2014/main" val="1382627474"/>
                    </a:ext>
                  </a:extLst>
                </a:gridCol>
                <a:gridCol w="2751902">
                  <a:extLst>
                    <a:ext uri="{9D8B030D-6E8A-4147-A177-3AD203B41FA5}">
                      <a16:colId xmlns:a16="http://schemas.microsoft.com/office/drawing/2014/main" val="2312284562"/>
                    </a:ext>
                  </a:extLst>
                </a:gridCol>
                <a:gridCol w="2751902">
                  <a:extLst>
                    <a:ext uri="{9D8B030D-6E8A-4147-A177-3AD203B41FA5}">
                      <a16:colId xmlns:a16="http://schemas.microsoft.com/office/drawing/2014/main" val="380964293"/>
                    </a:ext>
                  </a:extLst>
                </a:gridCol>
              </a:tblGrid>
              <a:tr h="3618726">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extLst>
                  <a:ext uri="{0D108BD9-81ED-4DB2-BD59-A6C34878D82A}">
                    <a16:rowId xmlns:a16="http://schemas.microsoft.com/office/drawing/2014/main" val="3469904028"/>
                  </a:ext>
                </a:extLst>
              </a:tr>
            </a:tbl>
          </a:graphicData>
        </a:graphic>
      </p:graphicFrame>
      <p:sp>
        <p:nvSpPr>
          <p:cNvPr id="49" name="object 14">
            <a:extLst>
              <a:ext uri="{FF2B5EF4-FFF2-40B4-BE49-F238E27FC236}">
                <a16:creationId xmlns:a16="http://schemas.microsoft.com/office/drawing/2014/main" id="{A52E1F34-96C7-3C86-48A7-FAB9C405C20B}"/>
              </a:ext>
            </a:extLst>
          </p:cNvPr>
          <p:cNvSpPr/>
          <p:nvPr userDrawn="1"/>
        </p:nvSpPr>
        <p:spPr>
          <a:xfrm>
            <a:off x="577805" y="2278195"/>
            <a:ext cx="11036388" cy="45719"/>
          </a:xfrm>
          <a:custGeom>
            <a:avLst/>
            <a:gdLst/>
            <a:ahLst/>
            <a:cxnLst/>
            <a:rect l="l" t="t" r="r" b="b"/>
            <a:pathLst>
              <a:path w="18209260">
                <a:moveTo>
                  <a:pt x="0" y="0"/>
                </a:moveTo>
                <a:lnTo>
                  <a:pt x="18208869" y="0"/>
                </a:lnTo>
              </a:path>
            </a:pathLst>
          </a:custGeom>
          <a:ln w="9525">
            <a:solidFill>
              <a:schemeClr val="bg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7" y="222114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1" name="Oval 50">
            <a:extLst>
              <a:ext uri="{FF2B5EF4-FFF2-40B4-BE49-F238E27FC236}">
                <a16:creationId xmlns:a16="http://schemas.microsoft.com/office/drawing/2014/main" id="{47D58FC1-83B9-3BAD-C3EF-06E8D5DE120F}"/>
              </a:ext>
            </a:extLst>
          </p:cNvPr>
          <p:cNvSpPr>
            <a:spLocks noChangeAspect="1"/>
          </p:cNvSpPr>
          <p:nvPr userDrawn="1"/>
        </p:nvSpPr>
        <p:spPr>
          <a:xfrm>
            <a:off x="3460438" y="222114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2" name="Oval 51">
            <a:extLst>
              <a:ext uri="{FF2B5EF4-FFF2-40B4-BE49-F238E27FC236}">
                <a16:creationId xmlns:a16="http://schemas.microsoft.com/office/drawing/2014/main" id="{9D582DFC-3D0D-D5F8-AA6B-5676C8C4B3BF}"/>
              </a:ext>
            </a:extLst>
          </p:cNvPr>
          <p:cNvSpPr>
            <a:spLocks noChangeAspect="1"/>
          </p:cNvSpPr>
          <p:nvPr userDrawn="1"/>
        </p:nvSpPr>
        <p:spPr>
          <a:xfrm>
            <a:off x="6227970" y="222114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3" name="Oval 52">
            <a:extLst>
              <a:ext uri="{FF2B5EF4-FFF2-40B4-BE49-F238E27FC236}">
                <a16:creationId xmlns:a16="http://schemas.microsoft.com/office/drawing/2014/main" id="{DF486150-9219-560A-8B4F-FB551F786E68}"/>
              </a:ext>
            </a:extLst>
          </p:cNvPr>
          <p:cNvSpPr>
            <a:spLocks noChangeAspect="1"/>
          </p:cNvSpPr>
          <p:nvPr userDrawn="1"/>
        </p:nvSpPr>
        <p:spPr>
          <a:xfrm>
            <a:off x="8985924" y="222114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7" y="1818875"/>
            <a:ext cx="2767426" cy="300442"/>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5" name="Text Placeholder 71">
            <a:extLst>
              <a:ext uri="{FF2B5EF4-FFF2-40B4-BE49-F238E27FC236}">
                <a16:creationId xmlns:a16="http://schemas.microsoft.com/office/drawing/2014/main" id="{799F0539-8B24-4E4B-EF4C-121B551D8BA3}"/>
              </a:ext>
            </a:extLst>
          </p:cNvPr>
          <p:cNvSpPr>
            <a:spLocks noGrp="1"/>
          </p:cNvSpPr>
          <p:nvPr>
            <p:ph type="body" sz="quarter" idx="16" hasCustomPrompt="1"/>
          </p:nvPr>
        </p:nvSpPr>
        <p:spPr>
          <a:xfrm>
            <a:off x="3344603" y="1818875"/>
            <a:ext cx="2746295" cy="300442"/>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6" name="Text Placeholder 71">
            <a:extLst>
              <a:ext uri="{FF2B5EF4-FFF2-40B4-BE49-F238E27FC236}">
                <a16:creationId xmlns:a16="http://schemas.microsoft.com/office/drawing/2014/main" id="{9DFB2CE5-A177-E72D-3CD4-2646E4DCE502}"/>
              </a:ext>
            </a:extLst>
          </p:cNvPr>
          <p:cNvSpPr>
            <a:spLocks noGrp="1"/>
          </p:cNvSpPr>
          <p:nvPr>
            <p:ph type="body" sz="quarter" idx="18" hasCustomPrompt="1"/>
          </p:nvPr>
        </p:nvSpPr>
        <p:spPr>
          <a:xfrm>
            <a:off x="6100141" y="1818875"/>
            <a:ext cx="2745959" cy="300442"/>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7" name="Text Placeholder 71">
            <a:extLst>
              <a:ext uri="{FF2B5EF4-FFF2-40B4-BE49-F238E27FC236}">
                <a16:creationId xmlns:a16="http://schemas.microsoft.com/office/drawing/2014/main" id="{7A262EC1-F639-E81C-3343-3DA348DA9266}"/>
              </a:ext>
            </a:extLst>
          </p:cNvPr>
          <p:cNvSpPr>
            <a:spLocks noGrp="1"/>
          </p:cNvSpPr>
          <p:nvPr>
            <p:ph type="body" sz="quarter" idx="20" hasCustomPrompt="1"/>
          </p:nvPr>
        </p:nvSpPr>
        <p:spPr>
          <a:xfrm>
            <a:off x="8846100" y="1818875"/>
            <a:ext cx="2773719" cy="300442"/>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8" name="Text Placeholder 4">
            <a:extLst>
              <a:ext uri="{FF2B5EF4-FFF2-40B4-BE49-F238E27FC236}">
                <a16:creationId xmlns:a16="http://schemas.microsoft.com/office/drawing/2014/main" id="{0FE60C61-D20F-0DE2-38DC-62D2FAD38472}"/>
              </a:ext>
            </a:extLst>
          </p:cNvPr>
          <p:cNvSpPr>
            <a:spLocks noGrp="1"/>
          </p:cNvSpPr>
          <p:nvPr>
            <p:ph type="body" sz="quarter" idx="29"/>
          </p:nvPr>
        </p:nvSpPr>
        <p:spPr>
          <a:xfrm>
            <a:off x="606471"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59" name="Text Placeholder 4">
            <a:extLst>
              <a:ext uri="{FF2B5EF4-FFF2-40B4-BE49-F238E27FC236}">
                <a16:creationId xmlns:a16="http://schemas.microsoft.com/office/drawing/2014/main" id="{7F661011-0524-7D80-F0B1-7EB66B450ADE}"/>
              </a:ext>
            </a:extLst>
          </p:cNvPr>
          <p:cNvSpPr>
            <a:spLocks noGrp="1"/>
          </p:cNvSpPr>
          <p:nvPr>
            <p:ph type="body" sz="quarter" idx="30"/>
          </p:nvPr>
        </p:nvSpPr>
        <p:spPr>
          <a:xfrm>
            <a:off x="3361059"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0" name="Text Placeholder 4">
            <a:extLst>
              <a:ext uri="{FF2B5EF4-FFF2-40B4-BE49-F238E27FC236}">
                <a16:creationId xmlns:a16="http://schemas.microsoft.com/office/drawing/2014/main" id="{5F501377-4DE1-C96B-B5CB-4675C424B7FF}"/>
              </a:ext>
            </a:extLst>
          </p:cNvPr>
          <p:cNvSpPr>
            <a:spLocks noGrp="1"/>
          </p:cNvSpPr>
          <p:nvPr>
            <p:ph type="body" sz="quarter" idx="31"/>
          </p:nvPr>
        </p:nvSpPr>
        <p:spPr>
          <a:xfrm>
            <a:off x="6100140"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1" name="Text Placeholder 4">
            <a:extLst>
              <a:ext uri="{FF2B5EF4-FFF2-40B4-BE49-F238E27FC236}">
                <a16:creationId xmlns:a16="http://schemas.microsoft.com/office/drawing/2014/main" id="{71120A03-3A4D-1301-C17A-86C4C1605881}"/>
              </a:ext>
            </a:extLst>
          </p:cNvPr>
          <p:cNvSpPr>
            <a:spLocks noGrp="1"/>
          </p:cNvSpPr>
          <p:nvPr>
            <p:ph type="body" sz="quarter" idx="32"/>
          </p:nvPr>
        </p:nvSpPr>
        <p:spPr>
          <a:xfrm>
            <a:off x="8848429"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2779632801"/>
      </p:ext>
    </p:extLst>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Timeline/Milestones x5">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graphicFrame>
        <p:nvGraphicFramePr>
          <p:cNvPr id="48" name="Table 47">
            <a:extLst>
              <a:ext uri="{FF2B5EF4-FFF2-40B4-BE49-F238E27FC236}">
                <a16:creationId xmlns:a16="http://schemas.microsoft.com/office/drawing/2014/main" id="{B7F29198-E920-459C-2862-C2C7FB6FEB65}"/>
              </a:ext>
            </a:extLst>
          </p:cNvPr>
          <p:cNvGraphicFramePr>
            <a:graphicFrameLocks noGrp="1"/>
          </p:cNvGraphicFramePr>
          <p:nvPr userDrawn="1">
            <p:extLst>
              <p:ext uri="{D42A27DB-BD31-4B8C-83A1-F6EECF244321}">
                <p14:modId xmlns:p14="http://schemas.microsoft.com/office/powerpoint/2010/main" val="1495489908"/>
              </p:ext>
            </p:extLst>
          </p:nvPr>
        </p:nvGraphicFramePr>
        <p:xfrm>
          <a:off x="606585" y="2265316"/>
          <a:ext cx="11007610" cy="3618719"/>
        </p:xfrm>
        <a:graphic>
          <a:graphicData uri="http://schemas.openxmlformats.org/drawingml/2006/table">
            <a:tbl>
              <a:tblPr bandCol="1">
                <a:tableStyleId>{2D5ABB26-0587-4C30-8999-92F81FD0307C}</a:tableStyleId>
              </a:tblPr>
              <a:tblGrid>
                <a:gridCol w="2201522">
                  <a:extLst>
                    <a:ext uri="{9D8B030D-6E8A-4147-A177-3AD203B41FA5}">
                      <a16:colId xmlns:a16="http://schemas.microsoft.com/office/drawing/2014/main" val="4151945498"/>
                    </a:ext>
                  </a:extLst>
                </a:gridCol>
                <a:gridCol w="2201522">
                  <a:extLst>
                    <a:ext uri="{9D8B030D-6E8A-4147-A177-3AD203B41FA5}">
                      <a16:colId xmlns:a16="http://schemas.microsoft.com/office/drawing/2014/main" val="1382627474"/>
                    </a:ext>
                  </a:extLst>
                </a:gridCol>
                <a:gridCol w="2201522">
                  <a:extLst>
                    <a:ext uri="{9D8B030D-6E8A-4147-A177-3AD203B41FA5}">
                      <a16:colId xmlns:a16="http://schemas.microsoft.com/office/drawing/2014/main" val="2312284562"/>
                    </a:ext>
                  </a:extLst>
                </a:gridCol>
                <a:gridCol w="2201522">
                  <a:extLst>
                    <a:ext uri="{9D8B030D-6E8A-4147-A177-3AD203B41FA5}">
                      <a16:colId xmlns:a16="http://schemas.microsoft.com/office/drawing/2014/main" val="380964293"/>
                    </a:ext>
                  </a:extLst>
                </a:gridCol>
                <a:gridCol w="2201522">
                  <a:extLst>
                    <a:ext uri="{9D8B030D-6E8A-4147-A177-3AD203B41FA5}">
                      <a16:colId xmlns:a16="http://schemas.microsoft.com/office/drawing/2014/main" val="2456329606"/>
                    </a:ext>
                  </a:extLst>
                </a:gridCol>
              </a:tblGrid>
              <a:tr h="3618719">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noFill/>
                  </a:tcPr>
                </a:tc>
                <a:extLst>
                  <a:ext uri="{0D108BD9-81ED-4DB2-BD59-A6C34878D82A}">
                    <a16:rowId xmlns:a16="http://schemas.microsoft.com/office/drawing/2014/main" val="3469904028"/>
                  </a:ext>
                </a:extLst>
              </a:tr>
            </a:tbl>
          </a:graphicData>
        </a:graphic>
      </p:graphicFrame>
      <p:sp>
        <p:nvSpPr>
          <p:cNvPr id="49" name="object 14">
            <a:extLst>
              <a:ext uri="{FF2B5EF4-FFF2-40B4-BE49-F238E27FC236}">
                <a16:creationId xmlns:a16="http://schemas.microsoft.com/office/drawing/2014/main" id="{A52E1F34-96C7-3C86-48A7-FAB9C405C20B}"/>
              </a:ext>
            </a:extLst>
          </p:cNvPr>
          <p:cNvSpPr/>
          <p:nvPr userDrawn="1"/>
        </p:nvSpPr>
        <p:spPr>
          <a:xfrm>
            <a:off x="577805" y="2265316"/>
            <a:ext cx="11042014" cy="0"/>
          </a:xfrm>
          <a:custGeom>
            <a:avLst/>
            <a:gdLst/>
            <a:ahLst/>
            <a:cxnLst/>
            <a:rect l="l" t="t" r="r" b="b"/>
            <a:pathLst>
              <a:path w="18209260">
                <a:moveTo>
                  <a:pt x="0" y="0"/>
                </a:moveTo>
                <a:lnTo>
                  <a:pt x="18208869" y="0"/>
                </a:lnTo>
              </a:path>
            </a:pathLst>
          </a:custGeom>
          <a:ln w="9525">
            <a:solidFill>
              <a:schemeClr val="bg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7"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1" name="Oval 50">
            <a:extLst>
              <a:ext uri="{FF2B5EF4-FFF2-40B4-BE49-F238E27FC236}">
                <a16:creationId xmlns:a16="http://schemas.microsoft.com/office/drawing/2014/main" id="{47D58FC1-83B9-3BAD-C3EF-06E8D5DE120F}"/>
              </a:ext>
            </a:extLst>
          </p:cNvPr>
          <p:cNvSpPr>
            <a:spLocks noChangeAspect="1"/>
          </p:cNvSpPr>
          <p:nvPr userDrawn="1"/>
        </p:nvSpPr>
        <p:spPr>
          <a:xfrm>
            <a:off x="2892295"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7" y="1805995"/>
            <a:ext cx="2217229"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5" name="Text Placeholder 71">
            <a:extLst>
              <a:ext uri="{FF2B5EF4-FFF2-40B4-BE49-F238E27FC236}">
                <a16:creationId xmlns:a16="http://schemas.microsoft.com/office/drawing/2014/main" id="{799F0539-8B24-4E4B-EF4C-121B551D8BA3}"/>
              </a:ext>
            </a:extLst>
          </p:cNvPr>
          <p:cNvSpPr>
            <a:spLocks noGrp="1"/>
          </p:cNvSpPr>
          <p:nvPr>
            <p:ph type="body" sz="quarter" idx="16" hasCustomPrompt="1"/>
          </p:nvPr>
        </p:nvSpPr>
        <p:spPr>
          <a:xfrm>
            <a:off x="2789882" y="1805995"/>
            <a:ext cx="2200300"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8" name="Text Placeholder 4">
            <a:extLst>
              <a:ext uri="{FF2B5EF4-FFF2-40B4-BE49-F238E27FC236}">
                <a16:creationId xmlns:a16="http://schemas.microsoft.com/office/drawing/2014/main" id="{0FE60C61-D20F-0DE2-38DC-62D2FAD38472}"/>
              </a:ext>
            </a:extLst>
          </p:cNvPr>
          <p:cNvSpPr>
            <a:spLocks noGrp="1"/>
          </p:cNvSpPr>
          <p:nvPr>
            <p:ph type="body" sz="quarter" idx="29"/>
          </p:nvPr>
        </p:nvSpPr>
        <p:spPr>
          <a:xfrm>
            <a:off x="606471" y="2567720"/>
            <a:ext cx="2193481"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59" name="Text Placeholder 4">
            <a:extLst>
              <a:ext uri="{FF2B5EF4-FFF2-40B4-BE49-F238E27FC236}">
                <a16:creationId xmlns:a16="http://schemas.microsoft.com/office/drawing/2014/main" id="{7F661011-0524-7D80-F0B1-7EB66B450ADE}"/>
              </a:ext>
            </a:extLst>
          </p:cNvPr>
          <p:cNvSpPr>
            <a:spLocks noGrp="1"/>
          </p:cNvSpPr>
          <p:nvPr>
            <p:ph type="body" sz="quarter" idx="30"/>
          </p:nvPr>
        </p:nvSpPr>
        <p:spPr>
          <a:xfrm>
            <a:off x="2806338" y="2567720"/>
            <a:ext cx="2193482"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3" name="Oval 22">
            <a:extLst>
              <a:ext uri="{FF2B5EF4-FFF2-40B4-BE49-F238E27FC236}">
                <a16:creationId xmlns:a16="http://schemas.microsoft.com/office/drawing/2014/main" id="{52428D8F-1413-2F6F-66F0-EA64E72C6F19}"/>
              </a:ext>
            </a:extLst>
          </p:cNvPr>
          <p:cNvSpPr>
            <a:spLocks noChangeAspect="1"/>
          </p:cNvSpPr>
          <p:nvPr userDrawn="1"/>
        </p:nvSpPr>
        <p:spPr>
          <a:xfrm>
            <a:off x="5108619"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24" name="Text Placeholder 71">
            <a:extLst>
              <a:ext uri="{FF2B5EF4-FFF2-40B4-BE49-F238E27FC236}">
                <a16:creationId xmlns:a16="http://schemas.microsoft.com/office/drawing/2014/main" id="{ED2B6425-619B-AFAF-1CF5-12D51DA09538}"/>
              </a:ext>
            </a:extLst>
          </p:cNvPr>
          <p:cNvSpPr>
            <a:spLocks noGrp="1"/>
          </p:cNvSpPr>
          <p:nvPr>
            <p:ph type="body" sz="quarter" idx="33" hasCustomPrompt="1"/>
          </p:nvPr>
        </p:nvSpPr>
        <p:spPr>
          <a:xfrm>
            <a:off x="5006206" y="1805995"/>
            <a:ext cx="2200300"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25" name="Text Placeholder 4">
            <a:extLst>
              <a:ext uri="{FF2B5EF4-FFF2-40B4-BE49-F238E27FC236}">
                <a16:creationId xmlns:a16="http://schemas.microsoft.com/office/drawing/2014/main" id="{42048595-A0EA-7BB4-A2D8-622DB0779CAC}"/>
              </a:ext>
            </a:extLst>
          </p:cNvPr>
          <p:cNvSpPr>
            <a:spLocks noGrp="1"/>
          </p:cNvSpPr>
          <p:nvPr>
            <p:ph type="body" sz="quarter" idx="34"/>
          </p:nvPr>
        </p:nvSpPr>
        <p:spPr>
          <a:xfrm>
            <a:off x="5022662" y="2567720"/>
            <a:ext cx="2193482"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Oval 25">
            <a:extLst>
              <a:ext uri="{FF2B5EF4-FFF2-40B4-BE49-F238E27FC236}">
                <a16:creationId xmlns:a16="http://schemas.microsoft.com/office/drawing/2014/main" id="{E31A4FAF-CCB7-1F56-BEE2-622CF1A54FAB}"/>
              </a:ext>
            </a:extLst>
          </p:cNvPr>
          <p:cNvSpPr>
            <a:spLocks noChangeAspect="1"/>
          </p:cNvSpPr>
          <p:nvPr userDrawn="1"/>
        </p:nvSpPr>
        <p:spPr>
          <a:xfrm>
            <a:off x="7304231"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27" name="Text Placeholder 71">
            <a:extLst>
              <a:ext uri="{FF2B5EF4-FFF2-40B4-BE49-F238E27FC236}">
                <a16:creationId xmlns:a16="http://schemas.microsoft.com/office/drawing/2014/main" id="{AD33553F-FF2E-A084-58B1-CABD32043C6D}"/>
              </a:ext>
            </a:extLst>
          </p:cNvPr>
          <p:cNvSpPr>
            <a:spLocks noGrp="1"/>
          </p:cNvSpPr>
          <p:nvPr>
            <p:ph type="body" sz="quarter" idx="35" hasCustomPrompt="1"/>
          </p:nvPr>
        </p:nvSpPr>
        <p:spPr>
          <a:xfrm>
            <a:off x="7201818" y="1805995"/>
            <a:ext cx="2200300"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28" name="Text Placeholder 4">
            <a:extLst>
              <a:ext uri="{FF2B5EF4-FFF2-40B4-BE49-F238E27FC236}">
                <a16:creationId xmlns:a16="http://schemas.microsoft.com/office/drawing/2014/main" id="{E55650A2-C067-405B-1B74-AC970B406C55}"/>
              </a:ext>
            </a:extLst>
          </p:cNvPr>
          <p:cNvSpPr>
            <a:spLocks noGrp="1"/>
          </p:cNvSpPr>
          <p:nvPr>
            <p:ph type="body" sz="quarter" idx="36"/>
          </p:nvPr>
        </p:nvSpPr>
        <p:spPr>
          <a:xfrm>
            <a:off x="7218274" y="2567720"/>
            <a:ext cx="2193482"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9" name="Oval 28">
            <a:extLst>
              <a:ext uri="{FF2B5EF4-FFF2-40B4-BE49-F238E27FC236}">
                <a16:creationId xmlns:a16="http://schemas.microsoft.com/office/drawing/2014/main" id="{965D2802-7493-9694-05E4-80CC2EF9B231}"/>
              </a:ext>
            </a:extLst>
          </p:cNvPr>
          <p:cNvSpPr>
            <a:spLocks noChangeAspect="1"/>
          </p:cNvSpPr>
          <p:nvPr userDrawn="1"/>
        </p:nvSpPr>
        <p:spPr>
          <a:xfrm>
            <a:off x="9512554"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30" name="Text Placeholder 71">
            <a:extLst>
              <a:ext uri="{FF2B5EF4-FFF2-40B4-BE49-F238E27FC236}">
                <a16:creationId xmlns:a16="http://schemas.microsoft.com/office/drawing/2014/main" id="{71110D7A-CD1D-2C97-57A0-9A17C8D3134A}"/>
              </a:ext>
            </a:extLst>
          </p:cNvPr>
          <p:cNvSpPr>
            <a:spLocks noGrp="1"/>
          </p:cNvSpPr>
          <p:nvPr>
            <p:ph type="body" sz="quarter" idx="37" hasCustomPrompt="1"/>
          </p:nvPr>
        </p:nvSpPr>
        <p:spPr>
          <a:xfrm>
            <a:off x="9410141" y="1805995"/>
            <a:ext cx="2200300"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31" name="Text Placeholder 4">
            <a:extLst>
              <a:ext uri="{FF2B5EF4-FFF2-40B4-BE49-F238E27FC236}">
                <a16:creationId xmlns:a16="http://schemas.microsoft.com/office/drawing/2014/main" id="{4E1F3181-D3F3-3AA6-E3A7-A60D86BCE4F3}"/>
              </a:ext>
            </a:extLst>
          </p:cNvPr>
          <p:cNvSpPr>
            <a:spLocks noGrp="1"/>
          </p:cNvSpPr>
          <p:nvPr>
            <p:ph type="body" sz="quarter" idx="38"/>
          </p:nvPr>
        </p:nvSpPr>
        <p:spPr>
          <a:xfrm>
            <a:off x="9426597" y="2567720"/>
            <a:ext cx="2193482"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187844056"/>
      </p:ext>
    </p:extLst>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Timeline/Milestones x6">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graphicFrame>
        <p:nvGraphicFramePr>
          <p:cNvPr id="48" name="Table 47">
            <a:extLst>
              <a:ext uri="{FF2B5EF4-FFF2-40B4-BE49-F238E27FC236}">
                <a16:creationId xmlns:a16="http://schemas.microsoft.com/office/drawing/2014/main" id="{B7F29198-E920-459C-2862-C2C7FB6FEB65}"/>
              </a:ext>
            </a:extLst>
          </p:cNvPr>
          <p:cNvGraphicFramePr>
            <a:graphicFrameLocks noGrp="1"/>
          </p:cNvGraphicFramePr>
          <p:nvPr userDrawn="1">
            <p:extLst>
              <p:ext uri="{D42A27DB-BD31-4B8C-83A1-F6EECF244321}">
                <p14:modId xmlns:p14="http://schemas.microsoft.com/office/powerpoint/2010/main" val="3220648469"/>
              </p:ext>
            </p:extLst>
          </p:nvPr>
        </p:nvGraphicFramePr>
        <p:xfrm>
          <a:off x="577178" y="2265316"/>
          <a:ext cx="11007612" cy="3618719"/>
        </p:xfrm>
        <a:graphic>
          <a:graphicData uri="http://schemas.openxmlformats.org/drawingml/2006/table">
            <a:tbl>
              <a:tblPr bandCol="1">
                <a:tableStyleId>{2D5ABB26-0587-4C30-8999-92F81FD0307C}</a:tableStyleId>
              </a:tblPr>
              <a:tblGrid>
                <a:gridCol w="1834602">
                  <a:extLst>
                    <a:ext uri="{9D8B030D-6E8A-4147-A177-3AD203B41FA5}">
                      <a16:colId xmlns:a16="http://schemas.microsoft.com/office/drawing/2014/main" val="4151945498"/>
                    </a:ext>
                  </a:extLst>
                </a:gridCol>
                <a:gridCol w="1834602">
                  <a:extLst>
                    <a:ext uri="{9D8B030D-6E8A-4147-A177-3AD203B41FA5}">
                      <a16:colId xmlns:a16="http://schemas.microsoft.com/office/drawing/2014/main" val="1382627474"/>
                    </a:ext>
                  </a:extLst>
                </a:gridCol>
                <a:gridCol w="1834602">
                  <a:extLst>
                    <a:ext uri="{9D8B030D-6E8A-4147-A177-3AD203B41FA5}">
                      <a16:colId xmlns:a16="http://schemas.microsoft.com/office/drawing/2014/main" val="2312284562"/>
                    </a:ext>
                  </a:extLst>
                </a:gridCol>
                <a:gridCol w="1834602">
                  <a:extLst>
                    <a:ext uri="{9D8B030D-6E8A-4147-A177-3AD203B41FA5}">
                      <a16:colId xmlns:a16="http://schemas.microsoft.com/office/drawing/2014/main" val="380964293"/>
                    </a:ext>
                  </a:extLst>
                </a:gridCol>
                <a:gridCol w="1834602">
                  <a:extLst>
                    <a:ext uri="{9D8B030D-6E8A-4147-A177-3AD203B41FA5}">
                      <a16:colId xmlns:a16="http://schemas.microsoft.com/office/drawing/2014/main" val="2456329606"/>
                    </a:ext>
                  </a:extLst>
                </a:gridCol>
                <a:gridCol w="1834602">
                  <a:extLst>
                    <a:ext uri="{9D8B030D-6E8A-4147-A177-3AD203B41FA5}">
                      <a16:colId xmlns:a16="http://schemas.microsoft.com/office/drawing/2014/main" val="2168740535"/>
                    </a:ext>
                  </a:extLst>
                </a:gridCol>
              </a:tblGrid>
              <a:tr h="3618719">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extLst>
                  <a:ext uri="{0D108BD9-81ED-4DB2-BD59-A6C34878D82A}">
                    <a16:rowId xmlns:a16="http://schemas.microsoft.com/office/drawing/2014/main" val="3469904028"/>
                  </a:ext>
                </a:extLst>
              </a:tr>
            </a:tbl>
          </a:graphicData>
        </a:graphic>
      </p:graphicFrame>
      <p:sp>
        <p:nvSpPr>
          <p:cNvPr id="49" name="object 14">
            <a:extLst>
              <a:ext uri="{FF2B5EF4-FFF2-40B4-BE49-F238E27FC236}">
                <a16:creationId xmlns:a16="http://schemas.microsoft.com/office/drawing/2014/main" id="{A52E1F34-96C7-3C86-48A7-FAB9C405C20B}"/>
              </a:ext>
            </a:extLst>
          </p:cNvPr>
          <p:cNvSpPr/>
          <p:nvPr userDrawn="1"/>
        </p:nvSpPr>
        <p:spPr>
          <a:xfrm>
            <a:off x="577805" y="2265315"/>
            <a:ext cx="11006985" cy="45719"/>
          </a:xfrm>
          <a:custGeom>
            <a:avLst/>
            <a:gdLst/>
            <a:ahLst/>
            <a:cxnLst/>
            <a:rect l="l" t="t" r="r" b="b"/>
            <a:pathLst>
              <a:path w="18209260">
                <a:moveTo>
                  <a:pt x="0" y="0"/>
                </a:moveTo>
                <a:lnTo>
                  <a:pt x="18208869" y="0"/>
                </a:lnTo>
              </a:path>
            </a:pathLst>
          </a:custGeom>
          <a:ln w="9525">
            <a:solidFill>
              <a:schemeClr val="bg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7"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7"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8" name="Text Placeholder 4">
            <a:extLst>
              <a:ext uri="{FF2B5EF4-FFF2-40B4-BE49-F238E27FC236}">
                <a16:creationId xmlns:a16="http://schemas.microsoft.com/office/drawing/2014/main" id="{0FE60C61-D20F-0DE2-38DC-62D2FAD38472}"/>
              </a:ext>
            </a:extLst>
          </p:cNvPr>
          <p:cNvSpPr>
            <a:spLocks noGrp="1"/>
          </p:cNvSpPr>
          <p:nvPr>
            <p:ph type="body" sz="quarter" idx="29"/>
          </p:nvPr>
        </p:nvSpPr>
        <p:spPr>
          <a:xfrm>
            <a:off x="577178"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2" name="Oval 61">
            <a:extLst>
              <a:ext uri="{FF2B5EF4-FFF2-40B4-BE49-F238E27FC236}">
                <a16:creationId xmlns:a16="http://schemas.microsoft.com/office/drawing/2014/main" id="{178D6D93-FD32-F6AE-2A57-61C348C02B3E}"/>
              </a:ext>
            </a:extLst>
          </p:cNvPr>
          <p:cNvSpPr>
            <a:spLocks noChangeAspect="1"/>
          </p:cNvSpPr>
          <p:nvPr userDrawn="1"/>
        </p:nvSpPr>
        <p:spPr>
          <a:xfrm>
            <a:off x="2515019"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63" name="Text Placeholder 71">
            <a:extLst>
              <a:ext uri="{FF2B5EF4-FFF2-40B4-BE49-F238E27FC236}">
                <a16:creationId xmlns:a16="http://schemas.microsoft.com/office/drawing/2014/main" id="{21AE5853-8A99-8A93-1D01-2F7FCE23E3DD}"/>
              </a:ext>
            </a:extLst>
          </p:cNvPr>
          <p:cNvSpPr>
            <a:spLocks noGrp="1"/>
          </p:cNvSpPr>
          <p:nvPr>
            <p:ph type="body" sz="quarter" idx="30" hasCustomPrompt="1"/>
          </p:nvPr>
        </p:nvSpPr>
        <p:spPr>
          <a:xfrm>
            <a:off x="2411179"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64" name="Text Placeholder 4">
            <a:extLst>
              <a:ext uri="{FF2B5EF4-FFF2-40B4-BE49-F238E27FC236}">
                <a16:creationId xmlns:a16="http://schemas.microsoft.com/office/drawing/2014/main" id="{1AA430BA-739B-1F40-97FF-53B14467EF88}"/>
              </a:ext>
            </a:extLst>
          </p:cNvPr>
          <p:cNvSpPr>
            <a:spLocks noGrp="1"/>
          </p:cNvSpPr>
          <p:nvPr>
            <p:ph type="body" sz="quarter" idx="31"/>
          </p:nvPr>
        </p:nvSpPr>
        <p:spPr>
          <a:xfrm>
            <a:off x="2411180"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5" name="Oval 64">
            <a:extLst>
              <a:ext uri="{FF2B5EF4-FFF2-40B4-BE49-F238E27FC236}">
                <a16:creationId xmlns:a16="http://schemas.microsoft.com/office/drawing/2014/main" id="{DC0E5BE5-8378-48E2-C8D1-F22E49536780}"/>
              </a:ext>
            </a:extLst>
          </p:cNvPr>
          <p:cNvSpPr>
            <a:spLocks noChangeAspect="1"/>
          </p:cNvSpPr>
          <p:nvPr userDrawn="1"/>
        </p:nvSpPr>
        <p:spPr>
          <a:xfrm>
            <a:off x="4364033"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66" name="Text Placeholder 71">
            <a:extLst>
              <a:ext uri="{FF2B5EF4-FFF2-40B4-BE49-F238E27FC236}">
                <a16:creationId xmlns:a16="http://schemas.microsoft.com/office/drawing/2014/main" id="{DDCEF4C9-0B45-4A5E-2D03-31D3672575C4}"/>
              </a:ext>
            </a:extLst>
          </p:cNvPr>
          <p:cNvSpPr>
            <a:spLocks noGrp="1"/>
          </p:cNvSpPr>
          <p:nvPr>
            <p:ph type="body" sz="quarter" idx="32" hasCustomPrompt="1"/>
          </p:nvPr>
        </p:nvSpPr>
        <p:spPr>
          <a:xfrm>
            <a:off x="4260193"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67" name="Text Placeholder 4">
            <a:extLst>
              <a:ext uri="{FF2B5EF4-FFF2-40B4-BE49-F238E27FC236}">
                <a16:creationId xmlns:a16="http://schemas.microsoft.com/office/drawing/2014/main" id="{B994265A-DDDF-4B03-8D82-FB42EFBCBCE6}"/>
              </a:ext>
            </a:extLst>
          </p:cNvPr>
          <p:cNvSpPr>
            <a:spLocks noGrp="1"/>
          </p:cNvSpPr>
          <p:nvPr>
            <p:ph type="body" sz="quarter" idx="33"/>
          </p:nvPr>
        </p:nvSpPr>
        <p:spPr>
          <a:xfrm>
            <a:off x="4260194"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8" name="Oval 67">
            <a:extLst>
              <a:ext uri="{FF2B5EF4-FFF2-40B4-BE49-F238E27FC236}">
                <a16:creationId xmlns:a16="http://schemas.microsoft.com/office/drawing/2014/main" id="{0F31CF81-312F-837D-5714-92C7014354C5}"/>
              </a:ext>
            </a:extLst>
          </p:cNvPr>
          <p:cNvSpPr>
            <a:spLocks noChangeAspect="1"/>
          </p:cNvSpPr>
          <p:nvPr userDrawn="1"/>
        </p:nvSpPr>
        <p:spPr>
          <a:xfrm>
            <a:off x="6199839"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69" name="Text Placeholder 71">
            <a:extLst>
              <a:ext uri="{FF2B5EF4-FFF2-40B4-BE49-F238E27FC236}">
                <a16:creationId xmlns:a16="http://schemas.microsoft.com/office/drawing/2014/main" id="{62AEAA69-3020-A0FF-5608-7AFD7A5D2986}"/>
              </a:ext>
            </a:extLst>
          </p:cNvPr>
          <p:cNvSpPr>
            <a:spLocks noGrp="1"/>
          </p:cNvSpPr>
          <p:nvPr>
            <p:ph type="body" sz="quarter" idx="34" hasCustomPrompt="1"/>
          </p:nvPr>
        </p:nvSpPr>
        <p:spPr>
          <a:xfrm>
            <a:off x="6095999"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70" name="Text Placeholder 4">
            <a:extLst>
              <a:ext uri="{FF2B5EF4-FFF2-40B4-BE49-F238E27FC236}">
                <a16:creationId xmlns:a16="http://schemas.microsoft.com/office/drawing/2014/main" id="{79626162-0EE9-3BA8-0CDF-67028FE32F18}"/>
              </a:ext>
            </a:extLst>
          </p:cNvPr>
          <p:cNvSpPr>
            <a:spLocks noGrp="1"/>
          </p:cNvSpPr>
          <p:nvPr>
            <p:ph type="body" sz="quarter" idx="35"/>
          </p:nvPr>
        </p:nvSpPr>
        <p:spPr>
          <a:xfrm>
            <a:off x="6096000"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71" name="Oval 70">
            <a:extLst>
              <a:ext uri="{FF2B5EF4-FFF2-40B4-BE49-F238E27FC236}">
                <a16:creationId xmlns:a16="http://schemas.microsoft.com/office/drawing/2014/main" id="{D4AB8F32-B492-2CD9-826C-E5C5378592C9}"/>
              </a:ext>
            </a:extLst>
          </p:cNvPr>
          <p:cNvSpPr>
            <a:spLocks noChangeAspect="1"/>
          </p:cNvSpPr>
          <p:nvPr userDrawn="1"/>
        </p:nvSpPr>
        <p:spPr>
          <a:xfrm>
            <a:off x="8035644"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72" name="Text Placeholder 71">
            <a:extLst>
              <a:ext uri="{FF2B5EF4-FFF2-40B4-BE49-F238E27FC236}">
                <a16:creationId xmlns:a16="http://schemas.microsoft.com/office/drawing/2014/main" id="{3F1D7A91-7111-6E5C-279C-1B1D96950821}"/>
              </a:ext>
            </a:extLst>
          </p:cNvPr>
          <p:cNvSpPr>
            <a:spLocks noGrp="1"/>
          </p:cNvSpPr>
          <p:nvPr>
            <p:ph type="body" sz="quarter" idx="36" hasCustomPrompt="1"/>
          </p:nvPr>
        </p:nvSpPr>
        <p:spPr>
          <a:xfrm>
            <a:off x="7931804"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73" name="Text Placeholder 4">
            <a:extLst>
              <a:ext uri="{FF2B5EF4-FFF2-40B4-BE49-F238E27FC236}">
                <a16:creationId xmlns:a16="http://schemas.microsoft.com/office/drawing/2014/main" id="{0E2562B9-545B-AF00-D9F9-44E167A11B93}"/>
              </a:ext>
            </a:extLst>
          </p:cNvPr>
          <p:cNvSpPr>
            <a:spLocks noGrp="1"/>
          </p:cNvSpPr>
          <p:nvPr>
            <p:ph type="body" sz="quarter" idx="37"/>
          </p:nvPr>
        </p:nvSpPr>
        <p:spPr>
          <a:xfrm>
            <a:off x="7931805"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74" name="Oval 73">
            <a:extLst>
              <a:ext uri="{FF2B5EF4-FFF2-40B4-BE49-F238E27FC236}">
                <a16:creationId xmlns:a16="http://schemas.microsoft.com/office/drawing/2014/main" id="{A45C6367-A74F-1C2C-672E-F2E6078D3C68}"/>
              </a:ext>
            </a:extLst>
          </p:cNvPr>
          <p:cNvSpPr>
            <a:spLocks noChangeAspect="1"/>
          </p:cNvSpPr>
          <p:nvPr userDrawn="1"/>
        </p:nvSpPr>
        <p:spPr>
          <a:xfrm>
            <a:off x="9847196"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75" name="Text Placeholder 71">
            <a:extLst>
              <a:ext uri="{FF2B5EF4-FFF2-40B4-BE49-F238E27FC236}">
                <a16:creationId xmlns:a16="http://schemas.microsoft.com/office/drawing/2014/main" id="{5865903F-F98B-94C0-7563-3A297E41DA2E}"/>
              </a:ext>
            </a:extLst>
          </p:cNvPr>
          <p:cNvSpPr>
            <a:spLocks noGrp="1"/>
          </p:cNvSpPr>
          <p:nvPr>
            <p:ph type="body" sz="quarter" idx="38" hasCustomPrompt="1"/>
          </p:nvPr>
        </p:nvSpPr>
        <p:spPr>
          <a:xfrm>
            <a:off x="9743356"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76" name="Text Placeholder 4">
            <a:extLst>
              <a:ext uri="{FF2B5EF4-FFF2-40B4-BE49-F238E27FC236}">
                <a16:creationId xmlns:a16="http://schemas.microsoft.com/office/drawing/2014/main" id="{CAB912CE-814A-19EE-2402-D55C72FA588E}"/>
              </a:ext>
            </a:extLst>
          </p:cNvPr>
          <p:cNvSpPr>
            <a:spLocks noGrp="1"/>
          </p:cNvSpPr>
          <p:nvPr>
            <p:ph type="body" sz="quarter" idx="39"/>
          </p:nvPr>
        </p:nvSpPr>
        <p:spPr>
          <a:xfrm>
            <a:off x="9743357"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2770265082"/>
      </p:ext>
    </p:extLst>
  </p:cSld>
  <p:clrMapOvr>
    <a:masterClrMapping/>
  </p:clrMapOvr>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Annual Timeline">
    <p:spTree>
      <p:nvGrpSpPr>
        <p:cNvPr id="1" name=""/>
        <p:cNvGrpSpPr/>
        <p:nvPr/>
      </p:nvGrpSpPr>
      <p:grpSpPr>
        <a:xfrm>
          <a:off x="0" y="0"/>
          <a:ext cx="0" cy="0"/>
          <a:chOff x="0" y="0"/>
          <a:chExt cx="0" cy="0"/>
        </a:xfrm>
      </p:grpSpPr>
      <p:graphicFrame>
        <p:nvGraphicFramePr>
          <p:cNvPr id="30" name="Table 29">
            <a:extLst>
              <a:ext uri="{FF2B5EF4-FFF2-40B4-BE49-F238E27FC236}">
                <a16:creationId xmlns:a16="http://schemas.microsoft.com/office/drawing/2014/main" id="{803BAA2C-9254-B18D-A058-251E52C66E89}"/>
              </a:ext>
            </a:extLst>
          </p:cNvPr>
          <p:cNvGraphicFramePr>
            <a:graphicFrameLocks noGrp="1"/>
          </p:cNvGraphicFramePr>
          <p:nvPr userDrawn="1">
            <p:extLst>
              <p:ext uri="{D42A27DB-BD31-4B8C-83A1-F6EECF244321}">
                <p14:modId xmlns:p14="http://schemas.microsoft.com/office/powerpoint/2010/main" val="4106880639"/>
              </p:ext>
            </p:extLst>
          </p:nvPr>
        </p:nvGraphicFramePr>
        <p:xfrm>
          <a:off x="606585" y="2278196"/>
          <a:ext cx="11007612" cy="3618726"/>
        </p:xfrm>
        <a:graphic>
          <a:graphicData uri="http://schemas.openxmlformats.org/drawingml/2006/table">
            <a:tbl>
              <a:tblPr bandCol="1">
                <a:tableStyleId>{2D5ABB26-0587-4C30-8999-92F81FD0307C}</a:tableStyleId>
              </a:tblPr>
              <a:tblGrid>
                <a:gridCol w="917301">
                  <a:extLst>
                    <a:ext uri="{9D8B030D-6E8A-4147-A177-3AD203B41FA5}">
                      <a16:colId xmlns:a16="http://schemas.microsoft.com/office/drawing/2014/main" val="4151945498"/>
                    </a:ext>
                  </a:extLst>
                </a:gridCol>
                <a:gridCol w="917301">
                  <a:extLst>
                    <a:ext uri="{9D8B030D-6E8A-4147-A177-3AD203B41FA5}">
                      <a16:colId xmlns:a16="http://schemas.microsoft.com/office/drawing/2014/main" val="1382627474"/>
                    </a:ext>
                  </a:extLst>
                </a:gridCol>
                <a:gridCol w="917301">
                  <a:extLst>
                    <a:ext uri="{9D8B030D-6E8A-4147-A177-3AD203B41FA5}">
                      <a16:colId xmlns:a16="http://schemas.microsoft.com/office/drawing/2014/main" val="2312284562"/>
                    </a:ext>
                  </a:extLst>
                </a:gridCol>
                <a:gridCol w="917301">
                  <a:extLst>
                    <a:ext uri="{9D8B030D-6E8A-4147-A177-3AD203B41FA5}">
                      <a16:colId xmlns:a16="http://schemas.microsoft.com/office/drawing/2014/main" val="380964293"/>
                    </a:ext>
                  </a:extLst>
                </a:gridCol>
                <a:gridCol w="917301">
                  <a:extLst>
                    <a:ext uri="{9D8B030D-6E8A-4147-A177-3AD203B41FA5}">
                      <a16:colId xmlns:a16="http://schemas.microsoft.com/office/drawing/2014/main" val="2227914870"/>
                    </a:ext>
                  </a:extLst>
                </a:gridCol>
                <a:gridCol w="917301">
                  <a:extLst>
                    <a:ext uri="{9D8B030D-6E8A-4147-A177-3AD203B41FA5}">
                      <a16:colId xmlns:a16="http://schemas.microsoft.com/office/drawing/2014/main" val="2386396939"/>
                    </a:ext>
                  </a:extLst>
                </a:gridCol>
                <a:gridCol w="917301">
                  <a:extLst>
                    <a:ext uri="{9D8B030D-6E8A-4147-A177-3AD203B41FA5}">
                      <a16:colId xmlns:a16="http://schemas.microsoft.com/office/drawing/2014/main" val="1442862435"/>
                    </a:ext>
                  </a:extLst>
                </a:gridCol>
                <a:gridCol w="917301">
                  <a:extLst>
                    <a:ext uri="{9D8B030D-6E8A-4147-A177-3AD203B41FA5}">
                      <a16:colId xmlns:a16="http://schemas.microsoft.com/office/drawing/2014/main" val="2496167856"/>
                    </a:ext>
                  </a:extLst>
                </a:gridCol>
                <a:gridCol w="917301">
                  <a:extLst>
                    <a:ext uri="{9D8B030D-6E8A-4147-A177-3AD203B41FA5}">
                      <a16:colId xmlns:a16="http://schemas.microsoft.com/office/drawing/2014/main" val="936398145"/>
                    </a:ext>
                  </a:extLst>
                </a:gridCol>
                <a:gridCol w="917301">
                  <a:extLst>
                    <a:ext uri="{9D8B030D-6E8A-4147-A177-3AD203B41FA5}">
                      <a16:colId xmlns:a16="http://schemas.microsoft.com/office/drawing/2014/main" val="3251811526"/>
                    </a:ext>
                  </a:extLst>
                </a:gridCol>
                <a:gridCol w="917301">
                  <a:extLst>
                    <a:ext uri="{9D8B030D-6E8A-4147-A177-3AD203B41FA5}">
                      <a16:colId xmlns:a16="http://schemas.microsoft.com/office/drawing/2014/main" val="2298212362"/>
                    </a:ext>
                  </a:extLst>
                </a:gridCol>
                <a:gridCol w="917301">
                  <a:extLst>
                    <a:ext uri="{9D8B030D-6E8A-4147-A177-3AD203B41FA5}">
                      <a16:colId xmlns:a16="http://schemas.microsoft.com/office/drawing/2014/main" val="1474312375"/>
                    </a:ext>
                  </a:extLst>
                </a:gridCol>
              </a:tblGrid>
              <a:tr h="3618726">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noFill/>
                  </a:tcPr>
                </a:tc>
                <a:extLst>
                  <a:ext uri="{0D108BD9-81ED-4DB2-BD59-A6C34878D82A}">
                    <a16:rowId xmlns:a16="http://schemas.microsoft.com/office/drawing/2014/main" val="3469904028"/>
                  </a:ext>
                </a:extLst>
              </a:tr>
            </a:tbl>
          </a:graphicData>
        </a:graphic>
      </p:graphicFrame>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49" name="object 14">
            <a:extLst>
              <a:ext uri="{FF2B5EF4-FFF2-40B4-BE49-F238E27FC236}">
                <a16:creationId xmlns:a16="http://schemas.microsoft.com/office/drawing/2014/main" id="{A52E1F34-96C7-3C86-48A7-FAB9C405C20B}"/>
              </a:ext>
            </a:extLst>
          </p:cNvPr>
          <p:cNvSpPr/>
          <p:nvPr userDrawn="1"/>
        </p:nvSpPr>
        <p:spPr>
          <a:xfrm>
            <a:off x="577805" y="2278195"/>
            <a:ext cx="11036388" cy="45719"/>
          </a:xfrm>
          <a:custGeom>
            <a:avLst/>
            <a:gdLst/>
            <a:ahLst/>
            <a:cxnLst/>
            <a:rect l="l" t="t" r="r" b="b"/>
            <a:pathLst>
              <a:path w="18209260">
                <a:moveTo>
                  <a:pt x="0" y="0"/>
                </a:moveTo>
                <a:lnTo>
                  <a:pt x="18208869" y="0"/>
                </a:lnTo>
              </a:path>
            </a:pathLst>
          </a:custGeom>
          <a:ln w="9525">
            <a:solidFill>
              <a:schemeClr val="tx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7"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1" name="Oval 50">
            <a:extLst>
              <a:ext uri="{FF2B5EF4-FFF2-40B4-BE49-F238E27FC236}">
                <a16:creationId xmlns:a16="http://schemas.microsoft.com/office/drawing/2014/main" id="{47D58FC1-83B9-3BAD-C3EF-06E8D5DE120F}"/>
              </a:ext>
            </a:extLst>
          </p:cNvPr>
          <p:cNvSpPr>
            <a:spLocks noChangeAspect="1"/>
          </p:cNvSpPr>
          <p:nvPr userDrawn="1"/>
        </p:nvSpPr>
        <p:spPr>
          <a:xfrm>
            <a:off x="3460438"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2" name="Oval 51">
            <a:extLst>
              <a:ext uri="{FF2B5EF4-FFF2-40B4-BE49-F238E27FC236}">
                <a16:creationId xmlns:a16="http://schemas.microsoft.com/office/drawing/2014/main" id="{9D582DFC-3D0D-D5F8-AA6B-5676C8C4B3BF}"/>
              </a:ext>
            </a:extLst>
          </p:cNvPr>
          <p:cNvSpPr>
            <a:spLocks noChangeAspect="1"/>
          </p:cNvSpPr>
          <p:nvPr userDrawn="1"/>
        </p:nvSpPr>
        <p:spPr>
          <a:xfrm>
            <a:off x="6227970"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3" name="Oval 52">
            <a:extLst>
              <a:ext uri="{FF2B5EF4-FFF2-40B4-BE49-F238E27FC236}">
                <a16:creationId xmlns:a16="http://schemas.microsoft.com/office/drawing/2014/main" id="{DF486150-9219-560A-8B4F-FB551F786E68}"/>
              </a:ext>
            </a:extLst>
          </p:cNvPr>
          <p:cNvSpPr>
            <a:spLocks noChangeAspect="1"/>
          </p:cNvSpPr>
          <p:nvPr userDrawn="1"/>
        </p:nvSpPr>
        <p:spPr>
          <a:xfrm>
            <a:off x="8985924"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7" y="1818875"/>
            <a:ext cx="2767426" cy="300442"/>
          </a:xfrm>
        </p:spPr>
        <p:txBody>
          <a:bodyPr lIns="108000" rIns="288000" anchor="b" anchorCtr="0">
            <a:noAutofit/>
          </a:bodyPr>
          <a:lstStyle>
            <a:lvl1pPr>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55" name="Text Placeholder 71">
            <a:extLst>
              <a:ext uri="{FF2B5EF4-FFF2-40B4-BE49-F238E27FC236}">
                <a16:creationId xmlns:a16="http://schemas.microsoft.com/office/drawing/2014/main" id="{799F0539-8B24-4E4B-EF4C-121B551D8BA3}"/>
              </a:ext>
            </a:extLst>
          </p:cNvPr>
          <p:cNvSpPr>
            <a:spLocks noGrp="1"/>
          </p:cNvSpPr>
          <p:nvPr>
            <p:ph type="body" sz="quarter" idx="16" hasCustomPrompt="1"/>
          </p:nvPr>
        </p:nvSpPr>
        <p:spPr>
          <a:xfrm>
            <a:off x="3344603" y="1818875"/>
            <a:ext cx="2746295" cy="300442"/>
          </a:xfrm>
        </p:spPr>
        <p:txBody>
          <a:bodyPr lIns="108000" rIns="288000" anchor="b" anchorCtr="0">
            <a:noAutofit/>
          </a:bodyPr>
          <a:lstStyle>
            <a:lvl1pPr marL="0" marR="0" indent="0" algn="l" defTabSz="914400" rtl="0" eaLnBrk="1" fontAlgn="auto" latinLnBrk="0" hangingPunct="1">
              <a:lnSpc>
                <a:spcPct val="110000"/>
              </a:lnSpc>
              <a:spcBef>
                <a:spcPts val="0"/>
              </a:spcBef>
              <a:spcAft>
                <a:spcPts val="1200"/>
              </a:spcAft>
              <a:buClrTx/>
              <a:buSzTx/>
              <a:buFont typeface="Arial" panose="020B0604020202020204" pitchFamily="34" charset="0"/>
              <a:buNone/>
              <a:tabLst/>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56" name="Text Placeholder 71">
            <a:extLst>
              <a:ext uri="{FF2B5EF4-FFF2-40B4-BE49-F238E27FC236}">
                <a16:creationId xmlns:a16="http://schemas.microsoft.com/office/drawing/2014/main" id="{9DFB2CE5-A177-E72D-3CD4-2646E4DCE502}"/>
              </a:ext>
            </a:extLst>
          </p:cNvPr>
          <p:cNvSpPr>
            <a:spLocks noGrp="1"/>
          </p:cNvSpPr>
          <p:nvPr>
            <p:ph type="body" sz="quarter" idx="18" hasCustomPrompt="1"/>
          </p:nvPr>
        </p:nvSpPr>
        <p:spPr>
          <a:xfrm>
            <a:off x="6100141" y="1818875"/>
            <a:ext cx="2745959" cy="300442"/>
          </a:xfrm>
        </p:spPr>
        <p:txBody>
          <a:bodyPr lIns="108000" rIns="288000" anchor="b" anchorCtr="0">
            <a:noAutofit/>
          </a:bodyPr>
          <a:lstStyle>
            <a:lvl1pPr>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57" name="Text Placeholder 71">
            <a:extLst>
              <a:ext uri="{FF2B5EF4-FFF2-40B4-BE49-F238E27FC236}">
                <a16:creationId xmlns:a16="http://schemas.microsoft.com/office/drawing/2014/main" id="{7A262EC1-F639-E81C-3343-3DA348DA9266}"/>
              </a:ext>
            </a:extLst>
          </p:cNvPr>
          <p:cNvSpPr>
            <a:spLocks noGrp="1"/>
          </p:cNvSpPr>
          <p:nvPr>
            <p:ph type="body" sz="quarter" idx="20" hasCustomPrompt="1"/>
          </p:nvPr>
        </p:nvSpPr>
        <p:spPr>
          <a:xfrm>
            <a:off x="8846100" y="1818875"/>
            <a:ext cx="2773719" cy="300442"/>
          </a:xfrm>
        </p:spPr>
        <p:txBody>
          <a:bodyPr lIns="108000" rIns="288000" anchor="b" anchorCtr="0">
            <a:noAutofit/>
          </a:bodyPr>
          <a:lstStyle>
            <a:lvl1pPr>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23" name="Text Placeholder 2">
            <a:extLst>
              <a:ext uri="{FF2B5EF4-FFF2-40B4-BE49-F238E27FC236}">
                <a16:creationId xmlns:a16="http://schemas.microsoft.com/office/drawing/2014/main" id="{3031F97C-D610-4D45-F78B-D175D9A0E755}"/>
              </a:ext>
            </a:extLst>
          </p:cNvPr>
          <p:cNvSpPr>
            <a:spLocks noGrp="1"/>
          </p:cNvSpPr>
          <p:nvPr>
            <p:ph type="body" sz="quarter" idx="47"/>
          </p:nvPr>
        </p:nvSpPr>
        <p:spPr>
          <a:xfrm>
            <a:off x="3485839" y="2583275"/>
            <a:ext cx="8012329" cy="380567"/>
          </a:xfrm>
          <a:prstGeom prst="roundRect">
            <a:avLst>
              <a:gd name="adj" fmla="val 50000"/>
            </a:avLst>
          </a:prstGeom>
          <a:solidFill>
            <a:srgbClr val="E6E6E6"/>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tx2">
                    <a:lumMod val="50000"/>
                  </a:schemeClr>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4" name="Text Placeholder 2">
            <a:extLst>
              <a:ext uri="{FF2B5EF4-FFF2-40B4-BE49-F238E27FC236}">
                <a16:creationId xmlns:a16="http://schemas.microsoft.com/office/drawing/2014/main" id="{1FF72A2C-EC93-1960-E000-9D1BE3C473D1}"/>
              </a:ext>
            </a:extLst>
          </p:cNvPr>
          <p:cNvSpPr>
            <a:spLocks noGrp="1"/>
          </p:cNvSpPr>
          <p:nvPr>
            <p:ph type="body" sz="quarter" idx="48"/>
          </p:nvPr>
        </p:nvSpPr>
        <p:spPr>
          <a:xfrm>
            <a:off x="718374" y="2588233"/>
            <a:ext cx="2451893" cy="380567"/>
          </a:xfrm>
          <a:prstGeom prst="roundRect">
            <a:avLst>
              <a:gd name="adj" fmla="val 50000"/>
            </a:avLst>
          </a:prstGeom>
          <a:solidFill>
            <a:schemeClr val="bg2"/>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5" name="Text Placeholder 2">
            <a:extLst>
              <a:ext uri="{FF2B5EF4-FFF2-40B4-BE49-F238E27FC236}">
                <a16:creationId xmlns:a16="http://schemas.microsoft.com/office/drawing/2014/main" id="{7B3311CB-DC37-BF2B-8E33-872990686A6F}"/>
              </a:ext>
            </a:extLst>
          </p:cNvPr>
          <p:cNvSpPr>
            <a:spLocks noGrp="1"/>
          </p:cNvSpPr>
          <p:nvPr>
            <p:ph type="body" sz="quarter" idx="49"/>
          </p:nvPr>
        </p:nvSpPr>
        <p:spPr>
          <a:xfrm>
            <a:off x="9020770" y="3112528"/>
            <a:ext cx="2477398" cy="380567"/>
          </a:xfrm>
          <a:prstGeom prst="roundRect">
            <a:avLst>
              <a:gd name="adj" fmla="val 50000"/>
            </a:avLst>
          </a:prstGeom>
          <a:solidFill>
            <a:schemeClr val="bg2"/>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6" name="Text Placeholder 2">
            <a:extLst>
              <a:ext uri="{FF2B5EF4-FFF2-40B4-BE49-F238E27FC236}">
                <a16:creationId xmlns:a16="http://schemas.microsoft.com/office/drawing/2014/main" id="{4C6A5BFA-3D10-182C-1A20-2F9F25DA5EC7}"/>
              </a:ext>
            </a:extLst>
          </p:cNvPr>
          <p:cNvSpPr>
            <a:spLocks noGrp="1"/>
          </p:cNvSpPr>
          <p:nvPr>
            <p:ph type="body" sz="quarter" idx="50"/>
          </p:nvPr>
        </p:nvSpPr>
        <p:spPr>
          <a:xfrm>
            <a:off x="718374" y="3112528"/>
            <a:ext cx="8012329" cy="380567"/>
          </a:xfrm>
          <a:prstGeom prst="roundRect">
            <a:avLst>
              <a:gd name="adj" fmla="val 50000"/>
            </a:avLst>
          </a:prstGeom>
          <a:solidFill>
            <a:srgbClr val="E6E6E6"/>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tx2">
                    <a:lumMod val="50000"/>
                  </a:schemeClr>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7" name="Text Placeholder 2">
            <a:extLst>
              <a:ext uri="{FF2B5EF4-FFF2-40B4-BE49-F238E27FC236}">
                <a16:creationId xmlns:a16="http://schemas.microsoft.com/office/drawing/2014/main" id="{63D306BC-6AA0-5B15-EAD0-1C4B6C007AE2}"/>
              </a:ext>
            </a:extLst>
          </p:cNvPr>
          <p:cNvSpPr>
            <a:spLocks noGrp="1"/>
          </p:cNvSpPr>
          <p:nvPr>
            <p:ph type="body" sz="quarter" idx="52"/>
          </p:nvPr>
        </p:nvSpPr>
        <p:spPr>
          <a:xfrm>
            <a:off x="718374" y="3636823"/>
            <a:ext cx="10779794" cy="380567"/>
          </a:xfrm>
          <a:prstGeom prst="roundRect">
            <a:avLst>
              <a:gd name="adj" fmla="val 50000"/>
            </a:avLst>
          </a:prstGeom>
          <a:solidFill>
            <a:schemeClr val="tx2"/>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8" name="Text Placeholder 2">
            <a:extLst>
              <a:ext uri="{FF2B5EF4-FFF2-40B4-BE49-F238E27FC236}">
                <a16:creationId xmlns:a16="http://schemas.microsoft.com/office/drawing/2014/main" id="{2F279148-11D1-D193-7504-E15A8DBBB7ED}"/>
              </a:ext>
            </a:extLst>
          </p:cNvPr>
          <p:cNvSpPr>
            <a:spLocks noGrp="1"/>
          </p:cNvSpPr>
          <p:nvPr>
            <p:ph type="body" sz="quarter" idx="54"/>
          </p:nvPr>
        </p:nvSpPr>
        <p:spPr>
          <a:xfrm>
            <a:off x="1947773" y="4161117"/>
            <a:ext cx="9537643" cy="380567"/>
          </a:xfrm>
          <a:prstGeom prst="roundRect">
            <a:avLst>
              <a:gd name="adj" fmla="val 50000"/>
            </a:avLst>
          </a:prstGeom>
          <a:solidFill>
            <a:srgbClr val="E6E6E6"/>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tx2">
                    <a:lumMod val="50000"/>
                  </a:schemeClr>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9" name="Text Placeholder 2">
            <a:extLst>
              <a:ext uri="{FF2B5EF4-FFF2-40B4-BE49-F238E27FC236}">
                <a16:creationId xmlns:a16="http://schemas.microsoft.com/office/drawing/2014/main" id="{B7F7FC01-6091-5D90-D333-FA5671F43B8E}"/>
              </a:ext>
            </a:extLst>
          </p:cNvPr>
          <p:cNvSpPr>
            <a:spLocks noGrp="1"/>
          </p:cNvSpPr>
          <p:nvPr>
            <p:ph type="body" sz="quarter" idx="56"/>
          </p:nvPr>
        </p:nvSpPr>
        <p:spPr>
          <a:xfrm>
            <a:off x="7492654" y="4685411"/>
            <a:ext cx="3986410" cy="380567"/>
          </a:xfrm>
          <a:prstGeom prst="roundRect">
            <a:avLst>
              <a:gd name="adj" fmla="val 50000"/>
            </a:avLst>
          </a:prstGeom>
          <a:solidFill>
            <a:schemeClr val="accent5"/>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Tree>
    <p:extLst>
      <p:ext uri="{BB962C8B-B14F-4D97-AF65-F5344CB8AC3E}">
        <p14:creationId xmlns:p14="http://schemas.microsoft.com/office/powerpoint/2010/main" val="2946030746"/>
      </p:ext>
    </p:extLst>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5" name="Text Placeholder 8">
            <a:extLst>
              <a:ext uri="{FF2B5EF4-FFF2-40B4-BE49-F238E27FC236}">
                <a16:creationId xmlns:a16="http://schemas.microsoft.com/office/drawing/2014/main" id="{645879FE-583A-DE44-88BA-EB276A69E0F6}"/>
              </a:ext>
            </a:extLst>
          </p:cNvPr>
          <p:cNvSpPr>
            <a:spLocks noGrp="1"/>
          </p:cNvSpPr>
          <p:nvPr>
            <p:ph type="body" idx="13"/>
          </p:nvPr>
        </p:nvSpPr>
        <p:spPr>
          <a:xfrm>
            <a:off x="531133" y="1304925"/>
            <a:ext cx="11144930" cy="592778"/>
          </a:xfrm>
        </p:spPr>
        <p:txBody>
          <a:bodyPr numCol="1" spcCol="180000">
            <a:normAutofit/>
          </a:bodyPr>
          <a:lstStyle>
            <a:lvl1pPr marL="0" indent="0">
              <a:buClr>
                <a:schemeClr val="bg2"/>
              </a:buClr>
              <a:buFont typeface="Arial" panose="020B0604020202020204" pitchFamily="34" charset="0"/>
              <a:buNone/>
              <a:defRPr sz="1600">
                <a:solidFill>
                  <a:schemeClr val="tx2">
                    <a:lumMod val="50000"/>
                  </a:schemeClr>
                </a:solidFill>
              </a:defRPr>
            </a:lvl1pPr>
          </a:lstStyle>
          <a:p>
            <a:pPr lvl="0"/>
            <a:r>
              <a:rPr lang="en-GB"/>
              <a:t>Click to edit Master text styles</a:t>
            </a:r>
          </a:p>
        </p:txBody>
      </p:sp>
      <p:sp>
        <p:nvSpPr>
          <p:cNvPr id="5" name="Table Placeholder 4">
            <a:extLst>
              <a:ext uri="{FF2B5EF4-FFF2-40B4-BE49-F238E27FC236}">
                <a16:creationId xmlns:a16="http://schemas.microsoft.com/office/drawing/2014/main" id="{229D7B8B-35CA-A145-A474-98CA941C8914}"/>
              </a:ext>
            </a:extLst>
          </p:cNvPr>
          <p:cNvSpPr>
            <a:spLocks noGrp="1"/>
          </p:cNvSpPr>
          <p:nvPr>
            <p:ph type="tbl" sz="quarter" idx="14"/>
          </p:nvPr>
        </p:nvSpPr>
        <p:spPr>
          <a:xfrm>
            <a:off x="515938" y="2081213"/>
            <a:ext cx="11153775" cy="3832225"/>
          </a:xfrm>
        </p:spPr>
        <p:txBody>
          <a:bodyPr anchor="ctr">
            <a:normAutofit/>
          </a:bodyPr>
          <a:lstStyle>
            <a:lvl1pPr algn="ctr">
              <a:defRPr sz="1600">
                <a:solidFill>
                  <a:schemeClr val="bg1">
                    <a:lumMod val="50000"/>
                  </a:schemeClr>
                </a:solidFill>
              </a:defRPr>
            </a:lvl1pPr>
          </a:lstStyle>
          <a:p>
            <a:r>
              <a:rPr lang="en-GB"/>
              <a:t>Click icon to add table</a:t>
            </a:r>
          </a:p>
        </p:txBody>
      </p:sp>
    </p:spTree>
    <p:extLst>
      <p:ext uri="{BB962C8B-B14F-4D97-AF65-F5344CB8AC3E}">
        <p14:creationId xmlns:p14="http://schemas.microsoft.com/office/powerpoint/2010/main" val="2714192282"/>
      </p:ext>
    </p:extLst>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Graph">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lvl1pPr>
              <a:defRPr>
                <a:solidFill>
                  <a:schemeClr val="tx2"/>
                </a:solidFill>
              </a:defRPr>
            </a:lvl1p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6" name="Chart Placeholder 5">
            <a:extLst>
              <a:ext uri="{FF2B5EF4-FFF2-40B4-BE49-F238E27FC236}">
                <a16:creationId xmlns:a16="http://schemas.microsoft.com/office/drawing/2014/main" id="{D54A1155-34EB-A04A-AA96-8DCEA2A0B8AF}"/>
              </a:ext>
            </a:extLst>
          </p:cNvPr>
          <p:cNvSpPr>
            <a:spLocks noGrp="1"/>
          </p:cNvSpPr>
          <p:nvPr>
            <p:ph type="chart" sz="quarter" idx="13" hasCustomPrompt="1"/>
          </p:nvPr>
        </p:nvSpPr>
        <p:spPr>
          <a:xfrm>
            <a:off x="515938" y="1304925"/>
            <a:ext cx="11160125" cy="4608513"/>
          </a:xfrm>
        </p:spPr>
        <p:txBody>
          <a:bodyPr anchor="ctr">
            <a:normAutofit/>
          </a:bodyPr>
          <a:lstStyle>
            <a:lvl1pPr algn="ctr">
              <a:defRPr sz="1600">
                <a:solidFill>
                  <a:schemeClr val="bg1">
                    <a:lumMod val="50000"/>
                  </a:schemeClr>
                </a:solidFill>
              </a:defRPr>
            </a:lvl1pPr>
          </a:lstStyle>
          <a:p>
            <a:r>
              <a:rPr lang="en-GB"/>
              <a:t>Click icon to add graph</a:t>
            </a:r>
          </a:p>
        </p:txBody>
      </p:sp>
    </p:spTree>
    <p:extLst>
      <p:ext uri="{BB962C8B-B14F-4D97-AF65-F5344CB8AC3E}">
        <p14:creationId xmlns:p14="http://schemas.microsoft.com/office/powerpoint/2010/main" val="895196906"/>
      </p:ext>
    </p:extLst>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Graph + Intro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lvl1pPr>
              <a:defRPr>
                <a:solidFill>
                  <a:schemeClr val="tx2"/>
                </a:solidFill>
              </a:defRPr>
            </a:lvl1p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6" name="Chart Placeholder 5">
            <a:extLst>
              <a:ext uri="{FF2B5EF4-FFF2-40B4-BE49-F238E27FC236}">
                <a16:creationId xmlns:a16="http://schemas.microsoft.com/office/drawing/2014/main" id="{D54A1155-34EB-A04A-AA96-8DCEA2A0B8AF}"/>
              </a:ext>
            </a:extLst>
          </p:cNvPr>
          <p:cNvSpPr>
            <a:spLocks noGrp="1"/>
          </p:cNvSpPr>
          <p:nvPr>
            <p:ph type="chart" sz="quarter" idx="13" hasCustomPrompt="1"/>
          </p:nvPr>
        </p:nvSpPr>
        <p:spPr>
          <a:xfrm>
            <a:off x="515938" y="2186941"/>
            <a:ext cx="11160125" cy="3726497"/>
          </a:xfrm>
        </p:spPr>
        <p:txBody>
          <a:bodyPr anchor="ctr">
            <a:normAutofit/>
          </a:bodyPr>
          <a:lstStyle>
            <a:lvl1pPr algn="ctr">
              <a:defRPr sz="1600">
                <a:solidFill>
                  <a:schemeClr val="bg1">
                    <a:lumMod val="50000"/>
                  </a:schemeClr>
                </a:solidFill>
              </a:defRPr>
            </a:lvl1pPr>
          </a:lstStyle>
          <a:p>
            <a:r>
              <a:rPr lang="en-GB"/>
              <a:t>Click icon to add graph</a:t>
            </a:r>
          </a:p>
        </p:txBody>
      </p:sp>
      <p:sp>
        <p:nvSpPr>
          <p:cNvPr id="9" name="Text Placeholder 8">
            <a:extLst>
              <a:ext uri="{FF2B5EF4-FFF2-40B4-BE49-F238E27FC236}">
                <a16:creationId xmlns:a16="http://schemas.microsoft.com/office/drawing/2014/main" id="{70B67ED7-707C-628A-DD8C-8D05275A882F}"/>
              </a:ext>
            </a:extLst>
          </p:cNvPr>
          <p:cNvSpPr>
            <a:spLocks noGrp="1"/>
          </p:cNvSpPr>
          <p:nvPr>
            <p:ph type="body" idx="14"/>
          </p:nvPr>
        </p:nvSpPr>
        <p:spPr>
          <a:xfrm>
            <a:off x="531133" y="1304924"/>
            <a:ext cx="11144930" cy="760095"/>
          </a:xfrm>
        </p:spPr>
        <p:txBody>
          <a:bodyPr numCol="1" spcCol="180000">
            <a:normAutofit/>
          </a:bodyPr>
          <a:lstStyle>
            <a:lvl1pPr marL="0" indent="0">
              <a:buClr>
                <a:schemeClr val="bg2"/>
              </a:buClr>
              <a:buFont typeface="Arial" panose="020B0604020202020204" pitchFamily="34" charset="0"/>
              <a:buNone/>
              <a:defRPr sz="1600">
                <a:solidFill>
                  <a:schemeClr val="tx2">
                    <a:lumMod val="50000"/>
                  </a:schemeClr>
                </a:solidFill>
              </a:defRPr>
            </a:lvl1pPr>
          </a:lstStyle>
          <a:p>
            <a:pPr lvl="0"/>
            <a:r>
              <a:rPr lang="en-GB"/>
              <a:t>Click to edit Master text styles</a:t>
            </a:r>
          </a:p>
        </p:txBody>
      </p:sp>
    </p:spTree>
    <p:extLst>
      <p:ext uri="{BB962C8B-B14F-4D97-AF65-F5344CB8AC3E}">
        <p14:creationId xmlns:p14="http://schemas.microsoft.com/office/powerpoint/2010/main" val="1225780219"/>
      </p:ext>
    </p:extLst>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Text + Graph">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lvl1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 name="Chart Placeholder 2">
            <a:extLst>
              <a:ext uri="{FF2B5EF4-FFF2-40B4-BE49-F238E27FC236}">
                <a16:creationId xmlns:a16="http://schemas.microsoft.com/office/drawing/2014/main" id="{5F41B758-C970-D84A-B3ED-8A3CB892A835}"/>
              </a:ext>
            </a:extLst>
          </p:cNvPr>
          <p:cNvSpPr>
            <a:spLocks noGrp="1"/>
          </p:cNvSpPr>
          <p:nvPr>
            <p:ph type="chart" sz="quarter" idx="14" hasCustomPrompt="1"/>
          </p:nvPr>
        </p:nvSpPr>
        <p:spPr>
          <a:xfrm>
            <a:off x="6762750" y="366371"/>
            <a:ext cx="4913313" cy="5547067"/>
          </a:xfrm>
        </p:spPr>
        <p:txBody>
          <a:bodyPr anchor="ctr">
            <a:normAutofit/>
          </a:bodyPr>
          <a:lstStyle>
            <a:lvl1pPr algn="ctr">
              <a:defRPr sz="1600">
                <a:solidFill>
                  <a:schemeClr val="bg1">
                    <a:lumMod val="50000"/>
                  </a:schemeClr>
                </a:solidFill>
              </a:defRPr>
            </a:lvl1pPr>
          </a:lstStyle>
          <a:p>
            <a:r>
              <a:rPr lang="en-GB"/>
              <a:t>Click icon to add graph</a:t>
            </a:r>
          </a:p>
        </p:txBody>
      </p:sp>
    </p:spTree>
    <p:extLst>
      <p:ext uri="{BB962C8B-B14F-4D97-AF65-F5344CB8AC3E}">
        <p14:creationId xmlns:p14="http://schemas.microsoft.com/office/powerpoint/2010/main" val="158638529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ext, Quote + Imag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63869"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7" name="Picture Placeholder 2">
            <a:extLst>
              <a:ext uri="{FF2B5EF4-FFF2-40B4-BE49-F238E27FC236}">
                <a16:creationId xmlns:a16="http://schemas.microsoft.com/office/drawing/2014/main" id="{D7BA9708-B496-A663-CB06-FD4F2E3602E5}"/>
              </a:ext>
            </a:extLst>
          </p:cNvPr>
          <p:cNvSpPr>
            <a:spLocks noGrp="1"/>
          </p:cNvSpPr>
          <p:nvPr>
            <p:ph type="pic" sz="quarter" idx="20"/>
          </p:nvPr>
        </p:nvSpPr>
        <p:spPr>
          <a:xfrm>
            <a:off x="6359525" y="3227929"/>
            <a:ext cx="5326063" cy="2685506"/>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18" name="Slide Number Placeholder 2">
            <a:extLst>
              <a:ext uri="{FF2B5EF4-FFF2-40B4-BE49-F238E27FC236}">
                <a16:creationId xmlns:a16="http://schemas.microsoft.com/office/drawing/2014/main" id="{8D67BD3D-5E5B-2957-7B72-B286DEA69454}"/>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9" name="Straight Connector 18">
            <a:extLst>
              <a:ext uri="{FF2B5EF4-FFF2-40B4-BE49-F238E27FC236}">
                <a16:creationId xmlns:a16="http://schemas.microsoft.com/office/drawing/2014/main" id="{11DD0B93-9CA3-DE96-64E9-7FECBAD37972}"/>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0" name="Footer Placeholder 1">
            <a:extLst>
              <a:ext uri="{FF2B5EF4-FFF2-40B4-BE49-F238E27FC236}">
                <a16:creationId xmlns:a16="http://schemas.microsoft.com/office/drawing/2014/main" id="{F3526303-0969-95FB-D8FA-0C9E3916524B}"/>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United Against Rabies Forum Meeting - 6-8 November 2023</a:t>
            </a:r>
            <a:endParaRPr lang="en-GB"/>
          </a:p>
        </p:txBody>
      </p:sp>
      <p:pic>
        <p:nvPicPr>
          <p:cNvPr id="21" name="Picture 11">
            <a:extLst>
              <a:ext uri="{FF2B5EF4-FFF2-40B4-BE49-F238E27FC236}">
                <a16:creationId xmlns:a16="http://schemas.microsoft.com/office/drawing/2014/main" id="{24A4E3D3-8EF4-A80C-4780-9639C12D4E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2" name="Text Placeholder 8">
            <a:extLst>
              <a:ext uri="{FF2B5EF4-FFF2-40B4-BE49-F238E27FC236}">
                <a16:creationId xmlns:a16="http://schemas.microsoft.com/office/drawing/2014/main" id="{6DFBA0EA-6763-E017-8DB4-792094E59657}"/>
              </a:ext>
            </a:extLst>
          </p:cNvPr>
          <p:cNvSpPr>
            <a:spLocks noGrp="1"/>
          </p:cNvSpPr>
          <p:nvPr>
            <p:ph type="body" idx="21"/>
          </p:nvPr>
        </p:nvSpPr>
        <p:spPr>
          <a:xfrm>
            <a:off x="6345193" y="1304925"/>
            <a:ext cx="5340395" cy="312265"/>
          </a:xfrm>
        </p:spPr>
        <p:txBody>
          <a:bodyPr numCol="1" spcCol="180000">
            <a:spAutoFit/>
          </a:bodyPr>
          <a:lstStyle>
            <a:lvl1pPr marL="0" indent="0">
              <a:spcAft>
                <a:spcPts val="600"/>
              </a:spcAft>
              <a:buClr>
                <a:schemeClr val="bg2"/>
              </a:buClr>
              <a:buFont typeface="Arial" panose="020B0604020202020204" pitchFamily="34" charset="0"/>
              <a:buNone/>
              <a:defRPr b="1">
                <a:solidFill>
                  <a:schemeClr val="accent4"/>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13" name="Text Placeholder 8">
            <a:extLst>
              <a:ext uri="{FF2B5EF4-FFF2-40B4-BE49-F238E27FC236}">
                <a16:creationId xmlns:a16="http://schemas.microsoft.com/office/drawing/2014/main" id="{4BC205A0-AF05-E822-A6D1-8E80B8895804}"/>
              </a:ext>
            </a:extLst>
          </p:cNvPr>
          <p:cNvSpPr>
            <a:spLocks noGrp="1"/>
          </p:cNvSpPr>
          <p:nvPr>
            <p:ph type="body" idx="22" hasCustomPrompt="1"/>
          </p:nvPr>
        </p:nvSpPr>
        <p:spPr>
          <a:xfrm>
            <a:off x="6345193" y="5962960"/>
            <a:ext cx="5340395" cy="140488"/>
          </a:xfrm>
        </p:spPr>
        <p:txBody>
          <a:bodyPr numCol="1" spcCol="180000">
            <a:spAutoFit/>
          </a:bodyPr>
          <a:lstStyle>
            <a:lvl1pPr marL="0" indent="0">
              <a:spcAft>
                <a:spcPts val="600"/>
              </a:spcAft>
              <a:buClr>
                <a:schemeClr val="bg2"/>
              </a:buClr>
              <a:buFont typeface="Arial" panose="020B0604020202020204" pitchFamily="34" charset="0"/>
              <a:buNone/>
              <a:defRPr sz="900" b="0">
                <a:solidFill>
                  <a:schemeClr val="bg1">
                    <a:lumMod val="65000"/>
                  </a:schemeClr>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Optional image caption</a:t>
            </a:r>
          </a:p>
        </p:txBody>
      </p:sp>
    </p:spTree>
    <p:extLst>
      <p:ext uri="{BB962C8B-B14F-4D97-AF65-F5344CB8AC3E}">
        <p14:creationId xmlns:p14="http://schemas.microsoft.com/office/powerpoint/2010/main" val="2513650241"/>
      </p:ext>
    </p:extLst>
  </p:cSld>
  <p:clrMapOvr>
    <a:masterClrMapping/>
  </p:clrMapOvr>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Text + Graph + Key Sta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2951067"/>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 name="Chart Placeholder 2">
            <a:extLst>
              <a:ext uri="{FF2B5EF4-FFF2-40B4-BE49-F238E27FC236}">
                <a16:creationId xmlns:a16="http://schemas.microsoft.com/office/drawing/2014/main" id="{5F41B758-C970-D84A-B3ED-8A3CB892A835}"/>
              </a:ext>
            </a:extLst>
          </p:cNvPr>
          <p:cNvSpPr>
            <a:spLocks noGrp="1"/>
          </p:cNvSpPr>
          <p:nvPr>
            <p:ph type="chart" sz="quarter" idx="14" hasCustomPrompt="1"/>
          </p:nvPr>
        </p:nvSpPr>
        <p:spPr>
          <a:xfrm>
            <a:off x="6762750" y="366371"/>
            <a:ext cx="4913313" cy="5547067"/>
          </a:xfrm>
        </p:spPr>
        <p:txBody>
          <a:bodyPr anchor="ctr">
            <a:normAutofit/>
          </a:bodyPr>
          <a:lstStyle>
            <a:lvl1pPr algn="ctr">
              <a:defRPr sz="1600">
                <a:solidFill>
                  <a:schemeClr val="bg1">
                    <a:lumMod val="50000"/>
                  </a:schemeClr>
                </a:solidFill>
              </a:defRPr>
            </a:lvl1pPr>
          </a:lstStyle>
          <a:p>
            <a:r>
              <a:rPr lang="en-GB"/>
              <a:t>Click icon to add graph</a:t>
            </a:r>
          </a:p>
        </p:txBody>
      </p:sp>
      <p:sp>
        <p:nvSpPr>
          <p:cNvPr id="12" name="Table Placeholder 13">
            <a:extLst>
              <a:ext uri="{FF2B5EF4-FFF2-40B4-BE49-F238E27FC236}">
                <a16:creationId xmlns:a16="http://schemas.microsoft.com/office/drawing/2014/main" id="{0471F0B8-12A0-7A45-8C7A-E02063FE5C87}"/>
              </a:ext>
            </a:extLst>
          </p:cNvPr>
          <p:cNvSpPr>
            <a:spLocks noGrp="1"/>
          </p:cNvSpPr>
          <p:nvPr>
            <p:ph type="tbl" sz="quarter" idx="16" hasCustomPrompt="1"/>
          </p:nvPr>
        </p:nvSpPr>
        <p:spPr>
          <a:xfrm>
            <a:off x="531813" y="4531663"/>
            <a:ext cx="5564187" cy="1381775"/>
          </a:xfrm>
        </p:spPr>
        <p:txBody>
          <a:bodyPr anchor="ctr">
            <a:normAutofit/>
          </a:bodyPr>
          <a:lstStyle>
            <a:lvl1pPr algn="ctr">
              <a:defRPr sz="1600">
                <a:solidFill>
                  <a:schemeClr val="bg1">
                    <a:lumMod val="50000"/>
                  </a:schemeClr>
                </a:solidFill>
              </a:defRPr>
            </a:lvl1pPr>
          </a:lstStyle>
          <a:p>
            <a:r>
              <a:rPr lang="en-GB"/>
              <a:t>Click here to insert table of key statistics</a:t>
            </a:r>
          </a:p>
        </p:txBody>
      </p:sp>
    </p:spTree>
    <p:extLst>
      <p:ext uri="{BB962C8B-B14F-4D97-AF65-F5344CB8AC3E}">
        <p14:creationId xmlns:p14="http://schemas.microsoft.com/office/powerpoint/2010/main" val="2448442141"/>
      </p:ext>
    </p:extLst>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Headshots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9" name="Picture Placeholder 9">
            <a:extLst>
              <a:ext uri="{FF2B5EF4-FFF2-40B4-BE49-F238E27FC236}">
                <a16:creationId xmlns:a16="http://schemas.microsoft.com/office/drawing/2014/main" id="{F7144900-27CB-F8C8-8750-EBFD50556D3C}"/>
              </a:ext>
            </a:extLst>
          </p:cNvPr>
          <p:cNvSpPr>
            <a:spLocks noGrp="1"/>
          </p:cNvSpPr>
          <p:nvPr>
            <p:ph type="pic" sz="quarter" idx="20" hasCustomPrompt="1"/>
          </p:nvPr>
        </p:nvSpPr>
        <p:spPr>
          <a:xfrm>
            <a:off x="515937" y="1738603"/>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1" name="Picture Placeholder 9">
            <a:extLst>
              <a:ext uri="{FF2B5EF4-FFF2-40B4-BE49-F238E27FC236}">
                <a16:creationId xmlns:a16="http://schemas.microsoft.com/office/drawing/2014/main" id="{BA371966-686F-3873-1B61-8D4F2F1781AB}"/>
              </a:ext>
            </a:extLst>
          </p:cNvPr>
          <p:cNvSpPr>
            <a:spLocks noGrp="1"/>
          </p:cNvSpPr>
          <p:nvPr>
            <p:ph type="pic" sz="quarter" idx="21" hasCustomPrompt="1"/>
          </p:nvPr>
        </p:nvSpPr>
        <p:spPr>
          <a:xfrm>
            <a:off x="6409056" y="1738603"/>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2" name="Text Placeholder 15">
            <a:extLst>
              <a:ext uri="{FF2B5EF4-FFF2-40B4-BE49-F238E27FC236}">
                <a16:creationId xmlns:a16="http://schemas.microsoft.com/office/drawing/2014/main" id="{71BA048F-6972-4609-34F2-EF8FDBBDBB0C}"/>
              </a:ext>
            </a:extLst>
          </p:cNvPr>
          <p:cNvSpPr>
            <a:spLocks noGrp="1"/>
          </p:cNvSpPr>
          <p:nvPr>
            <p:ph type="body" sz="quarter" idx="22"/>
          </p:nvPr>
        </p:nvSpPr>
        <p:spPr>
          <a:xfrm>
            <a:off x="8234278" y="1915486"/>
            <a:ext cx="3355742" cy="1163606"/>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17" name="Picture Placeholder 9">
            <a:extLst>
              <a:ext uri="{FF2B5EF4-FFF2-40B4-BE49-F238E27FC236}">
                <a16:creationId xmlns:a16="http://schemas.microsoft.com/office/drawing/2014/main" id="{224FF60B-6BD0-9B1E-2959-11D6263640AF}"/>
              </a:ext>
            </a:extLst>
          </p:cNvPr>
          <p:cNvSpPr>
            <a:spLocks noGrp="1"/>
          </p:cNvSpPr>
          <p:nvPr>
            <p:ph type="pic" sz="quarter" idx="25" hasCustomPrompt="1"/>
          </p:nvPr>
        </p:nvSpPr>
        <p:spPr>
          <a:xfrm>
            <a:off x="515937" y="3998564"/>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8" name="Picture Placeholder 9">
            <a:extLst>
              <a:ext uri="{FF2B5EF4-FFF2-40B4-BE49-F238E27FC236}">
                <a16:creationId xmlns:a16="http://schemas.microsoft.com/office/drawing/2014/main" id="{2DB6CCCB-718D-70C8-7A09-2EE0D7144525}"/>
              </a:ext>
            </a:extLst>
          </p:cNvPr>
          <p:cNvSpPr>
            <a:spLocks noGrp="1"/>
          </p:cNvSpPr>
          <p:nvPr>
            <p:ph type="pic" sz="quarter" idx="27" hasCustomPrompt="1"/>
          </p:nvPr>
        </p:nvSpPr>
        <p:spPr>
          <a:xfrm>
            <a:off x="6409056" y="3998564"/>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9" name="Text Placeholder 15">
            <a:extLst>
              <a:ext uri="{FF2B5EF4-FFF2-40B4-BE49-F238E27FC236}">
                <a16:creationId xmlns:a16="http://schemas.microsoft.com/office/drawing/2014/main" id="{B6878B28-F503-455B-0FEA-80DE70905427}"/>
              </a:ext>
            </a:extLst>
          </p:cNvPr>
          <p:cNvSpPr>
            <a:spLocks noGrp="1"/>
          </p:cNvSpPr>
          <p:nvPr>
            <p:ph type="body" sz="quarter" idx="28"/>
          </p:nvPr>
        </p:nvSpPr>
        <p:spPr>
          <a:xfrm>
            <a:off x="8234278" y="4175447"/>
            <a:ext cx="3355742" cy="1163606"/>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20" name="Text Placeholder 15">
            <a:extLst>
              <a:ext uri="{FF2B5EF4-FFF2-40B4-BE49-F238E27FC236}">
                <a16:creationId xmlns:a16="http://schemas.microsoft.com/office/drawing/2014/main" id="{AAADD6C4-F1D9-F92B-C5FD-4B4DA8B17CF1}"/>
              </a:ext>
            </a:extLst>
          </p:cNvPr>
          <p:cNvSpPr>
            <a:spLocks noGrp="1"/>
          </p:cNvSpPr>
          <p:nvPr>
            <p:ph type="body" sz="quarter" idx="29"/>
          </p:nvPr>
        </p:nvSpPr>
        <p:spPr>
          <a:xfrm>
            <a:off x="2333196" y="1915486"/>
            <a:ext cx="3355742" cy="1163606"/>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21" name="Text Placeholder 15">
            <a:extLst>
              <a:ext uri="{FF2B5EF4-FFF2-40B4-BE49-F238E27FC236}">
                <a16:creationId xmlns:a16="http://schemas.microsoft.com/office/drawing/2014/main" id="{A5E09E69-6CAD-B355-9823-320AB8FAE66F}"/>
              </a:ext>
            </a:extLst>
          </p:cNvPr>
          <p:cNvSpPr>
            <a:spLocks noGrp="1"/>
          </p:cNvSpPr>
          <p:nvPr>
            <p:ph type="body" sz="quarter" idx="30"/>
          </p:nvPr>
        </p:nvSpPr>
        <p:spPr>
          <a:xfrm>
            <a:off x="2333196" y="4175447"/>
            <a:ext cx="3355742" cy="1163606"/>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Tree>
    <p:extLst>
      <p:ext uri="{BB962C8B-B14F-4D97-AF65-F5344CB8AC3E}">
        <p14:creationId xmlns:p14="http://schemas.microsoft.com/office/powerpoint/2010/main" val="2815412528"/>
      </p:ext>
    </p:extLst>
  </p:cSld>
  <p:clrMapOvr>
    <a:masterClrMapping/>
  </p:clrMapOvr>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Headshots x9">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22" name="Picture Placeholder 9">
            <a:extLst>
              <a:ext uri="{FF2B5EF4-FFF2-40B4-BE49-F238E27FC236}">
                <a16:creationId xmlns:a16="http://schemas.microsoft.com/office/drawing/2014/main" id="{9DD9632F-ADC6-0F07-8F3F-62F1AF846E10}"/>
              </a:ext>
            </a:extLst>
          </p:cNvPr>
          <p:cNvSpPr>
            <a:spLocks noGrp="1"/>
          </p:cNvSpPr>
          <p:nvPr>
            <p:ph type="pic" sz="quarter" idx="20" hasCustomPrompt="1"/>
          </p:nvPr>
        </p:nvSpPr>
        <p:spPr>
          <a:xfrm>
            <a:off x="515938" y="1711994"/>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23" name="Text Placeholder 15">
            <a:extLst>
              <a:ext uri="{FF2B5EF4-FFF2-40B4-BE49-F238E27FC236}">
                <a16:creationId xmlns:a16="http://schemas.microsoft.com/office/drawing/2014/main" id="{A6BDD17B-1F38-C02C-FBE9-A0D8E16AB19C}"/>
              </a:ext>
            </a:extLst>
          </p:cNvPr>
          <p:cNvSpPr>
            <a:spLocks noGrp="1"/>
          </p:cNvSpPr>
          <p:nvPr>
            <p:ph type="body" sz="quarter" idx="15"/>
          </p:nvPr>
        </p:nvSpPr>
        <p:spPr>
          <a:xfrm>
            <a:off x="1699411" y="1711994"/>
            <a:ext cx="2116757" cy="987159"/>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24" name="Picture Placeholder 9">
            <a:extLst>
              <a:ext uri="{FF2B5EF4-FFF2-40B4-BE49-F238E27FC236}">
                <a16:creationId xmlns:a16="http://schemas.microsoft.com/office/drawing/2014/main" id="{25EC710C-2932-CFFF-F55D-955597F0FB30}"/>
              </a:ext>
            </a:extLst>
          </p:cNvPr>
          <p:cNvSpPr>
            <a:spLocks noGrp="1"/>
          </p:cNvSpPr>
          <p:nvPr>
            <p:ph type="pic" sz="quarter" idx="21" hasCustomPrompt="1"/>
          </p:nvPr>
        </p:nvSpPr>
        <p:spPr>
          <a:xfrm>
            <a:off x="4335796" y="1711994"/>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25" name="Text Placeholder 15">
            <a:extLst>
              <a:ext uri="{FF2B5EF4-FFF2-40B4-BE49-F238E27FC236}">
                <a16:creationId xmlns:a16="http://schemas.microsoft.com/office/drawing/2014/main" id="{247CB122-DF3E-CDA7-027B-26E525434AE2}"/>
              </a:ext>
            </a:extLst>
          </p:cNvPr>
          <p:cNvSpPr>
            <a:spLocks noGrp="1"/>
          </p:cNvSpPr>
          <p:nvPr>
            <p:ph type="body" sz="quarter" idx="22"/>
          </p:nvPr>
        </p:nvSpPr>
        <p:spPr>
          <a:xfrm>
            <a:off x="5527232" y="1711994"/>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0" name="Picture Placeholder 9">
            <a:extLst>
              <a:ext uri="{FF2B5EF4-FFF2-40B4-BE49-F238E27FC236}">
                <a16:creationId xmlns:a16="http://schemas.microsoft.com/office/drawing/2014/main" id="{27971BF0-784D-F3CF-2C6F-CA5180542041}"/>
              </a:ext>
            </a:extLst>
          </p:cNvPr>
          <p:cNvSpPr>
            <a:spLocks noGrp="1"/>
          </p:cNvSpPr>
          <p:nvPr>
            <p:ph type="pic" sz="quarter" idx="23" hasCustomPrompt="1"/>
          </p:nvPr>
        </p:nvSpPr>
        <p:spPr>
          <a:xfrm>
            <a:off x="8220024" y="1711994"/>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1" name="Text Placeholder 15">
            <a:extLst>
              <a:ext uri="{FF2B5EF4-FFF2-40B4-BE49-F238E27FC236}">
                <a16:creationId xmlns:a16="http://schemas.microsoft.com/office/drawing/2014/main" id="{0B2CA69D-267F-C90D-4248-B4C35F26DF79}"/>
              </a:ext>
            </a:extLst>
          </p:cNvPr>
          <p:cNvSpPr>
            <a:spLocks noGrp="1"/>
          </p:cNvSpPr>
          <p:nvPr>
            <p:ph type="body" sz="quarter" idx="24"/>
          </p:nvPr>
        </p:nvSpPr>
        <p:spPr>
          <a:xfrm>
            <a:off x="9411460" y="1711994"/>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2" name="Picture Placeholder 9">
            <a:extLst>
              <a:ext uri="{FF2B5EF4-FFF2-40B4-BE49-F238E27FC236}">
                <a16:creationId xmlns:a16="http://schemas.microsoft.com/office/drawing/2014/main" id="{5897A2C1-9865-7BB8-2197-358370EFD4AC}"/>
              </a:ext>
            </a:extLst>
          </p:cNvPr>
          <p:cNvSpPr>
            <a:spLocks noGrp="1"/>
          </p:cNvSpPr>
          <p:nvPr>
            <p:ph type="pic" sz="quarter" idx="25" hasCustomPrompt="1"/>
          </p:nvPr>
        </p:nvSpPr>
        <p:spPr>
          <a:xfrm>
            <a:off x="515938" y="3155667"/>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3" name="Text Placeholder 15">
            <a:extLst>
              <a:ext uri="{FF2B5EF4-FFF2-40B4-BE49-F238E27FC236}">
                <a16:creationId xmlns:a16="http://schemas.microsoft.com/office/drawing/2014/main" id="{62920B1E-EBA9-626D-6305-A1ADAE904D1A}"/>
              </a:ext>
            </a:extLst>
          </p:cNvPr>
          <p:cNvSpPr>
            <a:spLocks noGrp="1"/>
          </p:cNvSpPr>
          <p:nvPr>
            <p:ph type="body" sz="quarter" idx="26"/>
          </p:nvPr>
        </p:nvSpPr>
        <p:spPr>
          <a:xfrm>
            <a:off x="1699411" y="3155667"/>
            <a:ext cx="2116757" cy="987159"/>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4" name="Picture Placeholder 9">
            <a:extLst>
              <a:ext uri="{FF2B5EF4-FFF2-40B4-BE49-F238E27FC236}">
                <a16:creationId xmlns:a16="http://schemas.microsoft.com/office/drawing/2014/main" id="{544F1E77-8814-8A3B-D86A-076D4023ACA7}"/>
              </a:ext>
            </a:extLst>
          </p:cNvPr>
          <p:cNvSpPr>
            <a:spLocks noGrp="1"/>
          </p:cNvSpPr>
          <p:nvPr>
            <p:ph type="pic" sz="quarter" idx="27" hasCustomPrompt="1"/>
          </p:nvPr>
        </p:nvSpPr>
        <p:spPr>
          <a:xfrm>
            <a:off x="4335796" y="3155667"/>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5" name="Text Placeholder 15">
            <a:extLst>
              <a:ext uri="{FF2B5EF4-FFF2-40B4-BE49-F238E27FC236}">
                <a16:creationId xmlns:a16="http://schemas.microsoft.com/office/drawing/2014/main" id="{C7619CC2-0DAA-26FC-AEAA-30394D48883A}"/>
              </a:ext>
            </a:extLst>
          </p:cNvPr>
          <p:cNvSpPr>
            <a:spLocks noGrp="1"/>
          </p:cNvSpPr>
          <p:nvPr>
            <p:ph type="body" sz="quarter" idx="28"/>
          </p:nvPr>
        </p:nvSpPr>
        <p:spPr>
          <a:xfrm>
            <a:off x="5527232" y="3155667"/>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6" name="Picture Placeholder 9">
            <a:extLst>
              <a:ext uri="{FF2B5EF4-FFF2-40B4-BE49-F238E27FC236}">
                <a16:creationId xmlns:a16="http://schemas.microsoft.com/office/drawing/2014/main" id="{8FAFCD1B-5A84-929A-D622-CC609C41B001}"/>
              </a:ext>
            </a:extLst>
          </p:cNvPr>
          <p:cNvSpPr>
            <a:spLocks noGrp="1"/>
          </p:cNvSpPr>
          <p:nvPr>
            <p:ph type="pic" sz="quarter" idx="29" hasCustomPrompt="1"/>
          </p:nvPr>
        </p:nvSpPr>
        <p:spPr>
          <a:xfrm>
            <a:off x="8220024" y="3155667"/>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7" name="Text Placeholder 15">
            <a:extLst>
              <a:ext uri="{FF2B5EF4-FFF2-40B4-BE49-F238E27FC236}">
                <a16:creationId xmlns:a16="http://schemas.microsoft.com/office/drawing/2014/main" id="{32DEC219-4AAE-290C-5636-F26705700111}"/>
              </a:ext>
            </a:extLst>
          </p:cNvPr>
          <p:cNvSpPr>
            <a:spLocks noGrp="1"/>
          </p:cNvSpPr>
          <p:nvPr>
            <p:ph type="body" sz="quarter" idx="30"/>
          </p:nvPr>
        </p:nvSpPr>
        <p:spPr>
          <a:xfrm>
            <a:off x="9411460" y="3155667"/>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8" name="Picture Placeholder 9">
            <a:extLst>
              <a:ext uri="{FF2B5EF4-FFF2-40B4-BE49-F238E27FC236}">
                <a16:creationId xmlns:a16="http://schemas.microsoft.com/office/drawing/2014/main" id="{B2CF404E-74E2-7F8B-678B-6E7F764D9BF2}"/>
              </a:ext>
            </a:extLst>
          </p:cNvPr>
          <p:cNvSpPr>
            <a:spLocks noGrp="1"/>
          </p:cNvSpPr>
          <p:nvPr>
            <p:ph type="pic" sz="quarter" idx="31" hasCustomPrompt="1"/>
          </p:nvPr>
        </p:nvSpPr>
        <p:spPr>
          <a:xfrm>
            <a:off x="515938" y="4599456"/>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9" name="Text Placeholder 15">
            <a:extLst>
              <a:ext uri="{FF2B5EF4-FFF2-40B4-BE49-F238E27FC236}">
                <a16:creationId xmlns:a16="http://schemas.microsoft.com/office/drawing/2014/main" id="{494146F5-9D36-2EF7-388E-A72B6DA0D9BB}"/>
              </a:ext>
            </a:extLst>
          </p:cNvPr>
          <p:cNvSpPr>
            <a:spLocks noGrp="1"/>
          </p:cNvSpPr>
          <p:nvPr>
            <p:ph type="body" sz="quarter" idx="32"/>
          </p:nvPr>
        </p:nvSpPr>
        <p:spPr>
          <a:xfrm>
            <a:off x="1699411" y="4599456"/>
            <a:ext cx="2116757" cy="987159"/>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0" name="Picture Placeholder 9">
            <a:extLst>
              <a:ext uri="{FF2B5EF4-FFF2-40B4-BE49-F238E27FC236}">
                <a16:creationId xmlns:a16="http://schemas.microsoft.com/office/drawing/2014/main" id="{B71BEAAD-C8C5-6988-5CBE-F7E302410597}"/>
              </a:ext>
            </a:extLst>
          </p:cNvPr>
          <p:cNvSpPr>
            <a:spLocks noGrp="1"/>
          </p:cNvSpPr>
          <p:nvPr>
            <p:ph type="pic" sz="quarter" idx="33" hasCustomPrompt="1"/>
          </p:nvPr>
        </p:nvSpPr>
        <p:spPr>
          <a:xfrm>
            <a:off x="4335796" y="4599456"/>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1" name="Text Placeholder 15">
            <a:extLst>
              <a:ext uri="{FF2B5EF4-FFF2-40B4-BE49-F238E27FC236}">
                <a16:creationId xmlns:a16="http://schemas.microsoft.com/office/drawing/2014/main" id="{138E6919-019E-02BB-5D0D-FF9C12142411}"/>
              </a:ext>
            </a:extLst>
          </p:cNvPr>
          <p:cNvSpPr>
            <a:spLocks noGrp="1"/>
          </p:cNvSpPr>
          <p:nvPr>
            <p:ph type="body" sz="quarter" idx="34"/>
          </p:nvPr>
        </p:nvSpPr>
        <p:spPr>
          <a:xfrm>
            <a:off x="5527232" y="4599456"/>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2" name="Picture Placeholder 9">
            <a:extLst>
              <a:ext uri="{FF2B5EF4-FFF2-40B4-BE49-F238E27FC236}">
                <a16:creationId xmlns:a16="http://schemas.microsoft.com/office/drawing/2014/main" id="{50AEE6D7-E551-8465-B986-00D61EB9730A}"/>
              </a:ext>
            </a:extLst>
          </p:cNvPr>
          <p:cNvSpPr>
            <a:spLocks noGrp="1"/>
          </p:cNvSpPr>
          <p:nvPr>
            <p:ph type="pic" sz="quarter" idx="35" hasCustomPrompt="1"/>
          </p:nvPr>
        </p:nvSpPr>
        <p:spPr>
          <a:xfrm>
            <a:off x="8220024" y="4599456"/>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3" name="Text Placeholder 15">
            <a:extLst>
              <a:ext uri="{FF2B5EF4-FFF2-40B4-BE49-F238E27FC236}">
                <a16:creationId xmlns:a16="http://schemas.microsoft.com/office/drawing/2014/main" id="{EABA07AD-B083-3DC8-2E9C-6607785D0D9F}"/>
              </a:ext>
            </a:extLst>
          </p:cNvPr>
          <p:cNvSpPr>
            <a:spLocks noGrp="1"/>
          </p:cNvSpPr>
          <p:nvPr>
            <p:ph type="body" sz="quarter" idx="36"/>
          </p:nvPr>
        </p:nvSpPr>
        <p:spPr>
          <a:xfrm>
            <a:off x="9411460" y="4599456"/>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Tree>
    <p:extLst>
      <p:ext uri="{BB962C8B-B14F-4D97-AF65-F5344CB8AC3E}">
        <p14:creationId xmlns:p14="http://schemas.microsoft.com/office/powerpoint/2010/main" val="3592532711"/>
      </p:ext>
    </p:extLst>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Headshots x1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22" name="Picture Placeholder 9">
            <a:extLst>
              <a:ext uri="{FF2B5EF4-FFF2-40B4-BE49-F238E27FC236}">
                <a16:creationId xmlns:a16="http://schemas.microsoft.com/office/drawing/2014/main" id="{9DD9632F-ADC6-0F07-8F3F-62F1AF846E10}"/>
              </a:ext>
            </a:extLst>
          </p:cNvPr>
          <p:cNvSpPr>
            <a:spLocks noGrp="1"/>
          </p:cNvSpPr>
          <p:nvPr>
            <p:ph type="pic" sz="quarter" idx="20" hasCustomPrompt="1"/>
          </p:nvPr>
        </p:nvSpPr>
        <p:spPr>
          <a:xfrm>
            <a:off x="515939" y="1711995"/>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23" name="Text Placeholder 15">
            <a:extLst>
              <a:ext uri="{FF2B5EF4-FFF2-40B4-BE49-F238E27FC236}">
                <a16:creationId xmlns:a16="http://schemas.microsoft.com/office/drawing/2014/main" id="{A6BDD17B-1F38-C02C-FBE9-A0D8E16AB19C}"/>
              </a:ext>
            </a:extLst>
          </p:cNvPr>
          <p:cNvSpPr>
            <a:spLocks noGrp="1"/>
          </p:cNvSpPr>
          <p:nvPr>
            <p:ph type="body" sz="quarter" idx="15"/>
          </p:nvPr>
        </p:nvSpPr>
        <p:spPr>
          <a:xfrm>
            <a:off x="1596367" y="1711995"/>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39" name="Picture Placeholder 9">
            <a:extLst>
              <a:ext uri="{FF2B5EF4-FFF2-40B4-BE49-F238E27FC236}">
                <a16:creationId xmlns:a16="http://schemas.microsoft.com/office/drawing/2014/main" id="{0A36E1BF-5D7A-3667-C65B-2DB32E2BD388}"/>
              </a:ext>
            </a:extLst>
          </p:cNvPr>
          <p:cNvSpPr>
            <a:spLocks noGrp="1"/>
          </p:cNvSpPr>
          <p:nvPr>
            <p:ph type="pic" sz="quarter" idx="43" hasCustomPrompt="1"/>
          </p:nvPr>
        </p:nvSpPr>
        <p:spPr>
          <a:xfrm>
            <a:off x="515939" y="2786398"/>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4" name="Text Placeholder 15">
            <a:extLst>
              <a:ext uri="{FF2B5EF4-FFF2-40B4-BE49-F238E27FC236}">
                <a16:creationId xmlns:a16="http://schemas.microsoft.com/office/drawing/2014/main" id="{A3EF6248-9648-B0CE-3E04-C8F8A63036EA}"/>
              </a:ext>
            </a:extLst>
          </p:cNvPr>
          <p:cNvSpPr>
            <a:spLocks noGrp="1"/>
          </p:cNvSpPr>
          <p:nvPr>
            <p:ph type="body" sz="quarter" idx="44"/>
          </p:nvPr>
        </p:nvSpPr>
        <p:spPr>
          <a:xfrm>
            <a:off x="1596367" y="2791091"/>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5" name="Picture Placeholder 9">
            <a:extLst>
              <a:ext uri="{FF2B5EF4-FFF2-40B4-BE49-F238E27FC236}">
                <a16:creationId xmlns:a16="http://schemas.microsoft.com/office/drawing/2014/main" id="{C5444EBA-19D0-8678-BDDD-147CE44BC1E1}"/>
              </a:ext>
            </a:extLst>
          </p:cNvPr>
          <p:cNvSpPr>
            <a:spLocks noGrp="1"/>
          </p:cNvSpPr>
          <p:nvPr>
            <p:ph type="pic" sz="quarter" idx="45" hasCustomPrompt="1"/>
          </p:nvPr>
        </p:nvSpPr>
        <p:spPr>
          <a:xfrm>
            <a:off x="515939" y="3870187"/>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6" name="Text Placeholder 15">
            <a:extLst>
              <a:ext uri="{FF2B5EF4-FFF2-40B4-BE49-F238E27FC236}">
                <a16:creationId xmlns:a16="http://schemas.microsoft.com/office/drawing/2014/main" id="{7D5C4711-97F4-DDD0-D960-DEDF44E5F474}"/>
              </a:ext>
            </a:extLst>
          </p:cNvPr>
          <p:cNvSpPr>
            <a:spLocks noGrp="1"/>
          </p:cNvSpPr>
          <p:nvPr>
            <p:ph type="body" sz="quarter" idx="46"/>
          </p:nvPr>
        </p:nvSpPr>
        <p:spPr>
          <a:xfrm>
            <a:off x="1596367" y="3870187"/>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7" name="Picture Placeholder 9">
            <a:extLst>
              <a:ext uri="{FF2B5EF4-FFF2-40B4-BE49-F238E27FC236}">
                <a16:creationId xmlns:a16="http://schemas.microsoft.com/office/drawing/2014/main" id="{E65DD9AF-BC5A-0D6D-203A-19C299826DFB}"/>
              </a:ext>
            </a:extLst>
          </p:cNvPr>
          <p:cNvSpPr>
            <a:spLocks noGrp="1"/>
          </p:cNvSpPr>
          <p:nvPr>
            <p:ph type="pic" sz="quarter" idx="47" hasCustomPrompt="1"/>
          </p:nvPr>
        </p:nvSpPr>
        <p:spPr>
          <a:xfrm>
            <a:off x="515939" y="4949284"/>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8" name="Text Placeholder 15">
            <a:extLst>
              <a:ext uri="{FF2B5EF4-FFF2-40B4-BE49-F238E27FC236}">
                <a16:creationId xmlns:a16="http://schemas.microsoft.com/office/drawing/2014/main" id="{50F33994-9EA1-2A51-A537-50F4FB57B23A}"/>
              </a:ext>
            </a:extLst>
          </p:cNvPr>
          <p:cNvSpPr>
            <a:spLocks noGrp="1"/>
          </p:cNvSpPr>
          <p:nvPr>
            <p:ph type="body" sz="quarter" idx="48"/>
          </p:nvPr>
        </p:nvSpPr>
        <p:spPr>
          <a:xfrm>
            <a:off x="1596367" y="4949284"/>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9" name="Picture Placeholder 9">
            <a:extLst>
              <a:ext uri="{FF2B5EF4-FFF2-40B4-BE49-F238E27FC236}">
                <a16:creationId xmlns:a16="http://schemas.microsoft.com/office/drawing/2014/main" id="{F4BC789A-02DE-1B25-C17D-56031BFFAC79}"/>
              </a:ext>
            </a:extLst>
          </p:cNvPr>
          <p:cNvSpPr>
            <a:spLocks noGrp="1"/>
          </p:cNvSpPr>
          <p:nvPr>
            <p:ph type="pic" sz="quarter" idx="49" hasCustomPrompt="1"/>
          </p:nvPr>
        </p:nvSpPr>
        <p:spPr>
          <a:xfrm>
            <a:off x="4357530" y="1711995"/>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0" name="Text Placeholder 15">
            <a:extLst>
              <a:ext uri="{FF2B5EF4-FFF2-40B4-BE49-F238E27FC236}">
                <a16:creationId xmlns:a16="http://schemas.microsoft.com/office/drawing/2014/main" id="{397D8B8C-1AD2-D2A1-C4BA-DC06F2B6EF69}"/>
              </a:ext>
            </a:extLst>
          </p:cNvPr>
          <p:cNvSpPr>
            <a:spLocks noGrp="1"/>
          </p:cNvSpPr>
          <p:nvPr>
            <p:ph type="body" sz="quarter" idx="50"/>
          </p:nvPr>
        </p:nvSpPr>
        <p:spPr>
          <a:xfrm>
            <a:off x="5437958" y="1711995"/>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1" name="Picture Placeholder 9">
            <a:extLst>
              <a:ext uri="{FF2B5EF4-FFF2-40B4-BE49-F238E27FC236}">
                <a16:creationId xmlns:a16="http://schemas.microsoft.com/office/drawing/2014/main" id="{96F24F90-0E84-D6E6-53DE-5CA754BCC220}"/>
              </a:ext>
            </a:extLst>
          </p:cNvPr>
          <p:cNvSpPr>
            <a:spLocks noGrp="1"/>
          </p:cNvSpPr>
          <p:nvPr>
            <p:ph type="pic" sz="quarter" idx="51" hasCustomPrompt="1"/>
          </p:nvPr>
        </p:nvSpPr>
        <p:spPr>
          <a:xfrm>
            <a:off x="4357530" y="2786398"/>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2" name="Text Placeholder 15">
            <a:extLst>
              <a:ext uri="{FF2B5EF4-FFF2-40B4-BE49-F238E27FC236}">
                <a16:creationId xmlns:a16="http://schemas.microsoft.com/office/drawing/2014/main" id="{FEE53D37-03B9-FEA3-D9B3-377C5ACE8FBB}"/>
              </a:ext>
            </a:extLst>
          </p:cNvPr>
          <p:cNvSpPr>
            <a:spLocks noGrp="1"/>
          </p:cNvSpPr>
          <p:nvPr>
            <p:ph type="body" sz="quarter" idx="52"/>
          </p:nvPr>
        </p:nvSpPr>
        <p:spPr>
          <a:xfrm>
            <a:off x="5437958" y="2791091"/>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3" name="Picture Placeholder 9">
            <a:extLst>
              <a:ext uri="{FF2B5EF4-FFF2-40B4-BE49-F238E27FC236}">
                <a16:creationId xmlns:a16="http://schemas.microsoft.com/office/drawing/2014/main" id="{D91880C0-5866-3A2D-E9A1-293A080C3CBC}"/>
              </a:ext>
            </a:extLst>
          </p:cNvPr>
          <p:cNvSpPr>
            <a:spLocks noGrp="1"/>
          </p:cNvSpPr>
          <p:nvPr>
            <p:ph type="pic" sz="quarter" idx="53" hasCustomPrompt="1"/>
          </p:nvPr>
        </p:nvSpPr>
        <p:spPr>
          <a:xfrm>
            <a:off x="4357530" y="3870187"/>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4" name="Text Placeholder 15">
            <a:extLst>
              <a:ext uri="{FF2B5EF4-FFF2-40B4-BE49-F238E27FC236}">
                <a16:creationId xmlns:a16="http://schemas.microsoft.com/office/drawing/2014/main" id="{68479F4A-C40B-C6DF-03E8-C507FF3D4573}"/>
              </a:ext>
            </a:extLst>
          </p:cNvPr>
          <p:cNvSpPr>
            <a:spLocks noGrp="1"/>
          </p:cNvSpPr>
          <p:nvPr>
            <p:ph type="body" sz="quarter" idx="54"/>
          </p:nvPr>
        </p:nvSpPr>
        <p:spPr>
          <a:xfrm>
            <a:off x="5437958" y="3870187"/>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5" name="Picture Placeholder 9">
            <a:extLst>
              <a:ext uri="{FF2B5EF4-FFF2-40B4-BE49-F238E27FC236}">
                <a16:creationId xmlns:a16="http://schemas.microsoft.com/office/drawing/2014/main" id="{C62DBBD6-D33E-DF74-5AE8-96D1913C8C20}"/>
              </a:ext>
            </a:extLst>
          </p:cNvPr>
          <p:cNvSpPr>
            <a:spLocks noGrp="1"/>
          </p:cNvSpPr>
          <p:nvPr>
            <p:ph type="pic" sz="quarter" idx="55" hasCustomPrompt="1"/>
          </p:nvPr>
        </p:nvSpPr>
        <p:spPr>
          <a:xfrm>
            <a:off x="4357530" y="4949284"/>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6" name="Text Placeholder 15">
            <a:extLst>
              <a:ext uri="{FF2B5EF4-FFF2-40B4-BE49-F238E27FC236}">
                <a16:creationId xmlns:a16="http://schemas.microsoft.com/office/drawing/2014/main" id="{05529239-A4B5-258D-03F5-01D3ADFE8873}"/>
              </a:ext>
            </a:extLst>
          </p:cNvPr>
          <p:cNvSpPr>
            <a:spLocks noGrp="1"/>
          </p:cNvSpPr>
          <p:nvPr>
            <p:ph type="body" sz="quarter" idx="56"/>
          </p:nvPr>
        </p:nvSpPr>
        <p:spPr>
          <a:xfrm>
            <a:off x="5437958" y="4949284"/>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7" name="Picture Placeholder 9">
            <a:extLst>
              <a:ext uri="{FF2B5EF4-FFF2-40B4-BE49-F238E27FC236}">
                <a16:creationId xmlns:a16="http://schemas.microsoft.com/office/drawing/2014/main" id="{114AD459-859C-6C0F-FB75-4B02606E57BB}"/>
              </a:ext>
            </a:extLst>
          </p:cNvPr>
          <p:cNvSpPr>
            <a:spLocks noGrp="1"/>
          </p:cNvSpPr>
          <p:nvPr>
            <p:ph type="pic" sz="quarter" idx="57" hasCustomPrompt="1"/>
          </p:nvPr>
        </p:nvSpPr>
        <p:spPr>
          <a:xfrm>
            <a:off x="8199122" y="1711995"/>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8" name="Text Placeholder 15">
            <a:extLst>
              <a:ext uri="{FF2B5EF4-FFF2-40B4-BE49-F238E27FC236}">
                <a16:creationId xmlns:a16="http://schemas.microsoft.com/office/drawing/2014/main" id="{4EAF0426-CCDA-221A-38EC-BBD417EBF569}"/>
              </a:ext>
            </a:extLst>
          </p:cNvPr>
          <p:cNvSpPr>
            <a:spLocks noGrp="1"/>
          </p:cNvSpPr>
          <p:nvPr>
            <p:ph type="body" sz="quarter" idx="58"/>
          </p:nvPr>
        </p:nvSpPr>
        <p:spPr>
          <a:xfrm>
            <a:off x="9279550" y="1711995"/>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9" name="Picture Placeholder 9">
            <a:extLst>
              <a:ext uri="{FF2B5EF4-FFF2-40B4-BE49-F238E27FC236}">
                <a16:creationId xmlns:a16="http://schemas.microsoft.com/office/drawing/2014/main" id="{EF2E7661-7F3A-851E-C60B-815DA8CE2A18}"/>
              </a:ext>
            </a:extLst>
          </p:cNvPr>
          <p:cNvSpPr>
            <a:spLocks noGrp="1"/>
          </p:cNvSpPr>
          <p:nvPr>
            <p:ph type="pic" sz="quarter" idx="59" hasCustomPrompt="1"/>
          </p:nvPr>
        </p:nvSpPr>
        <p:spPr>
          <a:xfrm>
            <a:off x="8199122" y="2786398"/>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70" name="Text Placeholder 15">
            <a:extLst>
              <a:ext uri="{FF2B5EF4-FFF2-40B4-BE49-F238E27FC236}">
                <a16:creationId xmlns:a16="http://schemas.microsoft.com/office/drawing/2014/main" id="{8748A2D7-29EB-EEF8-E6A5-383DA278969D}"/>
              </a:ext>
            </a:extLst>
          </p:cNvPr>
          <p:cNvSpPr>
            <a:spLocks noGrp="1"/>
          </p:cNvSpPr>
          <p:nvPr>
            <p:ph type="body" sz="quarter" idx="60"/>
          </p:nvPr>
        </p:nvSpPr>
        <p:spPr>
          <a:xfrm>
            <a:off x="9279550" y="2791091"/>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71" name="Picture Placeholder 9">
            <a:extLst>
              <a:ext uri="{FF2B5EF4-FFF2-40B4-BE49-F238E27FC236}">
                <a16:creationId xmlns:a16="http://schemas.microsoft.com/office/drawing/2014/main" id="{E88761E4-7653-636A-0723-500AE4782BC6}"/>
              </a:ext>
            </a:extLst>
          </p:cNvPr>
          <p:cNvSpPr>
            <a:spLocks noGrp="1"/>
          </p:cNvSpPr>
          <p:nvPr>
            <p:ph type="pic" sz="quarter" idx="61" hasCustomPrompt="1"/>
          </p:nvPr>
        </p:nvSpPr>
        <p:spPr>
          <a:xfrm>
            <a:off x="8199122" y="3870187"/>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72" name="Text Placeholder 15">
            <a:extLst>
              <a:ext uri="{FF2B5EF4-FFF2-40B4-BE49-F238E27FC236}">
                <a16:creationId xmlns:a16="http://schemas.microsoft.com/office/drawing/2014/main" id="{B10E2844-BD47-9C07-357D-9EA651BBCA67}"/>
              </a:ext>
            </a:extLst>
          </p:cNvPr>
          <p:cNvSpPr>
            <a:spLocks noGrp="1"/>
          </p:cNvSpPr>
          <p:nvPr>
            <p:ph type="body" sz="quarter" idx="62"/>
          </p:nvPr>
        </p:nvSpPr>
        <p:spPr>
          <a:xfrm>
            <a:off x="9279550" y="3870187"/>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73" name="Picture Placeholder 9">
            <a:extLst>
              <a:ext uri="{FF2B5EF4-FFF2-40B4-BE49-F238E27FC236}">
                <a16:creationId xmlns:a16="http://schemas.microsoft.com/office/drawing/2014/main" id="{310F2473-00CD-C33D-50C3-3F40271F3927}"/>
              </a:ext>
            </a:extLst>
          </p:cNvPr>
          <p:cNvSpPr>
            <a:spLocks noGrp="1"/>
          </p:cNvSpPr>
          <p:nvPr>
            <p:ph type="pic" sz="quarter" idx="63" hasCustomPrompt="1"/>
          </p:nvPr>
        </p:nvSpPr>
        <p:spPr>
          <a:xfrm>
            <a:off x="8199122" y="4949284"/>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74" name="Text Placeholder 15">
            <a:extLst>
              <a:ext uri="{FF2B5EF4-FFF2-40B4-BE49-F238E27FC236}">
                <a16:creationId xmlns:a16="http://schemas.microsoft.com/office/drawing/2014/main" id="{789611C4-8E98-E2CF-35EB-922860C66E00}"/>
              </a:ext>
            </a:extLst>
          </p:cNvPr>
          <p:cNvSpPr>
            <a:spLocks noGrp="1"/>
          </p:cNvSpPr>
          <p:nvPr>
            <p:ph type="body" sz="quarter" idx="64"/>
          </p:nvPr>
        </p:nvSpPr>
        <p:spPr>
          <a:xfrm>
            <a:off x="9279550" y="4949284"/>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Tree>
    <p:extLst>
      <p:ext uri="{BB962C8B-B14F-4D97-AF65-F5344CB8AC3E}">
        <p14:creationId xmlns:p14="http://schemas.microsoft.com/office/powerpoint/2010/main" val="3531146001"/>
      </p:ext>
    </p:extLst>
  </p:cSld>
  <p:clrMapOvr>
    <a:masterClrMapping/>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33" name="Text Placeholder 8">
            <a:extLst>
              <a:ext uri="{FF2B5EF4-FFF2-40B4-BE49-F238E27FC236}">
                <a16:creationId xmlns:a16="http://schemas.microsoft.com/office/drawing/2014/main" id="{81187F35-DC43-A850-FE4F-7D60E8ED7A96}"/>
              </a:ext>
            </a:extLst>
          </p:cNvPr>
          <p:cNvSpPr>
            <a:spLocks noGrp="1"/>
          </p:cNvSpPr>
          <p:nvPr>
            <p:ph type="body" idx="13"/>
          </p:nvPr>
        </p:nvSpPr>
        <p:spPr>
          <a:xfrm>
            <a:off x="531133" y="1708830"/>
            <a:ext cx="11144930" cy="4204608"/>
          </a:xfrm>
        </p:spPr>
        <p:txBody>
          <a:bodyPr numCol="2" spcCol="360000">
            <a:normAutofit/>
          </a:bodyPr>
          <a:lstStyle>
            <a:lvl1pPr marL="457200" indent="-457200">
              <a:spcBef>
                <a:spcPts val="1800"/>
              </a:spcBef>
              <a:spcAft>
                <a:spcPts val="600"/>
              </a:spcAft>
              <a:buClr>
                <a:schemeClr val="bg2"/>
              </a:buClr>
              <a:buFont typeface="+mj-lt"/>
              <a:buAutoNum type="arabicPeriod"/>
              <a:defRPr sz="2400" b="1">
                <a:solidFill>
                  <a:schemeClr val="tx2">
                    <a:lumMod val="50000"/>
                  </a:schemeClr>
                </a:solidFill>
              </a:defRPr>
            </a:lvl1pPr>
            <a:lvl2pPr>
              <a:spcAft>
                <a:spcPts val="600"/>
              </a:spcAft>
              <a:defRPr sz="2000" b="1">
                <a:solidFill>
                  <a:schemeClr val="tx2">
                    <a:lumMod val="50000"/>
                  </a:schemeClr>
                </a:solidFill>
              </a:defRPr>
            </a:lvl2pPr>
            <a:lvl3pPr>
              <a:defRPr sz="2000" b="1">
                <a:solidFill>
                  <a:schemeClr val="tx2">
                    <a:lumMod val="50000"/>
                  </a:schemeClr>
                </a:solidFill>
              </a:defRPr>
            </a:lvl3pPr>
            <a:lvl4pPr>
              <a:defRPr sz="1800" b="1">
                <a:solidFill>
                  <a:schemeClr val="tx2">
                    <a:lumMod val="50000"/>
                  </a:schemeClr>
                </a:solidFill>
              </a:defRPr>
            </a:lvl4pPr>
            <a:lvl5pPr>
              <a:defRPr sz="1800" b="1">
                <a:solidFill>
                  <a:schemeClr val="tx2">
                    <a:lumMod val="50000"/>
                  </a:schemeClr>
                </a:solidFill>
              </a:defRPr>
            </a:lvl5pPr>
          </a:lstStyle>
          <a:p>
            <a:pPr lvl="0"/>
            <a:r>
              <a:rPr lang="en-GB"/>
              <a:t>Click to edit Master text styles</a:t>
            </a:r>
          </a:p>
          <a:p>
            <a:pPr lvl="1"/>
            <a:r>
              <a:rPr lang="en-GB"/>
              <a:t>Second level</a:t>
            </a:r>
          </a:p>
        </p:txBody>
      </p:sp>
    </p:spTree>
    <p:extLst>
      <p:ext uri="{BB962C8B-B14F-4D97-AF65-F5344CB8AC3E}">
        <p14:creationId xmlns:p14="http://schemas.microsoft.com/office/powerpoint/2010/main" val="2133876032"/>
      </p:ext>
    </p:extLst>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6275323"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6275323" cy="343847"/>
          </a:xfrm>
        </p:spPr>
        <p:txBody>
          <a:bodyPr/>
          <a:lstStyle>
            <a:lvl1pPr>
              <a:defRPr>
                <a:solidFill>
                  <a:schemeClr val="bg2"/>
                </a:solidFill>
              </a:defRPr>
            </a:lvl1pPr>
          </a:lstStyle>
          <a:p>
            <a:pPr lvl="0"/>
            <a:r>
              <a:rPr lang="en-GB"/>
              <a:t>Click to edit Master text styles</a:t>
            </a:r>
          </a:p>
        </p:txBody>
      </p:sp>
      <p:sp>
        <p:nvSpPr>
          <p:cNvPr id="33" name="Text Placeholder 8">
            <a:extLst>
              <a:ext uri="{FF2B5EF4-FFF2-40B4-BE49-F238E27FC236}">
                <a16:creationId xmlns:a16="http://schemas.microsoft.com/office/drawing/2014/main" id="{81187F35-DC43-A850-FE4F-7D60E8ED7A96}"/>
              </a:ext>
            </a:extLst>
          </p:cNvPr>
          <p:cNvSpPr>
            <a:spLocks noGrp="1"/>
          </p:cNvSpPr>
          <p:nvPr>
            <p:ph type="body" idx="13"/>
          </p:nvPr>
        </p:nvSpPr>
        <p:spPr>
          <a:xfrm>
            <a:off x="531133" y="1708830"/>
            <a:ext cx="5376371" cy="4204608"/>
          </a:xfrm>
        </p:spPr>
        <p:txBody>
          <a:bodyPr numCol="1" spcCol="360000">
            <a:normAutofit/>
          </a:bodyPr>
          <a:lstStyle>
            <a:lvl1pPr marL="457200" indent="-457200">
              <a:spcBef>
                <a:spcPts val="600"/>
              </a:spcBef>
              <a:spcAft>
                <a:spcPts val="600"/>
              </a:spcAft>
              <a:buClr>
                <a:schemeClr val="bg2"/>
              </a:buClr>
              <a:buFont typeface="+mj-lt"/>
              <a:buAutoNum type="arabicPeriod"/>
              <a:defRPr sz="2400" b="1">
                <a:solidFill>
                  <a:schemeClr val="tx2">
                    <a:lumMod val="50000"/>
                  </a:schemeClr>
                </a:solidFill>
              </a:defRPr>
            </a:lvl1pPr>
            <a:lvl2pPr>
              <a:spcAft>
                <a:spcPts val="600"/>
              </a:spcAft>
              <a:defRPr sz="2000" b="1">
                <a:solidFill>
                  <a:schemeClr val="tx2">
                    <a:lumMod val="50000"/>
                  </a:schemeClr>
                </a:solidFill>
              </a:defRPr>
            </a:lvl2pPr>
            <a:lvl3pPr>
              <a:defRPr sz="2000" b="1">
                <a:solidFill>
                  <a:schemeClr val="tx2">
                    <a:lumMod val="50000"/>
                  </a:schemeClr>
                </a:solidFill>
              </a:defRPr>
            </a:lvl3pPr>
            <a:lvl4pPr>
              <a:defRPr sz="1800" b="1">
                <a:solidFill>
                  <a:schemeClr val="tx2">
                    <a:lumMod val="50000"/>
                  </a:schemeClr>
                </a:solidFill>
              </a:defRPr>
            </a:lvl4pPr>
            <a:lvl5pPr>
              <a:defRPr sz="1800" b="1">
                <a:solidFill>
                  <a:schemeClr val="tx2">
                    <a:lumMod val="50000"/>
                  </a:schemeClr>
                </a:solidFill>
              </a:defRPr>
            </a:lvl5pPr>
          </a:lstStyle>
          <a:p>
            <a:pPr lvl="0"/>
            <a:r>
              <a:rPr lang="en-GB"/>
              <a:t>Click to edit Master text styles</a:t>
            </a:r>
          </a:p>
          <a:p>
            <a:pPr lvl="1"/>
            <a:r>
              <a:rPr lang="en-GB"/>
              <a:t>Second level</a:t>
            </a:r>
          </a:p>
        </p:txBody>
      </p:sp>
      <p:sp>
        <p:nvSpPr>
          <p:cNvPr id="11" name="Text Placeholder 8">
            <a:extLst>
              <a:ext uri="{FF2B5EF4-FFF2-40B4-BE49-F238E27FC236}">
                <a16:creationId xmlns:a16="http://schemas.microsoft.com/office/drawing/2014/main" id="{91F8B0E5-465B-1592-BFB3-5F01C3B0E690}"/>
              </a:ext>
            </a:extLst>
          </p:cNvPr>
          <p:cNvSpPr>
            <a:spLocks noGrp="1"/>
          </p:cNvSpPr>
          <p:nvPr>
            <p:ph type="body" idx="15" hasCustomPrompt="1"/>
          </p:nvPr>
        </p:nvSpPr>
        <p:spPr>
          <a:xfrm>
            <a:off x="6132637" y="1708830"/>
            <a:ext cx="664405" cy="4204608"/>
          </a:xfrm>
        </p:spPr>
        <p:txBody>
          <a:bodyPr numCol="1" spcCol="360000">
            <a:normAutofit/>
          </a:bodyPr>
          <a:lstStyle>
            <a:lvl1pPr marL="0" indent="0" algn="r">
              <a:spcBef>
                <a:spcPts val="600"/>
              </a:spcBef>
              <a:spcAft>
                <a:spcPts val="600"/>
              </a:spcAft>
              <a:buClr>
                <a:schemeClr val="bg2"/>
              </a:buClr>
              <a:buFont typeface="+mj-lt"/>
              <a:buNone/>
              <a:defRPr sz="2400" b="0">
                <a:solidFill>
                  <a:schemeClr val="tx2">
                    <a:lumMod val="50000"/>
                  </a:schemeClr>
                </a:solidFill>
              </a:defRPr>
            </a:lvl1pPr>
            <a:lvl2pPr>
              <a:spcAft>
                <a:spcPts val="600"/>
              </a:spcAft>
              <a:defRPr sz="2000" b="1">
                <a:solidFill>
                  <a:schemeClr val="tx2">
                    <a:lumMod val="50000"/>
                  </a:schemeClr>
                </a:solidFill>
              </a:defRPr>
            </a:lvl2pPr>
            <a:lvl3pPr>
              <a:defRPr sz="2000" b="1">
                <a:solidFill>
                  <a:schemeClr val="tx2">
                    <a:lumMod val="50000"/>
                  </a:schemeClr>
                </a:solidFill>
              </a:defRPr>
            </a:lvl3pPr>
            <a:lvl4pPr>
              <a:defRPr sz="1800" b="1">
                <a:solidFill>
                  <a:schemeClr val="tx2">
                    <a:lumMod val="50000"/>
                  </a:schemeClr>
                </a:solidFill>
              </a:defRPr>
            </a:lvl4pPr>
            <a:lvl5pPr>
              <a:defRPr sz="1800" b="1">
                <a:solidFill>
                  <a:schemeClr val="tx2">
                    <a:lumMod val="50000"/>
                  </a:schemeClr>
                </a:solidFill>
              </a:defRPr>
            </a:lvl5pPr>
          </a:lstStyle>
          <a:p>
            <a:pPr lvl="0"/>
            <a:r>
              <a:rPr lang="en-GB"/>
              <a:t>X</a:t>
            </a:r>
          </a:p>
          <a:p>
            <a:pPr lvl="0"/>
            <a:endParaRPr lang="en-GB"/>
          </a:p>
        </p:txBody>
      </p:sp>
      <p:sp>
        <p:nvSpPr>
          <p:cNvPr id="12" name="Picture Placeholder 2">
            <a:extLst>
              <a:ext uri="{FF2B5EF4-FFF2-40B4-BE49-F238E27FC236}">
                <a16:creationId xmlns:a16="http://schemas.microsoft.com/office/drawing/2014/main" id="{EA8C7E29-42A4-2542-6547-ACCD8C92B2B5}"/>
              </a:ext>
            </a:extLst>
          </p:cNvPr>
          <p:cNvSpPr>
            <a:spLocks noGrp="1"/>
          </p:cNvSpPr>
          <p:nvPr>
            <p:ph type="pic" sz="quarter" idx="24"/>
          </p:nvPr>
        </p:nvSpPr>
        <p:spPr>
          <a:xfrm>
            <a:off x="7368539" y="366371"/>
            <a:ext cx="4307523" cy="5530549"/>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Tree>
    <p:extLst>
      <p:ext uri="{BB962C8B-B14F-4D97-AF65-F5344CB8AC3E}">
        <p14:creationId xmlns:p14="http://schemas.microsoft.com/office/powerpoint/2010/main" val="402774991"/>
      </p:ext>
    </p:extLst>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2803608568"/>
      </p:ext>
    </p:extLst>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Title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3368033230"/>
      </p:ext>
    </p:extLst>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3939334730"/>
      </p:ext>
    </p:extLst>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Title Only – Dark">
    <p:bg>
      <p:bgPr>
        <a:solidFill>
          <a:schemeClr val="tx2">
            <a:lumMod val="75000"/>
          </a:schemeClr>
        </a:solidFill>
        <a:effectLst/>
      </p:bgPr>
    </p:bg>
    <p:spTree>
      <p:nvGrpSpPr>
        <p:cNvPr id="1" name=""/>
        <p:cNvGrpSpPr/>
        <p:nvPr/>
      </p:nvGrpSpPr>
      <p:grpSpPr>
        <a:xfrm>
          <a:off x="0" y="0"/>
          <a:ext cx="0" cy="0"/>
          <a:chOff x="0" y="0"/>
          <a:chExt cx="0" cy="0"/>
        </a:xfrm>
      </p:grpSpPr>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lvl1pPr>
              <a:defRPr>
                <a:solidFill>
                  <a:schemeClr val="bg1"/>
                </a:solidFill>
              </a:defRPr>
            </a:lvl1p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solidFill>
                  <a:schemeClr val="bg1">
                    <a:lumMod val="85000"/>
                  </a:schemeClr>
                </a:solidFill>
              </a:defRPr>
            </a:lvl1pPr>
          </a:lstStyle>
          <a:p>
            <a:fld id="{AB746B08-255A-2748-8A21-40BE94A17FD1}" type="slidenum">
              <a:rPr lang="en-GB" smtClean="0"/>
              <a:pPr/>
              <a:t>‹#›</a:t>
            </a:fld>
            <a:endParaRPr lang="en-GB"/>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solidFill>
                  <a:schemeClr val="bg1">
                    <a:lumMod val="85000"/>
                  </a:schemeClr>
                </a:solidFill>
              </a:defRPr>
            </a:lvl1pPr>
          </a:lstStyle>
          <a:p>
            <a:r>
              <a:rPr lang="en-US"/>
              <a:t>GNN webinar on rabies 6 May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195215447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ext + 2 Imag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 name="Picture Placeholder 2">
            <a:extLst>
              <a:ext uri="{FF2B5EF4-FFF2-40B4-BE49-F238E27FC236}">
                <a16:creationId xmlns:a16="http://schemas.microsoft.com/office/drawing/2014/main" id="{15315BB4-CEA5-4429-26F4-D4B56B8BE141}"/>
              </a:ext>
            </a:extLst>
          </p:cNvPr>
          <p:cNvSpPr>
            <a:spLocks noGrp="1"/>
          </p:cNvSpPr>
          <p:nvPr>
            <p:ph type="pic" sz="quarter" idx="19"/>
          </p:nvPr>
        </p:nvSpPr>
        <p:spPr>
          <a:xfrm>
            <a:off x="6359525" y="368300"/>
            <a:ext cx="5326063" cy="2685505"/>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17" name="Picture Placeholder 2">
            <a:extLst>
              <a:ext uri="{FF2B5EF4-FFF2-40B4-BE49-F238E27FC236}">
                <a16:creationId xmlns:a16="http://schemas.microsoft.com/office/drawing/2014/main" id="{D7BA9708-B496-A663-CB06-FD4F2E3602E5}"/>
              </a:ext>
            </a:extLst>
          </p:cNvPr>
          <p:cNvSpPr>
            <a:spLocks noGrp="1"/>
          </p:cNvSpPr>
          <p:nvPr>
            <p:ph type="pic" sz="quarter" idx="20"/>
          </p:nvPr>
        </p:nvSpPr>
        <p:spPr>
          <a:xfrm>
            <a:off x="6359525" y="3227929"/>
            <a:ext cx="5326063" cy="2685506"/>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18" name="Slide Number Placeholder 2">
            <a:extLst>
              <a:ext uri="{FF2B5EF4-FFF2-40B4-BE49-F238E27FC236}">
                <a16:creationId xmlns:a16="http://schemas.microsoft.com/office/drawing/2014/main" id="{8D67BD3D-5E5B-2957-7B72-B286DEA69454}"/>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9" name="Straight Connector 18">
            <a:extLst>
              <a:ext uri="{FF2B5EF4-FFF2-40B4-BE49-F238E27FC236}">
                <a16:creationId xmlns:a16="http://schemas.microsoft.com/office/drawing/2014/main" id="{11DD0B93-9CA3-DE96-64E9-7FECBAD37972}"/>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0" name="Footer Placeholder 1">
            <a:extLst>
              <a:ext uri="{FF2B5EF4-FFF2-40B4-BE49-F238E27FC236}">
                <a16:creationId xmlns:a16="http://schemas.microsoft.com/office/drawing/2014/main" id="{F3526303-0969-95FB-D8FA-0C9E3916524B}"/>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United Against Rabies Forum Meeting - 6-8 November 2023</a:t>
            </a:r>
            <a:endParaRPr lang="en-GB"/>
          </a:p>
        </p:txBody>
      </p:sp>
      <p:pic>
        <p:nvPicPr>
          <p:cNvPr id="21" name="Picture 11">
            <a:extLst>
              <a:ext uri="{FF2B5EF4-FFF2-40B4-BE49-F238E27FC236}">
                <a16:creationId xmlns:a16="http://schemas.microsoft.com/office/drawing/2014/main" id="{24A4E3D3-8EF4-A80C-4780-9639C12D4E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2" name="Text Placeholder 8">
            <a:extLst>
              <a:ext uri="{FF2B5EF4-FFF2-40B4-BE49-F238E27FC236}">
                <a16:creationId xmlns:a16="http://schemas.microsoft.com/office/drawing/2014/main" id="{02F1485A-E0B4-C14E-58C4-9144A8FEE29C}"/>
              </a:ext>
            </a:extLst>
          </p:cNvPr>
          <p:cNvSpPr>
            <a:spLocks noGrp="1"/>
          </p:cNvSpPr>
          <p:nvPr>
            <p:ph type="body" idx="22" hasCustomPrompt="1"/>
          </p:nvPr>
        </p:nvSpPr>
        <p:spPr>
          <a:xfrm>
            <a:off x="6345193" y="5962960"/>
            <a:ext cx="5340395" cy="140488"/>
          </a:xfrm>
        </p:spPr>
        <p:txBody>
          <a:bodyPr numCol="1" spcCol="180000">
            <a:spAutoFit/>
          </a:bodyPr>
          <a:lstStyle>
            <a:lvl1pPr marL="0" indent="0">
              <a:spcAft>
                <a:spcPts val="600"/>
              </a:spcAft>
              <a:buClr>
                <a:schemeClr val="bg2"/>
              </a:buClr>
              <a:buFont typeface="Arial" panose="020B0604020202020204" pitchFamily="34" charset="0"/>
              <a:buNone/>
              <a:defRPr sz="900" b="0">
                <a:solidFill>
                  <a:schemeClr val="bg1">
                    <a:lumMod val="65000"/>
                  </a:schemeClr>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Optional image caption</a:t>
            </a:r>
          </a:p>
        </p:txBody>
      </p:sp>
    </p:spTree>
    <p:extLst>
      <p:ext uri="{BB962C8B-B14F-4D97-AF65-F5344CB8AC3E}">
        <p14:creationId xmlns:p14="http://schemas.microsoft.com/office/powerpoint/2010/main" val="3898253600"/>
      </p:ext>
    </p:extLst>
  </p:cSld>
  <p:clrMapOvr>
    <a:masterClrMapping/>
  </p:clrMapOvr>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Large Key Stat">
    <p:bg>
      <p:bgPr>
        <a:blipFill dpi="0" rotWithShape="1">
          <a:blip r:embed="rId2">
            <a:lum/>
            <a:extLst>
              <a:ext uri="{28A0092B-C50C-407E-A947-70E740481C1C}">
                <a14:useLocalDpi xmlns:a14="http://schemas.microsoft.com/office/drawing/2010/main"/>
              </a:ext>
            </a:extLst>
          </a:blip>
          <a:srcRect/>
          <a:stretch>
            <a:fillRect t="-3000" b="-3000"/>
          </a:stretch>
        </a:blip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9290FAF2-2869-2B9B-5880-4EE57045BC4F}"/>
              </a:ext>
            </a:extLst>
          </p:cNvPr>
          <p:cNvSpPr>
            <a:spLocks noGrp="1"/>
          </p:cNvSpPr>
          <p:nvPr>
            <p:ph type="title" hasCustomPrompt="1"/>
          </p:nvPr>
        </p:nvSpPr>
        <p:spPr>
          <a:xfrm>
            <a:off x="518828" y="1249683"/>
            <a:ext cx="11208352" cy="2690816"/>
          </a:xfrm>
          <a:prstGeom prst="rect">
            <a:avLst/>
          </a:prstGeom>
        </p:spPr>
        <p:txBody>
          <a:bodyPr vert="horz" lIns="0" tIns="0" rIns="0" bIns="0" rtlCol="0" anchor="b">
            <a:noAutofit/>
          </a:bodyPr>
          <a:lstStyle>
            <a:lvl1pPr>
              <a:defRPr sz="11500">
                <a:solidFill>
                  <a:schemeClr val="bg1"/>
                </a:solidFill>
              </a:defRPr>
            </a:lvl1pPr>
          </a:lstStyle>
          <a:p>
            <a:r>
              <a:rPr lang="en-GB"/>
              <a:t>XXXXXX</a:t>
            </a:r>
          </a:p>
        </p:txBody>
      </p:sp>
      <p:sp>
        <p:nvSpPr>
          <p:cNvPr id="8" name="Slide Number Placeholder 2">
            <a:extLst>
              <a:ext uri="{FF2B5EF4-FFF2-40B4-BE49-F238E27FC236}">
                <a16:creationId xmlns:a16="http://schemas.microsoft.com/office/drawing/2014/main" id="{0F9BA01A-4636-2441-F8D0-2E265BF7D8B4}"/>
              </a:ext>
            </a:extLst>
          </p:cNvPr>
          <p:cNvSpPr>
            <a:spLocks noGrp="1"/>
          </p:cNvSpPr>
          <p:nvPr>
            <p:ph type="sldNum" sz="quarter" idx="12"/>
          </p:nvPr>
        </p:nvSpPr>
        <p:spPr>
          <a:xfrm>
            <a:off x="515937" y="6353142"/>
            <a:ext cx="261630" cy="136526"/>
          </a:xfrm>
          <a:prstGeom prst="rect">
            <a:avLst/>
          </a:prstGeom>
        </p:spPr>
        <p:txBody>
          <a:bodyPr anchor="b"/>
          <a:lstStyle>
            <a:lvl1pPr>
              <a:defRPr sz="800">
                <a:solidFill>
                  <a:schemeClr val="bg1">
                    <a:lumMod val="85000"/>
                  </a:schemeClr>
                </a:solidFill>
              </a:defRPr>
            </a:lvl1pPr>
          </a:lstStyle>
          <a:p>
            <a:fld id="{AB746B08-255A-2748-8A21-40BE94A17FD1}" type="slidenum">
              <a:rPr lang="en-GB" smtClean="0"/>
              <a:pPr/>
              <a:t>‹#›</a:t>
            </a:fld>
            <a:endParaRPr lang="en-GB"/>
          </a:p>
        </p:txBody>
      </p:sp>
      <p:cxnSp>
        <p:nvCxnSpPr>
          <p:cNvPr id="12" name="Straight Connector 11">
            <a:extLst>
              <a:ext uri="{FF2B5EF4-FFF2-40B4-BE49-F238E27FC236}">
                <a16:creationId xmlns:a16="http://schemas.microsoft.com/office/drawing/2014/main" id="{AC751308-8682-E296-A343-1719555B3C95}"/>
              </a:ext>
            </a:extLst>
          </p:cNvPr>
          <p:cNvCxnSpPr>
            <a:cxnSpLocks/>
          </p:cNvCxnSpPr>
          <p:nvPr userDrawn="1"/>
        </p:nvCxnSpPr>
        <p:spPr>
          <a:xfrm>
            <a:off x="515937" y="6293461"/>
            <a:ext cx="1001979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3" name="Footer Placeholder 1">
            <a:extLst>
              <a:ext uri="{FF2B5EF4-FFF2-40B4-BE49-F238E27FC236}">
                <a16:creationId xmlns:a16="http://schemas.microsoft.com/office/drawing/2014/main" id="{A1AFB23D-B299-93C8-2304-575B5ED93621}"/>
              </a:ext>
            </a:extLst>
          </p:cNvPr>
          <p:cNvSpPr>
            <a:spLocks noGrp="1"/>
          </p:cNvSpPr>
          <p:nvPr>
            <p:ph type="ftr" sz="quarter" idx="11"/>
          </p:nvPr>
        </p:nvSpPr>
        <p:spPr>
          <a:xfrm>
            <a:off x="777567" y="6353142"/>
            <a:ext cx="4114800" cy="136526"/>
          </a:xfrm>
          <a:prstGeom prst="rect">
            <a:avLst/>
          </a:prstGeom>
        </p:spPr>
        <p:txBody>
          <a:bodyPr anchor="b"/>
          <a:lstStyle>
            <a:lvl1pPr>
              <a:defRPr sz="800">
                <a:solidFill>
                  <a:schemeClr val="bg1">
                    <a:lumMod val="85000"/>
                  </a:schemeClr>
                </a:solidFill>
              </a:defRPr>
            </a:lvl1pPr>
          </a:lstStyle>
          <a:p>
            <a:r>
              <a:rPr lang="en-US"/>
              <a:t>GNN webinar on rabies 6 May 2024</a:t>
            </a:r>
            <a:endParaRPr lang="en-GB"/>
          </a:p>
        </p:txBody>
      </p:sp>
      <p:pic>
        <p:nvPicPr>
          <p:cNvPr id="15" name="Picture 11">
            <a:extLst>
              <a:ext uri="{FF2B5EF4-FFF2-40B4-BE49-F238E27FC236}">
                <a16:creationId xmlns:a16="http://schemas.microsoft.com/office/drawing/2014/main" id="{A4BBC3E9-F3A2-C188-5A3A-9D714331C860}"/>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633506" y="6109976"/>
            <a:ext cx="1036776" cy="381653"/>
          </a:xfrm>
          <a:prstGeom prst="rect">
            <a:avLst/>
          </a:prstGeom>
        </p:spPr>
      </p:pic>
      <p:sp>
        <p:nvSpPr>
          <p:cNvPr id="16" name="Text Placeholder 6">
            <a:extLst>
              <a:ext uri="{FF2B5EF4-FFF2-40B4-BE49-F238E27FC236}">
                <a16:creationId xmlns:a16="http://schemas.microsoft.com/office/drawing/2014/main" id="{64AB32E5-85C1-B8E6-505F-2580C9B2E9EE}"/>
              </a:ext>
            </a:extLst>
          </p:cNvPr>
          <p:cNvSpPr>
            <a:spLocks noGrp="1"/>
          </p:cNvSpPr>
          <p:nvPr>
            <p:ph type="body" sz="quarter" idx="16"/>
          </p:nvPr>
        </p:nvSpPr>
        <p:spPr>
          <a:xfrm>
            <a:off x="515936" y="4053840"/>
            <a:ext cx="6364924" cy="1668779"/>
          </a:xfrm>
        </p:spPr>
        <p:txBody>
          <a:bodyPr>
            <a:noAutofit/>
          </a:bodyPr>
          <a:lstStyle>
            <a:lvl1pPr>
              <a:defRPr sz="2400" b="1">
                <a:solidFill>
                  <a:schemeClr val="bg1"/>
                </a:solidFill>
              </a:defRPr>
            </a:lvl1pPr>
          </a:lstStyle>
          <a:p>
            <a:pPr lvl="0"/>
            <a:r>
              <a:rPr lang="en-GB"/>
              <a:t>Click to edit Master text styles</a:t>
            </a:r>
          </a:p>
        </p:txBody>
      </p:sp>
    </p:spTree>
    <p:extLst>
      <p:ext uri="{BB962C8B-B14F-4D97-AF65-F5344CB8AC3E}">
        <p14:creationId xmlns:p14="http://schemas.microsoft.com/office/powerpoint/2010/main" val="3373407322"/>
      </p:ext>
    </p:extLst>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matchingName="Content_Layout" type="obj">
  <p:cSld name="Content_Layout">
    <p:spTree>
      <p:nvGrpSpPr>
        <p:cNvPr id="1" name="Shape 17"/>
        <p:cNvGrpSpPr/>
        <p:nvPr/>
      </p:nvGrpSpPr>
      <p:grpSpPr>
        <a:xfrm>
          <a:off x="0" y="0"/>
          <a:ext cx="0" cy="0"/>
          <a:chOff x="0" y="0"/>
          <a:chExt cx="0" cy="0"/>
        </a:xfrm>
      </p:grpSpPr>
      <p:sp>
        <p:nvSpPr>
          <p:cNvPr id="18" name="Google Shape;18;p2"/>
          <p:cNvSpPr txBox="1">
            <a:spLocks noGrp="1"/>
          </p:cNvSpPr>
          <p:nvPr>
            <p:ph type="title"/>
          </p:nvPr>
        </p:nvSpPr>
        <p:spPr>
          <a:xfrm>
            <a:off x="672000" y="36438"/>
            <a:ext cx="10848000" cy="1036637"/>
          </a:xfrm>
          <a:prstGeom prst="rect">
            <a:avLst/>
          </a:prstGeom>
          <a:noFill/>
          <a:ln>
            <a:noFill/>
          </a:ln>
        </p:spPr>
        <p:txBody>
          <a:bodyPr spcFirstLastPara="1" wrap="square" lIns="0" tIns="0" rIns="0" bIns="0" anchor="b" anchorCtr="0">
            <a:noAutofit/>
          </a:bodyPr>
          <a:lstStyle>
            <a:lvl1pPr lvl="0" algn="l">
              <a:lnSpc>
                <a:spcPct val="9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 name="Google Shape;19;p2"/>
          <p:cNvSpPr txBox="1">
            <a:spLocks noGrp="1"/>
          </p:cNvSpPr>
          <p:nvPr>
            <p:ph type="body" idx="1"/>
          </p:nvPr>
        </p:nvSpPr>
        <p:spPr>
          <a:xfrm>
            <a:off x="672000" y="1603200"/>
            <a:ext cx="10848000" cy="4190400"/>
          </a:xfrm>
          <a:prstGeom prst="rect">
            <a:avLst/>
          </a:prstGeom>
          <a:noFill/>
          <a:ln>
            <a:noFill/>
          </a:ln>
        </p:spPr>
        <p:txBody>
          <a:bodyPr spcFirstLastPara="1" wrap="square" lIns="0" tIns="0" rIns="0" bIns="0" anchor="t" anchorCtr="0">
            <a:noAutofit/>
          </a:bodyPr>
          <a:lstStyle>
            <a:lvl1pPr marL="609585" lvl="0" indent="-304792" algn="l">
              <a:lnSpc>
                <a:spcPct val="110000"/>
              </a:lnSpc>
              <a:spcBef>
                <a:spcPts val="0"/>
              </a:spcBef>
              <a:spcAft>
                <a:spcPts val="0"/>
              </a:spcAft>
              <a:buClr>
                <a:schemeClr val="accent1"/>
              </a:buClr>
              <a:buSzPts val="1800"/>
              <a:buNone/>
              <a:defRPr/>
            </a:lvl1pPr>
            <a:lvl2pPr marL="1219170" lvl="1" indent="-457189" algn="l">
              <a:lnSpc>
                <a:spcPct val="100000"/>
              </a:lnSpc>
              <a:spcBef>
                <a:spcPts val="400"/>
              </a:spcBef>
              <a:spcAft>
                <a:spcPts val="0"/>
              </a:spcAft>
              <a:buSzPts val="1800"/>
              <a:buChar char="•"/>
              <a:defRPr/>
            </a:lvl2pPr>
            <a:lvl3pPr marL="1828754" lvl="2" indent="-440256" algn="l">
              <a:lnSpc>
                <a:spcPct val="100000"/>
              </a:lnSpc>
              <a:spcBef>
                <a:spcPts val="400"/>
              </a:spcBef>
              <a:spcAft>
                <a:spcPts val="0"/>
              </a:spcAft>
              <a:buClr>
                <a:schemeClr val="dk1"/>
              </a:buClr>
              <a:buSzPts val="1600"/>
              <a:buChar char="•"/>
              <a:defRPr/>
            </a:lvl3pPr>
            <a:lvl4pPr marL="2438339" lvl="3" indent="-304792" algn="l">
              <a:lnSpc>
                <a:spcPct val="100000"/>
              </a:lnSpc>
              <a:spcBef>
                <a:spcPts val="400"/>
              </a:spcBef>
              <a:spcAft>
                <a:spcPts val="0"/>
              </a:spcAft>
              <a:buClr>
                <a:schemeClr val="dk1"/>
              </a:buClr>
              <a:buSzPts val="1600"/>
              <a:buNone/>
              <a:defRPr/>
            </a:lvl4pPr>
            <a:lvl5pPr marL="3047924" lvl="4" indent="-423323" algn="l">
              <a:lnSpc>
                <a:spcPct val="100000"/>
              </a:lnSpc>
              <a:spcBef>
                <a:spcPts val="400"/>
              </a:spcBef>
              <a:spcAft>
                <a:spcPts val="0"/>
              </a:spcAft>
              <a:buClr>
                <a:schemeClr val="dk1"/>
              </a:buClr>
              <a:buSzPts val="1400"/>
              <a:buChar char="•"/>
              <a:defRPr/>
            </a:lvl5pPr>
            <a:lvl6pPr marL="3657509" lvl="5" indent="-457189" algn="l">
              <a:lnSpc>
                <a:spcPct val="100000"/>
              </a:lnSpc>
              <a:spcBef>
                <a:spcPts val="480"/>
              </a:spcBef>
              <a:spcAft>
                <a:spcPts val="0"/>
              </a:spcAft>
              <a:buClr>
                <a:schemeClr val="dk1"/>
              </a:buClr>
              <a:buSzPts val="1800"/>
              <a:buChar char="•"/>
              <a:defRPr/>
            </a:lvl6pPr>
            <a:lvl7pPr marL="4267093" lvl="6" indent="-457189" algn="l">
              <a:lnSpc>
                <a:spcPct val="100000"/>
              </a:lnSpc>
              <a:spcBef>
                <a:spcPts val="480"/>
              </a:spcBef>
              <a:spcAft>
                <a:spcPts val="0"/>
              </a:spcAft>
              <a:buClr>
                <a:schemeClr val="dk1"/>
              </a:buClr>
              <a:buSzPts val="1800"/>
              <a:buChar char="•"/>
              <a:defRPr/>
            </a:lvl7pPr>
            <a:lvl8pPr marL="4876678" lvl="7" indent="-457189" algn="l">
              <a:lnSpc>
                <a:spcPct val="100000"/>
              </a:lnSpc>
              <a:spcBef>
                <a:spcPts val="480"/>
              </a:spcBef>
              <a:spcAft>
                <a:spcPts val="0"/>
              </a:spcAft>
              <a:buClr>
                <a:schemeClr val="dk1"/>
              </a:buClr>
              <a:buSzPts val="1800"/>
              <a:buChar char="•"/>
              <a:defRPr/>
            </a:lvl8pPr>
            <a:lvl9pPr marL="5486263" lvl="8" indent="-457189" algn="l">
              <a:lnSpc>
                <a:spcPct val="100000"/>
              </a:lnSpc>
              <a:spcBef>
                <a:spcPts val="480"/>
              </a:spcBef>
              <a:spcAft>
                <a:spcPts val="0"/>
              </a:spcAft>
              <a:buClr>
                <a:schemeClr val="dk1"/>
              </a:buClr>
              <a:buSzPts val="1800"/>
              <a:buChar char="•"/>
              <a:defRPr/>
            </a:lvl9pPr>
          </a:lstStyle>
          <a:p>
            <a:endParaRPr/>
          </a:p>
        </p:txBody>
      </p:sp>
      <p:sp>
        <p:nvSpPr>
          <p:cNvPr id="20" name="Google Shape;20;p2"/>
          <p:cNvSpPr txBox="1">
            <a:spLocks noGrp="1"/>
          </p:cNvSpPr>
          <p:nvPr>
            <p:ph type="sldNum" idx="12"/>
          </p:nvPr>
        </p:nvSpPr>
        <p:spPr>
          <a:xfrm>
            <a:off x="672000" y="6327933"/>
            <a:ext cx="1200149" cy="530067"/>
          </a:xfrm>
          <a:prstGeom prst="rect">
            <a:avLst/>
          </a:prstGeom>
          <a:noFill/>
          <a:ln>
            <a:noFill/>
          </a:ln>
        </p:spPr>
        <p:txBody>
          <a:bodyPr spcFirstLastPara="1" wrap="square" lIns="0" tIns="21600" rIns="0" bIns="0" anchor="t" anchorCtr="0">
            <a:noAutofit/>
          </a:bodyPr>
          <a:lstStyle>
            <a:lvl1pPr marL="0" marR="0" lvl="0" indent="0" algn="l">
              <a:lnSpc>
                <a:spcPct val="100000"/>
              </a:lnSpc>
              <a:spcBef>
                <a:spcPts val="0"/>
              </a:spcBef>
              <a:spcAft>
                <a:spcPts val="0"/>
              </a:spcAft>
              <a:buClr>
                <a:srgbClr val="000000"/>
              </a:buClr>
              <a:buSzPts val="900"/>
              <a:buFont typeface="Arial"/>
              <a:buNone/>
              <a:defRPr sz="1200" b="1" i="0" u="none" strike="noStrike" cap="none">
                <a:solidFill>
                  <a:schemeClr val="dk1"/>
                </a:solidFill>
                <a:latin typeface="Arial"/>
                <a:ea typeface="Arial"/>
                <a:cs typeface="Arial"/>
                <a:sym typeface="Arial"/>
              </a:defRPr>
            </a:lvl1pPr>
            <a:lvl2pPr marL="0" marR="0" lvl="1" indent="0" algn="l">
              <a:lnSpc>
                <a:spcPct val="100000"/>
              </a:lnSpc>
              <a:spcBef>
                <a:spcPts val="0"/>
              </a:spcBef>
              <a:spcAft>
                <a:spcPts val="0"/>
              </a:spcAft>
              <a:buClr>
                <a:srgbClr val="000000"/>
              </a:buClr>
              <a:buSzPts val="900"/>
              <a:buFont typeface="Arial"/>
              <a:buNone/>
              <a:defRPr sz="1200" b="1" i="0" u="none" strike="noStrike" cap="none">
                <a:solidFill>
                  <a:schemeClr val="dk1"/>
                </a:solidFill>
                <a:latin typeface="Arial"/>
                <a:ea typeface="Arial"/>
                <a:cs typeface="Arial"/>
                <a:sym typeface="Arial"/>
              </a:defRPr>
            </a:lvl2pPr>
            <a:lvl3pPr marL="0" marR="0" lvl="2" indent="0" algn="l">
              <a:lnSpc>
                <a:spcPct val="100000"/>
              </a:lnSpc>
              <a:spcBef>
                <a:spcPts val="0"/>
              </a:spcBef>
              <a:spcAft>
                <a:spcPts val="0"/>
              </a:spcAft>
              <a:buClr>
                <a:srgbClr val="000000"/>
              </a:buClr>
              <a:buSzPts val="900"/>
              <a:buFont typeface="Arial"/>
              <a:buNone/>
              <a:defRPr sz="1200" b="1" i="0" u="none" strike="noStrike" cap="none">
                <a:solidFill>
                  <a:schemeClr val="dk1"/>
                </a:solidFill>
                <a:latin typeface="Arial"/>
                <a:ea typeface="Arial"/>
                <a:cs typeface="Arial"/>
                <a:sym typeface="Arial"/>
              </a:defRPr>
            </a:lvl3pPr>
            <a:lvl4pPr marL="0" marR="0" lvl="3" indent="0" algn="l">
              <a:lnSpc>
                <a:spcPct val="100000"/>
              </a:lnSpc>
              <a:spcBef>
                <a:spcPts val="0"/>
              </a:spcBef>
              <a:spcAft>
                <a:spcPts val="0"/>
              </a:spcAft>
              <a:buClr>
                <a:srgbClr val="000000"/>
              </a:buClr>
              <a:buSzPts val="900"/>
              <a:buFont typeface="Arial"/>
              <a:buNone/>
              <a:defRPr sz="1200" b="1" i="0" u="none" strike="noStrike" cap="none">
                <a:solidFill>
                  <a:schemeClr val="dk1"/>
                </a:solidFill>
                <a:latin typeface="Arial"/>
                <a:ea typeface="Arial"/>
                <a:cs typeface="Arial"/>
                <a:sym typeface="Arial"/>
              </a:defRPr>
            </a:lvl4pPr>
            <a:lvl5pPr marL="0" marR="0" lvl="4" indent="0" algn="l">
              <a:lnSpc>
                <a:spcPct val="100000"/>
              </a:lnSpc>
              <a:spcBef>
                <a:spcPts val="0"/>
              </a:spcBef>
              <a:spcAft>
                <a:spcPts val="0"/>
              </a:spcAft>
              <a:buClr>
                <a:srgbClr val="000000"/>
              </a:buClr>
              <a:buSzPts val="900"/>
              <a:buFont typeface="Arial"/>
              <a:buNone/>
              <a:defRPr sz="1200" b="1" i="0" u="none" strike="noStrike" cap="none">
                <a:solidFill>
                  <a:schemeClr val="dk1"/>
                </a:solidFill>
                <a:latin typeface="Arial"/>
                <a:ea typeface="Arial"/>
                <a:cs typeface="Arial"/>
                <a:sym typeface="Arial"/>
              </a:defRPr>
            </a:lvl5pPr>
            <a:lvl6pPr marL="0" marR="0" lvl="5" indent="0" algn="l">
              <a:lnSpc>
                <a:spcPct val="100000"/>
              </a:lnSpc>
              <a:spcBef>
                <a:spcPts val="0"/>
              </a:spcBef>
              <a:spcAft>
                <a:spcPts val="0"/>
              </a:spcAft>
              <a:buClr>
                <a:srgbClr val="000000"/>
              </a:buClr>
              <a:buSzPts val="900"/>
              <a:buFont typeface="Arial"/>
              <a:buNone/>
              <a:defRPr sz="1200" b="1" i="0" u="none" strike="noStrike" cap="none">
                <a:solidFill>
                  <a:schemeClr val="dk1"/>
                </a:solidFill>
                <a:latin typeface="Arial"/>
                <a:ea typeface="Arial"/>
                <a:cs typeface="Arial"/>
                <a:sym typeface="Arial"/>
              </a:defRPr>
            </a:lvl6pPr>
            <a:lvl7pPr marL="0" marR="0" lvl="6" indent="0" algn="l">
              <a:lnSpc>
                <a:spcPct val="100000"/>
              </a:lnSpc>
              <a:spcBef>
                <a:spcPts val="0"/>
              </a:spcBef>
              <a:spcAft>
                <a:spcPts val="0"/>
              </a:spcAft>
              <a:buClr>
                <a:srgbClr val="000000"/>
              </a:buClr>
              <a:buSzPts val="900"/>
              <a:buFont typeface="Arial"/>
              <a:buNone/>
              <a:defRPr sz="1200" b="1" i="0" u="none" strike="noStrike" cap="none">
                <a:solidFill>
                  <a:schemeClr val="dk1"/>
                </a:solidFill>
                <a:latin typeface="Arial"/>
                <a:ea typeface="Arial"/>
                <a:cs typeface="Arial"/>
                <a:sym typeface="Arial"/>
              </a:defRPr>
            </a:lvl7pPr>
            <a:lvl8pPr marL="0" marR="0" lvl="7" indent="0" algn="l">
              <a:lnSpc>
                <a:spcPct val="100000"/>
              </a:lnSpc>
              <a:spcBef>
                <a:spcPts val="0"/>
              </a:spcBef>
              <a:spcAft>
                <a:spcPts val="0"/>
              </a:spcAft>
              <a:buClr>
                <a:srgbClr val="000000"/>
              </a:buClr>
              <a:buSzPts val="900"/>
              <a:buFont typeface="Arial"/>
              <a:buNone/>
              <a:defRPr sz="1200" b="1" i="0" u="none" strike="noStrike" cap="none">
                <a:solidFill>
                  <a:schemeClr val="dk1"/>
                </a:solidFill>
                <a:latin typeface="Arial"/>
                <a:ea typeface="Arial"/>
                <a:cs typeface="Arial"/>
                <a:sym typeface="Arial"/>
              </a:defRPr>
            </a:lvl8pPr>
            <a:lvl9pPr marL="0" marR="0" lvl="8" indent="0" algn="l">
              <a:lnSpc>
                <a:spcPct val="100000"/>
              </a:lnSpc>
              <a:spcBef>
                <a:spcPts val="0"/>
              </a:spcBef>
              <a:spcAft>
                <a:spcPts val="0"/>
              </a:spcAft>
              <a:buClr>
                <a:srgbClr val="000000"/>
              </a:buClr>
              <a:buSzPts val="900"/>
              <a:buFont typeface="Arial"/>
              <a:buNone/>
              <a:defRPr sz="1200" b="1" i="0" u="none" strike="noStrike" cap="none">
                <a:solidFill>
                  <a:schemeClr val="dk1"/>
                </a:solidFill>
                <a:latin typeface="Arial"/>
                <a:ea typeface="Arial"/>
                <a:cs typeface="Arial"/>
                <a:sym typeface="Arial"/>
              </a:defRPr>
            </a:lvl9pPr>
          </a:lstStyle>
          <a:p>
            <a:pPr defTabSz="1219170">
              <a:defRPr/>
            </a:pPr>
            <a:fld id="{00000000-1234-1234-1234-123412341234}" type="slidenum">
              <a:rPr lang="en-US" kern="0" smtClean="0">
                <a:solidFill>
                  <a:srgbClr val="343434"/>
                </a:solidFill>
              </a:rPr>
              <a:pPr defTabSz="1219170">
                <a:defRPr/>
              </a:pPr>
              <a:t>‹#›</a:t>
            </a:fld>
            <a:endParaRPr lang="en-US" kern="0">
              <a:solidFill>
                <a:srgbClr val="343434"/>
              </a:solidFill>
            </a:endParaRPr>
          </a:p>
        </p:txBody>
      </p:sp>
    </p:spTree>
    <p:extLst>
      <p:ext uri="{BB962C8B-B14F-4D97-AF65-F5344CB8AC3E}">
        <p14:creationId xmlns:p14="http://schemas.microsoft.com/office/powerpoint/2010/main" val="3170109056"/>
      </p:ext>
    </p:extLst>
  </p:cSld>
  <p:clrMapOvr>
    <a:masterClrMapping/>
  </p:clrMapOvr>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1003383348"/>
      </p:ext>
    </p:extLst>
  </p:cSld>
  <p:clrMapOvr>
    <a:masterClrMapping/>
  </p:clrMapOvr>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2" spcCol="54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41599896"/>
      </p:ext>
    </p:extLst>
  </p:cSld>
  <p:clrMapOvr>
    <a:masterClrMapping/>
  </p:clrMapOvr>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2 Column Bulle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2" spcCol="360000"/>
          <a:lstStyle>
            <a:lvl1pPr marL="342900" indent="-342900">
              <a:buClr>
                <a:schemeClr val="bg2"/>
              </a:buClr>
              <a:buFont typeface="Arial" panose="020B0604020202020204" pitchFamily="34" charset="0"/>
              <a:buChar char="•"/>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459069677"/>
      </p:ext>
    </p:extLst>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2 Column Number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11144930" cy="4608511"/>
          </a:xfrm>
        </p:spPr>
        <p:txBody>
          <a:bodyPr numCol="2" spcCol="360000"/>
          <a:lstStyle>
            <a:lvl1pPr marL="457200" indent="-457200">
              <a:buClr>
                <a:schemeClr val="bg2"/>
              </a:buClr>
              <a:buFont typeface="+mj-lt"/>
              <a:buAutoNum type="arabicPeriod"/>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4189271489"/>
      </p:ext>
    </p:extLst>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Text Slide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708830"/>
            <a:ext cx="11144930" cy="4204608"/>
          </a:xfrm>
        </p:spPr>
        <p:txBody>
          <a:bodyPr numCol="2" spcCol="54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3719894205"/>
      </p:ext>
    </p:extLst>
  </p:cSld>
  <p:clrMapOvr>
    <a:masterClrMapping/>
  </p:clrMapOvr>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2 Column Bullets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708830"/>
            <a:ext cx="11144930" cy="4204608"/>
          </a:xfrm>
        </p:spPr>
        <p:txBody>
          <a:bodyPr numCol="2" spcCol="360000"/>
          <a:lstStyle>
            <a:lvl1pPr marL="342900" indent="-342900">
              <a:buClr>
                <a:schemeClr val="bg2"/>
              </a:buClr>
              <a:buFont typeface="Arial" panose="020B0604020202020204" pitchFamily="34" charset="0"/>
              <a:buChar char="•"/>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660296324"/>
      </p:ext>
    </p:extLst>
  </p:cSld>
  <p:clrMapOvr>
    <a:masterClrMapping/>
  </p:clrMapOvr>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2 Column Numbers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708830"/>
            <a:ext cx="11144930" cy="4204608"/>
          </a:xfrm>
        </p:spPr>
        <p:txBody>
          <a:bodyPr numCol="2" spcCol="360000"/>
          <a:lstStyle>
            <a:lvl1pPr marL="457200" indent="-457200">
              <a:buClr>
                <a:schemeClr val="bg2"/>
              </a:buClr>
              <a:buFont typeface="+mj-lt"/>
              <a:buAutoNum type="arabicPeriod"/>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1260520463"/>
      </p:ext>
    </p:extLst>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Text Sections x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23534" y="1319651"/>
            <a:ext cx="5358213" cy="343847"/>
          </a:xfrm>
        </p:spPr>
        <p:txBody>
          <a:bodyPr>
            <a:normAutofit/>
          </a:bodyPr>
          <a:lstStyle>
            <a:lvl1pPr>
              <a:defRPr sz="1800" b="1">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Text Placeholder 8">
            <a:extLst>
              <a:ext uri="{FF2B5EF4-FFF2-40B4-BE49-F238E27FC236}">
                <a16:creationId xmlns:a16="http://schemas.microsoft.com/office/drawing/2014/main" id="{E867F760-C803-3AA5-7534-42750FD6DB15}"/>
              </a:ext>
            </a:extLst>
          </p:cNvPr>
          <p:cNvSpPr>
            <a:spLocks noGrp="1"/>
          </p:cNvSpPr>
          <p:nvPr>
            <p:ph type="body" idx="13"/>
          </p:nvPr>
        </p:nvSpPr>
        <p:spPr>
          <a:xfrm>
            <a:off x="531132" y="1708830"/>
            <a:ext cx="5343019"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8" name="Text Placeholder 6">
            <a:extLst>
              <a:ext uri="{FF2B5EF4-FFF2-40B4-BE49-F238E27FC236}">
                <a16:creationId xmlns:a16="http://schemas.microsoft.com/office/drawing/2014/main" id="{87E7DAA2-4D74-8F73-20DD-AB5A220C5D1B}"/>
              </a:ext>
            </a:extLst>
          </p:cNvPr>
          <p:cNvSpPr>
            <a:spLocks noGrp="1"/>
          </p:cNvSpPr>
          <p:nvPr>
            <p:ph type="body" sz="quarter" idx="15"/>
          </p:nvPr>
        </p:nvSpPr>
        <p:spPr>
          <a:xfrm>
            <a:off x="6317851" y="1319651"/>
            <a:ext cx="5358213" cy="343847"/>
          </a:xfrm>
        </p:spPr>
        <p:txBody>
          <a:bodyPr>
            <a:normAutofit/>
          </a:bodyPr>
          <a:lstStyle>
            <a:lvl1pPr>
              <a:defRPr sz="1800" b="1">
                <a:solidFill>
                  <a:schemeClr val="bg2"/>
                </a:solidFill>
              </a:defRPr>
            </a:lvl1pPr>
          </a:lstStyle>
          <a:p>
            <a:pPr lvl="0"/>
            <a:r>
              <a:rPr lang="en-GB"/>
              <a:t>Click to edit Master text styles</a:t>
            </a:r>
          </a:p>
        </p:txBody>
      </p:sp>
      <p:sp>
        <p:nvSpPr>
          <p:cNvPr id="19" name="Text Placeholder 8">
            <a:extLst>
              <a:ext uri="{FF2B5EF4-FFF2-40B4-BE49-F238E27FC236}">
                <a16:creationId xmlns:a16="http://schemas.microsoft.com/office/drawing/2014/main" id="{1E0345EA-841F-0CDC-4D3D-6F8A441AA78F}"/>
              </a:ext>
            </a:extLst>
          </p:cNvPr>
          <p:cNvSpPr>
            <a:spLocks noGrp="1"/>
          </p:cNvSpPr>
          <p:nvPr>
            <p:ph type="body" idx="16"/>
          </p:nvPr>
        </p:nvSpPr>
        <p:spPr>
          <a:xfrm>
            <a:off x="6333045" y="1708830"/>
            <a:ext cx="5343019"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303612587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ext + Image 1">
    <p:spTree>
      <p:nvGrpSpPr>
        <p:cNvPr id="1" name=""/>
        <p:cNvGrpSpPr/>
        <p:nvPr/>
      </p:nvGrpSpPr>
      <p:grpSpPr>
        <a:xfrm>
          <a:off x="0" y="0"/>
          <a:ext cx="0" cy="0"/>
          <a:chOff x="0" y="0"/>
          <a:chExt cx="0" cy="0"/>
        </a:xfrm>
      </p:grpSpPr>
      <p:sp>
        <p:nvSpPr>
          <p:cNvPr id="12" name="Picture Placeholder 27">
            <a:extLst>
              <a:ext uri="{FF2B5EF4-FFF2-40B4-BE49-F238E27FC236}">
                <a16:creationId xmlns:a16="http://schemas.microsoft.com/office/drawing/2014/main" id="{1426049D-A517-EA42-AFCA-8DDB22C6BA37}"/>
              </a:ext>
            </a:extLst>
          </p:cNvPr>
          <p:cNvSpPr>
            <a:spLocks noGrp="1"/>
          </p:cNvSpPr>
          <p:nvPr>
            <p:ph type="pic" sz="quarter" idx="15" hasCustomPrompt="1"/>
          </p:nvPr>
        </p:nvSpPr>
        <p:spPr>
          <a:xfrm>
            <a:off x="6495588" y="-10508"/>
            <a:ext cx="5711376" cy="6879020"/>
          </a:xfrm>
          <a:custGeom>
            <a:avLst/>
            <a:gdLst>
              <a:gd name="connsiteX0" fmla="*/ 0 w 7962406"/>
              <a:gd name="connsiteY0" fmla="*/ 0 h 6857999"/>
              <a:gd name="connsiteX1" fmla="*/ 7962406 w 7962406"/>
              <a:gd name="connsiteY1" fmla="*/ 0 h 6857999"/>
              <a:gd name="connsiteX2" fmla="*/ 7962406 w 7962406"/>
              <a:gd name="connsiteY2" fmla="*/ 6857999 h 6857999"/>
              <a:gd name="connsiteX3" fmla="*/ 1019785 w 7962406"/>
              <a:gd name="connsiteY3" fmla="*/ 6857999 h 6857999"/>
              <a:gd name="connsiteX4" fmla="*/ 0 w 7962406"/>
              <a:gd name="connsiteY4" fmla="*/ 5838214 h 6857999"/>
              <a:gd name="connsiteX0" fmla="*/ 0 w 7962406"/>
              <a:gd name="connsiteY0" fmla="*/ 0 h 6857999"/>
              <a:gd name="connsiteX1" fmla="*/ 6039013 w 7962406"/>
              <a:gd name="connsiteY1" fmla="*/ 84083 h 6857999"/>
              <a:gd name="connsiteX2" fmla="*/ 7962406 w 7962406"/>
              <a:gd name="connsiteY2" fmla="*/ 6857999 h 6857999"/>
              <a:gd name="connsiteX3" fmla="*/ 1019785 w 7962406"/>
              <a:gd name="connsiteY3" fmla="*/ 6857999 h 6857999"/>
              <a:gd name="connsiteX4" fmla="*/ 0 w 7962406"/>
              <a:gd name="connsiteY4" fmla="*/ 5838214 h 6857999"/>
              <a:gd name="connsiteX5" fmla="*/ 0 w 7962406"/>
              <a:gd name="connsiteY5" fmla="*/ 0 h 6857999"/>
              <a:gd name="connsiteX0" fmla="*/ 0 w 7962406"/>
              <a:gd name="connsiteY0" fmla="*/ 10510 h 6868509"/>
              <a:gd name="connsiteX1" fmla="*/ 6144117 w 7962406"/>
              <a:gd name="connsiteY1" fmla="*/ 0 h 6868509"/>
              <a:gd name="connsiteX2" fmla="*/ 7962406 w 7962406"/>
              <a:gd name="connsiteY2" fmla="*/ 6868509 h 6868509"/>
              <a:gd name="connsiteX3" fmla="*/ 1019785 w 7962406"/>
              <a:gd name="connsiteY3" fmla="*/ 6868509 h 6868509"/>
              <a:gd name="connsiteX4" fmla="*/ 0 w 7962406"/>
              <a:gd name="connsiteY4" fmla="*/ 5848724 h 6868509"/>
              <a:gd name="connsiteX5" fmla="*/ 0 w 7962406"/>
              <a:gd name="connsiteY5" fmla="*/ 10510 h 6868509"/>
              <a:gd name="connsiteX0" fmla="*/ 0 w 6144117"/>
              <a:gd name="connsiteY0" fmla="*/ 10510 h 6868509"/>
              <a:gd name="connsiteX1" fmla="*/ 6144117 w 6144117"/>
              <a:gd name="connsiteY1" fmla="*/ 0 h 6868509"/>
              <a:gd name="connsiteX2" fmla="*/ 5660640 w 6144117"/>
              <a:gd name="connsiteY2" fmla="*/ 6563709 h 6868509"/>
              <a:gd name="connsiteX3" fmla="*/ 1019785 w 6144117"/>
              <a:gd name="connsiteY3" fmla="*/ 6868509 h 6868509"/>
              <a:gd name="connsiteX4" fmla="*/ 0 w 6144117"/>
              <a:gd name="connsiteY4" fmla="*/ 5848724 h 6868509"/>
              <a:gd name="connsiteX5" fmla="*/ 0 w 6144117"/>
              <a:gd name="connsiteY5" fmla="*/ 10510 h 6868509"/>
              <a:gd name="connsiteX0" fmla="*/ 0 w 6154626"/>
              <a:gd name="connsiteY0" fmla="*/ 10510 h 6879020"/>
              <a:gd name="connsiteX1" fmla="*/ 6144117 w 6154626"/>
              <a:gd name="connsiteY1" fmla="*/ 0 h 6879020"/>
              <a:gd name="connsiteX2" fmla="*/ 6154626 w 6154626"/>
              <a:gd name="connsiteY2" fmla="*/ 6879020 h 6879020"/>
              <a:gd name="connsiteX3" fmla="*/ 1019785 w 6154626"/>
              <a:gd name="connsiteY3" fmla="*/ 6868509 h 6879020"/>
              <a:gd name="connsiteX4" fmla="*/ 0 w 6154626"/>
              <a:gd name="connsiteY4" fmla="*/ 5848724 h 6879020"/>
              <a:gd name="connsiteX5" fmla="*/ 0 w 6154626"/>
              <a:gd name="connsiteY5" fmla="*/ 10510 h 6879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54626" h="6879020">
                <a:moveTo>
                  <a:pt x="0" y="10510"/>
                </a:moveTo>
                <a:lnTo>
                  <a:pt x="6144117" y="0"/>
                </a:lnTo>
                <a:lnTo>
                  <a:pt x="6154626" y="6879020"/>
                </a:lnTo>
                <a:lnTo>
                  <a:pt x="1019785" y="6868509"/>
                </a:lnTo>
                <a:cubicBezTo>
                  <a:pt x="456573" y="6868509"/>
                  <a:pt x="0" y="6411936"/>
                  <a:pt x="0" y="5848724"/>
                </a:cubicBezTo>
                <a:lnTo>
                  <a:pt x="0" y="10510"/>
                </a:lnTo>
                <a:close/>
              </a:path>
            </a:pathLst>
          </a:custGeom>
          <a:solidFill>
            <a:schemeClr val="bg1">
              <a:lumMod val="85000"/>
            </a:schemeClr>
          </a:solidFill>
        </p:spPr>
        <p:txBody>
          <a:bodyPr wrap="square" anchor="ctr">
            <a:noAutofit/>
          </a:bodyPr>
          <a:lstStyle>
            <a:lvl1pPr marL="0" indent="0" algn="ctr">
              <a:buNone/>
              <a:defRPr>
                <a:solidFill>
                  <a:schemeClr val="bg1">
                    <a:lumMod val="50000"/>
                  </a:schemeClr>
                </a:solidFill>
              </a:defRPr>
            </a:lvl1pPr>
          </a:lstStyle>
          <a:p>
            <a:r>
              <a:rPr lang="en-GB"/>
              <a:t>Click icon to insert picture</a:t>
            </a:r>
          </a:p>
        </p:txBody>
      </p:sp>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5580063"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United Against Rabies Forum Meeting - 6-8 November 2023</a:t>
            </a:r>
            <a:endParaRPr lang="en-GB"/>
          </a:p>
        </p:txBody>
      </p:sp>
      <p:sp>
        <p:nvSpPr>
          <p:cNvPr id="5" name="Text Placeholder 4">
            <a:extLst>
              <a:ext uri="{FF2B5EF4-FFF2-40B4-BE49-F238E27FC236}">
                <a16:creationId xmlns:a16="http://schemas.microsoft.com/office/drawing/2014/main" id="{0CE04A98-CDC1-2043-A233-CAA53ED2E1A4}"/>
              </a:ext>
            </a:extLst>
          </p:cNvPr>
          <p:cNvSpPr>
            <a:spLocks noGrp="1"/>
          </p:cNvSpPr>
          <p:nvPr>
            <p:ph type="body" sz="quarter" idx="16" hasCustomPrompt="1"/>
          </p:nvPr>
        </p:nvSpPr>
        <p:spPr>
          <a:xfrm>
            <a:off x="10643129"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Tree>
    <p:extLst>
      <p:ext uri="{BB962C8B-B14F-4D97-AF65-F5344CB8AC3E}">
        <p14:creationId xmlns:p14="http://schemas.microsoft.com/office/powerpoint/2010/main" val="3608046256"/>
      </p:ext>
    </p:extLst>
  </p:cSld>
  <p:clrMapOvr>
    <a:masterClrMapping/>
  </p:clrMapOvr>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Text Section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2" name="Text Placeholder 6">
            <a:extLst>
              <a:ext uri="{FF2B5EF4-FFF2-40B4-BE49-F238E27FC236}">
                <a16:creationId xmlns:a16="http://schemas.microsoft.com/office/drawing/2014/main" id="{EBE7520D-509A-F842-94ED-AAD1AE6286C2}"/>
              </a:ext>
            </a:extLst>
          </p:cNvPr>
          <p:cNvSpPr>
            <a:spLocks noGrp="1"/>
          </p:cNvSpPr>
          <p:nvPr>
            <p:ph type="body" sz="quarter" idx="14"/>
          </p:nvPr>
        </p:nvSpPr>
        <p:spPr>
          <a:xfrm>
            <a:off x="515939" y="1319651"/>
            <a:ext cx="3495194" cy="343847"/>
          </a:xfrm>
        </p:spPr>
        <p:txBody>
          <a:bodyPr>
            <a:normAutofit/>
          </a:bodyPr>
          <a:lstStyle>
            <a:lvl1pPr>
              <a:defRPr sz="1800" b="1">
                <a:solidFill>
                  <a:schemeClr val="bg2"/>
                </a:solidFill>
              </a:defRPr>
            </a:lvl1pPr>
          </a:lstStyle>
          <a:p>
            <a:pPr lvl="0"/>
            <a:r>
              <a:rPr lang="en-GB"/>
              <a:t>Click to edit Master text styles</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Text Placeholder 8">
            <a:extLst>
              <a:ext uri="{FF2B5EF4-FFF2-40B4-BE49-F238E27FC236}">
                <a16:creationId xmlns:a16="http://schemas.microsoft.com/office/drawing/2014/main" id="{E867F760-C803-3AA5-7534-42750FD6DB15}"/>
              </a:ext>
            </a:extLst>
          </p:cNvPr>
          <p:cNvSpPr>
            <a:spLocks noGrp="1"/>
          </p:cNvSpPr>
          <p:nvPr>
            <p:ph type="body" idx="13"/>
          </p:nvPr>
        </p:nvSpPr>
        <p:spPr>
          <a:xfrm>
            <a:off x="531132" y="1708830"/>
            <a:ext cx="3485283"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0" name="Text Placeholder 6">
            <a:extLst>
              <a:ext uri="{FF2B5EF4-FFF2-40B4-BE49-F238E27FC236}">
                <a16:creationId xmlns:a16="http://schemas.microsoft.com/office/drawing/2014/main" id="{3FBFCDEF-6E12-C006-44B4-B2738D079269}"/>
              </a:ext>
            </a:extLst>
          </p:cNvPr>
          <p:cNvSpPr>
            <a:spLocks noGrp="1"/>
          </p:cNvSpPr>
          <p:nvPr>
            <p:ph type="body" sz="quarter" idx="15"/>
          </p:nvPr>
        </p:nvSpPr>
        <p:spPr>
          <a:xfrm>
            <a:off x="4380334" y="1319651"/>
            <a:ext cx="3495194" cy="343847"/>
          </a:xfrm>
        </p:spPr>
        <p:txBody>
          <a:bodyPr>
            <a:normAutofit/>
          </a:bodyPr>
          <a:lstStyle>
            <a:lvl1pPr>
              <a:defRPr sz="1800" b="1">
                <a:solidFill>
                  <a:schemeClr val="bg2"/>
                </a:solidFill>
              </a:defRPr>
            </a:lvl1pPr>
          </a:lstStyle>
          <a:p>
            <a:pPr lvl="0"/>
            <a:r>
              <a:rPr lang="en-GB"/>
              <a:t>Click to edit Master text styles</a:t>
            </a:r>
          </a:p>
        </p:txBody>
      </p:sp>
      <p:sp>
        <p:nvSpPr>
          <p:cNvPr id="21" name="Text Placeholder 8">
            <a:extLst>
              <a:ext uri="{FF2B5EF4-FFF2-40B4-BE49-F238E27FC236}">
                <a16:creationId xmlns:a16="http://schemas.microsoft.com/office/drawing/2014/main" id="{3B5895DB-1292-CE69-F1CC-CA026DACAC13}"/>
              </a:ext>
            </a:extLst>
          </p:cNvPr>
          <p:cNvSpPr>
            <a:spLocks noGrp="1"/>
          </p:cNvSpPr>
          <p:nvPr>
            <p:ph type="body" idx="16"/>
          </p:nvPr>
        </p:nvSpPr>
        <p:spPr>
          <a:xfrm>
            <a:off x="4395527" y="1708830"/>
            <a:ext cx="3485283"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2" name="Text Placeholder 6">
            <a:extLst>
              <a:ext uri="{FF2B5EF4-FFF2-40B4-BE49-F238E27FC236}">
                <a16:creationId xmlns:a16="http://schemas.microsoft.com/office/drawing/2014/main" id="{4394A274-82C6-2D1C-8004-8E7FF7B76E26}"/>
              </a:ext>
            </a:extLst>
          </p:cNvPr>
          <p:cNvSpPr>
            <a:spLocks noGrp="1"/>
          </p:cNvSpPr>
          <p:nvPr>
            <p:ph type="body" sz="quarter" idx="17"/>
          </p:nvPr>
        </p:nvSpPr>
        <p:spPr>
          <a:xfrm>
            <a:off x="8169806" y="1319651"/>
            <a:ext cx="3495194" cy="343847"/>
          </a:xfrm>
        </p:spPr>
        <p:txBody>
          <a:bodyPr>
            <a:normAutofit/>
          </a:bodyPr>
          <a:lstStyle>
            <a:lvl1pPr>
              <a:defRPr sz="1800" b="1">
                <a:solidFill>
                  <a:schemeClr val="bg2"/>
                </a:solidFill>
              </a:defRPr>
            </a:lvl1pPr>
          </a:lstStyle>
          <a:p>
            <a:pPr lvl="0"/>
            <a:r>
              <a:rPr lang="en-GB"/>
              <a:t>Click to edit Master text styles</a:t>
            </a:r>
          </a:p>
        </p:txBody>
      </p:sp>
      <p:sp>
        <p:nvSpPr>
          <p:cNvPr id="23" name="Text Placeholder 8">
            <a:extLst>
              <a:ext uri="{FF2B5EF4-FFF2-40B4-BE49-F238E27FC236}">
                <a16:creationId xmlns:a16="http://schemas.microsoft.com/office/drawing/2014/main" id="{B32BCAEC-CD76-D152-C494-48F60F7BFD47}"/>
              </a:ext>
            </a:extLst>
          </p:cNvPr>
          <p:cNvSpPr>
            <a:spLocks noGrp="1"/>
          </p:cNvSpPr>
          <p:nvPr>
            <p:ph type="body" idx="18"/>
          </p:nvPr>
        </p:nvSpPr>
        <p:spPr>
          <a:xfrm>
            <a:off x="8184999" y="1708830"/>
            <a:ext cx="3485283" cy="4204608"/>
          </a:xfrm>
        </p:spPr>
        <p:txBody>
          <a:bodyPr numCol="1" spcCol="180000">
            <a:normAutofit/>
          </a:bodyPr>
          <a:lstStyle>
            <a:lvl1pPr marL="342900" indent="-342900">
              <a:buClr>
                <a:schemeClr val="bg2"/>
              </a:buClr>
              <a:buFont typeface="Arial" panose="020B0604020202020204" pitchFamily="34" charset="0"/>
              <a:buChar char="•"/>
              <a:defRPr sz="1600">
                <a:solidFill>
                  <a:schemeClr val="tx2">
                    <a:lumMod val="50000"/>
                  </a:schemeClr>
                </a:solidFill>
              </a:defRPr>
            </a:lvl1pPr>
            <a:lvl2pPr>
              <a:defRPr sz="1400">
                <a:solidFill>
                  <a:schemeClr val="tx2">
                    <a:lumMod val="50000"/>
                  </a:schemeClr>
                </a:solidFill>
              </a:defRPr>
            </a:lvl2pPr>
            <a:lvl3pPr>
              <a:defRPr sz="1400">
                <a:solidFill>
                  <a:schemeClr val="tx2">
                    <a:lumMod val="50000"/>
                  </a:schemeClr>
                </a:solidFill>
              </a:defRPr>
            </a:lvl3pPr>
            <a:lvl4pPr>
              <a:defRPr sz="1200">
                <a:solidFill>
                  <a:schemeClr val="tx2">
                    <a:lumMod val="50000"/>
                  </a:schemeClr>
                </a:solidFill>
              </a:defRPr>
            </a:lvl4pPr>
            <a:lvl5pPr>
              <a:defRPr sz="1200">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2931858144"/>
      </p:ext>
    </p:extLst>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Box Text x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29" name="Rounded Rectangle 28">
            <a:extLst>
              <a:ext uri="{FF2B5EF4-FFF2-40B4-BE49-F238E27FC236}">
                <a16:creationId xmlns:a16="http://schemas.microsoft.com/office/drawing/2014/main" id="{034B91B1-8758-0946-BB4D-13DA0D9CFAE1}"/>
              </a:ext>
            </a:extLst>
          </p:cNvPr>
          <p:cNvSpPr/>
          <p:nvPr userDrawn="1"/>
        </p:nvSpPr>
        <p:spPr>
          <a:xfrm>
            <a:off x="6241145" y="1191566"/>
            <a:ext cx="5434921"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sp>
        <p:nvSpPr>
          <p:cNvPr id="30" name="Rounded Rectangle 29">
            <a:extLst>
              <a:ext uri="{FF2B5EF4-FFF2-40B4-BE49-F238E27FC236}">
                <a16:creationId xmlns:a16="http://schemas.microsoft.com/office/drawing/2014/main" id="{6FD39105-B790-2C4F-B73F-33A5D9995EDE}"/>
              </a:ext>
            </a:extLst>
          </p:cNvPr>
          <p:cNvSpPr/>
          <p:nvPr userDrawn="1"/>
        </p:nvSpPr>
        <p:spPr>
          <a:xfrm>
            <a:off x="515936" y="1191566"/>
            <a:ext cx="5434921"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sp>
        <p:nvSpPr>
          <p:cNvPr id="31" name="Text Placeholder 6">
            <a:extLst>
              <a:ext uri="{FF2B5EF4-FFF2-40B4-BE49-F238E27FC236}">
                <a16:creationId xmlns:a16="http://schemas.microsoft.com/office/drawing/2014/main" id="{39DFE4E8-481D-4E4A-B357-9B609A673B06}"/>
              </a:ext>
            </a:extLst>
          </p:cNvPr>
          <p:cNvSpPr>
            <a:spLocks noGrp="1"/>
          </p:cNvSpPr>
          <p:nvPr>
            <p:ph type="body" sz="quarter" idx="14" hasCustomPrompt="1"/>
          </p:nvPr>
        </p:nvSpPr>
        <p:spPr>
          <a:xfrm>
            <a:off x="715167" y="1378325"/>
            <a:ext cx="5036457"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32" name="Text Placeholder 6">
            <a:extLst>
              <a:ext uri="{FF2B5EF4-FFF2-40B4-BE49-F238E27FC236}">
                <a16:creationId xmlns:a16="http://schemas.microsoft.com/office/drawing/2014/main" id="{79EED86D-C792-B740-BC35-66A672B07629}"/>
              </a:ext>
            </a:extLst>
          </p:cNvPr>
          <p:cNvSpPr>
            <a:spLocks noGrp="1"/>
          </p:cNvSpPr>
          <p:nvPr>
            <p:ph type="body" sz="quarter" idx="15"/>
          </p:nvPr>
        </p:nvSpPr>
        <p:spPr>
          <a:xfrm>
            <a:off x="715167" y="2154362"/>
            <a:ext cx="5036457"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CE98006B-2C07-2C4F-A8AC-A5AC433ED89C}"/>
              </a:ext>
            </a:extLst>
          </p:cNvPr>
          <p:cNvSpPr>
            <a:spLocks noGrp="1"/>
          </p:cNvSpPr>
          <p:nvPr>
            <p:ph type="body" sz="quarter" idx="16"/>
          </p:nvPr>
        </p:nvSpPr>
        <p:spPr>
          <a:xfrm>
            <a:off x="715167" y="1597378"/>
            <a:ext cx="5036457" cy="382134"/>
          </a:xfrm>
        </p:spPr>
        <p:txBody>
          <a:bodyPr/>
          <a:lstStyle>
            <a:lvl1pPr>
              <a:defRPr b="1">
                <a:solidFill>
                  <a:schemeClr val="bg2"/>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40C03D58-F9E4-0944-BD0B-946EEFB24768}"/>
              </a:ext>
            </a:extLst>
          </p:cNvPr>
          <p:cNvSpPr>
            <a:spLocks noGrp="1"/>
          </p:cNvSpPr>
          <p:nvPr>
            <p:ph type="body" sz="quarter" idx="17" hasCustomPrompt="1"/>
          </p:nvPr>
        </p:nvSpPr>
        <p:spPr>
          <a:xfrm>
            <a:off x="6440376" y="1378325"/>
            <a:ext cx="5036457"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35" name="Text Placeholder 6">
            <a:extLst>
              <a:ext uri="{FF2B5EF4-FFF2-40B4-BE49-F238E27FC236}">
                <a16:creationId xmlns:a16="http://schemas.microsoft.com/office/drawing/2014/main" id="{80BF694F-37D7-D44B-8712-1767A33CD12F}"/>
              </a:ext>
            </a:extLst>
          </p:cNvPr>
          <p:cNvSpPr>
            <a:spLocks noGrp="1"/>
          </p:cNvSpPr>
          <p:nvPr>
            <p:ph type="body" sz="quarter" idx="18"/>
          </p:nvPr>
        </p:nvSpPr>
        <p:spPr>
          <a:xfrm>
            <a:off x="6440376" y="2154362"/>
            <a:ext cx="5036457"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6" name="Text Placeholder 6">
            <a:extLst>
              <a:ext uri="{FF2B5EF4-FFF2-40B4-BE49-F238E27FC236}">
                <a16:creationId xmlns:a16="http://schemas.microsoft.com/office/drawing/2014/main" id="{1C6985EF-42F3-0D40-99CA-20F5F21446FE}"/>
              </a:ext>
            </a:extLst>
          </p:cNvPr>
          <p:cNvSpPr>
            <a:spLocks noGrp="1"/>
          </p:cNvSpPr>
          <p:nvPr>
            <p:ph type="body" sz="quarter" idx="19"/>
          </p:nvPr>
        </p:nvSpPr>
        <p:spPr>
          <a:xfrm>
            <a:off x="6440376" y="1597378"/>
            <a:ext cx="5036457" cy="382134"/>
          </a:xfrm>
        </p:spPr>
        <p:txBody>
          <a:bodyPr/>
          <a:lstStyle>
            <a:lvl1pPr>
              <a:defRPr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851321135"/>
      </p:ext>
    </p:extLst>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Box Text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0" name="Rounded Rectangle 29">
            <a:extLst>
              <a:ext uri="{FF2B5EF4-FFF2-40B4-BE49-F238E27FC236}">
                <a16:creationId xmlns:a16="http://schemas.microsoft.com/office/drawing/2014/main" id="{6FD39105-B790-2C4F-B73F-33A5D9995EDE}"/>
              </a:ext>
            </a:extLst>
          </p:cNvPr>
          <p:cNvSpPr/>
          <p:nvPr userDrawn="1"/>
        </p:nvSpPr>
        <p:spPr>
          <a:xfrm>
            <a:off x="515935" y="1191566"/>
            <a:ext cx="3604651"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sp>
        <p:nvSpPr>
          <p:cNvPr id="31" name="Text Placeholder 6">
            <a:extLst>
              <a:ext uri="{FF2B5EF4-FFF2-40B4-BE49-F238E27FC236}">
                <a16:creationId xmlns:a16="http://schemas.microsoft.com/office/drawing/2014/main" id="{39DFE4E8-481D-4E4A-B357-9B609A673B06}"/>
              </a:ext>
            </a:extLst>
          </p:cNvPr>
          <p:cNvSpPr>
            <a:spLocks noGrp="1"/>
          </p:cNvSpPr>
          <p:nvPr>
            <p:ph type="body" sz="quarter" idx="14" hasCustomPrompt="1"/>
          </p:nvPr>
        </p:nvSpPr>
        <p:spPr>
          <a:xfrm>
            <a:off x="715167" y="1378325"/>
            <a:ext cx="3214437"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32" name="Text Placeholder 6">
            <a:extLst>
              <a:ext uri="{FF2B5EF4-FFF2-40B4-BE49-F238E27FC236}">
                <a16:creationId xmlns:a16="http://schemas.microsoft.com/office/drawing/2014/main" id="{79EED86D-C792-B740-BC35-66A672B07629}"/>
              </a:ext>
            </a:extLst>
          </p:cNvPr>
          <p:cNvSpPr>
            <a:spLocks noGrp="1"/>
          </p:cNvSpPr>
          <p:nvPr>
            <p:ph type="body" sz="quarter" idx="15"/>
          </p:nvPr>
        </p:nvSpPr>
        <p:spPr>
          <a:xfrm>
            <a:off x="715167" y="2154362"/>
            <a:ext cx="3214437"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CE98006B-2C07-2C4F-A8AC-A5AC433ED89C}"/>
              </a:ext>
            </a:extLst>
          </p:cNvPr>
          <p:cNvSpPr>
            <a:spLocks noGrp="1"/>
          </p:cNvSpPr>
          <p:nvPr>
            <p:ph type="body" sz="quarter" idx="16"/>
          </p:nvPr>
        </p:nvSpPr>
        <p:spPr>
          <a:xfrm>
            <a:off x="715167" y="1597378"/>
            <a:ext cx="3214437" cy="382134"/>
          </a:xfrm>
        </p:spPr>
        <p:txBody>
          <a:bodyPr/>
          <a:lstStyle>
            <a:lvl1pPr>
              <a:defRPr b="1">
                <a:solidFill>
                  <a:schemeClr val="bg2"/>
                </a:solidFill>
              </a:defRPr>
            </a:lvl1pPr>
          </a:lstStyle>
          <a:p>
            <a:pPr lvl="0"/>
            <a:r>
              <a:rPr lang="en-GB"/>
              <a:t>Click to edit Master text styles</a:t>
            </a:r>
          </a:p>
        </p:txBody>
      </p:sp>
      <p:sp>
        <p:nvSpPr>
          <p:cNvPr id="26" name="Rounded Rectangle 25">
            <a:extLst>
              <a:ext uri="{FF2B5EF4-FFF2-40B4-BE49-F238E27FC236}">
                <a16:creationId xmlns:a16="http://schemas.microsoft.com/office/drawing/2014/main" id="{A64DF4DD-379B-FE5B-85E1-F80F85D07E89}"/>
              </a:ext>
            </a:extLst>
          </p:cNvPr>
          <p:cNvSpPr/>
          <p:nvPr userDrawn="1"/>
        </p:nvSpPr>
        <p:spPr>
          <a:xfrm>
            <a:off x="4290784" y="1191566"/>
            <a:ext cx="3604650"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sp>
        <p:nvSpPr>
          <p:cNvPr id="27" name="Text Placeholder 6">
            <a:extLst>
              <a:ext uri="{FF2B5EF4-FFF2-40B4-BE49-F238E27FC236}">
                <a16:creationId xmlns:a16="http://schemas.microsoft.com/office/drawing/2014/main" id="{602ADDF3-C22C-9F63-2736-9FAAEA9A1E97}"/>
              </a:ext>
            </a:extLst>
          </p:cNvPr>
          <p:cNvSpPr>
            <a:spLocks noGrp="1"/>
          </p:cNvSpPr>
          <p:nvPr>
            <p:ph type="body" sz="quarter" idx="17" hasCustomPrompt="1"/>
          </p:nvPr>
        </p:nvSpPr>
        <p:spPr>
          <a:xfrm>
            <a:off x="4490015" y="1378325"/>
            <a:ext cx="3201361"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28" name="Text Placeholder 6">
            <a:extLst>
              <a:ext uri="{FF2B5EF4-FFF2-40B4-BE49-F238E27FC236}">
                <a16:creationId xmlns:a16="http://schemas.microsoft.com/office/drawing/2014/main" id="{EC84208B-5390-D845-9BFC-BBE060B525EC}"/>
              </a:ext>
            </a:extLst>
          </p:cNvPr>
          <p:cNvSpPr>
            <a:spLocks noGrp="1"/>
          </p:cNvSpPr>
          <p:nvPr>
            <p:ph type="body" sz="quarter" idx="18"/>
          </p:nvPr>
        </p:nvSpPr>
        <p:spPr>
          <a:xfrm>
            <a:off x="4490015" y="2154362"/>
            <a:ext cx="3201361"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37" name="Text Placeholder 6">
            <a:extLst>
              <a:ext uri="{FF2B5EF4-FFF2-40B4-BE49-F238E27FC236}">
                <a16:creationId xmlns:a16="http://schemas.microsoft.com/office/drawing/2014/main" id="{62DC5739-6579-EFF5-5EE5-B79F9F4E344F}"/>
              </a:ext>
            </a:extLst>
          </p:cNvPr>
          <p:cNvSpPr>
            <a:spLocks noGrp="1"/>
          </p:cNvSpPr>
          <p:nvPr>
            <p:ph type="body" sz="quarter" idx="19"/>
          </p:nvPr>
        </p:nvSpPr>
        <p:spPr>
          <a:xfrm>
            <a:off x="4490015" y="1597378"/>
            <a:ext cx="3201361" cy="382134"/>
          </a:xfrm>
        </p:spPr>
        <p:txBody>
          <a:bodyPr/>
          <a:lstStyle>
            <a:lvl1pPr>
              <a:defRPr b="1">
                <a:solidFill>
                  <a:schemeClr val="bg2"/>
                </a:solidFill>
              </a:defRPr>
            </a:lvl1pPr>
          </a:lstStyle>
          <a:p>
            <a:pPr lvl="0"/>
            <a:r>
              <a:rPr lang="en-GB"/>
              <a:t>Click to edit Master text styles</a:t>
            </a:r>
          </a:p>
        </p:txBody>
      </p:sp>
      <p:sp>
        <p:nvSpPr>
          <p:cNvPr id="38" name="Rounded Rectangle 37">
            <a:extLst>
              <a:ext uri="{FF2B5EF4-FFF2-40B4-BE49-F238E27FC236}">
                <a16:creationId xmlns:a16="http://schemas.microsoft.com/office/drawing/2014/main" id="{A0FC7906-8744-F3F8-AA4F-08ADB6E6D43E}"/>
              </a:ext>
            </a:extLst>
          </p:cNvPr>
          <p:cNvSpPr/>
          <p:nvPr userDrawn="1"/>
        </p:nvSpPr>
        <p:spPr>
          <a:xfrm>
            <a:off x="8065632" y="1191566"/>
            <a:ext cx="3604650" cy="4721869"/>
          </a:xfrm>
          <a:prstGeom prst="roundRect">
            <a:avLst>
              <a:gd name="adj" fmla="val 4851"/>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sp>
        <p:nvSpPr>
          <p:cNvPr id="39" name="Text Placeholder 6">
            <a:extLst>
              <a:ext uri="{FF2B5EF4-FFF2-40B4-BE49-F238E27FC236}">
                <a16:creationId xmlns:a16="http://schemas.microsoft.com/office/drawing/2014/main" id="{F3AC3934-9579-D587-96AD-27B72F22B277}"/>
              </a:ext>
            </a:extLst>
          </p:cNvPr>
          <p:cNvSpPr>
            <a:spLocks noGrp="1"/>
          </p:cNvSpPr>
          <p:nvPr>
            <p:ph type="body" sz="quarter" idx="20" hasCustomPrompt="1"/>
          </p:nvPr>
        </p:nvSpPr>
        <p:spPr>
          <a:xfrm>
            <a:off x="8264863" y="1378325"/>
            <a:ext cx="3211970" cy="172338"/>
          </a:xfrm>
        </p:spPr>
        <p:txBody>
          <a:bodyPr>
            <a:normAutofit/>
          </a:bodyPr>
          <a:lstStyle>
            <a:lvl1pPr>
              <a:defRPr sz="1200" spc="300">
                <a:solidFill>
                  <a:schemeClr val="bg1">
                    <a:lumMod val="50000"/>
                  </a:schemeClr>
                </a:solidFill>
              </a:defRPr>
            </a:lvl1pPr>
          </a:lstStyle>
          <a:p>
            <a:pPr lvl="0"/>
            <a:r>
              <a:rPr lang="en-GB"/>
              <a:t>CLICK TO EDIT MASTER TEXT STYLES</a:t>
            </a:r>
          </a:p>
        </p:txBody>
      </p:sp>
      <p:sp>
        <p:nvSpPr>
          <p:cNvPr id="40" name="Text Placeholder 6">
            <a:extLst>
              <a:ext uri="{FF2B5EF4-FFF2-40B4-BE49-F238E27FC236}">
                <a16:creationId xmlns:a16="http://schemas.microsoft.com/office/drawing/2014/main" id="{37A42317-1A24-1AA6-D076-0E969CCF8BE8}"/>
              </a:ext>
            </a:extLst>
          </p:cNvPr>
          <p:cNvSpPr>
            <a:spLocks noGrp="1"/>
          </p:cNvSpPr>
          <p:nvPr>
            <p:ph type="body" sz="quarter" idx="21"/>
          </p:nvPr>
        </p:nvSpPr>
        <p:spPr>
          <a:xfrm>
            <a:off x="8264863" y="2154362"/>
            <a:ext cx="3211970" cy="3607809"/>
          </a:xfrm>
        </p:spPr>
        <p:txBody>
          <a:bodyPr>
            <a:normAutofit/>
          </a:bodyPr>
          <a:lstStyle>
            <a:lvl1pPr>
              <a:lnSpc>
                <a:spcPct val="110000"/>
              </a:lnSpc>
              <a:spcBef>
                <a:spcPts val="0"/>
              </a:spcBef>
              <a:defRPr sz="1600">
                <a:solidFill>
                  <a:schemeClr val="tx2">
                    <a:lumMod val="50000"/>
                  </a:schemeClr>
                </a:solidFill>
              </a:defRPr>
            </a:lvl1pPr>
          </a:lstStyle>
          <a:p>
            <a:pPr lvl="0"/>
            <a:r>
              <a:rPr lang="en-GB"/>
              <a:t>Click to edit Master text styles</a:t>
            </a:r>
          </a:p>
        </p:txBody>
      </p:sp>
      <p:sp>
        <p:nvSpPr>
          <p:cNvPr id="41" name="Text Placeholder 6">
            <a:extLst>
              <a:ext uri="{FF2B5EF4-FFF2-40B4-BE49-F238E27FC236}">
                <a16:creationId xmlns:a16="http://schemas.microsoft.com/office/drawing/2014/main" id="{ADCC5B80-D27A-2762-3E95-436EEE5A0DE7}"/>
              </a:ext>
            </a:extLst>
          </p:cNvPr>
          <p:cNvSpPr>
            <a:spLocks noGrp="1"/>
          </p:cNvSpPr>
          <p:nvPr>
            <p:ph type="body" sz="quarter" idx="22"/>
          </p:nvPr>
        </p:nvSpPr>
        <p:spPr>
          <a:xfrm>
            <a:off x="8264863" y="1597378"/>
            <a:ext cx="3211970" cy="382134"/>
          </a:xfrm>
        </p:spPr>
        <p:txBody>
          <a:bodyPr/>
          <a:lstStyle>
            <a:lvl1pPr>
              <a:defRPr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3986025955"/>
      </p:ext>
    </p:extLst>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Icon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9" y="3319670"/>
            <a:ext cx="3287436" cy="2593767"/>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2874301"/>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A5AC520F-8595-0F44-99A9-F0873ACA435F}"/>
              </a:ext>
            </a:extLst>
          </p:cNvPr>
          <p:cNvSpPr>
            <a:spLocks noGrp="1"/>
          </p:cNvSpPr>
          <p:nvPr>
            <p:ph type="body" sz="quarter" idx="18"/>
          </p:nvPr>
        </p:nvSpPr>
        <p:spPr>
          <a:xfrm>
            <a:off x="4452282" y="3319670"/>
            <a:ext cx="3287436" cy="2593767"/>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4452282" y="2874301"/>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AD30B9DC-1666-7446-9DFD-F674A273B468}"/>
              </a:ext>
            </a:extLst>
          </p:cNvPr>
          <p:cNvSpPr>
            <a:spLocks noGrp="1"/>
          </p:cNvSpPr>
          <p:nvPr>
            <p:ph type="body" sz="quarter" idx="21"/>
          </p:nvPr>
        </p:nvSpPr>
        <p:spPr>
          <a:xfrm>
            <a:off x="8382846" y="3326198"/>
            <a:ext cx="3287436" cy="2593767"/>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C7816D18-C579-DE44-B3B4-5D38198139F6}"/>
              </a:ext>
            </a:extLst>
          </p:cNvPr>
          <p:cNvSpPr>
            <a:spLocks noGrp="1"/>
          </p:cNvSpPr>
          <p:nvPr>
            <p:ph type="body" sz="quarter" idx="22"/>
          </p:nvPr>
        </p:nvSpPr>
        <p:spPr>
          <a:xfrm>
            <a:off x="8382846" y="2880829"/>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20" name="Picture Placeholder 3">
            <a:extLst>
              <a:ext uri="{FF2B5EF4-FFF2-40B4-BE49-F238E27FC236}">
                <a16:creationId xmlns:a16="http://schemas.microsoft.com/office/drawing/2014/main" id="{319B0B18-4860-DA36-3440-4533856C9139}"/>
              </a:ext>
            </a:extLst>
          </p:cNvPr>
          <p:cNvSpPr>
            <a:spLocks noGrp="1"/>
          </p:cNvSpPr>
          <p:nvPr>
            <p:ph type="pic" sz="quarter" idx="13"/>
          </p:nvPr>
        </p:nvSpPr>
        <p:spPr>
          <a:xfrm>
            <a:off x="515938" y="1624205"/>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21" name="Picture Placeholder 3">
            <a:extLst>
              <a:ext uri="{FF2B5EF4-FFF2-40B4-BE49-F238E27FC236}">
                <a16:creationId xmlns:a16="http://schemas.microsoft.com/office/drawing/2014/main" id="{BF99AA58-9FC0-03DF-8208-27BED5F44ED6}"/>
              </a:ext>
            </a:extLst>
          </p:cNvPr>
          <p:cNvSpPr>
            <a:spLocks noGrp="1"/>
          </p:cNvSpPr>
          <p:nvPr>
            <p:ph type="pic" sz="quarter" idx="23"/>
          </p:nvPr>
        </p:nvSpPr>
        <p:spPr>
          <a:xfrm>
            <a:off x="4458071" y="1624205"/>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22" name="Picture Placeholder 3">
            <a:extLst>
              <a:ext uri="{FF2B5EF4-FFF2-40B4-BE49-F238E27FC236}">
                <a16:creationId xmlns:a16="http://schemas.microsoft.com/office/drawing/2014/main" id="{AD148B2F-B493-BFBF-8393-261886DA3EE6}"/>
              </a:ext>
            </a:extLst>
          </p:cNvPr>
          <p:cNvSpPr>
            <a:spLocks noGrp="1"/>
          </p:cNvSpPr>
          <p:nvPr>
            <p:ph type="pic" sz="quarter" idx="24"/>
          </p:nvPr>
        </p:nvSpPr>
        <p:spPr>
          <a:xfrm>
            <a:off x="8382846" y="1624205"/>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Tree>
    <p:extLst>
      <p:ext uri="{BB962C8B-B14F-4D97-AF65-F5344CB8AC3E}">
        <p14:creationId xmlns:p14="http://schemas.microsoft.com/office/powerpoint/2010/main" val="3142088066"/>
      </p:ext>
    </p:extLst>
  </p:cSld>
  <p:clrMapOvr>
    <a:masterClrMapping/>
  </p:clrMapOvr>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Icons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Picture Placeholder 3">
            <a:extLst>
              <a:ext uri="{FF2B5EF4-FFF2-40B4-BE49-F238E27FC236}">
                <a16:creationId xmlns:a16="http://schemas.microsoft.com/office/drawing/2014/main" id="{78B95D78-F57A-6D40-A841-7D1E3B08277B}"/>
              </a:ext>
            </a:extLst>
          </p:cNvPr>
          <p:cNvSpPr>
            <a:spLocks noGrp="1"/>
          </p:cNvSpPr>
          <p:nvPr>
            <p:ph type="pic" sz="quarter" idx="13"/>
          </p:nvPr>
        </p:nvSpPr>
        <p:spPr>
          <a:xfrm>
            <a:off x="515938"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8"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8"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47" name="Picture Placeholder 3">
            <a:extLst>
              <a:ext uri="{FF2B5EF4-FFF2-40B4-BE49-F238E27FC236}">
                <a16:creationId xmlns:a16="http://schemas.microsoft.com/office/drawing/2014/main" id="{F48D299A-6257-AC74-0FD7-6D22E29A5C4F}"/>
              </a:ext>
            </a:extLst>
          </p:cNvPr>
          <p:cNvSpPr>
            <a:spLocks noGrp="1"/>
          </p:cNvSpPr>
          <p:nvPr>
            <p:ph type="pic" sz="quarter" idx="17"/>
          </p:nvPr>
        </p:nvSpPr>
        <p:spPr>
          <a:xfrm>
            <a:off x="3387491"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48" name="Text Placeholder 6">
            <a:extLst>
              <a:ext uri="{FF2B5EF4-FFF2-40B4-BE49-F238E27FC236}">
                <a16:creationId xmlns:a16="http://schemas.microsoft.com/office/drawing/2014/main" id="{9E3D1709-B9E8-6689-9456-9D1A08D7BAA7}"/>
              </a:ext>
            </a:extLst>
          </p:cNvPr>
          <p:cNvSpPr>
            <a:spLocks noGrp="1"/>
          </p:cNvSpPr>
          <p:nvPr>
            <p:ph type="body" sz="quarter" idx="18"/>
          </p:nvPr>
        </p:nvSpPr>
        <p:spPr>
          <a:xfrm>
            <a:off x="3387491"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49" name="Text Placeholder 6">
            <a:extLst>
              <a:ext uri="{FF2B5EF4-FFF2-40B4-BE49-F238E27FC236}">
                <a16:creationId xmlns:a16="http://schemas.microsoft.com/office/drawing/2014/main" id="{C714C56E-261C-2C43-2BCC-4B86E64EE017}"/>
              </a:ext>
            </a:extLst>
          </p:cNvPr>
          <p:cNvSpPr>
            <a:spLocks noGrp="1"/>
          </p:cNvSpPr>
          <p:nvPr>
            <p:ph type="body" sz="quarter" idx="19"/>
          </p:nvPr>
        </p:nvSpPr>
        <p:spPr>
          <a:xfrm>
            <a:off x="3387491"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0" name="Picture Placeholder 3">
            <a:extLst>
              <a:ext uri="{FF2B5EF4-FFF2-40B4-BE49-F238E27FC236}">
                <a16:creationId xmlns:a16="http://schemas.microsoft.com/office/drawing/2014/main" id="{7BD682FD-9976-0C80-A887-A4D6D2E292BF}"/>
              </a:ext>
            </a:extLst>
          </p:cNvPr>
          <p:cNvSpPr>
            <a:spLocks noGrp="1"/>
          </p:cNvSpPr>
          <p:nvPr>
            <p:ph type="pic" sz="quarter" idx="20"/>
          </p:nvPr>
        </p:nvSpPr>
        <p:spPr>
          <a:xfrm>
            <a:off x="6259044"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1" name="Text Placeholder 6">
            <a:extLst>
              <a:ext uri="{FF2B5EF4-FFF2-40B4-BE49-F238E27FC236}">
                <a16:creationId xmlns:a16="http://schemas.microsoft.com/office/drawing/2014/main" id="{A9A5BE6C-6EDB-FAB6-4644-C243D0C50113}"/>
              </a:ext>
            </a:extLst>
          </p:cNvPr>
          <p:cNvSpPr>
            <a:spLocks noGrp="1"/>
          </p:cNvSpPr>
          <p:nvPr>
            <p:ph type="body" sz="quarter" idx="21"/>
          </p:nvPr>
        </p:nvSpPr>
        <p:spPr>
          <a:xfrm>
            <a:off x="6259044"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2" name="Text Placeholder 6">
            <a:extLst>
              <a:ext uri="{FF2B5EF4-FFF2-40B4-BE49-F238E27FC236}">
                <a16:creationId xmlns:a16="http://schemas.microsoft.com/office/drawing/2014/main" id="{CB0F2787-5A74-A6DE-F13C-3D79E01FA602}"/>
              </a:ext>
            </a:extLst>
          </p:cNvPr>
          <p:cNvSpPr>
            <a:spLocks noGrp="1"/>
          </p:cNvSpPr>
          <p:nvPr>
            <p:ph type="body" sz="quarter" idx="22"/>
          </p:nvPr>
        </p:nvSpPr>
        <p:spPr>
          <a:xfrm>
            <a:off x="6259044"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3" name="Picture Placeholder 3">
            <a:extLst>
              <a:ext uri="{FF2B5EF4-FFF2-40B4-BE49-F238E27FC236}">
                <a16:creationId xmlns:a16="http://schemas.microsoft.com/office/drawing/2014/main" id="{201E793D-C775-4026-041E-34664EC7CB24}"/>
              </a:ext>
            </a:extLst>
          </p:cNvPr>
          <p:cNvSpPr>
            <a:spLocks noGrp="1"/>
          </p:cNvSpPr>
          <p:nvPr>
            <p:ph type="pic" sz="quarter" idx="23"/>
          </p:nvPr>
        </p:nvSpPr>
        <p:spPr>
          <a:xfrm>
            <a:off x="9130597"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4" name="Text Placeholder 6">
            <a:extLst>
              <a:ext uri="{FF2B5EF4-FFF2-40B4-BE49-F238E27FC236}">
                <a16:creationId xmlns:a16="http://schemas.microsoft.com/office/drawing/2014/main" id="{804BD5F4-CAC4-3B9A-26F3-C0C1833171E1}"/>
              </a:ext>
            </a:extLst>
          </p:cNvPr>
          <p:cNvSpPr>
            <a:spLocks noGrp="1"/>
          </p:cNvSpPr>
          <p:nvPr>
            <p:ph type="body" sz="quarter" idx="24"/>
          </p:nvPr>
        </p:nvSpPr>
        <p:spPr>
          <a:xfrm>
            <a:off x="9130598" y="3170771"/>
            <a:ext cx="2545466"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5" name="Text Placeholder 6">
            <a:extLst>
              <a:ext uri="{FF2B5EF4-FFF2-40B4-BE49-F238E27FC236}">
                <a16:creationId xmlns:a16="http://schemas.microsoft.com/office/drawing/2014/main" id="{B233CA27-29C3-9FC3-D859-9E09C4A5F850}"/>
              </a:ext>
            </a:extLst>
          </p:cNvPr>
          <p:cNvSpPr>
            <a:spLocks noGrp="1"/>
          </p:cNvSpPr>
          <p:nvPr>
            <p:ph type="body" sz="quarter" idx="25"/>
          </p:nvPr>
        </p:nvSpPr>
        <p:spPr>
          <a:xfrm>
            <a:off x="9130598" y="2559970"/>
            <a:ext cx="2545466"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296770479"/>
      </p:ext>
    </p:extLst>
  </p:cSld>
  <p:clrMapOvr>
    <a:masterClrMapping/>
  </p:clrMapOvr>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Icons x5">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Picture Placeholder 3">
            <a:extLst>
              <a:ext uri="{FF2B5EF4-FFF2-40B4-BE49-F238E27FC236}">
                <a16:creationId xmlns:a16="http://schemas.microsoft.com/office/drawing/2014/main" id="{78B95D78-F57A-6D40-A841-7D1E3B08277B}"/>
              </a:ext>
            </a:extLst>
          </p:cNvPr>
          <p:cNvSpPr>
            <a:spLocks noGrp="1"/>
          </p:cNvSpPr>
          <p:nvPr>
            <p:ph type="pic" sz="quarter" idx="13"/>
          </p:nvPr>
        </p:nvSpPr>
        <p:spPr>
          <a:xfrm>
            <a:off x="515938"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9"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47" name="Picture Placeholder 3">
            <a:extLst>
              <a:ext uri="{FF2B5EF4-FFF2-40B4-BE49-F238E27FC236}">
                <a16:creationId xmlns:a16="http://schemas.microsoft.com/office/drawing/2014/main" id="{F48D299A-6257-AC74-0FD7-6D22E29A5C4F}"/>
              </a:ext>
            </a:extLst>
          </p:cNvPr>
          <p:cNvSpPr>
            <a:spLocks noGrp="1"/>
          </p:cNvSpPr>
          <p:nvPr>
            <p:ph type="pic" sz="quarter" idx="17"/>
          </p:nvPr>
        </p:nvSpPr>
        <p:spPr>
          <a:xfrm>
            <a:off x="2802689"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48" name="Text Placeholder 6">
            <a:extLst>
              <a:ext uri="{FF2B5EF4-FFF2-40B4-BE49-F238E27FC236}">
                <a16:creationId xmlns:a16="http://schemas.microsoft.com/office/drawing/2014/main" id="{9E3D1709-B9E8-6689-9456-9D1A08D7BAA7}"/>
              </a:ext>
            </a:extLst>
          </p:cNvPr>
          <p:cNvSpPr>
            <a:spLocks noGrp="1"/>
          </p:cNvSpPr>
          <p:nvPr>
            <p:ph type="body" sz="quarter" idx="18"/>
          </p:nvPr>
        </p:nvSpPr>
        <p:spPr>
          <a:xfrm>
            <a:off x="2802689"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49" name="Text Placeholder 6">
            <a:extLst>
              <a:ext uri="{FF2B5EF4-FFF2-40B4-BE49-F238E27FC236}">
                <a16:creationId xmlns:a16="http://schemas.microsoft.com/office/drawing/2014/main" id="{C714C56E-261C-2C43-2BCC-4B86E64EE017}"/>
              </a:ext>
            </a:extLst>
          </p:cNvPr>
          <p:cNvSpPr>
            <a:spLocks noGrp="1"/>
          </p:cNvSpPr>
          <p:nvPr>
            <p:ph type="body" sz="quarter" idx="19"/>
          </p:nvPr>
        </p:nvSpPr>
        <p:spPr>
          <a:xfrm>
            <a:off x="2802689"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0" name="Picture Placeholder 3">
            <a:extLst>
              <a:ext uri="{FF2B5EF4-FFF2-40B4-BE49-F238E27FC236}">
                <a16:creationId xmlns:a16="http://schemas.microsoft.com/office/drawing/2014/main" id="{7BD682FD-9976-0C80-A887-A4D6D2E292BF}"/>
              </a:ext>
            </a:extLst>
          </p:cNvPr>
          <p:cNvSpPr>
            <a:spLocks noGrp="1"/>
          </p:cNvSpPr>
          <p:nvPr>
            <p:ph type="pic" sz="quarter" idx="20"/>
          </p:nvPr>
        </p:nvSpPr>
        <p:spPr>
          <a:xfrm>
            <a:off x="5089439"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1" name="Text Placeholder 6">
            <a:extLst>
              <a:ext uri="{FF2B5EF4-FFF2-40B4-BE49-F238E27FC236}">
                <a16:creationId xmlns:a16="http://schemas.microsoft.com/office/drawing/2014/main" id="{A9A5BE6C-6EDB-FAB6-4644-C243D0C50113}"/>
              </a:ext>
            </a:extLst>
          </p:cNvPr>
          <p:cNvSpPr>
            <a:spLocks noGrp="1"/>
          </p:cNvSpPr>
          <p:nvPr>
            <p:ph type="body" sz="quarter" idx="21"/>
          </p:nvPr>
        </p:nvSpPr>
        <p:spPr>
          <a:xfrm>
            <a:off x="5089439"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2" name="Text Placeholder 6">
            <a:extLst>
              <a:ext uri="{FF2B5EF4-FFF2-40B4-BE49-F238E27FC236}">
                <a16:creationId xmlns:a16="http://schemas.microsoft.com/office/drawing/2014/main" id="{CB0F2787-5A74-A6DE-F13C-3D79E01FA602}"/>
              </a:ext>
            </a:extLst>
          </p:cNvPr>
          <p:cNvSpPr>
            <a:spLocks noGrp="1"/>
          </p:cNvSpPr>
          <p:nvPr>
            <p:ph type="body" sz="quarter" idx="22"/>
          </p:nvPr>
        </p:nvSpPr>
        <p:spPr>
          <a:xfrm>
            <a:off x="5089439"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3" name="Picture Placeholder 3">
            <a:extLst>
              <a:ext uri="{FF2B5EF4-FFF2-40B4-BE49-F238E27FC236}">
                <a16:creationId xmlns:a16="http://schemas.microsoft.com/office/drawing/2014/main" id="{201E793D-C775-4026-041E-34664EC7CB24}"/>
              </a:ext>
            </a:extLst>
          </p:cNvPr>
          <p:cNvSpPr>
            <a:spLocks noGrp="1"/>
          </p:cNvSpPr>
          <p:nvPr>
            <p:ph type="pic" sz="quarter" idx="23"/>
          </p:nvPr>
        </p:nvSpPr>
        <p:spPr>
          <a:xfrm>
            <a:off x="7376189"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4" name="Text Placeholder 6">
            <a:extLst>
              <a:ext uri="{FF2B5EF4-FFF2-40B4-BE49-F238E27FC236}">
                <a16:creationId xmlns:a16="http://schemas.microsoft.com/office/drawing/2014/main" id="{804BD5F4-CAC4-3B9A-26F3-C0C1833171E1}"/>
              </a:ext>
            </a:extLst>
          </p:cNvPr>
          <p:cNvSpPr>
            <a:spLocks noGrp="1"/>
          </p:cNvSpPr>
          <p:nvPr>
            <p:ph type="body" sz="quarter" idx="24"/>
          </p:nvPr>
        </p:nvSpPr>
        <p:spPr>
          <a:xfrm>
            <a:off x="7376189"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5" name="Text Placeholder 6">
            <a:extLst>
              <a:ext uri="{FF2B5EF4-FFF2-40B4-BE49-F238E27FC236}">
                <a16:creationId xmlns:a16="http://schemas.microsoft.com/office/drawing/2014/main" id="{B233CA27-29C3-9FC3-D859-9E09C4A5F850}"/>
              </a:ext>
            </a:extLst>
          </p:cNvPr>
          <p:cNvSpPr>
            <a:spLocks noGrp="1"/>
          </p:cNvSpPr>
          <p:nvPr>
            <p:ph type="body" sz="quarter" idx="25"/>
          </p:nvPr>
        </p:nvSpPr>
        <p:spPr>
          <a:xfrm>
            <a:off x="7376189"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
        <p:nvSpPr>
          <p:cNvPr id="56" name="Picture Placeholder 3">
            <a:extLst>
              <a:ext uri="{FF2B5EF4-FFF2-40B4-BE49-F238E27FC236}">
                <a16:creationId xmlns:a16="http://schemas.microsoft.com/office/drawing/2014/main" id="{8B57295D-E6CF-D31C-B144-FCA5CB14DF6B}"/>
              </a:ext>
            </a:extLst>
          </p:cNvPr>
          <p:cNvSpPr>
            <a:spLocks noGrp="1"/>
          </p:cNvSpPr>
          <p:nvPr>
            <p:ph type="pic" sz="quarter" idx="26"/>
          </p:nvPr>
        </p:nvSpPr>
        <p:spPr>
          <a:xfrm>
            <a:off x="9662939" y="1518458"/>
            <a:ext cx="924454" cy="924454"/>
          </a:xfrm>
        </p:spPr>
        <p:txBody>
          <a:bodyPr anchor="ctr">
            <a:noAutofit/>
          </a:bodyPr>
          <a:lstStyle>
            <a:lvl1pPr algn="ctr">
              <a:defRPr sz="1050">
                <a:solidFill>
                  <a:schemeClr val="bg1">
                    <a:lumMod val="65000"/>
                  </a:schemeClr>
                </a:solidFill>
              </a:defRPr>
            </a:lvl1pPr>
          </a:lstStyle>
          <a:p>
            <a:r>
              <a:rPr lang="en-GB"/>
              <a:t>Click icon to add picture</a:t>
            </a:r>
          </a:p>
        </p:txBody>
      </p:sp>
      <p:sp>
        <p:nvSpPr>
          <p:cNvPr id="57" name="Text Placeholder 6">
            <a:extLst>
              <a:ext uri="{FF2B5EF4-FFF2-40B4-BE49-F238E27FC236}">
                <a16:creationId xmlns:a16="http://schemas.microsoft.com/office/drawing/2014/main" id="{AD0246CA-EA99-001F-02B9-8BA52DCE7337}"/>
              </a:ext>
            </a:extLst>
          </p:cNvPr>
          <p:cNvSpPr>
            <a:spLocks noGrp="1"/>
          </p:cNvSpPr>
          <p:nvPr>
            <p:ph type="body" sz="quarter" idx="27"/>
          </p:nvPr>
        </p:nvSpPr>
        <p:spPr>
          <a:xfrm>
            <a:off x="9662940" y="3170771"/>
            <a:ext cx="2007342" cy="2888574"/>
          </a:xfrm>
        </p:spPr>
        <p:txBody>
          <a:bodyPr>
            <a:normAutofit/>
          </a:bodyPr>
          <a:lstStyle>
            <a:lvl1pPr marL="177800" indent="-177800">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58" name="Text Placeholder 6">
            <a:extLst>
              <a:ext uri="{FF2B5EF4-FFF2-40B4-BE49-F238E27FC236}">
                <a16:creationId xmlns:a16="http://schemas.microsoft.com/office/drawing/2014/main" id="{3D355FF6-773D-9D18-B07A-AFAED992F8C9}"/>
              </a:ext>
            </a:extLst>
          </p:cNvPr>
          <p:cNvSpPr>
            <a:spLocks noGrp="1"/>
          </p:cNvSpPr>
          <p:nvPr>
            <p:ph type="body" sz="quarter" idx="28"/>
          </p:nvPr>
        </p:nvSpPr>
        <p:spPr>
          <a:xfrm>
            <a:off x="9662940" y="2559970"/>
            <a:ext cx="2007342" cy="443198"/>
          </a:xfrm>
        </p:spPr>
        <p:txBody>
          <a:bodyPr wrap="square">
            <a:spAutoFit/>
          </a:bodyPr>
          <a:lstStyle>
            <a:lvl1pPr>
              <a:lnSpc>
                <a:spcPct val="90000"/>
              </a:lnSpc>
              <a:defRPr sz="1600"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1464676386"/>
      </p:ext>
    </p:extLst>
  </p:cSld>
  <p:clrMapOvr>
    <a:masterClrMapping/>
  </p:clrMapOvr>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Icons x4 Gri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7" name="Picture Placeholder 3">
            <a:extLst>
              <a:ext uri="{FF2B5EF4-FFF2-40B4-BE49-F238E27FC236}">
                <a16:creationId xmlns:a16="http://schemas.microsoft.com/office/drawing/2014/main" id="{78B95D78-F57A-6D40-A841-7D1E3B08277B}"/>
              </a:ext>
            </a:extLst>
          </p:cNvPr>
          <p:cNvSpPr>
            <a:spLocks noGrp="1"/>
          </p:cNvSpPr>
          <p:nvPr>
            <p:ph type="pic" sz="quarter" idx="13"/>
          </p:nvPr>
        </p:nvSpPr>
        <p:spPr>
          <a:xfrm>
            <a:off x="515938" y="1304925"/>
            <a:ext cx="869950" cy="869950"/>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1549400" y="1687057"/>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1549400" y="1304925"/>
            <a:ext cx="4143829" cy="382135"/>
          </a:xfrm>
        </p:spPr>
        <p:txBody>
          <a:bodyPr>
            <a:normAutofit/>
          </a:bodyPr>
          <a:lstStyle>
            <a:lvl1pPr>
              <a:defRPr sz="1800" b="1">
                <a:solidFill>
                  <a:schemeClr val="bg2"/>
                </a:solidFill>
              </a:defRPr>
            </a:lvl1pPr>
          </a:lstStyle>
          <a:p>
            <a:pPr lvl="0"/>
            <a:r>
              <a:rPr lang="en-GB"/>
              <a:t>Click to edit Master text styles</a:t>
            </a:r>
          </a:p>
        </p:txBody>
      </p:sp>
      <p:sp>
        <p:nvSpPr>
          <p:cNvPr id="20" name="Picture Placeholder 3">
            <a:extLst>
              <a:ext uri="{FF2B5EF4-FFF2-40B4-BE49-F238E27FC236}">
                <a16:creationId xmlns:a16="http://schemas.microsoft.com/office/drawing/2014/main" id="{D3B567E7-3D24-6F43-A35A-BBC5B9C571B7}"/>
              </a:ext>
            </a:extLst>
          </p:cNvPr>
          <p:cNvSpPr>
            <a:spLocks noGrp="1"/>
          </p:cNvSpPr>
          <p:nvPr>
            <p:ph type="pic" sz="quarter" idx="17"/>
          </p:nvPr>
        </p:nvSpPr>
        <p:spPr>
          <a:xfrm>
            <a:off x="515938" y="3786232"/>
            <a:ext cx="869950" cy="869950"/>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1" name="Text Placeholder 6">
            <a:extLst>
              <a:ext uri="{FF2B5EF4-FFF2-40B4-BE49-F238E27FC236}">
                <a16:creationId xmlns:a16="http://schemas.microsoft.com/office/drawing/2014/main" id="{93E388B6-7D3E-7F4E-89BF-34EFDCA27B09}"/>
              </a:ext>
            </a:extLst>
          </p:cNvPr>
          <p:cNvSpPr>
            <a:spLocks noGrp="1"/>
          </p:cNvSpPr>
          <p:nvPr>
            <p:ph type="body" sz="quarter" idx="18"/>
          </p:nvPr>
        </p:nvSpPr>
        <p:spPr>
          <a:xfrm>
            <a:off x="1549400" y="4168364"/>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22" name="Text Placeholder 6">
            <a:extLst>
              <a:ext uri="{FF2B5EF4-FFF2-40B4-BE49-F238E27FC236}">
                <a16:creationId xmlns:a16="http://schemas.microsoft.com/office/drawing/2014/main" id="{881671EB-257B-ED4B-947C-F1B6F4FDC869}"/>
              </a:ext>
            </a:extLst>
          </p:cNvPr>
          <p:cNvSpPr>
            <a:spLocks noGrp="1"/>
          </p:cNvSpPr>
          <p:nvPr>
            <p:ph type="body" sz="quarter" idx="19"/>
          </p:nvPr>
        </p:nvSpPr>
        <p:spPr>
          <a:xfrm>
            <a:off x="1549400" y="3786232"/>
            <a:ext cx="4143829" cy="382135"/>
          </a:xfrm>
        </p:spPr>
        <p:txBody>
          <a:bodyPr>
            <a:normAutofit/>
          </a:bodyPr>
          <a:lstStyle>
            <a:lvl1pPr>
              <a:defRPr sz="1800" b="1">
                <a:solidFill>
                  <a:schemeClr val="bg2"/>
                </a:solidFill>
              </a:defRPr>
            </a:lvl1pPr>
          </a:lstStyle>
          <a:p>
            <a:pPr lvl="0"/>
            <a:r>
              <a:rPr lang="en-GB"/>
              <a:t>Click to edit Master text styles</a:t>
            </a:r>
          </a:p>
        </p:txBody>
      </p:sp>
      <p:sp>
        <p:nvSpPr>
          <p:cNvPr id="23" name="Picture Placeholder 3">
            <a:extLst>
              <a:ext uri="{FF2B5EF4-FFF2-40B4-BE49-F238E27FC236}">
                <a16:creationId xmlns:a16="http://schemas.microsoft.com/office/drawing/2014/main" id="{92691027-CA0E-E24A-BE52-C681CD1360B7}"/>
              </a:ext>
            </a:extLst>
          </p:cNvPr>
          <p:cNvSpPr>
            <a:spLocks noGrp="1"/>
          </p:cNvSpPr>
          <p:nvPr>
            <p:ph type="pic" sz="quarter" idx="20"/>
          </p:nvPr>
        </p:nvSpPr>
        <p:spPr>
          <a:xfrm>
            <a:off x="6498773" y="1304925"/>
            <a:ext cx="869950" cy="869950"/>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4" name="Text Placeholder 6">
            <a:extLst>
              <a:ext uri="{FF2B5EF4-FFF2-40B4-BE49-F238E27FC236}">
                <a16:creationId xmlns:a16="http://schemas.microsoft.com/office/drawing/2014/main" id="{6C29C828-D0AF-8740-B636-DCE11FB0484F}"/>
              </a:ext>
            </a:extLst>
          </p:cNvPr>
          <p:cNvSpPr>
            <a:spLocks noGrp="1"/>
          </p:cNvSpPr>
          <p:nvPr>
            <p:ph type="body" sz="quarter" idx="21"/>
          </p:nvPr>
        </p:nvSpPr>
        <p:spPr>
          <a:xfrm>
            <a:off x="7532235" y="1687057"/>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25" name="Text Placeholder 6">
            <a:extLst>
              <a:ext uri="{FF2B5EF4-FFF2-40B4-BE49-F238E27FC236}">
                <a16:creationId xmlns:a16="http://schemas.microsoft.com/office/drawing/2014/main" id="{58CECF4C-60E6-054F-A58B-39ED49ED6AD2}"/>
              </a:ext>
            </a:extLst>
          </p:cNvPr>
          <p:cNvSpPr>
            <a:spLocks noGrp="1"/>
          </p:cNvSpPr>
          <p:nvPr>
            <p:ph type="body" sz="quarter" idx="22"/>
          </p:nvPr>
        </p:nvSpPr>
        <p:spPr>
          <a:xfrm>
            <a:off x="7532235" y="1304925"/>
            <a:ext cx="4143829" cy="382135"/>
          </a:xfrm>
        </p:spPr>
        <p:txBody>
          <a:bodyPr>
            <a:normAutofit/>
          </a:bodyPr>
          <a:lstStyle>
            <a:lvl1pPr>
              <a:defRPr sz="1800" b="1">
                <a:solidFill>
                  <a:schemeClr val="bg2"/>
                </a:solidFill>
              </a:defRPr>
            </a:lvl1pPr>
          </a:lstStyle>
          <a:p>
            <a:pPr lvl="0"/>
            <a:r>
              <a:rPr lang="en-GB"/>
              <a:t>Click to edit Master text styles</a:t>
            </a:r>
          </a:p>
        </p:txBody>
      </p:sp>
      <p:sp>
        <p:nvSpPr>
          <p:cNvPr id="26" name="Picture Placeholder 3">
            <a:extLst>
              <a:ext uri="{FF2B5EF4-FFF2-40B4-BE49-F238E27FC236}">
                <a16:creationId xmlns:a16="http://schemas.microsoft.com/office/drawing/2014/main" id="{CD7BB1DF-4B0D-0046-AD00-F6E58908BDED}"/>
              </a:ext>
            </a:extLst>
          </p:cNvPr>
          <p:cNvSpPr>
            <a:spLocks noGrp="1"/>
          </p:cNvSpPr>
          <p:nvPr>
            <p:ph type="pic" sz="quarter" idx="23"/>
          </p:nvPr>
        </p:nvSpPr>
        <p:spPr>
          <a:xfrm>
            <a:off x="6498773" y="3786232"/>
            <a:ext cx="869950" cy="869950"/>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7" name="Text Placeholder 6">
            <a:extLst>
              <a:ext uri="{FF2B5EF4-FFF2-40B4-BE49-F238E27FC236}">
                <a16:creationId xmlns:a16="http://schemas.microsoft.com/office/drawing/2014/main" id="{FDABD8D9-C71A-A446-8E62-82A359216E99}"/>
              </a:ext>
            </a:extLst>
          </p:cNvPr>
          <p:cNvSpPr>
            <a:spLocks noGrp="1"/>
          </p:cNvSpPr>
          <p:nvPr>
            <p:ph type="body" sz="quarter" idx="24"/>
          </p:nvPr>
        </p:nvSpPr>
        <p:spPr>
          <a:xfrm>
            <a:off x="7532235" y="4168364"/>
            <a:ext cx="4143829" cy="1741943"/>
          </a:xfrm>
        </p:spPr>
        <p:txBody>
          <a:bodyPr>
            <a:normAutofit/>
          </a:bodyPr>
          <a:lstStyle>
            <a:lvl1pPr>
              <a:defRPr sz="1400">
                <a:solidFill>
                  <a:schemeClr val="tx2">
                    <a:lumMod val="50000"/>
                  </a:schemeClr>
                </a:solidFill>
              </a:defRPr>
            </a:lvl1pPr>
          </a:lstStyle>
          <a:p>
            <a:pPr lvl="0"/>
            <a:r>
              <a:rPr lang="en-GB"/>
              <a:t>Click to edit Master text styles</a:t>
            </a:r>
          </a:p>
        </p:txBody>
      </p:sp>
      <p:sp>
        <p:nvSpPr>
          <p:cNvPr id="28" name="Text Placeholder 6">
            <a:extLst>
              <a:ext uri="{FF2B5EF4-FFF2-40B4-BE49-F238E27FC236}">
                <a16:creationId xmlns:a16="http://schemas.microsoft.com/office/drawing/2014/main" id="{0340EBB2-1491-9444-9D25-3567B2AAB22F}"/>
              </a:ext>
            </a:extLst>
          </p:cNvPr>
          <p:cNvSpPr>
            <a:spLocks noGrp="1"/>
          </p:cNvSpPr>
          <p:nvPr>
            <p:ph type="body" sz="quarter" idx="25"/>
          </p:nvPr>
        </p:nvSpPr>
        <p:spPr>
          <a:xfrm>
            <a:off x="7532235" y="3786232"/>
            <a:ext cx="4143829" cy="382135"/>
          </a:xfrm>
        </p:spPr>
        <p:txBody>
          <a:bodyPr>
            <a:normAutofit/>
          </a:bodyPr>
          <a:lstStyle>
            <a:lvl1pPr>
              <a:defRPr sz="1800" b="1">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2005049753"/>
      </p:ext>
    </p:extLst>
  </p:cSld>
  <p:clrMapOvr>
    <a:masterClrMapping/>
  </p:clrMapOvr>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Text + 3 Objectiv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342900" indent="-342900">
              <a:buClr>
                <a:schemeClr val="bg2"/>
              </a:buClr>
              <a:buFont typeface="Arial" panose="020B0604020202020204" pitchFamily="34" charset="0"/>
              <a:buChar char="•"/>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23" name="Round Same-side Corner of Rectangle 22">
            <a:extLst>
              <a:ext uri="{FF2B5EF4-FFF2-40B4-BE49-F238E27FC236}">
                <a16:creationId xmlns:a16="http://schemas.microsoft.com/office/drawing/2014/main" id="{16D0EA1C-2C30-674C-9E0D-D3B85EFE8B44}"/>
              </a:ext>
            </a:extLst>
          </p:cNvPr>
          <p:cNvSpPr/>
          <p:nvPr userDrawn="1"/>
        </p:nvSpPr>
        <p:spPr>
          <a:xfrm rot="5400000" flipH="1">
            <a:off x="8698709" y="2420146"/>
            <a:ext cx="1350948" cy="5635632"/>
          </a:xfrm>
          <a:prstGeom prst="round2SameRect">
            <a:avLst>
              <a:gd name="adj1" fmla="val 0"/>
              <a:gd name="adj2"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solidFill>
                <a:schemeClr val="bg1">
                  <a:lumMod val="85000"/>
                </a:schemeClr>
              </a:solidFill>
              <a:latin typeface="Arial" panose="020B0604020202020204" pitchFamily="34" charset="0"/>
            </a:endParaRPr>
          </a:p>
        </p:txBody>
      </p:sp>
      <p:sp>
        <p:nvSpPr>
          <p:cNvPr id="24" name="Text Placeholder 6">
            <a:extLst>
              <a:ext uri="{FF2B5EF4-FFF2-40B4-BE49-F238E27FC236}">
                <a16:creationId xmlns:a16="http://schemas.microsoft.com/office/drawing/2014/main" id="{0933F7F4-7E4A-AD4A-B080-3883C01BCEA1}"/>
              </a:ext>
            </a:extLst>
          </p:cNvPr>
          <p:cNvSpPr>
            <a:spLocks noGrp="1"/>
          </p:cNvSpPr>
          <p:nvPr>
            <p:ph type="body" sz="quarter" idx="27"/>
          </p:nvPr>
        </p:nvSpPr>
        <p:spPr>
          <a:xfrm>
            <a:off x="7955149" y="5013397"/>
            <a:ext cx="3715133" cy="792044"/>
          </a:xfrm>
        </p:spPr>
        <p:txBody>
          <a:bodyPr anchor="t">
            <a:normAutofit/>
          </a:bodyPr>
          <a:lstStyle>
            <a:lvl1pPr marL="179388" indent="-179388">
              <a:lnSpc>
                <a:spcPct val="110000"/>
              </a:lnSpc>
              <a:spcBef>
                <a:spcPts val="0"/>
              </a:spcBef>
              <a:spcAft>
                <a:spcPts val="600"/>
              </a:spcAft>
              <a:buFont typeface="Arial" panose="020B0604020202020204" pitchFamily="34" charset="0"/>
              <a:buChar char="•"/>
              <a:tabLst/>
              <a:defRPr sz="1400" b="1">
                <a:solidFill>
                  <a:schemeClr val="bg1"/>
                </a:solidFill>
              </a:defRPr>
            </a:lvl1pPr>
          </a:lstStyle>
          <a:p>
            <a:pPr lvl="0"/>
            <a:r>
              <a:rPr lang="en-GB"/>
              <a:t>Click to edit Master text styles</a:t>
            </a:r>
          </a:p>
        </p:txBody>
      </p:sp>
      <p:sp>
        <p:nvSpPr>
          <p:cNvPr id="25" name="Text Placeholder 6">
            <a:extLst>
              <a:ext uri="{FF2B5EF4-FFF2-40B4-BE49-F238E27FC236}">
                <a16:creationId xmlns:a16="http://schemas.microsoft.com/office/drawing/2014/main" id="{66DF01F6-3014-6E4B-AB71-62673ED7268C}"/>
              </a:ext>
            </a:extLst>
          </p:cNvPr>
          <p:cNvSpPr>
            <a:spLocks noGrp="1"/>
          </p:cNvSpPr>
          <p:nvPr>
            <p:ph type="body" sz="quarter" idx="28" hasCustomPrompt="1"/>
          </p:nvPr>
        </p:nvSpPr>
        <p:spPr>
          <a:xfrm>
            <a:off x="7955149" y="4663313"/>
            <a:ext cx="1917616" cy="249259"/>
          </a:xfrm>
        </p:spPr>
        <p:txBody>
          <a:bodyPr anchor="t">
            <a:normAutofit/>
          </a:bodyPr>
          <a:lstStyle>
            <a:lvl1pPr algn="l">
              <a:lnSpc>
                <a:spcPct val="110000"/>
              </a:lnSpc>
              <a:spcAft>
                <a:spcPts val="600"/>
              </a:spcAft>
              <a:defRPr sz="1600" b="1">
                <a:solidFill>
                  <a:schemeClr val="tx2">
                    <a:lumMod val="40000"/>
                    <a:lumOff val="60000"/>
                  </a:schemeClr>
                </a:solidFill>
              </a:defRPr>
            </a:lvl1pPr>
          </a:lstStyle>
          <a:p>
            <a:pPr lvl="0"/>
            <a:r>
              <a:rPr lang="en-GB"/>
              <a:t>Title</a:t>
            </a:r>
          </a:p>
        </p:txBody>
      </p:sp>
      <p:sp>
        <p:nvSpPr>
          <p:cNvPr id="26" name="Picture Placeholder 3">
            <a:extLst>
              <a:ext uri="{FF2B5EF4-FFF2-40B4-BE49-F238E27FC236}">
                <a16:creationId xmlns:a16="http://schemas.microsoft.com/office/drawing/2014/main" id="{E49618F2-620F-A042-9095-E7C4C137E2ED}"/>
              </a:ext>
            </a:extLst>
          </p:cNvPr>
          <p:cNvSpPr>
            <a:spLocks noGrp="1"/>
          </p:cNvSpPr>
          <p:nvPr>
            <p:ph type="pic" sz="quarter" idx="29"/>
          </p:nvPr>
        </p:nvSpPr>
        <p:spPr>
          <a:xfrm>
            <a:off x="6957092" y="4846809"/>
            <a:ext cx="767874" cy="767874"/>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27" name="Round Same-side Corner of Rectangle 26">
            <a:extLst>
              <a:ext uri="{FF2B5EF4-FFF2-40B4-BE49-F238E27FC236}">
                <a16:creationId xmlns:a16="http://schemas.microsoft.com/office/drawing/2014/main" id="{CFB215F2-B96A-D14F-B549-E8D9FA660A0B}"/>
              </a:ext>
            </a:extLst>
          </p:cNvPr>
          <p:cNvSpPr/>
          <p:nvPr userDrawn="1"/>
        </p:nvSpPr>
        <p:spPr>
          <a:xfrm rot="5400000" flipH="1">
            <a:off x="8698709" y="791363"/>
            <a:ext cx="1350948" cy="5635632"/>
          </a:xfrm>
          <a:prstGeom prst="round2SameRect">
            <a:avLst>
              <a:gd name="adj1" fmla="val 0"/>
              <a:gd name="adj2"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solidFill>
                <a:schemeClr val="bg1">
                  <a:lumMod val="85000"/>
                </a:schemeClr>
              </a:solidFill>
              <a:latin typeface="Arial" panose="020B0604020202020204" pitchFamily="34" charset="0"/>
            </a:endParaRPr>
          </a:p>
        </p:txBody>
      </p:sp>
      <p:sp>
        <p:nvSpPr>
          <p:cNvPr id="28" name="Text Placeholder 6">
            <a:extLst>
              <a:ext uri="{FF2B5EF4-FFF2-40B4-BE49-F238E27FC236}">
                <a16:creationId xmlns:a16="http://schemas.microsoft.com/office/drawing/2014/main" id="{F2701821-5C13-4746-B598-28CE9EEFDFD0}"/>
              </a:ext>
            </a:extLst>
          </p:cNvPr>
          <p:cNvSpPr>
            <a:spLocks noGrp="1"/>
          </p:cNvSpPr>
          <p:nvPr>
            <p:ph type="body" sz="quarter" idx="30"/>
          </p:nvPr>
        </p:nvSpPr>
        <p:spPr>
          <a:xfrm>
            <a:off x="7955149" y="3384614"/>
            <a:ext cx="3715133" cy="792044"/>
          </a:xfrm>
        </p:spPr>
        <p:txBody>
          <a:bodyPr anchor="t">
            <a:normAutofit/>
          </a:bodyPr>
          <a:lstStyle>
            <a:lvl1pPr marL="179388" indent="-179388">
              <a:lnSpc>
                <a:spcPct val="110000"/>
              </a:lnSpc>
              <a:spcBef>
                <a:spcPts val="0"/>
              </a:spcBef>
              <a:spcAft>
                <a:spcPts val="600"/>
              </a:spcAft>
              <a:buFont typeface="Arial" panose="020B0604020202020204" pitchFamily="34" charset="0"/>
              <a:buChar char="•"/>
              <a:tabLst/>
              <a:defRPr sz="1400" b="1">
                <a:solidFill>
                  <a:schemeClr val="bg1"/>
                </a:solidFill>
              </a:defRPr>
            </a:lvl1pPr>
          </a:lstStyle>
          <a:p>
            <a:pPr lvl="0"/>
            <a:r>
              <a:rPr lang="en-GB"/>
              <a:t>Click to edit Master text styles</a:t>
            </a:r>
          </a:p>
        </p:txBody>
      </p:sp>
      <p:sp>
        <p:nvSpPr>
          <p:cNvPr id="29" name="Text Placeholder 6">
            <a:extLst>
              <a:ext uri="{FF2B5EF4-FFF2-40B4-BE49-F238E27FC236}">
                <a16:creationId xmlns:a16="http://schemas.microsoft.com/office/drawing/2014/main" id="{8C928579-FF9D-8E4F-912D-F44BF03ECF0E}"/>
              </a:ext>
            </a:extLst>
          </p:cNvPr>
          <p:cNvSpPr>
            <a:spLocks noGrp="1"/>
          </p:cNvSpPr>
          <p:nvPr>
            <p:ph type="body" sz="quarter" idx="31" hasCustomPrompt="1"/>
          </p:nvPr>
        </p:nvSpPr>
        <p:spPr>
          <a:xfrm>
            <a:off x="7955149" y="3034530"/>
            <a:ext cx="1917616" cy="249259"/>
          </a:xfrm>
        </p:spPr>
        <p:txBody>
          <a:bodyPr anchor="t">
            <a:normAutofit/>
          </a:bodyPr>
          <a:lstStyle>
            <a:lvl1pPr algn="l">
              <a:lnSpc>
                <a:spcPct val="110000"/>
              </a:lnSpc>
              <a:spcAft>
                <a:spcPts val="600"/>
              </a:spcAft>
              <a:defRPr sz="1600" b="1">
                <a:solidFill>
                  <a:schemeClr val="tx2">
                    <a:lumMod val="40000"/>
                    <a:lumOff val="60000"/>
                  </a:schemeClr>
                </a:solidFill>
              </a:defRPr>
            </a:lvl1pPr>
          </a:lstStyle>
          <a:p>
            <a:pPr lvl="0"/>
            <a:r>
              <a:rPr lang="en-GB"/>
              <a:t>Title</a:t>
            </a:r>
          </a:p>
        </p:txBody>
      </p:sp>
      <p:sp>
        <p:nvSpPr>
          <p:cNvPr id="30" name="Picture Placeholder 3">
            <a:extLst>
              <a:ext uri="{FF2B5EF4-FFF2-40B4-BE49-F238E27FC236}">
                <a16:creationId xmlns:a16="http://schemas.microsoft.com/office/drawing/2014/main" id="{B617E54E-8C7A-E24B-A3E6-FFD196430237}"/>
              </a:ext>
            </a:extLst>
          </p:cNvPr>
          <p:cNvSpPr>
            <a:spLocks noGrp="1"/>
          </p:cNvSpPr>
          <p:nvPr>
            <p:ph type="pic" sz="quarter" idx="32"/>
          </p:nvPr>
        </p:nvSpPr>
        <p:spPr>
          <a:xfrm>
            <a:off x="6957092" y="3218026"/>
            <a:ext cx="767874" cy="767874"/>
          </a:xfrm>
        </p:spPr>
        <p:txBody>
          <a:bodyPr anchor="ctr">
            <a:noAutofit/>
          </a:bodyPr>
          <a:lstStyle>
            <a:lvl1pPr algn="ctr">
              <a:defRPr sz="1200">
                <a:solidFill>
                  <a:schemeClr val="bg1">
                    <a:lumMod val="65000"/>
                  </a:schemeClr>
                </a:solidFill>
              </a:defRPr>
            </a:lvl1pPr>
          </a:lstStyle>
          <a:p>
            <a:r>
              <a:rPr lang="en-GB"/>
              <a:t>Click icon to add picture</a:t>
            </a:r>
          </a:p>
        </p:txBody>
      </p:sp>
      <p:sp>
        <p:nvSpPr>
          <p:cNvPr id="31" name="Round Same-side Corner of Rectangle 30">
            <a:extLst>
              <a:ext uri="{FF2B5EF4-FFF2-40B4-BE49-F238E27FC236}">
                <a16:creationId xmlns:a16="http://schemas.microsoft.com/office/drawing/2014/main" id="{468DF2F5-0340-4C4E-8BAB-B68D68BDB1CC}"/>
              </a:ext>
            </a:extLst>
          </p:cNvPr>
          <p:cNvSpPr/>
          <p:nvPr userDrawn="1"/>
        </p:nvSpPr>
        <p:spPr>
          <a:xfrm rot="5400000" flipH="1">
            <a:off x="8698709" y="-837418"/>
            <a:ext cx="1350948" cy="5635632"/>
          </a:xfrm>
          <a:prstGeom prst="round2SameRect">
            <a:avLst>
              <a:gd name="adj1" fmla="val 0"/>
              <a:gd name="adj2" fmla="val 50000"/>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solidFill>
                <a:schemeClr val="bg1">
                  <a:lumMod val="85000"/>
                </a:schemeClr>
              </a:solidFill>
              <a:latin typeface="Arial" panose="020B0604020202020204" pitchFamily="34" charset="0"/>
            </a:endParaRPr>
          </a:p>
        </p:txBody>
      </p:sp>
      <p:sp>
        <p:nvSpPr>
          <p:cNvPr id="32" name="Text Placeholder 6">
            <a:extLst>
              <a:ext uri="{FF2B5EF4-FFF2-40B4-BE49-F238E27FC236}">
                <a16:creationId xmlns:a16="http://schemas.microsoft.com/office/drawing/2014/main" id="{8297A7AF-4FD1-0044-A50C-5C0CE488521B}"/>
              </a:ext>
            </a:extLst>
          </p:cNvPr>
          <p:cNvSpPr>
            <a:spLocks noGrp="1"/>
          </p:cNvSpPr>
          <p:nvPr>
            <p:ph type="body" sz="quarter" idx="33"/>
          </p:nvPr>
        </p:nvSpPr>
        <p:spPr>
          <a:xfrm>
            <a:off x="7955149" y="1755833"/>
            <a:ext cx="3715133" cy="792044"/>
          </a:xfrm>
        </p:spPr>
        <p:txBody>
          <a:bodyPr anchor="t">
            <a:normAutofit/>
          </a:bodyPr>
          <a:lstStyle>
            <a:lvl1pPr marL="179388" indent="-179388">
              <a:lnSpc>
                <a:spcPct val="110000"/>
              </a:lnSpc>
              <a:spcBef>
                <a:spcPts val="0"/>
              </a:spcBef>
              <a:spcAft>
                <a:spcPts val="600"/>
              </a:spcAft>
              <a:buFont typeface="Arial" panose="020B0604020202020204" pitchFamily="34" charset="0"/>
              <a:buChar char="•"/>
              <a:tabLst/>
              <a:defRPr sz="1400" b="1">
                <a:solidFill>
                  <a:schemeClr val="bg1"/>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6C19D012-767E-A845-8105-4B4C4887921E}"/>
              </a:ext>
            </a:extLst>
          </p:cNvPr>
          <p:cNvSpPr>
            <a:spLocks noGrp="1"/>
          </p:cNvSpPr>
          <p:nvPr>
            <p:ph type="body" sz="quarter" idx="34" hasCustomPrompt="1"/>
          </p:nvPr>
        </p:nvSpPr>
        <p:spPr>
          <a:xfrm>
            <a:off x="7955149" y="1405749"/>
            <a:ext cx="1917616" cy="249259"/>
          </a:xfrm>
        </p:spPr>
        <p:txBody>
          <a:bodyPr anchor="t">
            <a:normAutofit/>
          </a:bodyPr>
          <a:lstStyle>
            <a:lvl1pPr algn="l">
              <a:lnSpc>
                <a:spcPct val="110000"/>
              </a:lnSpc>
              <a:spcAft>
                <a:spcPts val="600"/>
              </a:spcAft>
              <a:defRPr sz="1600" b="1">
                <a:solidFill>
                  <a:schemeClr val="tx2">
                    <a:lumMod val="40000"/>
                    <a:lumOff val="60000"/>
                  </a:schemeClr>
                </a:solidFill>
              </a:defRPr>
            </a:lvl1pPr>
          </a:lstStyle>
          <a:p>
            <a:pPr lvl="0"/>
            <a:r>
              <a:rPr lang="en-GB"/>
              <a:t>Title</a:t>
            </a:r>
          </a:p>
        </p:txBody>
      </p:sp>
      <p:sp>
        <p:nvSpPr>
          <p:cNvPr id="34" name="Picture Placeholder 3">
            <a:extLst>
              <a:ext uri="{FF2B5EF4-FFF2-40B4-BE49-F238E27FC236}">
                <a16:creationId xmlns:a16="http://schemas.microsoft.com/office/drawing/2014/main" id="{DD5DD0FD-09C0-E049-944D-E6046E4FD565}"/>
              </a:ext>
            </a:extLst>
          </p:cNvPr>
          <p:cNvSpPr>
            <a:spLocks noGrp="1"/>
          </p:cNvSpPr>
          <p:nvPr>
            <p:ph type="pic" sz="quarter" idx="35"/>
          </p:nvPr>
        </p:nvSpPr>
        <p:spPr>
          <a:xfrm>
            <a:off x="6957092" y="1589245"/>
            <a:ext cx="767874" cy="767874"/>
          </a:xfrm>
        </p:spPr>
        <p:txBody>
          <a:bodyPr anchor="ctr">
            <a:noAutofit/>
          </a:bodyPr>
          <a:lstStyle>
            <a:lvl1pPr algn="ctr">
              <a:defRPr sz="1200">
                <a:solidFill>
                  <a:schemeClr val="bg1">
                    <a:lumMod val="65000"/>
                  </a:schemeClr>
                </a:solidFill>
              </a:defRPr>
            </a:lvl1pPr>
          </a:lstStyle>
          <a:p>
            <a:r>
              <a:rPr lang="en-GB"/>
              <a:t>Click icon to add picture</a:t>
            </a:r>
          </a:p>
        </p:txBody>
      </p:sp>
    </p:spTree>
    <p:extLst>
      <p:ext uri="{BB962C8B-B14F-4D97-AF65-F5344CB8AC3E}">
        <p14:creationId xmlns:p14="http://schemas.microsoft.com/office/powerpoint/2010/main" val="2938236395"/>
      </p:ext>
    </p:extLst>
  </p:cSld>
  <p:clrMapOvr>
    <a:masterClrMapping/>
  </p:clrMapOvr>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Flow Chart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grpSp>
        <p:nvGrpSpPr>
          <p:cNvPr id="18" name="Group 17">
            <a:extLst>
              <a:ext uri="{FF2B5EF4-FFF2-40B4-BE49-F238E27FC236}">
                <a16:creationId xmlns:a16="http://schemas.microsoft.com/office/drawing/2014/main" id="{5498C8CE-3879-2F54-526A-4FB3BC35A614}"/>
              </a:ext>
            </a:extLst>
          </p:cNvPr>
          <p:cNvGrpSpPr/>
          <p:nvPr userDrawn="1"/>
        </p:nvGrpSpPr>
        <p:grpSpPr>
          <a:xfrm>
            <a:off x="506981" y="2354656"/>
            <a:ext cx="11169081" cy="3558782"/>
            <a:chOff x="506982" y="1923728"/>
            <a:chExt cx="8410120" cy="2679700"/>
          </a:xfrm>
        </p:grpSpPr>
        <p:pic>
          <p:nvPicPr>
            <p:cNvPr id="3" name="Graphic 2">
              <a:extLst>
                <a:ext uri="{FF2B5EF4-FFF2-40B4-BE49-F238E27FC236}">
                  <a16:creationId xmlns:a16="http://schemas.microsoft.com/office/drawing/2014/main" id="{FF8E22B8-C626-33CF-AF31-C216F153582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6859702" y="1923728"/>
              <a:ext cx="2057400" cy="2679700"/>
            </a:xfrm>
            <a:prstGeom prst="rect">
              <a:avLst/>
            </a:prstGeom>
          </p:spPr>
        </p:pic>
        <p:pic>
          <p:nvPicPr>
            <p:cNvPr id="5" name="Graphic 4">
              <a:extLst>
                <a:ext uri="{FF2B5EF4-FFF2-40B4-BE49-F238E27FC236}">
                  <a16:creationId xmlns:a16="http://schemas.microsoft.com/office/drawing/2014/main" id="{51CC370D-D55C-CF1D-A84D-FC3FD269EFA7}"/>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733662" y="1923728"/>
              <a:ext cx="2209800" cy="2679700"/>
            </a:xfrm>
            <a:prstGeom prst="rect">
              <a:avLst/>
            </a:prstGeom>
          </p:spPr>
        </p:pic>
        <p:pic>
          <p:nvPicPr>
            <p:cNvPr id="8" name="Graphic 7">
              <a:extLst>
                <a:ext uri="{FF2B5EF4-FFF2-40B4-BE49-F238E27FC236}">
                  <a16:creationId xmlns:a16="http://schemas.microsoft.com/office/drawing/2014/main" id="{0CF38F8D-CE10-398F-DC92-0410984D5CA9}"/>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2607622" y="1923728"/>
              <a:ext cx="2209800" cy="2679700"/>
            </a:xfrm>
            <a:prstGeom prst="rect">
              <a:avLst/>
            </a:prstGeom>
          </p:spPr>
        </p:pic>
        <p:pic>
          <p:nvPicPr>
            <p:cNvPr id="11" name="Graphic 10">
              <a:extLst>
                <a:ext uri="{FF2B5EF4-FFF2-40B4-BE49-F238E27FC236}">
                  <a16:creationId xmlns:a16="http://schemas.microsoft.com/office/drawing/2014/main" id="{71C8FE21-D454-2669-5018-BDB88B7A469E}"/>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506982" y="1923728"/>
              <a:ext cx="2184400" cy="2679700"/>
            </a:xfrm>
            <a:prstGeom prst="rect">
              <a:avLst/>
            </a:prstGeom>
          </p:spPr>
        </p:pic>
      </p:grpSp>
      <p:sp>
        <p:nvSpPr>
          <p:cNvPr id="20" name="Text Placeholder 8">
            <a:extLst>
              <a:ext uri="{FF2B5EF4-FFF2-40B4-BE49-F238E27FC236}">
                <a16:creationId xmlns:a16="http://schemas.microsoft.com/office/drawing/2014/main" id="{469A369E-3216-3A94-D069-C4212D6C5B2A}"/>
              </a:ext>
            </a:extLst>
          </p:cNvPr>
          <p:cNvSpPr>
            <a:spLocks noGrp="1"/>
          </p:cNvSpPr>
          <p:nvPr>
            <p:ph type="body" idx="13"/>
          </p:nvPr>
        </p:nvSpPr>
        <p:spPr>
          <a:xfrm>
            <a:off x="531133" y="1304925"/>
            <a:ext cx="11144930" cy="853194"/>
          </a:xfrm>
        </p:spPr>
        <p:txBody>
          <a:bodyPr numCol="1" spcCol="180000"/>
          <a:lstStyle>
            <a:lvl1pPr marL="0" indent="0">
              <a:spcAft>
                <a:spcPts val="600"/>
              </a:spcAft>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21" name="Text Placeholder 6">
            <a:extLst>
              <a:ext uri="{FF2B5EF4-FFF2-40B4-BE49-F238E27FC236}">
                <a16:creationId xmlns:a16="http://schemas.microsoft.com/office/drawing/2014/main" id="{8A9C1315-921F-285F-D6BD-A177DE53DC2E}"/>
              </a:ext>
            </a:extLst>
          </p:cNvPr>
          <p:cNvSpPr>
            <a:spLocks noGrp="1"/>
          </p:cNvSpPr>
          <p:nvPr>
            <p:ph type="body" sz="quarter" idx="15"/>
          </p:nvPr>
        </p:nvSpPr>
        <p:spPr>
          <a:xfrm>
            <a:off x="675643" y="3054704"/>
            <a:ext cx="2290922" cy="2745803"/>
          </a:xfrm>
        </p:spPr>
        <p:txBody>
          <a:bodyPr>
            <a:normAutofit/>
          </a:bodyPr>
          <a:lstStyle>
            <a:lvl1pPr marL="177800" indent="-177800">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22" name="Text Placeholder 6">
            <a:extLst>
              <a:ext uri="{FF2B5EF4-FFF2-40B4-BE49-F238E27FC236}">
                <a16:creationId xmlns:a16="http://schemas.microsoft.com/office/drawing/2014/main" id="{4F0999A6-8092-1A74-E3A2-26CC341F65C7}"/>
              </a:ext>
            </a:extLst>
          </p:cNvPr>
          <p:cNvSpPr>
            <a:spLocks noGrp="1"/>
          </p:cNvSpPr>
          <p:nvPr>
            <p:ph type="body" sz="quarter" idx="16"/>
          </p:nvPr>
        </p:nvSpPr>
        <p:spPr>
          <a:xfrm>
            <a:off x="675643" y="2501966"/>
            <a:ext cx="2290922" cy="443198"/>
          </a:xfrm>
        </p:spPr>
        <p:txBody>
          <a:bodyPr wrap="square" anchor="ctr">
            <a:noAutofit/>
          </a:bodyPr>
          <a:lstStyle>
            <a:lvl1pPr>
              <a:lnSpc>
                <a:spcPct val="90000"/>
              </a:lnSpc>
              <a:defRPr sz="2000" b="1">
                <a:solidFill>
                  <a:schemeClr val="bg2"/>
                </a:solidFill>
              </a:defRPr>
            </a:lvl1pPr>
          </a:lstStyle>
          <a:p>
            <a:pPr lvl="0"/>
            <a:r>
              <a:rPr lang="en-GB"/>
              <a:t>Click to edit Master text styles</a:t>
            </a:r>
          </a:p>
        </p:txBody>
      </p:sp>
      <p:sp>
        <p:nvSpPr>
          <p:cNvPr id="26" name="Text Placeholder 6">
            <a:extLst>
              <a:ext uri="{FF2B5EF4-FFF2-40B4-BE49-F238E27FC236}">
                <a16:creationId xmlns:a16="http://schemas.microsoft.com/office/drawing/2014/main" id="{F5E81801-D408-BD68-8EF8-821176E4315D}"/>
              </a:ext>
            </a:extLst>
          </p:cNvPr>
          <p:cNvSpPr>
            <a:spLocks noGrp="1"/>
          </p:cNvSpPr>
          <p:nvPr>
            <p:ph type="body" sz="quarter" idx="17"/>
          </p:nvPr>
        </p:nvSpPr>
        <p:spPr>
          <a:xfrm>
            <a:off x="3583362" y="3054704"/>
            <a:ext cx="2231105" cy="2745803"/>
          </a:xfrm>
        </p:spPr>
        <p:txBody>
          <a:bodyPr>
            <a:normAutofit/>
          </a:bodyPr>
          <a:lstStyle>
            <a:lvl1pPr marL="177800" indent="-177800">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27" name="Text Placeholder 6">
            <a:extLst>
              <a:ext uri="{FF2B5EF4-FFF2-40B4-BE49-F238E27FC236}">
                <a16:creationId xmlns:a16="http://schemas.microsoft.com/office/drawing/2014/main" id="{FE29D8EA-6114-4150-3B97-EAD0BB047B28}"/>
              </a:ext>
            </a:extLst>
          </p:cNvPr>
          <p:cNvSpPr>
            <a:spLocks noGrp="1"/>
          </p:cNvSpPr>
          <p:nvPr>
            <p:ph type="body" sz="quarter" idx="18"/>
          </p:nvPr>
        </p:nvSpPr>
        <p:spPr>
          <a:xfrm>
            <a:off x="3583362" y="2501966"/>
            <a:ext cx="2231105" cy="443198"/>
          </a:xfrm>
        </p:spPr>
        <p:txBody>
          <a:bodyPr wrap="square" anchor="ctr">
            <a:noAutofit/>
          </a:bodyPr>
          <a:lstStyle>
            <a:lvl1pPr>
              <a:lnSpc>
                <a:spcPct val="90000"/>
              </a:lnSpc>
              <a:defRPr sz="2000" b="1">
                <a:solidFill>
                  <a:schemeClr val="accent1"/>
                </a:solidFill>
              </a:defRPr>
            </a:lvl1pPr>
          </a:lstStyle>
          <a:p>
            <a:pPr lvl="0"/>
            <a:r>
              <a:rPr lang="en-GB"/>
              <a:t>Click to edit Master text styles</a:t>
            </a:r>
          </a:p>
        </p:txBody>
      </p:sp>
      <p:sp>
        <p:nvSpPr>
          <p:cNvPr id="28" name="Text Placeholder 6">
            <a:extLst>
              <a:ext uri="{FF2B5EF4-FFF2-40B4-BE49-F238E27FC236}">
                <a16:creationId xmlns:a16="http://schemas.microsoft.com/office/drawing/2014/main" id="{832C3EE2-E731-14E8-F235-F0DC107603F1}"/>
              </a:ext>
            </a:extLst>
          </p:cNvPr>
          <p:cNvSpPr>
            <a:spLocks noGrp="1"/>
          </p:cNvSpPr>
          <p:nvPr>
            <p:ph type="body" sz="quarter" idx="19"/>
          </p:nvPr>
        </p:nvSpPr>
        <p:spPr>
          <a:xfrm>
            <a:off x="6396559" y="3054704"/>
            <a:ext cx="2251850" cy="2745803"/>
          </a:xfrm>
        </p:spPr>
        <p:txBody>
          <a:bodyPr>
            <a:normAutofit/>
          </a:bodyPr>
          <a:lstStyle>
            <a:lvl1pPr marL="177800" indent="-177800">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29" name="Text Placeholder 6">
            <a:extLst>
              <a:ext uri="{FF2B5EF4-FFF2-40B4-BE49-F238E27FC236}">
                <a16:creationId xmlns:a16="http://schemas.microsoft.com/office/drawing/2014/main" id="{3514D2BC-4EB5-482F-640F-D4ECA3398E7B}"/>
              </a:ext>
            </a:extLst>
          </p:cNvPr>
          <p:cNvSpPr>
            <a:spLocks noGrp="1"/>
          </p:cNvSpPr>
          <p:nvPr>
            <p:ph type="body" sz="quarter" idx="20"/>
          </p:nvPr>
        </p:nvSpPr>
        <p:spPr>
          <a:xfrm>
            <a:off x="6396559" y="2501966"/>
            <a:ext cx="2251850" cy="443198"/>
          </a:xfrm>
        </p:spPr>
        <p:txBody>
          <a:bodyPr wrap="square" anchor="ctr">
            <a:noAutofit/>
          </a:bodyPr>
          <a:lstStyle>
            <a:lvl1pPr>
              <a:lnSpc>
                <a:spcPct val="90000"/>
              </a:lnSpc>
              <a:defRPr sz="2000" b="1">
                <a:solidFill>
                  <a:schemeClr val="accent4"/>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176B8D71-6027-E9D4-DE0B-4336DE4C8765}"/>
              </a:ext>
            </a:extLst>
          </p:cNvPr>
          <p:cNvSpPr>
            <a:spLocks noGrp="1"/>
          </p:cNvSpPr>
          <p:nvPr>
            <p:ph type="body" sz="quarter" idx="21"/>
          </p:nvPr>
        </p:nvSpPr>
        <p:spPr>
          <a:xfrm>
            <a:off x="9244461" y="3054704"/>
            <a:ext cx="2290922" cy="2745803"/>
          </a:xfrm>
        </p:spPr>
        <p:txBody>
          <a:bodyPr>
            <a:normAutofit/>
          </a:bodyPr>
          <a:lstStyle>
            <a:lvl1pPr marL="177800" indent="-177800">
              <a:spcAft>
                <a:spcPts val="600"/>
              </a:spcAft>
              <a:buFont typeface="Arial" panose="020B0604020202020204" pitchFamily="34" charset="0"/>
              <a:buChar char="•"/>
              <a:tabLst/>
              <a:defRPr sz="12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006DA17C-A871-793A-2C8F-F98A0EDA8ED0}"/>
              </a:ext>
            </a:extLst>
          </p:cNvPr>
          <p:cNvSpPr>
            <a:spLocks noGrp="1"/>
          </p:cNvSpPr>
          <p:nvPr>
            <p:ph type="body" sz="quarter" idx="22"/>
          </p:nvPr>
        </p:nvSpPr>
        <p:spPr>
          <a:xfrm>
            <a:off x="9244461" y="2501966"/>
            <a:ext cx="2290922" cy="443198"/>
          </a:xfrm>
        </p:spPr>
        <p:txBody>
          <a:bodyPr wrap="square" anchor="ctr">
            <a:noAutofit/>
          </a:bodyPr>
          <a:lstStyle>
            <a:lvl1pPr>
              <a:lnSpc>
                <a:spcPct val="90000"/>
              </a:lnSpc>
              <a:defRPr sz="2000" b="1">
                <a:solidFill>
                  <a:schemeClr val="accent5"/>
                </a:solidFill>
              </a:defRPr>
            </a:lvl1pPr>
          </a:lstStyle>
          <a:p>
            <a:pPr lvl="0"/>
            <a:r>
              <a:rPr lang="en-GB"/>
              <a:t>Click to edit Master text styles</a:t>
            </a:r>
          </a:p>
        </p:txBody>
      </p:sp>
    </p:spTree>
    <p:extLst>
      <p:ext uri="{BB962C8B-B14F-4D97-AF65-F5344CB8AC3E}">
        <p14:creationId xmlns:p14="http://schemas.microsoft.com/office/powerpoint/2010/main" val="3448611253"/>
      </p:ext>
    </p:extLst>
  </p:cSld>
  <p:clrMapOvr>
    <a:masterClrMapping/>
  </p:clrMapOvr>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Text + Quot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63869"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8" name="Slide Number Placeholder 2">
            <a:extLst>
              <a:ext uri="{FF2B5EF4-FFF2-40B4-BE49-F238E27FC236}">
                <a16:creationId xmlns:a16="http://schemas.microsoft.com/office/drawing/2014/main" id="{8D67BD3D-5E5B-2957-7B72-B286DEA69454}"/>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9" name="Straight Connector 18">
            <a:extLst>
              <a:ext uri="{FF2B5EF4-FFF2-40B4-BE49-F238E27FC236}">
                <a16:creationId xmlns:a16="http://schemas.microsoft.com/office/drawing/2014/main" id="{11DD0B93-9CA3-DE96-64E9-7FECBAD37972}"/>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0" name="Footer Placeholder 1">
            <a:extLst>
              <a:ext uri="{FF2B5EF4-FFF2-40B4-BE49-F238E27FC236}">
                <a16:creationId xmlns:a16="http://schemas.microsoft.com/office/drawing/2014/main" id="{F3526303-0969-95FB-D8FA-0C9E3916524B}"/>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pic>
        <p:nvPicPr>
          <p:cNvPr id="21" name="Picture 11">
            <a:extLst>
              <a:ext uri="{FF2B5EF4-FFF2-40B4-BE49-F238E27FC236}">
                <a16:creationId xmlns:a16="http://schemas.microsoft.com/office/drawing/2014/main" id="{24A4E3D3-8EF4-A80C-4780-9639C12D4E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2" name="Text Placeholder 8">
            <a:extLst>
              <a:ext uri="{FF2B5EF4-FFF2-40B4-BE49-F238E27FC236}">
                <a16:creationId xmlns:a16="http://schemas.microsoft.com/office/drawing/2014/main" id="{6DFBA0EA-6763-E017-8DB4-792094E59657}"/>
              </a:ext>
            </a:extLst>
          </p:cNvPr>
          <p:cNvSpPr>
            <a:spLocks noGrp="1"/>
          </p:cNvSpPr>
          <p:nvPr>
            <p:ph type="body" idx="21"/>
          </p:nvPr>
        </p:nvSpPr>
        <p:spPr>
          <a:xfrm>
            <a:off x="6652260" y="1304924"/>
            <a:ext cx="5033328" cy="4608501"/>
          </a:xfrm>
        </p:spPr>
        <p:txBody>
          <a:bodyPr numCol="1" spcCol="180000">
            <a:noAutofit/>
          </a:bodyPr>
          <a:lstStyle>
            <a:lvl1pPr marL="0" indent="0">
              <a:spcAft>
                <a:spcPts val="1200"/>
              </a:spcAft>
              <a:buClr>
                <a:schemeClr val="bg2"/>
              </a:buClr>
              <a:buFont typeface="Arial" panose="020B0604020202020204" pitchFamily="34" charset="0"/>
              <a:buNone/>
              <a:defRPr sz="2400" b="1">
                <a:solidFill>
                  <a:schemeClr val="accent4"/>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Tree>
    <p:extLst>
      <p:ext uri="{BB962C8B-B14F-4D97-AF65-F5344CB8AC3E}">
        <p14:creationId xmlns:p14="http://schemas.microsoft.com/office/powerpoint/2010/main" val="25703968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ext + Image 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5580063"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United Against Rabies Forum Meeting - 6-8 November 2023</a:t>
            </a:r>
            <a:endParaRPr lang="en-GB"/>
          </a:p>
        </p:txBody>
      </p:sp>
      <p:sp>
        <p:nvSpPr>
          <p:cNvPr id="5" name="Text Placeholder 4">
            <a:extLst>
              <a:ext uri="{FF2B5EF4-FFF2-40B4-BE49-F238E27FC236}">
                <a16:creationId xmlns:a16="http://schemas.microsoft.com/office/drawing/2014/main" id="{0CE04A98-CDC1-2043-A233-CAA53ED2E1A4}"/>
              </a:ext>
            </a:extLst>
          </p:cNvPr>
          <p:cNvSpPr>
            <a:spLocks noGrp="1"/>
          </p:cNvSpPr>
          <p:nvPr>
            <p:ph type="body" sz="quarter" idx="16" hasCustomPrompt="1"/>
          </p:nvPr>
        </p:nvSpPr>
        <p:spPr>
          <a:xfrm>
            <a:off x="10643129"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
        <p:nvSpPr>
          <p:cNvPr id="27" name="Picture Placeholder 26">
            <a:extLst>
              <a:ext uri="{FF2B5EF4-FFF2-40B4-BE49-F238E27FC236}">
                <a16:creationId xmlns:a16="http://schemas.microsoft.com/office/drawing/2014/main" id="{D7270696-0AB9-0445-9B12-E1B6CE40D325}"/>
              </a:ext>
            </a:extLst>
          </p:cNvPr>
          <p:cNvSpPr>
            <a:spLocks noGrp="1"/>
          </p:cNvSpPr>
          <p:nvPr>
            <p:ph type="pic" sz="quarter" idx="17"/>
          </p:nvPr>
        </p:nvSpPr>
        <p:spPr>
          <a:xfrm>
            <a:off x="5685640" y="0"/>
            <a:ext cx="6506360" cy="6858000"/>
          </a:xfrm>
          <a:custGeom>
            <a:avLst/>
            <a:gdLst>
              <a:gd name="connsiteX0" fmla="*/ 0 w 6506360"/>
              <a:gd name="connsiteY0" fmla="*/ 0 h 6858000"/>
              <a:gd name="connsiteX1" fmla="*/ 6506360 w 6506360"/>
              <a:gd name="connsiteY1" fmla="*/ 0 h 6858000"/>
              <a:gd name="connsiteX2" fmla="*/ 6506360 w 6506360"/>
              <a:gd name="connsiteY2" fmla="*/ 6858000 h 6858000"/>
              <a:gd name="connsiteX3" fmla="*/ 816590 w 6506360"/>
              <a:gd name="connsiteY3" fmla="*/ 6858000 h 6858000"/>
              <a:gd name="connsiteX4" fmla="*/ 816590 w 6506360"/>
              <a:gd name="connsiteY4" fmla="*/ 939979 h 6858000"/>
              <a:gd name="connsiteX5" fmla="*/ 57657 w 6506360"/>
              <a:gd name="connsiteY5" fmla="*/ 8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06360" h="6858000">
                <a:moveTo>
                  <a:pt x="0" y="0"/>
                </a:moveTo>
                <a:lnTo>
                  <a:pt x="6506360" y="0"/>
                </a:lnTo>
                <a:lnTo>
                  <a:pt x="6506360" y="6858000"/>
                </a:lnTo>
                <a:lnTo>
                  <a:pt x="816590" y="6858000"/>
                </a:lnTo>
                <a:lnTo>
                  <a:pt x="816590" y="939979"/>
                </a:lnTo>
                <a:cubicBezTo>
                  <a:pt x="816590" y="480656"/>
                  <a:pt x="490779" y="97429"/>
                  <a:pt x="57657" y="8800"/>
                </a:cubicBezTo>
                <a:close/>
              </a:path>
            </a:pathLst>
          </a:custGeom>
          <a:solidFill>
            <a:schemeClr val="bg1">
              <a:lumMod val="85000"/>
            </a:schemeClr>
          </a:solidFill>
        </p:spPr>
        <p:txBody>
          <a:bodyPr wrap="square" anchor="ctr">
            <a:noAutofit/>
          </a:bodyPr>
          <a:lstStyle>
            <a:lvl1pPr algn="ctr">
              <a:defRPr>
                <a:solidFill>
                  <a:schemeClr val="bg1">
                    <a:lumMod val="50000"/>
                  </a:schemeClr>
                </a:solidFill>
              </a:defRPr>
            </a:lvl1pPr>
          </a:lstStyle>
          <a:p>
            <a:r>
              <a:rPr lang="en-GB"/>
              <a:t>Click icon to add picture</a:t>
            </a:r>
          </a:p>
        </p:txBody>
      </p:sp>
      <p:sp>
        <p:nvSpPr>
          <p:cNvPr id="28" name="Text Placeholder 4">
            <a:extLst>
              <a:ext uri="{FF2B5EF4-FFF2-40B4-BE49-F238E27FC236}">
                <a16:creationId xmlns:a16="http://schemas.microsoft.com/office/drawing/2014/main" id="{7DCA613B-D18E-594C-9579-2E40707B7127}"/>
              </a:ext>
            </a:extLst>
          </p:cNvPr>
          <p:cNvSpPr>
            <a:spLocks noGrp="1"/>
          </p:cNvSpPr>
          <p:nvPr>
            <p:ph type="body" sz="quarter" idx="18" hasCustomPrompt="1"/>
          </p:nvPr>
        </p:nvSpPr>
        <p:spPr>
          <a:xfrm>
            <a:off x="10643128"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Tree>
    <p:extLst>
      <p:ext uri="{BB962C8B-B14F-4D97-AF65-F5344CB8AC3E}">
        <p14:creationId xmlns:p14="http://schemas.microsoft.com/office/powerpoint/2010/main" val="4175595743"/>
      </p:ext>
    </p:extLst>
  </p:cSld>
  <p:clrMapOvr>
    <a:masterClrMapping/>
  </p:clrMapOvr>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Text, Quote + Imag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63869"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7" name="Picture Placeholder 2">
            <a:extLst>
              <a:ext uri="{FF2B5EF4-FFF2-40B4-BE49-F238E27FC236}">
                <a16:creationId xmlns:a16="http://schemas.microsoft.com/office/drawing/2014/main" id="{D7BA9708-B496-A663-CB06-FD4F2E3602E5}"/>
              </a:ext>
            </a:extLst>
          </p:cNvPr>
          <p:cNvSpPr>
            <a:spLocks noGrp="1"/>
          </p:cNvSpPr>
          <p:nvPr>
            <p:ph type="pic" sz="quarter" idx="20"/>
          </p:nvPr>
        </p:nvSpPr>
        <p:spPr>
          <a:xfrm>
            <a:off x="6359525" y="3227929"/>
            <a:ext cx="5326063" cy="2685506"/>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18" name="Slide Number Placeholder 2">
            <a:extLst>
              <a:ext uri="{FF2B5EF4-FFF2-40B4-BE49-F238E27FC236}">
                <a16:creationId xmlns:a16="http://schemas.microsoft.com/office/drawing/2014/main" id="{8D67BD3D-5E5B-2957-7B72-B286DEA69454}"/>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9" name="Straight Connector 18">
            <a:extLst>
              <a:ext uri="{FF2B5EF4-FFF2-40B4-BE49-F238E27FC236}">
                <a16:creationId xmlns:a16="http://schemas.microsoft.com/office/drawing/2014/main" id="{11DD0B93-9CA3-DE96-64E9-7FECBAD37972}"/>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0" name="Footer Placeholder 1">
            <a:extLst>
              <a:ext uri="{FF2B5EF4-FFF2-40B4-BE49-F238E27FC236}">
                <a16:creationId xmlns:a16="http://schemas.microsoft.com/office/drawing/2014/main" id="{F3526303-0969-95FB-D8FA-0C9E3916524B}"/>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pic>
        <p:nvPicPr>
          <p:cNvPr id="21" name="Picture 11">
            <a:extLst>
              <a:ext uri="{FF2B5EF4-FFF2-40B4-BE49-F238E27FC236}">
                <a16:creationId xmlns:a16="http://schemas.microsoft.com/office/drawing/2014/main" id="{24A4E3D3-8EF4-A80C-4780-9639C12D4E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2" name="Text Placeholder 8">
            <a:extLst>
              <a:ext uri="{FF2B5EF4-FFF2-40B4-BE49-F238E27FC236}">
                <a16:creationId xmlns:a16="http://schemas.microsoft.com/office/drawing/2014/main" id="{6DFBA0EA-6763-E017-8DB4-792094E59657}"/>
              </a:ext>
            </a:extLst>
          </p:cNvPr>
          <p:cNvSpPr>
            <a:spLocks noGrp="1"/>
          </p:cNvSpPr>
          <p:nvPr>
            <p:ph type="body" idx="21"/>
          </p:nvPr>
        </p:nvSpPr>
        <p:spPr>
          <a:xfrm>
            <a:off x="6345193" y="1304925"/>
            <a:ext cx="5340395" cy="312265"/>
          </a:xfrm>
        </p:spPr>
        <p:txBody>
          <a:bodyPr numCol="1" spcCol="180000">
            <a:spAutoFit/>
          </a:bodyPr>
          <a:lstStyle>
            <a:lvl1pPr marL="0" indent="0">
              <a:spcAft>
                <a:spcPts val="600"/>
              </a:spcAft>
              <a:buClr>
                <a:schemeClr val="bg2"/>
              </a:buClr>
              <a:buFont typeface="Arial" panose="020B0604020202020204" pitchFamily="34" charset="0"/>
              <a:buNone/>
              <a:defRPr b="1">
                <a:solidFill>
                  <a:schemeClr val="accent4"/>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13" name="Text Placeholder 8">
            <a:extLst>
              <a:ext uri="{FF2B5EF4-FFF2-40B4-BE49-F238E27FC236}">
                <a16:creationId xmlns:a16="http://schemas.microsoft.com/office/drawing/2014/main" id="{4BC205A0-AF05-E822-A6D1-8E80B8895804}"/>
              </a:ext>
            </a:extLst>
          </p:cNvPr>
          <p:cNvSpPr>
            <a:spLocks noGrp="1"/>
          </p:cNvSpPr>
          <p:nvPr>
            <p:ph type="body" idx="22" hasCustomPrompt="1"/>
          </p:nvPr>
        </p:nvSpPr>
        <p:spPr>
          <a:xfrm>
            <a:off x="6345193" y="5962960"/>
            <a:ext cx="5340395" cy="140488"/>
          </a:xfrm>
        </p:spPr>
        <p:txBody>
          <a:bodyPr numCol="1" spcCol="180000">
            <a:spAutoFit/>
          </a:bodyPr>
          <a:lstStyle>
            <a:lvl1pPr marL="0" indent="0">
              <a:spcAft>
                <a:spcPts val="600"/>
              </a:spcAft>
              <a:buClr>
                <a:schemeClr val="bg2"/>
              </a:buClr>
              <a:buFont typeface="Arial" panose="020B0604020202020204" pitchFamily="34" charset="0"/>
              <a:buNone/>
              <a:defRPr sz="900" b="0">
                <a:solidFill>
                  <a:schemeClr val="bg1">
                    <a:lumMod val="65000"/>
                  </a:schemeClr>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Optional image caption</a:t>
            </a:r>
          </a:p>
        </p:txBody>
      </p:sp>
    </p:spTree>
    <p:extLst>
      <p:ext uri="{BB962C8B-B14F-4D97-AF65-F5344CB8AC3E}">
        <p14:creationId xmlns:p14="http://schemas.microsoft.com/office/powerpoint/2010/main" val="3674133620"/>
      </p:ext>
    </p:extLst>
  </p:cSld>
  <p:clrMapOvr>
    <a:masterClrMapping/>
  </p:clrMapOvr>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Text + 2 Image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3" name="Picture Placeholder 2">
            <a:extLst>
              <a:ext uri="{FF2B5EF4-FFF2-40B4-BE49-F238E27FC236}">
                <a16:creationId xmlns:a16="http://schemas.microsoft.com/office/drawing/2014/main" id="{15315BB4-CEA5-4429-26F4-D4B56B8BE141}"/>
              </a:ext>
            </a:extLst>
          </p:cNvPr>
          <p:cNvSpPr>
            <a:spLocks noGrp="1"/>
          </p:cNvSpPr>
          <p:nvPr>
            <p:ph type="pic" sz="quarter" idx="19"/>
          </p:nvPr>
        </p:nvSpPr>
        <p:spPr>
          <a:xfrm>
            <a:off x="6359525" y="368300"/>
            <a:ext cx="5326063" cy="2685505"/>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17" name="Picture Placeholder 2">
            <a:extLst>
              <a:ext uri="{FF2B5EF4-FFF2-40B4-BE49-F238E27FC236}">
                <a16:creationId xmlns:a16="http://schemas.microsoft.com/office/drawing/2014/main" id="{D7BA9708-B496-A663-CB06-FD4F2E3602E5}"/>
              </a:ext>
            </a:extLst>
          </p:cNvPr>
          <p:cNvSpPr>
            <a:spLocks noGrp="1"/>
          </p:cNvSpPr>
          <p:nvPr>
            <p:ph type="pic" sz="quarter" idx="20"/>
          </p:nvPr>
        </p:nvSpPr>
        <p:spPr>
          <a:xfrm>
            <a:off x="6359525" y="3227929"/>
            <a:ext cx="5326063" cy="2685506"/>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18" name="Slide Number Placeholder 2">
            <a:extLst>
              <a:ext uri="{FF2B5EF4-FFF2-40B4-BE49-F238E27FC236}">
                <a16:creationId xmlns:a16="http://schemas.microsoft.com/office/drawing/2014/main" id="{8D67BD3D-5E5B-2957-7B72-B286DEA69454}"/>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9" name="Straight Connector 18">
            <a:extLst>
              <a:ext uri="{FF2B5EF4-FFF2-40B4-BE49-F238E27FC236}">
                <a16:creationId xmlns:a16="http://schemas.microsoft.com/office/drawing/2014/main" id="{11DD0B93-9CA3-DE96-64E9-7FECBAD37972}"/>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0" name="Footer Placeholder 1">
            <a:extLst>
              <a:ext uri="{FF2B5EF4-FFF2-40B4-BE49-F238E27FC236}">
                <a16:creationId xmlns:a16="http://schemas.microsoft.com/office/drawing/2014/main" id="{F3526303-0969-95FB-D8FA-0C9E3916524B}"/>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pic>
        <p:nvPicPr>
          <p:cNvPr id="21" name="Picture 11">
            <a:extLst>
              <a:ext uri="{FF2B5EF4-FFF2-40B4-BE49-F238E27FC236}">
                <a16:creationId xmlns:a16="http://schemas.microsoft.com/office/drawing/2014/main" id="{24A4E3D3-8EF4-A80C-4780-9639C12D4EB2}"/>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2" name="Text Placeholder 8">
            <a:extLst>
              <a:ext uri="{FF2B5EF4-FFF2-40B4-BE49-F238E27FC236}">
                <a16:creationId xmlns:a16="http://schemas.microsoft.com/office/drawing/2014/main" id="{02F1485A-E0B4-C14E-58C4-9144A8FEE29C}"/>
              </a:ext>
            </a:extLst>
          </p:cNvPr>
          <p:cNvSpPr>
            <a:spLocks noGrp="1"/>
          </p:cNvSpPr>
          <p:nvPr>
            <p:ph type="body" idx="22" hasCustomPrompt="1"/>
          </p:nvPr>
        </p:nvSpPr>
        <p:spPr>
          <a:xfrm>
            <a:off x="6345193" y="5962960"/>
            <a:ext cx="5340395" cy="140488"/>
          </a:xfrm>
        </p:spPr>
        <p:txBody>
          <a:bodyPr numCol="1" spcCol="180000">
            <a:spAutoFit/>
          </a:bodyPr>
          <a:lstStyle>
            <a:lvl1pPr marL="0" indent="0">
              <a:spcAft>
                <a:spcPts val="600"/>
              </a:spcAft>
              <a:buClr>
                <a:schemeClr val="bg2"/>
              </a:buClr>
              <a:buFont typeface="Arial" panose="020B0604020202020204" pitchFamily="34" charset="0"/>
              <a:buNone/>
              <a:defRPr sz="900" b="0">
                <a:solidFill>
                  <a:schemeClr val="bg1">
                    <a:lumMod val="65000"/>
                  </a:schemeClr>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Optional image caption</a:t>
            </a:r>
          </a:p>
        </p:txBody>
      </p:sp>
    </p:spTree>
    <p:extLst>
      <p:ext uri="{BB962C8B-B14F-4D97-AF65-F5344CB8AC3E}">
        <p14:creationId xmlns:p14="http://schemas.microsoft.com/office/powerpoint/2010/main" val="2357463324"/>
      </p:ext>
    </p:extLst>
  </p:cSld>
  <p:clrMapOvr>
    <a:masterClrMapping/>
  </p:clrMapOvr>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Text + Image 1">
    <p:spTree>
      <p:nvGrpSpPr>
        <p:cNvPr id="1" name=""/>
        <p:cNvGrpSpPr/>
        <p:nvPr/>
      </p:nvGrpSpPr>
      <p:grpSpPr>
        <a:xfrm>
          <a:off x="0" y="0"/>
          <a:ext cx="0" cy="0"/>
          <a:chOff x="0" y="0"/>
          <a:chExt cx="0" cy="0"/>
        </a:xfrm>
      </p:grpSpPr>
      <p:sp>
        <p:nvSpPr>
          <p:cNvPr id="12" name="Picture Placeholder 27">
            <a:extLst>
              <a:ext uri="{FF2B5EF4-FFF2-40B4-BE49-F238E27FC236}">
                <a16:creationId xmlns:a16="http://schemas.microsoft.com/office/drawing/2014/main" id="{1426049D-A517-EA42-AFCA-8DDB22C6BA37}"/>
              </a:ext>
            </a:extLst>
          </p:cNvPr>
          <p:cNvSpPr>
            <a:spLocks noGrp="1"/>
          </p:cNvSpPr>
          <p:nvPr>
            <p:ph type="pic" sz="quarter" idx="15" hasCustomPrompt="1"/>
          </p:nvPr>
        </p:nvSpPr>
        <p:spPr>
          <a:xfrm>
            <a:off x="6495588" y="-10508"/>
            <a:ext cx="5711376" cy="6879020"/>
          </a:xfrm>
          <a:custGeom>
            <a:avLst/>
            <a:gdLst>
              <a:gd name="connsiteX0" fmla="*/ 0 w 7962406"/>
              <a:gd name="connsiteY0" fmla="*/ 0 h 6857999"/>
              <a:gd name="connsiteX1" fmla="*/ 7962406 w 7962406"/>
              <a:gd name="connsiteY1" fmla="*/ 0 h 6857999"/>
              <a:gd name="connsiteX2" fmla="*/ 7962406 w 7962406"/>
              <a:gd name="connsiteY2" fmla="*/ 6857999 h 6857999"/>
              <a:gd name="connsiteX3" fmla="*/ 1019785 w 7962406"/>
              <a:gd name="connsiteY3" fmla="*/ 6857999 h 6857999"/>
              <a:gd name="connsiteX4" fmla="*/ 0 w 7962406"/>
              <a:gd name="connsiteY4" fmla="*/ 5838214 h 6857999"/>
              <a:gd name="connsiteX0" fmla="*/ 0 w 7962406"/>
              <a:gd name="connsiteY0" fmla="*/ 0 h 6857999"/>
              <a:gd name="connsiteX1" fmla="*/ 6039013 w 7962406"/>
              <a:gd name="connsiteY1" fmla="*/ 84083 h 6857999"/>
              <a:gd name="connsiteX2" fmla="*/ 7962406 w 7962406"/>
              <a:gd name="connsiteY2" fmla="*/ 6857999 h 6857999"/>
              <a:gd name="connsiteX3" fmla="*/ 1019785 w 7962406"/>
              <a:gd name="connsiteY3" fmla="*/ 6857999 h 6857999"/>
              <a:gd name="connsiteX4" fmla="*/ 0 w 7962406"/>
              <a:gd name="connsiteY4" fmla="*/ 5838214 h 6857999"/>
              <a:gd name="connsiteX5" fmla="*/ 0 w 7962406"/>
              <a:gd name="connsiteY5" fmla="*/ 0 h 6857999"/>
              <a:gd name="connsiteX0" fmla="*/ 0 w 7962406"/>
              <a:gd name="connsiteY0" fmla="*/ 10510 h 6868509"/>
              <a:gd name="connsiteX1" fmla="*/ 6144117 w 7962406"/>
              <a:gd name="connsiteY1" fmla="*/ 0 h 6868509"/>
              <a:gd name="connsiteX2" fmla="*/ 7962406 w 7962406"/>
              <a:gd name="connsiteY2" fmla="*/ 6868509 h 6868509"/>
              <a:gd name="connsiteX3" fmla="*/ 1019785 w 7962406"/>
              <a:gd name="connsiteY3" fmla="*/ 6868509 h 6868509"/>
              <a:gd name="connsiteX4" fmla="*/ 0 w 7962406"/>
              <a:gd name="connsiteY4" fmla="*/ 5848724 h 6868509"/>
              <a:gd name="connsiteX5" fmla="*/ 0 w 7962406"/>
              <a:gd name="connsiteY5" fmla="*/ 10510 h 6868509"/>
              <a:gd name="connsiteX0" fmla="*/ 0 w 6144117"/>
              <a:gd name="connsiteY0" fmla="*/ 10510 h 6868509"/>
              <a:gd name="connsiteX1" fmla="*/ 6144117 w 6144117"/>
              <a:gd name="connsiteY1" fmla="*/ 0 h 6868509"/>
              <a:gd name="connsiteX2" fmla="*/ 5660640 w 6144117"/>
              <a:gd name="connsiteY2" fmla="*/ 6563709 h 6868509"/>
              <a:gd name="connsiteX3" fmla="*/ 1019785 w 6144117"/>
              <a:gd name="connsiteY3" fmla="*/ 6868509 h 6868509"/>
              <a:gd name="connsiteX4" fmla="*/ 0 w 6144117"/>
              <a:gd name="connsiteY4" fmla="*/ 5848724 h 6868509"/>
              <a:gd name="connsiteX5" fmla="*/ 0 w 6144117"/>
              <a:gd name="connsiteY5" fmla="*/ 10510 h 6868509"/>
              <a:gd name="connsiteX0" fmla="*/ 0 w 6154626"/>
              <a:gd name="connsiteY0" fmla="*/ 10510 h 6879020"/>
              <a:gd name="connsiteX1" fmla="*/ 6144117 w 6154626"/>
              <a:gd name="connsiteY1" fmla="*/ 0 h 6879020"/>
              <a:gd name="connsiteX2" fmla="*/ 6154626 w 6154626"/>
              <a:gd name="connsiteY2" fmla="*/ 6879020 h 6879020"/>
              <a:gd name="connsiteX3" fmla="*/ 1019785 w 6154626"/>
              <a:gd name="connsiteY3" fmla="*/ 6868509 h 6879020"/>
              <a:gd name="connsiteX4" fmla="*/ 0 w 6154626"/>
              <a:gd name="connsiteY4" fmla="*/ 5848724 h 6879020"/>
              <a:gd name="connsiteX5" fmla="*/ 0 w 6154626"/>
              <a:gd name="connsiteY5" fmla="*/ 10510 h 6879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54626" h="6879020">
                <a:moveTo>
                  <a:pt x="0" y="10510"/>
                </a:moveTo>
                <a:lnTo>
                  <a:pt x="6144117" y="0"/>
                </a:lnTo>
                <a:lnTo>
                  <a:pt x="6154626" y="6879020"/>
                </a:lnTo>
                <a:lnTo>
                  <a:pt x="1019785" y="6868509"/>
                </a:lnTo>
                <a:cubicBezTo>
                  <a:pt x="456573" y="6868509"/>
                  <a:pt x="0" y="6411936"/>
                  <a:pt x="0" y="5848724"/>
                </a:cubicBezTo>
                <a:lnTo>
                  <a:pt x="0" y="10510"/>
                </a:lnTo>
                <a:close/>
              </a:path>
            </a:pathLst>
          </a:custGeom>
          <a:solidFill>
            <a:schemeClr val="bg1">
              <a:lumMod val="85000"/>
            </a:schemeClr>
          </a:solidFill>
        </p:spPr>
        <p:txBody>
          <a:bodyPr wrap="square" anchor="ctr">
            <a:noAutofit/>
          </a:bodyPr>
          <a:lstStyle>
            <a:lvl1pPr marL="0" indent="0" algn="ctr">
              <a:buNone/>
              <a:defRPr>
                <a:solidFill>
                  <a:schemeClr val="bg1">
                    <a:lumMod val="50000"/>
                  </a:schemeClr>
                </a:solidFill>
              </a:defRPr>
            </a:lvl1pPr>
          </a:lstStyle>
          <a:p>
            <a:r>
              <a:rPr lang="en-GB"/>
              <a:t>Click icon to insert picture</a:t>
            </a:r>
          </a:p>
        </p:txBody>
      </p:sp>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5580063"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sp>
        <p:nvSpPr>
          <p:cNvPr id="5" name="Text Placeholder 4">
            <a:extLst>
              <a:ext uri="{FF2B5EF4-FFF2-40B4-BE49-F238E27FC236}">
                <a16:creationId xmlns:a16="http://schemas.microsoft.com/office/drawing/2014/main" id="{0CE04A98-CDC1-2043-A233-CAA53ED2E1A4}"/>
              </a:ext>
            </a:extLst>
          </p:cNvPr>
          <p:cNvSpPr>
            <a:spLocks noGrp="1"/>
          </p:cNvSpPr>
          <p:nvPr>
            <p:ph type="body" sz="quarter" idx="16" hasCustomPrompt="1"/>
          </p:nvPr>
        </p:nvSpPr>
        <p:spPr>
          <a:xfrm>
            <a:off x="10643129"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Tree>
    <p:extLst>
      <p:ext uri="{BB962C8B-B14F-4D97-AF65-F5344CB8AC3E}">
        <p14:creationId xmlns:p14="http://schemas.microsoft.com/office/powerpoint/2010/main" val="1525179815"/>
      </p:ext>
    </p:extLst>
  </p:cSld>
  <p:clrMapOvr>
    <a:masterClrMapping/>
  </p:clrMapOvr>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Text + Image 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5580063"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sp>
        <p:nvSpPr>
          <p:cNvPr id="5" name="Text Placeholder 4">
            <a:extLst>
              <a:ext uri="{FF2B5EF4-FFF2-40B4-BE49-F238E27FC236}">
                <a16:creationId xmlns:a16="http://schemas.microsoft.com/office/drawing/2014/main" id="{0CE04A98-CDC1-2043-A233-CAA53ED2E1A4}"/>
              </a:ext>
            </a:extLst>
          </p:cNvPr>
          <p:cNvSpPr>
            <a:spLocks noGrp="1"/>
          </p:cNvSpPr>
          <p:nvPr>
            <p:ph type="body" sz="quarter" idx="16" hasCustomPrompt="1"/>
          </p:nvPr>
        </p:nvSpPr>
        <p:spPr>
          <a:xfrm>
            <a:off x="10643129"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
        <p:nvSpPr>
          <p:cNvPr id="27" name="Picture Placeholder 26">
            <a:extLst>
              <a:ext uri="{FF2B5EF4-FFF2-40B4-BE49-F238E27FC236}">
                <a16:creationId xmlns:a16="http://schemas.microsoft.com/office/drawing/2014/main" id="{D7270696-0AB9-0445-9B12-E1B6CE40D325}"/>
              </a:ext>
            </a:extLst>
          </p:cNvPr>
          <p:cNvSpPr>
            <a:spLocks noGrp="1"/>
          </p:cNvSpPr>
          <p:nvPr>
            <p:ph type="pic" sz="quarter" idx="17"/>
          </p:nvPr>
        </p:nvSpPr>
        <p:spPr>
          <a:xfrm>
            <a:off x="5685640" y="0"/>
            <a:ext cx="6506360" cy="6858000"/>
          </a:xfrm>
          <a:custGeom>
            <a:avLst/>
            <a:gdLst>
              <a:gd name="connsiteX0" fmla="*/ 0 w 6506360"/>
              <a:gd name="connsiteY0" fmla="*/ 0 h 6858000"/>
              <a:gd name="connsiteX1" fmla="*/ 6506360 w 6506360"/>
              <a:gd name="connsiteY1" fmla="*/ 0 h 6858000"/>
              <a:gd name="connsiteX2" fmla="*/ 6506360 w 6506360"/>
              <a:gd name="connsiteY2" fmla="*/ 6858000 h 6858000"/>
              <a:gd name="connsiteX3" fmla="*/ 816590 w 6506360"/>
              <a:gd name="connsiteY3" fmla="*/ 6858000 h 6858000"/>
              <a:gd name="connsiteX4" fmla="*/ 816590 w 6506360"/>
              <a:gd name="connsiteY4" fmla="*/ 939979 h 6858000"/>
              <a:gd name="connsiteX5" fmla="*/ 57657 w 6506360"/>
              <a:gd name="connsiteY5" fmla="*/ 8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06360" h="6858000">
                <a:moveTo>
                  <a:pt x="0" y="0"/>
                </a:moveTo>
                <a:lnTo>
                  <a:pt x="6506360" y="0"/>
                </a:lnTo>
                <a:lnTo>
                  <a:pt x="6506360" y="6858000"/>
                </a:lnTo>
                <a:lnTo>
                  <a:pt x="816590" y="6858000"/>
                </a:lnTo>
                <a:lnTo>
                  <a:pt x="816590" y="939979"/>
                </a:lnTo>
                <a:cubicBezTo>
                  <a:pt x="816590" y="480656"/>
                  <a:pt x="490779" y="97429"/>
                  <a:pt x="57657" y="8800"/>
                </a:cubicBezTo>
                <a:close/>
              </a:path>
            </a:pathLst>
          </a:custGeom>
          <a:solidFill>
            <a:schemeClr val="bg1">
              <a:lumMod val="85000"/>
            </a:schemeClr>
          </a:solidFill>
        </p:spPr>
        <p:txBody>
          <a:bodyPr wrap="square" anchor="ctr">
            <a:noAutofit/>
          </a:bodyPr>
          <a:lstStyle>
            <a:lvl1pPr algn="ctr">
              <a:defRPr>
                <a:solidFill>
                  <a:schemeClr val="bg1">
                    <a:lumMod val="50000"/>
                  </a:schemeClr>
                </a:solidFill>
              </a:defRPr>
            </a:lvl1pPr>
          </a:lstStyle>
          <a:p>
            <a:r>
              <a:rPr lang="en-GB"/>
              <a:t>Click icon to add picture</a:t>
            </a:r>
          </a:p>
        </p:txBody>
      </p:sp>
      <p:sp>
        <p:nvSpPr>
          <p:cNvPr id="28" name="Text Placeholder 4">
            <a:extLst>
              <a:ext uri="{FF2B5EF4-FFF2-40B4-BE49-F238E27FC236}">
                <a16:creationId xmlns:a16="http://schemas.microsoft.com/office/drawing/2014/main" id="{7DCA613B-D18E-594C-9579-2E40707B7127}"/>
              </a:ext>
            </a:extLst>
          </p:cNvPr>
          <p:cNvSpPr>
            <a:spLocks noGrp="1"/>
          </p:cNvSpPr>
          <p:nvPr>
            <p:ph type="body" sz="quarter" idx="18" hasCustomPrompt="1"/>
          </p:nvPr>
        </p:nvSpPr>
        <p:spPr>
          <a:xfrm>
            <a:off x="10643128"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Tree>
    <p:extLst>
      <p:ext uri="{BB962C8B-B14F-4D97-AF65-F5344CB8AC3E}">
        <p14:creationId xmlns:p14="http://schemas.microsoft.com/office/powerpoint/2010/main" val="3483727698"/>
      </p:ext>
    </p:extLst>
  </p:cSld>
  <p:clrMapOvr>
    <a:masterClrMapping/>
  </p:clrMapOvr>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Quote + Imag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5580063"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sp>
        <p:nvSpPr>
          <p:cNvPr id="5" name="Text Placeholder 4">
            <a:extLst>
              <a:ext uri="{FF2B5EF4-FFF2-40B4-BE49-F238E27FC236}">
                <a16:creationId xmlns:a16="http://schemas.microsoft.com/office/drawing/2014/main" id="{0CE04A98-CDC1-2043-A233-CAA53ED2E1A4}"/>
              </a:ext>
            </a:extLst>
          </p:cNvPr>
          <p:cNvSpPr>
            <a:spLocks noGrp="1"/>
          </p:cNvSpPr>
          <p:nvPr>
            <p:ph type="body" sz="quarter" idx="16" hasCustomPrompt="1"/>
          </p:nvPr>
        </p:nvSpPr>
        <p:spPr>
          <a:xfrm>
            <a:off x="10643129"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
        <p:nvSpPr>
          <p:cNvPr id="27" name="Picture Placeholder 26">
            <a:extLst>
              <a:ext uri="{FF2B5EF4-FFF2-40B4-BE49-F238E27FC236}">
                <a16:creationId xmlns:a16="http://schemas.microsoft.com/office/drawing/2014/main" id="{D7270696-0AB9-0445-9B12-E1B6CE40D325}"/>
              </a:ext>
            </a:extLst>
          </p:cNvPr>
          <p:cNvSpPr>
            <a:spLocks noGrp="1"/>
          </p:cNvSpPr>
          <p:nvPr>
            <p:ph type="pic" sz="quarter" idx="17"/>
          </p:nvPr>
        </p:nvSpPr>
        <p:spPr>
          <a:xfrm>
            <a:off x="5685640" y="0"/>
            <a:ext cx="6506360" cy="6858000"/>
          </a:xfrm>
          <a:custGeom>
            <a:avLst/>
            <a:gdLst>
              <a:gd name="connsiteX0" fmla="*/ 0 w 6506360"/>
              <a:gd name="connsiteY0" fmla="*/ 0 h 6858000"/>
              <a:gd name="connsiteX1" fmla="*/ 6506360 w 6506360"/>
              <a:gd name="connsiteY1" fmla="*/ 0 h 6858000"/>
              <a:gd name="connsiteX2" fmla="*/ 6506360 w 6506360"/>
              <a:gd name="connsiteY2" fmla="*/ 6858000 h 6858000"/>
              <a:gd name="connsiteX3" fmla="*/ 816590 w 6506360"/>
              <a:gd name="connsiteY3" fmla="*/ 6858000 h 6858000"/>
              <a:gd name="connsiteX4" fmla="*/ 816590 w 6506360"/>
              <a:gd name="connsiteY4" fmla="*/ 939979 h 6858000"/>
              <a:gd name="connsiteX5" fmla="*/ 57657 w 6506360"/>
              <a:gd name="connsiteY5" fmla="*/ 8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06360" h="6858000">
                <a:moveTo>
                  <a:pt x="0" y="0"/>
                </a:moveTo>
                <a:lnTo>
                  <a:pt x="6506360" y="0"/>
                </a:lnTo>
                <a:lnTo>
                  <a:pt x="6506360" y="6858000"/>
                </a:lnTo>
                <a:lnTo>
                  <a:pt x="816590" y="6858000"/>
                </a:lnTo>
                <a:lnTo>
                  <a:pt x="816590" y="939979"/>
                </a:lnTo>
                <a:cubicBezTo>
                  <a:pt x="816590" y="480656"/>
                  <a:pt x="490779" y="97429"/>
                  <a:pt x="57657" y="8800"/>
                </a:cubicBezTo>
                <a:close/>
              </a:path>
            </a:pathLst>
          </a:custGeom>
          <a:solidFill>
            <a:schemeClr val="bg1">
              <a:lumMod val="85000"/>
            </a:schemeClr>
          </a:solidFill>
        </p:spPr>
        <p:txBody>
          <a:bodyPr wrap="square" anchor="ctr">
            <a:noAutofit/>
          </a:bodyPr>
          <a:lstStyle>
            <a:lvl1pPr algn="ctr">
              <a:defRPr>
                <a:solidFill>
                  <a:schemeClr val="bg1">
                    <a:lumMod val="50000"/>
                  </a:schemeClr>
                </a:solidFill>
              </a:defRPr>
            </a:lvl1pPr>
          </a:lstStyle>
          <a:p>
            <a:r>
              <a:rPr lang="en-GB"/>
              <a:t>Click icon to add picture</a:t>
            </a:r>
          </a:p>
        </p:txBody>
      </p:sp>
      <p:sp>
        <p:nvSpPr>
          <p:cNvPr id="28" name="Text Placeholder 4">
            <a:extLst>
              <a:ext uri="{FF2B5EF4-FFF2-40B4-BE49-F238E27FC236}">
                <a16:creationId xmlns:a16="http://schemas.microsoft.com/office/drawing/2014/main" id="{7DCA613B-D18E-594C-9579-2E40707B7127}"/>
              </a:ext>
            </a:extLst>
          </p:cNvPr>
          <p:cNvSpPr>
            <a:spLocks noGrp="1"/>
          </p:cNvSpPr>
          <p:nvPr>
            <p:ph type="body" sz="quarter" idx="18" hasCustomPrompt="1"/>
          </p:nvPr>
        </p:nvSpPr>
        <p:spPr>
          <a:xfrm>
            <a:off x="10643128"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
        <p:nvSpPr>
          <p:cNvPr id="12" name="Text Placeholder 8">
            <a:extLst>
              <a:ext uri="{FF2B5EF4-FFF2-40B4-BE49-F238E27FC236}">
                <a16:creationId xmlns:a16="http://schemas.microsoft.com/office/drawing/2014/main" id="{E2F4BDEF-FEFC-0BDD-3EB4-7710855ED6AB}"/>
              </a:ext>
            </a:extLst>
          </p:cNvPr>
          <p:cNvSpPr>
            <a:spLocks noGrp="1"/>
          </p:cNvSpPr>
          <p:nvPr>
            <p:ph type="body" idx="21"/>
          </p:nvPr>
        </p:nvSpPr>
        <p:spPr>
          <a:xfrm>
            <a:off x="515937" y="1329378"/>
            <a:ext cx="5580062" cy="4637076"/>
          </a:xfrm>
        </p:spPr>
        <p:txBody>
          <a:bodyPr numCol="1" spcCol="180000" anchor="t">
            <a:noAutofit/>
          </a:bodyPr>
          <a:lstStyle>
            <a:lvl1pPr marL="0" indent="0">
              <a:lnSpc>
                <a:spcPct val="100000"/>
              </a:lnSpc>
              <a:spcAft>
                <a:spcPts val="1800"/>
              </a:spcAft>
              <a:buClr>
                <a:schemeClr val="bg2"/>
              </a:buClr>
              <a:buFont typeface="Arial" panose="020B0604020202020204" pitchFamily="34" charset="0"/>
              <a:buNone/>
              <a:defRPr sz="2800" b="1">
                <a:solidFill>
                  <a:schemeClr val="accent4"/>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16" name="Title Placeholder 1">
            <a:extLst>
              <a:ext uri="{FF2B5EF4-FFF2-40B4-BE49-F238E27FC236}">
                <a16:creationId xmlns:a16="http://schemas.microsoft.com/office/drawing/2014/main" id="{D7D9C6B7-7323-827F-E01F-2EFDCE721461}"/>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Tree>
    <p:extLst>
      <p:ext uri="{BB962C8B-B14F-4D97-AF65-F5344CB8AC3E}">
        <p14:creationId xmlns:p14="http://schemas.microsoft.com/office/powerpoint/2010/main" val="1206775848"/>
      </p:ext>
    </p:extLst>
  </p:cSld>
  <p:clrMapOvr>
    <a:masterClrMapping/>
  </p:clrMapOvr>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Sections + Images x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8" y="4360961"/>
            <a:ext cx="5234437" cy="1538516"/>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8" y="3915591"/>
            <a:ext cx="5234437" cy="281103"/>
          </a:xfrm>
        </p:spPr>
        <p:txBody>
          <a:bodyPr wrap="square">
            <a:spAutoFit/>
          </a:bodyPr>
          <a:lstStyle>
            <a:lvl1pPr>
              <a:defRPr sz="1800" b="1">
                <a:solidFill>
                  <a:schemeClr val="bg2"/>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A5AC520F-8595-0F44-99A9-F0873ACA435F}"/>
              </a:ext>
            </a:extLst>
          </p:cNvPr>
          <p:cNvSpPr>
            <a:spLocks noGrp="1"/>
          </p:cNvSpPr>
          <p:nvPr>
            <p:ph type="body" sz="quarter" idx="18"/>
          </p:nvPr>
        </p:nvSpPr>
        <p:spPr>
          <a:xfrm>
            <a:off x="6441625" y="4360961"/>
            <a:ext cx="5234437" cy="1538516"/>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6441625" y="3915591"/>
            <a:ext cx="5234437" cy="281103"/>
          </a:xfrm>
        </p:spPr>
        <p:txBody>
          <a:bodyPr wrap="square">
            <a:spAutoFit/>
          </a:bodyPr>
          <a:lstStyle>
            <a:lvl1pPr>
              <a:defRPr sz="1800" b="1">
                <a:solidFill>
                  <a:schemeClr val="bg2"/>
                </a:solidFill>
              </a:defRPr>
            </a:lvl1pPr>
          </a:lstStyle>
          <a:p>
            <a:pPr lvl="0"/>
            <a:r>
              <a:rPr lang="en-GB"/>
              <a:t>Click to edit Master text styles</a:t>
            </a:r>
          </a:p>
        </p:txBody>
      </p:sp>
      <p:sp>
        <p:nvSpPr>
          <p:cNvPr id="17" name="Picture Placeholder 2">
            <a:extLst>
              <a:ext uri="{FF2B5EF4-FFF2-40B4-BE49-F238E27FC236}">
                <a16:creationId xmlns:a16="http://schemas.microsoft.com/office/drawing/2014/main" id="{4EF54ED7-3E2F-C8F7-553C-1DB155F7DBDC}"/>
              </a:ext>
            </a:extLst>
          </p:cNvPr>
          <p:cNvSpPr>
            <a:spLocks noGrp="1"/>
          </p:cNvSpPr>
          <p:nvPr>
            <p:ph type="pic" sz="quarter" idx="23"/>
          </p:nvPr>
        </p:nvSpPr>
        <p:spPr>
          <a:xfrm>
            <a:off x="515938" y="1304924"/>
            <a:ext cx="5234438" cy="2400167"/>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23" name="Picture Placeholder 2">
            <a:extLst>
              <a:ext uri="{FF2B5EF4-FFF2-40B4-BE49-F238E27FC236}">
                <a16:creationId xmlns:a16="http://schemas.microsoft.com/office/drawing/2014/main" id="{BCF59FD3-6B56-67EF-C1E8-78C92005D9AE}"/>
              </a:ext>
            </a:extLst>
          </p:cNvPr>
          <p:cNvSpPr>
            <a:spLocks noGrp="1"/>
          </p:cNvSpPr>
          <p:nvPr>
            <p:ph type="pic" sz="quarter" idx="24"/>
          </p:nvPr>
        </p:nvSpPr>
        <p:spPr>
          <a:xfrm>
            <a:off x="6441625" y="1304924"/>
            <a:ext cx="5234438" cy="2400167"/>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Tree>
    <p:extLst>
      <p:ext uri="{BB962C8B-B14F-4D97-AF65-F5344CB8AC3E}">
        <p14:creationId xmlns:p14="http://schemas.microsoft.com/office/powerpoint/2010/main" val="776526015"/>
      </p:ext>
    </p:extLst>
  </p:cSld>
  <p:clrMapOvr>
    <a:masterClrMapping/>
  </p:clrMapOvr>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Sections + Image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9" y="3726649"/>
            <a:ext cx="3287436" cy="2121010"/>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3281279"/>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A5AC520F-8595-0F44-99A9-F0873ACA435F}"/>
              </a:ext>
            </a:extLst>
          </p:cNvPr>
          <p:cNvSpPr>
            <a:spLocks noGrp="1"/>
          </p:cNvSpPr>
          <p:nvPr>
            <p:ph type="body" sz="quarter" idx="18"/>
          </p:nvPr>
        </p:nvSpPr>
        <p:spPr>
          <a:xfrm>
            <a:off x="4452282" y="3726649"/>
            <a:ext cx="3287436" cy="2121010"/>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4452282" y="3281279"/>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AD30B9DC-1666-7446-9DFD-F674A273B468}"/>
              </a:ext>
            </a:extLst>
          </p:cNvPr>
          <p:cNvSpPr>
            <a:spLocks noGrp="1"/>
          </p:cNvSpPr>
          <p:nvPr>
            <p:ph type="body" sz="quarter" idx="21"/>
          </p:nvPr>
        </p:nvSpPr>
        <p:spPr>
          <a:xfrm>
            <a:off x="8382846" y="3733177"/>
            <a:ext cx="3287436" cy="2121010"/>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C7816D18-C579-DE44-B3B4-5D38198139F6}"/>
              </a:ext>
            </a:extLst>
          </p:cNvPr>
          <p:cNvSpPr>
            <a:spLocks noGrp="1"/>
          </p:cNvSpPr>
          <p:nvPr>
            <p:ph type="body" sz="quarter" idx="22"/>
          </p:nvPr>
        </p:nvSpPr>
        <p:spPr>
          <a:xfrm>
            <a:off x="8382846" y="3287807"/>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17" name="Picture Placeholder 2">
            <a:extLst>
              <a:ext uri="{FF2B5EF4-FFF2-40B4-BE49-F238E27FC236}">
                <a16:creationId xmlns:a16="http://schemas.microsoft.com/office/drawing/2014/main" id="{4EF54ED7-3E2F-C8F7-553C-1DB155F7DBDC}"/>
              </a:ext>
            </a:extLst>
          </p:cNvPr>
          <p:cNvSpPr>
            <a:spLocks noGrp="1"/>
          </p:cNvSpPr>
          <p:nvPr>
            <p:ph type="pic" sz="quarter" idx="23"/>
          </p:nvPr>
        </p:nvSpPr>
        <p:spPr>
          <a:xfrm>
            <a:off x="515938" y="1304925"/>
            <a:ext cx="3287437" cy="1826421"/>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23" name="Picture Placeholder 2">
            <a:extLst>
              <a:ext uri="{FF2B5EF4-FFF2-40B4-BE49-F238E27FC236}">
                <a16:creationId xmlns:a16="http://schemas.microsoft.com/office/drawing/2014/main" id="{BCF59FD3-6B56-67EF-C1E8-78C92005D9AE}"/>
              </a:ext>
            </a:extLst>
          </p:cNvPr>
          <p:cNvSpPr>
            <a:spLocks noGrp="1"/>
          </p:cNvSpPr>
          <p:nvPr>
            <p:ph type="pic" sz="quarter" idx="24"/>
          </p:nvPr>
        </p:nvSpPr>
        <p:spPr>
          <a:xfrm>
            <a:off x="4452281" y="1304925"/>
            <a:ext cx="3287437" cy="1826421"/>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24" name="Picture Placeholder 2">
            <a:extLst>
              <a:ext uri="{FF2B5EF4-FFF2-40B4-BE49-F238E27FC236}">
                <a16:creationId xmlns:a16="http://schemas.microsoft.com/office/drawing/2014/main" id="{AA59D731-0D13-EB6C-7B10-1B59D3D8C5AA}"/>
              </a:ext>
            </a:extLst>
          </p:cNvPr>
          <p:cNvSpPr>
            <a:spLocks noGrp="1"/>
          </p:cNvSpPr>
          <p:nvPr>
            <p:ph type="pic" sz="quarter" idx="25"/>
          </p:nvPr>
        </p:nvSpPr>
        <p:spPr>
          <a:xfrm>
            <a:off x="8388626" y="1304925"/>
            <a:ext cx="3287437" cy="1826421"/>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Tree>
    <p:extLst>
      <p:ext uri="{BB962C8B-B14F-4D97-AF65-F5344CB8AC3E}">
        <p14:creationId xmlns:p14="http://schemas.microsoft.com/office/powerpoint/2010/main" val="751421340"/>
      </p:ext>
    </p:extLst>
  </p:cSld>
  <p:clrMapOvr>
    <a:masterClrMapping/>
  </p:clrMapOvr>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Key Stat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4050217"/>
            <a:ext cx="3287436" cy="1188251"/>
          </a:xfrm>
        </p:spPr>
        <p:txBody>
          <a:bodyPr>
            <a:noAutofit/>
          </a:bodyPr>
          <a:lstStyle>
            <a:lvl1pPr>
              <a:defRPr sz="1800" b="1">
                <a:solidFill>
                  <a:schemeClr val="bg2"/>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4452282" y="4050217"/>
            <a:ext cx="3287436" cy="1188251"/>
          </a:xfrm>
        </p:spPr>
        <p:txBody>
          <a:bodyPr>
            <a:noAutofit/>
          </a:bodyPr>
          <a:lstStyle>
            <a:lvl1pPr>
              <a:defRPr sz="1800" b="1">
                <a:solidFill>
                  <a:schemeClr val="bg2"/>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C7816D18-C579-DE44-B3B4-5D38198139F6}"/>
              </a:ext>
            </a:extLst>
          </p:cNvPr>
          <p:cNvSpPr>
            <a:spLocks noGrp="1"/>
          </p:cNvSpPr>
          <p:nvPr>
            <p:ph type="body" sz="quarter" idx="22"/>
          </p:nvPr>
        </p:nvSpPr>
        <p:spPr>
          <a:xfrm>
            <a:off x="8382846" y="4056745"/>
            <a:ext cx="3287436" cy="1188251"/>
          </a:xfrm>
        </p:spPr>
        <p:txBody>
          <a:bodyPr>
            <a:noAutofit/>
          </a:bodyPr>
          <a:lstStyle>
            <a:lvl1pPr>
              <a:defRPr sz="1800" b="1">
                <a:solidFill>
                  <a:schemeClr val="bg2"/>
                </a:solidFill>
              </a:defRPr>
            </a:lvl1pPr>
          </a:lstStyle>
          <a:p>
            <a:pPr lvl="0"/>
            <a:r>
              <a:rPr lang="en-GB"/>
              <a:t>Click to edit Master text styles</a:t>
            </a:r>
          </a:p>
        </p:txBody>
      </p:sp>
      <p:sp>
        <p:nvSpPr>
          <p:cNvPr id="17" name="Text Placeholder 6">
            <a:extLst>
              <a:ext uri="{FF2B5EF4-FFF2-40B4-BE49-F238E27FC236}">
                <a16:creationId xmlns:a16="http://schemas.microsoft.com/office/drawing/2014/main" id="{B0250E06-295E-B6E6-95C4-089EF7886C76}"/>
              </a:ext>
            </a:extLst>
          </p:cNvPr>
          <p:cNvSpPr>
            <a:spLocks noGrp="1"/>
          </p:cNvSpPr>
          <p:nvPr>
            <p:ph type="body" sz="quarter" idx="25" hasCustomPrompt="1"/>
          </p:nvPr>
        </p:nvSpPr>
        <p:spPr>
          <a:xfrm>
            <a:off x="515939" y="2881801"/>
            <a:ext cx="3287436" cy="1115264"/>
          </a:xfrm>
        </p:spPr>
        <p:txBody>
          <a:bodyPr anchor="b">
            <a:normAutofit/>
          </a:bodyPr>
          <a:lstStyle>
            <a:lvl1pPr>
              <a:defRPr sz="6600" b="1">
                <a:solidFill>
                  <a:schemeClr val="bg2"/>
                </a:solidFill>
              </a:defRPr>
            </a:lvl1pPr>
          </a:lstStyle>
          <a:p>
            <a:pPr lvl="0"/>
            <a:r>
              <a:rPr lang="en-GB"/>
              <a:t>XXXX</a:t>
            </a:r>
          </a:p>
        </p:txBody>
      </p:sp>
      <p:sp>
        <p:nvSpPr>
          <p:cNvPr id="23" name="Text Placeholder 6">
            <a:extLst>
              <a:ext uri="{FF2B5EF4-FFF2-40B4-BE49-F238E27FC236}">
                <a16:creationId xmlns:a16="http://schemas.microsoft.com/office/drawing/2014/main" id="{41638B5E-8DB0-EAFF-0CF3-8812AF05A9BF}"/>
              </a:ext>
            </a:extLst>
          </p:cNvPr>
          <p:cNvSpPr>
            <a:spLocks noGrp="1"/>
          </p:cNvSpPr>
          <p:nvPr>
            <p:ph type="body" sz="quarter" idx="26" hasCustomPrompt="1"/>
          </p:nvPr>
        </p:nvSpPr>
        <p:spPr>
          <a:xfrm>
            <a:off x="4449392" y="2881801"/>
            <a:ext cx="3287436" cy="1115264"/>
          </a:xfrm>
        </p:spPr>
        <p:txBody>
          <a:bodyPr anchor="b">
            <a:normAutofit/>
          </a:bodyPr>
          <a:lstStyle>
            <a:lvl1pPr>
              <a:defRPr sz="6600" b="1">
                <a:solidFill>
                  <a:schemeClr val="bg2"/>
                </a:solidFill>
              </a:defRPr>
            </a:lvl1pPr>
          </a:lstStyle>
          <a:p>
            <a:pPr lvl="0"/>
            <a:r>
              <a:rPr lang="en-GB"/>
              <a:t>XXXX</a:t>
            </a:r>
          </a:p>
        </p:txBody>
      </p:sp>
      <p:sp>
        <p:nvSpPr>
          <p:cNvPr id="24" name="Text Placeholder 6">
            <a:extLst>
              <a:ext uri="{FF2B5EF4-FFF2-40B4-BE49-F238E27FC236}">
                <a16:creationId xmlns:a16="http://schemas.microsoft.com/office/drawing/2014/main" id="{248EBF9A-10A9-92FA-05B2-3A9523883401}"/>
              </a:ext>
            </a:extLst>
          </p:cNvPr>
          <p:cNvSpPr>
            <a:spLocks noGrp="1"/>
          </p:cNvSpPr>
          <p:nvPr>
            <p:ph type="body" sz="quarter" idx="27" hasCustomPrompt="1"/>
          </p:nvPr>
        </p:nvSpPr>
        <p:spPr>
          <a:xfrm>
            <a:off x="8382846" y="2881801"/>
            <a:ext cx="3287436" cy="1115264"/>
          </a:xfrm>
        </p:spPr>
        <p:txBody>
          <a:bodyPr anchor="b">
            <a:normAutofit/>
          </a:bodyPr>
          <a:lstStyle>
            <a:lvl1pPr>
              <a:defRPr sz="6600" b="1">
                <a:solidFill>
                  <a:schemeClr val="bg2"/>
                </a:solidFill>
              </a:defRPr>
            </a:lvl1pPr>
          </a:lstStyle>
          <a:p>
            <a:pPr lvl="0"/>
            <a:r>
              <a:rPr lang="en-GB"/>
              <a:t>XXXX</a:t>
            </a:r>
          </a:p>
        </p:txBody>
      </p:sp>
      <p:sp>
        <p:nvSpPr>
          <p:cNvPr id="20" name="Text Placeholder 8">
            <a:extLst>
              <a:ext uri="{FF2B5EF4-FFF2-40B4-BE49-F238E27FC236}">
                <a16:creationId xmlns:a16="http://schemas.microsoft.com/office/drawing/2014/main" id="{D2E71522-4C4D-EAC4-2A71-F45B1F18D569}"/>
              </a:ext>
            </a:extLst>
          </p:cNvPr>
          <p:cNvSpPr>
            <a:spLocks noGrp="1"/>
          </p:cNvSpPr>
          <p:nvPr>
            <p:ph type="body" idx="13"/>
          </p:nvPr>
        </p:nvSpPr>
        <p:spPr>
          <a:xfrm>
            <a:off x="531133" y="1304925"/>
            <a:ext cx="11144930" cy="1369692"/>
          </a:xfrm>
        </p:spPr>
        <p:txBody>
          <a:bodyPr numCol="1" spcCol="180000">
            <a:normAutofit/>
          </a:bodyPr>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Tree>
    <p:extLst>
      <p:ext uri="{BB962C8B-B14F-4D97-AF65-F5344CB8AC3E}">
        <p14:creationId xmlns:p14="http://schemas.microsoft.com/office/powerpoint/2010/main" val="2499324490"/>
      </p:ext>
    </p:extLst>
  </p:cSld>
  <p:clrMapOvr>
    <a:masterClrMapping/>
  </p:clrMapOvr>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Key Stats x5">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62" name="Title Placeholder 1">
            <a:extLst>
              <a:ext uri="{FF2B5EF4-FFF2-40B4-BE49-F238E27FC236}">
                <a16:creationId xmlns:a16="http://schemas.microsoft.com/office/drawing/2014/main" id="{14F0825D-90B8-6120-7F14-9DC0960BC9E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63" name="Text Placeholder 6">
            <a:extLst>
              <a:ext uri="{FF2B5EF4-FFF2-40B4-BE49-F238E27FC236}">
                <a16:creationId xmlns:a16="http://schemas.microsoft.com/office/drawing/2014/main" id="{AF40E274-F0AF-0436-1F33-86E04DCC0DAA}"/>
              </a:ext>
            </a:extLst>
          </p:cNvPr>
          <p:cNvSpPr>
            <a:spLocks noGrp="1"/>
          </p:cNvSpPr>
          <p:nvPr>
            <p:ph type="body" sz="quarter" idx="25" hasCustomPrompt="1"/>
          </p:nvPr>
        </p:nvSpPr>
        <p:spPr>
          <a:xfrm>
            <a:off x="515939" y="2931453"/>
            <a:ext cx="2007342" cy="844151"/>
          </a:xfrm>
        </p:spPr>
        <p:txBody>
          <a:bodyPr anchor="b">
            <a:normAutofit/>
          </a:bodyPr>
          <a:lstStyle>
            <a:lvl1pPr>
              <a:defRPr sz="4600" b="1">
                <a:solidFill>
                  <a:schemeClr val="bg2"/>
                </a:solidFill>
              </a:defRPr>
            </a:lvl1pPr>
          </a:lstStyle>
          <a:p>
            <a:pPr lvl="0"/>
            <a:r>
              <a:rPr lang="en-GB"/>
              <a:t>XXXXX</a:t>
            </a:r>
          </a:p>
        </p:txBody>
      </p:sp>
      <p:sp>
        <p:nvSpPr>
          <p:cNvPr id="64" name="Text Placeholder 8">
            <a:extLst>
              <a:ext uri="{FF2B5EF4-FFF2-40B4-BE49-F238E27FC236}">
                <a16:creationId xmlns:a16="http://schemas.microsoft.com/office/drawing/2014/main" id="{DB2C3DC3-9DBF-095B-1AEB-4513EE50C647}"/>
              </a:ext>
            </a:extLst>
          </p:cNvPr>
          <p:cNvSpPr>
            <a:spLocks noGrp="1"/>
          </p:cNvSpPr>
          <p:nvPr>
            <p:ph type="body" idx="13"/>
          </p:nvPr>
        </p:nvSpPr>
        <p:spPr>
          <a:xfrm>
            <a:off x="531133" y="1304924"/>
            <a:ext cx="11144930" cy="1566849"/>
          </a:xfrm>
        </p:spPr>
        <p:txBody>
          <a:bodyPr numCol="1" spcCol="180000">
            <a:normAutofit/>
          </a:bodyPr>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65" name="Text Placeholder 6">
            <a:extLst>
              <a:ext uri="{FF2B5EF4-FFF2-40B4-BE49-F238E27FC236}">
                <a16:creationId xmlns:a16="http://schemas.microsoft.com/office/drawing/2014/main" id="{EBBD32EE-C0FF-E8CB-43E3-315A609AEFE7}"/>
              </a:ext>
            </a:extLst>
          </p:cNvPr>
          <p:cNvSpPr>
            <a:spLocks noGrp="1"/>
          </p:cNvSpPr>
          <p:nvPr>
            <p:ph type="body" sz="quarter" idx="16"/>
          </p:nvPr>
        </p:nvSpPr>
        <p:spPr>
          <a:xfrm>
            <a:off x="515939"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6" name="Text Placeholder 6">
            <a:extLst>
              <a:ext uri="{FF2B5EF4-FFF2-40B4-BE49-F238E27FC236}">
                <a16:creationId xmlns:a16="http://schemas.microsoft.com/office/drawing/2014/main" id="{9E2EB64B-500A-8201-8F3F-287FDE60FB19}"/>
              </a:ext>
            </a:extLst>
          </p:cNvPr>
          <p:cNvSpPr>
            <a:spLocks noGrp="1"/>
          </p:cNvSpPr>
          <p:nvPr>
            <p:ph type="body" sz="quarter" idx="19"/>
          </p:nvPr>
        </p:nvSpPr>
        <p:spPr>
          <a:xfrm>
            <a:off x="2802689"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7" name="Text Placeholder 6">
            <a:extLst>
              <a:ext uri="{FF2B5EF4-FFF2-40B4-BE49-F238E27FC236}">
                <a16:creationId xmlns:a16="http://schemas.microsoft.com/office/drawing/2014/main" id="{709BC01A-3AFB-CE31-0E4A-EE885FE2D5A4}"/>
              </a:ext>
            </a:extLst>
          </p:cNvPr>
          <p:cNvSpPr>
            <a:spLocks noGrp="1"/>
          </p:cNvSpPr>
          <p:nvPr>
            <p:ph type="body" sz="quarter" idx="22"/>
          </p:nvPr>
        </p:nvSpPr>
        <p:spPr>
          <a:xfrm>
            <a:off x="5089439"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8" name="Text Placeholder 6">
            <a:extLst>
              <a:ext uri="{FF2B5EF4-FFF2-40B4-BE49-F238E27FC236}">
                <a16:creationId xmlns:a16="http://schemas.microsoft.com/office/drawing/2014/main" id="{CD03EE5B-6B86-7B77-E541-93CE05115235}"/>
              </a:ext>
            </a:extLst>
          </p:cNvPr>
          <p:cNvSpPr>
            <a:spLocks noGrp="1"/>
          </p:cNvSpPr>
          <p:nvPr>
            <p:ph type="body" sz="quarter" idx="28"/>
          </p:nvPr>
        </p:nvSpPr>
        <p:spPr>
          <a:xfrm>
            <a:off x="7376189"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9" name="Text Placeholder 6">
            <a:extLst>
              <a:ext uri="{FF2B5EF4-FFF2-40B4-BE49-F238E27FC236}">
                <a16:creationId xmlns:a16="http://schemas.microsoft.com/office/drawing/2014/main" id="{F9CB884D-6999-7DC7-1825-FC60BEC935BD}"/>
              </a:ext>
            </a:extLst>
          </p:cNvPr>
          <p:cNvSpPr>
            <a:spLocks noGrp="1"/>
          </p:cNvSpPr>
          <p:nvPr>
            <p:ph type="body" sz="quarter" idx="29"/>
          </p:nvPr>
        </p:nvSpPr>
        <p:spPr>
          <a:xfrm>
            <a:off x="9662940"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70" name="Text Placeholder 6">
            <a:extLst>
              <a:ext uri="{FF2B5EF4-FFF2-40B4-BE49-F238E27FC236}">
                <a16:creationId xmlns:a16="http://schemas.microsoft.com/office/drawing/2014/main" id="{F03D69DA-4061-E20B-1262-8A9F09B92D26}"/>
              </a:ext>
            </a:extLst>
          </p:cNvPr>
          <p:cNvSpPr>
            <a:spLocks noGrp="1"/>
          </p:cNvSpPr>
          <p:nvPr>
            <p:ph type="body" sz="quarter" idx="30" hasCustomPrompt="1"/>
          </p:nvPr>
        </p:nvSpPr>
        <p:spPr>
          <a:xfrm>
            <a:off x="2790107" y="2931453"/>
            <a:ext cx="2007342" cy="844151"/>
          </a:xfrm>
        </p:spPr>
        <p:txBody>
          <a:bodyPr anchor="b">
            <a:normAutofit/>
          </a:bodyPr>
          <a:lstStyle>
            <a:lvl1pPr>
              <a:defRPr sz="4600" b="1">
                <a:solidFill>
                  <a:schemeClr val="bg2"/>
                </a:solidFill>
              </a:defRPr>
            </a:lvl1pPr>
          </a:lstStyle>
          <a:p>
            <a:pPr lvl="0"/>
            <a:r>
              <a:rPr lang="en-GB"/>
              <a:t>XXXXX</a:t>
            </a:r>
          </a:p>
        </p:txBody>
      </p:sp>
      <p:sp>
        <p:nvSpPr>
          <p:cNvPr id="71" name="Text Placeholder 6">
            <a:extLst>
              <a:ext uri="{FF2B5EF4-FFF2-40B4-BE49-F238E27FC236}">
                <a16:creationId xmlns:a16="http://schemas.microsoft.com/office/drawing/2014/main" id="{4DA3F266-6EB8-18CF-146E-FCE0EE2BCCED}"/>
              </a:ext>
            </a:extLst>
          </p:cNvPr>
          <p:cNvSpPr>
            <a:spLocks noGrp="1"/>
          </p:cNvSpPr>
          <p:nvPr>
            <p:ph type="body" sz="quarter" idx="31" hasCustomPrompt="1"/>
          </p:nvPr>
        </p:nvSpPr>
        <p:spPr>
          <a:xfrm>
            <a:off x="5064275" y="2931453"/>
            <a:ext cx="2007342" cy="844151"/>
          </a:xfrm>
        </p:spPr>
        <p:txBody>
          <a:bodyPr anchor="b">
            <a:normAutofit/>
          </a:bodyPr>
          <a:lstStyle>
            <a:lvl1pPr>
              <a:defRPr sz="4600" b="1">
                <a:solidFill>
                  <a:schemeClr val="bg2"/>
                </a:solidFill>
              </a:defRPr>
            </a:lvl1pPr>
          </a:lstStyle>
          <a:p>
            <a:pPr lvl="0"/>
            <a:r>
              <a:rPr lang="en-GB"/>
              <a:t>XXXXX</a:t>
            </a:r>
          </a:p>
        </p:txBody>
      </p:sp>
      <p:sp>
        <p:nvSpPr>
          <p:cNvPr id="72" name="Text Placeholder 6">
            <a:extLst>
              <a:ext uri="{FF2B5EF4-FFF2-40B4-BE49-F238E27FC236}">
                <a16:creationId xmlns:a16="http://schemas.microsoft.com/office/drawing/2014/main" id="{ABAC94EC-4D3A-CEAC-3763-AE5EBA842951}"/>
              </a:ext>
            </a:extLst>
          </p:cNvPr>
          <p:cNvSpPr>
            <a:spLocks noGrp="1"/>
          </p:cNvSpPr>
          <p:nvPr>
            <p:ph type="body" sz="quarter" idx="32" hasCustomPrompt="1"/>
          </p:nvPr>
        </p:nvSpPr>
        <p:spPr>
          <a:xfrm>
            <a:off x="7376189" y="2931453"/>
            <a:ext cx="2007342" cy="844151"/>
          </a:xfrm>
        </p:spPr>
        <p:txBody>
          <a:bodyPr anchor="b">
            <a:normAutofit/>
          </a:bodyPr>
          <a:lstStyle>
            <a:lvl1pPr>
              <a:defRPr sz="4600" b="1">
                <a:solidFill>
                  <a:schemeClr val="bg2"/>
                </a:solidFill>
              </a:defRPr>
            </a:lvl1pPr>
          </a:lstStyle>
          <a:p>
            <a:pPr lvl="0"/>
            <a:r>
              <a:rPr lang="en-GB"/>
              <a:t>XXXXX</a:t>
            </a:r>
          </a:p>
        </p:txBody>
      </p:sp>
      <p:sp>
        <p:nvSpPr>
          <p:cNvPr id="73" name="Text Placeholder 6">
            <a:extLst>
              <a:ext uri="{FF2B5EF4-FFF2-40B4-BE49-F238E27FC236}">
                <a16:creationId xmlns:a16="http://schemas.microsoft.com/office/drawing/2014/main" id="{CB8F9A8E-E04A-1CA2-A320-7A4AE6F70DD9}"/>
              </a:ext>
            </a:extLst>
          </p:cNvPr>
          <p:cNvSpPr>
            <a:spLocks noGrp="1"/>
          </p:cNvSpPr>
          <p:nvPr>
            <p:ph type="body" sz="quarter" idx="33" hasCustomPrompt="1"/>
          </p:nvPr>
        </p:nvSpPr>
        <p:spPr>
          <a:xfrm>
            <a:off x="9662940" y="2931453"/>
            <a:ext cx="2007342" cy="844151"/>
          </a:xfrm>
        </p:spPr>
        <p:txBody>
          <a:bodyPr anchor="b">
            <a:normAutofit/>
          </a:bodyPr>
          <a:lstStyle>
            <a:lvl1pPr>
              <a:defRPr sz="4600" b="1">
                <a:solidFill>
                  <a:schemeClr val="bg2"/>
                </a:solidFill>
              </a:defRPr>
            </a:lvl1pPr>
          </a:lstStyle>
          <a:p>
            <a:pPr lvl="0"/>
            <a:r>
              <a:rPr lang="en-GB"/>
              <a:t>XXXXX</a:t>
            </a:r>
          </a:p>
        </p:txBody>
      </p:sp>
    </p:spTree>
    <p:extLst>
      <p:ext uri="{BB962C8B-B14F-4D97-AF65-F5344CB8AC3E}">
        <p14:creationId xmlns:p14="http://schemas.microsoft.com/office/powerpoint/2010/main" val="3202897248"/>
      </p:ext>
    </p:extLst>
  </p:cSld>
  <p:clrMapOvr>
    <a:masterClrMapping/>
  </p:clrMapOvr>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Timeline/Milestones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graphicFrame>
        <p:nvGraphicFramePr>
          <p:cNvPr id="48" name="Table 47">
            <a:extLst>
              <a:ext uri="{FF2B5EF4-FFF2-40B4-BE49-F238E27FC236}">
                <a16:creationId xmlns:a16="http://schemas.microsoft.com/office/drawing/2014/main" id="{B7F29198-E920-459C-2862-C2C7FB6FEB65}"/>
              </a:ext>
            </a:extLst>
          </p:cNvPr>
          <p:cNvGraphicFramePr>
            <a:graphicFrameLocks noGrp="1"/>
          </p:cNvGraphicFramePr>
          <p:nvPr userDrawn="1">
            <p:extLst>
              <p:ext uri="{D42A27DB-BD31-4B8C-83A1-F6EECF244321}">
                <p14:modId xmlns:p14="http://schemas.microsoft.com/office/powerpoint/2010/main" val="2545069581"/>
              </p:ext>
            </p:extLst>
          </p:nvPr>
        </p:nvGraphicFramePr>
        <p:xfrm>
          <a:off x="606585" y="2278196"/>
          <a:ext cx="11007608" cy="3618726"/>
        </p:xfrm>
        <a:graphic>
          <a:graphicData uri="http://schemas.openxmlformats.org/drawingml/2006/table">
            <a:tbl>
              <a:tblPr bandCol="1">
                <a:tableStyleId>{2D5ABB26-0587-4C30-8999-92F81FD0307C}</a:tableStyleId>
              </a:tblPr>
              <a:tblGrid>
                <a:gridCol w="2751902">
                  <a:extLst>
                    <a:ext uri="{9D8B030D-6E8A-4147-A177-3AD203B41FA5}">
                      <a16:colId xmlns:a16="http://schemas.microsoft.com/office/drawing/2014/main" val="4151945498"/>
                    </a:ext>
                  </a:extLst>
                </a:gridCol>
                <a:gridCol w="2751902">
                  <a:extLst>
                    <a:ext uri="{9D8B030D-6E8A-4147-A177-3AD203B41FA5}">
                      <a16:colId xmlns:a16="http://schemas.microsoft.com/office/drawing/2014/main" val="1382627474"/>
                    </a:ext>
                  </a:extLst>
                </a:gridCol>
                <a:gridCol w="2751902">
                  <a:extLst>
                    <a:ext uri="{9D8B030D-6E8A-4147-A177-3AD203B41FA5}">
                      <a16:colId xmlns:a16="http://schemas.microsoft.com/office/drawing/2014/main" val="2312284562"/>
                    </a:ext>
                  </a:extLst>
                </a:gridCol>
                <a:gridCol w="2751902">
                  <a:extLst>
                    <a:ext uri="{9D8B030D-6E8A-4147-A177-3AD203B41FA5}">
                      <a16:colId xmlns:a16="http://schemas.microsoft.com/office/drawing/2014/main" val="380964293"/>
                    </a:ext>
                  </a:extLst>
                </a:gridCol>
              </a:tblGrid>
              <a:tr h="3618726">
                <a:tc>
                  <a:txBody>
                    <a:bodyPr/>
                    <a:lstStyle/>
                    <a:p>
                      <a:pPr marL="0" algn="l" defTabSz="914400" rtl="0" eaLnBrk="1" latinLnBrk="0" hangingPunct="1">
                        <a:lnSpc>
                          <a:spcPct val="120000"/>
                        </a:lnSpc>
                        <a:spcAft>
                          <a:spcPts val="2400"/>
                        </a:spcAft>
                      </a:pPr>
                      <a:endParaRPr lang="en-US" sz="1000" b="0" i="0" kern="1200">
                        <a:solidFill>
                          <a:schemeClr val="tx1"/>
                        </a:solidFill>
                        <a:latin typeface="Arial" panose="020B0604020202020204" pitchFamily="34" charset="0"/>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b="0" i="0" kern="1200">
                        <a:solidFill>
                          <a:schemeClr val="tx1"/>
                        </a:solidFill>
                        <a:latin typeface="Arial" panose="020B0604020202020204" pitchFamily="34" charset="0"/>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b="0" i="0" kern="1200">
                        <a:solidFill>
                          <a:schemeClr val="tx1"/>
                        </a:solidFill>
                        <a:latin typeface="Arial" panose="020B0604020202020204" pitchFamily="34" charset="0"/>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b="0" i="0" kern="1200">
                        <a:solidFill>
                          <a:schemeClr val="tx1"/>
                        </a:solidFill>
                        <a:latin typeface="Arial" panose="020B0604020202020204" pitchFamily="34" charset="0"/>
                        <a:ea typeface="+mn-ea"/>
                        <a:cs typeface="+mn-cs"/>
                      </a:endParaRPr>
                    </a:p>
                  </a:txBody>
                  <a:tcPr marL="174642" marR="174642" marT="218274" marB="174619">
                    <a:solidFill>
                      <a:schemeClr val="bg1">
                        <a:lumMod val="95000"/>
                      </a:schemeClr>
                    </a:solidFill>
                  </a:tcPr>
                </a:tc>
                <a:extLst>
                  <a:ext uri="{0D108BD9-81ED-4DB2-BD59-A6C34878D82A}">
                    <a16:rowId xmlns:a16="http://schemas.microsoft.com/office/drawing/2014/main" val="3469904028"/>
                  </a:ext>
                </a:extLst>
              </a:tr>
            </a:tbl>
          </a:graphicData>
        </a:graphic>
      </p:graphicFrame>
      <p:sp>
        <p:nvSpPr>
          <p:cNvPr id="49" name="object 14">
            <a:extLst>
              <a:ext uri="{FF2B5EF4-FFF2-40B4-BE49-F238E27FC236}">
                <a16:creationId xmlns:a16="http://schemas.microsoft.com/office/drawing/2014/main" id="{A52E1F34-96C7-3C86-48A7-FAB9C405C20B}"/>
              </a:ext>
            </a:extLst>
          </p:cNvPr>
          <p:cNvSpPr/>
          <p:nvPr userDrawn="1"/>
        </p:nvSpPr>
        <p:spPr>
          <a:xfrm>
            <a:off x="577805" y="2278195"/>
            <a:ext cx="11036388" cy="45719"/>
          </a:xfrm>
          <a:custGeom>
            <a:avLst/>
            <a:gdLst/>
            <a:ahLst/>
            <a:cxnLst/>
            <a:rect l="l" t="t" r="r" b="b"/>
            <a:pathLst>
              <a:path w="18209260">
                <a:moveTo>
                  <a:pt x="0" y="0"/>
                </a:moveTo>
                <a:lnTo>
                  <a:pt x="18208869" y="0"/>
                </a:lnTo>
              </a:path>
            </a:pathLst>
          </a:custGeom>
          <a:ln w="9525">
            <a:solidFill>
              <a:schemeClr val="bg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7" y="222114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1" name="Oval 50">
            <a:extLst>
              <a:ext uri="{FF2B5EF4-FFF2-40B4-BE49-F238E27FC236}">
                <a16:creationId xmlns:a16="http://schemas.microsoft.com/office/drawing/2014/main" id="{47D58FC1-83B9-3BAD-C3EF-06E8D5DE120F}"/>
              </a:ext>
            </a:extLst>
          </p:cNvPr>
          <p:cNvSpPr>
            <a:spLocks noChangeAspect="1"/>
          </p:cNvSpPr>
          <p:nvPr userDrawn="1"/>
        </p:nvSpPr>
        <p:spPr>
          <a:xfrm>
            <a:off x="3460438" y="222114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2" name="Oval 51">
            <a:extLst>
              <a:ext uri="{FF2B5EF4-FFF2-40B4-BE49-F238E27FC236}">
                <a16:creationId xmlns:a16="http://schemas.microsoft.com/office/drawing/2014/main" id="{9D582DFC-3D0D-D5F8-AA6B-5676C8C4B3BF}"/>
              </a:ext>
            </a:extLst>
          </p:cNvPr>
          <p:cNvSpPr>
            <a:spLocks noChangeAspect="1"/>
          </p:cNvSpPr>
          <p:nvPr userDrawn="1"/>
        </p:nvSpPr>
        <p:spPr>
          <a:xfrm>
            <a:off x="6227970" y="222114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3" name="Oval 52">
            <a:extLst>
              <a:ext uri="{FF2B5EF4-FFF2-40B4-BE49-F238E27FC236}">
                <a16:creationId xmlns:a16="http://schemas.microsoft.com/office/drawing/2014/main" id="{DF486150-9219-560A-8B4F-FB551F786E68}"/>
              </a:ext>
            </a:extLst>
          </p:cNvPr>
          <p:cNvSpPr>
            <a:spLocks noChangeAspect="1"/>
          </p:cNvSpPr>
          <p:nvPr userDrawn="1"/>
        </p:nvSpPr>
        <p:spPr>
          <a:xfrm>
            <a:off x="8985924" y="222114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7" y="1818875"/>
            <a:ext cx="2767426" cy="300442"/>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5" name="Text Placeholder 71">
            <a:extLst>
              <a:ext uri="{FF2B5EF4-FFF2-40B4-BE49-F238E27FC236}">
                <a16:creationId xmlns:a16="http://schemas.microsoft.com/office/drawing/2014/main" id="{799F0539-8B24-4E4B-EF4C-121B551D8BA3}"/>
              </a:ext>
            </a:extLst>
          </p:cNvPr>
          <p:cNvSpPr>
            <a:spLocks noGrp="1"/>
          </p:cNvSpPr>
          <p:nvPr>
            <p:ph type="body" sz="quarter" idx="16" hasCustomPrompt="1"/>
          </p:nvPr>
        </p:nvSpPr>
        <p:spPr>
          <a:xfrm>
            <a:off x="3344603" y="1818875"/>
            <a:ext cx="2746295" cy="300442"/>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6" name="Text Placeholder 71">
            <a:extLst>
              <a:ext uri="{FF2B5EF4-FFF2-40B4-BE49-F238E27FC236}">
                <a16:creationId xmlns:a16="http://schemas.microsoft.com/office/drawing/2014/main" id="{9DFB2CE5-A177-E72D-3CD4-2646E4DCE502}"/>
              </a:ext>
            </a:extLst>
          </p:cNvPr>
          <p:cNvSpPr>
            <a:spLocks noGrp="1"/>
          </p:cNvSpPr>
          <p:nvPr>
            <p:ph type="body" sz="quarter" idx="18" hasCustomPrompt="1"/>
          </p:nvPr>
        </p:nvSpPr>
        <p:spPr>
          <a:xfrm>
            <a:off x="6100141" y="1818875"/>
            <a:ext cx="2745959" cy="300442"/>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7" name="Text Placeholder 71">
            <a:extLst>
              <a:ext uri="{FF2B5EF4-FFF2-40B4-BE49-F238E27FC236}">
                <a16:creationId xmlns:a16="http://schemas.microsoft.com/office/drawing/2014/main" id="{7A262EC1-F639-E81C-3343-3DA348DA9266}"/>
              </a:ext>
            </a:extLst>
          </p:cNvPr>
          <p:cNvSpPr>
            <a:spLocks noGrp="1"/>
          </p:cNvSpPr>
          <p:nvPr>
            <p:ph type="body" sz="quarter" idx="20" hasCustomPrompt="1"/>
          </p:nvPr>
        </p:nvSpPr>
        <p:spPr>
          <a:xfrm>
            <a:off x="8846100" y="1818875"/>
            <a:ext cx="2773719" cy="300442"/>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8" name="Text Placeholder 4">
            <a:extLst>
              <a:ext uri="{FF2B5EF4-FFF2-40B4-BE49-F238E27FC236}">
                <a16:creationId xmlns:a16="http://schemas.microsoft.com/office/drawing/2014/main" id="{0FE60C61-D20F-0DE2-38DC-62D2FAD38472}"/>
              </a:ext>
            </a:extLst>
          </p:cNvPr>
          <p:cNvSpPr>
            <a:spLocks noGrp="1"/>
          </p:cNvSpPr>
          <p:nvPr>
            <p:ph type="body" sz="quarter" idx="29"/>
          </p:nvPr>
        </p:nvSpPr>
        <p:spPr>
          <a:xfrm>
            <a:off x="606471"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59" name="Text Placeholder 4">
            <a:extLst>
              <a:ext uri="{FF2B5EF4-FFF2-40B4-BE49-F238E27FC236}">
                <a16:creationId xmlns:a16="http://schemas.microsoft.com/office/drawing/2014/main" id="{7F661011-0524-7D80-F0B1-7EB66B450ADE}"/>
              </a:ext>
            </a:extLst>
          </p:cNvPr>
          <p:cNvSpPr>
            <a:spLocks noGrp="1"/>
          </p:cNvSpPr>
          <p:nvPr>
            <p:ph type="body" sz="quarter" idx="30"/>
          </p:nvPr>
        </p:nvSpPr>
        <p:spPr>
          <a:xfrm>
            <a:off x="3361059"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0" name="Text Placeholder 4">
            <a:extLst>
              <a:ext uri="{FF2B5EF4-FFF2-40B4-BE49-F238E27FC236}">
                <a16:creationId xmlns:a16="http://schemas.microsoft.com/office/drawing/2014/main" id="{5F501377-4DE1-C96B-B5CB-4675C424B7FF}"/>
              </a:ext>
            </a:extLst>
          </p:cNvPr>
          <p:cNvSpPr>
            <a:spLocks noGrp="1"/>
          </p:cNvSpPr>
          <p:nvPr>
            <p:ph type="body" sz="quarter" idx="31"/>
          </p:nvPr>
        </p:nvSpPr>
        <p:spPr>
          <a:xfrm>
            <a:off x="6100140"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1" name="Text Placeholder 4">
            <a:extLst>
              <a:ext uri="{FF2B5EF4-FFF2-40B4-BE49-F238E27FC236}">
                <a16:creationId xmlns:a16="http://schemas.microsoft.com/office/drawing/2014/main" id="{71120A03-3A4D-1301-C17A-86C4C1605881}"/>
              </a:ext>
            </a:extLst>
          </p:cNvPr>
          <p:cNvSpPr>
            <a:spLocks noGrp="1"/>
          </p:cNvSpPr>
          <p:nvPr>
            <p:ph type="body" sz="quarter" idx="32"/>
          </p:nvPr>
        </p:nvSpPr>
        <p:spPr>
          <a:xfrm>
            <a:off x="8848429"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40299459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2 columns">
    <p:spTree>
      <p:nvGrpSpPr>
        <p:cNvPr id="1" name=""/>
        <p:cNvGrpSpPr/>
        <p:nvPr/>
      </p:nvGrpSpPr>
      <p:grpSpPr>
        <a:xfrm>
          <a:off x="0" y="0"/>
          <a:ext cx="0" cy="0"/>
          <a:chOff x="0" y="0"/>
          <a:chExt cx="0" cy="0"/>
        </a:xfrm>
      </p:grpSpPr>
      <p:sp>
        <p:nvSpPr>
          <p:cNvPr id="13" name="Rectángulo 9"/>
          <p:cNvSpPr/>
          <p:nvPr userDrawn="1"/>
        </p:nvSpPr>
        <p:spPr>
          <a:xfrm>
            <a:off x="0" y="0"/>
            <a:ext cx="12187995" cy="108000"/>
          </a:xfrm>
          <a:prstGeom prst="rect">
            <a:avLst/>
          </a:prstGeom>
          <a:gradFill rotWithShape="1">
            <a:gsLst>
              <a:gs pos="0">
                <a:srgbClr val="A50021"/>
              </a:gs>
              <a:gs pos="100000">
                <a:srgbClr val="636463"/>
              </a:gs>
            </a:gsLst>
            <a:lin ang="16200000" scaled="0"/>
          </a:gradFill>
          <a:ln w="952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srgbClr val="F3EBDD"/>
              </a:solidFill>
              <a:effectLst/>
              <a:uLnTx/>
              <a:uFillTx/>
              <a:latin typeface="Arial"/>
              <a:ea typeface="+mn-ea"/>
              <a:cs typeface="+mn-cs"/>
            </a:endParaRPr>
          </a:p>
        </p:txBody>
      </p:sp>
      <p:sp>
        <p:nvSpPr>
          <p:cNvPr id="6" name="Rectangle 2"/>
          <p:cNvSpPr>
            <a:spLocks noGrp="1" noChangeArrowheads="1"/>
          </p:cNvSpPr>
          <p:nvPr>
            <p:ph type="title"/>
          </p:nvPr>
        </p:nvSpPr>
        <p:spPr bwMode="auto">
          <a:xfrm>
            <a:off x="609600" y="274638"/>
            <a:ext cx="10972800" cy="90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defRPr>
                <a:solidFill>
                  <a:srgbClr val="A50021"/>
                </a:solidFill>
              </a:defRPr>
            </a:lvl1pPr>
          </a:lstStyle>
          <a:p>
            <a:pPr lvl="0"/>
            <a:r>
              <a:rPr lang="fr-FR"/>
              <a:t>Cliquez pour modifier le style du titre</a:t>
            </a:r>
          </a:p>
        </p:txBody>
      </p:sp>
      <p:sp>
        <p:nvSpPr>
          <p:cNvPr id="4" name="Espace réservé du texte 2"/>
          <p:cNvSpPr>
            <a:spLocks noGrp="1"/>
          </p:cNvSpPr>
          <p:nvPr>
            <p:ph type="body" sz="half" idx="1"/>
          </p:nvPr>
        </p:nvSpPr>
        <p:spPr>
          <a:xfrm>
            <a:off x="609600" y="1614505"/>
            <a:ext cx="5384800" cy="4536504"/>
          </a:xfrm>
        </p:spPr>
        <p:txBody>
          <a:bodyPr/>
          <a:lstStyle>
            <a:lvl1pPr marL="342900" indent="-342900">
              <a:buClr>
                <a:srgbClr val="A50021"/>
              </a:buClr>
              <a:buFont typeface="Wingdings" pitchFamily="2" charset="2"/>
              <a:buChar char="§"/>
              <a:defRPr sz="3000">
                <a:latin typeface="Arial" pitchFamily="34" charset="0"/>
                <a:cs typeface="Arial" pitchFamily="34" charset="0"/>
              </a:defRPr>
            </a:lvl1pPr>
            <a:lvl2pPr marL="742950" indent="-285750">
              <a:buSzPct val="100000"/>
              <a:buFont typeface="Arial" pitchFamily="34" charset="0"/>
              <a:buChar char="•"/>
              <a:defRPr>
                <a:latin typeface="Arial" pitchFamily="34" charset="0"/>
                <a:cs typeface="Arial" pitchFamily="34" charset="0"/>
              </a:defRPr>
            </a:lvl2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contenu 3"/>
          <p:cNvSpPr>
            <a:spLocks noGrp="1"/>
          </p:cNvSpPr>
          <p:nvPr>
            <p:ph sz="half" idx="2"/>
          </p:nvPr>
        </p:nvSpPr>
        <p:spPr>
          <a:xfrm>
            <a:off x="6197600" y="1614505"/>
            <a:ext cx="5384800" cy="4536504"/>
          </a:xfrm>
        </p:spPr>
        <p:txBody>
          <a:bodyPr/>
          <a:lstStyle>
            <a:lvl1pPr marL="342900" indent="-342900">
              <a:buClr>
                <a:srgbClr val="A50021"/>
              </a:buClr>
              <a:buFont typeface="Wingdings" pitchFamily="2" charset="2"/>
              <a:buChar char="§"/>
              <a:defRPr sz="3000">
                <a:latin typeface="Arial" pitchFamily="34" charset="0"/>
                <a:cs typeface="Arial" pitchFamily="34" charset="0"/>
              </a:defRPr>
            </a:lvl1pPr>
            <a:lvl2pPr marL="742950" indent="-285750">
              <a:buSzPct val="100000"/>
              <a:buFont typeface="Arial" pitchFamily="34" charset="0"/>
              <a:buChar char="•"/>
              <a:defRPr>
                <a:latin typeface="Arial" pitchFamily="34" charset="0"/>
                <a:cs typeface="Arial" pitchFamily="34" charset="0"/>
              </a:defRPr>
            </a:lvl2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98692710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Quote + Imag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5580063"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United Against Rabies Forum Meeting - 6-8 November 2023</a:t>
            </a:r>
            <a:endParaRPr lang="en-GB"/>
          </a:p>
        </p:txBody>
      </p:sp>
      <p:sp>
        <p:nvSpPr>
          <p:cNvPr id="5" name="Text Placeholder 4">
            <a:extLst>
              <a:ext uri="{FF2B5EF4-FFF2-40B4-BE49-F238E27FC236}">
                <a16:creationId xmlns:a16="http://schemas.microsoft.com/office/drawing/2014/main" id="{0CE04A98-CDC1-2043-A233-CAA53ED2E1A4}"/>
              </a:ext>
            </a:extLst>
          </p:cNvPr>
          <p:cNvSpPr>
            <a:spLocks noGrp="1"/>
          </p:cNvSpPr>
          <p:nvPr>
            <p:ph type="body" sz="quarter" idx="16" hasCustomPrompt="1"/>
          </p:nvPr>
        </p:nvSpPr>
        <p:spPr>
          <a:xfrm>
            <a:off x="10643129"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
        <p:nvSpPr>
          <p:cNvPr id="27" name="Picture Placeholder 26">
            <a:extLst>
              <a:ext uri="{FF2B5EF4-FFF2-40B4-BE49-F238E27FC236}">
                <a16:creationId xmlns:a16="http://schemas.microsoft.com/office/drawing/2014/main" id="{D7270696-0AB9-0445-9B12-E1B6CE40D325}"/>
              </a:ext>
            </a:extLst>
          </p:cNvPr>
          <p:cNvSpPr>
            <a:spLocks noGrp="1"/>
          </p:cNvSpPr>
          <p:nvPr>
            <p:ph type="pic" sz="quarter" idx="17"/>
          </p:nvPr>
        </p:nvSpPr>
        <p:spPr>
          <a:xfrm>
            <a:off x="5685640" y="0"/>
            <a:ext cx="6506360" cy="6858000"/>
          </a:xfrm>
          <a:custGeom>
            <a:avLst/>
            <a:gdLst>
              <a:gd name="connsiteX0" fmla="*/ 0 w 6506360"/>
              <a:gd name="connsiteY0" fmla="*/ 0 h 6858000"/>
              <a:gd name="connsiteX1" fmla="*/ 6506360 w 6506360"/>
              <a:gd name="connsiteY1" fmla="*/ 0 h 6858000"/>
              <a:gd name="connsiteX2" fmla="*/ 6506360 w 6506360"/>
              <a:gd name="connsiteY2" fmla="*/ 6858000 h 6858000"/>
              <a:gd name="connsiteX3" fmla="*/ 816590 w 6506360"/>
              <a:gd name="connsiteY3" fmla="*/ 6858000 h 6858000"/>
              <a:gd name="connsiteX4" fmla="*/ 816590 w 6506360"/>
              <a:gd name="connsiteY4" fmla="*/ 939979 h 6858000"/>
              <a:gd name="connsiteX5" fmla="*/ 57657 w 6506360"/>
              <a:gd name="connsiteY5" fmla="*/ 8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506360" h="6858000">
                <a:moveTo>
                  <a:pt x="0" y="0"/>
                </a:moveTo>
                <a:lnTo>
                  <a:pt x="6506360" y="0"/>
                </a:lnTo>
                <a:lnTo>
                  <a:pt x="6506360" y="6858000"/>
                </a:lnTo>
                <a:lnTo>
                  <a:pt x="816590" y="6858000"/>
                </a:lnTo>
                <a:lnTo>
                  <a:pt x="816590" y="939979"/>
                </a:lnTo>
                <a:cubicBezTo>
                  <a:pt x="816590" y="480656"/>
                  <a:pt x="490779" y="97429"/>
                  <a:pt x="57657" y="8800"/>
                </a:cubicBezTo>
                <a:close/>
              </a:path>
            </a:pathLst>
          </a:custGeom>
          <a:solidFill>
            <a:schemeClr val="bg1">
              <a:lumMod val="85000"/>
            </a:schemeClr>
          </a:solidFill>
        </p:spPr>
        <p:txBody>
          <a:bodyPr wrap="square" anchor="ctr">
            <a:noAutofit/>
          </a:bodyPr>
          <a:lstStyle>
            <a:lvl1pPr algn="ctr">
              <a:defRPr>
                <a:solidFill>
                  <a:schemeClr val="bg1">
                    <a:lumMod val="50000"/>
                  </a:schemeClr>
                </a:solidFill>
              </a:defRPr>
            </a:lvl1pPr>
          </a:lstStyle>
          <a:p>
            <a:r>
              <a:rPr lang="en-GB"/>
              <a:t>Click icon to add picture</a:t>
            </a:r>
          </a:p>
        </p:txBody>
      </p:sp>
      <p:sp>
        <p:nvSpPr>
          <p:cNvPr id="28" name="Text Placeholder 4">
            <a:extLst>
              <a:ext uri="{FF2B5EF4-FFF2-40B4-BE49-F238E27FC236}">
                <a16:creationId xmlns:a16="http://schemas.microsoft.com/office/drawing/2014/main" id="{7DCA613B-D18E-594C-9579-2E40707B7127}"/>
              </a:ext>
            </a:extLst>
          </p:cNvPr>
          <p:cNvSpPr>
            <a:spLocks noGrp="1"/>
          </p:cNvSpPr>
          <p:nvPr>
            <p:ph type="body" sz="quarter" idx="18" hasCustomPrompt="1"/>
          </p:nvPr>
        </p:nvSpPr>
        <p:spPr>
          <a:xfrm>
            <a:off x="10643128" y="6108048"/>
            <a:ext cx="1042557" cy="381653"/>
          </a:xfrm>
          <a:blipFill>
            <a:blip r:embed="rId2">
              <a:extLst>
                <a:ext uri="{96DAC541-7B7A-43D3-8B79-37D633B846F1}">
                  <asvg:svgBlip xmlns:asvg="http://schemas.microsoft.com/office/drawing/2016/SVG/main" r:embed="rId3"/>
                </a:ext>
              </a:extLst>
            </a:blip>
            <a:stretch>
              <a:fillRect/>
            </a:stretch>
          </a:blipFill>
        </p:spPr>
        <p:txBody>
          <a:bodyPr/>
          <a:lstStyle/>
          <a:p>
            <a:pPr lvl="0"/>
            <a:r>
              <a:rPr lang="en-GB"/>
              <a:t> </a:t>
            </a:r>
          </a:p>
        </p:txBody>
      </p:sp>
      <p:sp>
        <p:nvSpPr>
          <p:cNvPr id="12" name="Text Placeholder 8">
            <a:extLst>
              <a:ext uri="{FF2B5EF4-FFF2-40B4-BE49-F238E27FC236}">
                <a16:creationId xmlns:a16="http://schemas.microsoft.com/office/drawing/2014/main" id="{E2F4BDEF-FEFC-0BDD-3EB4-7710855ED6AB}"/>
              </a:ext>
            </a:extLst>
          </p:cNvPr>
          <p:cNvSpPr>
            <a:spLocks noGrp="1"/>
          </p:cNvSpPr>
          <p:nvPr>
            <p:ph type="body" idx="21"/>
          </p:nvPr>
        </p:nvSpPr>
        <p:spPr>
          <a:xfrm>
            <a:off x="515937" y="1329378"/>
            <a:ext cx="5580062" cy="4637076"/>
          </a:xfrm>
        </p:spPr>
        <p:txBody>
          <a:bodyPr numCol="1" spcCol="180000" anchor="t">
            <a:noAutofit/>
          </a:bodyPr>
          <a:lstStyle>
            <a:lvl1pPr marL="0" indent="0">
              <a:lnSpc>
                <a:spcPct val="100000"/>
              </a:lnSpc>
              <a:spcAft>
                <a:spcPts val="1800"/>
              </a:spcAft>
              <a:buClr>
                <a:schemeClr val="bg2"/>
              </a:buClr>
              <a:buFont typeface="Arial" panose="020B0604020202020204" pitchFamily="34" charset="0"/>
              <a:buNone/>
              <a:defRPr sz="2800" b="1">
                <a:solidFill>
                  <a:schemeClr val="accent4"/>
                </a:solidFill>
              </a:defRPr>
            </a:lvl1pPr>
            <a:lvl2pPr marL="457200" indent="0">
              <a:buNone/>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16" name="Title Placeholder 1">
            <a:extLst>
              <a:ext uri="{FF2B5EF4-FFF2-40B4-BE49-F238E27FC236}">
                <a16:creationId xmlns:a16="http://schemas.microsoft.com/office/drawing/2014/main" id="{D7D9C6B7-7323-827F-E01F-2EFDCE721461}"/>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Tree>
    <p:extLst>
      <p:ext uri="{BB962C8B-B14F-4D97-AF65-F5344CB8AC3E}">
        <p14:creationId xmlns:p14="http://schemas.microsoft.com/office/powerpoint/2010/main" val="3502628864"/>
      </p:ext>
    </p:extLst>
  </p:cSld>
  <p:clrMapOvr>
    <a:masterClrMapping/>
  </p:clrMapOvr>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Timeline/Milestones x5">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graphicFrame>
        <p:nvGraphicFramePr>
          <p:cNvPr id="48" name="Table 47">
            <a:extLst>
              <a:ext uri="{FF2B5EF4-FFF2-40B4-BE49-F238E27FC236}">
                <a16:creationId xmlns:a16="http://schemas.microsoft.com/office/drawing/2014/main" id="{B7F29198-E920-459C-2862-C2C7FB6FEB65}"/>
              </a:ext>
            </a:extLst>
          </p:cNvPr>
          <p:cNvGraphicFramePr>
            <a:graphicFrameLocks noGrp="1"/>
          </p:cNvGraphicFramePr>
          <p:nvPr userDrawn="1">
            <p:extLst>
              <p:ext uri="{D42A27DB-BD31-4B8C-83A1-F6EECF244321}">
                <p14:modId xmlns:p14="http://schemas.microsoft.com/office/powerpoint/2010/main" val="1495489908"/>
              </p:ext>
            </p:extLst>
          </p:nvPr>
        </p:nvGraphicFramePr>
        <p:xfrm>
          <a:off x="606585" y="2265316"/>
          <a:ext cx="11007610" cy="3618719"/>
        </p:xfrm>
        <a:graphic>
          <a:graphicData uri="http://schemas.openxmlformats.org/drawingml/2006/table">
            <a:tbl>
              <a:tblPr bandCol="1">
                <a:tableStyleId>{2D5ABB26-0587-4C30-8999-92F81FD0307C}</a:tableStyleId>
              </a:tblPr>
              <a:tblGrid>
                <a:gridCol w="2201522">
                  <a:extLst>
                    <a:ext uri="{9D8B030D-6E8A-4147-A177-3AD203B41FA5}">
                      <a16:colId xmlns:a16="http://schemas.microsoft.com/office/drawing/2014/main" val="4151945498"/>
                    </a:ext>
                  </a:extLst>
                </a:gridCol>
                <a:gridCol w="2201522">
                  <a:extLst>
                    <a:ext uri="{9D8B030D-6E8A-4147-A177-3AD203B41FA5}">
                      <a16:colId xmlns:a16="http://schemas.microsoft.com/office/drawing/2014/main" val="1382627474"/>
                    </a:ext>
                  </a:extLst>
                </a:gridCol>
                <a:gridCol w="2201522">
                  <a:extLst>
                    <a:ext uri="{9D8B030D-6E8A-4147-A177-3AD203B41FA5}">
                      <a16:colId xmlns:a16="http://schemas.microsoft.com/office/drawing/2014/main" val="2312284562"/>
                    </a:ext>
                  </a:extLst>
                </a:gridCol>
                <a:gridCol w="2201522">
                  <a:extLst>
                    <a:ext uri="{9D8B030D-6E8A-4147-A177-3AD203B41FA5}">
                      <a16:colId xmlns:a16="http://schemas.microsoft.com/office/drawing/2014/main" val="380964293"/>
                    </a:ext>
                  </a:extLst>
                </a:gridCol>
                <a:gridCol w="2201522">
                  <a:extLst>
                    <a:ext uri="{9D8B030D-6E8A-4147-A177-3AD203B41FA5}">
                      <a16:colId xmlns:a16="http://schemas.microsoft.com/office/drawing/2014/main" val="2456329606"/>
                    </a:ext>
                  </a:extLst>
                </a:gridCol>
              </a:tblGrid>
              <a:tr h="3618719">
                <a:tc>
                  <a:txBody>
                    <a:bodyPr/>
                    <a:lstStyle/>
                    <a:p>
                      <a:pPr marL="0" algn="l" defTabSz="914400" rtl="0" eaLnBrk="1" latinLnBrk="0" hangingPunct="1">
                        <a:lnSpc>
                          <a:spcPct val="120000"/>
                        </a:lnSpc>
                        <a:spcAft>
                          <a:spcPts val="2400"/>
                        </a:spcAft>
                      </a:pPr>
                      <a:endParaRPr lang="en-US" sz="1000" b="0" i="0" kern="1200">
                        <a:solidFill>
                          <a:schemeClr val="tx1"/>
                        </a:solidFill>
                        <a:latin typeface="Arial" panose="020B0604020202020204" pitchFamily="34" charset="0"/>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b="0" i="0" kern="1200">
                        <a:solidFill>
                          <a:schemeClr val="tx1"/>
                        </a:solidFill>
                        <a:latin typeface="Arial" panose="020B0604020202020204" pitchFamily="34" charset="0"/>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b="0" i="0" kern="1200">
                        <a:solidFill>
                          <a:schemeClr val="tx1"/>
                        </a:solidFill>
                        <a:latin typeface="Arial" panose="020B0604020202020204" pitchFamily="34" charset="0"/>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b="0" i="0" kern="1200">
                        <a:solidFill>
                          <a:schemeClr val="tx1"/>
                        </a:solidFill>
                        <a:latin typeface="Arial" panose="020B0604020202020204" pitchFamily="34" charset="0"/>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b="0" i="0" kern="1200">
                        <a:solidFill>
                          <a:schemeClr val="tx1"/>
                        </a:solidFill>
                        <a:latin typeface="Arial" panose="020B0604020202020204" pitchFamily="34" charset="0"/>
                        <a:ea typeface="+mn-ea"/>
                        <a:cs typeface="+mn-cs"/>
                      </a:endParaRPr>
                    </a:p>
                  </a:txBody>
                  <a:tcPr marL="174642" marR="174642" marT="218274" marB="174619">
                    <a:noFill/>
                  </a:tcPr>
                </a:tc>
                <a:extLst>
                  <a:ext uri="{0D108BD9-81ED-4DB2-BD59-A6C34878D82A}">
                    <a16:rowId xmlns:a16="http://schemas.microsoft.com/office/drawing/2014/main" val="3469904028"/>
                  </a:ext>
                </a:extLst>
              </a:tr>
            </a:tbl>
          </a:graphicData>
        </a:graphic>
      </p:graphicFrame>
      <p:sp>
        <p:nvSpPr>
          <p:cNvPr id="49" name="object 14">
            <a:extLst>
              <a:ext uri="{FF2B5EF4-FFF2-40B4-BE49-F238E27FC236}">
                <a16:creationId xmlns:a16="http://schemas.microsoft.com/office/drawing/2014/main" id="{A52E1F34-96C7-3C86-48A7-FAB9C405C20B}"/>
              </a:ext>
            </a:extLst>
          </p:cNvPr>
          <p:cNvSpPr/>
          <p:nvPr userDrawn="1"/>
        </p:nvSpPr>
        <p:spPr>
          <a:xfrm>
            <a:off x="577805" y="2265316"/>
            <a:ext cx="11042014" cy="0"/>
          </a:xfrm>
          <a:custGeom>
            <a:avLst/>
            <a:gdLst/>
            <a:ahLst/>
            <a:cxnLst/>
            <a:rect l="l" t="t" r="r" b="b"/>
            <a:pathLst>
              <a:path w="18209260">
                <a:moveTo>
                  <a:pt x="0" y="0"/>
                </a:moveTo>
                <a:lnTo>
                  <a:pt x="18208869" y="0"/>
                </a:lnTo>
              </a:path>
            </a:pathLst>
          </a:custGeom>
          <a:ln w="9525">
            <a:solidFill>
              <a:schemeClr val="bg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7"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1" name="Oval 50">
            <a:extLst>
              <a:ext uri="{FF2B5EF4-FFF2-40B4-BE49-F238E27FC236}">
                <a16:creationId xmlns:a16="http://schemas.microsoft.com/office/drawing/2014/main" id="{47D58FC1-83B9-3BAD-C3EF-06E8D5DE120F}"/>
              </a:ext>
            </a:extLst>
          </p:cNvPr>
          <p:cNvSpPr>
            <a:spLocks noChangeAspect="1"/>
          </p:cNvSpPr>
          <p:nvPr userDrawn="1"/>
        </p:nvSpPr>
        <p:spPr>
          <a:xfrm>
            <a:off x="2892295"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7" y="1805995"/>
            <a:ext cx="2217229"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5" name="Text Placeholder 71">
            <a:extLst>
              <a:ext uri="{FF2B5EF4-FFF2-40B4-BE49-F238E27FC236}">
                <a16:creationId xmlns:a16="http://schemas.microsoft.com/office/drawing/2014/main" id="{799F0539-8B24-4E4B-EF4C-121B551D8BA3}"/>
              </a:ext>
            </a:extLst>
          </p:cNvPr>
          <p:cNvSpPr>
            <a:spLocks noGrp="1"/>
          </p:cNvSpPr>
          <p:nvPr>
            <p:ph type="body" sz="quarter" idx="16" hasCustomPrompt="1"/>
          </p:nvPr>
        </p:nvSpPr>
        <p:spPr>
          <a:xfrm>
            <a:off x="2789882" y="1805995"/>
            <a:ext cx="2200300"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8" name="Text Placeholder 4">
            <a:extLst>
              <a:ext uri="{FF2B5EF4-FFF2-40B4-BE49-F238E27FC236}">
                <a16:creationId xmlns:a16="http://schemas.microsoft.com/office/drawing/2014/main" id="{0FE60C61-D20F-0DE2-38DC-62D2FAD38472}"/>
              </a:ext>
            </a:extLst>
          </p:cNvPr>
          <p:cNvSpPr>
            <a:spLocks noGrp="1"/>
          </p:cNvSpPr>
          <p:nvPr>
            <p:ph type="body" sz="quarter" idx="29"/>
          </p:nvPr>
        </p:nvSpPr>
        <p:spPr>
          <a:xfrm>
            <a:off x="606471" y="2567720"/>
            <a:ext cx="2193481"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59" name="Text Placeholder 4">
            <a:extLst>
              <a:ext uri="{FF2B5EF4-FFF2-40B4-BE49-F238E27FC236}">
                <a16:creationId xmlns:a16="http://schemas.microsoft.com/office/drawing/2014/main" id="{7F661011-0524-7D80-F0B1-7EB66B450ADE}"/>
              </a:ext>
            </a:extLst>
          </p:cNvPr>
          <p:cNvSpPr>
            <a:spLocks noGrp="1"/>
          </p:cNvSpPr>
          <p:nvPr>
            <p:ph type="body" sz="quarter" idx="30"/>
          </p:nvPr>
        </p:nvSpPr>
        <p:spPr>
          <a:xfrm>
            <a:off x="2806338" y="2567720"/>
            <a:ext cx="2193482"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3" name="Oval 22">
            <a:extLst>
              <a:ext uri="{FF2B5EF4-FFF2-40B4-BE49-F238E27FC236}">
                <a16:creationId xmlns:a16="http://schemas.microsoft.com/office/drawing/2014/main" id="{52428D8F-1413-2F6F-66F0-EA64E72C6F19}"/>
              </a:ext>
            </a:extLst>
          </p:cNvPr>
          <p:cNvSpPr>
            <a:spLocks noChangeAspect="1"/>
          </p:cNvSpPr>
          <p:nvPr userDrawn="1"/>
        </p:nvSpPr>
        <p:spPr>
          <a:xfrm>
            <a:off x="5108619"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24" name="Text Placeholder 71">
            <a:extLst>
              <a:ext uri="{FF2B5EF4-FFF2-40B4-BE49-F238E27FC236}">
                <a16:creationId xmlns:a16="http://schemas.microsoft.com/office/drawing/2014/main" id="{ED2B6425-619B-AFAF-1CF5-12D51DA09538}"/>
              </a:ext>
            </a:extLst>
          </p:cNvPr>
          <p:cNvSpPr>
            <a:spLocks noGrp="1"/>
          </p:cNvSpPr>
          <p:nvPr>
            <p:ph type="body" sz="quarter" idx="33" hasCustomPrompt="1"/>
          </p:nvPr>
        </p:nvSpPr>
        <p:spPr>
          <a:xfrm>
            <a:off x="5006206" y="1805995"/>
            <a:ext cx="2200300"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25" name="Text Placeholder 4">
            <a:extLst>
              <a:ext uri="{FF2B5EF4-FFF2-40B4-BE49-F238E27FC236}">
                <a16:creationId xmlns:a16="http://schemas.microsoft.com/office/drawing/2014/main" id="{42048595-A0EA-7BB4-A2D8-622DB0779CAC}"/>
              </a:ext>
            </a:extLst>
          </p:cNvPr>
          <p:cNvSpPr>
            <a:spLocks noGrp="1"/>
          </p:cNvSpPr>
          <p:nvPr>
            <p:ph type="body" sz="quarter" idx="34"/>
          </p:nvPr>
        </p:nvSpPr>
        <p:spPr>
          <a:xfrm>
            <a:off x="5022662" y="2567720"/>
            <a:ext cx="2193482"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Oval 25">
            <a:extLst>
              <a:ext uri="{FF2B5EF4-FFF2-40B4-BE49-F238E27FC236}">
                <a16:creationId xmlns:a16="http://schemas.microsoft.com/office/drawing/2014/main" id="{E31A4FAF-CCB7-1F56-BEE2-622CF1A54FAB}"/>
              </a:ext>
            </a:extLst>
          </p:cNvPr>
          <p:cNvSpPr>
            <a:spLocks noChangeAspect="1"/>
          </p:cNvSpPr>
          <p:nvPr userDrawn="1"/>
        </p:nvSpPr>
        <p:spPr>
          <a:xfrm>
            <a:off x="7304231"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27" name="Text Placeholder 71">
            <a:extLst>
              <a:ext uri="{FF2B5EF4-FFF2-40B4-BE49-F238E27FC236}">
                <a16:creationId xmlns:a16="http://schemas.microsoft.com/office/drawing/2014/main" id="{AD33553F-FF2E-A084-58B1-CABD32043C6D}"/>
              </a:ext>
            </a:extLst>
          </p:cNvPr>
          <p:cNvSpPr>
            <a:spLocks noGrp="1"/>
          </p:cNvSpPr>
          <p:nvPr>
            <p:ph type="body" sz="quarter" idx="35" hasCustomPrompt="1"/>
          </p:nvPr>
        </p:nvSpPr>
        <p:spPr>
          <a:xfrm>
            <a:off x="7201818" y="1805995"/>
            <a:ext cx="2200300"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28" name="Text Placeholder 4">
            <a:extLst>
              <a:ext uri="{FF2B5EF4-FFF2-40B4-BE49-F238E27FC236}">
                <a16:creationId xmlns:a16="http://schemas.microsoft.com/office/drawing/2014/main" id="{E55650A2-C067-405B-1B74-AC970B406C55}"/>
              </a:ext>
            </a:extLst>
          </p:cNvPr>
          <p:cNvSpPr>
            <a:spLocks noGrp="1"/>
          </p:cNvSpPr>
          <p:nvPr>
            <p:ph type="body" sz="quarter" idx="36"/>
          </p:nvPr>
        </p:nvSpPr>
        <p:spPr>
          <a:xfrm>
            <a:off x="7218274" y="2567720"/>
            <a:ext cx="2193482"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9" name="Oval 28">
            <a:extLst>
              <a:ext uri="{FF2B5EF4-FFF2-40B4-BE49-F238E27FC236}">
                <a16:creationId xmlns:a16="http://schemas.microsoft.com/office/drawing/2014/main" id="{965D2802-7493-9694-05E4-80CC2EF9B231}"/>
              </a:ext>
            </a:extLst>
          </p:cNvPr>
          <p:cNvSpPr>
            <a:spLocks noChangeAspect="1"/>
          </p:cNvSpPr>
          <p:nvPr userDrawn="1"/>
        </p:nvSpPr>
        <p:spPr>
          <a:xfrm>
            <a:off x="9512554"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30" name="Text Placeholder 71">
            <a:extLst>
              <a:ext uri="{FF2B5EF4-FFF2-40B4-BE49-F238E27FC236}">
                <a16:creationId xmlns:a16="http://schemas.microsoft.com/office/drawing/2014/main" id="{71110D7A-CD1D-2C97-57A0-9A17C8D3134A}"/>
              </a:ext>
            </a:extLst>
          </p:cNvPr>
          <p:cNvSpPr>
            <a:spLocks noGrp="1"/>
          </p:cNvSpPr>
          <p:nvPr>
            <p:ph type="body" sz="quarter" idx="37" hasCustomPrompt="1"/>
          </p:nvPr>
        </p:nvSpPr>
        <p:spPr>
          <a:xfrm>
            <a:off x="9410141" y="1805995"/>
            <a:ext cx="2200300"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31" name="Text Placeholder 4">
            <a:extLst>
              <a:ext uri="{FF2B5EF4-FFF2-40B4-BE49-F238E27FC236}">
                <a16:creationId xmlns:a16="http://schemas.microsoft.com/office/drawing/2014/main" id="{4E1F3181-D3F3-3AA6-E3A7-A60D86BCE4F3}"/>
              </a:ext>
            </a:extLst>
          </p:cNvPr>
          <p:cNvSpPr>
            <a:spLocks noGrp="1"/>
          </p:cNvSpPr>
          <p:nvPr>
            <p:ph type="body" sz="quarter" idx="38"/>
          </p:nvPr>
        </p:nvSpPr>
        <p:spPr>
          <a:xfrm>
            <a:off x="9426597" y="2567720"/>
            <a:ext cx="2193482"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1953784562"/>
      </p:ext>
    </p:extLst>
  </p:cSld>
  <p:clrMapOvr>
    <a:masterClrMapping/>
  </p:clrMapOvr>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Timeline/Milestones x6">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graphicFrame>
        <p:nvGraphicFramePr>
          <p:cNvPr id="48" name="Table 47">
            <a:extLst>
              <a:ext uri="{FF2B5EF4-FFF2-40B4-BE49-F238E27FC236}">
                <a16:creationId xmlns:a16="http://schemas.microsoft.com/office/drawing/2014/main" id="{B7F29198-E920-459C-2862-C2C7FB6FEB65}"/>
              </a:ext>
            </a:extLst>
          </p:cNvPr>
          <p:cNvGraphicFramePr>
            <a:graphicFrameLocks noGrp="1"/>
          </p:cNvGraphicFramePr>
          <p:nvPr userDrawn="1">
            <p:extLst>
              <p:ext uri="{D42A27DB-BD31-4B8C-83A1-F6EECF244321}">
                <p14:modId xmlns:p14="http://schemas.microsoft.com/office/powerpoint/2010/main" val="3220648469"/>
              </p:ext>
            </p:extLst>
          </p:nvPr>
        </p:nvGraphicFramePr>
        <p:xfrm>
          <a:off x="577178" y="2265316"/>
          <a:ext cx="11007612" cy="3618719"/>
        </p:xfrm>
        <a:graphic>
          <a:graphicData uri="http://schemas.openxmlformats.org/drawingml/2006/table">
            <a:tbl>
              <a:tblPr bandCol="1">
                <a:tableStyleId>{2D5ABB26-0587-4C30-8999-92F81FD0307C}</a:tableStyleId>
              </a:tblPr>
              <a:tblGrid>
                <a:gridCol w="1834602">
                  <a:extLst>
                    <a:ext uri="{9D8B030D-6E8A-4147-A177-3AD203B41FA5}">
                      <a16:colId xmlns:a16="http://schemas.microsoft.com/office/drawing/2014/main" val="4151945498"/>
                    </a:ext>
                  </a:extLst>
                </a:gridCol>
                <a:gridCol w="1834602">
                  <a:extLst>
                    <a:ext uri="{9D8B030D-6E8A-4147-A177-3AD203B41FA5}">
                      <a16:colId xmlns:a16="http://schemas.microsoft.com/office/drawing/2014/main" val="1382627474"/>
                    </a:ext>
                  </a:extLst>
                </a:gridCol>
                <a:gridCol w="1834602">
                  <a:extLst>
                    <a:ext uri="{9D8B030D-6E8A-4147-A177-3AD203B41FA5}">
                      <a16:colId xmlns:a16="http://schemas.microsoft.com/office/drawing/2014/main" val="2312284562"/>
                    </a:ext>
                  </a:extLst>
                </a:gridCol>
                <a:gridCol w="1834602">
                  <a:extLst>
                    <a:ext uri="{9D8B030D-6E8A-4147-A177-3AD203B41FA5}">
                      <a16:colId xmlns:a16="http://schemas.microsoft.com/office/drawing/2014/main" val="380964293"/>
                    </a:ext>
                  </a:extLst>
                </a:gridCol>
                <a:gridCol w="1834602">
                  <a:extLst>
                    <a:ext uri="{9D8B030D-6E8A-4147-A177-3AD203B41FA5}">
                      <a16:colId xmlns:a16="http://schemas.microsoft.com/office/drawing/2014/main" val="2456329606"/>
                    </a:ext>
                  </a:extLst>
                </a:gridCol>
                <a:gridCol w="1834602">
                  <a:extLst>
                    <a:ext uri="{9D8B030D-6E8A-4147-A177-3AD203B41FA5}">
                      <a16:colId xmlns:a16="http://schemas.microsoft.com/office/drawing/2014/main" val="2168740535"/>
                    </a:ext>
                  </a:extLst>
                </a:gridCol>
              </a:tblGrid>
              <a:tr h="3618719">
                <a:tc>
                  <a:txBody>
                    <a:bodyPr/>
                    <a:lstStyle/>
                    <a:p>
                      <a:pPr marL="0" algn="l" defTabSz="914400" rtl="0" eaLnBrk="1" latinLnBrk="0" hangingPunct="1">
                        <a:lnSpc>
                          <a:spcPct val="120000"/>
                        </a:lnSpc>
                        <a:spcAft>
                          <a:spcPts val="2400"/>
                        </a:spcAft>
                      </a:pPr>
                      <a:endParaRPr lang="en-US" sz="1000" b="0" i="0" kern="1200">
                        <a:solidFill>
                          <a:schemeClr val="tx1"/>
                        </a:solidFill>
                        <a:latin typeface="Arial" panose="020B0604020202020204" pitchFamily="34" charset="0"/>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b="0" i="0" kern="1200">
                        <a:solidFill>
                          <a:schemeClr val="tx1"/>
                        </a:solidFill>
                        <a:latin typeface="Arial" panose="020B0604020202020204" pitchFamily="34" charset="0"/>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b="0" i="0" kern="1200">
                        <a:solidFill>
                          <a:schemeClr val="tx1"/>
                        </a:solidFill>
                        <a:latin typeface="Arial" panose="020B0604020202020204" pitchFamily="34" charset="0"/>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b="0" i="0" kern="1200">
                        <a:solidFill>
                          <a:schemeClr val="tx1"/>
                        </a:solidFill>
                        <a:latin typeface="Arial" panose="020B0604020202020204" pitchFamily="34" charset="0"/>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b="0" i="0" kern="1200">
                        <a:solidFill>
                          <a:schemeClr val="tx1"/>
                        </a:solidFill>
                        <a:latin typeface="Arial" panose="020B0604020202020204" pitchFamily="34" charset="0"/>
                        <a:ea typeface="+mn-ea"/>
                        <a:cs typeface="+mn-cs"/>
                      </a:endParaRPr>
                    </a:p>
                  </a:txBody>
                  <a:tcPr marL="174642" marR="174642" marT="218274" marB="174619">
                    <a:noFill/>
                  </a:tcPr>
                </a:tc>
                <a:tc>
                  <a:txBody>
                    <a:bodyPr/>
                    <a:lstStyle/>
                    <a:p>
                      <a:pPr marL="0" algn="l" defTabSz="914400" rtl="0" eaLnBrk="1" latinLnBrk="0" hangingPunct="1">
                        <a:lnSpc>
                          <a:spcPct val="120000"/>
                        </a:lnSpc>
                        <a:spcAft>
                          <a:spcPts val="2400"/>
                        </a:spcAft>
                      </a:pPr>
                      <a:endParaRPr lang="en-US" sz="1000" b="0" i="0" kern="1200">
                        <a:solidFill>
                          <a:schemeClr val="tx1"/>
                        </a:solidFill>
                        <a:latin typeface="Arial" panose="020B0604020202020204" pitchFamily="34" charset="0"/>
                        <a:ea typeface="+mn-ea"/>
                        <a:cs typeface="+mn-cs"/>
                      </a:endParaRPr>
                    </a:p>
                  </a:txBody>
                  <a:tcPr marL="174642" marR="174642" marT="218274" marB="174619">
                    <a:solidFill>
                      <a:schemeClr val="bg1">
                        <a:lumMod val="95000"/>
                      </a:schemeClr>
                    </a:solidFill>
                  </a:tcPr>
                </a:tc>
                <a:extLst>
                  <a:ext uri="{0D108BD9-81ED-4DB2-BD59-A6C34878D82A}">
                    <a16:rowId xmlns:a16="http://schemas.microsoft.com/office/drawing/2014/main" val="3469904028"/>
                  </a:ext>
                </a:extLst>
              </a:tr>
            </a:tbl>
          </a:graphicData>
        </a:graphic>
      </p:graphicFrame>
      <p:sp>
        <p:nvSpPr>
          <p:cNvPr id="49" name="object 14">
            <a:extLst>
              <a:ext uri="{FF2B5EF4-FFF2-40B4-BE49-F238E27FC236}">
                <a16:creationId xmlns:a16="http://schemas.microsoft.com/office/drawing/2014/main" id="{A52E1F34-96C7-3C86-48A7-FAB9C405C20B}"/>
              </a:ext>
            </a:extLst>
          </p:cNvPr>
          <p:cNvSpPr/>
          <p:nvPr userDrawn="1"/>
        </p:nvSpPr>
        <p:spPr>
          <a:xfrm>
            <a:off x="577805" y="2265315"/>
            <a:ext cx="11006985" cy="45719"/>
          </a:xfrm>
          <a:custGeom>
            <a:avLst/>
            <a:gdLst/>
            <a:ahLst/>
            <a:cxnLst/>
            <a:rect l="l" t="t" r="r" b="b"/>
            <a:pathLst>
              <a:path w="18209260">
                <a:moveTo>
                  <a:pt x="0" y="0"/>
                </a:moveTo>
                <a:lnTo>
                  <a:pt x="18208869" y="0"/>
                </a:lnTo>
              </a:path>
            </a:pathLst>
          </a:custGeom>
          <a:ln w="9525">
            <a:solidFill>
              <a:schemeClr val="bg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7"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7"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8" name="Text Placeholder 4">
            <a:extLst>
              <a:ext uri="{FF2B5EF4-FFF2-40B4-BE49-F238E27FC236}">
                <a16:creationId xmlns:a16="http://schemas.microsoft.com/office/drawing/2014/main" id="{0FE60C61-D20F-0DE2-38DC-62D2FAD38472}"/>
              </a:ext>
            </a:extLst>
          </p:cNvPr>
          <p:cNvSpPr>
            <a:spLocks noGrp="1"/>
          </p:cNvSpPr>
          <p:nvPr>
            <p:ph type="body" sz="quarter" idx="29"/>
          </p:nvPr>
        </p:nvSpPr>
        <p:spPr>
          <a:xfrm>
            <a:off x="577178"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2" name="Oval 61">
            <a:extLst>
              <a:ext uri="{FF2B5EF4-FFF2-40B4-BE49-F238E27FC236}">
                <a16:creationId xmlns:a16="http://schemas.microsoft.com/office/drawing/2014/main" id="{178D6D93-FD32-F6AE-2A57-61C348C02B3E}"/>
              </a:ext>
            </a:extLst>
          </p:cNvPr>
          <p:cNvSpPr>
            <a:spLocks noChangeAspect="1"/>
          </p:cNvSpPr>
          <p:nvPr userDrawn="1"/>
        </p:nvSpPr>
        <p:spPr>
          <a:xfrm>
            <a:off x="2515019"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63" name="Text Placeholder 71">
            <a:extLst>
              <a:ext uri="{FF2B5EF4-FFF2-40B4-BE49-F238E27FC236}">
                <a16:creationId xmlns:a16="http://schemas.microsoft.com/office/drawing/2014/main" id="{21AE5853-8A99-8A93-1D01-2F7FCE23E3DD}"/>
              </a:ext>
            </a:extLst>
          </p:cNvPr>
          <p:cNvSpPr>
            <a:spLocks noGrp="1"/>
          </p:cNvSpPr>
          <p:nvPr>
            <p:ph type="body" sz="quarter" idx="30" hasCustomPrompt="1"/>
          </p:nvPr>
        </p:nvSpPr>
        <p:spPr>
          <a:xfrm>
            <a:off x="2411179"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64" name="Text Placeholder 4">
            <a:extLst>
              <a:ext uri="{FF2B5EF4-FFF2-40B4-BE49-F238E27FC236}">
                <a16:creationId xmlns:a16="http://schemas.microsoft.com/office/drawing/2014/main" id="{1AA430BA-739B-1F40-97FF-53B14467EF88}"/>
              </a:ext>
            </a:extLst>
          </p:cNvPr>
          <p:cNvSpPr>
            <a:spLocks noGrp="1"/>
          </p:cNvSpPr>
          <p:nvPr>
            <p:ph type="body" sz="quarter" idx="31"/>
          </p:nvPr>
        </p:nvSpPr>
        <p:spPr>
          <a:xfrm>
            <a:off x="2411180"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5" name="Oval 64">
            <a:extLst>
              <a:ext uri="{FF2B5EF4-FFF2-40B4-BE49-F238E27FC236}">
                <a16:creationId xmlns:a16="http://schemas.microsoft.com/office/drawing/2014/main" id="{DC0E5BE5-8378-48E2-C8D1-F22E49536780}"/>
              </a:ext>
            </a:extLst>
          </p:cNvPr>
          <p:cNvSpPr>
            <a:spLocks noChangeAspect="1"/>
          </p:cNvSpPr>
          <p:nvPr userDrawn="1"/>
        </p:nvSpPr>
        <p:spPr>
          <a:xfrm>
            <a:off x="4364033"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66" name="Text Placeholder 71">
            <a:extLst>
              <a:ext uri="{FF2B5EF4-FFF2-40B4-BE49-F238E27FC236}">
                <a16:creationId xmlns:a16="http://schemas.microsoft.com/office/drawing/2014/main" id="{DDCEF4C9-0B45-4A5E-2D03-31D3672575C4}"/>
              </a:ext>
            </a:extLst>
          </p:cNvPr>
          <p:cNvSpPr>
            <a:spLocks noGrp="1"/>
          </p:cNvSpPr>
          <p:nvPr>
            <p:ph type="body" sz="quarter" idx="32" hasCustomPrompt="1"/>
          </p:nvPr>
        </p:nvSpPr>
        <p:spPr>
          <a:xfrm>
            <a:off x="4260193"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67" name="Text Placeholder 4">
            <a:extLst>
              <a:ext uri="{FF2B5EF4-FFF2-40B4-BE49-F238E27FC236}">
                <a16:creationId xmlns:a16="http://schemas.microsoft.com/office/drawing/2014/main" id="{B994265A-DDDF-4B03-8D82-FB42EFBCBCE6}"/>
              </a:ext>
            </a:extLst>
          </p:cNvPr>
          <p:cNvSpPr>
            <a:spLocks noGrp="1"/>
          </p:cNvSpPr>
          <p:nvPr>
            <p:ph type="body" sz="quarter" idx="33"/>
          </p:nvPr>
        </p:nvSpPr>
        <p:spPr>
          <a:xfrm>
            <a:off x="4260194"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8" name="Oval 67">
            <a:extLst>
              <a:ext uri="{FF2B5EF4-FFF2-40B4-BE49-F238E27FC236}">
                <a16:creationId xmlns:a16="http://schemas.microsoft.com/office/drawing/2014/main" id="{0F31CF81-312F-837D-5714-92C7014354C5}"/>
              </a:ext>
            </a:extLst>
          </p:cNvPr>
          <p:cNvSpPr>
            <a:spLocks noChangeAspect="1"/>
          </p:cNvSpPr>
          <p:nvPr userDrawn="1"/>
        </p:nvSpPr>
        <p:spPr>
          <a:xfrm>
            <a:off x="6199839"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69" name="Text Placeholder 71">
            <a:extLst>
              <a:ext uri="{FF2B5EF4-FFF2-40B4-BE49-F238E27FC236}">
                <a16:creationId xmlns:a16="http://schemas.microsoft.com/office/drawing/2014/main" id="{62AEAA69-3020-A0FF-5608-7AFD7A5D2986}"/>
              </a:ext>
            </a:extLst>
          </p:cNvPr>
          <p:cNvSpPr>
            <a:spLocks noGrp="1"/>
          </p:cNvSpPr>
          <p:nvPr>
            <p:ph type="body" sz="quarter" idx="34" hasCustomPrompt="1"/>
          </p:nvPr>
        </p:nvSpPr>
        <p:spPr>
          <a:xfrm>
            <a:off x="6095999"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70" name="Text Placeholder 4">
            <a:extLst>
              <a:ext uri="{FF2B5EF4-FFF2-40B4-BE49-F238E27FC236}">
                <a16:creationId xmlns:a16="http://schemas.microsoft.com/office/drawing/2014/main" id="{79626162-0EE9-3BA8-0CDF-67028FE32F18}"/>
              </a:ext>
            </a:extLst>
          </p:cNvPr>
          <p:cNvSpPr>
            <a:spLocks noGrp="1"/>
          </p:cNvSpPr>
          <p:nvPr>
            <p:ph type="body" sz="quarter" idx="35"/>
          </p:nvPr>
        </p:nvSpPr>
        <p:spPr>
          <a:xfrm>
            <a:off x="6096000"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71" name="Oval 70">
            <a:extLst>
              <a:ext uri="{FF2B5EF4-FFF2-40B4-BE49-F238E27FC236}">
                <a16:creationId xmlns:a16="http://schemas.microsoft.com/office/drawing/2014/main" id="{D4AB8F32-B492-2CD9-826C-E5C5378592C9}"/>
              </a:ext>
            </a:extLst>
          </p:cNvPr>
          <p:cNvSpPr>
            <a:spLocks noChangeAspect="1"/>
          </p:cNvSpPr>
          <p:nvPr userDrawn="1"/>
        </p:nvSpPr>
        <p:spPr>
          <a:xfrm>
            <a:off x="8035644"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72" name="Text Placeholder 71">
            <a:extLst>
              <a:ext uri="{FF2B5EF4-FFF2-40B4-BE49-F238E27FC236}">
                <a16:creationId xmlns:a16="http://schemas.microsoft.com/office/drawing/2014/main" id="{3F1D7A91-7111-6E5C-279C-1B1D96950821}"/>
              </a:ext>
            </a:extLst>
          </p:cNvPr>
          <p:cNvSpPr>
            <a:spLocks noGrp="1"/>
          </p:cNvSpPr>
          <p:nvPr>
            <p:ph type="body" sz="quarter" idx="36" hasCustomPrompt="1"/>
          </p:nvPr>
        </p:nvSpPr>
        <p:spPr>
          <a:xfrm>
            <a:off x="7931804"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73" name="Text Placeholder 4">
            <a:extLst>
              <a:ext uri="{FF2B5EF4-FFF2-40B4-BE49-F238E27FC236}">
                <a16:creationId xmlns:a16="http://schemas.microsoft.com/office/drawing/2014/main" id="{0E2562B9-545B-AF00-D9F9-44E167A11B93}"/>
              </a:ext>
            </a:extLst>
          </p:cNvPr>
          <p:cNvSpPr>
            <a:spLocks noGrp="1"/>
          </p:cNvSpPr>
          <p:nvPr>
            <p:ph type="body" sz="quarter" idx="37"/>
          </p:nvPr>
        </p:nvSpPr>
        <p:spPr>
          <a:xfrm>
            <a:off x="7931805"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74" name="Oval 73">
            <a:extLst>
              <a:ext uri="{FF2B5EF4-FFF2-40B4-BE49-F238E27FC236}">
                <a16:creationId xmlns:a16="http://schemas.microsoft.com/office/drawing/2014/main" id="{A45C6367-A74F-1C2C-672E-F2E6078D3C68}"/>
              </a:ext>
            </a:extLst>
          </p:cNvPr>
          <p:cNvSpPr>
            <a:spLocks noChangeAspect="1"/>
          </p:cNvSpPr>
          <p:nvPr userDrawn="1"/>
        </p:nvSpPr>
        <p:spPr>
          <a:xfrm>
            <a:off x="9847196"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75" name="Text Placeholder 71">
            <a:extLst>
              <a:ext uri="{FF2B5EF4-FFF2-40B4-BE49-F238E27FC236}">
                <a16:creationId xmlns:a16="http://schemas.microsoft.com/office/drawing/2014/main" id="{5865903F-F98B-94C0-7563-3A297E41DA2E}"/>
              </a:ext>
            </a:extLst>
          </p:cNvPr>
          <p:cNvSpPr>
            <a:spLocks noGrp="1"/>
          </p:cNvSpPr>
          <p:nvPr>
            <p:ph type="body" sz="quarter" idx="38" hasCustomPrompt="1"/>
          </p:nvPr>
        </p:nvSpPr>
        <p:spPr>
          <a:xfrm>
            <a:off x="9743356"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76" name="Text Placeholder 4">
            <a:extLst>
              <a:ext uri="{FF2B5EF4-FFF2-40B4-BE49-F238E27FC236}">
                <a16:creationId xmlns:a16="http://schemas.microsoft.com/office/drawing/2014/main" id="{CAB912CE-814A-19EE-2402-D55C72FA588E}"/>
              </a:ext>
            </a:extLst>
          </p:cNvPr>
          <p:cNvSpPr>
            <a:spLocks noGrp="1"/>
          </p:cNvSpPr>
          <p:nvPr>
            <p:ph type="body" sz="quarter" idx="39"/>
          </p:nvPr>
        </p:nvSpPr>
        <p:spPr>
          <a:xfrm>
            <a:off x="9743357"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1479057480"/>
      </p:ext>
    </p:extLst>
  </p:cSld>
  <p:clrMapOvr>
    <a:masterClrMapping/>
  </p:clrMapOvr>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Annual Timeline">
    <p:spTree>
      <p:nvGrpSpPr>
        <p:cNvPr id="1" name=""/>
        <p:cNvGrpSpPr/>
        <p:nvPr/>
      </p:nvGrpSpPr>
      <p:grpSpPr>
        <a:xfrm>
          <a:off x="0" y="0"/>
          <a:ext cx="0" cy="0"/>
          <a:chOff x="0" y="0"/>
          <a:chExt cx="0" cy="0"/>
        </a:xfrm>
      </p:grpSpPr>
      <p:graphicFrame>
        <p:nvGraphicFramePr>
          <p:cNvPr id="30" name="Table 29">
            <a:extLst>
              <a:ext uri="{FF2B5EF4-FFF2-40B4-BE49-F238E27FC236}">
                <a16:creationId xmlns:a16="http://schemas.microsoft.com/office/drawing/2014/main" id="{803BAA2C-9254-B18D-A058-251E52C66E89}"/>
              </a:ext>
            </a:extLst>
          </p:cNvPr>
          <p:cNvGraphicFramePr>
            <a:graphicFrameLocks noGrp="1"/>
          </p:cNvGraphicFramePr>
          <p:nvPr userDrawn="1">
            <p:extLst>
              <p:ext uri="{D42A27DB-BD31-4B8C-83A1-F6EECF244321}">
                <p14:modId xmlns:p14="http://schemas.microsoft.com/office/powerpoint/2010/main" val="4106880639"/>
              </p:ext>
            </p:extLst>
          </p:nvPr>
        </p:nvGraphicFramePr>
        <p:xfrm>
          <a:off x="606585" y="2278196"/>
          <a:ext cx="11007612" cy="3618726"/>
        </p:xfrm>
        <a:graphic>
          <a:graphicData uri="http://schemas.openxmlformats.org/drawingml/2006/table">
            <a:tbl>
              <a:tblPr bandCol="1">
                <a:tableStyleId>{2D5ABB26-0587-4C30-8999-92F81FD0307C}</a:tableStyleId>
              </a:tblPr>
              <a:tblGrid>
                <a:gridCol w="917301">
                  <a:extLst>
                    <a:ext uri="{9D8B030D-6E8A-4147-A177-3AD203B41FA5}">
                      <a16:colId xmlns:a16="http://schemas.microsoft.com/office/drawing/2014/main" val="4151945498"/>
                    </a:ext>
                  </a:extLst>
                </a:gridCol>
                <a:gridCol w="917301">
                  <a:extLst>
                    <a:ext uri="{9D8B030D-6E8A-4147-A177-3AD203B41FA5}">
                      <a16:colId xmlns:a16="http://schemas.microsoft.com/office/drawing/2014/main" val="1382627474"/>
                    </a:ext>
                  </a:extLst>
                </a:gridCol>
                <a:gridCol w="917301">
                  <a:extLst>
                    <a:ext uri="{9D8B030D-6E8A-4147-A177-3AD203B41FA5}">
                      <a16:colId xmlns:a16="http://schemas.microsoft.com/office/drawing/2014/main" val="2312284562"/>
                    </a:ext>
                  </a:extLst>
                </a:gridCol>
                <a:gridCol w="917301">
                  <a:extLst>
                    <a:ext uri="{9D8B030D-6E8A-4147-A177-3AD203B41FA5}">
                      <a16:colId xmlns:a16="http://schemas.microsoft.com/office/drawing/2014/main" val="380964293"/>
                    </a:ext>
                  </a:extLst>
                </a:gridCol>
                <a:gridCol w="917301">
                  <a:extLst>
                    <a:ext uri="{9D8B030D-6E8A-4147-A177-3AD203B41FA5}">
                      <a16:colId xmlns:a16="http://schemas.microsoft.com/office/drawing/2014/main" val="2227914870"/>
                    </a:ext>
                  </a:extLst>
                </a:gridCol>
                <a:gridCol w="917301">
                  <a:extLst>
                    <a:ext uri="{9D8B030D-6E8A-4147-A177-3AD203B41FA5}">
                      <a16:colId xmlns:a16="http://schemas.microsoft.com/office/drawing/2014/main" val="2386396939"/>
                    </a:ext>
                  </a:extLst>
                </a:gridCol>
                <a:gridCol w="917301">
                  <a:extLst>
                    <a:ext uri="{9D8B030D-6E8A-4147-A177-3AD203B41FA5}">
                      <a16:colId xmlns:a16="http://schemas.microsoft.com/office/drawing/2014/main" val="1442862435"/>
                    </a:ext>
                  </a:extLst>
                </a:gridCol>
                <a:gridCol w="917301">
                  <a:extLst>
                    <a:ext uri="{9D8B030D-6E8A-4147-A177-3AD203B41FA5}">
                      <a16:colId xmlns:a16="http://schemas.microsoft.com/office/drawing/2014/main" val="2496167856"/>
                    </a:ext>
                  </a:extLst>
                </a:gridCol>
                <a:gridCol w="917301">
                  <a:extLst>
                    <a:ext uri="{9D8B030D-6E8A-4147-A177-3AD203B41FA5}">
                      <a16:colId xmlns:a16="http://schemas.microsoft.com/office/drawing/2014/main" val="936398145"/>
                    </a:ext>
                  </a:extLst>
                </a:gridCol>
                <a:gridCol w="917301">
                  <a:extLst>
                    <a:ext uri="{9D8B030D-6E8A-4147-A177-3AD203B41FA5}">
                      <a16:colId xmlns:a16="http://schemas.microsoft.com/office/drawing/2014/main" val="3251811526"/>
                    </a:ext>
                  </a:extLst>
                </a:gridCol>
                <a:gridCol w="917301">
                  <a:extLst>
                    <a:ext uri="{9D8B030D-6E8A-4147-A177-3AD203B41FA5}">
                      <a16:colId xmlns:a16="http://schemas.microsoft.com/office/drawing/2014/main" val="2298212362"/>
                    </a:ext>
                  </a:extLst>
                </a:gridCol>
                <a:gridCol w="917301">
                  <a:extLst>
                    <a:ext uri="{9D8B030D-6E8A-4147-A177-3AD203B41FA5}">
                      <a16:colId xmlns:a16="http://schemas.microsoft.com/office/drawing/2014/main" val="1474312375"/>
                    </a:ext>
                  </a:extLst>
                </a:gridCol>
              </a:tblGrid>
              <a:tr h="3618726">
                <a:tc>
                  <a:txBody>
                    <a:bodyPr/>
                    <a:lstStyle/>
                    <a:p>
                      <a:pPr marL="0" algn="l" defTabSz="914400" rtl="0" eaLnBrk="1" latinLnBrk="0" hangingPunct="1">
                        <a:lnSpc>
                          <a:spcPct val="120000"/>
                        </a:lnSpc>
                        <a:spcAft>
                          <a:spcPts val="2400"/>
                        </a:spcAft>
                      </a:pPr>
                      <a:endParaRPr lang="en-US" sz="1000" b="0" i="0" kern="1200">
                        <a:solidFill>
                          <a:schemeClr val="tx1"/>
                        </a:solidFill>
                        <a:latin typeface="Arial" panose="020B0604020202020204" pitchFamily="34" charset="0"/>
                        <a:ea typeface="+mn-ea"/>
                        <a:cs typeface="+mn-cs"/>
                      </a:endParaRPr>
                    </a:p>
                  </a:txBody>
                  <a:tcPr marL="174642" marR="174642" marT="218274" marB="174619">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b="0" i="0" kern="1200">
                        <a:solidFill>
                          <a:schemeClr val="tx1"/>
                        </a:solidFill>
                        <a:latin typeface="Arial" panose="020B0604020202020204" pitchFamily="34" charset="0"/>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b="0" i="0" kern="1200">
                        <a:solidFill>
                          <a:schemeClr val="tx1"/>
                        </a:solidFill>
                        <a:latin typeface="Arial" panose="020B0604020202020204" pitchFamily="34" charset="0"/>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b="0" i="0" kern="1200">
                        <a:solidFill>
                          <a:schemeClr val="tx1"/>
                        </a:solidFill>
                        <a:latin typeface="Arial" panose="020B0604020202020204" pitchFamily="34" charset="0"/>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b="0" i="0" kern="1200">
                        <a:solidFill>
                          <a:schemeClr val="tx1"/>
                        </a:solidFill>
                        <a:latin typeface="Arial" panose="020B0604020202020204" pitchFamily="34" charset="0"/>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b="0" i="0" kern="1200">
                        <a:solidFill>
                          <a:schemeClr val="tx1"/>
                        </a:solidFill>
                        <a:latin typeface="Arial" panose="020B0604020202020204" pitchFamily="34" charset="0"/>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b="0" i="0" kern="1200">
                        <a:solidFill>
                          <a:schemeClr val="tx1"/>
                        </a:solidFill>
                        <a:latin typeface="Arial" panose="020B0604020202020204" pitchFamily="34" charset="0"/>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b="0" i="0" kern="1200">
                        <a:solidFill>
                          <a:schemeClr val="tx1"/>
                        </a:solidFill>
                        <a:latin typeface="Arial" panose="020B0604020202020204" pitchFamily="34" charset="0"/>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b="0" i="0" kern="1200">
                        <a:solidFill>
                          <a:schemeClr val="tx1"/>
                        </a:solidFill>
                        <a:latin typeface="Arial" panose="020B0604020202020204" pitchFamily="34" charset="0"/>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b="0" i="0" kern="1200">
                        <a:solidFill>
                          <a:schemeClr val="tx1"/>
                        </a:solidFill>
                        <a:latin typeface="Arial" panose="020B0604020202020204" pitchFamily="34" charset="0"/>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b="0" i="0" kern="1200">
                        <a:solidFill>
                          <a:schemeClr val="tx1"/>
                        </a:solidFill>
                        <a:latin typeface="Arial" panose="020B0604020202020204" pitchFamily="34" charset="0"/>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b="0" i="0" kern="1200">
                        <a:solidFill>
                          <a:schemeClr val="tx1"/>
                        </a:solidFill>
                        <a:latin typeface="Arial" panose="020B0604020202020204" pitchFamily="34" charset="0"/>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noFill/>
                  </a:tcPr>
                </a:tc>
                <a:extLst>
                  <a:ext uri="{0D108BD9-81ED-4DB2-BD59-A6C34878D82A}">
                    <a16:rowId xmlns:a16="http://schemas.microsoft.com/office/drawing/2014/main" val="3469904028"/>
                  </a:ext>
                </a:extLst>
              </a:tr>
            </a:tbl>
          </a:graphicData>
        </a:graphic>
      </p:graphicFrame>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49" name="object 14">
            <a:extLst>
              <a:ext uri="{FF2B5EF4-FFF2-40B4-BE49-F238E27FC236}">
                <a16:creationId xmlns:a16="http://schemas.microsoft.com/office/drawing/2014/main" id="{A52E1F34-96C7-3C86-48A7-FAB9C405C20B}"/>
              </a:ext>
            </a:extLst>
          </p:cNvPr>
          <p:cNvSpPr/>
          <p:nvPr userDrawn="1"/>
        </p:nvSpPr>
        <p:spPr>
          <a:xfrm>
            <a:off x="577805" y="2278195"/>
            <a:ext cx="11036388" cy="45719"/>
          </a:xfrm>
          <a:custGeom>
            <a:avLst/>
            <a:gdLst/>
            <a:ahLst/>
            <a:cxnLst/>
            <a:rect l="l" t="t" r="r" b="b"/>
            <a:pathLst>
              <a:path w="18209260">
                <a:moveTo>
                  <a:pt x="0" y="0"/>
                </a:moveTo>
                <a:lnTo>
                  <a:pt x="18208869" y="0"/>
                </a:lnTo>
              </a:path>
            </a:pathLst>
          </a:custGeom>
          <a:ln w="9525">
            <a:solidFill>
              <a:schemeClr val="tx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7"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1" name="Oval 50">
            <a:extLst>
              <a:ext uri="{FF2B5EF4-FFF2-40B4-BE49-F238E27FC236}">
                <a16:creationId xmlns:a16="http://schemas.microsoft.com/office/drawing/2014/main" id="{47D58FC1-83B9-3BAD-C3EF-06E8D5DE120F}"/>
              </a:ext>
            </a:extLst>
          </p:cNvPr>
          <p:cNvSpPr>
            <a:spLocks noChangeAspect="1"/>
          </p:cNvSpPr>
          <p:nvPr userDrawn="1"/>
        </p:nvSpPr>
        <p:spPr>
          <a:xfrm>
            <a:off x="3460438"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2" name="Oval 51">
            <a:extLst>
              <a:ext uri="{FF2B5EF4-FFF2-40B4-BE49-F238E27FC236}">
                <a16:creationId xmlns:a16="http://schemas.microsoft.com/office/drawing/2014/main" id="{9D582DFC-3D0D-D5F8-AA6B-5676C8C4B3BF}"/>
              </a:ext>
            </a:extLst>
          </p:cNvPr>
          <p:cNvSpPr>
            <a:spLocks noChangeAspect="1"/>
          </p:cNvSpPr>
          <p:nvPr userDrawn="1"/>
        </p:nvSpPr>
        <p:spPr>
          <a:xfrm>
            <a:off x="6227970"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3" name="Oval 52">
            <a:extLst>
              <a:ext uri="{FF2B5EF4-FFF2-40B4-BE49-F238E27FC236}">
                <a16:creationId xmlns:a16="http://schemas.microsoft.com/office/drawing/2014/main" id="{DF486150-9219-560A-8B4F-FB551F786E68}"/>
              </a:ext>
            </a:extLst>
          </p:cNvPr>
          <p:cNvSpPr>
            <a:spLocks noChangeAspect="1"/>
          </p:cNvSpPr>
          <p:nvPr userDrawn="1"/>
        </p:nvSpPr>
        <p:spPr>
          <a:xfrm>
            <a:off x="8985924"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7" y="1818875"/>
            <a:ext cx="2767426" cy="300442"/>
          </a:xfrm>
        </p:spPr>
        <p:txBody>
          <a:bodyPr lIns="108000" rIns="288000" anchor="b" anchorCtr="0">
            <a:noAutofit/>
          </a:bodyPr>
          <a:lstStyle>
            <a:lvl1pPr>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55" name="Text Placeholder 71">
            <a:extLst>
              <a:ext uri="{FF2B5EF4-FFF2-40B4-BE49-F238E27FC236}">
                <a16:creationId xmlns:a16="http://schemas.microsoft.com/office/drawing/2014/main" id="{799F0539-8B24-4E4B-EF4C-121B551D8BA3}"/>
              </a:ext>
            </a:extLst>
          </p:cNvPr>
          <p:cNvSpPr>
            <a:spLocks noGrp="1"/>
          </p:cNvSpPr>
          <p:nvPr>
            <p:ph type="body" sz="quarter" idx="16" hasCustomPrompt="1"/>
          </p:nvPr>
        </p:nvSpPr>
        <p:spPr>
          <a:xfrm>
            <a:off x="3344603" y="1818875"/>
            <a:ext cx="2746295" cy="300442"/>
          </a:xfrm>
        </p:spPr>
        <p:txBody>
          <a:bodyPr lIns="108000" rIns="288000" anchor="b" anchorCtr="0">
            <a:noAutofit/>
          </a:bodyPr>
          <a:lstStyle>
            <a:lvl1pPr marL="0" marR="0" indent="0" algn="l" defTabSz="914400" rtl="0" eaLnBrk="1" fontAlgn="auto" latinLnBrk="0" hangingPunct="1">
              <a:lnSpc>
                <a:spcPct val="110000"/>
              </a:lnSpc>
              <a:spcBef>
                <a:spcPts val="0"/>
              </a:spcBef>
              <a:spcAft>
                <a:spcPts val="1200"/>
              </a:spcAft>
              <a:buClrTx/>
              <a:buSzTx/>
              <a:buFont typeface="Arial" panose="020B0604020202020204" pitchFamily="34" charset="0"/>
              <a:buNone/>
              <a:tabLst/>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56" name="Text Placeholder 71">
            <a:extLst>
              <a:ext uri="{FF2B5EF4-FFF2-40B4-BE49-F238E27FC236}">
                <a16:creationId xmlns:a16="http://schemas.microsoft.com/office/drawing/2014/main" id="{9DFB2CE5-A177-E72D-3CD4-2646E4DCE502}"/>
              </a:ext>
            </a:extLst>
          </p:cNvPr>
          <p:cNvSpPr>
            <a:spLocks noGrp="1"/>
          </p:cNvSpPr>
          <p:nvPr>
            <p:ph type="body" sz="quarter" idx="18" hasCustomPrompt="1"/>
          </p:nvPr>
        </p:nvSpPr>
        <p:spPr>
          <a:xfrm>
            <a:off x="6100141" y="1818875"/>
            <a:ext cx="2745959" cy="300442"/>
          </a:xfrm>
        </p:spPr>
        <p:txBody>
          <a:bodyPr lIns="108000" rIns="288000" anchor="b" anchorCtr="0">
            <a:noAutofit/>
          </a:bodyPr>
          <a:lstStyle>
            <a:lvl1pPr>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57" name="Text Placeholder 71">
            <a:extLst>
              <a:ext uri="{FF2B5EF4-FFF2-40B4-BE49-F238E27FC236}">
                <a16:creationId xmlns:a16="http://schemas.microsoft.com/office/drawing/2014/main" id="{7A262EC1-F639-E81C-3343-3DA348DA9266}"/>
              </a:ext>
            </a:extLst>
          </p:cNvPr>
          <p:cNvSpPr>
            <a:spLocks noGrp="1"/>
          </p:cNvSpPr>
          <p:nvPr>
            <p:ph type="body" sz="quarter" idx="20" hasCustomPrompt="1"/>
          </p:nvPr>
        </p:nvSpPr>
        <p:spPr>
          <a:xfrm>
            <a:off x="8846100" y="1818875"/>
            <a:ext cx="2773719" cy="300442"/>
          </a:xfrm>
        </p:spPr>
        <p:txBody>
          <a:bodyPr lIns="108000" rIns="288000" anchor="b" anchorCtr="0">
            <a:noAutofit/>
          </a:bodyPr>
          <a:lstStyle>
            <a:lvl1pPr>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23" name="Text Placeholder 2">
            <a:extLst>
              <a:ext uri="{FF2B5EF4-FFF2-40B4-BE49-F238E27FC236}">
                <a16:creationId xmlns:a16="http://schemas.microsoft.com/office/drawing/2014/main" id="{3031F97C-D610-4D45-F78B-D175D9A0E755}"/>
              </a:ext>
            </a:extLst>
          </p:cNvPr>
          <p:cNvSpPr>
            <a:spLocks noGrp="1"/>
          </p:cNvSpPr>
          <p:nvPr>
            <p:ph type="body" sz="quarter" idx="47"/>
          </p:nvPr>
        </p:nvSpPr>
        <p:spPr>
          <a:xfrm>
            <a:off x="3485839" y="2583275"/>
            <a:ext cx="8012329" cy="380567"/>
          </a:xfrm>
          <a:prstGeom prst="roundRect">
            <a:avLst>
              <a:gd name="adj" fmla="val 50000"/>
            </a:avLst>
          </a:prstGeom>
          <a:solidFill>
            <a:srgbClr val="E6E6E6"/>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tx2">
                    <a:lumMod val="50000"/>
                  </a:schemeClr>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4" name="Text Placeholder 2">
            <a:extLst>
              <a:ext uri="{FF2B5EF4-FFF2-40B4-BE49-F238E27FC236}">
                <a16:creationId xmlns:a16="http://schemas.microsoft.com/office/drawing/2014/main" id="{1FF72A2C-EC93-1960-E000-9D1BE3C473D1}"/>
              </a:ext>
            </a:extLst>
          </p:cNvPr>
          <p:cNvSpPr>
            <a:spLocks noGrp="1"/>
          </p:cNvSpPr>
          <p:nvPr>
            <p:ph type="body" sz="quarter" idx="48"/>
          </p:nvPr>
        </p:nvSpPr>
        <p:spPr>
          <a:xfrm>
            <a:off x="718374" y="2588233"/>
            <a:ext cx="2451893" cy="380567"/>
          </a:xfrm>
          <a:prstGeom prst="roundRect">
            <a:avLst>
              <a:gd name="adj" fmla="val 50000"/>
            </a:avLst>
          </a:prstGeom>
          <a:solidFill>
            <a:schemeClr val="bg2"/>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5" name="Text Placeholder 2">
            <a:extLst>
              <a:ext uri="{FF2B5EF4-FFF2-40B4-BE49-F238E27FC236}">
                <a16:creationId xmlns:a16="http://schemas.microsoft.com/office/drawing/2014/main" id="{7B3311CB-DC37-BF2B-8E33-872990686A6F}"/>
              </a:ext>
            </a:extLst>
          </p:cNvPr>
          <p:cNvSpPr>
            <a:spLocks noGrp="1"/>
          </p:cNvSpPr>
          <p:nvPr>
            <p:ph type="body" sz="quarter" idx="49"/>
          </p:nvPr>
        </p:nvSpPr>
        <p:spPr>
          <a:xfrm>
            <a:off x="9020770" y="3112528"/>
            <a:ext cx="2477398" cy="380567"/>
          </a:xfrm>
          <a:prstGeom prst="roundRect">
            <a:avLst>
              <a:gd name="adj" fmla="val 50000"/>
            </a:avLst>
          </a:prstGeom>
          <a:solidFill>
            <a:schemeClr val="bg2"/>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6" name="Text Placeholder 2">
            <a:extLst>
              <a:ext uri="{FF2B5EF4-FFF2-40B4-BE49-F238E27FC236}">
                <a16:creationId xmlns:a16="http://schemas.microsoft.com/office/drawing/2014/main" id="{4C6A5BFA-3D10-182C-1A20-2F9F25DA5EC7}"/>
              </a:ext>
            </a:extLst>
          </p:cNvPr>
          <p:cNvSpPr>
            <a:spLocks noGrp="1"/>
          </p:cNvSpPr>
          <p:nvPr>
            <p:ph type="body" sz="quarter" idx="50"/>
          </p:nvPr>
        </p:nvSpPr>
        <p:spPr>
          <a:xfrm>
            <a:off x="718374" y="3112528"/>
            <a:ext cx="8012329" cy="380567"/>
          </a:xfrm>
          <a:prstGeom prst="roundRect">
            <a:avLst>
              <a:gd name="adj" fmla="val 50000"/>
            </a:avLst>
          </a:prstGeom>
          <a:solidFill>
            <a:srgbClr val="E6E6E6"/>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tx2">
                    <a:lumMod val="50000"/>
                  </a:schemeClr>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7" name="Text Placeholder 2">
            <a:extLst>
              <a:ext uri="{FF2B5EF4-FFF2-40B4-BE49-F238E27FC236}">
                <a16:creationId xmlns:a16="http://schemas.microsoft.com/office/drawing/2014/main" id="{63D306BC-6AA0-5B15-EAD0-1C4B6C007AE2}"/>
              </a:ext>
            </a:extLst>
          </p:cNvPr>
          <p:cNvSpPr>
            <a:spLocks noGrp="1"/>
          </p:cNvSpPr>
          <p:nvPr>
            <p:ph type="body" sz="quarter" idx="52"/>
          </p:nvPr>
        </p:nvSpPr>
        <p:spPr>
          <a:xfrm>
            <a:off x="718374" y="3636823"/>
            <a:ext cx="10779794" cy="380567"/>
          </a:xfrm>
          <a:prstGeom prst="roundRect">
            <a:avLst>
              <a:gd name="adj" fmla="val 50000"/>
            </a:avLst>
          </a:prstGeom>
          <a:solidFill>
            <a:schemeClr val="tx2"/>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8" name="Text Placeholder 2">
            <a:extLst>
              <a:ext uri="{FF2B5EF4-FFF2-40B4-BE49-F238E27FC236}">
                <a16:creationId xmlns:a16="http://schemas.microsoft.com/office/drawing/2014/main" id="{2F279148-11D1-D193-7504-E15A8DBBB7ED}"/>
              </a:ext>
            </a:extLst>
          </p:cNvPr>
          <p:cNvSpPr>
            <a:spLocks noGrp="1"/>
          </p:cNvSpPr>
          <p:nvPr>
            <p:ph type="body" sz="quarter" idx="54"/>
          </p:nvPr>
        </p:nvSpPr>
        <p:spPr>
          <a:xfrm>
            <a:off x="1947773" y="4161117"/>
            <a:ext cx="9537643" cy="380567"/>
          </a:xfrm>
          <a:prstGeom prst="roundRect">
            <a:avLst>
              <a:gd name="adj" fmla="val 50000"/>
            </a:avLst>
          </a:prstGeom>
          <a:solidFill>
            <a:srgbClr val="E6E6E6"/>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tx2">
                    <a:lumMod val="50000"/>
                  </a:schemeClr>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9" name="Text Placeholder 2">
            <a:extLst>
              <a:ext uri="{FF2B5EF4-FFF2-40B4-BE49-F238E27FC236}">
                <a16:creationId xmlns:a16="http://schemas.microsoft.com/office/drawing/2014/main" id="{B7F7FC01-6091-5D90-D333-FA5671F43B8E}"/>
              </a:ext>
            </a:extLst>
          </p:cNvPr>
          <p:cNvSpPr>
            <a:spLocks noGrp="1"/>
          </p:cNvSpPr>
          <p:nvPr>
            <p:ph type="body" sz="quarter" idx="56"/>
          </p:nvPr>
        </p:nvSpPr>
        <p:spPr>
          <a:xfrm>
            <a:off x="7492654" y="4685411"/>
            <a:ext cx="3986410" cy="380567"/>
          </a:xfrm>
          <a:prstGeom prst="roundRect">
            <a:avLst>
              <a:gd name="adj" fmla="val 50000"/>
            </a:avLst>
          </a:prstGeom>
          <a:solidFill>
            <a:schemeClr val="accent5"/>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Tree>
    <p:extLst>
      <p:ext uri="{BB962C8B-B14F-4D97-AF65-F5344CB8AC3E}">
        <p14:creationId xmlns:p14="http://schemas.microsoft.com/office/powerpoint/2010/main" val="3455057993"/>
      </p:ext>
    </p:extLst>
  </p:cSld>
  <p:clrMapOvr>
    <a:masterClrMapping/>
  </p:clrMapOvr>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5" name="Text Placeholder 8">
            <a:extLst>
              <a:ext uri="{FF2B5EF4-FFF2-40B4-BE49-F238E27FC236}">
                <a16:creationId xmlns:a16="http://schemas.microsoft.com/office/drawing/2014/main" id="{645879FE-583A-DE44-88BA-EB276A69E0F6}"/>
              </a:ext>
            </a:extLst>
          </p:cNvPr>
          <p:cNvSpPr>
            <a:spLocks noGrp="1"/>
          </p:cNvSpPr>
          <p:nvPr>
            <p:ph type="body" idx="13"/>
          </p:nvPr>
        </p:nvSpPr>
        <p:spPr>
          <a:xfrm>
            <a:off x="531133" y="1304925"/>
            <a:ext cx="11144930" cy="592778"/>
          </a:xfrm>
        </p:spPr>
        <p:txBody>
          <a:bodyPr numCol="1" spcCol="180000">
            <a:normAutofit/>
          </a:bodyPr>
          <a:lstStyle>
            <a:lvl1pPr marL="0" indent="0">
              <a:buClr>
                <a:schemeClr val="bg2"/>
              </a:buClr>
              <a:buFont typeface="Arial" panose="020B0604020202020204" pitchFamily="34" charset="0"/>
              <a:buNone/>
              <a:defRPr sz="1600">
                <a:solidFill>
                  <a:schemeClr val="tx2">
                    <a:lumMod val="50000"/>
                  </a:schemeClr>
                </a:solidFill>
              </a:defRPr>
            </a:lvl1pPr>
          </a:lstStyle>
          <a:p>
            <a:pPr lvl="0"/>
            <a:r>
              <a:rPr lang="en-GB"/>
              <a:t>Click to edit Master text styles</a:t>
            </a:r>
          </a:p>
        </p:txBody>
      </p:sp>
      <p:sp>
        <p:nvSpPr>
          <p:cNvPr id="5" name="Table Placeholder 4">
            <a:extLst>
              <a:ext uri="{FF2B5EF4-FFF2-40B4-BE49-F238E27FC236}">
                <a16:creationId xmlns:a16="http://schemas.microsoft.com/office/drawing/2014/main" id="{229D7B8B-35CA-A145-A474-98CA941C8914}"/>
              </a:ext>
            </a:extLst>
          </p:cNvPr>
          <p:cNvSpPr>
            <a:spLocks noGrp="1"/>
          </p:cNvSpPr>
          <p:nvPr>
            <p:ph type="tbl" sz="quarter" idx="14"/>
          </p:nvPr>
        </p:nvSpPr>
        <p:spPr>
          <a:xfrm>
            <a:off x="515938" y="2081213"/>
            <a:ext cx="11153775" cy="3832225"/>
          </a:xfrm>
        </p:spPr>
        <p:txBody>
          <a:bodyPr anchor="ctr">
            <a:normAutofit/>
          </a:bodyPr>
          <a:lstStyle>
            <a:lvl1pPr algn="ctr">
              <a:defRPr sz="1600">
                <a:solidFill>
                  <a:schemeClr val="bg1">
                    <a:lumMod val="50000"/>
                  </a:schemeClr>
                </a:solidFill>
              </a:defRPr>
            </a:lvl1pPr>
          </a:lstStyle>
          <a:p>
            <a:r>
              <a:rPr lang="en-GB"/>
              <a:t>Click icon to add table</a:t>
            </a:r>
          </a:p>
        </p:txBody>
      </p:sp>
    </p:spTree>
    <p:extLst>
      <p:ext uri="{BB962C8B-B14F-4D97-AF65-F5344CB8AC3E}">
        <p14:creationId xmlns:p14="http://schemas.microsoft.com/office/powerpoint/2010/main" val="1314875851"/>
      </p:ext>
    </p:extLst>
  </p:cSld>
  <p:clrMapOvr>
    <a:masterClrMapping/>
  </p:clrMapOvr>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Graph">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lvl1pPr>
              <a:defRPr>
                <a:solidFill>
                  <a:schemeClr val="tx2"/>
                </a:solidFill>
              </a:defRPr>
            </a:lvl1p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6" name="Chart Placeholder 5">
            <a:extLst>
              <a:ext uri="{FF2B5EF4-FFF2-40B4-BE49-F238E27FC236}">
                <a16:creationId xmlns:a16="http://schemas.microsoft.com/office/drawing/2014/main" id="{D54A1155-34EB-A04A-AA96-8DCEA2A0B8AF}"/>
              </a:ext>
            </a:extLst>
          </p:cNvPr>
          <p:cNvSpPr>
            <a:spLocks noGrp="1"/>
          </p:cNvSpPr>
          <p:nvPr>
            <p:ph type="chart" sz="quarter" idx="13" hasCustomPrompt="1"/>
          </p:nvPr>
        </p:nvSpPr>
        <p:spPr>
          <a:xfrm>
            <a:off x="515938" y="1304925"/>
            <a:ext cx="11160125" cy="4608513"/>
          </a:xfrm>
        </p:spPr>
        <p:txBody>
          <a:bodyPr anchor="ctr">
            <a:normAutofit/>
          </a:bodyPr>
          <a:lstStyle>
            <a:lvl1pPr algn="ctr">
              <a:defRPr sz="1600">
                <a:solidFill>
                  <a:schemeClr val="bg1">
                    <a:lumMod val="50000"/>
                  </a:schemeClr>
                </a:solidFill>
              </a:defRPr>
            </a:lvl1pPr>
          </a:lstStyle>
          <a:p>
            <a:r>
              <a:rPr lang="en-GB"/>
              <a:t>Click icon to add graph</a:t>
            </a:r>
          </a:p>
        </p:txBody>
      </p:sp>
    </p:spTree>
    <p:extLst>
      <p:ext uri="{BB962C8B-B14F-4D97-AF65-F5344CB8AC3E}">
        <p14:creationId xmlns:p14="http://schemas.microsoft.com/office/powerpoint/2010/main" val="3351628577"/>
      </p:ext>
    </p:extLst>
  </p:cSld>
  <p:clrMapOvr>
    <a:masterClrMapping/>
  </p:clrMapOvr>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Graph + Intro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lvl1pPr>
              <a:defRPr>
                <a:solidFill>
                  <a:schemeClr val="tx2"/>
                </a:solidFill>
              </a:defRPr>
            </a:lvl1p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6" name="Chart Placeholder 5">
            <a:extLst>
              <a:ext uri="{FF2B5EF4-FFF2-40B4-BE49-F238E27FC236}">
                <a16:creationId xmlns:a16="http://schemas.microsoft.com/office/drawing/2014/main" id="{D54A1155-34EB-A04A-AA96-8DCEA2A0B8AF}"/>
              </a:ext>
            </a:extLst>
          </p:cNvPr>
          <p:cNvSpPr>
            <a:spLocks noGrp="1"/>
          </p:cNvSpPr>
          <p:nvPr>
            <p:ph type="chart" sz="quarter" idx="13" hasCustomPrompt="1"/>
          </p:nvPr>
        </p:nvSpPr>
        <p:spPr>
          <a:xfrm>
            <a:off x="515938" y="2186941"/>
            <a:ext cx="11160125" cy="3726497"/>
          </a:xfrm>
        </p:spPr>
        <p:txBody>
          <a:bodyPr anchor="ctr">
            <a:normAutofit/>
          </a:bodyPr>
          <a:lstStyle>
            <a:lvl1pPr algn="ctr">
              <a:defRPr sz="1600">
                <a:solidFill>
                  <a:schemeClr val="bg1">
                    <a:lumMod val="50000"/>
                  </a:schemeClr>
                </a:solidFill>
              </a:defRPr>
            </a:lvl1pPr>
          </a:lstStyle>
          <a:p>
            <a:r>
              <a:rPr lang="en-GB"/>
              <a:t>Click icon to add graph</a:t>
            </a:r>
          </a:p>
        </p:txBody>
      </p:sp>
      <p:sp>
        <p:nvSpPr>
          <p:cNvPr id="9" name="Text Placeholder 8">
            <a:extLst>
              <a:ext uri="{FF2B5EF4-FFF2-40B4-BE49-F238E27FC236}">
                <a16:creationId xmlns:a16="http://schemas.microsoft.com/office/drawing/2014/main" id="{70B67ED7-707C-628A-DD8C-8D05275A882F}"/>
              </a:ext>
            </a:extLst>
          </p:cNvPr>
          <p:cNvSpPr>
            <a:spLocks noGrp="1"/>
          </p:cNvSpPr>
          <p:nvPr>
            <p:ph type="body" idx="14"/>
          </p:nvPr>
        </p:nvSpPr>
        <p:spPr>
          <a:xfrm>
            <a:off x="531133" y="1304924"/>
            <a:ext cx="11144930" cy="760095"/>
          </a:xfrm>
        </p:spPr>
        <p:txBody>
          <a:bodyPr numCol="1" spcCol="180000">
            <a:normAutofit/>
          </a:bodyPr>
          <a:lstStyle>
            <a:lvl1pPr marL="0" indent="0">
              <a:buClr>
                <a:schemeClr val="bg2"/>
              </a:buClr>
              <a:buFont typeface="Arial" panose="020B0604020202020204" pitchFamily="34" charset="0"/>
              <a:buNone/>
              <a:defRPr sz="1600">
                <a:solidFill>
                  <a:schemeClr val="tx2">
                    <a:lumMod val="50000"/>
                  </a:schemeClr>
                </a:solidFill>
              </a:defRPr>
            </a:lvl1pPr>
          </a:lstStyle>
          <a:p>
            <a:pPr lvl="0"/>
            <a:r>
              <a:rPr lang="en-GB"/>
              <a:t>Click to edit Master text styles</a:t>
            </a:r>
          </a:p>
        </p:txBody>
      </p:sp>
    </p:spTree>
    <p:extLst>
      <p:ext uri="{BB962C8B-B14F-4D97-AF65-F5344CB8AC3E}">
        <p14:creationId xmlns:p14="http://schemas.microsoft.com/office/powerpoint/2010/main" val="3921180461"/>
      </p:ext>
    </p:extLst>
  </p:cSld>
  <p:clrMapOvr>
    <a:masterClrMapping/>
  </p:clrMapOvr>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Text + Graph">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lvl1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 name="Chart Placeholder 2">
            <a:extLst>
              <a:ext uri="{FF2B5EF4-FFF2-40B4-BE49-F238E27FC236}">
                <a16:creationId xmlns:a16="http://schemas.microsoft.com/office/drawing/2014/main" id="{5F41B758-C970-D84A-B3ED-8A3CB892A835}"/>
              </a:ext>
            </a:extLst>
          </p:cNvPr>
          <p:cNvSpPr>
            <a:spLocks noGrp="1"/>
          </p:cNvSpPr>
          <p:nvPr>
            <p:ph type="chart" sz="quarter" idx="14" hasCustomPrompt="1"/>
          </p:nvPr>
        </p:nvSpPr>
        <p:spPr>
          <a:xfrm>
            <a:off x="6762750" y="366371"/>
            <a:ext cx="4913313" cy="5547067"/>
          </a:xfrm>
        </p:spPr>
        <p:txBody>
          <a:bodyPr anchor="ctr">
            <a:normAutofit/>
          </a:bodyPr>
          <a:lstStyle>
            <a:lvl1pPr algn="ctr">
              <a:defRPr sz="1600">
                <a:solidFill>
                  <a:schemeClr val="bg1">
                    <a:lumMod val="50000"/>
                  </a:schemeClr>
                </a:solidFill>
              </a:defRPr>
            </a:lvl1pPr>
          </a:lstStyle>
          <a:p>
            <a:r>
              <a:rPr lang="en-GB"/>
              <a:t>Click icon to add graph</a:t>
            </a:r>
          </a:p>
        </p:txBody>
      </p:sp>
    </p:spTree>
    <p:extLst>
      <p:ext uri="{BB962C8B-B14F-4D97-AF65-F5344CB8AC3E}">
        <p14:creationId xmlns:p14="http://schemas.microsoft.com/office/powerpoint/2010/main" val="3334351296"/>
      </p:ext>
    </p:extLst>
  </p:cSld>
  <p:clrMapOvr>
    <a:masterClrMapping/>
  </p:clrMapOvr>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Text + Graph + Key Sta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2951067"/>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 name="Chart Placeholder 2">
            <a:extLst>
              <a:ext uri="{FF2B5EF4-FFF2-40B4-BE49-F238E27FC236}">
                <a16:creationId xmlns:a16="http://schemas.microsoft.com/office/drawing/2014/main" id="{5F41B758-C970-D84A-B3ED-8A3CB892A835}"/>
              </a:ext>
            </a:extLst>
          </p:cNvPr>
          <p:cNvSpPr>
            <a:spLocks noGrp="1"/>
          </p:cNvSpPr>
          <p:nvPr>
            <p:ph type="chart" sz="quarter" idx="14" hasCustomPrompt="1"/>
          </p:nvPr>
        </p:nvSpPr>
        <p:spPr>
          <a:xfrm>
            <a:off x="6762750" y="366371"/>
            <a:ext cx="4913313" cy="5547067"/>
          </a:xfrm>
        </p:spPr>
        <p:txBody>
          <a:bodyPr anchor="ctr">
            <a:normAutofit/>
          </a:bodyPr>
          <a:lstStyle>
            <a:lvl1pPr algn="ctr">
              <a:defRPr sz="1600">
                <a:solidFill>
                  <a:schemeClr val="bg1">
                    <a:lumMod val="50000"/>
                  </a:schemeClr>
                </a:solidFill>
              </a:defRPr>
            </a:lvl1pPr>
          </a:lstStyle>
          <a:p>
            <a:r>
              <a:rPr lang="en-GB"/>
              <a:t>Click icon to add graph</a:t>
            </a:r>
          </a:p>
        </p:txBody>
      </p:sp>
      <p:sp>
        <p:nvSpPr>
          <p:cNvPr id="12" name="Table Placeholder 13">
            <a:extLst>
              <a:ext uri="{FF2B5EF4-FFF2-40B4-BE49-F238E27FC236}">
                <a16:creationId xmlns:a16="http://schemas.microsoft.com/office/drawing/2014/main" id="{0471F0B8-12A0-7A45-8C7A-E02063FE5C87}"/>
              </a:ext>
            </a:extLst>
          </p:cNvPr>
          <p:cNvSpPr>
            <a:spLocks noGrp="1"/>
          </p:cNvSpPr>
          <p:nvPr>
            <p:ph type="tbl" sz="quarter" idx="16" hasCustomPrompt="1"/>
          </p:nvPr>
        </p:nvSpPr>
        <p:spPr>
          <a:xfrm>
            <a:off x="531813" y="4531663"/>
            <a:ext cx="5564187" cy="1381775"/>
          </a:xfrm>
        </p:spPr>
        <p:txBody>
          <a:bodyPr anchor="ctr">
            <a:normAutofit/>
          </a:bodyPr>
          <a:lstStyle>
            <a:lvl1pPr algn="ctr">
              <a:defRPr sz="1600">
                <a:solidFill>
                  <a:schemeClr val="bg1">
                    <a:lumMod val="50000"/>
                  </a:schemeClr>
                </a:solidFill>
              </a:defRPr>
            </a:lvl1pPr>
          </a:lstStyle>
          <a:p>
            <a:r>
              <a:rPr lang="en-GB"/>
              <a:t>Click here to insert table of key statistics</a:t>
            </a:r>
          </a:p>
        </p:txBody>
      </p:sp>
    </p:spTree>
    <p:extLst>
      <p:ext uri="{BB962C8B-B14F-4D97-AF65-F5344CB8AC3E}">
        <p14:creationId xmlns:p14="http://schemas.microsoft.com/office/powerpoint/2010/main" val="2054210742"/>
      </p:ext>
    </p:extLst>
  </p:cSld>
  <p:clrMapOvr>
    <a:masterClrMapping/>
  </p:clrMapOvr>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Headshots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9" name="Picture Placeholder 9">
            <a:extLst>
              <a:ext uri="{FF2B5EF4-FFF2-40B4-BE49-F238E27FC236}">
                <a16:creationId xmlns:a16="http://schemas.microsoft.com/office/drawing/2014/main" id="{F7144900-27CB-F8C8-8750-EBFD50556D3C}"/>
              </a:ext>
            </a:extLst>
          </p:cNvPr>
          <p:cNvSpPr>
            <a:spLocks noGrp="1"/>
          </p:cNvSpPr>
          <p:nvPr>
            <p:ph type="pic" sz="quarter" idx="20" hasCustomPrompt="1"/>
          </p:nvPr>
        </p:nvSpPr>
        <p:spPr>
          <a:xfrm>
            <a:off x="515937" y="1738603"/>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1" name="Picture Placeholder 9">
            <a:extLst>
              <a:ext uri="{FF2B5EF4-FFF2-40B4-BE49-F238E27FC236}">
                <a16:creationId xmlns:a16="http://schemas.microsoft.com/office/drawing/2014/main" id="{BA371966-686F-3873-1B61-8D4F2F1781AB}"/>
              </a:ext>
            </a:extLst>
          </p:cNvPr>
          <p:cNvSpPr>
            <a:spLocks noGrp="1"/>
          </p:cNvSpPr>
          <p:nvPr>
            <p:ph type="pic" sz="quarter" idx="21" hasCustomPrompt="1"/>
          </p:nvPr>
        </p:nvSpPr>
        <p:spPr>
          <a:xfrm>
            <a:off x="6409056" y="1738603"/>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2" name="Text Placeholder 15">
            <a:extLst>
              <a:ext uri="{FF2B5EF4-FFF2-40B4-BE49-F238E27FC236}">
                <a16:creationId xmlns:a16="http://schemas.microsoft.com/office/drawing/2014/main" id="{71BA048F-6972-4609-34F2-EF8FDBBDBB0C}"/>
              </a:ext>
            </a:extLst>
          </p:cNvPr>
          <p:cNvSpPr>
            <a:spLocks noGrp="1"/>
          </p:cNvSpPr>
          <p:nvPr>
            <p:ph type="body" sz="quarter" idx="22"/>
          </p:nvPr>
        </p:nvSpPr>
        <p:spPr>
          <a:xfrm>
            <a:off x="8234278" y="1915486"/>
            <a:ext cx="3355742" cy="1163606"/>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17" name="Picture Placeholder 9">
            <a:extLst>
              <a:ext uri="{FF2B5EF4-FFF2-40B4-BE49-F238E27FC236}">
                <a16:creationId xmlns:a16="http://schemas.microsoft.com/office/drawing/2014/main" id="{224FF60B-6BD0-9B1E-2959-11D6263640AF}"/>
              </a:ext>
            </a:extLst>
          </p:cNvPr>
          <p:cNvSpPr>
            <a:spLocks noGrp="1"/>
          </p:cNvSpPr>
          <p:nvPr>
            <p:ph type="pic" sz="quarter" idx="25" hasCustomPrompt="1"/>
          </p:nvPr>
        </p:nvSpPr>
        <p:spPr>
          <a:xfrm>
            <a:off x="515937" y="3998564"/>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8" name="Picture Placeholder 9">
            <a:extLst>
              <a:ext uri="{FF2B5EF4-FFF2-40B4-BE49-F238E27FC236}">
                <a16:creationId xmlns:a16="http://schemas.microsoft.com/office/drawing/2014/main" id="{2DB6CCCB-718D-70C8-7A09-2EE0D7144525}"/>
              </a:ext>
            </a:extLst>
          </p:cNvPr>
          <p:cNvSpPr>
            <a:spLocks noGrp="1"/>
          </p:cNvSpPr>
          <p:nvPr>
            <p:ph type="pic" sz="quarter" idx="27" hasCustomPrompt="1"/>
          </p:nvPr>
        </p:nvSpPr>
        <p:spPr>
          <a:xfrm>
            <a:off x="6409056" y="3998564"/>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9" name="Text Placeholder 15">
            <a:extLst>
              <a:ext uri="{FF2B5EF4-FFF2-40B4-BE49-F238E27FC236}">
                <a16:creationId xmlns:a16="http://schemas.microsoft.com/office/drawing/2014/main" id="{B6878B28-F503-455B-0FEA-80DE70905427}"/>
              </a:ext>
            </a:extLst>
          </p:cNvPr>
          <p:cNvSpPr>
            <a:spLocks noGrp="1"/>
          </p:cNvSpPr>
          <p:nvPr>
            <p:ph type="body" sz="quarter" idx="28"/>
          </p:nvPr>
        </p:nvSpPr>
        <p:spPr>
          <a:xfrm>
            <a:off x="8234278" y="4175447"/>
            <a:ext cx="3355742" cy="1163606"/>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20" name="Text Placeholder 15">
            <a:extLst>
              <a:ext uri="{FF2B5EF4-FFF2-40B4-BE49-F238E27FC236}">
                <a16:creationId xmlns:a16="http://schemas.microsoft.com/office/drawing/2014/main" id="{AAADD6C4-F1D9-F92B-C5FD-4B4DA8B17CF1}"/>
              </a:ext>
            </a:extLst>
          </p:cNvPr>
          <p:cNvSpPr>
            <a:spLocks noGrp="1"/>
          </p:cNvSpPr>
          <p:nvPr>
            <p:ph type="body" sz="quarter" idx="29"/>
          </p:nvPr>
        </p:nvSpPr>
        <p:spPr>
          <a:xfrm>
            <a:off x="2333196" y="1915486"/>
            <a:ext cx="3355742" cy="1163606"/>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21" name="Text Placeholder 15">
            <a:extLst>
              <a:ext uri="{FF2B5EF4-FFF2-40B4-BE49-F238E27FC236}">
                <a16:creationId xmlns:a16="http://schemas.microsoft.com/office/drawing/2014/main" id="{A5E09E69-6CAD-B355-9823-320AB8FAE66F}"/>
              </a:ext>
            </a:extLst>
          </p:cNvPr>
          <p:cNvSpPr>
            <a:spLocks noGrp="1"/>
          </p:cNvSpPr>
          <p:nvPr>
            <p:ph type="body" sz="quarter" idx="30"/>
          </p:nvPr>
        </p:nvSpPr>
        <p:spPr>
          <a:xfrm>
            <a:off x="2333196" y="4175447"/>
            <a:ext cx="3355742" cy="1163606"/>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Tree>
    <p:extLst>
      <p:ext uri="{BB962C8B-B14F-4D97-AF65-F5344CB8AC3E}">
        <p14:creationId xmlns:p14="http://schemas.microsoft.com/office/powerpoint/2010/main" val="1069253732"/>
      </p:ext>
    </p:extLst>
  </p:cSld>
  <p:clrMapOvr>
    <a:masterClrMapping/>
  </p:clrMapOvr>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Headshots x9">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22" name="Picture Placeholder 9">
            <a:extLst>
              <a:ext uri="{FF2B5EF4-FFF2-40B4-BE49-F238E27FC236}">
                <a16:creationId xmlns:a16="http://schemas.microsoft.com/office/drawing/2014/main" id="{9DD9632F-ADC6-0F07-8F3F-62F1AF846E10}"/>
              </a:ext>
            </a:extLst>
          </p:cNvPr>
          <p:cNvSpPr>
            <a:spLocks noGrp="1"/>
          </p:cNvSpPr>
          <p:nvPr>
            <p:ph type="pic" sz="quarter" idx="20" hasCustomPrompt="1"/>
          </p:nvPr>
        </p:nvSpPr>
        <p:spPr>
          <a:xfrm>
            <a:off x="515938" y="1711994"/>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23" name="Text Placeholder 15">
            <a:extLst>
              <a:ext uri="{FF2B5EF4-FFF2-40B4-BE49-F238E27FC236}">
                <a16:creationId xmlns:a16="http://schemas.microsoft.com/office/drawing/2014/main" id="{A6BDD17B-1F38-C02C-FBE9-A0D8E16AB19C}"/>
              </a:ext>
            </a:extLst>
          </p:cNvPr>
          <p:cNvSpPr>
            <a:spLocks noGrp="1"/>
          </p:cNvSpPr>
          <p:nvPr>
            <p:ph type="body" sz="quarter" idx="15"/>
          </p:nvPr>
        </p:nvSpPr>
        <p:spPr>
          <a:xfrm>
            <a:off x="1699411" y="1711994"/>
            <a:ext cx="2116757" cy="987159"/>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24" name="Picture Placeholder 9">
            <a:extLst>
              <a:ext uri="{FF2B5EF4-FFF2-40B4-BE49-F238E27FC236}">
                <a16:creationId xmlns:a16="http://schemas.microsoft.com/office/drawing/2014/main" id="{25EC710C-2932-CFFF-F55D-955597F0FB30}"/>
              </a:ext>
            </a:extLst>
          </p:cNvPr>
          <p:cNvSpPr>
            <a:spLocks noGrp="1"/>
          </p:cNvSpPr>
          <p:nvPr>
            <p:ph type="pic" sz="quarter" idx="21" hasCustomPrompt="1"/>
          </p:nvPr>
        </p:nvSpPr>
        <p:spPr>
          <a:xfrm>
            <a:off x="4335796" y="1711994"/>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25" name="Text Placeholder 15">
            <a:extLst>
              <a:ext uri="{FF2B5EF4-FFF2-40B4-BE49-F238E27FC236}">
                <a16:creationId xmlns:a16="http://schemas.microsoft.com/office/drawing/2014/main" id="{247CB122-DF3E-CDA7-027B-26E525434AE2}"/>
              </a:ext>
            </a:extLst>
          </p:cNvPr>
          <p:cNvSpPr>
            <a:spLocks noGrp="1"/>
          </p:cNvSpPr>
          <p:nvPr>
            <p:ph type="body" sz="quarter" idx="22"/>
          </p:nvPr>
        </p:nvSpPr>
        <p:spPr>
          <a:xfrm>
            <a:off x="5527232" y="1711994"/>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0" name="Picture Placeholder 9">
            <a:extLst>
              <a:ext uri="{FF2B5EF4-FFF2-40B4-BE49-F238E27FC236}">
                <a16:creationId xmlns:a16="http://schemas.microsoft.com/office/drawing/2014/main" id="{27971BF0-784D-F3CF-2C6F-CA5180542041}"/>
              </a:ext>
            </a:extLst>
          </p:cNvPr>
          <p:cNvSpPr>
            <a:spLocks noGrp="1"/>
          </p:cNvSpPr>
          <p:nvPr>
            <p:ph type="pic" sz="quarter" idx="23" hasCustomPrompt="1"/>
          </p:nvPr>
        </p:nvSpPr>
        <p:spPr>
          <a:xfrm>
            <a:off x="8220024" y="1711994"/>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1" name="Text Placeholder 15">
            <a:extLst>
              <a:ext uri="{FF2B5EF4-FFF2-40B4-BE49-F238E27FC236}">
                <a16:creationId xmlns:a16="http://schemas.microsoft.com/office/drawing/2014/main" id="{0B2CA69D-267F-C90D-4248-B4C35F26DF79}"/>
              </a:ext>
            </a:extLst>
          </p:cNvPr>
          <p:cNvSpPr>
            <a:spLocks noGrp="1"/>
          </p:cNvSpPr>
          <p:nvPr>
            <p:ph type="body" sz="quarter" idx="24"/>
          </p:nvPr>
        </p:nvSpPr>
        <p:spPr>
          <a:xfrm>
            <a:off x="9411460" y="1711994"/>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2" name="Picture Placeholder 9">
            <a:extLst>
              <a:ext uri="{FF2B5EF4-FFF2-40B4-BE49-F238E27FC236}">
                <a16:creationId xmlns:a16="http://schemas.microsoft.com/office/drawing/2014/main" id="{5897A2C1-9865-7BB8-2197-358370EFD4AC}"/>
              </a:ext>
            </a:extLst>
          </p:cNvPr>
          <p:cNvSpPr>
            <a:spLocks noGrp="1"/>
          </p:cNvSpPr>
          <p:nvPr>
            <p:ph type="pic" sz="quarter" idx="25" hasCustomPrompt="1"/>
          </p:nvPr>
        </p:nvSpPr>
        <p:spPr>
          <a:xfrm>
            <a:off x="515938" y="3155667"/>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3" name="Text Placeholder 15">
            <a:extLst>
              <a:ext uri="{FF2B5EF4-FFF2-40B4-BE49-F238E27FC236}">
                <a16:creationId xmlns:a16="http://schemas.microsoft.com/office/drawing/2014/main" id="{62920B1E-EBA9-626D-6305-A1ADAE904D1A}"/>
              </a:ext>
            </a:extLst>
          </p:cNvPr>
          <p:cNvSpPr>
            <a:spLocks noGrp="1"/>
          </p:cNvSpPr>
          <p:nvPr>
            <p:ph type="body" sz="quarter" idx="26"/>
          </p:nvPr>
        </p:nvSpPr>
        <p:spPr>
          <a:xfrm>
            <a:off x="1699411" y="3155667"/>
            <a:ext cx="2116757" cy="987159"/>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4" name="Picture Placeholder 9">
            <a:extLst>
              <a:ext uri="{FF2B5EF4-FFF2-40B4-BE49-F238E27FC236}">
                <a16:creationId xmlns:a16="http://schemas.microsoft.com/office/drawing/2014/main" id="{544F1E77-8814-8A3B-D86A-076D4023ACA7}"/>
              </a:ext>
            </a:extLst>
          </p:cNvPr>
          <p:cNvSpPr>
            <a:spLocks noGrp="1"/>
          </p:cNvSpPr>
          <p:nvPr>
            <p:ph type="pic" sz="quarter" idx="27" hasCustomPrompt="1"/>
          </p:nvPr>
        </p:nvSpPr>
        <p:spPr>
          <a:xfrm>
            <a:off x="4335796" y="3155667"/>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5" name="Text Placeholder 15">
            <a:extLst>
              <a:ext uri="{FF2B5EF4-FFF2-40B4-BE49-F238E27FC236}">
                <a16:creationId xmlns:a16="http://schemas.microsoft.com/office/drawing/2014/main" id="{C7619CC2-0DAA-26FC-AEAA-30394D48883A}"/>
              </a:ext>
            </a:extLst>
          </p:cNvPr>
          <p:cNvSpPr>
            <a:spLocks noGrp="1"/>
          </p:cNvSpPr>
          <p:nvPr>
            <p:ph type="body" sz="quarter" idx="28"/>
          </p:nvPr>
        </p:nvSpPr>
        <p:spPr>
          <a:xfrm>
            <a:off x="5527232" y="3155667"/>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6" name="Picture Placeholder 9">
            <a:extLst>
              <a:ext uri="{FF2B5EF4-FFF2-40B4-BE49-F238E27FC236}">
                <a16:creationId xmlns:a16="http://schemas.microsoft.com/office/drawing/2014/main" id="{8FAFCD1B-5A84-929A-D622-CC609C41B001}"/>
              </a:ext>
            </a:extLst>
          </p:cNvPr>
          <p:cNvSpPr>
            <a:spLocks noGrp="1"/>
          </p:cNvSpPr>
          <p:nvPr>
            <p:ph type="pic" sz="quarter" idx="29" hasCustomPrompt="1"/>
          </p:nvPr>
        </p:nvSpPr>
        <p:spPr>
          <a:xfrm>
            <a:off x="8220024" y="3155667"/>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7" name="Text Placeholder 15">
            <a:extLst>
              <a:ext uri="{FF2B5EF4-FFF2-40B4-BE49-F238E27FC236}">
                <a16:creationId xmlns:a16="http://schemas.microsoft.com/office/drawing/2014/main" id="{32DEC219-4AAE-290C-5636-F26705700111}"/>
              </a:ext>
            </a:extLst>
          </p:cNvPr>
          <p:cNvSpPr>
            <a:spLocks noGrp="1"/>
          </p:cNvSpPr>
          <p:nvPr>
            <p:ph type="body" sz="quarter" idx="30"/>
          </p:nvPr>
        </p:nvSpPr>
        <p:spPr>
          <a:xfrm>
            <a:off x="9411460" y="3155667"/>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8" name="Picture Placeholder 9">
            <a:extLst>
              <a:ext uri="{FF2B5EF4-FFF2-40B4-BE49-F238E27FC236}">
                <a16:creationId xmlns:a16="http://schemas.microsoft.com/office/drawing/2014/main" id="{B2CF404E-74E2-7F8B-678B-6E7F764D9BF2}"/>
              </a:ext>
            </a:extLst>
          </p:cNvPr>
          <p:cNvSpPr>
            <a:spLocks noGrp="1"/>
          </p:cNvSpPr>
          <p:nvPr>
            <p:ph type="pic" sz="quarter" idx="31" hasCustomPrompt="1"/>
          </p:nvPr>
        </p:nvSpPr>
        <p:spPr>
          <a:xfrm>
            <a:off x="515938" y="4599456"/>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9" name="Text Placeholder 15">
            <a:extLst>
              <a:ext uri="{FF2B5EF4-FFF2-40B4-BE49-F238E27FC236}">
                <a16:creationId xmlns:a16="http://schemas.microsoft.com/office/drawing/2014/main" id="{494146F5-9D36-2EF7-388E-A72B6DA0D9BB}"/>
              </a:ext>
            </a:extLst>
          </p:cNvPr>
          <p:cNvSpPr>
            <a:spLocks noGrp="1"/>
          </p:cNvSpPr>
          <p:nvPr>
            <p:ph type="body" sz="quarter" idx="32"/>
          </p:nvPr>
        </p:nvSpPr>
        <p:spPr>
          <a:xfrm>
            <a:off x="1699411" y="4599456"/>
            <a:ext cx="2116757" cy="987159"/>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0" name="Picture Placeholder 9">
            <a:extLst>
              <a:ext uri="{FF2B5EF4-FFF2-40B4-BE49-F238E27FC236}">
                <a16:creationId xmlns:a16="http://schemas.microsoft.com/office/drawing/2014/main" id="{B71BEAAD-C8C5-6988-5CBE-F7E302410597}"/>
              </a:ext>
            </a:extLst>
          </p:cNvPr>
          <p:cNvSpPr>
            <a:spLocks noGrp="1"/>
          </p:cNvSpPr>
          <p:nvPr>
            <p:ph type="pic" sz="quarter" idx="33" hasCustomPrompt="1"/>
          </p:nvPr>
        </p:nvSpPr>
        <p:spPr>
          <a:xfrm>
            <a:off x="4335796" y="4599456"/>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1" name="Text Placeholder 15">
            <a:extLst>
              <a:ext uri="{FF2B5EF4-FFF2-40B4-BE49-F238E27FC236}">
                <a16:creationId xmlns:a16="http://schemas.microsoft.com/office/drawing/2014/main" id="{138E6919-019E-02BB-5D0D-FF9C12142411}"/>
              </a:ext>
            </a:extLst>
          </p:cNvPr>
          <p:cNvSpPr>
            <a:spLocks noGrp="1"/>
          </p:cNvSpPr>
          <p:nvPr>
            <p:ph type="body" sz="quarter" idx="34"/>
          </p:nvPr>
        </p:nvSpPr>
        <p:spPr>
          <a:xfrm>
            <a:off x="5527232" y="4599456"/>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2" name="Picture Placeholder 9">
            <a:extLst>
              <a:ext uri="{FF2B5EF4-FFF2-40B4-BE49-F238E27FC236}">
                <a16:creationId xmlns:a16="http://schemas.microsoft.com/office/drawing/2014/main" id="{50AEE6D7-E551-8465-B986-00D61EB9730A}"/>
              </a:ext>
            </a:extLst>
          </p:cNvPr>
          <p:cNvSpPr>
            <a:spLocks noGrp="1"/>
          </p:cNvSpPr>
          <p:nvPr>
            <p:ph type="pic" sz="quarter" idx="35" hasCustomPrompt="1"/>
          </p:nvPr>
        </p:nvSpPr>
        <p:spPr>
          <a:xfrm>
            <a:off x="8220024" y="4599456"/>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3" name="Text Placeholder 15">
            <a:extLst>
              <a:ext uri="{FF2B5EF4-FFF2-40B4-BE49-F238E27FC236}">
                <a16:creationId xmlns:a16="http://schemas.microsoft.com/office/drawing/2014/main" id="{EABA07AD-B083-3DC8-2E9C-6607785D0D9F}"/>
              </a:ext>
            </a:extLst>
          </p:cNvPr>
          <p:cNvSpPr>
            <a:spLocks noGrp="1"/>
          </p:cNvSpPr>
          <p:nvPr>
            <p:ph type="body" sz="quarter" idx="36"/>
          </p:nvPr>
        </p:nvSpPr>
        <p:spPr>
          <a:xfrm>
            <a:off x="9411460" y="4599456"/>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Tree>
    <p:extLst>
      <p:ext uri="{BB962C8B-B14F-4D97-AF65-F5344CB8AC3E}">
        <p14:creationId xmlns:p14="http://schemas.microsoft.com/office/powerpoint/2010/main" val="338461174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ections + Images x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United Against Rabies Forum Meeting - 6-8 November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8" y="4360961"/>
            <a:ext cx="5234437" cy="1538516"/>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8" y="3915591"/>
            <a:ext cx="5234437" cy="281103"/>
          </a:xfrm>
        </p:spPr>
        <p:txBody>
          <a:bodyPr wrap="square">
            <a:spAutoFit/>
          </a:bodyPr>
          <a:lstStyle>
            <a:lvl1pPr>
              <a:defRPr sz="1800" b="1">
                <a:solidFill>
                  <a:schemeClr val="bg2"/>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A5AC520F-8595-0F44-99A9-F0873ACA435F}"/>
              </a:ext>
            </a:extLst>
          </p:cNvPr>
          <p:cNvSpPr>
            <a:spLocks noGrp="1"/>
          </p:cNvSpPr>
          <p:nvPr>
            <p:ph type="body" sz="quarter" idx="18"/>
          </p:nvPr>
        </p:nvSpPr>
        <p:spPr>
          <a:xfrm>
            <a:off x="6441625" y="4360961"/>
            <a:ext cx="5234437" cy="1538516"/>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6441625" y="3915591"/>
            <a:ext cx="5234437" cy="281103"/>
          </a:xfrm>
        </p:spPr>
        <p:txBody>
          <a:bodyPr wrap="square">
            <a:spAutoFit/>
          </a:bodyPr>
          <a:lstStyle>
            <a:lvl1pPr>
              <a:defRPr sz="1800" b="1">
                <a:solidFill>
                  <a:schemeClr val="bg2"/>
                </a:solidFill>
              </a:defRPr>
            </a:lvl1pPr>
          </a:lstStyle>
          <a:p>
            <a:pPr lvl="0"/>
            <a:r>
              <a:rPr lang="en-GB"/>
              <a:t>Click to edit Master text styles</a:t>
            </a:r>
          </a:p>
        </p:txBody>
      </p:sp>
      <p:sp>
        <p:nvSpPr>
          <p:cNvPr id="17" name="Picture Placeholder 2">
            <a:extLst>
              <a:ext uri="{FF2B5EF4-FFF2-40B4-BE49-F238E27FC236}">
                <a16:creationId xmlns:a16="http://schemas.microsoft.com/office/drawing/2014/main" id="{4EF54ED7-3E2F-C8F7-553C-1DB155F7DBDC}"/>
              </a:ext>
            </a:extLst>
          </p:cNvPr>
          <p:cNvSpPr>
            <a:spLocks noGrp="1"/>
          </p:cNvSpPr>
          <p:nvPr>
            <p:ph type="pic" sz="quarter" idx="23"/>
          </p:nvPr>
        </p:nvSpPr>
        <p:spPr>
          <a:xfrm>
            <a:off x="515938" y="1304924"/>
            <a:ext cx="5234438" cy="2400167"/>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23" name="Picture Placeholder 2">
            <a:extLst>
              <a:ext uri="{FF2B5EF4-FFF2-40B4-BE49-F238E27FC236}">
                <a16:creationId xmlns:a16="http://schemas.microsoft.com/office/drawing/2014/main" id="{BCF59FD3-6B56-67EF-C1E8-78C92005D9AE}"/>
              </a:ext>
            </a:extLst>
          </p:cNvPr>
          <p:cNvSpPr>
            <a:spLocks noGrp="1"/>
          </p:cNvSpPr>
          <p:nvPr>
            <p:ph type="pic" sz="quarter" idx="24"/>
          </p:nvPr>
        </p:nvSpPr>
        <p:spPr>
          <a:xfrm>
            <a:off x="6441625" y="1304924"/>
            <a:ext cx="5234438" cy="2400167"/>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Tree>
    <p:extLst>
      <p:ext uri="{BB962C8B-B14F-4D97-AF65-F5344CB8AC3E}">
        <p14:creationId xmlns:p14="http://schemas.microsoft.com/office/powerpoint/2010/main" val="3118391836"/>
      </p:ext>
    </p:extLst>
  </p:cSld>
  <p:clrMapOvr>
    <a:masterClrMapping/>
  </p:clrMapOvr>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Headshots x1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22" name="Picture Placeholder 9">
            <a:extLst>
              <a:ext uri="{FF2B5EF4-FFF2-40B4-BE49-F238E27FC236}">
                <a16:creationId xmlns:a16="http://schemas.microsoft.com/office/drawing/2014/main" id="{9DD9632F-ADC6-0F07-8F3F-62F1AF846E10}"/>
              </a:ext>
            </a:extLst>
          </p:cNvPr>
          <p:cNvSpPr>
            <a:spLocks noGrp="1"/>
          </p:cNvSpPr>
          <p:nvPr>
            <p:ph type="pic" sz="quarter" idx="20" hasCustomPrompt="1"/>
          </p:nvPr>
        </p:nvSpPr>
        <p:spPr>
          <a:xfrm>
            <a:off x="515939" y="1711995"/>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23" name="Text Placeholder 15">
            <a:extLst>
              <a:ext uri="{FF2B5EF4-FFF2-40B4-BE49-F238E27FC236}">
                <a16:creationId xmlns:a16="http://schemas.microsoft.com/office/drawing/2014/main" id="{A6BDD17B-1F38-C02C-FBE9-A0D8E16AB19C}"/>
              </a:ext>
            </a:extLst>
          </p:cNvPr>
          <p:cNvSpPr>
            <a:spLocks noGrp="1"/>
          </p:cNvSpPr>
          <p:nvPr>
            <p:ph type="body" sz="quarter" idx="15"/>
          </p:nvPr>
        </p:nvSpPr>
        <p:spPr>
          <a:xfrm>
            <a:off x="1596367" y="1711995"/>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39" name="Picture Placeholder 9">
            <a:extLst>
              <a:ext uri="{FF2B5EF4-FFF2-40B4-BE49-F238E27FC236}">
                <a16:creationId xmlns:a16="http://schemas.microsoft.com/office/drawing/2014/main" id="{0A36E1BF-5D7A-3667-C65B-2DB32E2BD388}"/>
              </a:ext>
            </a:extLst>
          </p:cNvPr>
          <p:cNvSpPr>
            <a:spLocks noGrp="1"/>
          </p:cNvSpPr>
          <p:nvPr>
            <p:ph type="pic" sz="quarter" idx="43" hasCustomPrompt="1"/>
          </p:nvPr>
        </p:nvSpPr>
        <p:spPr>
          <a:xfrm>
            <a:off x="515939" y="2786398"/>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4" name="Text Placeholder 15">
            <a:extLst>
              <a:ext uri="{FF2B5EF4-FFF2-40B4-BE49-F238E27FC236}">
                <a16:creationId xmlns:a16="http://schemas.microsoft.com/office/drawing/2014/main" id="{A3EF6248-9648-B0CE-3E04-C8F8A63036EA}"/>
              </a:ext>
            </a:extLst>
          </p:cNvPr>
          <p:cNvSpPr>
            <a:spLocks noGrp="1"/>
          </p:cNvSpPr>
          <p:nvPr>
            <p:ph type="body" sz="quarter" idx="44"/>
          </p:nvPr>
        </p:nvSpPr>
        <p:spPr>
          <a:xfrm>
            <a:off x="1596367" y="2791091"/>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5" name="Picture Placeholder 9">
            <a:extLst>
              <a:ext uri="{FF2B5EF4-FFF2-40B4-BE49-F238E27FC236}">
                <a16:creationId xmlns:a16="http://schemas.microsoft.com/office/drawing/2014/main" id="{C5444EBA-19D0-8678-BDDD-147CE44BC1E1}"/>
              </a:ext>
            </a:extLst>
          </p:cNvPr>
          <p:cNvSpPr>
            <a:spLocks noGrp="1"/>
          </p:cNvSpPr>
          <p:nvPr>
            <p:ph type="pic" sz="quarter" idx="45" hasCustomPrompt="1"/>
          </p:nvPr>
        </p:nvSpPr>
        <p:spPr>
          <a:xfrm>
            <a:off x="515939" y="3870187"/>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6" name="Text Placeholder 15">
            <a:extLst>
              <a:ext uri="{FF2B5EF4-FFF2-40B4-BE49-F238E27FC236}">
                <a16:creationId xmlns:a16="http://schemas.microsoft.com/office/drawing/2014/main" id="{7D5C4711-97F4-DDD0-D960-DEDF44E5F474}"/>
              </a:ext>
            </a:extLst>
          </p:cNvPr>
          <p:cNvSpPr>
            <a:spLocks noGrp="1"/>
          </p:cNvSpPr>
          <p:nvPr>
            <p:ph type="body" sz="quarter" idx="46"/>
          </p:nvPr>
        </p:nvSpPr>
        <p:spPr>
          <a:xfrm>
            <a:off x="1596367" y="3870187"/>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7" name="Picture Placeholder 9">
            <a:extLst>
              <a:ext uri="{FF2B5EF4-FFF2-40B4-BE49-F238E27FC236}">
                <a16:creationId xmlns:a16="http://schemas.microsoft.com/office/drawing/2014/main" id="{E65DD9AF-BC5A-0D6D-203A-19C299826DFB}"/>
              </a:ext>
            </a:extLst>
          </p:cNvPr>
          <p:cNvSpPr>
            <a:spLocks noGrp="1"/>
          </p:cNvSpPr>
          <p:nvPr>
            <p:ph type="pic" sz="quarter" idx="47" hasCustomPrompt="1"/>
          </p:nvPr>
        </p:nvSpPr>
        <p:spPr>
          <a:xfrm>
            <a:off x="515939" y="4949284"/>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8" name="Text Placeholder 15">
            <a:extLst>
              <a:ext uri="{FF2B5EF4-FFF2-40B4-BE49-F238E27FC236}">
                <a16:creationId xmlns:a16="http://schemas.microsoft.com/office/drawing/2014/main" id="{50F33994-9EA1-2A51-A537-50F4FB57B23A}"/>
              </a:ext>
            </a:extLst>
          </p:cNvPr>
          <p:cNvSpPr>
            <a:spLocks noGrp="1"/>
          </p:cNvSpPr>
          <p:nvPr>
            <p:ph type="body" sz="quarter" idx="48"/>
          </p:nvPr>
        </p:nvSpPr>
        <p:spPr>
          <a:xfrm>
            <a:off x="1596367" y="4949284"/>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9" name="Picture Placeholder 9">
            <a:extLst>
              <a:ext uri="{FF2B5EF4-FFF2-40B4-BE49-F238E27FC236}">
                <a16:creationId xmlns:a16="http://schemas.microsoft.com/office/drawing/2014/main" id="{F4BC789A-02DE-1B25-C17D-56031BFFAC79}"/>
              </a:ext>
            </a:extLst>
          </p:cNvPr>
          <p:cNvSpPr>
            <a:spLocks noGrp="1"/>
          </p:cNvSpPr>
          <p:nvPr>
            <p:ph type="pic" sz="quarter" idx="49" hasCustomPrompt="1"/>
          </p:nvPr>
        </p:nvSpPr>
        <p:spPr>
          <a:xfrm>
            <a:off x="4357530" y="1711995"/>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0" name="Text Placeholder 15">
            <a:extLst>
              <a:ext uri="{FF2B5EF4-FFF2-40B4-BE49-F238E27FC236}">
                <a16:creationId xmlns:a16="http://schemas.microsoft.com/office/drawing/2014/main" id="{397D8B8C-1AD2-D2A1-C4BA-DC06F2B6EF69}"/>
              </a:ext>
            </a:extLst>
          </p:cNvPr>
          <p:cNvSpPr>
            <a:spLocks noGrp="1"/>
          </p:cNvSpPr>
          <p:nvPr>
            <p:ph type="body" sz="quarter" idx="50"/>
          </p:nvPr>
        </p:nvSpPr>
        <p:spPr>
          <a:xfrm>
            <a:off x="5437958" y="1711995"/>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1" name="Picture Placeholder 9">
            <a:extLst>
              <a:ext uri="{FF2B5EF4-FFF2-40B4-BE49-F238E27FC236}">
                <a16:creationId xmlns:a16="http://schemas.microsoft.com/office/drawing/2014/main" id="{96F24F90-0E84-D6E6-53DE-5CA754BCC220}"/>
              </a:ext>
            </a:extLst>
          </p:cNvPr>
          <p:cNvSpPr>
            <a:spLocks noGrp="1"/>
          </p:cNvSpPr>
          <p:nvPr>
            <p:ph type="pic" sz="quarter" idx="51" hasCustomPrompt="1"/>
          </p:nvPr>
        </p:nvSpPr>
        <p:spPr>
          <a:xfrm>
            <a:off x="4357530" y="2786398"/>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2" name="Text Placeholder 15">
            <a:extLst>
              <a:ext uri="{FF2B5EF4-FFF2-40B4-BE49-F238E27FC236}">
                <a16:creationId xmlns:a16="http://schemas.microsoft.com/office/drawing/2014/main" id="{FEE53D37-03B9-FEA3-D9B3-377C5ACE8FBB}"/>
              </a:ext>
            </a:extLst>
          </p:cNvPr>
          <p:cNvSpPr>
            <a:spLocks noGrp="1"/>
          </p:cNvSpPr>
          <p:nvPr>
            <p:ph type="body" sz="quarter" idx="52"/>
          </p:nvPr>
        </p:nvSpPr>
        <p:spPr>
          <a:xfrm>
            <a:off x="5437958" y="2791091"/>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3" name="Picture Placeholder 9">
            <a:extLst>
              <a:ext uri="{FF2B5EF4-FFF2-40B4-BE49-F238E27FC236}">
                <a16:creationId xmlns:a16="http://schemas.microsoft.com/office/drawing/2014/main" id="{D91880C0-5866-3A2D-E9A1-293A080C3CBC}"/>
              </a:ext>
            </a:extLst>
          </p:cNvPr>
          <p:cNvSpPr>
            <a:spLocks noGrp="1"/>
          </p:cNvSpPr>
          <p:nvPr>
            <p:ph type="pic" sz="quarter" idx="53" hasCustomPrompt="1"/>
          </p:nvPr>
        </p:nvSpPr>
        <p:spPr>
          <a:xfrm>
            <a:off x="4357530" y="3870187"/>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4" name="Text Placeholder 15">
            <a:extLst>
              <a:ext uri="{FF2B5EF4-FFF2-40B4-BE49-F238E27FC236}">
                <a16:creationId xmlns:a16="http://schemas.microsoft.com/office/drawing/2014/main" id="{68479F4A-C40B-C6DF-03E8-C507FF3D4573}"/>
              </a:ext>
            </a:extLst>
          </p:cNvPr>
          <p:cNvSpPr>
            <a:spLocks noGrp="1"/>
          </p:cNvSpPr>
          <p:nvPr>
            <p:ph type="body" sz="quarter" idx="54"/>
          </p:nvPr>
        </p:nvSpPr>
        <p:spPr>
          <a:xfrm>
            <a:off x="5437958" y="3870187"/>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5" name="Picture Placeholder 9">
            <a:extLst>
              <a:ext uri="{FF2B5EF4-FFF2-40B4-BE49-F238E27FC236}">
                <a16:creationId xmlns:a16="http://schemas.microsoft.com/office/drawing/2014/main" id="{C62DBBD6-D33E-DF74-5AE8-96D1913C8C20}"/>
              </a:ext>
            </a:extLst>
          </p:cNvPr>
          <p:cNvSpPr>
            <a:spLocks noGrp="1"/>
          </p:cNvSpPr>
          <p:nvPr>
            <p:ph type="pic" sz="quarter" idx="55" hasCustomPrompt="1"/>
          </p:nvPr>
        </p:nvSpPr>
        <p:spPr>
          <a:xfrm>
            <a:off x="4357530" y="4949284"/>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6" name="Text Placeholder 15">
            <a:extLst>
              <a:ext uri="{FF2B5EF4-FFF2-40B4-BE49-F238E27FC236}">
                <a16:creationId xmlns:a16="http://schemas.microsoft.com/office/drawing/2014/main" id="{05529239-A4B5-258D-03F5-01D3ADFE8873}"/>
              </a:ext>
            </a:extLst>
          </p:cNvPr>
          <p:cNvSpPr>
            <a:spLocks noGrp="1"/>
          </p:cNvSpPr>
          <p:nvPr>
            <p:ph type="body" sz="quarter" idx="56"/>
          </p:nvPr>
        </p:nvSpPr>
        <p:spPr>
          <a:xfrm>
            <a:off x="5437958" y="4949284"/>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7" name="Picture Placeholder 9">
            <a:extLst>
              <a:ext uri="{FF2B5EF4-FFF2-40B4-BE49-F238E27FC236}">
                <a16:creationId xmlns:a16="http://schemas.microsoft.com/office/drawing/2014/main" id="{114AD459-859C-6C0F-FB75-4B02606E57BB}"/>
              </a:ext>
            </a:extLst>
          </p:cNvPr>
          <p:cNvSpPr>
            <a:spLocks noGrp="1"/>
          </p:cNvSpPr>
          <p:nvPr>
            <p:ph type="pic" sz="quarter" idx="57" hasCustomPrompt="1"/>
          </p:nvPr>
        </p:nvSpPr>
        <p:spPr>
          <a:xfrm>
            <a:off x="8199122" y="1711995"/>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8" name="Text Placeholder 15">
            <a:extLst>
              <a:ext uri="{FF2B5EF4-FFF2-40B4-BE49-F238E27FC236}">
                <a16:creationId xmlns:a16="http://schemas.microsoft.com/office/drawing/2014/main" id="{4EAF0426-CCDA-221A-38EC-BBD417EBF569}"/>
              </a:ext>
            </a:extLst>
          </p:cNvPr>
          <p:cNvSpPr>
            <a:spLocks noGrp="1"/>
          </p:cNvSpPr>
          <p:nvPr>
            <p:ph type="body" sz="quarter" idx="58"/>
          </p:nvPr>
        </p:nvSpPr>
        <p:spPr>
          <a:xfrm>
            <a:off x="9279550" y="1711995"/>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9" name="Picture Placeholder 9">
            <a:extLst>
              <a:ext uri="{FF2B5EF4-FFF2-40B4-BE49-F238E27FC236}">
                <a16:creationId xmlns:a16="http://schemas.microsoft.com/office/drawing/2014/main" id="{EF2E7661-7F3A-851E-C60B-815DA8CE2A18}"/>
              </a:ext>
            </a:extLst>
          </p:cNvPr>
          <p:cNvSpPr>
            <a:spLocks noGrp="1"/>
          </p:cNvSpPr>
          <p:nvPr>
            <p:ph type="pic" sz="quarter" idx="59" hasCustomPrompt="1"/>
          </p:nvPr>
        </p:nvSpPr>
        <p:spPr>
          <a:xfrm>
            <a:off x="8199122" y="2786398"/>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70" name="Text Placeholder 15">
            <a:extLst>
              <a:ext uri="{FF2B5EF4-FFF2-40B4-BE49-F238E27FC236}">
                <a16:creationId xmlns:a16="http://schemas.microsoft.com/office/drawing/2014/main" id="{8748A2D7-29EB-EEF8-E6A5-383DA278969D}"/>
              </a:ext>
            </a:extLst>
          </p:cNvPr>
          <p:cNvSpPr>
            <a:spLocks noGrp="1"/>
          </p:cNvSpPr>
          <p:nvPr>
            <p:ph type="body" sz="quarter" idx="60"/>
          </p:nvPr>
        </p:nvSpPr>
        <p:spPr>
          <a:xfrm>
            <a:off x="9279550" y="2791091"/>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71" name="Picture Placeholder 9">
            <a:extLst>
              <a:ext uri="{FF2B5EF4-FFF2-40B4-BE49-F238E27FC236}">
                <a16:creationId xmlns:a16="http://schemas.microsoft.com/office/drawing/2014/main" id="{E88761E4-7653-636A-0723-500AE4782BC6}"/>
              </a:ext>
            </a:extLst>
          </p:cNvPr>
          <p:cNvSpPr>
            <a:spLocks noGrp="1"/>
          </p:cNvSpPr>
          <p:nvPr>
            <p:ph type="pic" sz="quarter" idx="61" hasCustomPrompt="1"/>
          </p:nvPr>
        </p:nvSpPr>
        <p:spPr>
          <a:xfrm>
            <a:off x="8199122" y="3870187"/>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72" name="Text Placeholder 15">
            <a:extLst>
              <a:ext uri="{FF2B5EF4-FFF2-40B4-BE49-F238E27FC236}">
                <a16:creationId xmlns:a16="http://schemas.microsoft.com/office/drawing/2014/main" id="{B10E2844-BD47-9C07-357D-9EA651BBCA67}"/>
              </a:ext>
            </a:extLst>
          </p:cNvPr>
          <p:cNvSpPr>
            <a:spLocks noGrp="1"/>
          </p:cNvSpPr>
          <p:nvPr>
            <p:ph type="body" sz="quarter" idx="62"/>
          </p:nvPr>
        </p:nvSpPr>
        <p:spPr>
          <a:xfrm>
            <a:off x="9279550" y="3870187"/>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73" name="Picture Placeholder 9">
            <a:extLst>
              <a:ext uri="{FF2B5EF4-FFF2-40B4-BE49-F238E27FC236}">
                <a16:creationId xmlns:a16="http://schemas.microsoft.com/office/drawing/2014/main" id="{310F2473-00CD-C33D-50C3-3F40271F3927}"/>
              </a:ext>
            </a:extLst>
          </p:cNvPr>
          <p:cNvSpPr>
            <a:spLocks noGrp="1"/>
          </p:cNvSpPr>
          <p:nvPr>
            <p:ph type="pic" sz="quarter" idx="63" hasCustomPrompt="1"/>
          </p:nvPr>
        </p:nvSpPr>
        <p:spPr>
          <a:xfrm>
            <a:off x="8199122" y="4949284"/>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74" name="Text Placeholder 15">
            <a:extLst>
              <a:ext uri="{FF2B5EF4-FFF2-40B4-BE49-F238E27FC236}">
                <a16:creationId xmlns:a16="http://schemas.microsoft.com/office/drawing/2014/main" id="{789611C4-8E98-E2CF-35EB-922860C66E00}"/>
              </a:ext>
            </a:extLst>
          </p:cNvPr>
          <p:cNvSpPr>
            <a:spLocks noGrp="1"/>
          </p:cNvSpPr>
          <p:nvPr>
            <p:ph type="body" sz="quarter" idx="64"/>
          </p:nvPr>
        </p:nvSpPr>
        <p:spPr>
          <a:xfrm>
            <a:off x="9279550" y="4949284"/>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Tree>
    <p:extLst>
      <p:ext uri="{BB962C8B-B14F-4D97-AF65-F5344CB8AC3E}">
        <p14:creationId xmlns:p14="http://schemas.microsoft.com/office/powerpoint/2010/main" val="3088820900"/>
      </p:ext>
    </p:extLst>
  </p:cSld>
  <p:clrMapOvr>
    <a:masterClrMapping/>
  </p:clrMapOvr>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33" name="Text Placeholder 8">
            <a:extLst>
              <a:ext uri="{FF2B5EF4-FFF2-40B4-BE49-F238E27FC236}">
                <a16:creationId xmlns:a16="http://schemas.microsoft.com/office/drawing/2014/main" id="{81187F35-DC43-A850-FE4F-7D60E8ED7A96}"/>
              </a:ext>
            </a:extLst>
          </p:cNvPr>
          <p:cNvSpPr>
            <a:spLocks noGrp="1"/>
          </p:cNvSpPr>
          <p:nvPr>
            <p:ph type="body" idx="13"/>
          </p:nvPr>
        </p:nvSpPr>
        <p:spPr>
          <a:xfrm>
            <a:off x="531133" y="1708830"/>
            <a:ext cx="11144930" cy="4204608"/>
          </a:xfrm>
        </p:spPr>
        <p:txBody>
          <a:bodyPr numCol="2" spcCol="360000">
            <a:normAutofit/>
          </a:bodyPr>
          <a:lstStyle>
            <a:lvl1pPr marL="457200" indent="-457200">
              <a:spcBef>
                <a:spcPts val="1800"/>
              </a:spcBef>
              <a:spcAft>
                <a:spcPts val="600"/>
              </a:spcAft>
              <a:buClr>
                <a:schemeClr val="bg2"/>
              </a:buClr>
              <a:buFont typeface="+mj-lt"/>
              <a:buAutoNum type="arabicPeriod"/>
              <a:defRPr sz="2400" b="1">
                <a:solidFill>
                  <a:schemeClr val="tx2">
                    <a:lumMod val="50000"/>
                  </a:schemeClr>
                </a:solidFill>
              </a:defRPr>
            </a:lvl1pPr>
            <a:lvl2pPr>
              <a:spcAft>
                <a:spcPts val="600"/>
              </a:spcAft>
              <a:defRPr sz="2000" b="1">
                <a:solidFill>
                  <a:schemeClr val="tx2">
                    <a:lumMod val="50000"/>
                  </a:schemeClr>
                </a:solidFill>
              </a:defRPr>
            </a:lvl2pPr>
            <a:lvl3pPr>
              <a:defRPr sz="2000" b="1">
                <a:solidFill>
                  <a:schemeClr val="tx2">
                    <a:lumMod val="50000"/>
                  </a:schemeClr>
                </a:solidFill>
              </a:defRPr>
            </a:lvl3pPr>
            <a:lvl4pPr>
              <a:defRPr sz="1800" b="1">
                <a:solidFill>
                  <a:schemeClr val="tx2">
                    <a:lumMod val="50000"/>
                  </a:schemeClr>
                </a:solidFill>
              </a:defRPr>
            </a:lvl4pPr>
            <a:lvl5pPr>
              <a:defRPr sz="1800" b="1">
                <a:solidFill>
                  <a:schemeClr val="tx2">
                    <a:lumMod val="50000"/>
                  </a:schemeClr>
                </a:solidFill>
              </a:defRPr>
            </a:lvl5pPr>
          </a:lstStyle>
          <a:p>
            <a:pPr lvl="0"/>
            <a:r>
              <a:rPr lang="en-GB"/>
              <a:t>Click to edit Master text styles</a:t>
            </a:r>
          </a:p>
          <a:p>
            <a:pPr lvl="1"/>
            <a:r>
              <a:rPr lang="en-GB"/>
              <a:t>Second level</a:t>
            </a:r>
          </a:p>
        </p:txBody>
      </p:sp>
    </p:spTree>
    <p:extLst>
      <p:ext uri="{BB962C8B-B14F-4D97-AF65-F5344CB8AC3E}">
        <p14:creationId xmlns:p14="http://schemas.microsoft.com/office/powerpoint/2010/main" val="2862177393"/>
      </p:ext>
    </p:extLst>
  </p:cSld>
  <p:clrMapOvr>
    <a:masterClrMapping/>
  </p:clrMapOvr>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6275323"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6275323" cy="343847"/>
          </a:xfrm>
        </p:spPr>
        <p:txBody>
          <a:bodyPr/>
          <a:lstStyle>
            <a:lvl1pPr>
              <a:defRPr>
                <a:solidFill>
                  <a:schemeClr val="bg2"/>
                </a:solidFill>
              </a:defRPr>
            </a:lvl1pPr>
          </a:lstStyle>
          <a:p>
            <a:pPr lvl="0"/>
            <a:r>
              <a:rPr lang="en-GB"/>
              <a:t>Click to edit Master text styles</a:t>
            </a:r>
          </a:p>
        </p:txBody>
      </p:sp>
      <p:sp>
        <p:nvSpPr>
          <p:cNvPr id="33" name="Text Placeholder 8">
            <a:extLst>
              <a:ext uri="{FF2B5EF4-FFF2-40B4-BE49-F238E27FC236}">
                <a16:creationId xmlns:a16="http://schemas.microsoft.com/office/drawing/2014/main" id="{81187F35-DC43-A850-FE4F-7D60E8ED7A96}"/>
              </a:ext>
            </a:extLst>
          </p:cNvPr>
          <p:cNvSpPr>
            <a:spLocks noGrp="1"/>
          </p:cNvSpPr>
          <p:nvPr>
            <p:ph type="body" idx="13"/>
          </p:nvPr>
        </p:nvSpPr>
        <p:spPr>
          <a:xfrm>
            <a:off x="531133" y="1708830"/>
            <a:ext cx="5376371" cy="4204608"/>
          </a:xfrm>
        </p:spPr>
        <p:txBody>
          <a:bodyPr numCol="1" spcCol="360000">
            <a:normAutofit/>
          </a:bodyPr>
          <a:lstStyle>
            <a:lvl1pPr marL="457200" indent="-457200">
              <a:spcBef>
                <a:spcPts val="600"/>
              </a:spcBef>
              <a:spcAft>
                <a:spcPts val="600"/>
              </a:spcAft>
              <a:buClr>
                <a:schemeClr val="bg2"/>
              </a:buClr>
              <a:buFont typeface="+mj-lt"/>
              <a:buAutoNum type="arabicPeriod"/>
              <a:defRPr sz="2400" b="1">
                <a:solidFill>
                  <a:schemeClr val="tx2">
                    <a:lumMod val="50000"/>
                  </a:schemeClr>
                </a:solidFill>
              </a:defRPr>
            </a:lvl1pPr>
            <a:lvl2pPr>
              <a:spcAft>
                <a:spcPts val="600"/>
              </a:spcAft>
              <a:defRPr sz="2000" b="1">
                <a:solidFill>
                  <a:schemeClr val="tx2">
                    <a:lumMod val="50000"/>
                  </a:schemeClr>
                </a:solidFill>
              </a:defRPr>
            </a:lvl2pPr>
            <a:lvl3pPr>
              <a:defRPr sz="2000" b="1">
                <a:solidFill>
                  <a:schemeClr val="tx2">
                    <a:lumMod val="50000"/>
                  </a:schemeClr>
                </a:solidFill>
              </a:defRPr>
            </a:lvl3pPr>
            <a:lvl4pPr>
              <a:defRPr sz="1800" b="1">
                <a:solidFill>
                  <a:schemeClr val="tx2">
                    <a:lumMod val="50000"/>
                  </a:schemeClr>
                </a:solidFill>
              </a:defRPr>
            </a:lvl4pPr>
            <a:lvl5pPr>
              <a:defRPr sz="1800" b="1">
                <a:solidFill>
                  <a:schemeClr val="tx2">
                    <a:lumMod val="50000"/>
                  </a:schemeClr>
                </a:solidFill>
              </a:defRPr>
            </a:lvl5pPr>
          </a:lstStyle>
          <a:p>
            <a:pPr lvl="0"/>
            <a:r>
              <a:rPr lang="en-GB"/>
              <a:t>Click to edit Master text styles</a:t>
            </a:r>
          </a:p>
          <a:p>
            <a:pPr lvl="1"/>
            <a:r>
              <a:rPr lang="en-GB"/>
              <a:t>Second level</a:t>
            </a:r>
          </a:p>
        </p:txBody>
      </p:sp>
      <p:sp>
        <p:nvSpPr>
          <p:cNvPr id="11" name="Text Placeholder 8">
            <a:extLst>
              <a:ext uri="{FF2B5EF4-FFF2-40B4-BE49-F238E27FC236}">
                <a16:creationId xmlns:a16="http://schemas.microsoft.com/office/drawing/2014/main" id="{91F8B0E5-465B-1592-BFB3-5F01C3B0E690}"/>
              </a:ext>
            </a:extLst>
          </p:cNvPr>
          <p:cNvSpPr>
            <a:spLocks noGrp="1"/>
          </p:cNvSpPr>
          <p:nvPr>
            <p:ph type="body" idx="15" hasCustomPrompt="1"/>
          </p:nvPr>
        </p:nvSpPr>
        <p:spPr>
          <a:xfrm>
            <a:off x="6132637" y="1708830"/>
            <a:ext cx="664405" cy="4204608"/>
          </a:xfrm>
        </p:spPr>
        <p:txBody>
          <a:bodyPr numCol="1" spcCol="360000">
            <a:normAutofit/>
          </a:bodyPr>
          <a:lstStyle>
            <a:lvl1pPr marL="0" indent="0" algn="r">
              <a:spcBef>
                <a:spcPts val="600"/>
              </a:spcBef>
              <a:spcAft>
                <a:spcPts val="600"/>
              </a:spcAft>
              <a:buClr>
                <a:schemeClr val="bg2"/>
              </a:buClr>
              <a:buFont typeface="+mj-lt"/>
              <a:buNone/>
              <a:defRPr sz="2400" b="0">
                <a:solidFill>
                  <a:schemeClr val="tx2">
                    <a:lumMod val="50000"/>
                  </a:schemeClr>
                </a:solidFill>
              </a:defRPr>
            </a:lvl1pPr>
            <a:lvl2pPr>
              <a:spcAft>
                <a:spcPts val="600"/>
              </a:spcAft>
              <a:defRPr sz="2000" b="1">
                <a:solidFill>
                  <a:schemeClr val="tx2">
                    <a:lumMod val="50000"/>
                  </a:schemeClr>
                </a:solidFill>
              </a:defRPr>
            </a:lvl2pPr>
            <a:lvl3pPr>
              <a:defRPr sz="2000" b="1">
                <a:solidFill>
                  <a:schemeClr val="tx2">
                    <a:lumMod val="50000"/>
                  </a:schemeClr>
                </a:solidFill>
              </a:defRPr>
            </a:lvl3pPr>
            <a:lvl4pPr>
              <a:defRPr sz="1800" b="1">
                <a:solidFill>
                  <a:schemeClr val="tx2">
                    <a:lumMod val="50000"/>
                  </a:schemeClr>
                </a:solidFill>
              </a:defRPr>
            </a:lvl4pPr>
            <a:lvl5pPr>
              <a:defRPr sz="1800" b="1">
                <a:solidFill>
                  <a:schemeClr val="tx2">
                    <a:lumMod val="50000"/>
                  </a:schemeClr>
                </a:solidFill>
              </a:defRPr>
            </a:lvl5pPr>
          </a:lstStyle>
          <a:p>
            <a:pPr lvl="0"/>
            <a:r>
              <a:rPr lang="en-GB"/>
              <a:t>X</a:t>
            </a:r>
          </a:p>
          <a:p>
            <a:pPr lvl="0"/>
            <a:endParaRPr lang="en-GB"/>
          </a:p>
        </p:txBody>
      </p:sp>
      <p:sp>
        <p:nvSpPr>
          <p:cNvPr id="12" name="Picture Placeholder 2">
            <a:extLst>
              <a:ext uri="{FF2B5EF4-FFF2-40B4-BE49-F238E27FC236}">
                <a16:creationId xmlns:a16="http://schemas.microsoft.com/office/drawing/2014/main" id="{EA8C7E29-42A4-2542-6547-ACCD8C92B2B5}"/>
              </a:ext>
            </a:extLst>
          </p:cNvPr>
          <p:cNvSpPr>
            <a:spLocks noGrp="1"/>
          </p:cNvSpPr>
          <p:nvPr>
            <p:ph type="pic" sz="quarter" idx="24"/>
          </p:nvPr>
        </p:nvSpPr>
        <p:spPr>
          <a:xfrm>
            <a:off x="7368539" y="366371"/>
            <a:ext cx="4307523" cy="5530549"/>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Tree>
    <p:extLst>
      <p:ext uri="{BB962C8B-B14F-4D97-AF65-F5344CB8AC3E}">
        <p14:creationId xmlns:p14="http://schemas.microsoft.com/office/powerpoint/2010/main" val="18433911"/>
      </p:ext>
    </p:extLst>
  </p:cSld>
  <p:clrMapOvr>
    <a:masterClrMapping/>
  </p:clrMapOvr>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2902969350"/>
      </p:ext>
    </p:extLst>
  </p:cSld>
  <p:clrMapOvr>
    <a:masterClrMapping/>
  </p:clrMapOvr>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Title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554947330"/>
      </p:ext>
    </p:extLst>
  </p:cSld>
  <p:clrMapOvr>
    <a:masterClrMapping/>
  </p:clrMapOvr>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a:latin typeface="Arial" panose="020B0604020202020204" pitchFamily="34" charset="0"/>
            </a:endParaRP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GNN webinar on rabies 6 May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3608102519"/>
      </p:ext>
    </p:extLst>
  </p:cSld>
  <p:clrMapOvr>
    <a:masterClrMapping/>
  </p:clrMapOvr>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Title Only – Dark">
    <p:bg>
      <p:bgPr>
        <a:solidFill>
          <a:schemeClr val="tx2">
            <a:lumMod val="75000"/>
          </a:schemeClr>
        </a:solidFill>
        <a:effectLst/>
      </p:bgPr>
    </p:bg>
    <p:spTree>
      <p:nvGrpSpPr>
        <p:cNvPr id="1" name=""/>
        <p:cNvGrpSpPr/>
        <p:nvPr/>
      </p:nvGrpSpPr>
      <p:grpSpPr>
        <a:xfrm>
          <a:off x="0" y="0"/>
          <a:ext cx="0" cy="0"/>
          <a:chOff x="0" y="0"/>
          <a:chExt cx="0" cy="0"/>
        </a:xfrm>
      </p:grpSpPr>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lvl1pPr>
              <a:defRPr>
                <a:solidFill>
                  <a:schemeClr val="bg1"/>
                </a:solidFill>
              </a:defRPr>
            </a:lvl1p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solidFill>
                  <a:schemeClr val="bg1">
                    <a:lumMod val="85000"/>
                  </a:schemeClr>
                </a:solidFill>
              </a:defRPr>
            </a:lvl1pPr>
          </a:lstStyle>
          <a:p>
            <a:fld id="{AB746B08-255A-2748-8A21-40BE94A17FD1}" type="slidenum">
              <a:rPr lang="en-GB" smtClean="0"/>
              <a:pPr/>
              <a:t>‹#›</a:t>
            </a:fld>
            <a:endParaRPr lang="en-GB"/>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solidFill>
                  <a:schemeClr val="bg1">
                    <a:lumMod val="85000"/>
                  </a:schemeClr>
                </a:solidFill>
              </a:defRPr>
            </a:lvl1pPr>
          </a:lstStyle>
          <a:p>
            <a:r>
              <a:rPr lang="en-US"/>
              <a:t>GNN webinar on rabies 6 May 2024</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285860363"/>
      </p:ext>
    </p:extLst>
  </p:cSld>
  <p:clrMapOvr>
    <a:masterClrMapping/>
  </p:clrMapOvr>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Large Key Stat">
    <p:bg>
      <p:bgPr>
        <a:blipFill dpi="0" rotWithShape="1">
          <a:blip r:embed="rId2">
            <a:lum/>
            <a:extLst>
              <a:ext uri="{28A0092B-C50C-407E-A947-70E740481C1C}">
                <a14:useLocalDpi xmlns:a14="http://schemas.microsoft.com/office/drawing/2010/main"/>
              </a:ext>
            </a:extLst>
          </a:blip>
          <a:srcRect/>
          <a:stretch>
            <a:fillRect t="-3000" b="-3000"/>
          </a:stretch>
        </a:blip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9290FAF2-2869-2B9B-5880-4EE57045BC4F}"/>
              </a:ext>
            </a:extLst>
          </p:cNvPr>
          <p:cNvSpPr>
            <a:spLocks noGrp="1"/>
          </p:cNvSpPr>
          <p:nvPr>
            <p:ph type="title" hasCustomPrompt="1"/>
          </p:nvPr>
        </p:nvSpPr>
        <p:spPr>
          <a:xfrm>
            <a:off x="518828" y="1249683"/>
            <a:ext cx="11208352" cy="2690816"/>
          </a:xfrm>
          <a:prstGeom prst="rect">
            <a:avLst/>
          </a:prstGeom>
        </p:spPr>
        <p:txBody>
          <a:bodyPr vert="horz" lIns="0" tIns="0" rIns="0" bIns="0" rtlCol="0" anchor="b">
            <a:noAutofit/>
          </a:bodyPr>
          <a:lstStyle>
            <a:lvl1pPr>
              <a:defRPr sz="11500">
                <a:solidFill>
                  <a:schemeClr val="bg1"/>
                </a:solidFill>
              </a:defRPr>
            </a:lvl1pPr>
          </a:lstStyle>
          <a:p>
            <a:r>
              <a:rPr lang="en-GB"/>
              <a:t>XXXXXX</a:t>
            </a:r>
          </a:p>
        </p:txBody>
      </p:sp>
      <p:sp>
        <p:nvSpPr>
          <p:cNvPr id="8" name="Slide Number Placeholder 2">
            <a:extLst>
              <a:ext uri="{FF2B5EF4-FFF2-40B4-BE49-F238E27FC236}">
                <a16:creationId xmlns:a16="http://schemas.microsoft.com/office/drawing/2014/main" id="{0F9BA01A-4636-2441-F8D0-2E265BF7D8B4}"/>
              </a:ext>
            </a:extLst>
          </p:cNvPr>
          <p:cNvSpPr>
            <a:spLocks noGrp="1"/>
          </p:cNvSpPr>
          <p:nvPr>
            <p:ph type="sldNum" sz="quarter" idx="12"/>
          </p:nvPr>
        </p:nvSpPr>
        <p:spPr>
          <a:xfrm>
            <a:off x="515937" y="6353142"/>
            <a:ext cx="261630" cy="136526"/>
          </a:xfrm>
          <a:prstGeom prst="rect">
            <a:avLst/>
          </a:prstGeom>
        </p:spPr>
        <p:txBody>
          <a:bodyPr anchor="b"/>
          <a:lstStyle>
            <a:lvl1pPr>
              <a:defRPr sz="800">
                <a:solidFill>
                  <a:schemeClr val="bg1">
                    <a:lumMod val="85000"/>
                  </a:schemeClr>
                </a:solidFill>
              </a:defRPr>
            </a:lvl1pPr>
          </a:lstStyle>
          <a:p>
            <a:fld id="{AB746B08-255A-2748-8A21-40BE94A17FD1}" type="slidenum">
              <a:rPr lang="en-GB" smtClean="0"/>
              <a:pPr/>
              <a:t>‹#›</a:t>
            </a:fld>
            <a:endParaRPr lang="en-GB"/>
          </a:p>
        </p:txBody>
      </p:sp>
      <p:cxnSp>
        <p:nvCxnSpPr>
          <p:cNvPr id="12" name="Straight Connector 11">
            <a:extLst>
              <a:ext uri="{FF2B5EF4-FFF2-40B4-BE49-F238E27FC236}">
                <a16:creationId xmlns:a16="http://schemas.microsoft.com/office/drawing/2014/main" id="{AC751308-8682-E296-A343-1719555B3C95}"/>
              </a:ext>
            </a:extLst>
          </p:cNvPr>
          <p:cNvCxnSpPr>
            <a:cxnSpLocks/>
          </p:cNvCxnSpPr>
          <p:nvPr userDrawn="1"/>
        </p:nvCxnSpPr>
        <p:spPr>
          <a:xfrm>
            <a:off x="515937" y="6293461"/>
            <a:ext cx="1001979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3" name="Footer Placeholder 1">
            <a:extLst>
              <a:ext uri="{FF2B5EF4-FFF2-40B4-BE49-F238E27FC236}">
                <a16:creationId xmlns:a16="http://schemas.microsoft.com/office/drawing/2014/main" id="{A1AFB23D-B299-93C8-2304-575B5ED93621}"/>
              </a:ext>
            </a:extLst>
          </p:cNvPr>
          <p:cNvSpPr>
            <a:spLocks noGrp="1"/>
          </p:cNvSpPr>
          <p:nvPr>
            <p:ph type="ftr" sz="quarter" idx="11"/>
          </p:nvPr>
        </p:nvSpPr>
        <p:spPr>
          <a:xfrm>
            <a:off x="777567" y="6353142"/>
            <a:ext cx="4114800" cy="136526"/>
          </a:xfrm>
          <a:prstGeom prst="rect">
            <a:avLst/>
          </a:prstGeom>
        </p:spPr>
        <p:txBody>
          <a:bodyPr anchor="b"/>
          <a:lstStyle>
            <a:lvl1pPr>
              <a:defRPr sz="800">
                <a:solidFill>
                  <a:schemeClr val="bg1">
                    <a:lumMod val="85000"/>
                  </a:schemeClr>
                </a:solidFill>
              </a:defRPr>
            </a:lvl1pPr>
          </a:lstStyle>
          <a:p>
            <a:r>
              <a:rPr lang="en-US"/>
              <a:t>GNN webinar on rabies 6 May 2024</a:t>
            </a:r>
            <a:endParaRPr lang="en-GB"/>
          </a:p>
        </p:txBody>
      </p:sp>
      <p:pic>
        <p:nvPicPr>
          <p:cNvPr id="15" name="Picture 11">
            <a:extLst>
              <a:ext uri="{FF2B5EF4-FFF2-40B4-BE49-F238E27FC236}">
                <a16:creationId xmlns:a16="http://schemas.microsoft.com/office/drawing/2014/main" id="{A4BBC3E9-F3A2-C188-5A3A-9D714331C860}"/>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633506" y="6109976"/>
            <a:ext cx="1036776" cy="381653"/>
          </a:xfrm>
          <a:prstGeom prst="rect">
            <a:avLst/>
          </a:prstGeom>
        </p:spPr>
      </p:pic>
      <p:sp>
        <p:nvSpPr>
          <p:cNvPr id="16" name="Text Placeholder 6">
            <a:extLst>
              <a:ext uri="{FF2B5EF4-FFF2-40B4-BE49-F238E27FC236}">
                <a16:creationId xmlns:a16="http://schemas.microsoft.com/office/drawing/2014/main" id="{64AB32E5-85C1-B8E6-505F-2580C9B2E9EE}"/>
              </a:ext>
            </a:extLst>
          </p:cNvPr>
          <p:cNvSpPr>
            <a:spLocks noGrp="1"/>
          </p:cNvSpPr>
          <p:nvPr>
            <p:ph type="body" sz="quarter" idx="16"/>
          </p:nvPr>
        </p:nvSpPr>
        <p:spPr>
          <a:xfrm>
            <a:off x="515936" y="4053840"/>
            <a:ext cx="6364924" cy="1668779"/>
          </a:xfrm>
        </p:spPr>
        <p:txBody>
          <a:bodyPr>
            <a:noAutofit/>
          </a:bodyPr>
          <a:lstStyle>
            <a:lvl1pPr>
              <a:defRPr sz="2400" b="1">
                <a:solidFill>
                  <a:schemeClr val="bg1"/>
                </a:solidFill>
              </a:defRPr>
            </a:lvl1pPr>
          </a:lstStyle>
          <a:p>
            <a:pPr lvl="0"/>
            <a:r>
              <a:rPr lang="en-GB"/>
              <a:t>Click to edit Master text styles</a:t>
            </a:r>
          </a:p>
        </p:txBody>
      </p:sp>
    </p:spTree>
    <p:extLst>
      <p:ext uri="{BB962C8B-B14F-4D97-AF65-F5344CB8AC3E}">
        <p14:creationId xmlns:p14="http://schemas.microsoft.com/office/powerpoint/2010/main" val="427520811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s + Image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United Against Rabies Forum Meeting - 6-8 November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8" name="Text Placeholder 6">
            <a:extLst>
              <a:ext uri="{FF2B5EF4-FFF2-40B4-BE49-F238E27FC236}">
                <a16:creationId xmlns:a16="http://schemas.microsoft.com/office/drawing/2014/main" id="{68748900-934F-4C43-A8B9-2FDF876E6D0F}"/>
              </a:ext>
            </a:extLst>
          </p:cNvPr>
          <p:cNvSpPr>
            <a:spLocks noGrp="1"/>
          </p:cNvSpPr>
          <p:nvPr>
            <p:ph type="body" sz="quarter" idx="15"/>
          </p:nvPr>
        </p:nvSpPr>
        <p:spPr>
          <a:xfrm>
            <a:off x="515939" y="3726649"/>
            <a:ext cx="3287436" cy="2121010"/>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3281279"/>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0" name="Text Placeholder 6">
            <a:extLst>
              <a:ext uri="{FF2B5EF4-FFF2-40B4-BE49-F238E27FC236}">
                <a16:creationId xmlns:a16="http://schemas.microsoft.com/office/drawing/2014/main" id="{A5AC520F-8595-0F44-99A9-F0873ACA435F}"/>
              </a:ext>
            </a:extLst>
          </p:cNvPr>
          <p:cNvSpPr>
            <a:spLocks noGrp="1"/>
          </p:cNvSpPr>
          <p:nvPr>
            <p:ph type="body" sz="quarter" idx="18"/>
          </p:nvPr>
        </p:nvSpPr>
        <p:spPr>
          <a:xfrm>
            <a:off x="4452282" y="3726649"/>
            <a:ext cx="3287436" cy="2121010"/>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4452282" y="3281279"/>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33" name="Text Placeholder 6">
            <a:extLst>
              <a:ext uri="{FF2B5EF4-FFF2-40B4-BE49-F238E27FC236}">
                <a16:creationId xmlns:a16="http://schemas.microsoft.com/office/drawing/2014/main" id="{AD30B9DC-1666-7446-9DFD-F674A273B468}"/>
              </a:ext>
            </a:extLst>
          </p:cNvPr>
          <p:cNvSpPr>
            <a:spLocks noGrp="1"/>
          </p:cNvSpPr>
          <p:nvPr>
            <p:ph type="body" sz="quarter" idx="21"/>
          </p:nvPr>
        </p:nvSpPr>
        <p:spPr>
          <a:xfrm>
            <a:off x="8382846" y="3733177"/>
            <a:ext cx="3287436" cy="2121010"/>
          </a:xfrm>
        </p:spPr>
        <p:txBody>
          <a:bodyPr>
            <a:normAutofit/>
          </a:bodyPr>
          <a:lstStyle>
            <a:lvl1pPr marL="177800" indent="-177800">
              <a:buFont typeface="Arial" panose="020B0604020202020204" pitchFamily="34" charset="0"/>
              <a:buChar char="•"/>
              <a:tabLst/>
              <a:defRPr sz="1400">
                <a:solidFill>
                  <a:schemeClr val="tx2">
                    <a:lumMod val="50000"/>
                  </a:schemeClr>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C7816D18-C579-DE44-B3B4-5D38198139F6}"/>
              </a:ext>
            </a:extLst>
          </p:cNvPr>
          <p:cNvSpPr>
            <a:spLocks noGrp="1"/>
          </p:cNvSpPr>
          <p:nvPr>
            <p:ph type="body" sz="quarter" idx="22"/>
          </p:nvPr>
        </p:nvSpPr>
        <p:spPr>
          <a:xfrm>
            <a:off x="8382846" y="3287807"/>
            <a:ext cx="3287436" cy="281103"/>
          </a:xfrm>
        </p:spPr>
        <p:txBody>
          <a:bodyPr>
            <a:spAutoFit/>
          </a:bodyPr>
          <a:lstStyle>
            <a:lvl1pPr>
              <a:defRPr sz="1800" b="1">
                <a:solidFill>
                  <a:schemeClr val="bg2"/>
                </a:solidFill>
              </a:defRPr>
            </a:lvl1pPr>
          </a:lstStyle>
          <a:p>
            <a:pPr lvl="0"/>
            <a:r>
              <a:rPr lang="en-GB"/>
              <a:t>Click to edit Master text styles</a:t>
            </a:r>
          </a:p>
        </p:txBody>
      </p:sp>
      <p:sp>
        <p:nvSpPr>
          <p:cNvPr id="17" name="Picture Placeholder 2">
            <a:extLst>
              <a:ext uri="{FF2B5EF4-FFF2-40B4-BE49-F238E27FC236}">
                <a16:creationId xmlns:a16="http://schemas.microsoft.com/office/drawing/2014/main" id="{4EF54ED7-3E2F-C8F7-553C-1DB155F7DBDC}"/>
              </a:ext>
            </a:extLst>
          </p:cNvPr>
          <p:cNvSpPr>
            <a:spLocks noGrp="1"/>
          </p:cNvSpPr>
          <p:nvPr>
            <p:ph type="pic" sz="quarter" idx="23"/>
          </p:nvPr>
        </p:nvSpPr>
        <p:spPr>
          <a:xfrm>
            <a:off x="515938" y="1304925"/>
            <a:ext cx="3287437" cy="1826421"/>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23" name="Picture Placeholder 2">
            <a:extLst>
              <a:ext uri="{FF2B5EF4-FFF2-40B4-BE49-F238E27FC236}">
                <a16:creationId xmlns:a16="http://schemas.microsoft.com/office/drawing/2014/main" id="{BCF59FD3-6B56-67EF-C1E8-78C92005D9AE}"/>
              </a:ext>
            </a:extLst>
          </p:cNvPr>
          <p:cNvSpPr>
            <a:spLocks noGrp="1"/>
          </p:cNvSpPr>
          <p:nvPr>
            <p:ph type="pic" sz="quarter" idx="24"/>
          </p:nvPr>
        </p:nvSpPr>
        <p:spPr>
          <a:xfrm>
            <a:off x="4452281" y="1304925"/>
            <a:ext cx="3287437" cy="1826421"/>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
        <p:nvSpPr>
          <p:cNvPr id="24" name="Picture Placeholder 2">
            <a:extLst>
              <a:ext uri="{FF2B5EF4-FFF2-40B4-BE49-F238E27FC236}">
                <a16:creationId xmlns:a16="http://schemas.microsoft.com/office/drawing/2014/main" id="{AA59D731-0D13-EB6C-7B10-1B59D3D8C5AA}"/>
              </a:ext>
            </a:extLst>
          </p:cNvPr>
          <p:cNvSpPr>
            <a:spLocks noGrp="1"/>
          </p:cNvSpPr>
          <p:nvPr>
            <p:ph type="pic" sz="quarter" idx="25"/>
          </p:nvPr>
        </p:nvSpPr>
        <p:spPr>
          <a:xfrm>
            <a:off x="8388626" y="1304925"/>
            <a:ext cx="3287437" cy="1826421"/>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Tree>
    <p:extLst>
      <p:ext uri="{BB962C8B-B14F-4D97-AF65-F5344CB8AC3E}">
        <p14:creationId xmlns:p14="http://schemas.microsoft.com/office/powerpoint/2010/main" val="144809257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Key Stats x3">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United Against Rabies Forum Meeting - 6-8 November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19" name="Text Placeholder 6">
            <a:extLst>
              <a:ext uri="{FF2B5EF4-FFF2-40B4-BE49-F238E27FC236}">
                <a16:creationId xmlns:a16="http://schemas.microsoft.com/office/drawing/2014/main" id="{B8195AC2-DF35-BD4A-8180-20C21BDD0E65}"/>
              </a:ext>
            </a:extLst>
          </p:cNvPr>
          <p:cNvSpPr>
            <a:spLocks noGrp="1"/>
          </p:cNvSpPr>
          <p:nvPr>
            <p:ph type="body" sz="quarter" idx="16"/>
          </p:nvPr>
        </p:nvSpPr>
        <p:spPr>
          <a:xfrm>
            <a:off x="515939" y="4050217"/>
            <a:ext cx="3287436" cy="1188251"/>
          </a:xfrm>
        </p:spPr>
        <p:txBody>
          <a:bodyPr>
            <a:noAutofit/>
          </a:bodyPr>
          <a:lstStyle>
            <a:lvl1pPr>
              <a:defRPr sz="1800" b="1">
                <a:solidFill>
                  <a:schemeClr val="bg2"/>
                </a:solidFill>
              </a:defRPr>
            </a:lvl1pPr>
          </a:lstStyle>
          <a:p>
            <a:pPr lvl="0"/>
            <a:r>
              <a:rPr lang="en-GB"/>
              <a:t>Click to edit Master text styles</a:t>
            </a:r>
          </a:p>
        </p:txBody>
      </p:sp>
      <p:sp>
        <p:nvSpPr>
          <p:cNvPr id="31" name="Text Placeholder 6">
            <a:extLst>
              <a:ext uri="{FF2B5EF4-FFF2-40B4-BE49-F238E27FC236}">
                <a16:creationId xmlns:a16="http://schemas.microsoft.com/office/drawing/2014/main" id="{A0590A44-9090-C049-9F9D-0AEBD2992A8D}"/>
              </a:ext>
            </a:extLst>
          </p:cNvPr>
          <p:cNvSpPr>
            <a:spLocks noGrp="1"/>
          </p:cNvSpPr>
          <p:nvPr>
            <p:ph type="body" sz="quarter" idx="19"/>
          </p:nvPr>
        </p:nvSpPr>
        <p:spPr>
          <a:xfrm>
            <a:off x="4452282" y="4050217"/>
            <a:ext cx="3287436" cy="1188251"/>
          </a:xfrm>
        </p:spPr>
        <p:txBody>
          <a:bodyPr>
            <a:noAutofit/>
          </a:bodyPr>
          <a:lstStyle>
            <a:lvl1pPr>
              <a:defRPr sz="1800" b="1">
                <a:solidFill>
                  <a:schemeClr val="bg2"/>
                </a:solidFill>
              </a:defRPr>
            </a:lvl1pPr>
          </a:lstStyle>
          <a:p>
            <a:pPr lvl="0"/>
            <a:r>
              <a:rPr lang="en-GB"/>
              <a:t>Click to edit Master text styles</a:t>
            </a:r>
          </a:p>
        </p:txBody>
      </p:sp>
      <p:sp>
        <p:nvSpPr>
          <p:cNvPr id="34" name="Text Placeholder 6">
            <a:extLst>
              <a:ext uri="{FF2B5EF4-FFF2-40B4-BE49-F238E27FC236}">
                <a16:creationId xmlns:a16="http://schemas.microsoft.com/office/drawing/2014/main" id="{C7816D18-C579-DE44-B3B4-5D38198139F6}"/>
              </a:ext>
            </a:extLst>
          </p:cNvPr>
          <p:cNvSpPr>
            <a:spLocks noGrp="1"/>
          </p:cNvSpPr>
          <p:nvPr>
            <p:ph type="body" sz="quarter" idx="22"/>
          </p:nvPr>
        </p:nvSpPr>
        <p:spPr>
          <a:xfrm>
            <a:off x="8382846" y="4056745"/>
            <a:ext cx="3287436" cy="1188251"/>
          </a:xfrm>
        </p:spPr>
        <p:txBody>
          <a:bodyPr>
            <a:noAutofit/>
          </a:bodyPr>
          <a:lstStyle>
            <a:lvl1pPr>
              <a:defRPr sz="1800" b="1">
                <a:solidFill>
                  <a:schemeClr val="bg2"/>
                </a:solidFill>
              </a:defRPr>
            </a:lvl1pPr>
          </a:lstStyle>
          <a:p>
            <a:pPr lvl="0"/>
            <a:r>
              <a:rPr lang="en-GB"/>
              <a:t>Click to edit Master text styles</a:t>
            </a:r>
          </a:p>
        </p:txBody>
      </p:sp>
      <p:sp>
        <p:nvSpPr>
          <p:cNvPr id="17" name="Text Placeholder 6">
            <a:extLst>
              <a:ext uri="{FF2B5EF4-FFF2-40B4-BE49-F238E27FC236}">
                <a16:creationId xmlns:a16="http://schemas.microsoft.com/office/drawing/2014/main" id="{B0250E06-295E-B6E6-95C4-089EF7886C76}"/>
              </a:ext>
            </a:extLst>
          </p:cNvPr>
          <p:cNvSpPr>
            <a:spLocks noGrp="1"/>
          </p:cNvSpPr>
          <p:nvPr>
            <p:ph type="body" sz="quarter" idx="25" hasCustomPrompt="1"/>
          </p:nvPr>
        </p:nvSpPr>
        <p:spPr>
          <a:xfrm>
            <a:off x="515939" y="2881801"/>
            <a:ext cx="3287436" cy="1115264"/>
          </a:xfrm>
        </p:spPr>
        <p:txBody>
          <a:bodyPr anchor="b">
            <a:normAutofit/>
          </a:bodyPr>
          <a:lstStyle>
            <a:lvl1pPr>
              <a:defRPr sz="6600" b="1">
                <a:solidFill>
                  <a:schemeClr val="bg2"/>
                </a:solidFill>
              </a:defRPr>
            </a:lvl1pPr>
          </a:lstStyle>
          <a:p>
            <a:pPr lvl="0"/>
            <a:r>
              <a:rPr lang="en-GB"/>
              <a:t>XXXX</a:t>
            </a:r>
          </a:p>
        </p:txBody>
      </p:sp>
      <p:sp>
        <p:nvSpPr>
          <p:cNvPr id="23" name="Text Placeholder 6">
            <a:extLst>
              <a:ext uri="{FF2B5EF4-FFF2-40B4-BE49-F238E27FC236}">
                <a16:creationId xmlns:a16="http://schemas.microsoft.com/office/drawing/2014/main" id="{41638B5E-8DB0-EAFF-0CF3-8812AF05A9BF}"/>
              </a:ext>
            </a:extLst>
          </p:cNvPr>
          <p:cNvSpPr>
            <a:spLocks noGrp="1"/>
          </p:cNvSpPr>
          <p:nvPr>
            <p:ph type="body" sz="quarter" idx="26" hasCustomPrompt="1"/>
          </p:nvPr>
        </p:nvSpPr>
        <p:spPr>
          <a:xfrm>
            <a:off x="4449392" y="2881801"/>
            <a:ext cx="3287436" cy="1115264"/>
          </a:xfrm>
        </p:spPr>
        <p:txBody>
          <a:bodyPr anchor="b">
            <a:normAutofit/>
          </a:bodyPr>
          <a:lstStyle>
            <a:lvl1pPr>
              <a:defRPr sz="6600" b="1">
                <a:solidFill>
                  <a:schemeClr val="bg2"/>
                </a:solidFill>
              </a:defRPr>
            </a:lvl1pPr>
          </a:lstStyle>
          <a:p>
            <a:pPr lvl="0"/>
            <a:r>
              <a:rPr lang="en-GB"/>
              <a:t>XXXX</a:t>
            </a:r>
          </a:p>
        </p:txBody>
      </p:sp>
      <p:sp>
        <p:nvSpPr>
          <p:cNvPr id="24" name="Text Placeholder 6">
            <a:extLst>
              <a:ext uri="{FF2B5EF4-FFF2-40B4-BE49-F238E27FC236}">
                <a16:creationId xmlns:a16="http://schemas.microsoft.com/office/drawing/2014/main" id="{248EBF9A-10A9-92FA-05B2-3A9523883401}"/>
              </a:ext>
            </a:extLst>
          </p:cNvPr>
          <p:cNvSpPr>
            <a:spLocks noGrp="1"/>
          </p:cNvSpPr>
          <p:nvPr>
            <p:ph type="body" sz="quarter" idx="27" hasCustomPrompt="1"/>
          </p:nvPr>
        </p:nvSpPr>
        <p:spPr>
          <a:xfrm>
            <a:off x="8382846" y="2881801"/>
            <a:ext cx="3287436" cy="1115264"/>
          </a:xfrm>
        </p:spPr>
        <p:txBody>
          <a:bodyPr anchor="b">
            <a:normAutofit/>
          </a:bodyPr>
          <a:lstStyle>
            <a:lvl1pPr>
              <a:defRPr sz="6600" b="1">
                <a:solidFill>
                  <a:schemeClr val="bg2"/>
                </a:solidFill>
              </a:defRPr>
            </a:lvl1pPr>
          </a:lstStyle>
          <a:p>
            <a:pPr lvl="0"/>
            <a:r>
              <a:rPr lang="en-GB"/>
              <a:t>XXXX</a:t>
            </a:r>
          </a:p>
        </p:txBody>
      </p:sp>
      <p:sp>
        <p:nvSpPr>
          <p:cNvPr id="20" name="Text Placeholder 8">
            <a:extLst>
              <a:ext uri="{FF2B5EF4-FFF2-40B4-BE49-F238E27FC236}">
                <a16:creationId xmlns:a16="http://schemas.microsoft.com/office/drawing/2014/main" id="{D2E71522-4C4D-EAC4-2A71-F45B1F18D569}"/>
              </a:ext>
            </a:extLst>
          </p:cNvPr>
          <p:cNvSpPr>
            <a:spLocks noGrp="1"/>
          </p:cNvSpPr>
          <p:nvPr>
            <p:ph type="body" idx="13"/>
          </p:nvPr>
        </p:nvSpPr>
        <p:spPr>
          <a:xfrm>
            <a:off x="531133" y="1304925"/>
            <a:ext cx="11144930" cy="1369692"/>
          </a:xfrm>
        </p:spPr>
        <p:txBody>
          <a:bodyPr numCol="1" spcCol="180000">
            <a:normAutofit/>
          </a:bodyPr>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Tree>
    <p:extLst>
      <p:ext uri="{BB962C8B-B14F-4D97-AF65-F5344CB8AC3E}">
        <p14:creationId xmlns:p14="http://schemas.microsoft.com/office/powerpoint/2010/main" val="64032082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Key Stats x5">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United Against Rabies Forum Meeting - 6-8 November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62" name="Title Placeholder 1">
            <a:extLst>
              <a:ext uri="{FF2B5EF4-FFF2-40B4-BE49-F238E27FC236}">
                <a16:creationId xmlns:a16="http://schemas.microsoft.com/office/drawing/2014/main" id="{14F0825D-90B8-6120-7F14-9DC0960BC9E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63" name="Text Placeholder 6">
            <a:extLst>
              <a:ext uri="{FF2B5EF4-FFF2-40B4-BE49-F238E27FC236}">
                <a16:creationId xmlns:a16="http://schemas.microsoft.com/office/drawing/2014/main" id="{AF40E274-F0AF-0436-1F33-86E04DCC0DAA}"/>
              </a:ext>
            </a:extLst>
          </p:cNvPr>
          <p:cNvSpPr>
            <a:spLocks noGrp="1"/>
          </p:cNvSpPr>
          <p:nvPr>
            <p:ph type="body" sz="quarter" idx="25" hasCustomPrompt="1"/>
          </p:nvPr>
        </p:nvSpPr>
        <p:spPr>
          <a:xfrm>
            <a:off x="515939" y="2931453"/>
            <a:ext cx="2007342" cy="844151"/>
          </a:xfrm>
        </p:spPr>
        <p:txBody>
          <a:bodyPr anchor="b">
            <a:normAutofit/>
          </a:bodyPr>
          <a:lstStyle>
            <a:lvl1pPr>
              <a:defRPr sz="4600" b="1">
                <a:solidFill>
                  <a:schemeClr val="bg2"/>
                </a:solidFill>
              </a:defRPr>
            </a:lvl1pPr>
          </a:lstStyle>
          <a:p>
            <a:pPr lvl="0"/>
            <a:r>
              <a:rPr lang="en-GB"/>
              <a:t>XXXXX</a:t>
            </a:r>
          </a:p>
        </p:txBody>
      </p:sp>
      <p:sp>
        <p:nvSpPr>
          <p:cNvPr id="64" name="Text Placeholder 8">
            <a:extLst>
              <a:ext uri="{FF2B5EF4-FFF2-40B4-BE49-F238E27FC236}">
                <a16:creationId xmlns:a16="http://schemas.microsoft.com/office/drawing/2014/main" id="{DB2C3DC3-9DBF-095B-1AEB-4513EE50C647}"/>
              </a:ext>
            </a:extLst>
          </p:cNvPr>
          <p:cNvSpPr>
            <a:spLocks noGrp="1"/>
          </p:cNvSpPr>
          <p:nvPr>
            <p:ph type="body" idx="13"/>
          </p:nvPr>
        </p:nvSpPr>
        <p:spPr>
          <a:xfrm>
            <a:off x="531133" y="1304924"/>
            <a:ext cx="11144930" cy="1566849"/>
          </a:xfrm>
        </p:spPr>
        <p:txBody>
          <a:bodyPr numCol="1" spcCol="180000">
            <a:normAutofit/>
          </a:bodyPr>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p:txBody>
      </p:sp>
      <p:sp>
        <p:nvSpPr>
          <p:cNvPr id="65" name="Text Placeholder 6">
            <a:extLst>
              <a:ext uri="{FF2B5EF4-FFF2-40B4-BE49-F238E27FC236}">
                <a16:creationId xmlns:a16="http://schemas.microsoft.com/office/drawing/2014/main" id="{EBBD32EE-C0FF-E8CB-43E3-315A609AEFE7}"/>
              </a:ext>
            </a:extLst>
          </p:cNvPr>
          <p:cNvSpPr>
            <a:spLocks noGrp="1"/>
          </p:cNvSpPr>
          <p:nvPr>
            <p:ph type="body" sz="quarter" idx="16"/>
          </p:nvPr>
        </p:nvSpPr>
        <p:spPr>
          <a:xfrm>
            <a:off x="515939"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6" name="Text Placeholder 6">
            <a:extLst>
              <a:ext uri="{FF2B5EF4-FFF2-40B4-BE49-F238E27FC236}">
                <a16:creationId xmlns:a16="http://schemas.microsoft.com/office/drawing/2014/main" id="{9E2EB64B-500A-8201-8F3F-287FDE60FB19}"/>
              </a:ext>
            </a:extLst>
          </p:cNvPr>
          <p:cNvSpPr>
            <a:spLocks noGrp="1"/>
          </p:cNvSpPr>
          <p:nvPr>
            <p:ph type="body" sz="quarter" idx="19"/>
          </p:nvPr>
        </p:nvSpPr>
        <p:spPr>
          <a:xfrm>
            <a:off x="2802689"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7" name="Text Placeholder 6">
            <a:extLst>
              <a:ext uri="{FF2B5EF4-FFF2-40B4-BE49-F238E27FC236}">
                <a16:creationId xmlns:a16="http://schemas.microsoft.com/office/drawing/2014/main" id="{709BC01A-3AFB-CE31-0E4A-EE885FE2D5A4}"/>
              </a:ext>
            </a:extLst>
          </p:cNvPr>
          <p:cNvSpPr>
            <a:spLocks noGrp="1"/>
          </p:cNvSpPr>
          <p:nvPr>
            <p:ph type="body" sz="quarter" idx="22"/>
          </p:nvPr>
        </p:nvSpPr>
        <p:spPr>
          <a:xfrm>
            <a:off x="5089439"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8" name="Text Placeholder 6">
            <a:extLst>
              <a:ext uri="{FF2B5EF4-FFF2-40B4-BE49-F238E27FC236}">
                <a16:creationId xmlns:a16="http://schemas.microsoft.com/office/drawing/2014/main" id="{CD03EE5B-6B86-7B77-E541-93CE05115235}"/>
              </a:ext>
            </a:extLst>
          </p:cNvPr>
          <p:cNvSpPr>
            <a:spLocks noGrp="1"/>
          </p:cNvSpPr>
          <p:nvPr>
            <p:ph type="body" sz="quarter" idx="28"/>
          </p:nvPr>
        </p:nvSpPr>
        <p:spPr>
          <a:xfrm>
            <a:off x="7376189"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69" name="Text Placeholder 6">
            <a:extLst>
              <a:ext uri="{FF2B5EF4-FFF2-40B4-BE49-F238E27FC236}">
                <a16:creationId xmlns:a16="http://schemas.microsoft.com/office/drawing/2014/main" id="{F9CB884D-6999-7DC7-1825-FC60BEC935BD}"/>
              </a:ext>
            </a:extLst>
          </p:cNvPr>
          <p:cNvSpPr>
            <a:spLocks noGrp="1"/>
          </p:cNvSpPr>
          <p:nvPr>
            <p:ph type="body" sz="quarter" idx="29"/>
          </p:nvPr>
        </p:nvSpPr>
        <p:spPr>
          <a:xfrm>
            <a:off x="9662940" y="4066433"/>
            <a:ext cx="2007342" cy="387798"/>
          </a:xfrm>
        </p:spPr>
        <p:txBody>
          <a:bodyPr wrap="square">
            <a:spAutoFit/>
          </a:bodyPr>
          <a:lstStyle>
            <a:lvl1pPr>
              <a:lnSpc>
                <a:spcPct val="90000"/>
              </a:lnSpc>
              <a:defRPr sz="1400" b="1">
                <a:solidFill>
                  <a:schemeClr val="bg2"/>
                </a:solidFill>
              </a:defRPr>
            </a:lvl1pPr>
          </a:lstStyle>
          <a:p>
            <a:pPr lvl="0"/>
            <a:r>
              <a:rPr lang="en-GB"/>
              <a:t>Click to edit Master text styles</a:t>
            </a:r>
          </a:p>
        </p:txBody>
      </p:sp>
      <p:sp>
        <p:nvSpPr>
          <p:cNvPr id="70" name="Text Placeholder 6">
            <a:extLst>
              <a:ext uri="{FF2B5EF4-FFF2-40B4-BE49-F238E27FC236}">
                <a16:creationId xmlns:a16="http://schemas.microsoft.com/office/drawing/2014/main" id="{F03D69DA-4061-E20B-1262-8A9F09B92D26}"/>
              </a:ext>
            </a:extLst>
          </p:cNvPr>
          <p:cNvSpPr>
            <a:spLocks noGrp="1"/>
          </p:cNvSpPr>
          <p:nvPr>
            <p:ph type="body" sz="quarter" idx="30" hasCustomPrompt="1"/>
          </p:nvPr>
        </p:nvSpPr>
        <p:spPr>
          <a:xfrm>
            <a:off x="2790107" y="2931453"/>
            <a:ext cx="2007342" cy="844151"/>
          </a:xfrm>
        </p:spPr>
        <p:txBody>
          <a:bodyPr anchor="b">
            <a:normAutofit/>
          </a:bodyPr>
          <a:lstStyle>
            <a:lvl1pPr>
              <a:defRPr sz="4600" b="1">
                <a:solidFill>
                  <a:schemeClr val="bg2"/>
                </a:solidFill>
              </a:defRPr>
            </a:lvl1pPr>
          </a:lstStyle>
          <a:p>
            <a:pPr lvl="0"/>
            <a:r>
              <a:rPr lang="en-GB"/>
              <a:t>XXXXX</a:t>
            </a:r>
          </a:p>
        </p:txBody>
      </p:sp>
      <p:sp>
        <p:nvSpPr>
          <p:cNvPr id="71" name="Text Placeholder 6">
            <a:extLst>
              <a:ext uri="{FF2B5EF4-FFF2-40B4-BE49-F238E27FC236}">
                <a16:creationId xmlns:a16="http://schemas.microsoft.com/office/drawing/2014/main" id="{4DA3F266-6EB8-18CF-146E-FCE0EE2BCCED}"/>
              </a:ext>
            </a:extLst>
          </p:cNvPr>
          <p:cNvSpPr>
            <a:spLocks noGrp="1"/>
          </p:cNvSpPr>
          <p:nvPr>
            <p:ph type="body" sz="quarter" idx="31" hasCustomPrompt="1"/>
          </p:nvPr>
        </p:nvSpPr>
        <p:spPr>
          <a:xfrm>
            <a:off x="5064275" y="2931453"/>
            <a:ext cx="2007342" cy="844151"/>
          </a:xfrm>
        </p:spPr>
        <p:txBody>
          <a:bodyPr anchor="b">
            <a:normAutofit/>
          </a:bodyPr>
          <a:lstStyle>
            <a:lvl1pPr>
              <a:defRPr sz="4600" b="1">
                <a:solidFill>
                  <a:schemeClr val="bg2"/>
                </a:solidFill>
              </a:defRPr>
            </a:lvl1pPr>
          </a:lstStyle>
          <a:p>
            <a:pPr lvl="0"/>
            <a:r>
              <a:rPr lang="en-GB"/>
              <a:t>XXXXX</a:t>
            </a:r>
          </a:p>
        </p:txBody>
      </p:sp>
      <p:sp>
        <p:nvSpPr>
          <p:cNvPr id="72" name="Text Placeholder 6">
            <a:extLst>
              <a:ext uri="{FF2B5EF4-FFF2-40B4-BE49-F238E27FC236}">
                <a16:creationId xmlns:a16="http://schemas.microsoft.com/office/drawing/2014/main" id="{ABAC94EC-4D3A-CEAC-3763-AE5EBA842951}"/>
              </a:ext>
            </a:extLst>
          </p:cNvPr>
          <p:cNvSpPr>
            <a:spLocks noGrp="1"/>
          </p:cNvSpPr>
          <p:nvPr>
            <p:ph type="body" sz="quarter" idx="32" hasCustomPrompt="1"/>
          </p:nvPr>
        </p:nvSpPr>
        <p:spPr>
          <a:xfrm>
            <a:off x="7376189" y="2931453"/>
            <a:ext cx="2007342" cy="844151"/>
          </a:xfrm>
        </p:spPr>
        <p:txBody>
          <a:bodyPr anchor="b">
            <a:normAutofit/>
          </a:bodyPr>
          <a:lstStyle>
            <a:lvl1pPr>
              <a:defRPr sz="4600" b="1">
                <a:solidFill>
                  <a:schemeClr val="bg2"/>
                </a:solidFill>
              </a:defRPr>
            </a:lvl1pPr>
          </a:lstStyle>
          <a:p>
            <a:pPr lvl="0"/>
            <a:r>
              <a:rPr lang="en-GB"/>
              <a:t>XXXXX</a:t>
            </a:r>
          </a:p>
        </p:txBody>
      </p:sp>
      <p:sp>
        <p:nvSpPr>
          <p:cNvPr id="73" name="Text Placeholder 6">
            <a:extLst>
              <a:ext uri="{FF2B5EF4-FFF2-40B4-BE49-F238E27FC236}">
                <a16:creationId xmlns:a16="http://schemas.microsoft.com/office/drawing/2014/main" id="{CB8F9A8E-E04A-1CA2-A320-7A4AE6F70DD9}"/>
              </a:ext>
            </a:extLst>
          </p:cNvPr>
          <p:cNvSpPr>
            <a:spLocks noGrp="1"/>
          </p:cNvSpPr>
          <p:nvPr>
            <p:ph type="body" sz="quarter" idx="33" hasCustomPrompt="1"/>
          </p:nvPr>
        </p:nvSpPr>
        <p:spPr>
          <a:xfrm>
            <a:off x="9662940" y="2931453"/>
            <a:ext cx="2007342" cy="844151"/>
          </a:xfrm>
        </p:spPr>
        <p:txBody>
          <a:bodyPr anchor="b">
            <a:normAutofit/>
          </a:bodyPr>
          <a:lstStyle>
            <a:lvl1pPr>
              <a:defRPr sz="4600" b="1">
                <a:solidFill>
                  <a:schemeClr val="bg2"/>
                </a:solidFill>
              </a:defRPr>
            </a:lvl1pPr>
          </a:lstStyle>
          <a:p>
            <a:pPr lvl="0"/>
            <a:r>
              <a:rPr lang="en-GB"/>
              <a:t>XXXXX</a:t>
            </a:r>
          </a:p>
        </p:txBody>
      </p:sp>
    </p:spTree>
    <p:extLst>
      <p:ext uri="{BB962C8B-B14F-4D97-AF65-F5344CB8AC3E}">
        <p14:creationId xmlns:p14="http://schemas.microsoft.com/office/powerpoint/2010/main" val="386454704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meline/Milestones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United Against Rabies Forum Meeting - 6-8 November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graphicFrame>
        <p:nvGraphicFramePr>
          <p:cNvPr id="48" name="Table 47">
            <a:extLst>
              <a:ext uri="{FF2B5EF4-FFF2-40B4-BE49-F238E27FC236}">
                <a16:creationId xmlns:a16="http://schemas.microsoft.com/office/drawing/2014/main" id="{B7F29198-E920-459C-2862-C2C7FB6FEB65}"/>
              </a:ext>
            </a:extLst>
          </p:cNvPr>
          <p:cNvGraphicFramePr>
            <a:graphicFrameLocks noGrp="1"/>
          </p:cNvGraphicFramePr>
          <p:nvPr userDrawn="1">
            <p:extLst>
              <p:ext uri="{D42A27DB-BD31-4B8C-83A1-F6EECF244321}">
                <p14:modId xmlns:p14="http://schemas.microsoft.com/office/powerpoint/2010/main" val="2545069581"/>
              </p:ext>
            </p:extLst>
          </p:nvPr>
        </p:nvGraphicFramePr>
        <p:xfrm>
          <a:off x="606585" y="2278196"/>
          <a:ext cx="11007608" cy="3618726"/>
        </p:xfrm>
        <a:graphic>
          <a:graphicData uri="http://schemas.openxmlformats.org/drawingml/2006/table">
            <a:tbl>
              <a:tblPr bandCol="1">
                <a:tableStyleId>{2D5ABB26-0587-4C30-8999-92F81FD0307C}</a:tableStyleId>
              </a:tblPr>
              <a:tblGrid>
                <a:gridCol w="2751902">
                  <a:extLst>
                    <a:ext uri="{9D8B030D-6E8A-4147-A177-3AD203B41FA5}">
                      <a16:colId xmlns:a16="http://schemas.microsoft.com/office/drawing/2014/main" val="4151945498"/>
                    </a:ext>
                  </a:extLst>
                </a:gridCol>
                <a:gridCol w="2751902">
                  <a:extLst>
                    <a:ext uri="{9D8B030D-6E8A-4147-A177-3AD203B41FA5}">
                      <a16:colId xmlns:a16="http://schemas.microsoft.com/office/drawing/2014/main" val="1382627474"/>
                    </a:ext>
                  </a:extLst>
                </a:gridCol>
                <a:gridCol w="2751902">
                  <a:extLst>
                    <a:ext uri="{9D8B030D-6E8A-4147-A177-3AD203B41FA5}">
                      <a16:colId xmlns:a16="http://schemas.microsoft.com/office/drawing/2014/main" val="2312284562"/>
                    </a:ext>
                  </a:extLst>
                </a:gridCol>
                <a:gridCol w="2751902">
                  <a:extLst>
                    <a:ext uri="{9D8B030D-6E8A-4147-A177-3AD203B41FA5}">
                      <a16:colId xmlns:a16="http://schemas.microsoft.com/office/drawing/2014/main" val="380964293"/>
                    </a:ext>
                  </a:extLst>
                </a:gridCol>
              </a:tblGrid>
              <a:tr h="3618726">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extLst>
                  <a:ext uri="{0D108BD9-81ED-4DB2-BD59-A6C34878D82A}">
                    <a16:rowId xmlns:a16="http://schemas.microsoft.com/office/drawing/2014/main" val="3469904028"/>
                  </a:ext>
                </a:extLst>
              </a:tr>
            </a:tbl>
          </a:graphicData>
        </a:graphic>
      </p:graphicFrame>
      <p:sp>
        <p:nvSpPr>
          <p:cNvPr id="49" name="object 14">
            <a:extLst>
              <a:ext uri="{FF2B5EF4-FFF2-40B4-BE49-F238E27FC236}">
                <a16:creationId xmlns:a16="http://schemas.microsoft.com/office/drawing/2014/main" id="{A52E1F34-96C7-3C86-48A7-FAB9C405C20B}"/>
              </a:ext>
            </a:extLst>
          </p:cNvPr>
          <p:cNvSpPr/>
          <p:nvPr userDrawn="1"/>
        </p:nvSpPr>
        <p:spPr>
          <a:xfrm>
            <a:off x="577805" y="2278195"/>
            <a:ext cx="11036388" cy="45719"/>
          </a:xfrm>
          <a:custGeom>
            <a:avLst/>
            <a:gdLst/>
            <a:ahLst/>
            <a:cxnLst/>
            <a:rect l="l" t="t" r="r" b="b"/>
            <a:pathLst>
              <a:path w="18209260">
                <a:moveTo>
                  <a:pt x="0" y="0"/>
                </a:moveTo>
                <a:lnTo>
                  <a:pt x="18208869" y="0"/>
                </a:lnTo>
              </a:path>
            </a:pathLst>
          </a:custGeom>
          <a:ln w="9525">
            <a:solidFill>
              <a:schemeClr val="bg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7" y="222114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1" name="Oval 50">
            <a:extLst>
              <a:ext uri="{FF2B5EF4-FFF2-40B4-BE49-F238E27FC236}">
                <a16:creationId xmlns:a16="http://schemas.microsoft.com/office/drawing/2014/main" id="{47D58FC1-83B9-3BAD-C3EF-06E8D5DE120F}"/>
              </a:ext>
            </a:extLst>
          </p:cNvPr>
          <p:cNvSpPr>
            <a:spLocks noChangeAspect="1"/>
          </p:cNvSpPr>
          <p:nvPr userDrawn="1"/>
        </p:nvSpPr>
        <p:spPr>
          <a:xfrm>
            <a:off x="3460438" y="222114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2" name="Oval 51">
            <a:extLst>
              <a:ext uri="{FF2B5EF4-FFF2-40B4-BE49-F238E27FC236}">
                <a16:creationId xmlns:a16="http://schemas.microsoft.com/office/drawing/2014/main" id="{9D582DFC-3D0D-D5F8-AA6B-5676C8C4B3BF}"/>
              </a:ext>
            </a:extLst>
          </p:cNvPr>
          <p:cNvSpPr>
            <a:spLocks noChangeAspect="1"/>
          </p:cNvSpPr>
          <p:nvPr userDrawn="1"/>
        </p:nvSpPr>
        <p:spPr>
          <a:xfrm>
            <a:off x="6227970" y="222114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3" name="Oval 52">
            <a:extLst>
              <a:ext uri="{FF2B5EF4-FFF2-40B4-BE49-F238E27FC236}">
                <a16:creationId xmlns:a16="http://schemas.microsoft.com/office/drawing/2014/main" id="{DF486150-9219-560A-8B4F-FB551F786E68}"/>
              </a:ext>
            </a:extLst>
          </p:cNvPr>
          <p:cNvSpPr>
            <a:spLocks noChangeAspect="1"/>
          </p:cNvSpPr>
          <p:nvPr userDrawn="1"/>
        </p:nvSpPr>
        <p:spPr>
          <a:xfrm>
            <a:off x="8985924" y="222114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7" y="1818875"/>
            <a:ext cx="2767426" cy="300442"/>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5" name="Text Placeholder 71">
            <a:extLst>
              <a:ext uri="{FF2B5EF4-FFF2-40B4-BE49-F238E27FC236}">
                <a16:creationId xmlns:a16="http://schemas.microsoft.com/office/drawing/2014/main" id="{799F0539-8B24-4E4B-EF4C-121B551D8BA3}"/>
              </a:ext>
            </a:extLst>
          </p:cNvPr>
          <p:cNvSpPr>
            <a:spLocks noGrp="1"/>
          </p:cNvSpPr>
          <p:nvPr>
            <p:ph type="body" sz="quarter" idx="16" hasCustomPrompt="1"/>
          </p:nvPr>
        </p:nvSpPr>
        <p:spPr>
          <a:xfrm>
            <a:off x="3344603" y="1818875"/>
            <a:ext cx="2746295" cy="300442"/>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6" name="Text Placeholder 71">
            <a:extLst>
              <a:ext uri="{FF2B5EF4-FFF2-40B4-BE49-F238E27FC236}">
                <a16:creationId xmlns:a16="http://schemas.microsoft.com/office/drawing/2014/main" id="{9DFB2CE5-A177-E72D-3CD4-2646E4DCE502}"/>
              </a:ext>
            </a:extLst>
          </p:cNvPr>
          <p:cNvSpPr>
            <a:spLocks noGrp="1"/>
          </p:cNvSpPr>
          <p:nvPr>
            <p:ph type="body" sz="quarter" idx="18" hasCustomPrompt="1"/>
          </p:nvPr>
        </p:nvSpPr>
        <p:spPr>
          <a:xfrm>
            <a:off x="6100141" y="1818875"/>
            <a:ext cx="2745959" cy="300442"/>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7" name="Text Placeholder 71">
            <a:extLst>
              <a:ext uri="{FF2B5EF4-FFF2-40B4-BE49-F238E27FC236}">
                <a16:creationId xmlns:a16="http://schemas.microsoft.com/office/drawing/2014/main" id="{7A262EC1-F639-E81C-3343-3DA348DA9266}"/>
              </a:ext>
            </a:extLst>
          </p:cNvPr>
          <p:cNvSpPr>
            <a:spLocks noGrp="1"/>
          </p:cNvSpPr>
          <p:nvPr>
            <p:ph type="body" sz="quarter" idx="20" hasCustomPrompt="1"/>
          </p:nvPr>
        </p:nvSpPr>
        <p:spPr>
          <a:xfrm>
            <a:off x="8846100" y="1818875"/>
            <a:ext cx="2773719" cy="300442"/>
          </a:xfrm>
        </p:spPr>
        <p:txBody>
          <a:bodyPr lIns="108000" rIns="288000" anchor="b" anchorCtr="0">
            <a:noAutofit/>
          </a:bodyPr>
          <a:lstStyle>
            <a:lvl1pPr>
              <a:defRPr sz="2000"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8" name="Text Placeholder 4">
            <a:extLst>
              <a:ext uri="{FF2B5EF4-FFF2-40B4-BE49-F238E27FC236}">
                <a16:creationId xmlns:a16="http://schemas.microsoft.com/office/drawing/2014/main" id="{0FE60C61-D20F-0DE2-38DC-62D2FAD38472}"/>
              </a:ext>
            </a:extLst>
          </p:cNvPr>
          <p:cNvSpPr>
            <a:spLocks noGrp="1"/>
          </p:cNvSpPr>
          <p:nvPr>
            <p:ph type="body" sz="quarter" idx="29"/>
          </p:nvPr>
        </p:nvSpPr>
        <p:spPr>
          <a:xfrm>
            <a:off x="606471"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59" name="Text Placeholder 4">
            <a:extLst>
              <a:ext uri="{FF2B5EF4-FFF2-40B4-BE49-F238E27FC236}">
                <a16:creationId xmlns:a16="http://schemas.microsoft.com/office/drawing/2014/main" id="{7F661011-0524-7D80-F0B1-7EB66B450ADE}"/>
              </a:ext>
            </a:extLst>
          </p:cNvPr>
          <p:cNvSpPr>
            <a:spLocks noGrp="1"/>
          </p:cNvSpPr>
          <p:nvPr>
            <p:ph type="body" sz="quarter" idx="30"/>
          </p:nvPr>
        </p:nvSpPr>
        <p:spPr>
          <a:xfrm>
            <a:off x="3361059"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0" name="Text Placeholder 4">
            <a:extLst>
              <a:ext uri="{FF2B5EF4-FFF2-40B4-BE49-F238E27FC236}">
                <a16:creationId xmlns:a16="http://schemas.microsoft.com/office/drawing/2014/main" id="{5F501377-4DE1-C96B-B5CB-4675C424B7FF}"/>
              </a:ext>
            </a:extLst>
          </p:cNvPr>
          <p:cNvSpPr>
            <a:spLocks noGrp="1"/>
          </p:cNvSpPr>
          <p:nvPr>
            <p:ph type="body" sz="quarter" idx="31"/>
          </p:nvPr>
        </p:nvSpPr>
        <p:spPr>
          <a:xfrm>
            <a:off x="6100140"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1" name="Text Placeholder 4">
            <a:extLst>
              <a:ext uri="{FF2B5EF4-FFF2-40B4-BE49-F238E27FC236}">
                <a16:creationId xmlns:a16="http://schemas.microsoft.com/office/drawing/2014/main" id="{71120A03-3A4D-1301-C17A-86C4C1605881}"/>
              </a:ext>
            </a:extLst>
          </p:cNvPr>
          <p:cNvSpPr>
            <a:spLocks noGrp="1"/>
          </p:cNvSpPr>
          <p:nvPr>
            <p:ph type="body" sz="quarter" idx="32"/>
          </p:nvPr>
        </p:nvSpPr>
        <p:spPr>
          <a:xfrm>
            <a:off x="8848429" y="2580600"/>
            <a:ext cx="2737785" cy="3288893"/>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304789721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meline/Milestones x5">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United Against Rabies Forum Meeting - 6-8 November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graphicFrame>
        <p:nvGraphicFramePr>
          <p:cNvPr id="48" name="Table 47">
            <a:extLst>
              <a:ext uri="{FF2B5EF4-FFF2-40B4-BE49-F238E27FC236}">
                <a16:creationId xmlns:a16="http://schemas.microsoft.com/office/drawing/2014/main" id="{B7F29198-E920-459C-2862-C2C7FB6FEB65}"/>
              </a:ext>
            </a:extLst>
          </p:cNvPr>
          <p:cNvGraphicFramePr>
            <a:graphicFrameLocks noGrp="1"/>
          </p:cNvGraphicFramePr>
          <p:nvPr userDrawn="1">
            <p:extLst>
              <p:ext uri="{D42A27DB-BD31-4B8C-83A1-F6EECF244321}">
                <p14:modId xmlns:p14="http://schemas.microsoft.com/office/powerpoint/2010/main" val="1495489908"/>
              </p:ext>
            </p:extLst>
          </p:nvPr>
        </p:nvGraphicFramePr>
        <p:xfrm>
          <a:off x="606585" y="2265316"/>
          <a:ext cx="11007610" cy="3618719"/>
        </p:xfrm>
        <a:graphic>
          <a:graphicData uri="http://schemas.openxmlformats.org/drawingml/2006/table">
            <a:tbl>
              <a:tblPr bandCol="1">
                <a:tableStyleId>{2D5ABB26-0587-4C30-8999-92F81FD0307C}</a:tableStyleId>
              </a:tblPr>
              <a:tblGrid>
                <a:gridCol w="2201522">
                  <a:extLst>
                    <a:ext uri="{9D8B030D-6E8A-4147-A177-3AD203B41FA5}">
                      <a16:colId xmlns:a16="http://schemas.microsoft.com/office/drawing/2014/main" val="4151945498"/>
                    </a:ext>
                  </a:extLst>
                </a:gridCol>
                <a:gridCol w="2201522">
                  <a:extLst>
                    <a:ext uri="{9D8B030D-6E8A-4147-A177-3AD203B41FA5}">
                      <a16:colId xmlns:a16="http://schemas.microsoft.com/office/drawing/2014/main" val="1382627474"/>
                    </a:ext>
                  </a:extLst>
                </a:gridCol>
                <a:gridCol w="2201522">
                  <a:extLst>
                    <a:ext uri="{9D8B030D-6E8A-4147-A177-3AD203B41FA5}">
                      <a16:colId xmlns:a16="http://schemas.microsoft.com/office/drawing/2014/main" val="2312284562"/>
                    </a:ext>
                  </a:extLst>
                </a:gridCol>
                <a:gridCol w="2201522">
                  <a:extLst>
                    <a:ext uri="{9D8B030D-6E8A-4147-A177-3AD203B41FA5}">
                      <a16:colId xmlns:a16="http://schemas.microsoft.com/office/drawing/2014/main" val="380964293"/>
                    </a:ext>
                  </a:extLst>
                </a:gridCol>
                <a:gridCol w="2201522">
                  <a:extLst>
                    <a:ext uri="{9D8B030D-6E8A-4147-A177-3AD203B41FA5}">
                      <a16:colId xmlns:a16="http://schemas.microsoft.com/office/drawing/2014/main" val="2456329606"/>
                    </a:ext>
                  </a:extLst>
                </a:gridCol>
              </a:tblGrid>
              <a:tr h="3618719">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noFill/>
                  </a:tcPr>
                </a:tc>
                <a:extLst>
                  <a:ext uri="{0D108BD9-81ED-4DB2-BD59-A6C34878D82A}">
                    <a16:rowId xmlns:a16="http://schemas.microsoft.com/office/drawing/2014/main" val="3469904028"/>
                  </a:ext>
                </a:extLst>
              </a:tr>
            </a:tbl>
          </a:graphicData>
        </a:graphic>
      </p:graphicFrame>
      <p:sp>
        <p:nvSpPr>
          <p:cNvPr id="49" name="object 14">
            <a:extLst>
              <a:ext uri="{FF2B5EF4-FFF2-40B4-BE49-F238E27FC236}">
                <a16:creationId xmlns:a16="http://schemas.microsoft.com/office/drawing/2014/main" id="{A52E1F34-96C7-3C86-48A7-FAB9C405C20B}"/>
              </a:ext>
            </a:extLst>
          </p:cNvPr>
          <p:cNvSpPr/>
          <p:nvPr userDrawn="1"/>
        </p:nvSpPr>
        <p:spPr>
          <a:xfrm>
            <a:off x="577805" y="2265316"/>
            <a:ext cx="11042014" cy="0"/>
          </a:xfrm>
          <a:custGeom>
            <a:avLst/>
            <a:gdLst/>
            <a:ahLst/>
            <a:cxnLst/>
            <a:rect l="l" t="t" r="r" b="b"/>
            <a:pathLst>
              <a:path w="18209260">
                <a:moveTo>
                  <a:pt x="0" y="0"/>
                </a:moveTo>
                <a:lnTo>
                  <a:pt x="18208869" y="0"/>
                </a:lnTo>
              </a:path>
            </a:pathLst>
          </a:custGeom>
          <a:ln w="9525">
            <a:solidFill>
              <a:schemeClr val="bg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7"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1" name="Oval 50">
            <a:extLst>
              <a:ext uri="{FF2B5EF4-FFF2-40B4-BE49-F238E27FC236}">
                <a16:creationId xmlns:a16="http://schemas.microsoft.com/office/drawing/2014/main" id="{47D58FC1-83B9-3BAD-C3EF-06E8D5DE120F}"/>
              </a:ext>
            </a:extLst>
          </p:cNvPr>
          <p:cNvSpPr>
            <a:spLocks noChangeAspect="1"/>
          </p:cNvSpPr>
          <p:nvPr userDrawn="1"/>
        </p:nvSpPr>
        <p:spPr>
          <a:xfrm>
            <a:off x="2892295"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7" y="1805995"/>
            <a:ext cx="2217229"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5" name="Text Placeholder 71">
            <a:extLst>
              <a:ext uri="{FF2B5EF4-FFF2-40B4-BE49-F238E27FC236}">
                <a16:creationId xmlns:a16="http://schemas.microsoft.com/office/drawing/2014/main" id="{799F0539-8B24-4E4B-EF4C-121B551D8BA3}"/>
              </a:ext>
            </a:extLst>
          </p:cNvPr>
          <p:cNvSpPr>
            <a:spLocks noGrp="1"/>
          </p:cNvSpPr>
          <p:nvPr>
            <p:ph type="body" sz="quarter" idx="16" hasCustomPrompt="1"/>
          </p:nvPr>
        </p:nvSpPr>
        <p:spPr>
          <a:xfrm>
            <a:off x="2789882" y="1805995"/>
            <a:ext cx="2200300"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8" name="Text Placeholder 4">
            <a:extLst>
              <a:ext uri="{FF2B5EF4-FFF2-40B4-BE49-F238E27FC236}">
                <a16:creationId xmlns:a16="http://schemas.microsoft.com/office/drawing/2014/main" id="{0FE60C61-D20F-0DE2-38DC-62D2FAD38472}"/>
              </a:ext>
            </a:extLst>
          </p:cNvPr>
          <p:cNvSpPr>
            <a:spLocks noGrp="1"/>
          </p:cNvSpPr>
          <p:nvPr>
            <p:ph type="body" sz="quarter" idx="29"/>
          </p:nvPr>
        </p:nvSpPr>
        <p:spPr>
          <a:xfrm>
            <a:off x="606471" y="2567720"/>
            <a:ext cx="2193481"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59" name="Text Placeholder 4">
            <a:extLst>
              <a:ext uri="{FF2B5EF4-FFF2-40B4-BE49-F238E27FC236}">
                <a16:creationId xmlns:a16="http://schemas.microsoft.com/office/drawing/2014/main" id="{7F661011-0524-7D80-F0B1-7EB66B450ADE}"/>
              </a:ext>
            </a:extLst>
          </p:cNvPr>
          <p:cNvSpPr>
            <a:spLocks noGrp="1"/>
          </p:cNvSpPr>
          <p:nvPr>
            <p:ph type="body" sz="quarter" idx="30"/>
          </p:nvPr>
        </p:nvSpPr>
        <p:spPr>
          <a:xfrm>
            <a:off x="2806338" y="2567720"/>
            <a:ext cx="2193482"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3" name="Oval 22">
            <a:extLst>
              <a:ext uri="{FF2B5EF4-FFF2-40B4-BE49-F238E27FC236}">
                <a16:creationId xmlns:a16="http://schemas.microsoft.com/office/drawing/2014/main" id="{52428D8F-1413-2F6F-66F0-EA64E72C6F19}"/>
              </a:ext>
            </a:extLst>
          </p:cNvPr>
          <p:cNvSpPr>
            <a:spLocks noChangeAspect="1"/>
          </p:cNvSpPr>
          <p:nvPr userDrawn="1"/>
        </p:nvSpPr>
        <p:spPr>
          <a:xfrm>
            <a:off x="5108619"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24" name="Text Placeholder 71">
            <a:extLst>
              <a:ext uri="{FF2B5EF4-FFF2-40B4-BE49-F238E27FC236}">
                <a16:creationId xmlns:a16="http://schemas.microsoft.com/office/drawing/2014/main" id="{ED2B6425-619B-AFAF-1CF5-12D51DA09538}"/>
              </a:ext>
            </a:extLst>
          </p:cNvPr>
          <p:cNvSpPr>
            <a:spLocks noGrp="1"/>
          </p:cNvSpPr>
          <p:nvPr>
            <p:ph type="body" sz="quarter" idx="33" hasCustomPrompt="1"/>
          </p:nvPr>
        </p:nvSpPr>
        <p:spPr>
          <a:xfrm>
            <a:off x="5006206" y="1805995"/>
            <a:ext cx="2200300"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25" name="Text Placeholder 4">
            <a:extLst>
              <a:ext uri="{FF2B5EF4-FFF2-40B4-BE49-F238E27FC236}">
                <a16:creationId xmlns:a16="http://schemas.microsoft.com/office/drawing/2014/main" id="{42048595-A0EA-7BB4-A2D8-622DB0779CAC}"/>
              </a:ext>
            </a:extLst>
          </p:cNvPr>
          <p:cNvSpPr>
            <a:spLocks noGrp="1"/>
          </p:cNvSpPr>
          <p:nvPr>
            <p:ph type="body" sz="quarter" idx="34"/>
          </p:nvPr>
        </p:nvSpPr>
        <p:spPr>
          <a:xfrm>
            <a:off x="5022662" y="2567720"/>
            <a:ext cx="2193482"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6" name="Oval 25">
            <a:extLst>
              <a:ext uri="{FF2B5EF4-FFF2-40B4-BE49-F238E27FC236}">
                <a16:creationId xmlns:a16="http://schemas.microsoft.com/office/drawing/2014/main" id="{E31A4FAF-CCB7-1F56-BEE2-622CF1A54FAB}"/>
              </a:ext>
            </a:extLst>
          </p:cNvPr>
          <p:cNvSpPr>
            <a:spLocks noChangeAspect="1"/>
          </p:cNvSpPr>
          <p:nvPr userDrawn="1"/>
        </p:nvSpPr>
        <p:spPr>
          <a:xfrm>
            <a:off x="7304231"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27" name="Text Placeholder 71">
            <a:extLst>
              <a:ext uri="{FF2B5EF4-FFF2-40B4-BE49-F238E27FC236}">
                <a16:creationId xmlns:a16="http://schemas.microsoft.com/office/drawing/2014/main" id="{AD33553F-FF2E-A084-58B1-CABD32043C6D}"/>
              </a:ext>
            </a:extLst>
          </p:cNvPr>
          <p:cNvSpPr>
            <a:spLocks noGrp="1"/>
          </p:cNvSpPr>
          <p:nvPr>
            <p:ph type="body" sz="quarter" idx="35" hasCustomPrompt="1"/>
          </p:nvPr>
        </p:nvSpPr>
        <p:spPr>
          <a:xfrm>
            <a:off x="7201818" y="1805995"/>
            <a:ext cx="2200300"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28" name="Text Placeholder 4">
            <a:extLst>
              <a:ext uri="{FF2B5EF4-FFF2-40B4-BE49-F238E27FC236}">
                <a16:creationId xmlns:a16="http://schemas.microsoft.com/office/drawing/2014/main" id="{E55650A2-C067-405B-1B74-AC970B406C55}"/>
              </a:ext>
            </a:extLst>
          </p:cNvPr>
          <p:cNvSpPr>
            <a:spLocks noGrp="1"/>
          </p:cNvSpPr>
          <p:nvPr>
            <p:ph type="body" sz="quarter" idx="36"/>
          </p:nvPr>
        </p:nvSpPr>
        <p:spPr>
          <a:xfrm>
            <a:off x="7218274" y="2567720"/>
            <a:ext cx="2193482"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29" name="Oval 28">
            <a:extLst>
              <a:ext uri="{FF2B5EF4-FFF2-40B4-BE49-F238E27FC236}">
                <a16:creationId xmlns:a16="http://schemas.microsoft.com/office/drawing/2014/main" id="{965D2802-7493-9694-05E4-80CC2EF9B231}"/>
              </a:ext>
            </a:extLst>
          </p:cNvPr>
          <p:cNvSpPr>
            <a:spLocks noChangeAspect="1"/>
          </p:cNvSpPr>
          <p:nvPr userDrawn="1"/>
        </p:nvSpPr>
        <p:spPr>
          <a:xfrm>
            <a:off x="9512554"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30" name="Text Placeholder 71">
            <a:extLst>
              <a:ext uri="{FF2B5EF4-FFF2-40B4-BE49-F238E27FC236}">
                <a16:creationId xmlns:a16="http://schemas.microsoft.com/office/drawing/2014/main" id="{71110D7A-CD1D-2C97-57A0-9A17C8D3134A}"/>
              </a:ext>
            </a:extLst>
          </p:cNvPr>
          <p:cNvSpPr>
            <a:spLocks noGrp="1"/>
          </p:cNvSpPr>
          <p:nvPr>
            <p:ph type="body" sz="quarter" idx="37" hasCustomPrompt="1"/>
          </p:nvPr>
        </p:nvSpPr>
        <p:spPr>
          <a:xfrm>
            <a:off x="9410141" y="1805995"/>
            <a:ext cx="2200300" cy="300442"/>
          </a:xfrm>
        </p:spPr>
        <p:txBody>
          <a:bodyPr lIns="108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31" name="Text Placeholder 4">
            <a:extLst>
              <a:ext uri="{FF2B5EF4-FFF2-40B4-BE49-F238E27FC236}">
                <a16:creationId xmlns:a16="http://schemas.microsoft.com/office/drawing/2014/main" id="{4E1F3181-D3F3-3AA6-E3A7-A60D86BCE4F3}"/>
              </a:ext>
            </a:extLst>
          </p:cNvPr>
          <p:cNvSpPr>
            <a:spLocks noGrp="1"/>
          </p:cNvSpPr>
          <p:nvPr>
            <p:ph type="body" sz="quarter" idx="38"/>
          </p:nvPr>
        </p:nvSpPr>
        <p:spPr>
          <a:xfrm>
            <a:off x="9426597" y="2567720"/>
            <a:ext cx="2193482" cy="3288887"/>
          </a:xfrm>
        </p:spPr>
        <p:txBody>
          <a:bodyPr lIns="180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358618337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meline/Milestones x6">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United Against Rabies Forum Meeting - 6-8 November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graphicFrame>
        <p:nvGraphicFramePr>
          <p:cNvPr id="48" name="Table 47">
            <a:extLst>
              <a:ext uri="{FF2B5EF4-FFF2-40B4-BE49-F238E27FC236}">
                <a16:creationId xmlns:a16="http://schemas.microsoft.com/office/drawing/2014/main" id="{B7F29198-E920-459C-2862-C2C7FB6FEB65}"/>
              </a:ext>
            </a:extLst>
          </p:cNvPr>
          <p:cNvGraphicFramePr>
            <a:graphicFrameLocks noGrp="1"/>
          </p:cNvGraphicFramePr>
          <p:nvPr userDrawn="1">
            <p:extLst>
              <p:ext uri="{D42A27DB-BD31-4B8C-83A1-F6EECF244321}">
                <p14:modId xmlns:p14="http://schemas.microsoft.com/office/powerpoint/2010/main" val="3220648469"/>
              </p:ext>
            </p:extLst>
          </p:nvPr>
        </p:nvGraphicFramePr>
        <p:xfrm>
          <a:off x="577178" y="2265316"/>
          <a:ext cx="11007612" cy="3618719"/>
        </p:xfrm>
        <a:graphic>
          <a:graphicData uri="http://schemas.openxmlformats.org/drawingml/2006/table">
            <a:tbl>
              <a:tblPr bandCol="1">
                <a:tableStyleId>{2D5ABB26-0587-4C30-8999-92F81FD0307C}</a:tableStyleId>
              </a:tblPr>
              <a:tblGrid>
                <a:gridCol w="1834602">
                  <a:extLst>
                    <a:ext uri="{9D8B030D-6E8A-4147-A177-3AD203B41FA5}">
                      <a16:colId xmlns:a16="http://schemas.microsoft.com/office/drawing/2014/main" val="4151945498"/>
                    </a:ext>
                  </a:extLst>
                </a:gridCol>
                <a:gridCol w="1834602">
                  <a:extLst>
                    <a:ext uri="{9D8B030D-6E8A-4147-A177-3AD203B41FA5}">
                      <a16:colId xmlns:a16="http://schemas.microsoft.com/office/drawing/2014/main" val="1382627474"/>
                    </a:ext>
                  </a:extLst>
                </a:gridCol>
                <a:gridCol w="1834602">
                  <a:extLst>
                    <a:ext uri="{9D8B030D-6E8A-4147-A177-3AD203B41FA5}">
                      <a16:colId xmlns:a16="http://schemas.microsoft.com/office/drawing/2014/main" val="2312284562"/>
                    </a:ext>
                  </a:extLst>
                </a:gridCol>
                <a:gridCol w="1834602">
                  <a:extLst>
                    <a:ext uri="{9D8B030D-6E8A-4147-A177-3AD203B41FA5}">
                      <a16:colId xmlns:a16="http://schemas.microsoft.com/office/drawing/2014/main" val="380964293"/>
                    </a:ext>
                  </a:extLst>
                </a:gridCol>
                <a:gridCol w="1834602">
                  <a:extLst>
                    <a:ext uri="{9D8B030D-6E8A-4147-A177-3AD203B41FA5}">
                      <a16:colId xmlns:a16="http://schemas.microsoft.com/office/drawing/2014/main" val="2456329606"/>
                    </a:ext>
                  </a:extLst>
                </a:gridCol>
                <a:gridCol w="1834602">
                  <a:extLst>
                    <a:ext uri="{9D8B030D-6E8A-4147-A177-3AD203B41FA5}">
                      <a16:colId xmlns:a16="http://schemas.microsoft.com/office/drawing/2014/main" val="2168740535"/>
                    </a:ext>
                  </a:extLst>
                </a:gridCol>
              </a:tblGrid>
              <a:tr h="3618719">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solidFill>
                      <a:schemeClr val="bg1">
                        <a:lumMod val="95000"/>
                      </a:schemeClr>
                    </a:solidFill>
                  </a:tcPr>
                </a:tc>
                <a:extLst>
                  <a:ext uri="{0D108BD9-81ED-4DB2-BD59-A6C34878D82A}">
                    <a16:rowId xmlns:a16="http://schemas.microsoft.com/office/drawing/2014/main" val="3469904028"/>
                  </a:ext>
                </a:extLst>
              </a:tr>
            </a:tbl>
          </a:graphicData>
        </a:graphic>
      </p:graphicFrame>
      <p:sp>
        <p:nvSpPr>
          <p:cNvPr id="49" name="object 14">
            <a:extLst>
              <a:ext uri="{FF2B5EF4-FFF2-40B4-BE49-F238E27FC236}">
                <a16:creationId xmlns:a16="http://schemas.microsoft.com/office/drawing/2014/main" id="{A52E1F34-96C7-3C86-48A7-FAB9C405C20B}"/>
              </a:ext>
            </a:extLst>
          </p:cNvPr>
          <p:cNvSpPr/>
          <p:nvPr userDrawn="1"/>
        </p:nvSpPr>
        <p:spPr>
          <a:xfrm>
            <a:off x="577805" y="2265315"/>
            <a:ext cx="11006985" cy="45719"/>
          </a:xfrm>
          <a:custGeom>
            <a:avLst/>
            <a:gdLst/>
            <a:ahLst/>
            <a:cxnLst/>
            <a:rect l="l" t="t" r="r" b="b"/>
            <a:pathLst>
              <a:path w="18209260">
                <a:moveTo>
                  <a:pt x="0" y="0"/>
                </a:moveTo>
                <a:lnTo>
                  <a:pt x="18208869" y="0"/>
                </a:lnTo>
              </a:path>
            </a:pathLst>
          </a:custGeom>
          <a:ln w="9525">
            <a:solidFill>
              <a:schemeClr val="bg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7"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7"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58" name="Text Placeholder 4">
            <a:extLst>
              <a:ext uri="{FF2B5EF4-FFF2-40B4-BE49-F238E27FC236}">
                <a16:creationId xmlns:a16="http://schemas.microsoft.com/office/drawing/2014/main" id="{0FE60C61-D20F-0DE2-38DC-62D2FAD38472}"/>
              </a:ext>
            </a:extLst>
          </p:cNvPr>
          <p:cNvSpPr>
            <a:spLocks noGrp="1"/>
          </p:cNvSpPr>
          <p:nvPr>
            <p:ph type="body" sz="quarter" idx="29"/>
          </p:nvPr>
        </p:nvSpPr>
        <p:spPr>
          <a:xfrm>
            <a:off x="577178"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2" name="Oval 61">
            <a:extLst>
              <a:ext uri="{FF2B5EF4-FFF2-40B4-BE49-F238E27FC236}">
                <a16:creationId xmlns:a16="http://schemas.microsoft.com/office/drawing/2014/main" id="{178D6D93-FD32-F6AE-2A57-61C348C02B3E}"/>
              </a:ext>
            </a:extLst>
          </p:cNvPr>
          <p:cNvSpPr>
            <a:spLocks noChangeAspect="1"/>
          </p:cNvSpPr>
          <p:nvPr userDrawn="1"/>
        </p:nvSpPr>
        <p:spPr>
          <a:xfrm>
            <a:off x="2515019"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63" name="Text Placeholder 71">
            <a:extLst>
              <a:ext uri="{FF2B5EF4-FFF2-40B4-BE49-F238E27FC236}">
                <a16:creationId xmlns:a16="http://schemas.microsoft.com/office/drawing/2014/main" id="{21AE5853-8A99-8A93-1D01-2F7FCE23E3DD}"/>
              </a:ext>
            </a:extLst>
          </p:cNvPr>
          <p:cNvSpPr>
            <a:spLocks noGrp="1"/>
          </p:cNvSpPr>
          <p:nvPr>
            <p:ph type="body" sz="quarter" idx="30" hasCustomPrompt="1"/>
          </p:nvPr>
        </p:nvSpPr>
        <p:spPr>
          <a:xfrm>
            <a:off x="2411179"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64" name="Text Placeholder 4">
            <a:extLst>
              <a:ext uri="{FF2B5EF4-FFF2-40B4-BE49-F238E27FC236}">
                <a16:creationId xmlns:a16="http://schemas.microsoft.com/office/drawing/2014/main" id="{1AA430BA-739B-1F40-97FF-53B14467EF88}"/>
              </a:ext>
            </a:extLst>
          </p:cNvPr>
          <p:cNvSpPr>
            <a:spLocks noGrp="1"/>
          </p:cNvSpPr>
          <p:nvPr>
            <p:ph type="body" sz="quarter" idx="31"/>
          </p:nvPr>
        </p:nvSpPr>
        <p:spPr>
          <a:xfrm>
            <a:off x="2411180"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5" name="Oval 64">
            <a:extLst>
              <a:ext uri="{FF2B5EF4-FFF2-40B4-BE49-F238E27FC236}">
                <a16:creationId xmlns:a16="http://schemas.microsoft.com/office/drawing/2014/main" id="{DC0E5BE5-8378-48E2-C8D1-F22E49536780}"/>
              </a:ext>
            </a:extLst>
          </p:cNvPr>
          <p:cNvSpPr>
            <a:spLocks noChangeAspect="1"/>
          </p:cNvSpPr>
          <p:nvPr userDrawn="1"/>
        </p:nvSpPr>
        <p:spPr>
          <a:xfrm>
            <a:off x="4364033"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66" name="Text Placeholder 71">
            <a:extLst>
              <a:ext uri="{FF2B5EF4-FFF2-40B4-BE49-F238E27FC236}">
                <a16:creationId xmlns:a16="http://schemas.microsoft.com/office/drawing/2014/main" id="{DDCEF4C9-0B45-4A5E-2D03-31D3672575C4}"/>
              </a:ext>
            </a:extLst>
          </p:cNvPr>
          <p:cNvSpPr>
            <a:spLocks noGrp="1"/>
          </p:cNvSpPr>
          <p:nvPr>
            <p:ph type="body" sz="quarter" idx="32" hasCustomPrompt="1"/>
          </p:nvPr>
        </p:nvSpPr>
        <p:spPr>
          <a:xfrm>
            <a:off x="4260193"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67" name="Text Placeholder 4">
            <a:extLst>
              <a:ext uri="{FF2B5EF4-FFF2-40B4-BE49-F238E27FC236}">
                <a16:creationId xmlns:a16="http://schemas.microsoft.com/office/drawing/2014/main" id="{B994265A-DDDF-4B03-8D82-FB42EFBCBCE6}"/>
              </a:ext>
            </a:extLst>
          </p:cNvPr>
          <p:cNvSpPr>
            <a:spLocks noGrp="1"/>
          </p:cNvSpPr>
          <p:nvPr>
            <p:ph type="body" sz="quarter" idx="33"/>
          </p:nvPr>
        </p:nvSpPr>
        <p:spPr>
          <a:xfrm>
            <a:off x="4260194"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68" name="Oval 67">
            <a:extLst>
              <a:ext uri="{FF2B5EF4-FFF2-40B4-BE49-F238E27FC236}">
                <a16:creationId xmlns:a16="http://schemas.microsoft.com/office/drawing/2014/main" id="{0F31CF81-312F-837D-5714-92C7014354C5}"/>
              </a:ext>
            </a:extLst>
          </p:cNvPr>
          <p:cNvSpPr>
            <a:spLocks noChangeAspect="1"/>
          </p:cNvSpPr>
          <p:nvPr userDrawn="1"/>
        </p:nvSpPr>
        <p:spPr>
          <a:xfrm>
            <a:off x="6199839"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69" name="Text Placeholder 71">
            <a:extLst>
              <a:ext uri="{FF2B5EF4-FFF2-40B4-BE49-F238E27FC236}">
                <a16:creationId xmlns:a16="http://schemas.microsoft.com/office/drawing/2014/main" id="{62AEAA69-3020-A0FF-5608-7AFD7A5D2986}"/>
              </a:ext>
            </a:extLst>
          </p:cNvPr>
          <p:cNvSpPr>
            <a:spLocks noGrp="1"/>
          </p:cNvSpPr>
          <p:nvPr>
            <p:ph type="body" sz="quarter" idx="34" hasCustomPrompt="1"/>
          </p:nvPr>
        </p:nvSpPr>
        <p:spPr>
          <a:xfrm>
            <a:off x="6095999"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70" name="Text Placeholder 4">
            <a:extLst>
              <a:ext uri="{FF2B5EF4-FFF2-40B4-BE49-F238E27FC236}">
                <a16:creationId xmlns:a16="http://schemas.microsoft.com/office/drawing/2014/main" id="{79626162-0EE9-3BA8-0CDF-67028FE32F18}"/>
              </a:ext>
            </a:extLst>
          </p:cNvPr>
          <p:cNvSpPr>
            <a:spLocks noGrp="1"/>
          </p:cNvSpPr>
          <p:nvPr>
            <p:ph type="body" sz="quarter" idx="35"/>
          </p:nvPr>
        </p:nvSpPr>
        <p:spPr>
          <a:xfrm>
            <a:off x="6096000"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71" name="Oval 70">
            <a:extLst>
              <a:ext uri="{FF2B5EF4-FFF2-40B4-BE49-F238E27FC236}">
                <a16:creationId xmlns:a16="http://schemas.microsoft.com/office/drawing/2014/main" id="{D4AB8F32-B492-2CD9-826C-E5C5378592C9}"/>
              </a:ext>
            </a:extLst>
          </p:cNvPr>
          <p:cNvSpPr>
            <a:spLocks noChangeAspect="1"/>
          </p:cNvSpPr>
          <p:nvPr userDrawn="1"/>
        </p:nvSpPr>
        <p:spPr>
          <a:xfrm>
            <a:off x="8035644"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72" name="Text Placeholder 71">
            <a:extLst>
              <a:ext uri="{FF2B5EF4-FFF2-40B4-BE49-F238E27FC236}">
                <a16:creationId xmlns:a16="http://schemas.microsoft.com/office/drawing/2014/main" id="{3F1D7A91-7111-6E5C-279C-1B1D96950821}"/>
              </a:ext>
            </a:extLst>
          </p:cNvPr>
          <p:cNvSpPr>
            <a:spLocks noGrp="1"/>
          </p:cNvSpPr>
          <p:nvPr>
            <p:ph type="body" sz="quarter" idx="36" hasCustomPrompt="1"/>
          </p:nvPr>
        </p:nvSpPr>
        <p:spPr>
          <a:xfrm>
            <a:off x="7931804"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73" name="Text Placeholder 4">
            <a:extLst>
              <a:ext uri="{FF2B5EF4-FFF2-40B4-BE49-F238E27FC236}">
                <a16:creationId xmlns:a16="http://schemas.microsoft.com/office/drawing/2014/main" id="{0E2562B9-545B-AF00-D9F9-44E167A11B93}"/>
              </a:ext>
            </a:extLst>
          </p:cNvPr>
          <p:cNvSpPr>
            <a:spLocks noGrp="1"/>
          </p:cNvSpPr>
          <p:nvPr>
            <p:ph type="body" sz="quarter" idx="37"/>
          </p:nvPr>
        </p:nvSpPr>
        <p:spPr>
          <a:xfrm>
            <a:off x="7931805"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74" name="Oval 73">
            <a:extLst>
              <a:ext uri="{FF2B5EF4-FFF2-40B4-BE49-F238E27FC236}">
                <a16:creationId xmlns:a16="http://schemas.microsoft.com/office/drawing/2014/main" id="{A45C6367-A74F-1C2C-672E-F2E6078D3C68}"/>
              </a:ext>
            </a:extLst>
          </p:cNvPr>
          <p:cNvSpPr>
            <a:spLocks noChangeAspect="1"/>
          </p:cNvSpPr>
          <p:nvPr userDrawn="1"/>
        </p:nvSpPr>
        <p:spPr>
          <a:xfrm>
            <a:off x="9847196" y="2208265"/>
            <a:ext cx="109151" cy="109137"/>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75" name="Text Placeholder 71">
            <a:extLst>
              <a:ext uri="{FF2B5EF4-FFF2-40B4-BE49-F238E27FC236}">
                <a16:creationId xmlns:a16="http://schemas.microsoft.com/office/drawing/2014/main" id="{5865903F-F98B-94C0-7563-3A297E41DA2E}"/>
              </a:ext>
            </a:extLst>
          </p:cNvPr>
          <p:cNvSpPr>
            <a:spLocks noGrp="1"/>
          </p:cNvSpPr>
          <p:nvPr>
            <p:ph type="body" sz="quarter" idx="38" hasCustomPrompt="1"/>
          </p:nvPr>
        </p:nvSpPr>
        <p:spPr>
          <a:xfrm>
            <a:off x="9743356" y="1805995"/>
            <a:ext cx="1807577" cy="300442"/>
          </a:xfrm>
        </p:spPr>
        <p:txBody>
          <a:bodyPr lIns="72000" rIns="288000" anchor="b" anchorCtr="0"/>
          <a:lstStyle>
            <a:lvl1pPr>
              <a:defRPr sz="1698" b="1" i="0">
                <a:solidFill>
                  <a:schemeClr val="bg2"/>
                </a:solidFill>
                <a:latin typeface="Arial" panose="020B0604020202020204" pitchFamily="34" charset="0"/>
                <a:cs typeface="Arial" panose="020B0604020202020204" pitchFamily="34" charset="0"/>
              </a:defRPr>
            </a:lvl1pPr>
          </a:lstStyle>
          <a:p>
            <a:pPr lvl="0"/>
            <a:r>
              <a:rPr lang="en-GB"/>
              <a:t>Year</a:t>
            </a:r>
          </a:p>
        </p:txBody>
      </p:sp>
      <p:sp>
        <p:nvSpPr>
          <p:cNvPr id="76" name="Text Placeholder 4">
            <a:extLst>
              <a:ext uri="{FF2B5EF4-FFF2-40B4-BE49-F238E27FC236}">
                <a16:creationId xmlns:a16="http://schemas.microsoft.com/office/drawing/2014/main" id="{CAB912CE-814A-19EE-2402-D55C72FA588E}"/>
              </a:ext>
            </a:extLst>
          </p:cNvPr>
          <p:cNvSpPr>
            <a:spLocks noGrp="1"/>
          </p:cNvSpPr>
          <p:nvPr>
            <p:ph type="body" sz="quarter" idx="39"/>
          </p:nvPr>
        </p:nvSpPr>
        <p:spPr>
          <a:xfrm>
            <a:off x="9743357" y="2567720"/>
            <a:ext cx="1789310" cy="3288887"/>
          </a:xfrm>
        </p:spPr>
        <p:txBody>
          <a:bodyPr lIns="108000" rIns="216000">
            <a:normAutofit/>
          </a:bodyPr>
          <a:lstStyle>
            <a:lvl1pPr>
              <a:defRPr sz="1200">
                <a:solidFill>
                  <a:schemeClr val="tx2">
                    <a:lumMod val="50000"/>
                  </a:schemeClr>
                </a:solidFill>
                <a:latin typeface="Arial" panose="020B0604020202020204" pitchFamily="34" charset="0"/>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325673459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Annual Timeline">
    <p:spTree>
      <p:nvGrpSpPr>
        <p:cNvPr id="1" name=""/>
        <p:cNvGrpSpPr/>
        <p:nvPr/>
      </p:nvGrpSpPr>
      <p:grpSpPr>
        <a:xfrm>
          <a:off x="0" y="0"/>
          <a:ext cx="0" cy="0"/>
          <a:chOff x="0" y="0"/>
          <a:chExt cx="0" cy="0"/>
        </a:xfrm>
      </p:grpSpPr>
      <p:graphicFrame>
        <p:nvGraphicFramePr>
          <p:cNvPr id="30" name="Table 29">
            <a:extLst>
              <a:ext uri="{FF2B5EF4-FFF2-40B4-BE49-F238E27FC236}">
                <a16:creationId xmlns:a16="http://schemas.microsoft.com/office/drawing/2014/main" id="{803BAA2C-9254-B18D-A058-251E52C66E89}"/>
              </a:ext>
            </a:extLst>
          </p:cNvPr>
          <p:cNvGraphicFramePr>
            <a:graphicFrameLocks noGrp="1"/>
          </p:cNvGraphicFramePr>
          <p:nvPr userDrawn="1">
            <p:extLst>
              <p:ext uri="{D42A27DB-BD31-4B8C-83A1-F6EECF244321}">
                <p14:modId xmlns:p14="http://schemas.microsoft.com/office/powerpoint/2010/main" val="4106880639"/>
              </p:ext>
            </p:extLst>
          </p:nvPr>
        </p:nvGraphicFramePr>
        <p:xfrm>
          <a:off x="606585" y="2278196"/>
          <a:ext cx="11007612" cy="3618726"/>
        </p:xfrm>
        <a:graphic>
          <a:graphicData uri="http://schemas.openxmlformats.org/drawingml/2006/table">
            <a:tbl>
              <a:tblPr bandCol="1">
                <a:tableStyleId>{2D5ABB26-0587-4C30-8999-92F81FD0307C}</a:tableStyleId>
              </a:tblPr>
              <a:tblGrid>
                <a:gridCol w="917301">
                  <a:extLst>
                    <a:ext uri="{9D8B030D-6E8A-4147-A177-3AD203B41FA5}">
                      <a16:colId xmlns:a16="http://schemas.microsoft.com/office/drawing/2014/main" val="4151945498"/>
                    </a:ext>
                  </a:extLst>
                </a:gridCol>
                <a:gridCol w="917301">
                  <a:extLst>
                    <a:ext uri="{9D8B030D-6E8A-4147-A177-3AD203B41FA5}">
                      <a16:colId xmlns:a16="http://schemas.microsoft.com/office/drawing/2014/main" val="1382627474"/>
                    </a:ext>
                  </a:extLst>
                </a:gridCol>
                <a:gridCol w="917301">
                  <a:extLst>
                    <a:ext uri="{9D8B030D-6E8A-4147-A177-3AD203B41FA5}">
                      <a16:colId xmlns:a16="http://schemas.microsoft.com/office/drawing/2014/main" val="2312284562"/>
                    </a:ext>
                  </a:extLst>
                </a:gridCol>
                <a:gridCol w="917301">
                  <a:extLst>
                    <a:ext uri="{9D8B030D-6E8A-4147-A177-3AD203B41FA5}">
                      <a16:colId xmlns:a16="http://schemas.microsoft.com/office/drawing/2014/main" val="380964293"/>
                    </a:ext>
                  </a:extLst>
                </a:gridCol>
                <a:gridCol w="917301">
                  <a:extLst>
                    <a:ext uri="{9D8B030D-6E8A-4147-A177-3AD203B41FA5}">
                      <a16:colId xmlns:a16="http://schemas.microsoft.com/office/drawing/2014/main" val="2227914870"/>
                    </a:ext>
                  </a:extLst>
                </a:gridCol>
                <a:gridCol w="917301">
                  <a:extLst>
                    <a:ext uri="{9D8B030D-6E8A-4147-A177-3AD203B41FA5}">
                      <a16:colId xmlns:a16="http://schemas.microsoft.com/office/drawing/2014/main" val="2386396939"/>
                    </a:ext>
                  </a:extLst>
                </a:gridCol>
                <a:gridCol w="917301">
                  <a:extLst>
                    <a:ext uri="{9D8B030D-6E8A-4147-A177-3AD203B41FA5}">
                      <a16:colId xmlns:a16="http://schemas.microsoft.com/office/drawing/2014/main" val="1442862435"/>
                    </a:ext>
                  </a:extLst>
                </a:gridCol>
                <a:gridCol w="917301">
                  <a:extLst>
                    <a:ext uri="{9D8B030D-6E8A-4147-A177-3AD203B41FA5}">
                      <a16:colId xmlns:a16="http://schemas.microsoft.com/office/drawing/2014/main" val="2496167856"/>
                    </a:ext>
                  </a:extLst>
                </a:gridCol>
                <a:gridCol w="917301">
                  <a:extLst>
                    <a:ext uri="{9D8B030D-6E8A-4147-A177-3AD203B41FA5}">
                      <a16:colId xmlns:a16="http://schemas.microsoft.com/office/drawing/2014/main" val="936398145"/>
                    </a:ext>
                  </a:extLst>
                </a:gridCol>
                <a:gridCol w="917301">
                  <a:extLst>
                    <a:ext uri="{9D8B030D-6E8A-4147-A177-3AD203B41FA5}">
                      <a16:colId xmlns:a16="http://schemas.microsoft.com/office/drawing/2014/main" val="3251811526"/>
                    </a:ext>
                  </a:extLst>
                </a:gridCol>
                <a:gridCol w="917301">
                  <a:extLst>
                    <a:ext uri="{9D8B030D-6E8A-4147-A177-3AD203B41FA5}">
                      <a16:colId xmlns:a16="http://schemas.microsoft.com/office/drawing/2014/main" val="2298212362"/>
                    </a:ext>
                  </a:extLst>
                </a:gridCol>
                <a:gridCol w="917301">
                  <a:extLst>
                    <a:ext uri="{9D8B030D-6E8A-4147-A177-3AD203B41FA5}">
                      <a16:colId xmlns:a16="http://schemas.microsoft.com/office/drawing/2014/main" val="1474312375"/>
                    </a:ext>
                  </a:extLst>
                </a:gridCol>
              </a:tblGrid>
              <a:tr h="3618726">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lnR w="6350" cap="flat" cmpd="sng" algn="ctr">
                      <a:solidFill>
                        <a:schemeClr val="bg1">
                          <a:lumMod val="85000"/>
                        </a:schemeClr>
                      </a:solidFill>
                      <a:prstDash val="solid"/>
                      <a:round/>
                      <a:headEnd type="none" w="med" len="med"/>
                      <a:tailEnd type="none" w="med" len="med"/>
                    </a:lnR>
                    <a:noFill/>
                  </a:tcPr>
                </a:tc>
                <a:tc>
                  <a:txBody>
                    <a:bodyPr/>
                    <a:lstStyle/>
                    <a:p>
                      <a:pPr marL="0" algn="l" defTabSz="914400" rtl="0" eaLnBrk="1" latinLnBrk="0" hangingPunct="1">
                        <a:lnSpc>
                          <a:spcPct val="120000"/>
                        </a:lnSpc>
                        <a:spcAft>
                          <a:spcPts val="2400"/>
                        </a:spcAft>
                      </a:pPr>
                      <a:endParaRPr lang="en-US" sz="1000" kern="1200">
                        <a:solidFill>
                          <a:schemeClr val="tx1"/>
                        </a:solidFill>
                        <a:latin typeface="+mn-lt"/>
                        <a:ea typeface="+mn-ea"/>
                        <a:cs typeface="+mn-cs"/>
                      </a:endParaRPr>
                    </a:p>
                  </a:txBody>
                  <a:tcPr marL="174642" marR="174642" marT="218274" marB="174619">
                    <a:lnL w="6350" cap="flat" cmpd="sng" algn="ctr">
                      <a:solidFill>
                        <a:schemeClr val="bg1">
                          <a:lumMod val="85000"/>
                        </a:schemeClr>
                      </a:solidFill>
                      <a:prstDash val="solid"/>
                      <a:round/>
                      <a:headEnd type="none" w="med" len="med"/>
                      <a:tailEnd type="none" w="med" len="med"/>
                    </a:lnL>
                    <a:noFill/>
                  </a:tcPr>
                </a:tc>
                <a:extLst>
                  <a:ext uri="{0D108BD9-81ED-4DB2-BD59-A6C34878D82A}">
                    <a16:rowId xmlns:a16="http://schemas.microsoft.com/office/drawing/2014/main" val="3469904028"/>
                  </a:ext>
                </a:extLst>
              </a:tr>
            </a:tbl>
          </a:graphicData>
        </a:graphic>
      </p:graphicFrame>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United Against Rabies Forum Meeting - 6-8 November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2" name="Text Placeholder 6">
            <a:extLst>
              <a:ext uri="{FF2B5EF4-FFF2-40B4-BE49-F238E27FC236}">
                <a16:creationId xmlns:a16="http://schemas.microsoft.com/office/drawing/2014/main" id="{057C032F-3530-74E5-5E33-EF5F1D6976F7}"/>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49" name="object 14">
            <a:extLst>
              <a:ext uri="{FF2B5EF4-FFF2-40B4-BE49-F238E27FC236}">
                <a16:creationId xmlns:a16="http://schemas.microsoft.com/office/drawing/2014/main" id="{A52E1F34-96C7-3C86-48A7-FAB9C405C20B}"/>
              </a:ext>
            </a:extLst>
          </p:cNvPr>
          <p:cNvSpPr/>
          <p:nvPr userDrawn="1"/>
        </p:nvSpPr>
        <p:spPr>
          <a:xfrm>
            <a:off x="577805" y="2278195"/>
            <a:ext cx="11036388" cy="45719"/>
          </a:xfrm>
          <a:custGeom>
            <a:avLst/>
            <a:gdLst/>
            <a:ahLst/>
            <a:cxnLst/>
            <a:rect l="l" t="t" r="r" b="b"/>
            <a:pathLst>
              <a:path w="18209260">
                <a:moveTo>
                  <a:pt x="0" y="0"/>
                </a:moveTo>
                <a:lnTo>
                  <a:pt x="18208869" y="0"/>
                </a:lnTo>
              </a:path>
            </a:pathLst>
          </a:custGeom>
          <a:ln w="9525">
            <a:solidFill>
              <a:schemeClr val="tx2"/>
            </a:solidFill>
          </a:ln>
        </p:spPr>
        <p:txBody>
          <a:bodyPr wrap="square" lIns="0" tIns="0" rIns="0" bIns="0" rtlCol="0"/>
          <a:lstStyle/>
          <a:p>
            <a:endParaRPr sz="661">
              <a:latin typeface="Arial" panose="020B0604020202020204" pitchFamily="34" charset="0"/>
              <a:cs typeface="Arial" panose="020B0604020202020204" pitchFamily="34" charset="0"/>
            </a:endParaRPr>
          </a:p>
        </p:txBody>
      </p:sp>
      <p:sp>
        <p:nvSpPr>
          <p:cNvPr id="50" name="Oval 49">
            <a:extLst>
              <a:ext uri="{FF2B5EF4-FFF2-40B4-BE49-F238E27FC236}">
                <a16:creationId xmlns:a16="http://schemas.microsoft.com/office/drawing/2014/main" id="{372DC89E-D242-DAA1-0108-585F64C330D1}"/>
              </a:ext>
            </a:extLst>
          </p:cNvPr>
          <p:cNvSpPr>
            <a:spLocks noChangeAspect="1"/>
          </p:cNvSpPr>
          <p:nvPr userDrawn="1"/>
        </p:nvSpPr>
        <p:spPr>
          <a:xfrm>
            <a:off x="681017"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1" name="Oval 50">
            <a:extLst>
              <a:ext uri="{FF2B5EF4-FFF2-40B4-BE49-F238E27FC236}">
                <a16:creationId xmlns:a16="http://schemas.microsoft.com/office/drawing/2014/main" id="{47D58FC1-83B9-3BAD-C3EF-06E8D5DE120F}"/>
              </a:ext>
            </a:extLst>
          </p:cNvPr>
          <p:cNvSpPr>
            <a:spLocks noChangeAspect="1"/>
          </p:cNvSpPr>
          <p:nvPr userDrawn="1"/>
        </p:nvSpPr>
        <p:spPr>
          <a:xfrm>
            <a:off x="3460438"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2" name="Oval 51">
            <a:extLst>
              <a:ext uri="{FF2B5EF4-FFF2-40B4-BE49-F238E27FC236}">
                <a16:creationId xmlns:a16="http://schemas.microsoft.com/office/drawing/2014/main" id="{9D582DFC-3D0D-D5F8-AA6B-5676C8C4B3BF}"/>
              </a:ext>
            </a:extLst>
          </p:cNvPr>
          <p:cNvSpPr>
            <a:spLocks noChangeAspect="1"/>
          </p:cNvSpPr>
          <p:nvPr userDrawn="1"/>
        </p:nvSpPr>
        <p:spPr>
          <a:xfrm>
            <a:off x="6227970"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3" name="Oval 52">
            <a:extLst>
              <a:ext uri="{FF2B5EF4-FFF2-40B4-BE49-F238E27FC236}">
                <a16:creationId xmlns:a16="http://schemas.microsoft.com/office/drawing/2014/main" id="{DF486150-9219-560A-8B4F-FB551F786E68}"/>
              </a:ext>
            </a:extLst>
          </p:cNvPr>
          <p:cNvSpPr>
            <a:spLocks noChangeAspect="1"/>
          </p:cNvSpPr>
          <p:nvPr userDrawn="1"/>
        </p:nvSpPr>
        <p:spPr>
          <a:xfrm>
            <a:off x="8985924" y="2221145"/>
            <a:ext cx="109151" cy="109137"/>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61">
              <a:latin typeface="Arial" panose="020B0604020202020204" pitchFamily="34" charset="0"/>
              <a:cs typeface="Arial" panose="020B0604020202020204" pitchFamily="34" charset="0"/>
            </a:endParaRPr>
          </a:p>
        </p:txBody>
      </p:sp>
      <p:sp>
        <p:nvSpPr>
          <p:cNvPr id="54" name="Text Placeholder 71">
            <a:extLst>
              <a:ext uri="{FF2B5EF4-FFF2-40B4-BE49-F238E27FC236}">
                <a16:creationId xmlns:a16="http://schemas.microsoft.com/office/drawing/2014/main" id="{3D1F2F57-2A88-FA57-51B5-9FCB557F9FA1}"/>
              </a:ext>
            </a:extLst>
          </p:cNvPr>
          <p:cNvSpPr>
            <a:spLocks noGrp="1"/>
          </p:cNvSpPr>
          <p:nvPr>
            <p:ph type="body" sz="quarter" idx="15" hasCustomPrompt="1"/>
          </p:nvPr>
        </p:nvSpPr>
        <p:spPr>
          <a:xfrm>
            <a:off x="577177" y="1818875"/>
            <a:ext cx="2767426" cy="300442"/>
          </a:xfrm>
        </p:spPr>
        <p:txBody>
          <a:bodyPr lIns="108000" rIns="288000" anchor="b" anchorCtr="0">
            <a:noAutofit/>
          </a:bodyPr>
          <a:lstStyle>
            <a:lvl1pPr>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55" name="Text Placeholder 71">
            <a:extLst>
              <a:ext uri="{FF2B5EF4-FFF2-40B4-BE49-F238E27FC236}">
                <a16:creationId xmlns:a16="http://schemas.microsoft.com/office/drawing/2014/main" id="{799F0539-8B24-4E4B-EF4C-121B551D8BA3}"/>
              </a:ext>
            </a:extLst>
          </p:cNvPr>
          <p:cNvSpPr>
            <a:spLocks noGrp="1"/>
          </p:cNvSpPr>
          <p:nvPr>
            <p:ph type="body" sz="quarter" idx="16" hasCustomPrompt="1"/>
          </p:nvPr>
        </p:nvSpPr>
        <p:spPr>
          <a:xfrm>
            <a:off x="3344603" y="1818875"/>
            <a:ext cx="2746295" cy="300442"/>
          </a:xfrm>
        </p:spPr>
        <p:txBody>
          <a:bodyPr lIns="108000" rIns="288000" anchor="b" anchorCtr="0">
            <a:noAutofit/>
          </a:bodyPr>
          <a:lstStyle>
            <a:lvl1pPr marL="0" marR="0" indent="0" algn="l" defTabSz="914400" rtl="0" eaLnBrk="1" fontAlgn="auto" latinLnBrk="0" hangingPunct="1">
              <a:lnSpc>
                <a:spcPct val="110000"/>
              </a:lnSpc>
              <a:spcBef>
                <a:spcPts val="0"/>
              </a:spcBef>
              <a:spcAft>
                <a:spcPts val="1200"/>
              </a:spcAft>
              <a:buClrTx/>
              <a:buSzTx/>
              <a:buFont typeface="Arial" panose="020B0604020202020204" pitchFamily="34" charset="0"/>
              <a:buNone/>
              <a:tabLst/>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56" name="Text Placeholder 71">
            <a:extLst>
              <a:ext uri="{FF2B5EF4-FFF2-40B4-BE49-F238E27FC236}">
                <a16:creationId xmlns:a16="http://schemas.microsoft.com/office/drawing/2014/main" id="{9DFB2CE5-A177-E72D-3CD4-2646E4DCE502}"/>
              </a:ext>
            </a:extLst>
          </p:cNvPr>
          <p:cNvSpPr>
            <a:spLocks noGrp="1"/>
          </p:cNvSpPr>
          <p:nvPr>
            <p:ph type="body" sz="quarter" idx="18" hasCustomPrompt="1"/>
          </p:nvPr>
        </p:nvSpPr>
        <p:spPr>
          <a:xfrm>
            <a:off x="6100141" y="1818875"/>
            <a:ext cx="2745959" cy="300442"/>
          </a:xfrm>
        </p:spPr>
        <p:txBody>
          <a:bodyPr lIns="108000" rIns="288000" anchor="b" anchorCtr="0">
            <a:noAutofit/>
          </a:bodyPr>
          <a:lstStyle>
            <a:lvl1pPr>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57" name="Text Placeholder 71">
            <a:extLst>
              <a:ext uri="{FF2B5EF4-FFF2-40B4-BE49-F238E27FC236}">
                <a16:creationId xmlns:a16="http://schemas.microsoft.com/office/drawing/2014/main" id="{7A262EC1-F639-E81C-3343-3DA348DA9266}"/>
              </a:ext>
            </a:extLst>
          </p:cNvPr>
          <p:cNvSpPr>
            <a:spLocks noGrp="1"/>
          </p:cNvSpPr>
          <p:nvPr>
            <p:ph type="body" sz="quarter" idx="20" hasCustomPrompt="1"/>
          </p:nvPr>
        </p:nvSpPr>
        <p:spPr>
          <a:xfrm>
            <a:off x="8846100" y="1818875"/>
            <a:ext cx="2773719" cy="300442"/>
          </a:xfrm>
        </p:spPr>
        <p:txBody>
          <a:bodyPr lIns="108000" rIns="288000" anchor="b" anchorCtr="0">
            <a:noAutofit/>
          </a:bodyPr>
          <a:lstStyle>
            <a:lvl1pPr>
              <a:defRPr sz="1800" b="1" i="0">
                <a:solidFill>
                  <a:schemeClr val="tx2"/>
                </a:solidFill>
                <a:latin typeface="Arial" panose="020B0604020202020204" pitchFamily="34" charset="0"/>
                <a:cs typeface="Arial" panose="020B0604020202020204" pitchFamily="34" charset="0"/>
              </a:defRPr>
            </a:lvl1pPr>
          </a:lstStyle>
          <a:p>
            <a:pPr lvl="0"/>
            <a:r>
              <a:rPr lang="en-GB"/>
              <a:t>Month – Month</a:t>
            </a:r>
          </a:p>
        </p:txBody>
      </p:sp>
      <p:sp>
        <p:nvSpPr>
          <p:cNvPr id="23" name="Text Placeholder 2">
            <a:extLst>
              <a:ext uri="{FF2B5EF4-FFF2-40B4-BE49-F238E27FC236}">
                <a16:creationId xmlns:a16="http://schemas.microsoft.com/office/drawing/2014/main" id="{3031F97C-D610-4D45-F78B-D175D9A0E755}"/>
              </a:ext>
            </a:extLst>
          </p:cNvPr>
          <p:cNvSpPr>
            <a:spLocks noGrp="1"/>
          </p:cNvSpPr>
          <p:nvPr>
            <p:ph type="body" sz="quarter" idx="47"/>
          </p:nvPr>
        </p:nvSpPr>
        <p:spPr>
          <a:xfrm>
            <a:off x="3485839" y="2583275"/>
            <a:ext cx="8012329" cy="380567"/>
          </a:xfrm>
          <a:prstGeom prst="roundRect">
            <a:avLst>
              <a:gd name="adj" fmla="val 50000"/>
            </a:avLst>
          </a:prstGeom>
          <a:solidFill>
            <a:srgbClr val="E6E6E6"/>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tx2">
                    <a:lumMod val="50000"/>
                  </a:schemeClr>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4" name="Text Placeholder 2">
            <a:extLst>
              <a:ext uri="{FF2B5EF4-FFF2-40B4-BE49-F238E27FC236}">
                <a16:creationId xmlns:a16="http://schemas.microsoft.com/office/drawing/2014/main" id="{1FF72A2C-EC93-1960-E000-9D1BE3C473D1}"/>
              </a:ext>
            </a:extLst>
          </p:cNvPr>
          <p:cNvSpPr>
            <a:spLocks noGrp="1"/>
          </p:cNvSpPr>
          <p:nvPr>
            <p:ph type="body" sz="quarter" idx="48"/>
          </p:nvPr>
        </p:nvSpPr>
        <p:spPr>
          <a:xfrm>
            <a:off x="718374" y="2588233"/>
            <a:ext cx="2451893" cy="380567"/>
          </a:xfrm>
          <a:prstGeom prst="roundRect">
            <a:avLst>
              <a:gd name="adj" fmla="val 50000"/>
            </a:avLst>
          </a:prstGeom>
          <a:solidFill>
            <a:schemeClr val="bg2"/>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5" name="Text Placeholder 2">
            <a:extLst>
              <a:ext uri="{FF2B5EF4-FFF2-40B4-BE49-F238E27FC236}">
                <a16:creationId xmlns:a16="http://schemas.microsoft.com/office/drawing/2014/main" id="{7B3311CB-DC37-BF2B-8E33-872990686A6F}"/>
              </a:ext>
            </a:extLst>
          </p:cNvPr>
          <p:cNvSpPr>
            <a:spLocks noGrp="1"/>
          </p:cNvSpPr>
          <p:nvPr>
            <p:ph type="body" sz="quarter" idx="49"/>
          </p:nvPr>
        </p:nvSpPr>
        <p:spPr>
          <a:xfrm>
            <a:off x="9020770" y="3112528"/>
            <a:ext cx="2477398" cy="380567"/>
          </a:xfrm>
          <a:prstGeom prst="roundRect">
            <a:avLst>
              <a:gd name="adj" fmla="val 50000"/>
            </a:avLst>
          </a:prstGeom>
          <a:solidFill>
            <a:schemeClr val="bg2"/>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6" name="Text Placeholder 2">
            <a:extLst>
              <a:ext uri="{FF2B5EF4-FFF2-40B4-BE49-F238E27FC236}">
                <a16:creationId xmlns:a16="http://schemas.microsoft.com/office/drawing/2014/main" id="{4C6A5BFA-3D10-182C-1A20-2F9F25DA5EC7}"/>
              </a:ext>
            </a:extLst>
          </p:cNvPr>
          <p:cNvSpPr>
            <a:spLocks noGrp="1"/>
          </p:cNvSpPr>
          <p:nvPr>
            <p:ph type="body" sz="quarter" idx="50"/>
          </p:nvPr>
        </p:nvSpPr>
        <p:spPr>
          <a:xfrm>
            <a:off x="718374" y="3112528"/>
            <a:ext cx="8012329" cy="380567"/>
          </a:xfrm>
          <a:prstGeom prst="roundRect">
            <a:avLst>
              <a:gd name="adj" fmla="val 50000"/>
            </a:avLst>
          </a:prstGeom>
          <a:solidFill>
            <a:srgbClr val="E6E6E6"/>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tx2">
                    <a:lumMod val="50000"/>
                  </a:schemeClr>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7" name="Text Placeholder 2">
            <a:extLst>
              <a:ext uri="{FF2B5EF4-FFF2-40B4-BE49-F238E27FC236}">
                <a16:creationId xmlns:a16="http://schemas.microsoft.com/office/drawing/2014/main" id="{63D306BC-6AA0-5B15-EAD0-1C4B6C007AE2}"/>
              </a:ext>
            </a:extLst>
          </p:cNvPr>
          <p:cNvSpPr>
            <a:spLocks noGrp="1"/>
          </p:cNvSpPr>
          <p:nvPr>
            <p:ph type="body" sz="quarter" idx="52"/>
          </p:nvPr>
        </p:nvSpPr>
        <p:spPr>
          <a:xfrm>
            <a:off x="718374" y="3636823"/>
            <a:ext cx="10779794" cy="380567"/>
          </a:xfrm>
          <a:prstGeom prst="roundRect">
            <a:avLst>
              <a:gd name="adj" fmla="val 50000"/>
            </a:avLst>
          </a:prstGeom>
          <a:solidFill>
            <a:schemeClr val="tx2"/>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8" name="Text Placeholder 2">
            <a:extLst>
              <a:ext uri="{FF2B5EF4-FFF2-40B4-BE49-F238E27FC236}">
                <a16:creationId xmlns:a16="http://schemas.microsoft.com/office/drawing/2014/main" id="{2F279148-11D1-D193-7504-E15A8DBBB7ED}"/>
              </a:ext>
            </a:extLst>
          </p:cNvPr>
          <p:cNvSpPr>
            <a:spLocks noGrp="1"/>
          </p:cNvSpPr>
          <p:nvPr>
            <p:ph type="body" sz="quarter" idx="54"/>
          </p:nvPr>
        </p:nvSpPr>
        <p:spPr>
          <a:xfrm>
            <a:off x="1947773" y="4161117"/>
            <a:ext cx="9537643" cy="380567"/>
          </a:xfrm>
          <a:prstGeom prst="roundRect">
            <a:avLst>
              <a:gd name="adj" fmla="val 50000"/>
            </a:avLst>
          </a:prstGeom>
          <a:solidFill>
            <a:srgbClr val="E6E6E6"/>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tx2">
                    <a:lumMod val="50000"/>
                  </a:schemeClr>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
        <p:nvSpPr>
          <p:cNvPr id="29" name="Text Placeholder 2">
            <a:extLst>
              <a:ext uri="{FF2B5EF4-FFF2-40B4-BE49-F238E27FC236}">
                <a16:creationId xmlns:a16="http://schemas.microsoft.com/office/drawing/2014/main" id="{B7F7FC01-6091-5D90-D333-FA5671F43B8E}"/>
              </a:ext>
            </a:extLst>
          </p:cNvPr>
          <p:cNvSpPr>
            <a:spLocks noGrp="1"/>
          </p:cNvSpPr>
          <p:nvPr>
            <p:ph type="body" sz="quarter" idx="56"/>
          </p:nvPr>
        </p:nvSpPr>
        <p:spPr>
          <a:xfrm>
            <a:off x="7492654" y="4685411"/>
            <a:ext cx="3986410" cy="380567"/>
          </a:xfrm>
          <a:prstGeom prst="roundRect">
            <a:avLst>
              <a:gd name="adj" fmla="val 50000"/>
            </a:avLst>
          </a:prstGeom>
          <a:solidFill>
            <a:schemeClr val="accent5"/>
          </a:solidFill>
        </p:spPr>
        <p:txBody>
          <a:bodyPr vert="horz" wrap="square" lIns="180000" tIns="54000" rIns="180000" bIns="54000" rtlCol="0" anchor="ctr" anchorCtr="0">
            <a:spAutoFit/>
          </a:bodyPr>
          <a:lstStyle>
            <a:lvl1pPr>
              <a:lnSpc>
                <a:spcPct val="100000"/>
              </a:lnSpc>
              <a:spcAft>
                <a:spcPts val="600"/>
              </a:spcAft>
              <a:defRPr lang="en-US" sz="1050" b="1" i="0" dirty="0" smtClean="0">
                <a:solidFill>
                  <a:schemeClr val="bg1"/>
                </a:solidFill>
                <a:latin typeface="Arial" panose="020B0604020202020204" pitchFamily="34" charset="0"/>
                <a:cs typeface="Arial" panose="020B0604020202020204" pitchFamily="34" charset="0"/>
              </a:defRPr>
            </a:lvl1pPr>
            <a:lvl2pPr>
              <a:defRPr lang="en-US" sz="485" dirty="0" smtClean="0">
                <a:solidFill>
                  <a:schemeClr val="bg1"/>
                </a:solidFill>
              </a:defRPr>
            </a:lvl2pPr>
            <a:lvl3pPr>
              <a:defRPr lang="en-US" dirty="0" smtClean="0">
                <a:solidFill>
                  <a:schemeClr val="bg1"/>
                </a:solidFill>
              </a:defRPr>
            </a:lvl3pPr>
            <a:lvl4pPr>
              <a:defRPr lang="en-US" dirty="0" smtClean="0">
                <a:solidFill>
                  <a:schemeClr val="bg1"/>
                </a:solidFill>
              </a:defRPr>
            </a:lvl4pPr>
            <a:lvl5pPr>
              <a:defRPr lang="en-GB" dirty="0">
                <a:solidFill>
                  <a:schemeClr val="bg1"/>
                </a:solidFill>
              </a:defRPr>
            </a:lvl5pPr>
          </a:lstStyle>
          <a:p>
            <a:pPr marR="0" lvl="0" fontAlgn="auto">
              <a:spcAft>
                <a:spcPts val="1455"/>
              </a:spcAft>
              <a:buClrTx/>
              <a:tabLst/>
            </a:pPr>
            <a:r>
              <a:rPr lang="en-US"/>
              <a:t>Click to edit Master text styles</a:t>
            </a:r>
          </a:p>
        </p:txBody>
      </p:sp>
    </p:spTree>
    <p:extLst>
      <p:ext uri="{BB962C8B-B14F-4D97-AF65-F5344CB8AC3E}">
        <p14:creationId xmlns:p14="http://schemas.microsoft.com/office/powerpoint/2010/main" val="188946272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United Against Rabies Forum Meeting - 6-8 November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5" name="Text Placeholder 8">
            <a:extLst>
              <a:ext uri="{FF2B5EF4-FFF2-40B4-BE49-F238E27FC236}">
                <a16:creationId xmlns:a16="http://schemas.microsoft.com/office/drawing/2014/main" id="{645879FE-583A-DE44-88BA-EB276A69E0F6}"/>
              </a:ext>
            </a:extLst>
          </p:cNvPr>
          <p:cNvSpPr>
            <a:spLocks noGrp="1"/>
          </p:cNvSpPr>
          <p:nvPr>
            <p:ph type="body" idx="13"/>
          </p:nvPr>
        </p:nvSpPr>
        <p:spPr>
          <a:xfrm>
            <a:off x="531133" y="1304925"/>
            <a:ext cx="11144930" cy="592778"/>
          </a:xfrm>
        </p:spPr>
        <p:txBody>
          <a:bodyPr numCol="1" spcCol="180000">
            <a:normAutofit/>
          </a:bodyPr>
          <a:lstStyle>
            <a:lvl1pPr marL="0" indent="0">
              <a:buClr>
                <a:schemeClr val="bg2"/>
              </a:buClr>
              <a:buFont typeface="Arial" panose="020B0604020202020204" pitchFamily="34" charset="0"/>
              <a:buNone/>
              <a:defRPr sz="1600">
                <a:solidFill>
                  <a:schemeClr val="tx2">
                    <a:lumMod val="50000"/>
                  </a:schemeClr>
                </a:solidFill>
              </a:defRPr>
            </a:lvl1pPr>
          </a:lstStyle>
          <a:p>
            <a:pPr lvl="0"/>
            <a:r>
              <a:rPr lang="en-GB"/>
              <a:t>Click to edit Master text styles</a:t>
            </a:r>
          </a:p>
        </p:txBody>
      </p:sp>
      <p:sp>
        <p:nvSpPr>
          <p:cNvPr id="5" name="Table Placeholder 4">
            <a:extLst>
              <a:ext uri="{FF2B5EF4-FFF2-40B4-BE49-F238E27FC236}">
                <a16:creationId xmlns:a16="http://schemas.microsoft.com/office/drawing/2014/main" id="{229D7B8B-35CA-A145-A474-98CA941C8914}"/>
              </a:ext>
            </a:extLst>
          </p:cNvPr>
          <p:cNvSpPr>
            <a:spLocks noGrp="1"/>
          </p:cNvSpPr>
          <p:nvPr>
            <p:ph type="tbl" sz="quarter" idx="14"/>
          </p:nvPr>
        </p:nvSpPr>
        <p:spPr>
          <a:xfrm>
            <a:off x="515938" y="2081213"/>
            <a:ext cx="11153775" cy="3832225"/>
          </a:xfrm>
        </p:spPr>
        <p:txBody>
          <a:bodyPr anchor="ctr">
            <a:normAutofit/>
          </a:bodyPr>
          <a:lstStyle>
            <a:lvl1pPr algn="ctr">
              <a:defRPr sz="1600">
                <a:solidFill>
                  <a:schemeClr val="bg1">
                    <a:lumMod val="50000"/>
                  </a:schemeClr>
                </a:solidFill>
              </a:defRPr>
            </a:lvl1pPr>
          </a:lstStyle>
          <a:p>
            <a:r>
              <a:rPr lang="en-GB"/>
              <a:t>Click icon to add table</a:t>
            </a:r>
          </a:p>
        </p:txBody>
      </p:sp>
    </p:spTree>
    <p:extLst>
      <p:ext uri="{BB962C8B-B14F-4D97-AF65-F5344CB8AC3E}">
        <p14:creationId xmlns:p14="http://schemas.microsoft.com/office/powerpoint/2010/main" val="117306948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text, object">
    <p:spTree>
      <p:nvGrpSpPr>
        <p:cNvPr id="1" name=""/>
        <p:cNvGrpSpPr/>
        <p:nvPr/>
      </p:nvGrpSpPr>
      <p:grpSpPr>
        <a:xfrm>
          <a:off x="0" y="0"/>
          <a:ext cx="0" cy="0"/>
          <a:chOff x="0" y="0"/>
          <a:chExt cx="0" cy="0"/>
        </a:xfrm>
      </p:grpSpPr>
      <p:sp>
        <p:nvSpPr>
          <p:cNvPr id="13" name="Rectángulo 9"/>
          <p:cNvSpPr/>
          <p:nvPr userDrawn="1"/>
        </p:nvSpPr>
        <p:spPr>
          <a:xfrm>
            <a:off x="0" y="0"/>
            <a:ext cx="12187995" cy="108000"/>
          </a:xfrm>
          <a:prstGeom prst="rect">
            <a:avLst/>
          </a:prstGeom>
          <a:gradFill rotWithShape="1">
            <a:gsLst>
              <a:gs pos="0">
                <a:srgbClr val="A50021"/>
              </a:gs>
              <a:gs pos="100000">
                <a:srgbClr val="636463"/>
              </a:gs>
            </a:gsLst>
            <a:lin ang="16200000" scaled="0"/>
          </a:gradFill>
          <a:ln w="952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srgbClr val="F3EBDD"/>
              </a:solidFill>
              <a:effectLst/>
              <a:uLnTx/>
              <a:uFillTx/>
              <a:latin typeface="Arial"/>
              <a:ea typeface="+mn-ea"/>
              <a:cs typeface="+mn-cs"/>
            </a:endParaRPr>
          </a:p>
        </p:txBody>
      </p:sp>
      <p:sp>
        <p:nvSpPr>
          <p:cNvPr id="6" name="Rectangle 2"/>
          <p:cNvSpPr>
            <a:spLocks noGrp="1" noChangeArrowheads="1"/>
          </p:cNvSpPr>
          <p:nvPr>
            <p:ph type="title" hasCustomPrompt="1"/>
          </p:nvPr>
        </p:nvSpPr>
        <p:spPr bwMode="auto">
          <a:xfrm>
            <a:off x="609600" y="274638"/>
            <a:ext cx="10972800" cy="90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defRPr>
                <a:solidFill>
                  <a:srgbClr val="A50021"/>
                </a:solidFill>
              </a:defRPr>
            </a:lvl1pPr>
          </a:lstStyle>
          <a:p>
            <a:pPr lvl="0"/>
            <a:r>
              <a:rPr lang="fr-FR"/>
              <a:t>Cliquez pour modifier le style du titre</a:t>
            </a:r>
            <a:br>
              <a:rPr lang="fr-FR"/>
            </a:br>
            <a:endParaRPr lang="fr-FR"/>
          </a:p>
        </p:txBody>
      </p:sp>
      <p:sp>
        <p:nvSpPr>
          <p:cNvPr id="8" name="Espace réservé du texte 2"/>
          <p:cNvSpPr>
            <a:spLocks noGrp="1"/>
          </p:cNvSpPr>
          <p:nvPr>
            <p:ph type="body" sz="half" idx="1"/>
          </p:nvPr>
        </p:nvSpPr>
        <p:spPr>
          <a:xfrm>
            <a:off x="609600" y="1614505"/>
            <a:ext cx="5384800" cy="4536504"/>
          </a:xfrm>
        </p:spPr>
        <p:txBody>
          <a:bodyPr/>
          <a:lstStyle>
            <a:lvl1pPr marL="342900" indent="-342900">
              <a:buClr>
                <a:srgbClr val="A50021"/>
              </a:buClr>
              <a:buFont typeface="Wingdings" pitchFamily="2" charset="2"/>
              <a:buChar char="§"/>
              <a:defRPr sz="3000">
                <a:latin typeface="Arial" pitchFamily="34" charset="0"/>
                <a:cs typeface="Arial" pitchFamily="34" charset="0"/>
              </a:defRPr>
            </a:lvl1pPr>
            <a:lvl2pPr marL="742950" indent="-285750">
              <a:buSzPct val="100000"/>
              <a:buFont typeface="Arial" pitchFamily="34" charset="0"/>
              <a:buChar char="•"/>
              <a:defRPr>
                <a:latin typeface="Arial" pitchFamily="34" charset="0"/>
                <a:cs typeface="Arial" pitchFamily="34" charset="0"/>
              </a:defRPr>
            </a:lvl2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9" name="Espace réservé du contenu 3"/>
          <p:cNvSpPr>
            <a:spLocks noGrp="1"/>
          </p:cNvSpPr>
          <p:nvPr>
            <p:ph sz="half" idx="2"/>
          </p:nvPr>
        </p:nvSpPr>
        <p:spPr>
          <a:xfrm>
            <a:off x="6197600" y="1614505"/>
            <a:ext cx="5384800" cy="4536504"/>
          </a:xfrm>
        </p:spPr>
        <p:txBody>
          <a:bodyPr/>
          <a:lstStyle>
            <a:lvl1pPr marL="0" indent="0">
              <a:buClr>
                <a:srgbClr val="A50021"/>
              </a:buClr>
              <a:buFont typeface="Wingdings" pitchFamily="2" charset="2"/>
              <a:buNone/>
              <a:defRPr sz="3000">
                <a:latin typeface="Arial" pitchFamily="34" charset="0"/>
                <a:cs typeface="Arial" pitchFamily="34" charset="0"/>
              </a:defRPr>
            </a:lvl1pPr>
            <a:lvl2pPr marL="742950" indent="-285750">
              <a:buSzPct val="100000"/>
              <a:buFont typeface="Arial" pitchFamily="34" charset="0"/>
              <a:buChar char="•"/>
              <a:defRPr>
                <a:latin typeface="Arial" pitchFamily="34" charset="0"/>
                <a:cs typeface="Arial" pitchFamily="34" charset="0"/>
              </a:defRPr>
            </a:lvl2pPr>
          </a:lstStyle>
          <a:p>
            <a:pPr lvl="0"/>
            <a:endParaRPr lang="fr-FR"/>
          </a:p>
        </p:txBody>
      </p:sp>
    </p:spTree>
    <p:extLst>
      <p:ext uri="{BB962C8B-B14F-4D97-AF65-F5344CB8AC3E}">
        <p14:creationId xmlns:p14="http://schemas.microsoft.com/office/powerpoint/2010/main" val="142591297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Graph">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lvl1pPr>
              <a:defRPr>
                <a:solidFill>
                  <a:schemeClr val="tx2"/>
                </a:solidFill>
              </a:defRPr>
            </a:lvl1p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United Against Rabies Forum Meeting - 6-8 November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6" name="Chart Placeholder 5">
            <a:extLst>
              <a:ext uri="{FF2B5EF4-FFF2-40B4-BE49-F238E27FC236}">
                <a16:creationId xmlns:a16="http://schemas.microsoft.com/office/drawing/2014/main" id="{D54A1155-34EB-A04A-AA96-8DCEA2A0B8AF}"/>
              </a:ext>
            </a:extLst>
          </p:cNvPr>
          <p:cNvSpPr>
            <a:spLocks noGrp="1"/>
          </p:cNvSpPr>
          <p:nvPr>
            <p:ph type="chart" sz="quarter" idx="13" hasCustomPrompt="1"/>
          </p:nvPr>
        </p:nvSpPr>
        <p:spPr>
          <a:xfrm>
            <a:off x="515938" y="1304925"/>
            <a:ext cx="11160125" cy="4608513"/>
          </a:xfrm>
        </p:spPr>
        <p:txBody>
          <a:bodyPr anchor="ctr">
            <a:normAutofit/>
          </a:bodyPr>
          <a:lstStyle>
            <a:lvl1pPr algn="ctr">
              <a:defRPr sz="1600">
                <a:solidFill>
                  <a:schemeClr val="bg1">
                    <a:lumMod val="50000"/>
                  </a:schemeClr>
                </a:solidFill>
              </a:defRPr>
            </a:lvl1pPr>
          </a:lstStyle>
          <a:p>
            <a:r>
              <a:rPr lang="en-GB"/>
              <a:t>Click icon to add graph</a:t>
            </a:r>
          </a:p>
        </p:txBody>
      </p:sp>
    </p:spTree>
    <p:extLst>
      <p:ext uri="{BB962C8B-B14F-4D97-AF65-F5344CB8AC3E}">
        <p14:creationId xmlns:p14="http://schemas.microsoft.com/office/powerpoint/2010/main" val="66786731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Graph + Intro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lvl1pPr>
              <a:defRPr>
                <a:solidFill>
                  <a:schemeClr val="tx2"/>
                </a:solidFill>
              </a:defRPr>
            </a:lvl1p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United Against Rabies Forum Meeting - 6-8 November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6" name="Chart Placeholder 5">
            <a:extLst>
              <a:ext uri="{FF2B5EF4-FFF2-40B4-BE49-F238E27FC236}">
                <a16:creationId xmlns:a16="http://schemas.microsoft.com/office/drawing/2014/main" id="{D54A1155-34EB-A04A-AA96-8DCEA2A0B8AF}"/>
              </a:ext>
            </a:extLst>
          </p:cNvPr>
          <p:cNvSpPr>
            <a:spLocks noGrp="1"/>
          </p:cNvSpPr>
          <p:nvPr>
            <p:ph type="chart" sz="quarter" idx="13" hasCustomPrompt="1"/>
          </p:nvPr>
        </p:nvSpPr>
        <p:spPr>
          <a:xfrm>
            <a:off x="515938" y="2186941"/>
            <a:ext cx="11160125" cy="3726497"/>
          </a:xfrm>
        </p:spPr>
        <p:txBody>
          <a:bodyPr anchor="ctr">
            <a:normAutofit/>
          </a:bodyPr>
          <a:lstStyle>
            <a:lvl1pPr algn="ctr">
              <a:defRPr sz="1600">
                <a:solidFill>
                  <a:schemeClr val="bg1">
                    <a:lumMod val="50000"/>
                  </a:schemeClr>
                </a:solidFill>
              </a:defRPr>
            </a:lvl1pPr>
          </a:lstStyle>
          <a:p>
            <a:r>
              <a:rPr lang="en-GB"/>
              <a:t>Click icon to add graph</a:t>
            </a:r>
          </a:p>
        </p:txBody>
      </p:sp>
      <p:sp>
        <p:nvSpPr>
          <p:cNvPr id="9" name="Text Placeholder 8">
            <a:extLst>
              <a:ext uri="{FF2B5EF4-FFF2-40B4-BE49-F238E27FC236}">
                <a16:creationId xmlns:a16="http://schemas.microsoft.com/office/drawing/2014/main" id="{70B67ED7-707C-628A-DD8C-8D05275A882F}"/>
              </a:ext>
            </a:extLst>
          </p:cNvPr>
          <p:cNvSpPr>
            <a:spLocks noGrp="1"/>
          </p:cNvSpPr>
          <p:nvPr>
            <p:ph type="body" idx="14"/>
          </p:nvPr>
        </p:nvSpPr>
        <p:spPr>
          <a:xfrm>
            <a:off x="531133" y="1304924"/>
            <a:ext cx="11144930" cy="760095"/>
          </a:xfrm>
        </p:spPr>
        <p:txBody>
          <a:bodyPr numCol="1" spcCol="180000">
            <a:normAutofit/>
          </a:bodyPr>
          <a:lstStyle>
            <a:lvl1pPr marL="0" indent="0">
              <a:buClr>
                <a:schemeClr val="bg2"/>
              </a:buClr>
              <a:buFont typeface="Arial" panose="020B0604020202020204" pitchFamily="34" charset="0"/>
              <a:buNone/>
              <a:defRPr sz="1600">
                <a:solidFill>
                  <a:schemeClr val="tx2">
                    <a:lumMod val="50000"/>
                  </a:schemeClr>
                </a:solidFill>
              </a:defRPr>
            </a:lvl1pPr>
          </a:lstStyle>
          <a:p>
            <a:pPr lvl="0"/>
            <a:r>
              <a:rPr lang="en-GB"/>
              <a:t>Click to edit Master text styles</a:t>
            </a:r>
          </a:p>
        </p:txBody>
      </p:sp>
    </p:spTree>
    <p:extLst>
      <p:ext uri="{BB962C8B-B14F-4D97-AF65-F5344CB8AC3E}">
        <p14:creationId xmlns:p14="http://schemas.microsoft.com/office/powerpoint/2010/main" val="274595753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xt + Graph">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4608511"/>
          </a:xfrm>
        </p:spPr>
        <p:txBody>
          <a:bodyPr numCol="1" spcCol="180000"/>
          <a:lstStyle>
            <a:lvl1pPr marL="0" indent="0">
              <a:buClr>
                <a:schemeClr val="bg2"/>
              </a:buClr>
              <a:buFont typeface="Arial" panose="020B0604020202020204" pitchFamily="34" charset="0"/>
              <a:buNone/>
              <a:defRPr/>
            </a:lvl1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United Against Rabies Forum Meeting - 6-8 November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 name="Chart Placeholder 2">
            <a:extLst>
              <a:ext uri="{FF2B5EF4-FFF2-40B4-BE49-F238E27FC236}">
                <a16:creationId xmlns:a16="http://schemas.microsoft.com/office/drawing/2014/main" id="{5F41B758-C970-D84A-B3ED-8A3CB892A835}"/>
              </a:ext>
            </a:extLst>
          </p:cNvPr>
          <p:cNvSpPr>
            <a:spLocks noGrp="1"/>
          </p:cNvSpPr>
          <p:nvPr>
            <p:ph type="chart" sz="quarter" idx="14" hasCustomPrompt="1"/>
          </p:nvPr>
        </p:nvSpPr>
        <p:spPr>
          <a:xfrm>
            <a:off x="6762750" y="366371"/>
            <a:ext cx="4913313" cy="5547067"/>
          </a:xfrm>
        </p:spPr>
        <p:txBody>
          <a:bodyPr anchor="ctr">
            <a:normAutofit/>
          </a:bodyPr>
          <a:lstStyle>
            <a:lvl1pPr algn="ctr">
              <a:defRPr sz="1600">
                <a:solidFill>
                  <a:schemeClr val="bg1">
                    <a:lumMod val="50000"/>
                  </a:schemeClr>
                </a:solidFill>
              </a:defRPr>
            </a:lvl1pPr>
          </a:lstStyle>
          <a:p>
            <a:r>
              <a:rPr lang="en-GB"/>
              <a:t>Click icon to add graph</a:t>
            </a:r>
          </a:p>
        </p:txBody>
      </p:sp>
    </p:spTree>
    <p:extLst>
      <p:ext uri="{BB962C8B-B14F-4D97-AF65-F5344CB8AC3E}">
        <p14:creationId xmlns:p14="http://schemas.microsoft.com/office/powerpoint/2010/main" val="241762887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ext + Graph + Key Sta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5574281" cy="592778"/>
          </a:xfrm>
          <a:prstGeom prst="rect">
            <a:avLst/>
          </a:prstGeom>
        </p:spPr>
        <p:txBody>
          <a:bodyPr vert="horz" lIns="0" tIns="0" rIns="0" bIns="0" rtlCol="0" anchor="t">
            <a:normAutofit/>
          </a:bodyPr>
          <a:lstStyle/>
          <a:p>
            <a:r>
              <a:rPr lang="en-GB"/>
              <a:t>Click to edit Master title style</a:t>
            </a:r>
          </a:p>
        </p:txBody>
      </p:sp>
      <p:sp>
        <p:nvSpPr>
          <p:cNvPr id="11" name="Text Placeholder 8">
            <a:extLst>
              <a:ext uri="{FF2B5EF4-FFF2-40B4-BE49-F238E27FC236}">
                <a16:creationId xmlns:a16="http://schemas.microsoft.com/office/drawing/2014/main" id="{B0C5F5C0-30E8-EF40-92DE-494A99ADBAED}"/>
              </a:ext>
            </a:extLst>
          </p:cNvPr>
          <p:cNvSpPr>
            <a:spLocks noGrp="1"/>
          </p:cNvSpPr>
          <p:nvPr>
            <p:ph type="body" idx="13"/>
          </p:nvPr>
        </p:nvSpPr>
        <p:spPr>
          <a:xfrm>
            <a:off x="531133" y="1304924"/>
            <a:ext cx="5564867" cy="2951067"/>
          </a:xfrm>
        </p:spPr>
        <p:txBody>
          <a:bodyPr numCol="1" spcCol="180000"/>
          <a:lstStyle>
            <a:lvl1pPr marL="0" indent="0">
              <a:buClr>
                <a:schemeClr val="bg2"/>
              </a:buClr>
              <a:buFont typeface="Arial" panose="020B0604020202020204" pitchFamily="34" charset="0"/>
              <a:buNone/>
              <a:defRPr>
                <a:solidFill>
                  <a:schemeClr val="tx2">
                    <a:lumMod val="50000"/>
                  </a:schemeClr>
                </a:solidFill>
              </a:defRPr>
            </a:lvl1pPr>
            <a:lvl2pPr>
              <a:defRPr>
                <a:solidFill>
                  <a:schemeClr val="tx2">
                    <a:lumMod val="50000"/>
                  </a:schemeClr>
                </a:solidFill>
              </a:defRPr>
            </a:lvl2pPr>
            <a:lvl3pPr>
              <a:defRPr>
                <a:solidFill>
                  <a:schemeClr val="tx2">
                    <a:lumMod val="50000"/>
                  </a:schemeClr>
                </a:solidFill>
              </a:defRPr>
            </a:lvl3pPr>
            <a:lvl4pPr>
              <a:defRPr>
                <a:solidFill>
                  <a:schemeClr val="tx2">
                    <a:lumMod val="50000"/>
                  </a:schemeClr>
                </a:solidFill>
              </a:defRPr>
            </a:lvl4pPr>
            <a:lvl5pPr>
              <a:defRPr>
                <a:solidFill>
                  <a:schemeClr val="tx2">
                    <a:lumMod val="50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United Against Rabies Forum Meeting - 6-8 November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3" name="Chart Placeholder 2">
            <a:extLst>
              <a:ext uri="{FF2B5EF4-FFF2-40B4-BE49-F238E27FC236}">
                <a16:creationId xmlns:a16="http://schemas.microsoft.com/office/drawing/2014/main" id="{5F41B758-C970-D84A-B3ED-8A3CB892A835}"/>
              </a:ext>
            </a:extLst>
          </p:cNvPr>
          <p:cNvSpPr>
            <a:spLocks noGrp="1"/>
          </p:cNvSpPr>
          <p:nvPr>
            <p:ph type="chart" sz="quarter" idx="14" hasCustomPrompt="1"/>
          </p:nvPr>
        </p:nvSpPr>
        <p:spPr>
          <a:xfrm>
            <a:off x="6762750" y="366371"/>
            <a:ext cx="4913313" cy="5547067"/>
          </a:xfrm>
        </p:spPr>
        <p:txBody>
          <a:bodyPr anchor="ctr">
            <a:normAutofit/>
          </a:bodyPr>
          <a:lstStyle>
            <a:lvl1pPr algn="ctr">
              <a:defRPr sz="1600">
                <a:solidFill>
                  <a:schemeClr val="bg1">
                    <a:lumMod val="50000"/>
                  </a:schemeClr>
                </a:solidFill>
              </a:defRPr>
            </a:lvl1pPr>
          </a:lstStyle>
          <a:p>
            <a:r>
              <a:rPr lang="en-GB"/>
              <a:t>Click icon to add graph</a:t>
            </a:r>
          </a:p>
        </p:txBody>
      </p:sp>
      <p:sp>
        <p:nvSpPr>
          <p:cNvPr id="12" name="Table Placeholder 13">
            <a:extLst>
              <a:ext uri="{FF2B5EF4-FFF2-40B4-BE49-F238E27FC236}">
                <a16:creationId xmlns:a16="http://schemas.microsoft.com/office/drawing/2014/main" id="{0471F0B8-12A0-7A45-8C7A-E02063FE5C87}"/>
              </a:ext>
            </a:extLst>
          </p:cNvPr>
          <p:cNvSpPr>
            <a:spLocks noGrp="1"/>
          </p:cNvSpPr>
          <p:nvPr>
            <p:ph type="tbl" sz="quarter" idx="16" hasCustomPrompt="1"/>
          </p:nvPr>
        </p:nvSpPr>
        <p:spPr>
          <a:xfrm>
            <a:off x="531813" y="4531663"/>
            <a:ext cx="5564187" cy="1381775"/>
          </a:xfrm>
        </p:spPr>
        <p:txBody>
          <a:bodyPr anchor="ctr">
            <a:normAutofit/>
          </a:bodyPr>
          <a:lstStyle>
            <a:lvl1pPr algn="ctr">
              <a:defRPr sz="1600">
                <a:solidFill>
                  <a:schemeClr val="bg1">
                    <a:lumMod val="50000"/>
                  </a:schemeClr>
                </a:solidFill>
              </a:defRPr>
            </a:lvl1pPr>
          </a:lstStyle>
          <a:p>
            <a:r>
              <a:rPr lang="en-GB"/>
              <a:t>Click here to insert table of key statistics</a:t>
            </a:r>
          </a:p>
        </p:txBody>
      </p:sp>
    </p:spTree>
    <p:extLst>
      <p:ext uri="{BB962C8B-B14F-4D97-AF65-F5344CB8AC3E}">
        <p14:creationId xmlns:p14="http://schemas.microsoft.com/office/powerpoint/2010/main" val="182783363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Headshots x4">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United Against Rabies Forum Meeting - 6-8 November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9" name="Picture Placeholder 9">
            <a:extLst>
              <a:ext uri="{FF2B5EF4-FFF2-40B4-BE49-F238E27FC236}">
                <a16:creationId xmlns:a16="http://schemas.microsoft.com/office/drawing/2014/main" id="{F7144900-27CB-F8C8-8750-EBFD50556D3C}"/>
              </a:ext>
            </a:extLst>
          </p:cNvPr>
          <p:cNvSpPr>
            <a:spLocks noGrp="1"/>
          </p:cNvSpPr>
          <p:nvPr>
            <p:ph type="pic" sz="quarter" idx="20" hasCustomPrompt="1"/>
          </p:nvPr>
        </p:nvSpPr>
        <p:spPr>
          <a:xfrm>
            <a:off x="515937" y="1738603"/>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1" name="Picture Placeholder 9">
            <a:extLst>
              <a:ext uri="{FF2B5EF4-FFF2-40B4-BE49-F238E27FC236}">
                <a16:creationId xmlns:a16="http://schemas.microsoft.com/office/drawing/2014/main" id="{BA371966-686F-3873-1B61-8D4F2F1781AB}"/>
              </a:ext>
            </a:extLst>
          </p:cNvPr>
          <p:cNvSpPr>
            <a:spLocks noGrp="1"/>
          </p:cNvSpPr>
          <p:nvPr>
            <p:ph type="pic" sz="quarter" idx="21" hasCustomPrompt="1"/>
          </p:nvPr>
        </p:nvSpPr>
        <p:spPr>
          <a:xfrm>
            <a:off x="6409056" y="1738603"/>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2" name="Text Placeholder 15">
            <a:extLst>
              <a:ext uri="{FF2B5EF4-FFF2-40B4-BE49-F238E27FC236}">
                <a16:creationId xmlns:a16="http://schemas.microsoft.com/office/drawing/2014/main" id="{71BA048F-6972-4609-34F2-EF8FDBBDBB0C}"/>
              </a:ext>
            </a:extLst>
          </p:cNvPr>
          <p:cNvSpPr>
            <a:spLocks noGrp="1"/>
          </p:cNvSpPr>
          <p:nvPr>
            <p:ph type="body" sz="quarter" idx="22"/>
          </p:nvPr>
        </p:nvSpPr>
        <p:spPr>
          <a:xfrm>
            <a:off x="8234278" y="1915486"/>
            <a:ext cx="3355742" cy="1163606"/>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17" name="Picture Placeholder 9">
            <a:extLst>
              <a:ext uri="{FF2B5EF4-FFF2-40B4-BE49-F238E27FC236}">
                <a16:creationId xmlns:a16="http://schemas.microsoft.com/office/drawing/2014/main" id="{224FF60B-6BD0-9B1E-2959-11D6263640AF}"/>
              </a:ext>
            </a:extLst>
          </p:cNvPr>
          <p:cNvSpPr>
            <a:spLocks noGrp="1"/>
          </p:cNvSpPr>
          <p:nvPr>
            <p:ph type="pic" sz="quarter" idx="25" hasCustomPrompt="1"/>
          </p:nvPr>
        </p:nvSpPr>
        <p:spPr>
          <a:xfrm>
            <a:off x="515937" y="3998564"/>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8" name="Picture Placeholder 9">
            <a:extLst>
              <a:ext uri="{FF2B5EF4-FFF2-40B4-BE49-F238E27FC236}">
                <a16:creationId xmlns:a16="http://schemas.microsoft.com/office/drawing/2014/main" id="{2DB6CCCB-718D-70C8-7A09-2EE0D7144525}"/>
              </a:ext>
            </a:extLst>
          </p:cNvPr>
          <p:cNvSpPr>
            <a:spLocks noGrp="1"/>
          </p:cNvSpPr>
          <p:nvPr>
            <p:ph type="pic" sz="quarter" idx="27" hasCustomPrompt="1"/>
          </p:nvPr>
        </p:nvSpPr>
        <p:spPr>
          <a:xfrm>
            <a:off x="6409056" y="3998564"/>
            <a:ext cx="1517373" cy="1517373"/>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105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19" name="Text Placeholder 15">
            <a:extLst>
              <a:ext uri="{FF2B5EF4-FFF2-40B4-BE49-F238E27FC236}">
                <a16:creationId xmlns:a16="http://schemas.microsoft.com/office/drawing/2014/main" id="{B6878B28-F503-455B-0FEA-80DE70905427}"/>
              </a:ext>
            </a:extLst>
          </p:cNvPr>
          <p:cNvSpPr>
            <a:spLocks noGrp="1"/>
          </p:cNvSpPr>
          <p:nvPr>
            <p:ph type="body" sz="quarter" idx="28"/>
          </p:nvPr>
        </p:nvSpPr>
        <p:spPr>
          <a:xfrm>
            <a:off x="8234278" y="4175447"/>
            <a:ext cx="3355742" cy="1163606"/>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20" name="Text Placeholder 15">
            <a:extLst>
              <a:ext uri="{FF2B5EF4-FFF2-40B4-BE49-F238E27FC236}">
                <a16:creationId xmlns:a16="http://schemas.microsoft.com/office/drawing/2014/main" id="{AAADD6C4-F1D9-F92B-C5FD-4B4DA8B17CF1}"/>
              </a:ext>
            </a:extLst>
          </p:cNvPr>
          <p:cNvSpPr>
            <a:spLocks noGrp="1"/>
          </p:cNvSpPr>
          <p:nvPr>
            <p:ph type="body" sz="quarter" idx="29"/>
          </p:nvPr>
        </p:nvSpPr>
        <p:spPr>
          <a:xfrm>
            <a:off x="2333196" y="1915486"/>
            <a:ext cx="3355742" cy="1163606"/>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21" name="Text Placeholder 15">
            <a:extLst>
              <a:ext uri="{FF2B5EF4-FFF2-40B4-BE49-F238E27FC236}">
                <a16:creationId xmlns:a16="http://schemas.microsoft.com/office/drawing/2014/main" id="{A5E09E69-6CAD-B355-9823-320AB8FAE66F}"/>
              </a:ext>
            </a:extLst>
          </p:cNvPr>
          <p:cNvSpPr>
            <a:spLocks noGrp="1"/>
          </p:cNvSpPr>
          <p:nvPr>
            <p:ph type="body" sz="quarter" idx="30"/>
          </p:nvPr>
        </p:nvSpPr>
        <p:spPr>
          <a:xfrm>
            <a:off x="2333196" y="4175447"/>
            <a:ext cx="3355742" cy="1163606"/>
          </a:xfrm>
        </p:spPr>
        <p:txBody>
          <a:bodyPr anchor="ctr">
            <a:noAutofit/>
          </a:bodyPr>
          <a:lstStyle>
            <a:lvl1pPr marL="0" indent="0">
              <a:lnSpc>
                <a:spcPct val="90000"/>
              </a:lnSpc>
              <a:spcBef>
                <a:spcPts val="0"/>
              </a:spcBef>
              <a:spcAft>
                <a:spcPts val="300"/>
              </a:spcAft>
              <a:buNone/>
              <a:defRPr sz="18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Tree>
    <p:extLst>
      <p:ext uri="{BB962C8B-B14F-4D97-AF65-F5344CB8AC3E}">
        <p14:creationId xmlns:p14="http://schemas.microsoft.com/office/powerpoint/2010/main" val="150793637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Headshots x9">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United Against Rabies Forum Meeting - 6-8 November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22" name="Picture Placeholder 9">
            <a:extLst>
              <a:ext uri="{FF2B5EF4-FFF2-40B4-BE49-F238E27FC236}">
                <a16:creationId xmlns:a16="http://schemas.microsoft.com/office/drawing/2014/main" id="{9DD9632F-ADC6-0F07-8F3F-62F1AF846E10}"/>
              </a:ext>
            </a:extLst>
          </p:cNvPr>
          <p:cNvSpPr>
            <a:spLocks noGrp="1"/>
          </p:cNvSpPr>
          <p:nvPr>
            <p:ph type="pic" sz="quarter" idx="20" hasCustomPrompt="1"/>
          </p:nvPr>
        </p:nvSpPr>
        <p:spPr>
          <a:xfrm>
            <a:off x="515938" y="1711994"/>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23" name="Text Placeholder 15">
            <a:extLst>
              <a:ext uri="{FF2B5EF4-FFF2-40B4-BE49-F238E27FC236}">
                <a16:creationId xmlns:a16="http://schemas.microsoft.com/office/drawing/2014/main" id="{A6BDD17B-1F38-C02C-FBE9-A0D8E16AB19C}"/>
              </a:ext>
            </a:extLst>
          </p:cNvPr>
          <p:cNvSpPr>
            <a:spLocks noGrp="1"/>
          </p:cNvSpPr>
          <p:nvPr>
            <p:ph type="body" sz="quarter" idx="15"/>
          </p:nvPr>
        </p:nvSpPr>
        <p:spPr>
          <a:xfrm>
            <a:off x="1699411" y="1711994"/>
            <a:ext cx="2116757" cy="987159"/>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24" name="Picture Placeholder 9">
            <a:extLst>
              <a:ext uri="{FF2B5EF4-FFF2-40B4-BE49-F238E27FC236}">
                <a16:creationId xmlns:a16="http://schemas.microsoft.com/office/drawing/2014/main" id="{25EC710C-2932-CFFF-F55D-955597F0FB30}"/>
              </a:ext>
            </a:extLst>
          </p:cNvPr>
          <p:cNvSpPr>
            <a:spLocks noGrp="1"/>
          </p:cNvSpPr>
          <p:nvPr>
            <p:ph type="pic" sz="quarter" idx="21" hasCustomPrompt="1"/>
          </p:nvPr>
        </p:nvSpPr>
        <p:spPr>
          <a:xfrm>
            <a:off x="4335796" y="1711994"/>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25" name="Text Placeholder 15">
            <a:extLst>
              <a:ext uri="{FF2B5EF4-FFF2-40B4-BE49-F238E27FC236}">
                <a16:creationId xmlns:a16="http://schemas.microsoft.com/office/drawing/2014/main" id="{247CB122-DF3E-CDA7-027B-26E525434AE2}"/>
              </a:ext>
            </a:extLst>
          </p:cNvPr>
          <p:cNvSpPr>
            <a:spLocks noGrp="1"/>
          </p:cNvSpPr>
          <p:nvPr>
            <p:ph type="body" sz="quarter" idx="22"/>
          </p:nvPr>
        </p:nvSpPr>
        <p:spPr>
          <a:xfrm>
            <a:off x="5527232" y="1711994"/>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0" name="Picture Placeholder 9">
            <a:extLst>
              <a:ext uri="{FF2B5EF4-FFF2-40B4-BE49-F238E27FC236}">
                <a16:creationId xmlns:a16="http://schemas.microsoft.com/office/drawing/2014/main" id="{27971BF0-784D-F3CF-2C6F-CA5180542041}"/>
              </a:ext>
            </a:extLst>
          </p:cNvPr>
          <p:cNvSpPr>
            <a:spLocks noGrp="1"/>
          </p:cNvSpPr>
          <p:nvPr>
            <p:ph type="pic" sz="quarter" idx="23" hasCustomPrompt="1"/>
          </p:nvPr>
        </p:nvSpPr>
        <p:spPr>
          <a:xfrm>
            <a:off x="8220024" y="1711994"/>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1" name="Text Placeholder 15">
            <a:extLst>
              <a:ext uri="{FF2B5EF4-FFF2-40B4-BE49-F238E27FC236}">
                <a16:creationId xmlns:a16="http://schemas.microsoft.com/office/drawing/2014/main" id="{0B2CA69D-267F-C90D-4248-B4C35F26DF79}"/>
              </a:ext>
            </a:extLst>
          </p:cNvPr>
          <p:cNvSpPr>
            <a:spLocks noGrp="1"/>
          </p:cNvSpPr>
          <p:nvPr>
            <p:ph type="body" sz="quarter" idx="24"/>
          </p:nvPr>
        </p:nvSpPr>
        <p:spPr>
          <a:xfrm>
            <a:off x="9411460" y="1711994"/>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2" name="Picture Placeholder 9">
            <a:extLst>
              <a:ext uri="{FF2B5EF4-FFF2-40B4-BE49-F238E27FC236}">
                <a16:creationId xmlns:a16="http://schemas.microsoft.com/office/drawing/2014/main" id="{5897A2C1-9865-7BB8-2197-358370EFD4AC}"/>
              </a:ext>
            </a:extLst>
          </p:cNvPr>
          <p:cNvSpPr>
            <a:spLocks noGrp="1"/>
          </p:cNvSpPr>
          <p:nvPr>
            <p:ph type="pic" sz="quarter" idx="25" hasCustomPrompt="1"/>
          </p:nvPr>
        </p:nvSpPr>
        <p:spPr>
          <a:xfrm>
            <a:off x="515938" y="3155667"/>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3" name="Text Placeholder 15">
            <a:extLst>
              <a:ext uri="{FF2B5EF4-FFF2-40B4-BE49-F238E27FC236}">
                <a16:creationId xmlns:a16="http://schemas.microsoft.com/office/drawing/2014/main" id="{62920B1E-EBA9-626D-6305-A1ADAE904D1A}"/>
              </a:ext>
            </a:extLst>
          </p:cNvPr>
          <p:cNvSpPr>
            <a:spLocks noGrp="1"/>
          </p:cNvSpPr>
          <p:nvPr>
            <p:ph type="body" sz="quarter" idx="26"/>
          </p:nvPr>
        </p:nvSpPr>
        <p:spPr>
          <a:xfrm>
            <a:off x="1699411" y="3155667"/>
            <a:ext cx="2116757" cy="987159"/>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4" name="Picture Placeholder 9">
            <a:extLst>
              <a:ext uri="{FF2B5EF4-FFF2-40B4-BE49-F238E27FC236}">
                <a16:creationId xmlns:a16="http://schemas.microsoft.com/office/drawing/2014/main" id="{544F1E77-8814-8A3B-D86A-076D4023ACA7}"/>
              </a:ext>
            </a:extLst>
          </p:cNvPr>
          <p:cNvSpPr>
            <a:spLocks noGrp="1"/>
          </p:cNvSpPr>
          <p:nvPr>
            <p:ph type="pic" sz="quarter" idx="27" hasCustomPrompt="1"/>
          </p:nvPr>
        </p:nvSpPr>
        <p:spPr>
          <a:xfrm>
            <a:off x="4335796" y="3155667"/>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5" name="Text Placeholder 15">
            <a:extLst>
              <a:ext uri="{FF2B5EF4-FFF2-40B4-BE49-F238E27FC236}">
                <a16:creationId xmlns:a16="http://schemas.microsoft.com/office/drawing/2014/main" id="{C7619CC2-0DAA-26FC-AEAA-30394D48883A}"/>
              </a:ext>
            </a:extLst>
          </p:cNvPr>
          <p:cNvSpPr>
            <a:spLocks noGrp="1"/>
          </p:cNvSpPr>
          <p:nvPr>
            <p:ph type="body" sz="quarter" idx="28"/>
          </p:nvPr>
        </p:nvSpPr>
        <p:spPr>
          <a:xfrm>
            <a:off x="5527232" y="3155667"/>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6" name="Picture Placeholder 9">
            <a:extLst>
              <a:ext uri="{FF2B5EF4-FFF2-40B4-BE49-F238E27FC236}">
                <a16:creationId xmlns:a16="http://schemas.microsoft.com/office/drawing/2014/main" id="{8FAFCD1B-5A84-929A-D622-CC609C41B001}"/>
              </a:ext>
            </a:extLst>
          </p:cNvPr>
          <p:cNvSpPr>
            <a:spLocks noGrp="1"/>
          </p:cNvSpPr>
          <p:nvPr>
            <p:ph type="pic" sz="quarter" idx="29" hasCustomPrompt="1"/>
          </p:nvPr>
        </p:nvSpPr>
        <p:spPr>
          <a:xfrm>
            <a:off x="8220024" y="3155667"/>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7" name="Text Placeholder 15">
            <a:extLst>
              <a:ext uri="{FF2B5EF4-FFF2-40B4-BE49-F238E27FC236}">
                <a16:creationId xmlns:a16="http://schemas.microsoft.com/office/drawing/2014/main" id="{32DEC219-4AAE-290C-5636-F26705700111}"/>
              </a:ext>
            </a:extLst>
          </p:cNvPr>
          <p:cNvSpPr>
            <a:spLocks noGrp="1"/>
          </p:cNvSpPr>
          <p:nvPr>
            <p:ph type="body" sz="quarter" idx="30"/>
          </p:nvPr>
        </p:nvSpPr>
        <p:spPr>
          <a:xfrm>
            <a:off x="9411460" y="3155667"/>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48" name="Picture Placeholder 9">
            <a:extLst>
              <a:ext uri="{FF2B5EF4-FFF2-40B4-BE49-F238E27FC236}">
                <a16:creationId xmlns:a16="http://schemas.microsoft.com/office/drawing/2014/main" id="{B2CF404E-74E2-7F8B-678B-6E7F764D9BF2}"/>
              </a:ext>
            </a:extLst>
          </p:cNvPr>
          <p:cNvSpPr>
            <a:spLocks noGrp="1"/>
          </p:cNvSpPr>
          <p:nvPr>
            <p:ph type="pic" sz="quarter" idx="31" hasCustomPrompt="1"/>
          </p:nvPr>
        </p:nvSpPr>
        <p:spPr>
          <a:xfrm>
            <a:off x="515938" y="4599456"/>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49" name="Text Placeholder 15">
            <a:extLst>
              <a:ext uri="{FF2B5EF4-FFF2-40B4-BE49-F238E27FC236}">
                <a16:creationId xmlns:a16="http://schemas.microsoft.com/office/drawing/2014/main" id="{494146F5-9D36-2EF7-388E-A72B6DA0D9BB}"/>
              </a:ext>
            </a:extLst>
          </p:cNvPr>
          <p:cNvSpPr>
            <a:spLocks noGrp="1"/>
          </p:cNvSpPr>
          <p:nvPr>
            <p:ph type="body" sz="quarter" idx="32"/>
          </p:nvPr>
        </p:nvSpPr>
        <p:spPr>
          <a:xfrm>
            <a:off x="1699411" y="4599456"/>
            <a:ext cx="2116757" cy="987159"/>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0" name="Picture Placeholder 9">
            <a:extLst>
              <a:ext uri="{FF2B5EF4-FFF2-40B4-BE49-F238E27FC236}">
                <a16:creationId xmlns:a16="http://schemas.microsoft.com/office/drawing/2014/main" id="{B71BEAAD-C8C5-6988-5CBE-F7E302410597}"/>
              </a:ext>
            </a:extLst>
          </p:cNvPr>
          <p:cNvSpPr>
            <a:spLocks noGrp="1"/>
          </p:cNvSpPr>
          <p:nvPr>
            <p:ph type="pic" sz="quarter" idx="33" hasCustomPrompt="1"/>
          </p:nvPr>
        </p:nvSpPr>
        <p:spPr>
          <a:xfrm>
            <a:off x="4335796" y="4599456"/>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1" name="Text Placeholder 15">
            <a:extLst>
              <a:ext uri="{FF2B5EF4-FFF2-40B4-BE49-F238E27FC236}">
                <a16:creationId xmlns:a16="http://schemas.microsoft.com/office/drawing/2014/main" id="{138E6919-019E-02BB-5D0D-FF9C12142411}"/>
              </a:ext>
            </a:extLst>
          </p:cNvPr>
          <p:cNvSpPr>
            <a:spLocks noGrp="1"/>
          </p:cNvSpPr>
          <p:nvPr>
            <p:ph type="body" sz="quarter" idx="34"/>
          </p:nvPr>
        </p:nvSpPr>
        <p:spPr>
          <a:xfrm>
            <a:off x="5527232" y="4599456"/>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2" name="Picture Placeholder 9">
            <a:extLst>
              <a:ext uri="{FF2B5EF4-FFF2-40B4-BE49-F238E27FC236}">
                <a16:creationId xmlns:a16="http://schemas.microsoft.com/office/drawing/2014/main" id="{50AEE6D7-E551-8465-B986-00D61EB9730A}"/>
              </a:ext>
            </a:extLst>
          </p:cNvPr>
          <p:cNvSpPr>
            <a:spLocks noGrp="1"/>
          </p:cNvSpPr>
          <p:nvPr>
            <p:ph type="pic" sz="quarter" idx="35" hasCustomPrompt="1"/>
          </p:nvPr>
        </p:nvSpPr>
        <p:spPr>
          <a:xfrm>
            <a:off x="8220024" y="4599456"/>
            <a:ext cx="987159" cy="987159"/>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3" name="Text Placeholder 15">
            <a:extLst>
              <a:ext uri="{FF2B5EF4-FFF2-40B4-BE49-F238E27FC236}">
                <a16:creationId xmlns:a16="http://schemas.microsoft.com/office/drawing/2014/main" id="{EABA07AD-B083-3DC8-2E9C-6607785D0D9F}"/>
              </a:ext>
            </a:extLst>
          </p:cNvPr>
          <p:cNvSpPr>
            <a:spLocks noGrp="1"/>
          </p:cNvSpPr>
          <p:nvPr>
            <p:ph type="body" sz="quarter" idx="36"/>
          </p:nvPr>
        </p:nvSpPr>
        <p:spPr>
          <a:xfrm>
            <a:off x="9411460" y="4599456"/>
            <a:ext cx="2173163" cy="987101"/>
          </a:xfrm>
        </p:spPr>
        <p:txBody>
          <a:bodyPr anchor="ctr">
            <a:noAutofit/>
          </a:bodyPr>
          <a:lstStyle>
            <a:lvl1pPr marL="0" indent="0">
              <a:lnSpc>
                <a:spcPct val="90000"/>
              </a:lnSpc>
              <a:spcBef>
                <a:spcPts val="0"/>
              </a:spcBef>
              <a:spcAft>
                <a:spcPts val="300"/>
              </a:spcAft>
              <a:buNone/>
              <a:defRPr sz="14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Tree>
    <p:extLst>
      <p:ext uri="{BB962C8B-B14F-4D97-AF65-F5344CB8AC3E}">
        <p14:creationId xmlns:p14="http://schemas.microsoft.com/office/powerpoint/2010/main" val="251447474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Headshots x1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United Against Rabies Forum Meeting - 6-8 November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22" name="Picture Placeholder 9">
            <a:extLst>
              <a:ext uri="{FF2B5EF4-FFF2-40B4-BE49-F238E27FC236}">
                <a16:creationId xmlns:a16="http://schemas.microsoft.com/office/drawing/2014/main" id="{9DD9632F-ADC6-0F07-8F3F-62F1AF846E10}"/>
              </a:ext>
            </a:extLst>
          </p:cNvPr>
          <p:cNvSpPr>
            <a:spLocks noGrp="1"/>
          </p:cNvSpPr>
          <p:nvPr>
            <p:ph type="pic" sz="quarter" idx="20" hasCustomPrompt="1"/>
          </p:nvPr>
        </p:nvSpPr>
        <p:spPr>
          <a:xfrm>
            <a:off x="515939" y="1711995"/>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23" name="Text Placeholder 15">
            <a:extLst>
              <a:ext uri="{FF2B5EF4-FFF2-40B4-BE49-F238E27FC236}">
                <a16:creationId xmlns:a16="http://schemas.microsoft.com/office/drawing/2014/main" id="{A6BDD17B-1F38-C02C-FBE9-A0D8E16AB19C}"/>
              </a:ext>
            </a:extLst>
          </p:cNvPr>
          <p:cNvSpPr>
            <a:spLocks noGrp="1"/>
          </p:cNvSpPr>
          <p:nvPr>
            <p:ph type="body" sz="quarter" idx="15"/>
          </p:nvPr>
        </p:nvSpPr>
        <p:spPr>
          <a:xfrm>
            <a:off x="1596367" y="1711995"/>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39" name="Picture Placeholder 9">
            <a:extLst>
              <a:ext uri="{FF2B5EF4-FFF2-40B4-BE49-F238E27FC236}">
                <a16:creationId xmlns:a16="http://schemas.microsoft.com/office/drawing/2014/main" id="{0A36E1BF-5D7A-3667-C65B-2DB32E2BD388}"/>
              </a:ext>
            </a:extLst>
          </p:cNvPr>
          <p:cNvSpPr>
            <a:spLocks noGrp="1"/>
          </p:cNvSpPr>
          <p:nvPr>
            <p:ph type="pic" sz="quarter" idx="43" hasCustomPrompt="1"/>
          </p:nvPr>
        </p:nvSpPr>
        <p:spPr>
          <a:xfrm>
            <a:off x="515939" y="2786398"/>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4" name="Text Placeholder 15">
            <a:extLst>
              <a:ext uri="{FF2B5EF4-FFF2-40B4-BE49-F238E27FC236}">
                <a16:creationId xmlns:a16="http://schemas.microsoft.com/office/drawing/2014/main" id="{A3EF6248-9648-B0CE-3E04-C8F8A63036EA}"/>
              </a:ext>
            </a:extLst>
          </p:cNvPr>
          <p:cNvSpPr>
            <a:spLocks noGrp="1"/>
          </p:cNvSpPr>
          <p:nvPr>
            <p:ph type="body" sz="quarter" idx="44"/>
          </p:nvPr>
        </p:nvSpPr>
        <p:spPr>
          <a:xfrm>
            <a:off x="1596367" y="2791091"/>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5" name="Picture Placeholder 9">
            <a:extLst>
              <a:ext uri="{FF2B5EF4-FFF2-40B4-BE49-F238E27FC236}">
                <a16:creationId xmlns:a16="http://schemas.microsoft.com/office/drawing/2014/main" id="{C5444EBA-19D0-8678-BDDD-147CE44BC1E1}"/>
              </a:ext>
            </a:extLst>
          </p:cNvPr>
          <p:cNvSpPr>
            <a:spLocks noGrp="1"/>
          </p:cNvSpPr>
          <p:nvPr>
            <p:ph type="pic" sz="quarter" idx="45" hasCustomPrompt="1"/>
          </p:nvPr>
        </p:nvSpPr>
        <p:spPr>
          <a:xfrm>
            <a:off x="515939" y="3870187"/>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6" name="Text Placeholder 15">
            <a:extLst>
              <a:ext uri="{FF2B5EF4-FFF2-40B4-BE49-F238E27FC236}">
                <a16:creationId xmlns:a16="http://schemas.microsoft.com/office/drawing/2014/main" id="{7D5C4711-97F4-DDD0-D960-DEDF44E5F474}"/>
              </a:ext>
            </a:extLst>
          </p:cNvPr>
          <p:cNvSpPr>
            <a:spLocks noGrp="1"/>
          </p:cNvSpPr>
          <p:nvPr>
            <p:ph type="body" sz="quarter" idx="46"/>
          </p:nvPr>
        </p:nvSpPr>
        <p:spPr>
          <a:xfrm>
            <a:off x="1596367" y="3870187"/>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7" name="Picture Placeholder 9">
            <a:extLst>
              <a:ext uri="{FF2B5EF4-FFF2-40B4-BE49-F238E27FC236}">
                <a16:creationId xmlns:a16="http://schemas.microsoft.com/office/drawing/2014/main" id="{E65DD9AF-BC5A-0D6D-203A-19C299826DFB}"/>
              </a:ext>
            </a:extLst>
          </p:cNvPr>
          <p:cNvSpPr>
            <a:spLocks noGrp="1"/>
          </p:cNvSpPr>
          <p:nvPr>
            <p:ph type="pic" sz="quarter" idx="47" hasCustomPrompt="1"/>
          </p:nvPr>
        </p:nvSpPr>
        <p:spPr>
          <a:xfrm>
            <a:off x="515939" y="4949284"/>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58" name="Text Placeholder 15">
            <a:extLst>
              <a:ext uri="{FF2B5EF4-FFF2-40B4-BE49-F238E27FC236}">
                <a16:creationId xmlns:a16="http://schemas.microsoft.com/office/drawing/2014/main" id="{50F33994-9EA1-2A51-A537-50F4FB57B23A}"/>
              </a:ext>
            </a:extLst>
          </p:cNvPr>
          <p:cNvSpPr>
            <a:spLocks noGrp="1"/>
          </p:cNvSpPr>
          <p:nvPr>
            <p:ph type="body" sz="quarter" idx="48"/>
          </p:nvPr>
        </p:nvSpPr>
        <p:spPr>
          <a:xfrm>
            <a:off x="1596367" y="4949284"/>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59" name="Picture Placeholder 9">
            <a:extLst>
              <a:ext uri="{FF2B5EF4-FFF2-40B4-BE49-F238E27FC236}">
                <a16:creationId xmlns:a16="http://schemas.microsoft.com/office/drawing/2014/main" id="{F4BC789A-02DE-1B25-C17D-56031BFFAC79}"/>
              </a:ext>
            </a:extLst>
          </p:cNvPr>
          <p:cNvSpPr>
            <a:spLocks noGrp="1"/>
          </p:cNvSpPr>
          <p:nvPr>
            <p:ph type="pic" sz="quarter" idx="49" hasCustomPrompt="1"/>
          </p:nvPr>
        </p:nvSpPr>
        <p:spPr>
          <a:xfrm>
            <a:off x="4357530" y="1711995"/>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0" name="Text Placeholder 15">
            <a:extLst>
              <a:ext uri="{FF2B5EF4-FFF2-40B4-BE49-F238E27FC236}">
                <a16:creationId xmlns:a16="http://schemas.microsoft.com/office/drawing/2014/main" id="{397D8B8C-1AD2-D2A1-C4BA-DC06F2B6EF69}"/>
              </a:ext>
            </a:extLst>
          </p:cNvPr>
          <p:cNvSpPr>
            <a:spLocks noGrp="1"/>
          </p:cNvSpPr>
          <p:nvPr>
            <p:ph type="body" sz="quarter" idx="50"/>
          </p:nvPr>
        </p:nvSpPr>
        <p:spPr>
          <a:xfrm>
            <a:off x="5437958" y="1711995"/>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1" name="Picture Placeholder 9">
            <a:extLst>
              <a:ext uri="{FF2B5EF4-FFF2-40B4-BE49-F238E27FC236}">
                <a16:creationId xmlns:a16="http://schemas.microsoft.com/office/drawing/2014/main" id="{96F24F90-0E84-D6E6-53DE-5CA754BCC220}"/>
              </a:ext>
            </a:extLst>
          </p:cNvPr>
          <p:cNvSpPr>
            <a:spLocks noGrp="1"/>
          </p:cNvSpPr>
          <p:nvPr>
            <p:ph type="pic" sz="quarter" idx="51" hasCustomPrompt="1"/>
          </p:nvPr>
        </p:nvSpPr>
        <p:spPr>
          <a:xfrm>
            <a:off x="4357530" y="2786398"/>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2" name="Text Placeholder 15">
            <a:extLst>
              <a:ext uri="{FF2B5EF4-FFF2-40B4-BE49-F238E27FC236}">
                <a16:creationId xmlns:a16="http://schemas.microsoft.com/office/drawing/2014/main" id="{FEE53D37-03B9-FEA3-D9B3-377C5ACE8FBB}"/>
              </a:ext>
            </a:extLst>
          </p:cNvPr>
          <p:cNvSpPr>
            <a:spLocks noGrp="1"/>
          </p:cNvSpPr>
          <p:nvPr>
            <p:ph type="body" sz="quarter" idx="52"/>
          </p:nvPr>
        </p:nvSpPr>
        <p:spPr>
          <a:xfrm>
            <a:off x="5437958" y="2791091"/>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3" name="Picture Placeholder 9">
            <a:extLst>
              <a:ext uri="{FF2B5EF4-FFF2-40B4-BE49-F238E27FC236}">
                <a16:creationId xmlns:a16="http://schemas.microsoft.com/office/drawing/2014/main" id="{D91880C0-5866-3A2D-E9A1-293A080C3CBC}"/>
              </a:ext>
            </a:extLst>
          </p:cNvPr>
          <p:cNvSpPr>
            <a:spLocks noGrp="1"/>
          </p:cNvSpPr>
          <p:nvPr>
            <p:ph type="pic" sz="quarter" idx="53" hasCustomPrompt="1"/>
          </p:nvPr>
        </p:nvSpPr>
        <p:spPr>
          <a:xfrm>
            <a:off x="4357530" y="3870187"/>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4" name="Text Placeholder 15">
            <a:extLst>
              <a:ext uri="{FF2B5EF4-FFF2-40B4-BE49-F238E27FC236}">
                <a16:creationId xmlns:a16="http://schemas.microsoft.com/office/drawing/2014/main" id="{68479F4A-C40B-C6DF-03E8-C507FF3D4573}"/>
              </a:ext>
            </a:extLst>
          </p:cNvPr>
          <p:cNvSpPr>
            <a:spLocks noGrp="1"/>
          </p:cNvSpPr>
          <p:nvPr>
            <p:ph type="body" sz="quarter" idx="54"/>
          </p:nvPr>
        </p:nvSpPr>
        <p:spPr>
          <a:xfrm>
            <a:off x="5437958" y="3870187"/>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5" name="Picture Placeholder 9">
            <a:extLst>
              <a:ext uri="{FF2B5EF4-FFF2-40B4-BE49-F238E27FC236}">
                <a16:creationId xmlns:a16="http://schemas.microsoft.com/office/drawing/2014/main" id="{C62DBBD6-D33E-DF74-5AE8-96D1913C8C20}"/>
              </a:ext>
            </a:extLst>
          </p:cNvPr>
          <p:cNvSpPr>
            <a:spLocks noGrp="1"/>
          </p:cNvSpPr>
          <p:nvPr>
            <p:ph type="pic" sz="quarter" idx="55" hasCustomPrompt="1"/>
          </p:nvPr>
        </p:nvSpPr>
        <p:spPr>
          <a:xfrm>
            <a:off x="4357530" y="4949284"/>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6" name="Text Placeholder 15">
            <a:extLst>
              <a:ext uri="{FF2B5EF4-FFF2-40B4-BE49-F238E27FC236}">
                <a16:creationId xmlns:a16="http://schemas.microsoft.com/office/drawing/2014/main" id="{05529239-A4B5-258D-03F5-01D3ADFE8873}"/>
              </a:ext>
            </a:extLst>
          </p:cNvPr>
          <p:cNvSpPr>
            <a:spLocks noGrp="1"/>
          </p:cNvSpPr>
          <p:nvPr>
            <p:ph type="body" sz="quarter" idx="56"/>
          </p:nvPr>
        </p:nvSpPr>
        <p:spPr>
          <a:xfrm>
            <a:off x="5437958" y="4949284"/>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7" name="Picture Placeholder 9">
            <a:extLst>
              <a:ext uri="{FF2B5EF4-FFF2-40B4-BE49-F238E27FC236}">
                <a16:creationId xmlns:a16="http://schemas.microsoft.com/office/drawing/2014/main" id="{114AD459-859C-6C0F-FB75-4B02606E57BB}"/>
              </a:ext>
            </a:extLst>
          </p:cNvPr>
          <p:cNvSpPr>
            <a:spLocks noGrp="1"/>
          </p:cNvSpPr>
          <p:nvPr>
            <p:ph type="pic" sz="quarter" idx="57" hasCustomPrompt="1"/>
          </p:nvPr>
        </p:nvSpPr>
        <p:spPr>
          <a:xfrm>
            <a:off x="8199122" y="1711995"/>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68" name="Text Placeholder 15">
            <a:extLst>
              <a:ext uri="{FF2B5EF4-FFF2-40B4-BE49-F238E27FC236}">
                <a16:creationId xmlns:a16="http://schemas.microsoft.com/office/drawing/2014/main" id="{4EAF0426-CCDA-221A-38EC-BBD417EBF569}"/>
              </a:ext>
            </a:extLst>
          </p:cNvPr>
          <p:cNvSpPr>
            <a:spLocks noGrp="1"/>
          </p:cNvSpPr>
          <p:nvPr>
            <p:ph type="body" sz="quarter" idx="58"/>
          </p:nvPr>
        </p:nvSpPr>
        <p:spPr>
          <a:xfrm>
            <a:off x="9279550" y="1711995"/>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69" name="Picture Placeholder 9">
            <a:extLst>
              <a:ext uri="{FF2B5EF4-FFF2-40B4-BE49-F238E27FC236}">
                <a16:creationId xmlns:a16="http://schemas.microsoft.com/office/drawing/2014/main" id="{EF2E7661-7F3A-851E-C60B-815DA8CE2A18}"/>
              </a:ext>
            </a:extLst>
          </p:cNvPr>
          <p:cNvSpPr>
            <a:spLocks noGrp="1"/>
          </p:cNvSpPr>
          <p:nvPr>
            <p:ph type="pic" sz="quarter" idx="59" hasCustomPrompt="1"/>
          </p:nvPr>
        </p:nvSpPr>
        <p:spPr>
          <a:xfrm>
            <a:off x="8199122" y="2786398"/>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70" name="Text Placeholder 15">
            <a:extLst>
              <a:ext uri="{FF2B5EF4-FFF2-40B4-BE49-F238E27FC236}">
                <a16:creationId xmlns:a16="http://schemas.microsoft.com/office/drawing/2014/main" id="{8748A2D7-29EB-EEF8-E6A5-383DA278969D}"/>
              </a:ext>
            </a:extLst>
          </p:cNvPr>
          <p:cNvSpPr>
            <a:spLocks noGrp="1"/>
          </p:cNvSpPr>
          <p:nvPr>
            <p:ph type="body" sz="quarter" idx="60"/>
          </p:nvPr>
        </p:nvSpPr>
        <p:spPr>
          <a:xfrm>
            <a:off x="9279550" y="2791091"/>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71" name="Picture Placeholder 9">
            <a:extLst>
              <a:ext uri="{FF2B5EF4-FFF2-40B4-BE49-F238E27FC236}">
                <a16:creationId xmlns:a16="http://schemas.microsoft.com/office/drawing/2014/main" id="{E88761E4-7653-636A-0723-500AE4782BC6}"/>
              </a:ext>
            </a:extLst>
          </p:cNvPr>
          <p:cNvSpPr>
            <a:spLocks noGrp="1"/>
          </p:cNvSpPr>
          <p:nvPr>
            <p:ph type="pic" sz="quarter" idx="61" hasCustomPrompt="1"/>
          </p:nvPr>
        </p:nvSpPr>
        <p:spPr>
          <a:xfrm>
            <a:off x="8199122" y="3870187"/>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72" name="Text Placeholder 15">
            <a:extLst>
              <a:ext uri="{FF2B5EF4-FFF2-40B4-BE49-F238E27FC236}">
                <a16:creationId xmlns:a16="http://schemas.microsoft.com/office/drawing/2014/main" id="{B10E2844-BD47-9C07-357D-9EA651BBCA67}"/>
              </a:ext>
            </a:extLst>
          </p:cNvPr>
          <p:cNvSpPr>
            <a:spLocks noGrp="1"/>
          </p:cNvSpPr>
          <p:nvPr>
            <p:ph type="body" sz="quarter" idx="62"/>
          </p:nvPr>
        </p:nvSpPr>
        <p:spPr>
          <a:xfrm>
            <a:off x="9279550" y="3870187"/>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
        <p:nvSpPr>
          <p:cNvPr id="73" name="Picture Placeholder 9">
            <a:extLst>
              <a:ext uri="{FF2B5EF4-FFF2-40B4-BE49-F238E27FC236}">
                <a16:creationId xmlns:a16="http://schemas.microsoft.com/office/drawing/2014/main" id="{310F2473-00CD-C33D-50C3-3F40271F3927}"/>
              </a:ext>
            </a:extLst>
          </p:cNvPr>
          <p:cNvSpPr>
            <a:spLocks noGrp="1"/>
          </p:cNvSpPr>
          <p:nvPr>
            <p:ph type="pic" sz="quarter" idx="63" hasCustomPrompt="1"/>
          </p:nvPr>
        </p:nvSpPr>
        <p:spPr>
          <a:xfrm>
            <a:off x="8199122" y="4949284"/>
            <a:ext cx="840422" cy="840422"/>
          </a:xfrm>
          <a:prstGeom prst="ellipse">
            <a:avLst/>
          </a:prstGeom>
          <a:solidFill>
            <a:schemeClr val="bg1">
              <a:lumMod val="95000"/>
            </a:schemeClr>
          </a:solidFill>
          <a:ln>
            <a:noFill/>
          </a:ln>
        </p:spPr>
        <p:txBody>
          <a:bodyPr anchor="ctr">
            <a:noAutofit/>
          </a:bodyPr>
          <a:lstStyle>
            <a:lvl1pPr marL="0" indent="0" algn="ctr">
              <a:lnSpc>
                <a:spcPct val="90000"/>
              </a:lnSpc>
              <a:spcBef>
                <a:spcPts val="0"/>
              </a:spcBef>
              <a:spcAft>
                <a:spcPts val="0"/>
              </a:spcAft>
              <a:buNone/>
              <a:defRPr sz="900" b="0" i="0">
                <a:solidFill>
                  <a:schemeClr val="bg1">
                    <a:lumMod val="50000"/>
                  </a:schemeClr>
                </a:solidFill>
                <a:latin typeface="Arial" panose="020B0604020202020204" pitchFamily="34" charset="0"/>
                <a:cs typeface="Arial" panose="020B0604020202020204" pitchFamily="34" charset="0"/>
              </a:defRPr>
            </a:lvl1pPr>
          </a:lstStyle>
          <a:p>
            <a:r>
              <a:rPr lang="en-GB"/>
              <a:t>Click icon to add headshot</a:t>
            </a:r>
          </a:p>
        </p:txBody>
      </p:sp>
      <p:sp>
        <p:nvSpPr>
          <p:cNvPr id="74" name="Text Placeholder 15">
            <a:extLst>
              <a:ext uri="{FF2B5EF4-FFF2-40B4-BE49-F238E27FC236}">
                <a16:creationId xmlns:a16="http://schemas.microsoft.com/office/drawing/2014/main" id="{789611C4-8E98-E2CF-35EB-922860C66E00}"/>
              </a:ext>
            </a:extLst>
          </p:cNvPr>
          <p:cNvSpPr>
            <a:spLocks noGrp="1"/>
          </p:cNvSpPr>
          <p:nvPr>
            <p:ph type="body" sz="quarter" idx="64"/>
          </p:nvPr>
        </p:nvSpPr>
        <p:spPr>
          <a:xfrm>
            <a:off x="9279550" y="4949284"/>
            <a:ext cx="2396513" cy="840422"/>
          </a:xfrm>
        </p:spPr>
        <p:txBody>
          <a:bodyPr anchor="ctr">
            <a:noAutofit/>
          </a:bodyPr>
          <a:lstStyle>
            <a:lvl1pPr marL="0" indent="0">
              <a:lnSpc>
                <a:spcPct val="90000"/>
              </a:lnSpc>
              <a:spcBef>
                <a:spcPts val="0"/>
              </a:spcBef>
              <a:spcAft>
                <a:spcPts val="300"/>
              </a:spcAft>
              <a:buNone/>
              <a:defRPr sz="1200" b="0" i="0">
                <a:solidFill>
                  <a:schemeClr val="tx2"/>
                </a:solidFill>
                <a:latin typeface="Arial" panose="020B0604020202020204" pitchFamily="34" charset="0"/>
                <a:cs typeface="Arial" panose="020B0604020202020204" pitchFamily="34" charset="0"/>
              </a:defRPr>
            </a:lvl1pPr>
            <a:lvl2pPr marL="457200" indent="0">
              <a:buNone/>
              <a:defRPr sz="1100"/>
            </a:lvl2pPr>
            <a:lvl3pPr marL="914400" indent="0">
              <a:buNone/>
              <a:defRPr sz="1100"/>
            </a:lvl3pPr>
            <a:lvl4pPr marL="1371600" indent="0">
              <a:buNone/>
              <a:defRPr sz="1100"/>
            </a:lvl4pPr>
            <a:lvl5pPr marL="1828800" indent="0">
              <a:buNone/>
              <a:defRPr sz="1100"/>
            </a:lvl5pPr>
          </a:lstStyle>
          <a:p>
            <a:pPr lvl="0"/>
            <a:r>
              <a:rPr lang="en-GB"/>
              <a:t>Click to edit Master text styles</a:t>
            </a:r>
          </a:p>
        </p:txBody>
      </p:sp>
    </p:spTree>
    <p:extLst>
      <p:ext uri="{BB962C8B-B14F-4D97-AF65-F5344CB8AC3E}">
        <p14:creationId xmlns:p14="http://schemas.microsoft.com/office/powerpoint/2010/main" val="38506044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United Against Rabies Forum Meeting - 6-8 November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
        <p:nvSpPr>
          <p:cNvPr id="33" name="Text Placeholder 8">
            <a:extLst>
              <a:ext uri="{FF2B5EF4-FFF2-40B4-BE49-F238E27FC236}">
                <a16:creationId xmlns:a16="http://schemas.microsoft.com/office/drawing/2014/main" id="{81187F35-DC43-A850-FE4F-7D60E8ED7A96}"/>
              </a:ext>
            </a:extLst>
          </p:cNvPr>
          <p:cNvSpPr>
            <a:spLocks noGrp="1"/>
          </p:cNvSpPr>
          <p:nvPr>
            <p:ph type="body" idx="13"/>
          </p:nvPr>
        </p:nvSpPr>
        <p:spPr>
          <a:xfrm>
            <a:off x="531133" y="1708830"/>
            <a:ext cx="11144930" cy="4204608"/>
          </a:xfrm>
        </p:spPr>
        <p:txBody>
          <a:bodyPr numCol="2" spcCol="360000">
            <a:normAutofit/>
          </a:bodyPr>
          <a:lstStyle>
            <a:lvl1pPr marL="457200" indent="-457200">
              <a:spcBef>
                <a:spcPts val="1800"/>
              </a:spcBef>
              <a:spcAft>
                <a:spcPts val="600"/>
              </a:spcAft>
              <a:buClr>
                <a:schemeClr val="bg2"/>
              </a:buClr>
              <a:buFont typeface="+mj-lt"/>
              <a:buAutoNum type="arabicPeriod"/>
              <a:defRPr sz="2400" b="1">
                <a:solidFill>
                  <a:schemeClr val="tx2">
                    <a:lumMod val="50000"/>
                  </a:schemeClr>
                </a:solidFill>
              </a:defRPr>
            </a:lvl1pPr>
            <a:lvl2pPr>
              <a:spcAft>
                <a:spcPts val="600"/>
              </a:spcAft>
              <a:defRPr sz="2000" b="1">
                <a:solidFill>
                  <a:schemeClr val="tx2">
                    <a:lumMod val="50000"/>
                  </a:schemeClr>
                </a:solidFill>
              </a:defRPr>
            </a:lvl2pPr>
            <a:lvl3pPr>
              <a:defRPr sz="2000" b="1">
                <a:solidFill>
                  <a:schemeClr val="tx2">
                    <a:lumMod val="50000"/>
                  </a:schemeClr>
                </a:solidFill>
              </a:defRPr>
            </a:lvl3pPr>
            <a:lvl4pPr>
              <a:defRPr sz="1800" b="1">
                <a:solidFill>
                  <a:schemeClr val="tx2">
                    <a:lumMod val="50000"/>
                  </a:schemeClr>
                </a:solidFill>
              </a:defRPr>
            </a:lvl4pPr>
            <a:lvl5pPr>
              <a:defRPr sz="1800" b="1">
                <a:solidFill>
                  <a:schemeClr val="tx2">
                    <a:lumMod val="50000"/>
                  </a:schemeClr>
                </a:solidFill>
              </a:defRPr>
            </a:lvl5pPr>
          </a:lstStyle>
          <a:p>
            <a:pPr lvl="0"/>
            <a:r>
              <a:rPr lang="en-GB"/>
              <a:t>Click to edit Master text styles</a:t>
            </a:r>
          </a:p>
          <a:p>
            <a:pPr lvl="1"/>
            <a:r>
              <a:rPr lang="en-GB"/>
              <a:t>Second level</a:t>
            </a:r>
          </a:p>
        </p:txBody>
      </p:sp>
    </p:spTree>
    <p:extLst>
      <p:ext uri="{BB962C8B-B14F-4D97-AF65-F5344CB8AC3E}">
        <p14:creationId xmlns:p14="http://schemas.microsoft.com/office/powerpoint/2010/main" val="338328215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6275323"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United Against Rabies Forum Meeting - 6-8 November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6275323" cy="343847"/>
          </a:xfrm>
        </p:spPr>
        <p:txBody>
          <a:bodyPr/>
          <a:lstStyle>
            <a:lvl1pPr>
              <a:defRPr>
                <a:solidFill>
                  <a:schemeClr val="bg2"/>
                </a:solidFill>
              </a:defRPr>
            </a:lvl1pPr>
          </a:lstStyle>
          <a:p>
            <a:pPr lvl="0"/>
            <a:r>
              <a:rPr lang="en-GB"/>
              <a:t>Click to edit Master text styles</a:t>
            </a:r>
          </a:p>
        </p:txBody>
      </p:sp>
      <p:sp>
        <p:nvSpPr>
          <p:cNvPr id="33" name="Text Placeholder 8">
            <a:extLst>
              <a:ext uri="{FF2B5EF4-FFF2-40B4-BE49-F238E27FC236}">
                <a16:creationId xmlns:a16="http://schemas.microsoft.com/office/drawing/2014/main" id="{81187F35-DC43-A850-FE4F-7D60E8ED7A96}"/>
              </a:ext>
            </a:extLst>
          </p:cNvPr>
          <p:cNvSpPr>
            <a:spLocks noGrp="1"/>
          </p:cNvSpPr>
          <p:nvPr>
            <p:ph type="body" idx="13"/>
          </p:nvPr>
        </p:nvSpPr>
        <p:spPr>
          <a:xfrm>
            <a:off x="531133" y="1708830"/>
            <a:ext cx="5376371" cy="4204608"/>
          </a:xfrm>
        </p:spPr>
        <p:txBody>
          <a:bodyPr numCol="1" spcCol="360000">
            <a:normAutofit/>
          </a:bodyPr>
          <a:lstStyle>
            <a:lvl1pPr marL="457200" indent="-457200">
              <a:spcBef>
                <a:spcPts val="600"/>
              </a:spcBef>
              <a:spcAft>
                <a:spcPts val="600"/>
              </a:spcAft>
              <a:buClr>
                <a:schemeClr val="bg2"/>
              </a:buClr>
              <a:buFont typeface="+mj-lt"/>
              <a:buAutoNum type="arabicPeriod"/>
              <a:defRPr sz="2400" b="1">
                <a:solidFill>
                  <a:schemeClr val="tx2">
                    <a:lumMod val="50000"/>
                  </a:schemeClr>
                </a:solidFill>
              </a:defRPr>
            </a:lvl1pPr>
            <a:lvl2pPr>
              <a:spcAft>
                <a:spcPts val="600"/>
              </a:spcAft>
              <a:defRPr sz="2000" b="1">
                <a:solidFill>
                  <a:schemeClr val="tx2">
                    <a:lumMod val="50000"/>
                  </a:schemeClr>
                </a:solidFill>
              </a:defRPr>
            </a:lvl2pPr>
            <a:lvl3pPr>
              <a:defRPr sz="2000" b="1">
                <a:solidFill>
                  <a:schemeClr val="tx2">
                    <a:lumMod val="50000"/>
                  </a:schemeClr>
                </a:solidFill>
              </a:defRPr>
            </a:lvl3pPr>
            <a:lvl4pPr>
              <a:defRPr sz="1800" b="1">
                <a:solidFill>
                  <a:schemeClr val="tx2">
                    <a:lumMod val="50000"/>
                  </a:schemeClr>
                </a:solidFill>
              </a:defRPr>
            </a:lvl4pPr>
            <a:lvl5pPr>
              <a:defRPr sz="1800" b="1">
                <a:solidFill>
                  <a:schemeClr val="tx2">
                    <a:lumMod val="50000"/>
                  </a:schemeClr>
                </a:solidFill>
              </a:defRPr>
            </a:lvl5pPr>
          </a:lstStyle>
          <a:p>
            <a:pPr lvl="0"/>
            <a:r>
              <a:rPr lang="en-GB"/>
              <a:t>Click to edit Master text styles</a:t>
            </a:r>
          </a:p>
          <a:p>
            <a:pPr lvl="1"/>
            <a:r>
              <a:rPr lang="en-GB"/>
              <a:t>Second level</a:t>
            </a:r>
          </a:p>
        </p:txBody>
      </p:sp>
      <p:sp>
        <p:nvSpPr>
          <p:cNvPr id="11" name="Text Placeholder 8">
            <a:extLst>
              <a:ext uri="{FF2B5EF4-FFF2-40B4-BE49-F238E27FC236}">
                <a16:creationId xmlns:a16="http://schemas.microsoft.com/office/drawing/2014/main" id="{91F8B0E5-465B-1592-BFB3-5F01C3B0E690}"/>
              </a:ext>
            </a:extLst>
          </p:cNvPr>
          <p:cNvSpPr>
            <a:spLocks noGrp="1"/>
          </p:cNvSpPr>
          <p:nvPr>
            <p:ph type="body" idx="15" hasCustomPrompt="1"/>
          </p:nvPr>
        </p:nvSpPr>
        <p:spPr>
          <a:xfrm>
            <a:off x="6132637" y="1708830"/>
            <a:ext cx="664405" cy="4204608"/>
          </a:xfrm>
        </p:spPr>
        <p:txBody>
          <a:bodyPr numCol="1" spcCol="360000">
            <a:normAutofit/>
          </a:bodyPr>
          <a:lstStyle>
            <a:lvl1pPr marL="0" indent="0" algn="r">
              <a:spcBef>
                <a:spcPts val="600"/>
              </a:spcBef>
              <a:spcAft>
                <a:spcPts val="600"/>
              </a:spcAft>
              <a:buClr>
                <a:schemeClr val="bg2"/>
              </a:buClr>
              <a:buFont typeface="+mj-lt"/>
              <a:buNone/>
              <a:defRPr sz="2400" b="0">
                <a:solidFill>
                  <a:schemeClr val="tx2">
                    <a:lumMod val="50000"/>
                  </a:schemeClr>
                </a:solidFill>
              </a:defRPr>
            </a:lvl1pPr>
            <a:lvl2pPr>
              <a:spcAft>
                <a:spcPts val="600"/>
              </a:spcAft>
              <a:defRPr sz="2000" b="1">
                <a:solidFill>
                  <a:schemeClr val="tx2">
                    <a:lumMod val="50000"/>
                  </a:schemeClr>
                </a:solidFill>
              </a:defRPr>
            </a:lvl2pPr>
            <a:lvl3pPr>
              <a:defRPr sz="2000" b="1">
                <a:solidFill>
                  <a:schemeClr val="tx2">
                    <a:lumMod val="50000"/>
                  </a:schemeClr>
                </a:solidFill>
              </a:defRPr>
            </a:lvl3pPr>
            <a:lvl4pPr>
              <a:defRPr sz="1800" b="1">
                <a:solidFill>
                  <a:schemeClr val="tx2">
                    <a:lumMod val="50000"/>
                  </a:schemeClr>
                </a:solidFill>
              </a:defRPr>
            </a:lvl4pPr>
            <a:lvl5pPr>
              <a:defRPr sz="1800" b="1">
                <a:solidFill>
                  <a:schemeClr val="tx2">
                    <a:lumMod val="50000"/>
                  </a:schemeClr>
                </a:solidFill>
              </a:defRPr>
            </a:lvl5pPr>
          </a:lstStyle>
          <a:p>
            <a:pPr lvl="0"/>
            <a:r>
              <a:rPr lang="en-GB"/>
              <a:t>X</a:t>
            </a:r>
          </a:p>
          <a:p>
            <a:pPr lvl="0"/>
            <a:endParaRPr lang="en-GB"/>
          </a:p>
        </p:txBody>
      </p:sp>
      <p:sp>
        <p:nvSpPr>
          <p:cNvPr id="12" name="Picture Placeholder 2">
            <a:extLst>
              <a:ext uri="{FF2B5EF4-FFF2-40B4-BE49-F238E27FC236}">
                <a16:creationId xmlns:a16="http://schemas.microsoft.com/office/drawing/2014/main" id="{EA8C7E29-42A4-2542-6547-ACCD8C92B2B5}"/>
              </a:ext>
            </a:extLst>
          </p:cNvPr>
          <p:cNvSpPr>
            <a:spLocks noGrp="1"/>
          </p:cNvSpPr>
          <p:nvPr>
            <p:ph type="pic" sz="quarter" idx="24"/>
          </p:nvPr>
        </p:nvSpPr>
        <p:spPr>
          <a:xfrm>
            <a:off x="7368539" y="366371"/>
            <a:ext cx="4307523" cy="5530549"/>
          </a:xfrm>
          <a:prstGeom prst="roundRect">
            <a:avLst>
              <a:gd name="adj" fmla="val 3096"/>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anchor="ctr">
            <a:normAutofit/>
          </a:bodyPr>
          <a:lstStyle>
            <a:lvl1pPr algn="ctr">
              <a:defRPr sz="1400" b="0" i="0">
                <a:solidFill>
                  <a:schemeClr val="bg1">
                    <a:lumMod val="65000"/>
                  </a:schemeClr>
                </a:solidFill>
                <a:latin typeface="Arial" panose="020B0604020202020204" pitchFamily="34" charset="0"/>
                <a:cs typeface="Arial" panose="020B0604020202020204" pitchFamily="34" charset="0"/>
              </a:defRPr>
            </a:lvl1pPr>
          </a:lstStyle>
          <a:p>
            <a:r>
              <a:rPr lang="en-GB"/>
              <a:t>Click icon to add picture</a:t>
            </a:r>
          </a:p>
        </p:txBody>
      </p:sp>
    </p:spTree>
    <p:extLst>
      <p:ext uri="{BB962C8B-B14F-4D97-AF65-F5344CB8AC3E}">
        <p14:creationId xmlns:p14="http://schemas.microsoft.com/office/powerpoint/2010/main" val="7607662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United Against Rabies Forum Meeting - 6-8 November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274478926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ubtitle, text, object">
    <p:spTree>
      <p:nvGrpSpPr>
        <p:cNvPr id="1" name=""/>
        <p:cNvGrpSpPr/>
        <p:nvPr/>
      </p:nvGrpSpPr>
      <p:grpSpPr>
        <a:xfrm>
          <a:off x="0" y="0"/>
          <a:ext cx="0" cy="0"/>
          <a:chOff x="0" y="0"/>
          <a:chExt cx="0" cy="0"/>
        </a:xfrm>
      </p:grpSpPr>
      <p:sp>
        <p:nvSpPr>
          <p:cNvPr id="13" name="Rectángulo 9"/>
          <p:cNvSpPr/>
          <p:nvPr userDrawn="1"/>
        </p:nvSpPr>
        <p:spPr>
          <a:xfrm>
            <a:off x="0" y="0"/>
            <a:ext cx="12187995" cy="108000"/>
          </a:xfrm>
          <a:prstGeom prst="rect">
            <a:avLst/>
          </a:prstGeom>
          <a:gradFill rotWithShape="1">
            <a:gsLst>
              <a:gs pos="0">
                <a:srgbClr val="A50021"/>
              </a:gs>
              <a:gs pos="100000">
                <a:srgbClr val="636463"/>
              </a:gs>
            </a:gsLst>
            <a:lin ang="16200000" scaled="0"/>
          </a:gradFill>
          <a:ln w="952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srgbClr val="F3EBDD"/>
              </a:solidFill>
              <a:effectLst/>
              <a:uLnTx/>
              <a:uFillTx/>
              <a:latin typeface="Arial"/>
              <a:ea typeface="+mn-ea"/>
              <a:cs typeface="+mn-cs"/>
            </a:endParaRPr>
          </a:p>
        </p:txBody>
      </p:sp>
      <p:sp>
        <p:nvSpPr>
          <p:cNvPr id="6" name="Rectangle 2"/>
          <p:cNvSpPr>
            <a:spLocks noGrp="1" noChangeArrowheads="1"/>
          </p:cNvSpPr>
          <p:nvPr>
            <p:ph type="title" hasCustomPrompt="1"/>
          </p:nvPr>
        </p:nvSpPr>
        <p:spPr bwMode="auto">
          <a:xfrm>
            <a:off x="609600" y="274638"/>
            <a:ext cx="10972800" cy="90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defRPr>
                <a:solidFill>
                  <a:srgbClr val="A50021"/>
                </a:solidFill>
              </a:defRPr>
            </a:lvl1pPr>
          </a:lstStyle>
          <a:p>
            <a:pPr lvl="0"/>
            <a:r>
              <a:rPr lang="fr-FR"/>
              <a:t>Cliquez pour modifier le style du titre</a:t>
            </a:r>
            <a:br>
              <a:rPr lang="fr-FR"/>
            </a:br>
            <a:endParaRPr lang="fr-FR"/>
          </a:p>
        </p:txBody>
      </p:sp>
      <p:sp>
        <p:nvSpPr>
          <p:cNvPr id="8" name="Espace réservé du texte 2"/>
          <p:cNvSpPr>
            <a:spLocks noGrp="1"/>
          </p:cNvSpPr>
          <p:nvPr>
            <p:ph type="body" sz="half" idx="1"/>
          </p:nvPr>
        </p:nvSpPr>
        <p:spPr>
          <a:xfrm>
            <a:off x="609600" y="1614505"/>
            <a:ext cx="5384800" cy="4536504"/>
          </a:xfrm>
        </p:spPr>
        <p:txBody>
          <a:bodyPr/>
          <a:lstStyle>
            <a:lvl1pPr marL="342900" indent="-342900">
              <a:buClr>
                <a:srgbClr val="A50021"/>
              </a:buClr>
              <a:buFont typeface="Wingdings" pitchFamily="2" charset="2"/>
              <a:buChar char="§"/>
              <a:defRPr sz="3000">
                <a:latin typeface="Arial" pitchFamily="34" charset="0"/>
                <a:cs typeface="Arial" pitchFamily="34" charset="0"/>
              </a:defRPr>
            </a:lvl1pPr>
            <a:lvl2pPr marL="742950" indent="-285750">
              <a:buSzPct val="100000"/>
              <a:buFont typeface="Arial" pitchFamily="34" charset="0"/>
              <a:buChar char="•"/>
              <a:defRPr>
                <a:latin typeface="Arial" pitchFamily="34" charset="0"/>
                <a:cs typeface="Arial" pitchFamily="34" charset="0"/>
              </a:defRPr>
            </a:lvl2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9" name="Espace réservé du contenu 3"/>
          <p:cNvSpPr>
            <a:spLocks noGrp="1"/>
          </p:cNvSpPr>
          <p:nvPr>
            <p:ph sz="half" idx="2"/>
          </p:nvPr>
        </p:nvSpPr>
        <p:spPr>
          <a:xfrm>
            <a:off x="6197600" y="1614505"/>
            <a:ext cx="5384800" cy="4536504"/>
          </a:xfrm>
        </p:spPr>
        <p:txBody>
          <a:bodyPr/>
          <a:lstStyle>
            <a:lvl1pPr marL="0" indent="0">
              <a:buClr>
                <a:srgbClr val="A50021"/>
              </a:buClr>
              <a:buFont typeface="Wingdings" pitchFamily="2" charset="2"/>
              <a:buNone/>
              <a:defRPr sz="3000">
                <a:latin typeface="Arial" pitchFamily="34" charset="0"/>
                <a:cs typeface="Arial" pitchFamily="34" charset="0"/>
              </a:defRPr>
            </a:lvl1pPr>
            <a:lvl2pPr marL="742950" indent="-285750">
              <a:buSzPct val="100000"/>
              <a:buFont typeface="Arial" pitchFamily="34" charset="0"/>
              <a:buChar char="•"/>
              <a:defRPr>
                <a:latin typeface="Arial" pitchFamily="34" charset="0"/>
                <a:cs typeface="Arial" pitchFamily="34" charset="0"/>
              </a:defRPr>
            </a:lvl2pPr>
          </a:lstStyle>
          <a:p>
            <a:pPr lvl="0"/>
            <a:endParaRPr lang="fr-FR"/>
          </a:p>
        </p:txBody>
      </p:sp>
      <p:sp>
        <p:nvSpPr>
          <p:cNvPr id="7" name="Espace réservé du texte 4"/>
          <p:cNvSpPr>
            <a:spLocks noGrp="1"/>
          </p:cNvSpPr>
          <p:nvPr>
            <p:ph type="body" sz="quarter" idx="12" hasCustomPrompt="1"/>
          </p:nvPr>
        </p:nvSpPr>
        <p:spPr>
          <a:xfrm>
            <a:off x="624417" y="908720"/>
            <a:ext cx="10944191" cy="504056"/>
          </a:xfrm>
          <a:noFill/>
        </p:spPr>
        <p:txBody>
          <a:bodyPr/>
          <a:lstStyle>
            <a:lvl1pPr marL="0" indent="0" algn="ctr" rtl="0" eaLnBrk="0" fontAlgn="base" hangingPunct="0">
              <a:spcBef>
                <a:spcPct val="0"/>
              </a:spcBef>
              <a:spcAft>
                <a:spcPct val="0"/>
              </a:spcAft>
              <a:buNone/>
              <a:defRPr lang="fr-FR" sz="2400" b="0" i="1" kern="1200" dirty="0" smtClean="0">
                <a:solidFill>
                  <a:srgbClr val="636463"/>
                </a:solidFill>
                <a:latin typeface="Arial"/>
                <a:ea typeface="+mn-ea"/>
                <a:cs typeface="+mn-cs"/>
              </a:defRPr>
            </a:lvl1pPr>
          </a:lstStyle>
          <a:p>
            <a:pPr lvl="0"/>
            <a:r>
              <a:rPr lang="fr-FR" err="1"/>
              <a:t>Subtitle</a:t>
            </a:r>
            <a:r>
              <a:rPr lang="fr-FR"/>
              <a:t> </a:t>
            </a:r>
          </a:p>
        </p:txBody>
      </p:sp>
    </p:spTree>
    <p:extLst>
      <p:ext uri="{BB962C8B-B14F-4D97-AF65-F5344CB8AC3E}">
        <p14:creationId xmlns:p14="http://schemas.microsoft.com/office/powerpoint/2010/main" val="51786319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 Subtitle">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United Against Rabies Forum Meeting - 6-8 November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
        <p:nvSpPr>
          <p:cNvPr id="8" name="Text Placeholder 6">
            <a:extLst>
              <a:ext uri="{FF2B5EF4-FFF2-40B4-BE49-F238E27FC236}">
                <a16:creationId xmlns:a16="http://schemas.microsoft.com/office/drawing/2014/main" id="{9435620D-DE1F-DC40-82F8-A5A9DDA81D1D}"/>
              </a:ext>
            </a:extLst>
          </p:cNvPr>
          <p:cNvSpPr>
            <a:spLocks noGrp="1"/>
          </p:cNvSpPr>
          <p:nvPr>
            <p:ph type="body" sz="quarter" idx="14"/>
          </p:nvPr>
        </p:nvSpPr>
        <p:spPr>
          <a:xfrm>
            <a:off x="515938" y="961078"/>
            <a:ext cx="11154344" cy="343847"/>
          </a:xfrm>
        </p:spPr>
        <p:txBody>
          <a:bodyPr/>
          <a:lstStyle>
            <a:lvl1pPr>
              <a:defRPr>
                <a:solidFill>
                  <a:schemeClr val="bg2"/>
                </a:solidFill>
              </a:defRPr>
            </a:lvl1pPr>
          </a:lstStyle>
          <a:p>
            <a:pPr lvl="0"/>
            <a:r>
              <a:rPr lang="en-GB"/>
              <a:t>Click to edit Master text styles</a:t>
            </a:r>
          </a:p>
        </p:txBody>
      </p:sp>
    </p:spTree>
    <p:extLst>
      <p:ext uri="{BB962C8B-B14F-4D97-AF65-F5344CB8AC3E}">
        <p14:creationId xmlns:p14="http://schemas.microsoft.com/office/powerpoint/2010/main" val="376181599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6BF64A8-1A66-3E4E-A12E-9D18479792C2}"/>
              </a:ext>
            </a:extLst>
          </p:cNvPr>
          <p:cNvSpPr/>
          <p:nvPr userDrawn="1"/>
        </p:nvSpPr>
        <p:spPr>
          <a:xfrm>
            <a:off x="0" y="0"/>
            <a:ext cx="13154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lvl1pPr>
          </a:lstStyle>
          <a:p>
            <a:fld id="{AB746B08-255A-2748-8A21-40BE94A17FD1}" type="slidenum">
              <a:rPr lang="en-GB" smtClean="0">
                <a:solidFill>
                  <a:schemeClr val="tx1">
                    <a:lumMod val="50000"/>
                    <a:lumOff val="50000"/>
                  </a:schemeClr>
                </a:solidFill>
              </a:rPr>
              <a:pPr/>
              <a:t>‹#›</a:t>
            </a:fld>
            <a:endParaRPr lang="en-GB">
              <a:solidFill>
                <a:schemeClr val="tx1">
                  <a:lumMod val="50000"/>
                  <a:lumOff val="50000"/>
                </a:schemeClr>
              </a:solidFill>
            </a:endParaRPr>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lvl1pPr>
          </a:lstStyle>
          <a:p>
            <a:r>
              <a:rPr lang="en-US"/>
              <a:t>United Against Rabies Forum Meeting - 6-8 November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207411567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itle Only – Dark">
    <p:bg>
      <p:bgPr>
        <a:solidFill>
          <a:schemeClr val="tx2">
            <a:lumMod val="75000"/>
          </a:schemeClr>
        </a:solidFill>
        <a:effectLst/>
      </p:bgPr>
    </p:bg>
    <p:spTree>
      <p:nvGrpSpPr>
        <p:cNvPr id="1" name=""/>
        <p:cNvGrpSpPr/>
        <p:nvPr/>
      </p:nvGrpSpPr>
      <p:grpSpPr>
        <a:xfrm>
          <a:off x="0" y="0"/>
          <a:ext cx="0" cy="0"/>
          <a:chOff x="0" y="0"/>
          <a:chExt cx="0" cy="0"/>
        </a:xfrm>
      </p:grpSpPr>
      <p:sp>
        <p:nvSpPr>
          <p:cNvPr id="10" name="Title Placeholder 1">
            <a:extLst>
              <a:ext uri="{FF2B5EF4-FFF2-40B4-BE49-F238E27FC236}">
                <a16:creationId xmlns:a16="http://schemas.microsoft.com/office/drawing/2014/main" id="{B948F206-DEEB-5B40-8BA7-143941F2CA07}"/>
              </a:ext>
            </a:extLst>
          </p:cNvPr>
          <p:cNvSpPr>
            <a:spLocks noGrp="1"/>
          </p:cNvSpPr>
          <p:nvPr>
            <p:ph type="title"/>
          </p:nvPr>
        </p:nvSpPr>
        <p:spPr>
          <a:xfrm>
            <a:off x="521719" y="368300"/>
            <a:ext cx="11154344" cy="592778"/>
          </a:xfrm>
          <a:prstGeom prst="rect">
            <a:avLst/>
          </a:prstGeom>
        </p:spPr>
        <p:txBody>
          <a:bodyPr vert="horz" lIns="0" tIns="0" rIns="0" bIns="0" rtlCol="0" anchor="t">
            <a:normAutofit/>
          </a:bodyPr>
          <a:lstStyle>
            <a:lvl1pPr>
              <a:defRPr>
                <a:solidFill>
                  <a:schemeClr val="bg1"/>
                </a:solidFill>
              </a:defRPr>
            </a:lvl1pPr>
          </a:lstStyle>
          <a:p>
            <a:r>
              <a:rPr lang="en-GB"/>
              <a:t>Click to edit Master title style</a:t>
            </a:r>
          </a:p>
        </p:txBody>
      </p:sp>
      <p:sp>
        <p:nvSpPr>
          <p:cNvPr id="13" name="Slide Number Placeholder 2">
            <a:extLst>
              <a:ext uri="{FF2B5EF4-FFF2-40B4-BE49-F238E27FC236}">
                <a16:creationId xmlns:a16="http://schemas.microsoft.com/office/drawing/2014/main" id="{88796DB6-82EE-924E-8976-7DE150CB275E}"/>
              </a:ext>
            </a:extLst>
          </p:cNvPr>
          <p:cNvSpPr>
            <a:spLocks noGrp="1"/>
          </p:cNvSpPr>
          <p:nvPr>
            <p:ph type="sldNum" sz="quarter" idx="12"/>
          </p:nvPr>
        </p:nvSpPr>
        <p:spPr>
          <a:xfrm>
            <a:off x="515937" y="6353142"/>
            <a:ext cx="261630" cy="136526"/>
          </a:xfrm>
          <a:prstGeom prst="rect">
            <a:avLst/>
          </a:prstGeom>
        </p:spPr>
        <p:txBody>
          <a:bodyPr anchor="b"/>
          <a:lstStyle>
            <a:lvl1pPr>
              <a:defRPr sz="800">
                <a:solidFill>
                  <a:schemeClr val="bg1">
                    <a:lumMod val="85000"/>
                  </a:schemeClr>
                </a:solidFill>
              </a:defRPr>
            </a:lvl1pPr>
          </a:lstStyle>
          <a:p>
            <a:fld id="{AB746B08-255A-2748-8A21-40BE94A17FD1}" type="slidenum">
              <a:rPr lang="en-GB" smtClean="0"/>
              <a:pPr/>
              <a:t>‹#›</a:t>
            </a:fld>
            <a:endParaRPr lang="en-GB"/>
          </a:p>
        </p:txBody>
      </p:sp>
      <p:cxnSp>
        <p:nvCxnSpPr>
          <p:cNvPr id="14" name="Straight Connector 13">
            <a:extLst>
              <a:ext uri="{FF2B5EF4-FFF2-40B4-BE49-F238E27FC236}">
                <a16:creationId xmlns:a16="http://schemas.microsoft.com/office/drawing/2014/main" id="{979063F7-9F88-FC43-9097-EF2C6F300361}"/>
              </a:ext>
            </a:extLst>
          </p:cNvPr>
          <p:cNvCxnSpPr>
            <a:cxnSpLocks/>
          </p:cNvCxnSpPr>
          <p:nvPr userDrawn="1"/>
        </p:nvCxnSpPr>
        <p:spPr>
          <a:xfrm>
            <a:off x="515937" y="6293461"/>
            <a:ext cx="1001979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5" name="Footer Placeholder 1">
            <a:extLst>
              <a:ext uri="{FF2B5EF4-FFF2-40B4-BE49-F238E27FC236}">
                <a16:creationId xmlns:a16="http://schemas.microsoft.com/office/drawing/2014/main" id="{281141B5-1A99-0843-88B3-4F5177BD849F}"/>
              </a:ext>
            </a:extLst>
          </p:cNvPr>
          <p:cNvSpPr>
            <a:spLocks noGrp="1"/>
          </p:cNvSpPr>
          <p:nvPr>
            <p:ph type="ftr" sz="quarter" idx="11"/>
          </p:nvPr>
        </p:nvSpPr>
        <p:spPr>
          <a:xfrm>
            <a:off x="777567" y="6353142"/>
            <a:ext cx="4114800" cy="136526"/>
          </a:xfrm>
          <a:prstGeom prst="rect">
            <a:avLst/>
          </a:prstGeom>
        </p:spPr>
        <p:txBody>
          <a:bodyPr anchor="b"/>
          <a:lstStyle>
            <a:lvl1pPr>
              <a:defRPr sz="800">
                <a:solidFill>
                  <a:schemeClr val="bg1">
                    <a:lumMod val="85000"/>
                  </a:schemeClr>
                </a:solidFill>
              </a:defRPr>
            </a:lvl1pPr>
          </a:lstStyle>
          <a:p>
            <a:r>
              <a:rPr lang="en-US"/>
              <a:t>United Against Rabies Forum Meeting - 6-8 November 2023</a:t>
            </a:r>
            <a:endParaRPr lang="en-GB"/>
          </a:p>
        </p:txBody>
      </p:sp>
      <p:pic>
        <p:nvPicPr>
          <p:cNvPr id="16" name="Picture 11">
            <a:extLst>
              <a:ext uri="{FF2B5EF4-FFF2-40B4-BE49-F238E27FC236}">
                <a16:creationId xmlns:a16="http://schemas.microsoft.com/office/drawing/2014/main" id="{508725E1-F5D8-1549-93C5-514E8AE5939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10633506" y="6109976"/>
            <a:ext cx="1036776" cy="381653"/>
          </a:xfrm>
          <a:prstGeom prst="rect">
            <a:avLst/>
          </a:prstGeom>
        </p:spPr>
      </p:pic>
    </p:spTree>
    <p:extLst>
      <p:ext uri="{BB962C8B-B14F-4D97-AF65-F5344CB8AC3E}">
        <p14:creationId xmlns:p14="http://schemas.microsoft.com/office/powerpoint/2010/main" val="3012170818"/>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Large Key Stat">
    <p:bg>
      <p:bgPr>
        <a:blipFill dpi="0" rotWithShape="1">
          <a:blip r:embed="rId2">
            <a:lum/>
            <a:extLst>
              <a:ext uri="{28A0092B-C50C-407E-A947-70E740481C1C}">
                <a14:useLocalDpi xmlns:a14="http://schemas.microsoft.com/office/drawing/2010/main"/>
              </a:ext>
            </a:extLst>
          </a:blip>
          <a:srcRect/>
          <a:stretch>
            <a:fillRect t="-3000" b="-3000"/>
          </a:stretch>
        </a:blip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9290FAF2-2869-2B9B-5880-4EE57045BC4F}"/>
              </a:ext>
            </a:extLst>
          </p:cNvPr>
          <p:cNvSpPr>
            <a:spLocks noGrp="1"/>
          </p:cNvSpPr>
          <p:nvPr>
            <p:ph type="title" hasCustomPrompt="1"/>
          </p:nvPr>
        </p:nvSpPr>
        <p:spPr>
          <a:xfrm>
            <a:off x="518828" y="1249683"/>
            <a:ext cx="11208352" cy="2690816"/>
          </a:xfrm>
          <a:prstGeom prst="rect">
            <a:avLst/>
          </a:prstGeom>
        </p:spPr>
        <p:txBody>
          <a:bodyPr vert="horz" lIns="0" tIns="0" rIns="0" bIns="0" rtlCol="0" anchor="b">
            <a:noAutofit/>
          </a:bodyPr>
          <a:lstStyle>
            <a:lvl1pPr>
              <a:defRPr sz="11500">
                <a:solidFill>
                  <a:schemeClr val="bg1"/>
                </a:solidFill>
              </a:defRPr>
            </a:lvl1pPr>
          </a:lstStyle>
          <a:p>
            <a:r>
              <a:rPr lang="en-GB"/>
              <a:t>XXXXXX</a:t>
            </a:r>
          </a:p>
        </p:txBody>
      </p:sp>
      <p:sp>
        <p:nvSpPr>
          <p:cNvPr id="8" name="Slide Number Placeholder 2">
            <a:extLst>
              <a:ext uri="{FF2B5EF4-FFF2-40B4-BE49-F238E27FC236}">
                <a16:creationId xmlns:a16="http://schemas.microsoft.com/office/drawing/2014/main" id="{0F9BA01A-4636-2441-F8D0-2E265BF7D8B4}"/>
              </a:ext>
            </a:extLst>
          </p:cNvPr>
          <p:cNvSpPr>
            <a:spLocks noGrp="1"/>
          </p:cNvSpPr>
          <p:nvPr>
            <p:ph type="sldNum" sz="quarter" idx="12"/>
          </p:nvPr>
        </p:nvSpPr>
        <p:spPr>
          <a:xfrm>
            <a:off x="515937" y="6353142"/>
            <a:ext cx="261630" cy="136526"/>
          </a:xfrm>
          <a:prstGeom prst="rect">
            <a:avLst/>
          </a:prstGeom>
        </p:spPr>
        <p:txBody>
          <a:bodyPr anchor="b"/>
          <a:lstStyle>
            <a:lvl1pPr>
              <a:defRPr sz="800">
                <a:solidFill>
                  <a:schemeClr val="bg1">
                    <a:lumMod val="85000"/>
                  </a:schemeClr>
                </a:solidFill>
              </a:defRPr>
            </a:lvl1pPr>
          </a:lstStyle>
          <a:p>
            <a:fld id="{AB746B08-255A-2748-8A21-40BE94A17FD1}" type="slidenum">
              <a:rPr lang="en-GB" smtClean="0"/>
              <a:pPr/>
              <a:t>‹#›</a:t>
            </a:fld>
            <a:endParaRPr lang="en-GB"/>
          </a:p>
        </p:txBody>
      </p:sp>
      <p:cxnSp>
        <p:nvCxnSpPr>
          <p:cNvPr id="12" name="Straight Connector 11">
            <a:extLst>
              <a:ext uri="{FF2B5EF4-FFF2-40B4-BE49-F238E27FC236}">
                <a16:creationId xmlns:a16="http://schemas.microsoft.com/office/drawing/2014/main" id="{AC751308-8682-E296-A343-1719555B3C95}"/>
              </a:ext>
            </a:extLst>
          </p:cNvPr>
          <p:cNvCxnSpPr>
            <a:cxnSpLocks/>
          </p:cNvCxnSpPr>
          <p:nvPr userDrawn="1"/>
        </p:nvCxnSpPr>
        <p:spPr>
          <a:xfrm>
            <a:off x="515937" y="6293461"/>
            <a:ext cx="10019791"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3" name="Footer Placeholder 1">
            <a:extLst>
              <a:ext uri="{FF2B5EF4-FFF2-40B4-BE49-F238E27FC236}">
                <a16:creationId xmlns:a16="http://schemas.microsoft.com/office/drawing/2014/main" id="{A1AFB23D-B299-93C8-2304-575B5ED93621}"/>
              </a:ext>
            </a:extLst>
          </p:cNvPr>
          <p:cNvSpPr>
            <a:spLocks noGrp="1"/>
          </p:cNvSpPr>
          <p:nvPr>
            <p:ph type="ftr" sz="quarter" idx="11"/>
          </p:nvPr>
        </p:nvSpPr>
        <p:spPr>
          <a:xfrm>
            <a:off x="777567" y="6353142"/>
            <a:ext cx="4114800" cy="136526"/>
          </a:xfrm>
          <a:prstGeom prst="rect">
            <a:avLst/>
          </a:prstGeom>
        </p:spPr>
        <p:txBody>
          <a:bodyPr anchor="b"/>
          <a:lstStyle>
            <a:lvl1pPr>
              <a:defRPr sz="800">
                <a:solidFill>
                  <a:schemeClr val="bg1">
                    <a:lumMod val="85000"/>
                  </a:schemeClr>
                </a:solidFill>
              </a:defRPr>
            </a:lvl1pPr>
          </a:lstStyle>
          <a:p>
            <a:r>
              <a:rPr lang="en-US"/>
              <a:t>United Against Rabies Forum Meeting - 6-8 November 2023</a:t>
            </a:r>
            <a:endParaRPr lang="en-GB"/>
          </a:p>
        </p:txBody>
      </p:sp>
      <p:pic>
        <p:nvPicPr>
          <p:cNvPr id="15" name="Picture 11">
            <a:extLst>
              <a:ext uri="{FF2B5EF4-FFF2-40B4-BE49-F238E27FC236}">
                <a16:creationId xmlns:a16="http://schemas.microsoft.com/office/drawing/2014/main" id="{A4BBC3E9-F3A2-C188-5A3A-9D714331C860}"/>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10633506" y="6109976"/>
            <a:ext cx="1036776" cy="381653"/>
          </a:xfrm>
          <a:prstGeom prst="rect">
            <a:avLst/>
          </a:prstGeom>
        </p:spPr>
      </p:pic>
      <p:sp>
        <p:nvSpPr>
          <p:cNvPr id="16" name="Text Placeholder 6">
            <a:extLst>
              <a:ext uri="{FF2B5EF4-FFF2-40B4-BE49-F238E27FC236}">
                <a16:creationId xmlns:a16="http://schemas.microsoft.com/office/drawing/2014/main" id="{64AB32E5-85C1-B8E6-505F-2580C9B2E9EE}"/>
              </a:ext>
            </a:extLst>
          </p:cNvPr>
          <p:cNvSpPr>
            <a:spLocks noGrp="1"/>
          </p:cNvSpPr>
          <p:nvPr>
            <p:ph type="body" sz="quarter" idx="16"/>
          </p:nvPr>
        </p:nvSpPr>
        <p:spPr>
          <a:xfrm>
            <a:off x="515936" y="4053840"/>
            <a:ext cx="6364924" cy="1668779"/>
          </a:xfrm>
        </p:spPr>
        <p:txBody>
          <a:bodyPr>
            <a:noAutofit/>
          </a:bodyPr>
          <a:lstStyle>
            <a:lvl1pPr>
              <a:defRPr sz="2400" b="1">
                <a:solidFill>
                  <a:schemeClr val="bg1"/>
                </a:solidFill>
              </a:defRPr>
            </a:lvl1pPr>
          </a:lstStyle>
          <a:p>
            <a:pPr lvl="0"/>
            <a:r>
              <a:rPr lang="en-GB"/>
              <a:t>Click to edit Master text styles</a:t>
            </a:r>
          </a:p>
        </p:txBody>
      </p:sp>
    </p:spTree>
    <p:extLst>
      <p:ext uri="{BB962C8B-B14F-4D97-AF65-F5344CB8AC3E}">
        <p14:creationId xmlns:p14="http://schemas.microsoft.com/office/powerpoint/2010/main" val="297900312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over_Blue">
    <p:spTree>
      <p:nvGrpSpPr>
        <p:cNvPr id="1" name=""/>
        <p:cNvGrpSpPr/>
        <p:nvPr/>
      </p:nvGrpSpPr>
      <p:grpSpPr>
        <a:xfrm>
          <a:off x="0" y="0"/>
          <a:ext cx="0" cy="0"/>
          <a:chOff x="0" y="0"/>
          <a:chExt cx="0" cy="0"/>
        </a:xfrm>
      </p:grpSpPr>
      <p:pic>
        <p:nvPicPr>
          <p:cNvPr id="17" name="Imag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5161280"/>
          </a:xfrm>
          <a:prstGeom prst="rect">
            <a:avLst/>
          </a:prstGeom>
        </p:spPr>
      </p:pic>
      <p:pic>
        <p:nvPicPr>
          <p:cNvPr id="13" name="Image 12" descr="Bas_couv.png"/>
          <p:cNvPicPr>
            <a:picLocks noChangeAspect="1"/>
          </p:cNvPicPr>
          <p:nvPr userDrawn="1"/>
        </p:nvPicPr>
        <p:blipFill>
          <a:blip r:embed="rId3" cstate="print"/>
          <a:srcRect r="60243" b="722"/>
          <a:stretch>
            <a:fillRect/>
          </a:stretch>
        </p:blipFill>
        <p:spPr bwMode="gray">
          <a:xfrm>
            <a:off x="251520" y="5213040"/>
            <a:ext cx="3416493" cy="1584000"/>
          </a:xfrm>
          <a:prstGeom prst="rect">
            <a:avLst/>
          </a:prstGeom>
        </p:spPr>
      </p:pic>
      <p:sp>
        <p:nvSpPr>
          <p:cNvPr id="22" name="Rectangle 21"/>
          <p:cNvSpPr/>
          <p:nvPr userDrawn="1"/>
        </p:nvSpPr>
        <p:spPr bwMode="gray">
          <a:xfrm>
            <a:off x="4847169" y="5265205"/>
            <a:ext cx="7344833" cy="15927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sp>
        <p:nvSpPr>
          <p:cNvPr id="9" name="Espace réservé du texte 8"/>
          <p:cNvSpPr>
            <a:spLocks noGrp="1"/>
          </p:cNvSpPr>
          <p:nvPr>
            <p:ph type="body" sz="quarter" idx="13" hasCustomPrompt="1"/>
          </p:nvPr>
        </p:nvSpPr>
        <p:spPr bwMode="gray">
          <a:xfrm>
            <a:off x="672000" y="974400"/>
            <a:ext cx="6384000" cy="2232000"/>
          </a:xfrm>
        </p:spPr>
        <p:txBody>
          <a:bodyPr anchor="b" anchorCtr="0"/>
          <a:lstStyle>
            <a:lvl1pPr marL="0" indent="0" algn="l">
              <a:lnSpc>
                <a:spcPct val="90000"/>
              </a:lnSpc>
              <a:buNone/>
              <a:defRPr sz="3733" b="1" cap="none" baseline="0">
                <a:solidFill>
                  <a:schemeClr val="bg1"/>
                </a:solidFill>
              </a:defRPr>
            </a:lvl1pPr>
            <a:lvl2pPr marL="0" algn="ctr">
              <a:lnSpc>
                <a:spcPct val="100000"/>
              </a:lnSpc>
              <a:spcBef>
                <a:spcPts val="9200"/>
              </a:spcBef>
              <a:defRPr sz="2667" b="1">
                <a:solidFill>
                  <a:schemeClr val="bg1"/>
                </a:solidFill>
              </a:defRPr>
            </a:lvl2pPr>
          </a:lstStyle>
          <a:p>
            <a:pPr lvl="0"/>
            <a:r>
              <a:rPr lang="en-GB" noProof="0"/>
              <a:t>TITLE</a:t>
            </a:r>
          </a:p>
        </p:txBody>
      </p:sp>
      <p:sp>
        <p:nvSpPr>
          <p:cNvPr id="8" name="Espace réservé du texte 8"/>
          <p:cNvSpPr>
            <a:spLocks noGrp="1"/>
          </p:cNvSpPr>
          <p:nvPr>
            <p:ph type="body" sz="quarter" idx="14" hasCustomPrompt="1"/>
          </p:nvPr>
        </p:nvSpPr>
        <p:spPr bwMode="gray">
          <a:xfrm>
            <a:off x="672000" y="3585600"/>
            <a:ext cx="6384000" cy="1478400"/>
          </a:xfrm>
        </p:spPr>
        <p:txBody>
          <a:bodyPr anchor="t" anchorCtr="0"/>
          <a:lstStyle>
            <a:lvl1pPr marL="0" indent="0" algn="l">
              <a:lnSpc>
                <a:spcPct val="90000"/>
              </a:lnSpc>
              <a:buNone/>
              <a:defRPr sz="2667" b="0" baseline="0">
                <a:solidFill>
                  <a:schemeClr val="bg1"/>
                </a:solidFill>
              </a:defRPr>
            </a:lvl1pPr>
            <a:lvl2pPr marL="0" algn="ctr">
              <a:lnSpc>
                <a:spcPct val="100000"/>
              </a:lnSpc>
              <a:spcBef>
                <a:spcPts val="9200"/>
              </a:spcBef>
              <a:defRPr sz="2667" b="1">
                <a:solidFill>
                  <a:schemeClr val="bg1"/>
                </a:solidFill>
              </a:defRPr>
            </a:lvl2pPr>
          </a:lstStyle>
          <a:p>
            <a:pPr lvl="0"/>
            <a:r>
              <a:rPr lang="en-GB" noProof="0"/>
              <a:t>SUBTITLE</a:t>
            </a:r>
          </a:p>
        </p:txBody>
      </p:sp>
      <p:sp>
        <p:nvSpPr>
          <p:cNvPr id="11" name="Espace réservé du numéro de diapositive 10"/>
          <p:cNvSpPr>
            <a:spLocks noGrp="1"/>
          </p:cNvSpPr>
          <p:nvPr>
            <p:ph type="sldNum" sz="quarter" idx="16"/>
          </p:nvPr>
        </p:nvSpPr>
        <p:spPr bwMode="gray">
          <a:xfrm>
            <a:off x="672000" y="6327933"/>
            <a:ext cx="1200149" cy="530067"/>
          </a:xfrm>
          <a:prstGeom prst="rect">
            <a:avLst/>
          </a:prstGeom>
        </p:spPr>
        <p:txBody>
          <a:bodyPr/>
          <a:lstStyle>
            <a:lvl1pPr>
              <a:defRPr sz="133">
                <a:solidFill>
                  <a:schemeClr val="bg1">
                    <a:alpha val="0"/>
                  </a:schemeClr>
                </a:solidFill>
              </a:defRPr>
            </a:lvl1pPr>
          </a:lstStyle>
          <a:p>
            <a:pPr algn="l"/>
            <a:r>
              <a:rPr lang="en-GB" noProof="0"/>
              <a:t>Page: </a:t>
            </a:r>
            <a:fld id="{733122C9-A0B9-462F-8757-0847AD287B63}" type="slidenum">
              <a:rPr lang="en-GB" noProof="0" smtClean="0"/>
              <a:pPr algn="l"/>
              <a:t>‹#›</a:t>
            </a:fld>
            <a:endParaRPr lang="en-GB" noProof="0"/>
          </a:p>
        </p:txBody>
      </p:sp>
      <p:sp>
        <p:nvSpPr>
          <p:cNvPr id="15" name="Espace réservé du texte 14"/>
          <p:cNvSpPr>
            <a:spLocks noGrp="1"/>
          </p:cNvSpPr>
          <p:nvPr>
            <p:ph type="body" sz="quarter" idx="19" hasCustomPrompt="1"/>
          </p:nvPr>
        </p:nvSpPr>
        <p:spPr bwMode="gray">
          <a:xfrm>
            <a:off x="5592000" y="5899200"/>
            <a:ext cx="5884800" cy="326400"/>
          </a:xfrm>
        </p:spPr>
        <p:txBody>
          <a:bodyPr anchor="b" anchorCtr="0"/>
          <a:lstStyle>
            <a:lvl1pPr algn="r">
              <a:lnSpc>
                <a:spcPct val="100000"/>
              </a:lnSpc>
              <a:defRPr sz="1200" b="1">
                <a:solidFill>
                  <a:schemeClr val="accent2"/>
                </a:solidFill>
              </a:defRPr>
            </a:lvl1pPr>
          </a:lstStyle>
          <a:p>
            <a:r>
              <a:rPr lang="fr-FR" err="1"/>
              <a:t>Reach</a:t>
            </a:r>
            <a:r>
              <a:rPr lang="fr-FR"/>
              <a:t> </a:t>
            </a:r>
            <a:r>
              <a:rPr lang="fr-FR" err="1"/>
              <a:t>every</a:t>
            </a:r>
            <a:r>
              <a:rPr lang="fr-FR"/>
              <a:t> </a:t>
            </a:r>
            <a:r>
              <a:rPr lang="fr-FR" err="1"/>
              <a:t>child</a:t>
            </a:r>
            <a:endParaRPr lang="fr-FR"/>
          </a:p>
        </p:txBody>
      </p:sp>
      <p:sp>
        <p:nvSpPr>
          <p:cNvPr id="16" name="Rectangle 15"/>
          <p:cNvSpPr/>
          <p:nvPr userDrawn="1"/>
        </p:nvSpPr>
        <p:spPr bwMode="gray">
          <a:xfrm>
            <a:off x="5592000" y="6283200"/>
            <a:ext cx="5884800" cy="28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r>
              <a:rPr lang="en-GB" sz="1200" noProof="0">
                <a:solidFill>
                  <a:schemeClr val="accent3"/>
                </a:solidFill>
              </a:rPr>
              <a:t>www.gavi.org</a:t>
            </a:r>
          </a:p>
        </p:txBody>
      </p:sp>
      <p:sp>
        <p:nvSpPr>
          <p:cNvPr id="18" name="Rectangle 17"/>
          <p:cNvSpPr/>
          <p:nvPr userDrawn="1"/>
        </p:nvSpPr>
        <p:spPr bwMode="gray">
          <a:xfrm>
            <a:off x="672000" y="3391895"/>
            <a:ext cx="2337600" cy="25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spTree>
    <p:extLst>
      <p:ext uri="{BB962C8B-B14F-4D97-AF65-F5344CB8AC3E}">
        <p14:creationId xmlns:p14="http://schemas.microsoft.com/office/powerpoint/2010/main" val="213270183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over_Picture_2">
    <p:spTree>
      <p:nvGrpSpPr>
        <p:cNvPr id="1" name=""/>
        <p:cNvGrpSpPr/>
        <p:nvPr/>
      </p:nvGrpSpPr>
      <p:grpSpPr>
        <a:xfrm>
          <a:off x="0" y="0"/>
          <a:ext cx="0" cy="0"/>
          <a:chOff x="0" y="0"/>
          <a:chExt cx="0" cy="0"/>
        </a:xfrm>
      </p:grpSpPr>
      <p:pic>
        <p:nvPicPr>
          <p:cNvPr id="24" name="Image 2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5161280"/>
          </a:xfrm>
          <a:prstGeom prst="rect">
            <a:avLst/>
          </a:prstGeom>
        </p:spPr>
      </p:pic>
      <p:pic>
        <p:nvPicPr>
          <p:cNvPr id="23" name="Image 22" descr="Bas_couv.png"/>
          <p:cNvPicPr>
            <a:picLocks noChangeAspect="1"/>
          </p:cNvPicPr>
          <p:nvPr userDrawn="1"/>
        </p:nvPicPr>
        <p:blipFill>
          <a:blip r:embed="rId3" cstate="print"/>
          <a:srcRect r="60243" b="722"/>
          <a:stretch>
            <a:fillRect/>
          </a:stretch>
        </p:blipFill>
        <p:spPr bwMode="gray">
          <a:xfrm>
            <a:off x="251520" y="5213040"/>
            <a:ext cx="3416493" cy="1584000"/>
          </a:xfrm>
          <a:prstGeom prst="rect">
            <a:avLst/>
          </a:prstGeom>
        </p:spPr>
      </p:pic>
      <p:sp>
        <p:nvSpPr>
          <p:cNvPr id="22" name="Rectangle 21"/>
          <p:cNvSpPr/>
          <p:nvPr userDrawn="1"/>
        </p:nvSpPr>
        <p:spPr bwMode="gray">
          <a:xfrm>
            <a:off x="4847169" y="5265205"/>
            <a:ext cx="7344833" cy="15927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sp>
        <p:nvSpPr>
          <p:cNvPr id="9" name="Espace réservé du texte 8"/>
          <p:cNvSpPr>
            <a:spLocks noGrp="1"/>
          </p:cNvSpPr>
          <p:nvPr>
            <p:ph type="body" sz="quarter" idx="13" hasCustomPrompt="1"/>
          </p:nvPr>
        </p:nvSpPr>
        <p:spPr bwMode="gray">
          <a:xfrm>
            <a:off x="672000" y="974400"/>
            <a:ext cx="6384000" cy="2232000"/>
          </a:xfrm>
        </p:spPr>
        <p:txBody>
          <a:bodyPr anchor="b" anchorCtr="0"/>
          <a:lstStyle>
            <a:lvl1pPr marL="0" indent="0" algn="l">
              <a:lnSpc>
                <a:spcPct val="90000"/>
              </a:lnSpc>
              <a:buNone/>
              <a:defRPr sz="3733" b="1" cap="none" baseline="0">
                <a:solidFill>
                  <a:schemeClr val="bg1"/>
                </a:solidFill>
              </a:defRPr>
            </a:lvl1pPr>
            <a:lvl2pPr marL="0" algn="ctr">
              <a:lnSpc>
                <a:spcPct val="100000"/>
              </a:lnSpc>
              <a:spcBef>
                <a:spcPts val="9200"/>
              </a:spcBef>
              <a:defRPr sz="2667" b="1">
                <a:solidFill>
                  <a:schemeClr val="bg1"/>
                </a:solidFill>
              </a:defRPr>
            </a:lvl2pPr>
          </a:lstStyle>
          <a:p>
            <a:pPr lvl="0"/>
            <a:r>
              <a:rPr lang="en-GB" noProof="0"/>
              <a:t>TITLE</a:t>
            </a:r>
          </a:p>
        </p:txBody>
      </p:sp>
      <p:sp>
        <p:nvSpPr>
          <p:cNvPr id="8" name="Espace réservé du texte 8"/>
          <p:cNvSpPr>
            <a:spLocks noGrp="1"/>
          </p:cNvSpPr>
          <p:nvPr>
            <p:ph type="body" sz="quarter" idx="14" hasCustomPrompt="1"/>
          </p:nvPr>
        </p:nvSpPr>
        <p:spPr bwMode="gray">
          <a:xfrm>
            <a:off x="672000" y="3585600"/>
            <a:ext cx="6384000" cy="1479600"/>
          </a:xfrm>
        </p:spPr>
        <p:txBody>
          <a:bodyPr anchor="t" anchorCtr="0"/>
          <a:lstStyle>
            <a:lvl1pPr marL="0" indent="0" algn="l">
              <a:lnSpc>
                <a:spcPct val="90000"/>
              </a:lnSpc>
              <a:buNone/>
              <a:defRPr sz="2667" b="0" baseline="0">
                <a:solidFill>
                  <a:schemeClr val="bg1"/>
                </a:solidFill>
              </a:defRPr>
            </a:lvl1pPr>
            <a:lvl2pPr marL="0" algn="ctr">
              <a:lnSpc>
                <a:spcPct val="100000"/>
              </a:lnSpc>
              <a:spcBef>
                <a:spcPts val="9200"/>
              </a:spcBef>
              <a:defRPr sz="2667" b="1">
                <a:solidFill>
                  <a:schemeClr val="bg1"/>
                </a:solidFill>
              </a:defRPr>
            </a:lvl2pPr>
          </a:lstStyle>
          <a:p>
            <a:pPr lvl="0"/>
            <a:r>
              <a:rPr lang="en-GB" noProof="0"/>
              <a:t>SUBTITLE</a:t>
            </a:r>
          </a:p>
        </p:txBody>
      </p:sp>
      <p:sp>
        <p:nvSpPr>
          <p:cNvPr id="11" name="Espace réservé du numéro de diapositive 10"/>
          <p:cNvSpPr>
            <a:spLocks noGrp="1"/>
          </p:cNvSpPr>
          <p:nvPr>
            <p:ph type="sldNum" sz="quarter" idx="16"/>
          </p:nvPr>
        </p:nvSpPr>
        <p:spPr bwMode="gray">
          <a:xfrm>
            <a:off x="672000" y="6327933"/>
            <a:ext cx="1200149" cy="530067"/>
          </a:xfrm>
          <a:prstGeom prst="rect">
            <a:avLst/>
          </a:prstGeom>
        </p:spPr>
        <p:txBody>
          <a:bodyPr/>
          <a:lstStyle>
            <a:lvl1pPr>
              <a:defRPr sz="133">
                <a:solidFill>
                  <a:schemeClr val="bg1">
                    <a:alpha val="0"/>
                  </a:schemeClr>
                </a:solidFill>
              </a:defRPr>
            </a:lvl1pPr>
          </a:lstStyle>
          <a:p>
            <a:pPr algn="l"/>
            <a:r>
              <a:rPr lang="en-GB" noProof="0"/>
              <a:t>Page: </a:t>
            </a:r>
            <a:fld id="{733122C9-A0B9-462F-8757-0847AD287B63}" type="slidenum">
              <a:rPr lang="en-GB" noProof="0" smtClean="0"/>
              <a:pPr algn="l"/>
              <a:t>‹#›</a:t>
            </a:fld>
            <a:endParaRPr lang="en-GB" noProof="0"/>
          </a:p>
        </p:txBody>
      </p:sp>
      <p:sp>
        <p:nvSpPr>
          <p:cNvPr id="15" name="Espace réservé du texte 14"/>
          <p:cNvSpPr>
            <a:spLocks noGrp="1"/>
          </p:cNvSpPr>
          <p:nvPr>
            <p:ph type="body" sz="quarter" idx="19" hasCustomPrompt="1"/>
          </p:nvPr>
        </p:nvSpPr>
        <p:spPr bwMode="gray">
          <a:xfrm>
            <a:off x="5592000" y="5899200"/>
            <a:ext cx="5884800" cy="324000"/>
          </a:xfrm>
        </p:spPr>
        <p:txBody>
          <a:bodyPr anchor="b" anchorCtr="0"/>
          <a:lstStyle>
            <a:lvl1pPr algn="r">
              <a:lnSpc>
                <a:spcPct val="100000"/>
              </a:lnSpc>
              <a:defRPr sz="1200" b="1">
                <a:solidFill>
                  <a:schemeClr val="accent2"/>
                </a:solidFill>
              </a:defRPr>
            </a:lvl1pPr>
          </a:lstStyle>
          <a:p>
            <a:r>
              <a:rPr lang="fr-FR" err="1"/>
              <a:t>Reach</a:t>
            </a:r>
            <a:r>
              <a:rPr lang="fr-FR"/>
              <a:t> </a:t>
            </a:r>
            <a:r>
              <a:rPr lang="fr-FR" err="1"/>
              <a:t>every</a:t>
            </a:r>
            <a:r>
              <a:rPr lang="fr-FR"/>
              <a:t> </a:t>
            </a:r>
            <a:r>
              <a:rPr lang="fr-FR" err="1"/>
              <a:t>child</a:t>
            </a:r>
            <a:endParaRPr lang="fr-FR"/>
          </a:p>
        </p:txBody>
      </p:sp>
      <p:sp>
        <p:nvSpPr>
          <p:cNvPr id="16" name="Rectangle 15"/>
          <p:cNvSpPr/>
          <p:nvPr userDrawn="1"/>
        </p:nvSpPr>
        <p:spPr bwMode="gray">
          <a:xfrm>
            <a:off x="5592000" y="6283200"/>
            <a:ext cx="5884800" cy="287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r>
              <a:rPr lang="en-GB" sz="1200" noProof="0">
                <a:solidFill>
                  <a:schemeClr val="accent3"/>
                </a:solidFill>
              </a:rPr>
              <a:t>www.gavi.org</a:t>
            </a:r>
          </a:p>
        </p:txBody>
      </p:sp>
      <p:sp>
        <p:nvSpPr>
          <p:cNvPr id="19" name="Rectangle 18"/>
          <p:cNvSpPr/>
          <p:nvPr userDrawn="1"/>
        </p:nvSpPr>
        <p:spPr bwMode="gray">
          <a:xfrm>
            <a:off x="672000" y="3391895"/>
            <a:ext cx="2337600" cy="25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sp>
        <p:nvSpPr>
          <p:cNvPr id="18" name="Espace réservé pour une image  25"/>
          <p:cNvSpPr>
            <a:spLocks noGrp="1"/>
          </p:cNvSpPr>
          <p:nvPr>
            <p:ph type="pic" sz="quarter" idx="10" hasCustomPrompt="1"/>
          </p:nvPr>
        </p:nvSpPr>
        <p:spPr>
          <a:xfrm>
            <a:off x="6821913" y="0"/>
            <a:ext cx="5370089" cy="5158800"/>
          </a:xfrm>
          <a:custGeom>
            <a:avLst/>
            <a:gdLst>
              <a:gd name="connsiteX0" fmla="*/ 1929568 w 4027567"/>
              <a:gd name="connsiteY0" fmla="*/ 0 h 3869100"/>
              <a:gd name="connsiteX1" fmla="*/ 4027567 w 4027567"/>
              <a:gd name="connsiteY1" fmla="*/ 0 h 3869100"/>
              <a:gd name="connsiteX2" fmla="*/ 4027567 w 4027567"/>
              <a:gd name="connsiteY2" fmla="*/ 3869100 h 3869100"/>
              <a:gd name="connsiteX3" fmla="*/ 0 w 4027567"/>
              <a:gd name="connsiteY3" fmla="*/ 3869100 h 3869100"/>
              <a:gd name="connsiteX4" fmla="*/ 29823 w 4027567"/>
              <a:gd name="connsiteY4" fmla="*/ 3580448 h 3869100"/>
              <a:gd name="connsiteX5" fmla="*/ 1929568 w 4027567"/>
              <a:gd name="connsiteY5" fmla="*/ 0 h 3869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27567" h="3869100">
                <a:moveTo>
                  <a:pt x="1929568" y="0"/>
                </a:moveTo>
                <a:lnTo>
                  <a:pt x="4027567" y="0"/>
                </a:lnTo>
                <a:lnTo>
                  <a:pt x="4027567" y="3869100"/>
                </a:lnTo>
                <a:lnTo>
                  <a:pt x="0" y="3869100"/>
                </a:lnTo>
                <a:lnTo>
                  <a:pt x="29823" y="3580448"/>
                </a:lnTo>
                <a:cubicBezTo>
                  <a:pt x="280550" y="2115735"/>
                  <a:pt x="1924285" y="945283"/>
                  <a:pt x="1929568" y="0"/>
                </a:cubicBezTo>
                <a:close/>
              </a:path>
            </a:pathLst>
          </a:custGeom>
          <a:solidFill>
            <a:schemeClr val="bg2"/>
          </a:solidFill>
        </p:spPr>
        <p:txBody>
          <a:bodyPr wrap="square" tIns="720000" anchor="ctr" anchorCtr="0">
            <a:noAutofit/>
          </a:bodyPr>
          <a:lstStyle>
            <a:lvl1pPr marL="0" marR="0" indent="0" algn="ctr" defTabSz="1219170" rtl="0" eaLnBrk="1" fontAlgn="auto" latinLnBrk="0" hangingPunct="1">
              <a:lnSpc>
                <a:spcPct val="110000"/>
              </a:lnSpc>
              <a:spcBef>
                <a:spcPts val="0"/>
              </a:spcBef>
              <a:spcAft>
                <a:spcPts val="0"/>
              </a:spcAft>
              <a:buClrTx/>
              <a:buSzTx/>
              <a:buFont typeface="Arial" pitchFamily="34" charset="0"/>
              <a:buNone/>
              <a:tabLst/>
              <a:defRPr sz="2000">
                <a:solidFill>
                  <a:schemeClr val="bg1"/>
                </a:solidFill>
              </a:defRPr>
            </a:lvl1pPr>
          </a:lstStyle>
          <a:p>
            <a:r>
              <a:rPr lang="en-GB" noProof="0"/>
              <a:t>Select your own photo</a:t>
            </a:r>
          </a:p>
        </p:txBody>
      </p:sp>
      <p:sp>
        <p:nvSpPr>
          <p:cNvPr id="17" name="Espace réservé du texte 16"/>
          <p:cNvSpPr>
            <a:spLocks noGrp="1"/>
          </p:cNvSpPr>
          <p:nvPr>
            <p:ph type="body" sz="quarter" idx="20" hasCustomPrompt="1"/>
          </p:nvPr>
        </p:nvSpPr>
        <p:spPr bwMode="gray">
          <a:xfrm>
            <a:off x="0" y="5157789"/>
            <a:ext cx="12192000" cy="287337"/>
          </a:xfrm>
          <a:solidFill>
            <a:schemeClr val="bg1"/>
          </a:solidFill>
        </p:spPr>
        <p:txBody>
          <a:bodyPr/>
          <a:lstStyle>
            <a:lvl1pPr>
              <a:defRPr sz="133" b="0">
                <a:solidFill>
                  <a:schemeClr val="bg1">
                    <a:alpha val="0"/>
                  </a:schemeClr>
                </a:solidFill>
              </a:defRPr>
            </a:lvl1pPr>
          </a:lstStyle>
          <a:p>
            <a:pPr lvl="0"/>
            <a:r>
              <a:rPr lang="en-GB" noProof="0"/>
              <a:t> </a:t>
            </a:r>
          </a:p>
        </p:txBody>
      </p:sp>
    </p:spTree>
    <p:extLst>
      <p:ext uri="{BB962C8B-B14F-4D97-AF65-F5344CB8AC3E}">
        <p14:creationId xmlns:p14="http://schemas.microsoft.com/office/powerpoint/2010/main" val="261548325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hapter_Layout">
    <p:spTree>
      <p:nvGrpSpPr>
        <p:cNvPr id="1" name=""/>
        <p:cNvGrpSpPr/>
        <p:nvPr/>
      </p:nvGrpSpPr>
      <p:grpSpPr>
        <a:xfrm>
          <a:off x="0" y="0"/>
          <a:ext cx="0" cy="0"/>
          <a:chOff x="0" y="0"/>
          <a:chExt cx="0" cy="0"/>
        </a:xfrm>
      </p:grpSpPr>
      <p:pic>
        <p:nvPicPr>
          <p:cNvPr id="4" name="Imag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0"/>
            <a:ext cx="3453377" cy="6858000"/>
          </a:xfrm>
          <a:prstGeom prst="rect">
            <a:avLst/>
          </a:prstGeom>
        </p:spPr>
      </p:pic>
      <p:sp>
        <p:nvSpPr>
          <p:cNvPr id="2" name="Titre 1"/>
          <p:cNvSpPr>
            <a:spLocks noGrp="1"/>
          </p:cNvSpPr>
          <p:nvPr>
            <p:ph type="title" hasCustomPrompt="1"/>
          </p:nvPr>
        </p:nvSpPr>
        <p:spPr bwMode="gray">
          <a:xfrm>
            <a:off x="3672000" y="1037167"/>
            <a:ext cx="7368533" cy="1646864"/>
          </a:xfrm>
        </p:spPr>
        <p:txBody>
          <a:bodyPr/>
          <a:lstStyle/>
          <a:p>
            <a:r>
              <a:rPr lang="en-GB" noProof="0"/>
              <a:t>TITLE</a:t>
            </a:r>
          </a:p>
        </p:txBody>
      </p:sp>
      <p:sp>
        <p:nvSpPr>
          <p:cNvPr id="10" name="Espace réservé du texte 9"/>
          <p:cNvSpPr>
            <a:spLocks noGrp="1"/>
          </p:cNvSpPr>
          <p:nvPr>
            <p:ph type="body" sz="quarter" idx="13" hasCustomPrompt="1"/>
          </p:nvPr>
        </p:nvSpPr>
        <p:spPr bwMode="gray">
          <a:xfrm>
            <a:off x="3672000" y="2902572"/>
            <a:ext cx="7368533" cy="2903445"/>
          </a:xfrm>
        </p:spPr>
        <p:txBody>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4" name="Espace réservé du texte 9"/>
          <p:cNvSpPr>
            <a:spLocks noGrp="1"/>
          </p:cNvSpPr>
          <p:nvPr>
            <p:ph type="body" sz="quarter" idx="14" hasCustomPrompt="1"/>
          </p:nvPr>
        </p:nvSpPr>
        <p:spPr bwMode="gray">
          <a:xfrm>
            <a:off x="0" y="1"/>
            <a:ext cx="2495211" cy="4990431"/>
          </a:xfrm>
        </p:spPr>
        <p:txBody>
          <a:bodyPr/>
          <a:lstStyle>
            <a:lvl1pPr algn="r">
              <a:defRPr sz="22133" b="1">
                <a:solidFill>
                  <a:schemeClr val="bg1"/>
                </a:solidFill>
              </a:defRPr>
            </a:lvl1pPr>
          </a:lstStyle>
          <a:p>
            <a:pPr lvl="0"/>
            <a:r>
              <a:rPr lang="en-GB" noProof="0"/>
              <a:t>0</a:t>
            </a:r>
          </a:p>
        </p:txBody>
      </p:sp>
      <p:sp>
        <p:nvSpPr>
          <p:cNvPr id="12" name="Espace réservé du numéro de diapositive 11"/>
          <p:cNvSpPr>
            <a:spLocks noGrp="1"/>
          </p:cNvSpPr>
          <p:nvPr>
            <p:ph type="sldNum" sz="quarter" idx="16"/>
          </p:nvPr>
        </p:nvSpPr>
        <p:spPr bwMode="gray">
          <a:xfrm>
            <a:off x="672000" y="6327933"/>
            <a:ext cx="1200149" cy="530067"/>
          </a:xfrm>
          <a:prstGeom prst="rect">
            <a:avLst/>
          </a:prstGeom>
        </p:spPr>
        <p:txBody>
          <a:bodyPr/>
          <a:lstStyle/>
          <a:p>
            <a:pPr algn="l"/>
            <a:fld id="{733122C9-A0B9-462F-8757-0847AD287B63}" type="slidenum">
              <a:rPr lang="en-GB" noProof="0" smtClean="0"/>
              <a:pPr algn="l"/>
              <a:t>‹#›</a:t>
            </a:fld>
            <a:endParaRPr lang="en-GB" noProof="0"/>
          </a:p>
        </p:txBody>
      </p:sp>
      <p:sp>
        <p:nvSpPr>
          <p:cNvPr id="16" name="Rectangle 15"/>
          <p:cNvSpPr/>
          <p:nvPr userDrawn="1"/>
        </p:nvSpPr>
        <p:spPr bwMode="gray">
          <a:xfrm>
            <a:off x="3672000" y="2777245"/>
            <a:ext cx="1344000" cy="25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spTree>
    <p:extLst>
      <p:ext uri="{BB962C8B-B14F-4D97-AF65-F5344CB8AC3E}">
        <p14:creationId xmlns:p14="http://schemas.microsoft.com/office/powerpoint/2010/main" val="177949097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obj" preserve="1">
  <p:cSld name="Content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3" name="Espace réservé du contenu 2"/>
          <p:cNvSpPr>
            <a:spLocks noGrp="1"/>
          </p:cNvSpPr>
          <p:nvPr>
            <p:ph idx="1" hasCustomPrompt="1"/>
          </p:nvPr>
        </p:nvSpPr>
        <p:spPr bwMode="gray">
          <a:xfrm>
            <a:off x="672000" y="1603200"/>
            <a:ext cx="10848000" cy="4190400"/>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Tree>
    <p:extLst>
      <p:ext uri="{BB962C8B-B14F-4D97-AF65-F5344CB8AC3E}">
        <p14:creationId xmlns:p14="http://schemas.microsoft.com/office/powerpoint/2010/main" val="222320081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Picture&amp;Content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3" name="Espace réservé du contenu 2"/>
          <p:cNvSpPr>
            <a:spLocks noGrp="1"/>
          </p:cNvSpPr>
          <p:nvPr>
            <p:ph idx="1" hasCustomPrompt="1"/>
          </p:nvPr>
        </p:nvSpPr>
        <p:spPr bwMode="gray">
          <a:xfrm>
            <a:off x="4357648" y="1607999"/>
            <a:ext cx="6960000" cy="4198017"/>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9" name="Espace réservé pour une image  8"/>
          <p:cNvSpPr>
            <a:spLocks noGrp="1"/>
          </p:cNvSpPr>
          <p:nvPr>
            <p:ph type="pic" sz="quarter" idx="13" hasCustomPrompt="1"/>
          </p:nvPr>
        </p:nvSpPr>
        <p:spPr bwMode="gray">
          <a:xfrm>
            <a:off x="0" y="1707856"/>
            <a:ext cx="4072411" cy="4098163"/>
          </a:xfrm>
        </p:spPr>
        <p:txBody>
          <a:bodyPr tIns="1008000" anchor="ctr" anchorCtr="0"/>
          <a:lstStyle>
            <a:lvl1pPr algn="ctr">
              <a:defRPr/>
            </a:lvl1pPr>
          </a:lstStyle>
          <a:p>
            <a:r>
              <a:rPr lang="en-GB" noProof="0"/>
              <a:t>Select your own photo</a:t>
            </a:r>
          </a:p>
        </p:txBody>
      </p:sp>
      <p:sp>
        <p:nvSpPr>
          <p:cNvPr id="11" name="Espace réservé du numéro de diapositive 10"/>
          <p:cNvSpPr>
            <a:spLocks noGrp="1"/>
          </p:cNvSpPr>
          <p:nvPr>
            <p:ph type="sldNum" sz="quarter" idx="15"/>
          </p:nvPr>
        </p:nvSpPr>
        <p:spPr bwMode="gray">
          <a:xfrm>
            <a:off x="672000" y="6327933"/>
            <a:ext cx="1200149" cy="530067"/>
          </a:xfrm>
          <a:prstGeom prst="rect">
            <a:avLst/>
          </a:prstGeom>
        </p:spPr>
        <p:txBody>
          <a:bodyPr/>
          <a:lstStyle/>
          <a:p>
            <a:pPr algn="l"/>
            <a:fld id="{733122C9-A0B9-462F-8757-0847AD287B63}" type="slidenum">
              <a:rPr lang="en-GB" noProof="0" smtClean="0"/>
              <a:pPr algn="l"/>
              <a:t>‹#›</a:t>
            </a:fld>
            <a:endParaRPr lang="en-GB" noProof="0"/>
          </a:p>
        </p:txBody>
      </p:sp>
    </p:spTree>
    <p:extLst>
      <p:ext uri="{BB962C8B-B14F-4D97-AF65-F5344CB8AC3E}">
        <p14:creationId xmlns:p14="http://schemas.microsoft.com/office/powerpoint/2010/main" val="283393590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Picture&amp;Content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3" name="Espace réservé du contenu 2"/>
          <p:cNvSpPr>
            <a:spLocks noGrp="1"/>
          </p:cNvSpPr>
          <p:nvPr>
            <p:ph idx="1" hasCustomPrompt="1"/>
          </p:nvPr>
        </p:nvSpPr>
        <p:spPr bwMode="gray">
          <a:xfrm>
            <a:off x="672000" y="1607999"/>
            <a:ext cx="6672139" cy="4198017"/>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1" name="Espace réservé du numéro de diapositive 10"/>
          <p:cNvSpPr>
            <a:spLocks noGrp="1"/>
          </p:cNvSpPr>
          <p:nvPr>
            <p:ph type="sldNum" sz="quarter" idx="15"/>
          </p:nvPr>
        </p:nvSpPr>
        <p:spPr bwMode="gray">
          <a:xfrm>
            <a:off x="672000" y="6327933"/>
            <a:ext cx="1200149" cy="530067"/>
          </a:xfrm>
          <a:prstGeom prst="rect">
            <a:avLst/>
          </a:prstGeom>
        </p:spPr>
        <p:txBody>
          <a:bodyPr/>
          <a:lstStyle/>
          <a:p>
            <a:pPr algn="l"/>
            <a:fld id="{733122C9-A0B9-462F-8757-0847AD287B63}" type="slidenum">
              <a:rPr lang="en-GB" noProof="0" smtClean="0"/>
              <a:pPr algn="l"/>
              <a:t>‹#›</a:t>
            </a:fld>
            <a:endParaRPr lang="en-GB" noProof="0"/>
          </a:p>
        </p:txBody>
      </p:sp>
      <p:sp>
        <p:nvSpPr>
          <p:cNvPr id="10" name="Espace réservé pour une image  17"/>
          <p:cNvSpPr>
            <a:spLocks noGrp="1"/>
          </p:cNvSpPr>
          <p:nvPr>
            <p:ph type="pic" sz="quarter" idx="18" hasCustomPrompt="1"/>
          </p:nvPr>
        </p:nvSpPr>
        <p:spPr bwMode="gray">
          <a:xfrm>
            <a:off x="7439389" y="5168"/>
            <a:ext cx="4752611" cy="5807451"/>
          </a:xfrm>
          <a:custGeom>
            <a:avLst/>
            <a:gdLst>
              <a:gd name="connsiteX0" fmla="*/ 0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0 w 3851275"/>
              <a:gd name="connsiteY4"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1692275 w 3851275"/>
              <a:gd name="connsiteY4" fmla="*/ 0 h 5157788"/>
              <a:gd name="connsiteX0" fmla="*/ 0 w 2159000"/>
              <a:gd name="connsiteY0" fmla="*/ 0 h 5157788"/>
              <a:gd name="connsiteX1" fmla="*/ 2159000 w 2159000"/>
              <a:gd name="connsiteY1" fmla="*/ 0 h 5157788"/>
              <a:gd name="connsiteX2" fmla="*/ 2159000 w 2159000"/>
              <a:gd name="connsiteY2" fmla="*/ 5157788 h 5157788"/>
              <a:gd name="connsiteX3" fmla="*/ 0 w 2159000"/>
              <a:gd name="connsiteY3" fmla="*/ 5157788 h 5157788"/>
              <a:gd name="connsiteX4" fmla="*/ 0 w 2159000"/>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3568576 w 5727576"/>
              <a:gd name="connsiteY0" fmla="*/ 0 h 5157788"/>
              <a:gd name="connsiteX1" fmla="*/ 5727576 w 5727576"/>
              <a:gd name="connsiteY1" fmla="*/ 0 h 5157788"/>
              <a:gd name="connsiteX2" fmla="*/ 5727576 w 5727576"/>
              <a:gd name="connsiteY2" fmla="*/ 5157788 h 5157788"/>
              <a:gd name="connsiteX3" fmla="*/ 3568576 w 5727576"/>
              <a:gd name="connsiteY3" fmla="*/ 5157788 h 5157788"/>
              <a:gd name="connsiteX4" fmla="*/ 3568576 w 5727576"/>
              <a:gd name="connsiteY4" fmla="*/ 0 h 5157788"/>
              <a:gd name="connsiteX0" fmla="*/ 3306355 w 5465355"/>
              <a:gd name="connsiteY0" fmla="*/ 0 h 5157788"/>
              <a:gd name="connsiteX1" fmla="*/ 5465355 w 5465355"/>
              <a:gd name="connsiteY1" fmla="*/ 0 h 5157788"/>
              <a:gd name="connsiteX2" fmla="*/ 5465355 w 5465355"/>
              <a:gd name="connsiteY2" fmla="*/ 5157788 h 5157788"/>
              <a:gd name="connsiteX3" fmla="*/ 3306355 w 5465355"/>
              <a:gd name="connsiteY3" fmla="*/ 5157788 h 5157788"/>
              <a:gd name="connsiteX4" fmla="*/ 3306355 w 5465355"/>
              <a:gd name="connsiteY4" fmla="*/ 0 h 5157788"/>
              <a:gd name="connsiteX0" fmla="*/ 1416957 w 3575957"/>
              <a:gd name="connsiteY0" fmla="*/ 0 h 5157788"/>
              <a:gd name="connsiteX1" fmla="*/ 3575957 w 3575957"/>
              <a:gd name="connsiteY1" fmla="*/ 0 h 5157788"/>
              <a:gd name="connsiteX2" fmla="*/ 3575957 w 3575957"/>
              <a:gd name="connsiteY2" fmla="*/ 5157788 h 5157788"/>
              <a:gd name="connsiteX3" fmla="*/ 1416957 w 3575957"/>
              <a:gd name="connsiteY3" fmla="*/ 5157788 h 5157788"/>
              <a:gd name="connsiteX4" fmla="*/ 0 w 3575957"/>
              <a:gd name="connsiteY4" fmla="*/ 3339193 h 5157788"/>
              <a:gd name="connsiteX5" fmla="*/ 1416957 w 3575957"/>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6017419"/>
              <a:gd name="connsiteX1" fmla="*/ 3851275 w 3851275"/>
              <a:gd name="connsiteY1" fmla="*/ 0 h 6017419"/>
              <a:gd name="connsiteX2" fmla="*/ 3851275 w 3851275"/>
              <a:gd name="connsiteY2" fmla="*/ 5157788 h 6017419"/>
              <a:gd name="connsiteX3" fmla="*/ 1692275 w 3851275"/>
              <a:gd name="connsiteY3" fmla="*/ 5157788 h 6017419"/>
              <a:gd name="connsiteX4" fmla="*/ 0 w 3851275"/>
              <a:gd name="connsiteY4" fmla="*/ 3284984 h 6017419"/>
              <a:gd name="connsiteX5" fmla="*/ 1692275 w 3851275"/>
              <a:gd name="connsiteY5" fmla="*/ 0 h 6017419"/>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04975 w 3863975"/>
              <a:gd name="connsiteY0" fmla="*/ 0 h 5157788"/>
              <a:gd name="connsiteX1" fmla="*/ 3863975 w 3863975"/>
              <a:gd name="connsiteY1" fmla="*/ 0 h 5157788"/>
              <a:gd name="connsiteX2" fmla="*/ 3863975 w 3863975"/>
              <a:gd name="connsiteY2" fmla="*/ 5157788 h 5157788"/>
              <a:gd name="connsiteX3" fmla="*/ 1704975 w 3863975"/>
              <a:gd name="connsiteY3" fmla="*/ 5157788 h 5157788"/>
              <a:gd name="connsiteX4" fmla="*/ 12700 w 3863975"/>
              <a:gd name="connsiteY4" fmla="*/ 3429000 h 5157788"/>
              <a:gd name="connsiteX5" fmla="*/ 1704975 w 3863975"/>
              <a:gd name="connsiteY5" fmla="*/ 0 h 5157788"/>
              <a:gd name="connsiteX0" fmla="*/ 1707243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707243 w 3866243"/>
              <a:gd name="connsiteY5" fmla="*/ 0 h 5157788"/>
              <a:gd name="connsiteX0" fmla="*/ 1130447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130447 w 3866243"/>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3574235 w 6310031"/>
              <a:gd name="connsiteY0" fmla="*/ 0 h 5157788"/>
              <a:gd name="connsiteX1" fmla="*/ 6310031 w 6310031"/>
              <a:gd name="connsiteY1" fmla="*/ 0 h 5157788"/>
              <a:gd name="connsiteX2" fmla="*/ 6310031 w 6310031"/>
              <a:gd name="connsiteY2" fmla="*/ 5157788 h 5157788"/>
              <a:gd name="connsiteX3" fmla="*/ 585903 w 6310031"/>
              <a:gd name="connsiteY3" fmla="*/ 5153180 h 5157788"/>
              <a:gd name="connsiteX4" fmla="*/ 1738031 w 6310031"/>
              <a:gd name="connsiteY4" fmla="*/ 3389965 h 5157788"/>
              <a:gd name="connsiteX5" fmla="*/ 3574235 w 6310031"/>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296143 w 5724128"/>
              <a:gd name="connsiteY4" fmla="*/ 3461908 h 5157788"/>
              <a:gd name="connsiteX5" fmla="*/ 2988332 w 5724128"/>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1188132 w 5760132"/>
              <a:gd name="connsiteY4" fmla="*/ 3425937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2160240 w 4896036"/>
              <a:gd name="connsiteY0" fmla="*/ 0 h 5157788"/>
              <a:gd name="connsiteX1" fmla="*/ 4896036 w 4896036"/>
              <a:gd name="connsiteY1" fmla="*/ 0 h 5157788"/>
              <a:gd name="connsiteX2" fmla="*/ 4896036 w 4896036"/>
              <a:gd name="connsiteY2" fmla="*/ 5157788 h 5157788"/>
              <a:gd name="connsiteX3" fmla="*/ 0 w 4896036"/>
              <a:gd name="connsiteY3" fmla="*/ 5153180 h 5157788"/>
              <a:gd name="connsiteX4" fmla="*/ 1872208 w 4896036"/>
              <a:gd name="connsiteY4" fmla="*/ 3461908 h 5157788"/>
              <a:gd name="connsiteX5" fmla="*/ 2160240 w 4896036"/>
              <a:gd name="connsiteY5" fmla="*/ 0 h 5157788"/>
              <a:gd name="connsiteX0" fmla="*/ 2232248 w 4968044"/>
              <a:gd name="connsiteY0" fmla="*/ 0 h 5157788"/>
              <a:gd name="connsiteX1" fmla="*/ 4968044 w 4968044"/>
              <a:gd name="connsiteY1" fmla="*/ 0 h 5157788"/>
              <a:gd name="connsiteX2" fmla="*/ 4968044 w 4968044"/>
              <a:gd name="connsiteY2" fmla="*/ 5157788 h 5157788"/>
              <a:gd name="connsiteX3" fmla="*/ 0 w 4968044"/>
              <a:gd name="connsiteY3" fmla="*/ 5153180 h 5157788"/>
              <a:gd name="connsiteX4" fmla="*/ 1944216 w 4968044"/>
              <a:gd name="connsiteY4" fmla="*/ 3461908 h 5157788"/>
              <a:gd name="connsiteX5" fmla="*/ 2232248 w 4968044"/>
              <a:gd name="connsiteY5" fmla="*/ 0 h 5157788"/>
              <a:gd name="connsiteX0" fmla="*/ 2207679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207679 w 4943475"/>
              <a:gd name="connsiteY5" fmla="*/ 0 h 5157788"/>
              <a:gd name="connsiteX0" fmla="*/ 2963763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963763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092200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71575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343583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9672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19672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51412" h="5157788">
                <a:moveTo>
                  <a:pt x="2706687" y="0"/>
                </a:moveTo>
                <a:lnTo>
                  <a:pt x="4951412" y="0"/>
                </a:lnTo>
                <a:lnTo>
                  <a:pt x="4951412" y="5157788"/>
                </a:lnTo>
                <a:lnTo>
                  <a:pt x="0" y="5153180"/>
                </a:lnTo>
                <a:cubicBezTo>
                  <a:pt x="84411" y="4542509"/>
                  <a:pt x="183041" y="4024723"/>
                  <a:pt x="1243508" y="2562613"/>
                </a:cubicBezTo>
                <a:cubicBezTo>
                  <a:pt x="1867447" y="1704780"/>
                  <a:pt x="2665955" y="709265"/>
                  <a:pt x="2706687" y="0"/>
                </a:cubicBezTo>
                <a:close/>
              </a:path>
            </a:pathLst>
          </a:custGeom>
          <a:solidFill>
            <a:schemeClr val="bg2"/>
          </a:solidFill>
          <a:ln w="3175">
            <a:noFill/>
          </a:ln>
        </p:spPr>
        <p:txBody>
          <a:bodyPr tIns="720000" anchor="ctr" anchorCtr="0"/>
          <a:lstStyle>
            <a:lvl1pPr algn="ctr">
              <a:defRPr sz="2000">
                <a:solidFill>
                  <a:schemeClr val="bg1"/>
                </a:solidFill>
              </a:defRPr>
            </a:lvl1pPr>
          </a:lstStyle>
          <a:p>
            <a:r>
              <a:rPr lang="en-GB" noProof="0"/>
              <a:t>Select your own photo</a:t>
            </a:r>
          </a:p>
        </p:txBody>
      </p:sp>
      <p:sp>
        <p:nvSpPr>
          <p:cNvPr id="13" name="Espace réservé du texte 4"/>
          <p:cNvSpPr>
            <a:spLocks noGrp="1"/>
          </p:cNvSpPr>
          <p:nvPr>
            <p:ph type="body" sz="quarter" idx="19"/>
          </p:nvPr>
        </p:nvSpPr>
        <p:spPr>
          <a:xfrm>
            <a:off x="7440085" y="5445224"/>
            <a:ext cx="4751916" cy="367521"/>
          </a:xfrm>
          <a:solidFill>
            <a:schemeClr val="bg1">
              <a:alpha val="60000"/>
            </a:schemeClr>
          </a:solidFill>
        </p:spPr>
        <p:txBody>
          <a:bodyPr anchor="ctr" anchorCtr="0"/>
          <a:lstStyle>
            <a:lvl1pPr algn="ctr">
              <a:defRPr sz="1400" b="0" i="1"/>
            </a:lvl1pPr>
            <a:lvl2pPr algn="ctr">
              <a:defRPr sz="1333" b="0" i="1"/>
            </a:lvl2pPr>
            <a:lvl3pPr algn="ctr">
              <a:defRPr sz="1200" b="0" i="1"/>
            </a:lvl3pPr>
            <a:lvl4pPr algn="ctr">
              <a:defRPr sz="1200" b="0" i="1"/>
            </a:lvl4pPr>
            <a:lvl5pPr algn="ctr">
              <a:defRPr sz="1067" b="0" i="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Tree>
    <p:extLst>
      <p:ext uri="{BB962C8B-B14F-4D97-AF65-F5344CB8AC3E}">
        <p14:creationId xmlns:p14="http://schemas.microsoft.com/office/powerpoint/2010/main" val="275941460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bject, text">
    <p:spTree>
      <p:nvGrpSpPr>
        <p:cNvPr id="1" name=""/>
        <p:cNvGrpSpPr/>
        <p:nvPr/>
      </p:nvGrpSpPr>
      <p:grpSpPr>
        <a:xfrm>
          <a:off x="0" y="0"/>
          <a:ext cx="0" cy="0"/>
          <a:chOff x="0" y="0"/>
          <a:chExt cx="0" cy="0"/>
        </a:xfrm>
      </p:grpSpPr>
      <p:sp>
        <p:nvSpPr>
          <p:cNvPr id="13" name="Rectángulo 9"/>
          <p:cNvSpPr/>
          <p:nvPr userDrawn="1"/>
        </p:nvSpPr>
        <p:spPr>
          <a:xfrm>
            <a:off x="0" y="0"/>
            <a:ext cx="12187995" cy="108000"/>
          </a:xfrm>
          <a:prstGeom prst="rect">
            <a:avLst/>
          </a:prstGeom>
          <a:gradFill rotWithShape="1">
            <a:gsLst>
              <a:gs pos="0">
                <a:srgbClr val="A50021"/>
              </a:gs>
              <a:gs pos="100000">
                <a:srgbClr val="636463"/>
              </a:gs>
            </a:gsLst>
            <a:lin ang="16200000" scaled="0"/>
          </a:gradFill>
          <a:ln w="952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srgbClr val="F3EBDD"/>
              </a:solidFill>
              <a:effectLst/>
              <a:uLnTx/>
              <a:uFillTx/>
              <a:latin typeface="Arial"/>
              <a:ea typeface="+mn-ea"/>
              <a:cs typeface="+mn-cs"/>
            </a:endParaRPr>
          </a:p>
        </p:txBody>
      </p:sp>
      <p:sp>
        <p:nvSpPr>
          <p:cNvPr id="6" name="Rectangle 2"/>
          <p:cNvSpPr>
            <a:spLocks noGrp="1" noChangeArrowheads="1"/>
          </p:cNvSpPr>
          <p:nvPr>
            <p:ph type="title" hasCustomPrompt="1"/>
          </p:nvPr>
        </p:nvSpPr>
        <p:spPr bwMode="auto">
          <a:xfrm>
            <a:off x="609600" y="274638"/>
            <a:ext cx="10972800" cy="90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defRPr>
                <a:solidFill>
                  <a:srgbClr val="A50021"/>
                </a:solidFill>
              </a:defRPr>
            </a:lvl1pPr>
          </a:lstStyle>
          <a:p>
            <a:pPr lvl="0"/>
            <a:r>
              <a:rPr lang="fr-FR"/>
              <a:t>Cliquez pour modifier le style du titre</a:t>
            </a:r>
            <a:br>
              <a:rPr lang="fr-FR"/>
            </a:br>
            <a:endParaRPr lang="fr-FR"/>
          </a:p>
        </p:txBody>
      </p:sp>
      <p:sp>
        <p:nvSpPr>
          <p:cNvPr id="8" name="Espace réservé du texte 2"/>
          <p:cNvSpPr>
            <a:spLocks noGrp="1"/>
          </p:cNvSpPr>
          <p:nvPr>
            <p:ph type="body" sz="half" idx="1"/>
          </p:nvPr>
        </p:nvSpPr>
        <p:spPr>
          <a:xfrm>
            <a:off x="6192011" y="1614505"/>
            <a:ext cx="5384800" cy="4536504"/>
          </a:xfrm>
        </p:spPr>
        <p:txBody>
          <a:bodyPr/>
          <a:lstStyle>
            <a:lvl1pPr marL="342900" indent="-342900">
              <a:buClr>
                <a:srgbClr val="A50021"/>
              </a:buClr>
              <a:buFont typeface="Wingdings" pitchFamily="2" charset="2"/>
              <a:buChar char="§"/>
              <a:defRPr sz="3000">
                <a:latin typeface="Arial" pitchFamily="34" charset="0"/>
                <a:cs typeface="Arial" pitchFamily="34" charset="0"/>
              </a:defRPr>
            </a:lvl1pPr>
            <a:lvl2pPr marL="742950" indent="-285750">
              <a:buSzPct val="100000"/>
              <a:buFont typeface="Arial" pitchFamily="34" charset="0"/>
              <a:buChar char="•"/>
              <a:defRPr>
                <a:latin typeface="Arial" pitchFamily="34" charset="0"/>
                <a:cs typeface="Arial" pitchFamily="34" charset="0"/>
              </a:defRPr>
            </a:lvl2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9" name="Espace réservé du contenu 3"/>
          <p:cNvSpPr>
            <a:spLocks noGrp="1"/>
          </p:cNvSpPr>
          <p:nvPr>
            <p:ph sz="half" idx="2"/>
          </p:nvPr>
        </p:nvSpPr>
        <p:spPr>
          <a:xfrm>
            <a:off x="615189" y="1614505"/>
            <a:ext cx="5384800" cy="4536504"/>
          </a:xfrm>
        </p:spPr>
        <p:txBody>
          <a:bodyPr/>
          <a:lstStyle>
            <a:lvl1pPr marL="0" indent="0">
              <a:buClr>
                <a:srgbClr val="A50021"/>
              </a:buClr>
              <a:buFont typeface="Wingdings" pitchFamily="2" charset="2"/>
              <a:buNone/>
              <a:defRPr sz="3000">
                <a:latin typeface="Arial" pitchFamily="34" charset="0"/>
                <a:cs typeface="Arial" pitchFamily="34" charset="0"/>
              </a:defRPr>
            </a:lvl1pPr>
            <a:lvl2pPr marL="742950" indent="-285750">
              <a:buSzPct val="100000"/>
              <a:buFont typeface="Arial" pitchFamily="34" charset="0"/>
              <a:buChar char="•"/>
              <a:defRPr>
                <a:latin typeface="Arial" pitchFamily="34" charset="0"/>
                <a:cs typeface="Arial" pitchFamily="34" charset="0"/>
              </a:defRPr>
            </a:lvl2pPr>
          </a:lstStyle>
          <a:p>
            <a:pPr lvl="0"/>
            <a:endParaRPr lang="fr-FR"/>
          </a:p>
        </p:txBody>
      </p:sp>
    </p:spTree>
    <p:extLst>
      <p:ext uri="{BB962C8B-B14F-4D97-AF65-F5344CB8AC3E}">
        <p14:creationId xmlns:p14="http://schemas.microsoft.com/office/powerpoint/2010/main" val="47495016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_Picture&amp;Content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3" name="Espace réservé du contenu 2"/>
          <p:cNvSpPr>
            <a:spLocks noGrp="1"/>
          </p:cNvSpPr>
          <p:nvPr>
            <p:ph idx="1" hasCustomPrompt="1"/>
          </p:nvPr>
        </p:nvSpPr>
        <p:spPr bwMode="gray">
          <a:xfrm>
            <a:off x="672000" y="1608000"/>
            <a:ext cx="10645648" cy="2043011"/>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1" name="Espace réservé du numéro de diapositive 10"/>
          <p:cNvSpPr>
            <a:spLocks noGrp="1"/>
          </p:cNvSpPr>
          <p:nvPr>
            <p:ph type="sldNum" sz="quarter" idx="15"/>
          </p:nvPr>
        </p:nvSpPr>
        <p:spPr bwMode="gray">
          <a:xfrm>
            <a:off x="672000" y="6327933"/>
            <a:ext cx="1200149" cy="530067"/>
          </a:xfrm>
          <a:prstGeom prst="rect">
            <a:avLst/>
          </a:prstGeom>
        </p:spPr>
        <p:txBody>
          <a:bodyPr/>
          <a:lstStyle/>
          <a:p>
            <a:pPr algn="l"/>
            <a:fld id="{733122C9-A0B9-462F-8757-0847AD287B63}" type="slidenum">
              <a:rPr lang="en-GB" noProof="0" smtClean="0"/>
              <a:pPr algn="l"/>
              <a:t>‹#›</a:t>
            </a:fld>
            <a:endParaRPr lang="en-GB" noProof="0"/>
          </a:p>
        </p:txBody>
      </p:sp>
      <p:sp>
        <p:nvSpPr>
          <p:cNvPr id="10" name="Espace réservé pour une image  17"/>
          <p:cNvSpPr>
            <a:spLocks noGrp="1"/>
          </p:cNvSpPr>
          <p:nvPr>
            <p:ph type="pic" sz="quarter" idx="13"/>
          </p:nvPr>
        </p:nvSpPr>
        <p:spPr bwMode="gray">
          <a:xfrm>
            <a:off x="-1" y="3621021"/>
            <a:ext cx="12192001" cy="2189096"/>
          </a:xfrm>
          <a:custGeom>
            <a:avLst/>
            <a:gdLst>
              <a:gd name="connsiteX0" fmla="*/ 0 w 7344000"/>
              <a:gd name="connsiteY0" fmla="*/ 0 h 1728787"/>
              <a:gd name="connsiteX1" fmla="*/ 7344000 w 7344000"/>
              <a:gd name="connsiteY1" fmla="*/ 0 h 1728787"/>
              <a:gd name="connsiteX2" fmla="*/ 7344000 w 7344000"/>
              <a:gd name="connsiteY2" fmla="*/ 1728787 h 1728787"/>
              <a:gd name="connsiteX3" fmla="*/ 0 w 7344000"/>
              <a:gd name="connsiteY3" fmla="*/ 1728787 h 1728787"/>
              <a:gd name="connsiteX4" fmla="*/ 0 w 7344000"/>
              <a:gd name="connsiteY4" fmla="*/ 0 h 1728787"/>
              <a:gd name="connsiteX0" fmla="*/ 0 w 7344000"/>
              <a:gd name="connsiteY0" fmla="*/ 605117 h 1728787"/>
              <a:gd name="connsiteX1" fmla="*/ 7344000 w 7344000"/>
              <a:gd name="connsiteY1" fmla="*/ 0 h 1728787"/>
              <a:gd name="connsiteX2" fmla="*/ 7344000 w 7344000"/>
              <a:gd name="connsiteY2" fmla="*/ 1728787 h 1728787"/>
              <a:gd name="connsiteX3" fmla="*/ 0 w 7344000"/>
              <a:gd name="connsiteY3" fmla="*/ 1728787 h 1728787"/>
              <a:gd name="connsiteX4" fmla="*/ 0 w 7344000"/>
              <a:gd name="connsiteY4" fmla="*/ 605117 h 1728787"/>
              <a:gd name="connsiteX0" fmla="*/ 0 w 7344000"/>
              <a:gd name="connsiteY0" fmla="*/ 605117 h 1728787"/>
              <a:gd name="connsiteX1" fmla="*/ 7344000 w 7344000"/>
              <a:gd name="connsiteY1" fmla="*/ 0 h 1728787"/>
              <a:gd name="connsiteX2" fmla="*/ 7344000 w 7344000"/>
              <a:gd name="connsiteY2" fmla="*/ 1728787 h 1728787"/>
              <a:gd name="connsiteX3" fmla="*/ 0 w 7344000"/>
              <a:gd name="connsiteY3" fmla="*/ 1728787 h 1728787"/>
              <a:gd name="connsiteX4" fmla="*/ 0 w 7344000"/>
              <a:gd name="connsiteY4" fmla="*/ 605117 h 1728787"/>
              <a:gd name="connsiteX0" fmla="*/ 0 w 7344000"/>
              <a:gd name="connsiteY0" fmla="*/ 605117 h 1728787"/>
              <a:gd name="connsiteX1" fmla="*/ 7344000 w 7344000"/>
              <a:gd name="connsiteY1" fmla="*/ 0 h 1728787"/>
              <a:gd name="connsiteX2" fmla="*/ 7344000 w 7344000"/>
              <a:gd name="connsiteY2" fmla="*/ 1728787 h 1728787"/>
              <a:gd name="connsiteX3" fmla="*/ 0 w 7344000"/>
              <a:gd name="connsiteY3" fmla="*/ 1728787 h 1728787"/>
              <a:gd name="connsiteX4" fmla="*/ 0 w 7344000"/>
              <a:gd name="connsiteY4" fmla="*/ 605117 h 17287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44000" h="1728787">
                <a:moveTo>
                  <a:pt x="0" y="605117"/>
                </a:moveTo>
                <a:cubicBezTo>
                  <a:pt x="2817794" y="551329"/>
                  <a:pt x="3342865" y="73959"/>
                  <a:pt x="7344000" y="0"/>
                </a:cubicBezTo>
                <a:lnTo>
                  <a:pt x="7344000" y="1728787"/>
                </a:lnTo>
                <a:lnTo>
                  <a:pt x="0" y="1728787"/>
                </a:lnTo>
                <a:lnTo>
                  <a:pt x="0" y="605117"/>
                </a:lnTo>
                <a:close/>
              </a:path>
            </a:pathLst>
          </a:custGeom>
        </p:spPr>
        <p:txBody>
          <a:bodyPr/>
          <a:lstStyle/>
          <a:p>
            <a:r>
              <a:rPr lang="en-US"/>
              <a:t>Drag picture to placeholder or click icon to add</a:t>
            </a:r>
            <a:endParaRPr lang="fr-FR"/>
          </a:p>
        </p:txBody>
      </p:sp>
    </p:spTree>
    <p:extLst>
      <p:ext uri="{BB962C8B-B14F-4D97-AF65-F5344CB8AC3E}">
        <p14:creationId xmlns:p14="http://schemas.microsoft.com/office/powerpoint/2010/main" val="58438060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2_Contents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xfrm>
            <a:off x="672000" y="217251"/>
            <a:ext cx="10848000" cy="1036637"/>
          </a:xfrm>
        </p:spPr>
        <p:txBody>
          <a:bodyPr/>
          <a:lstStyle/>
          <a:p>
            <a:r>
              <a:rPr lang="en-GB" noProof="0"/>
              <a:t>TITLE</a:t>
            </a:r>
          </a:p>
        </p:txBody>
      </p:sp>
      <p:sp>
        <p:nvSpPr>
          <p:cNvPr id="3" name="Espace réservé du contenu 2"/>
          <p:cNvSpPr>
            <a:spLocks noGrp="1"/>
          </p:cNvSpPr>
          <p:nvPr>
            <p:ph idx="1" hasCustomPrompt="1"/>
          </p:nvPr>
        </p:nvSpPr>
        <p:spPr bwMode="gray">
          <a:xfrm>
            <a:off x="672000" y="1603201"/>
            <a:ext cx="5424000" cy="4202817"/>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8" name="Espace réservé du numéro de diapositive 7"/>
          <p:cNvSpPr>
            <a:spLocks noGrp="1"/>
          </p:cNvSpPr>
          <p:nvPr>
            <p:ph type="sldNum" sz="quarter" idx="11"/>
          </p:nvPr>
        </p:nvSpPr>
        <p:spPr bwMode="gray">
          <a:xfrm>
            <a:off x="672000" y="6327933"/>
            <a:ext cx="1200149" cy="530067"/>
          </a:xfrm>
          <a:prstGeom prst="rect">
            <a:avLst/>
          </a:prstGeom>
        </p:spPr>
        <p:txBody>
          <a:bodyPr/>
          <a:lstStyle/>
          <a:p>
            <a:pPr algn="l"/>
            <a:fld id="{733122C9-A0B9-462F-8757-0847AD287B63}" type="slidenum">
              <a:rPr lang="en-GB" noProof="0" smtClean="0"/>
              <a:pPr algn="l"/>
              <a:t>‹#›</a:t>
            </a:fld>
            <a:endParaRPr lang="en-GB" noProof="0"/>
          </a:p>
        </p:txBody>
      </p:sp>
      <p:sp>
        <p:nvSpPr>
          <p:cNvPr id="9" name="Espace réservé du contenu 2"/>
          <p:cNvSpPr>
            <a:spLocks noGrp="1"/>
          </p:cNvSpPr>
          <p:nvPr>
            <p:ph idx="13" hasCustomPrompt="1"/>
          </p:nvPr>
        </p:nvSpPr>
        <p:spPr bwMode="gray">
          <a:xfrm>
            <a:off x="6751499" y="1603201"/>
            <a:ext cx="4768501" cy="4202817"/>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Tree>
    <p:extLst>
      <p:ext uri="{BB962C8B-B14F-4D97-AF65-F5344CB8AC3E}">
        <p14:creationId xmlns:p14="http://schemas.microsoft.com/office/powerpoint/2010/main" val="393052439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ext&amp;Content_Layout">
    <p:spTree>
      <p:nvGrpSpPr>
        <p:cNvPr id="1" name=""/>
        <p:cNvGrpSpPr/>
        <p:nvPr/>
      </p:nvGrpSpPr>
      <p:grpSpPr>
        <a:xfrm>
          <a:off x="0" y="0"/>
          <a:ext cx="0" cy="0"/>
          <a:chOff x="0" y="0"/>
          <a:chExt cx="0" cy="0"/>
        </a:xfrm>
      </p:grpSpPr>
      <p:sp>
        <p:nvSpPr>
          <p:cNvPr id="3" name="Espace réservé du contenu 2"/>
          <p:cNvSpPr>
            <a:spLocks noGrp="1"/>
          </p:cNvSpPr>
          <p:nvPr>
            <p:ph idx="1" hasCustomPrompt="1"/>
          </p:nvPr>
        </p:nvSpPr>
        <p:spPr bwMode="gray">
          <a:xfrm>
            <a:off x="672000" y="3309347"/>
            <a:ext cx="10848000" cy="2496671"/>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0" name="Espace réservé du texte 9"/>
          <p:cNvSpPr>
            <a:spLocks noGrp="1"/>
          </p:cNvSpPr>
          <p:nvPr>
            <p:ph type="body" sz="quarter" idx="13" hasCustomPrompt="1"/>
          </p:nvPr>
        </p:nvSpPr>
        <p:spPr bwMode="gray">
          <a:xfrm>
            <a:off x="672000" y="1603200"/>
            <a:ext cx="10848000" cy="1633779"/>
          </a:xfrm>
        </p:spPr>
        <p:txBody>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9" name="Espace réservé du numéro de diapositive 8"/>
          <p:cNvSpPr>
            <a:spLocks noGrp="1"/>
          </p:cNvSpPr>
          <p:nvPr>
            <p:ph type="sldNum" sz="quarter" idx="15"/>
          </p:nvPr>
        </p:nvSpPr>
        <p:spPr bwMode="gray">
          <a:xfrm>
            <a:off x="672000" y="6327933"/>
            <a:ext cx="1200149" cy="530067"/>
          </a:xfrm>
          <a:prstGeom prst="rect">
            <a:avLst/>
          </a:prstGeom>
        </p:spPr>
        <p:txBody>
          <a:bodyPr/>
          <a:lstStyle/>
          <a:p>
            <a:pPr algn="l"/>
            <a:fld id="{733122C9-A0B9-462F-8757-0847AD287B63}" type="slidenum">
              <a:rPr lang="en-GB" noProof="0" smtClean="0"/>
              <a:pPr algn="l"/>
              <a:t>‹#›</a:t>
            </a:fld>
            <a:endParaRPr lang="en-GB" noProof="0"/>
          </a:p>
        </p:txBody>
      </p:sp>
      <p:sp>
        <p:nvSpPr>
          <p:cNvPr id="5" name="Titre 4"/>
          <p:cNvSpPr>
            <a:spLocks noGrp="1"/>
          </p:cNvSpPr>
          <p:nvPr>
            <p:ph type="title"/>
          </p:nvPr>
        </p:nvSpPr>
        <p:spPr/>
        <p:txBody>
          <a:bodyPr/>
          <a:lstStyle/>
          <a:p>
            <a:r>
              <a:rPr lang="en-US" noProof="0"/>
              <a:t>Click to edit Master title style</a:t>
            </a:r>
            <a:endParaRPr lang="en-GB" noProof="0"/>
          </a:p>
        </p:txBody>
      </p:sp>
    </p:spTree>
    <p:extLst>
      <p:ext uri="{BB962C8B-B14F-4D97-AF65-F5344CB8AC3E}">
        <p14:creationId xmlns:p14="http://schemas.microsoft.com/office/powerpoint/2010/main" val="239623157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ext&amp;Content&amp;Picture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xfrm>
            <a:off x="672000" y="217251"/>
            <a:ext cx="6384967" cy="1036637"/>
          </a:xfrm>
        </p:spPr>
        <p:txBody>
          <a:bodyPr/>
          <a:lstStyle/>
          <a:p>
            <a:r>
              <a:rPr lang="en-GB" noProof="0"/>
              <a:t>TITLE</a:t>
            </a:r>
          </a:p>
        </p:txBody>
      </p:sp>
      <p:sp>
        <p:nvSpPr>
          <p:cNvPr id="3" name="Espace réservé du contenu 2"/>
          <p:cNvSpPr>
            <a:spLocks noGrp="1"/>
          </p:cNvSpPr>
          <p:nvPr>
            <p:ph idx="1" hasCustomPrompt="1"/>
          </p:nvPr>
        </p:nvSpPr>
        <p:spPr bwMode="gray">
          <a:xfrm>
            <a:off x="671999" y="3307201"/>
            <a:ext cx="6384967" cy="2498817"/>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0" name="Espace réservé du texte 9"/>
          <p:cNvSpPr>
            <a:spLocks noGrp="1"/>
          </p:cNvSpPr>
          <p:nvPr>
            <p:ph type="body" sz="quarter" idx="13" hasCustomPrompt="1"/>
          </p:nvPr>
        </p:nvSpPr>
        <p:spPr bwMode="gray">
          <a:xfrm>
            <a:off x="672000" y="1603200"/>
            <a:ext cx="6384967" cy="1260000"/>
          </a:xfrm>
        </p:spPr>
        <p:txBody>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9" name="Espace réservé du numéro de diapositive 8"/>
          <p:cNvSpPr>
            <a:spLocks noGrp="1"/>
          </p:cNvSpPr>
          <p:nvPr>
            <p:ph type="sldNum" sz="quarter" idx="15"/>
          </p:nvPr>
        </p:nvSpPr>
        <p:spPr bwMode="gray">
          <a:xfrm>
            <a:off x="672000" y="6327933"/>
            <a:ext cx="1200149" cy="530067"/>
          </a:xfrm>
          <a:prstGeom prst="rect">
            <a:avLst/>
          </a:prstGeom>
        </p:spPr>
        <p:txBody>
          <a:bodyPr/>
          <a:lstStyle/>
          <a:p>
            <a:pPr algn="l"/>
            <a:fld id="{733122C9-A0B9-462F-8757-0847AD287B63}" type="slidenum">
              <a:rPr lang="en-GB" noProof="0" smtClean="0"/>
              <a:pPr algn="l"/>
              <a:t>‹#›</a:t>
            </a:fld>
            <a:endParaRPr lang="en-GB" noProof="0"/>
          </a:p>
        </p:txBody>
      </p:sp>
      <p:sp>
        <p:nvSpPr>
          <p:cNvPr id="12" name="Espace réservé pour une image  8"/>
          <p:cNvSpPr>
            <a:spLocks noGrp="1"/>
          </p:cNvSpPr>
          <p:nvPr>
            <p:ph type="pic" sz="quarter" idx="17" hasCustomPrompt="1"/>
          </p:nvPr>
        </p:nvSpPr>
        <p:spPr bwMode="gray">
          <a:xfrm>
            <a:off x="7680176" y="753401"/>
            <a:ext cx="3839824" cy="5014516"/>
          </a:xfrm>
        </p:spPr>
        <p:txBody>
          <a:bodyPr tIns="1008000" anchor="ctr" anchorCtr="0"/>
          <a:lstStyle>
            <a:lvl1pPr algn="ctr">
              <a:defRPr/>
            </a:lvl1pPr>
          </a:lstStyle>
          <a:p>
            <a:r>
              <a:rPr lang="en-GB" noProof="0"/>
              <a:t>Select your own photo</a:t>
            </a:r>
          </a:p>
        </p:txBody>
      </p:sp>
    </p:spTree>
    <p:extLst>
      <p:ext uri="{BB962C8B-B14F-4D97-AF65-F5344CB8AC3E}">
        <p14:creationId xmlns:p14="http://schemas.microsoft.com/office/powerpoint/2010/main" val="239405062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ext&amp;2_Contents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3" name="Espace réservé du contenu 2"/>
          <p:cNvSpPr>
            <a:spLocks noGrp="1"/>
          </p:cNvSpPr>
          <p:nvPr>
            <p:ph idx="1" hasCustomPrompt="1"/>
          </p:nvPr>
        </p:nvSpPr>
        <p:spPr bwMode="gray">
          <a:xfrm>
            <a:off x="672000" y="3309347"/>
            <a:ext cx="5424000" cy="2500800"/>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0" name="Espace réservé du texte 9"/>
          <p:cNvSpPr>
            <a:spLocks noGrp="1"/>
          </p:cNvSpPr>
          <p:nvPr>
            <p:ph type="body" sz="quarter" idx="13" hasCustomPrompt="1"/>
          </p:nvPr>
        </p:nvSpPr>
        <p:spPr bwMode="gray">
          <a:xfrm>
            <a:off x="672000" y="1603200"/>
            <a:ext cx="10848000" cy="1260000"/>
          </a:xfrm>
        </p:spPr>
        <p:txBody>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9" name="Espace réservé du numéro de diapositive 8"/>
          <p:cNvSpPr>
            <a:spLocks noGrp="1"/>
          </p:cNvSpPr>
          <p:nvPr>
            <p:ph type="sldNum" sz="quarter" idx="15"/>
          </p:nvPr>
        </p:nvSpPr>
        <p:spPr bwMode="gray">
          <a:xfrm>
            <a:off x="672000" y="6327933"/>
            <a:ext cx="1200149" cy="530067"/>
          </a:xfrm>
          <a:prstGeom prst="rect">
            <a:avLst/>
          </a:prstGeom>
        </p:spPr>
        <p:txBody>
          <a:bodyPr/>
          <a:lstStyle/>
          <a:p>
            <a:pPr algn="l"/>
            <a:fld id="{733122C9-A0B9-462F-8757-0847AD287B63}" type="slidenum">
              <a:rPr lang="en-GB" noProof="0" smtClean="0"/>
              <a:pPr algn="l"/>
              <a:t>‹#›</a:t>
            </a:fld>
            <a:endParaRPr lang="en-GB" noProof="0"/>
          </a:p>
        </p:txBody>
      </p:sp>
      <p:sp>
        <p:nvSpPr>
          <p:cNvPr id="12" name="Espace réservé du contenu 2"/>
          <p:cNvSpPr>
            <a:spLocks noGrp="1"/>
          </p:cNvSpPr>
          <p:nvPr>
            <p:ph idx="17" hasCustomPrompt="1"/>
          </p:nvPr>
        </p:nvSpPr>
        <p:spPr bwMode="gray">
          <a:xfrm>
            <a:off x="6768000" y="3309347"/>
            <a:ext cx="4752000" cy="2500800"/>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Tree>
    <p:extLst>
      <p:ext uri="{BB962C8B-B14F-4D97-AF65-F5344CB8AC3E}">
        <p14:creationId xmlns:p14="http://schemas.microsoft.com/office/powerpoint/2010/main" val="429271849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ext&amp;3_Contents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3" name="Espace réservé du contenu 2"/>
          <p:cNvSpPr>
            <a:spLocks noGrp="1"/>
          </p:cNvSpPr>
          <p:nvPr>
            <p:ph idx="1" hasCustomPrompt="1"/>
          </p:nvPr>
        </p:nvSpPr>
        <p:spPr bwMode="gray">
          <a:xfrm>
            <a:off x="672000" y="3307200"/>
            <a:ext cx="3072000" cy="2500800"/>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0" name="Espace réservé du texte 9"/>
          <p:cNvSpPr>
            <a:spLocks noGrp="1"/>
          </p:cNvSpPr>
          <p:nvPr>
            <p:ph type="body" sz="quarter" idx="13" hasCustomPrompt="1"/>
          </p:nvPr>
        </p:nvSpPr>
        <p:spPr bwMode="gray">
          <a:xfrm>
            <a:off x="672000" y="1603200"/>
            <a:ext cx="10848000" cy="1260000"/>
          </a:xfrm>
        </p:spPr>
        <p:txBody>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9" name="Espace réservé du numéro de diapositive 8"/>
          <p:cNvSpPr>
            <a:spLocks noGrp="1"/>
          </p:cNvSpPr>
          <p:nvPr>
            <p:ph type="sldNum" sz="quarter" idx="15"/>
          </p:nvPr>
        </p:nvSpPr>
        <p:spPr bwMode="gray">
          <a:xfrm>
            <a:off x="672000" y="6327933"/>
            <a:ext cx="1200149" cy="530067"/>
          </a:xfrm>
          <a:prstGeom prst="rect">
            <a:avLst/>
          </a:prstGeom>
        </p:spPr>
        <p:txBody>
          <a:bodyPr/>
          <a:lstStyle/>
          <a:p>
            <a:pPr algn="l"/>
            <a:fld id="{733122C9-A0B9-462F-8757-0847AD287B63}" type="slidenum">
              <a:rPr lang="en-GB" noProof="0" smtClean="0"/>
              <a:pPr algn="l"/>
              <a:t>‹#›</a:t>
            </a:fld>
            <a:endParaRPr lang="en-GB" noProof="0"/>
          </a:p>
        </p:txBody>
      </p:sp>
      <p:sp>
        <p:nvSpPr>
          <p:cNvPr id="13" name="Espace réservé du contenu 2"/>
          <p:cNvSpPr>
            <a:spLocks noGrp="1"/>
          </p:cNvSpPr>
          <p:nvPr>
            <p:ph idx="17" hasCustomPrompt="1"/>
          </p:nvPr>
        </p:nvSpPr>
        <p:spPr bwMode="gray">
          <a:xfrm>
            <a:off x="4167359" y="3307200"/>
            <a:ext cx="3072000" cy="2500800"/>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4" name="Espace réservé du contenu 2"/>
          <p:cNvSpPr>
            <a:spLocks noGrp="1"/>
          </p:cNvSpPr>
          <p:nvPr>
            <p:ph idx="18" hasCustomPrompt="1"/>
          </p:nvPr>
        </p:nvSpPr>
        <p:spPr bwMode="gray">
          <a:xfrm>
            <a:off x="7646800" y="3307200"/>
            <a:ext cx="3072000" cy="2500800"/>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Tree>
    <p:extLst>
      <p:ext uri="{BB962C8B-B14F-4D97-AF65-F5344CB8AC3E}">
        <p14:creationId xmlns:p14="http://schemas.microsoft.com/office/powerpoint/2010/main" val="2193668378"/>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4_Contents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a:xfrm>
            <a:off x="672000" y="217251"/>
            <a:ext cx="10848000" cy="1036637"/>
          </a:xfrm>
        </p:spPr>
        <p:txBody>
          <a:bodyPr/>
          <a:lstStyle/>
          <a:p>
            <a:r>
              <a:rPr lang="en-GB" noProof="0"/>
              <a:t>TITLE</a:t>
            </a:r>
          </a:p>
        </p:txBody>
      </p:sp>
      <p:sp>
        <p:nvSpPr>
          <p:cNvPr id="3" name="Espace réservé du contenu 2"/>
          <p:cNvSpPr>
            <a:spLocks noGrp="1"/>
          </p:cNvSpPr>
          <p:nvPr>
            <p:ph idx="1" hasCustomPrompt="1"/>
          </p:nvPr>
        </p:nvSpPr>
        <p:spPr bwMode="gray">
          <a:xfrm>
            <a:off x="672000" y="1603200"/>
            <a:ext cx="5424000" cy="2035200"/>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8" name="Espace réservé du numéro de diapositive 7"/>
          <p:cNvSpPr>
            <a:spLocks noGrp="1"/>
          </p:cNvSpPr>
          <p:nvPr>
            <p:ph type="sldNum" sz="quarter" idx="11"/>
          </p:nvPr>
        </p:nvSpPr>
        <p:spPr bwMode="gray">
          <a:xfrm>
            <a:off x="672000" y="6327933"/>
            <a:ext cx="1200149" cy="530067"/>
          </a:xfrm>
          <a:prstGeom prst="rect">
            <a:avLst/>
          </a:prstGeom>
        </p:spPr>
        <p:txBody>
          <a:bodyPr/>
          <a:lstStyle/>
          <a:p>
            <a:pPr algn="l"/>
            <a:fld id="{733122C9-A0B9-462F-8757-0847AD287B63}" type="slidenum">
              <a:rPr lang="en-GB" noProof="0" smtClean="0"/>
              <a:pPr algn="l"/>
              <a:t>‹#›</a:t>
            </a:fld>
            <a:endParaRPr lang="en-GB" noProof="0"/>
          </a:p>
        </p:txBody>
      </p:sp>
      <p:sp>
        <p:nvSpPr>
          <p:cNvPr id="9" name="Espace réservé du contenu 2"/>
          <p:cNvSpPr>
            <a:spLocks noGrp="1"/>
          </p:cNvSpPr>
          <p:nvPr>
            <p:ph idx="13" hasCustomPrompt="1"/>
          </p:nvPr>
        </p:nvSpPr>
        <p:spPr bwMode="gray">
          <a:xfrm>
            <a:off x="6096000" y="1603200"/>
            <a:ext cx="5424000" cy="2035200"/>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3" name="Espace réservé du contenu 2"/>
          <p:cNvSpPr>
            <a:spLocks noGrp="1"/>
          </p:cNvSpPr>
          <p:nvPr>
            <p:ph idx="14" hasCustomPrompt="1"/>
          </p:nvPr>
        </p:nvSpPr>
        <p:spPr bwMode="gray">
          <a:xfrm>
            <a:off x="672000" y="3771388"/>
            <a:ext cx="5424000" cy="2034629"/>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4" name="Espace réservé du contenu 2"/>
          <p:cNvSpPr>
            <a:spLocks noGrp="1"/>
          </p:cNvSpPr>
          <p:nvPr>
            <p:ph idx="15" hasCustomPrompt="1"/>
          </p:nvPr>
        </p:nvSpPr>
        <p:spPr bwMode="gray">
          <a:xfrm>
            <a:off x="6096000" y="3771388"/>
            <a:ext cx="5424000" cy="2034629"/>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Tree>
    <p:extLst>
      <p:ext uri="{BB962C8B-B14F-4D97-AF65-F5344CB8AC3E}">
        <p14:creationId xmlns:p14="http://schemas.microsoft.com/office/powerpoint/2010/main" val="250749956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Picture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9" name="Espace réservé du numéro de diapositive 8"/>
          <p:cNvSpPr>
            <a:spLocks noGrp="1"/>
          </p:cNvSpPr>
          <p:nvPr>
            <p:ph type="sldNum" sz="quarter" idx="15"/>
          </p:nvPr>
        </p:nvSpPr>
        <p:spPr bwMode="gray">
          <a:xfrm>
            <a:off x="672000" y="6327933"/>
            <a:ext cx="1200149" cy="530067"/>
          </a:xfrm>
          <a:prstGeom prst="rect">
            <a:avLst/>
          </a:prstGeom>
        </p:spPr>
        <p:txBody>
          <a:bodyPr/>
          <a:lstStyle/>
          <a:p>
            <a:pPr algn="l"/>
            <a:fld id="{733122C9-A0B9-462F-8757-0847AD287B63}" type="slidenum">
              <a:rPr lang="en-GB" noProof="0" smtClean="0"/>
              <a:pPr algn="l"/>
              <a:t>‹#›</a:t>
            </a:fld>
            <a:endParaRPr lang="en-GB" noProof="0"/>
          </a:p>
        </p:txBody>
      </p:sp>
      <p:sp>
        <p:nvSpPr>
          <p:cNvPr id="12" name="Espace réservé pour une image  8"/>
          <p:cNvSpPr>
            <a:spLocks noGrp="1"/>
          </p:cNvSpPr>
          <p:nvPr>
            <p:ph type="pic" sz="quarter" idx="17" hasCustomPrompt="1"/>
          </p:nvPr>
        </p:nvSpPr>
        <p:spPr bwMode="gray">
          <a:xfrm>
            <a:off x="672000" y="1603201"/>
            <a:ext cx="10848000" cy="4156800"/>
          </a:xfrm>
        </p:spPr>
        <p:txBody>
          <a:bodyPr tIns="1008000" anchor="ctr" anchorCtr="0"/>
          <a:lstStyle>
            <a:lvl1pPr algn="ctr">
              <a:defRPr/>
            </a:lvl1pPr>
          </a:lstStyle>
          <a:p>
            <a:r>
              <a:rPr lang="en-GB" noProof="0"/>
              <a:t>Select your own photo</a:t>
            </a:r>
          </a:p>
        </p:txBody>
      </p:sp>
    </p:spTree>
    <p:extLst>
      <p:ext uri="{BB962C8B-B14F-4D97-AF65-F5344CB8AC3E}">
        <p14:creationId xmlns:p14="http://schemas.microsoft.com/office/powerpoint/2010/main" val="2344322798"/>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ext&amp;4_Blocks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10" name="Espace réservé du texte 9"/>
          <p:cNvSpPr>
            <a:spLocks noGrp="1"/>
          </p:cNvSpPr>
          <p:nvPr>
            <p:ph type="body" sz="quarter" idx="13" hasCustomPrompt="1"/>
          </p:nvPr>
        </p:nvSpPr>
        <p:spPr bwMode="gray">
          <a:xfrm>
            <a:off x="672000" y="1603200"/>
            <a:ext cx="10848000" cy="936627"/>
          </a:xfrm>
        </p:spPr>
        <p:txBody>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9" name="Espace réservé du numéro de diapositive 8"/>
          <p:cNvSpPr>
            <a:spLocks noGrp="1"/>
          </p:cNvSpPr>
          <p:nvPr>
            <p:ph type="sldNum" sz="quarter" idx="15"/>
          </p:nvPr>
        </p:nvSpPr>
        <p:spPr bwMode="gray">
          <a:xfrm>
            <a:off x="672000" y="6327933"/>
            <a:ext cx="1200149" cy="530067"/>
          </a:xfrm>
          <a:prstGeom prst="rect">
            <a:avLst/>
          </a:prstGeom>
        </p:spPr>
        <p:txBody>
          <a:bodyPr/>
          <a:lstStyle/>
          <a:p>
            <a:pPr algn="l"/>
            <a:fld id="{733122C9-A0B9-462F-8757-0847AD287B63}" type="slidenum">
              <a:rPr lang="en-GB" noProof="0" smtClean="0"/>
              <a:pPr algn="l"/>
              <a:t>‹#›</a:t>
            </a:fld>
            <a:endParaRPr lang="en-GB" noProof="0"/>
          </a:p>
        </p:txBody>
      </p:sp>
      <p:sp>
        <p:nvSpPr>
          <p:cNvPr id="21" name="Espace réservé du texte 9"/>
          <p:cNvSpPr>
            <a:spLocks noGrp="1"/>
          </p:cNvSpPr>
          <p:nvPr>
            <p:ph type="body" sz="quarter" idx="19" hasCustomPrompt="1"/>
          </p:nvPr>
        </p:nvSpPr>
        <p:spPr bwMode="gray">
          <a:xfrm>
            <a:off x="672000" y="2638824"/>
            <a:ext cx="4896000" cy="324000"/>
          </a:xfrm>
          <a:solidFill>
            <a:schemeClr val="accent1"/>
          </a:solidFill>
          <a:ln w="9525">
            <a:solidFill>
              <a:schemeClr val="accent1"/>
            </a:solidFill>
          </a:ln>
        </p:spPr>
        <p:txBody>
          <a:bodyPr anchor="ctr" anchorCtr="0"/>
          <a:lstStyle>
            <a:lvl1pPr algn="ctr">
              <a:lnSpc>
                <a:spcPct val="100000"/>
              </a:lnSpc>
              <a:defRPr>
                <a:solidFill>
                  <a:schemeClr val="bg1"/>
                </a:solidFill>
              </a:defRPr>
            </a:lvl1pPr>
          </a:lstStyle>
          <a:p>
            <a:pPr lvl="0"/>
            <a:r>
              <a:rPr lang="en-GB" noProof="0"/>
              <a:t>Text level 1</a:t>
            </a:r>
          </a:p>
        </p:txBody>
      </p:sp>
      <p:sp>
        <p:nvSpPr>
          <p:cNvPr id="22" name="Espace réservé du texte 9"/>
          <p:cNvSpPr>
            <a:spLocks noGrp="1"/>
          </p:cNvSpPr>
          <p:nvPr>
            <p:ph type="body" sz="quarter" idx="20" hasCustomPrompt="1"/>
          </p:nvPr>
        </p:nvSpPr>
        <p:spPr bwMode="gray">
          <a:xfrm>
            <a:off x="672000" y="2962824"/>
            <a:ext cx="4896000" cy="2352000"/>
          </a:xfrm>
          <a:ln w="9525">
            <a:solidFill>
              <a:schemeClr val="accent1"/>
            </a:solidFill>
          </a:ln>
        </p:spPr>
        <p:txBody>
          <a:bodyPr tIns="72000"/>
          <a:lstStyle>
            <a:lvl1pPr marL="431989" indent="-239994">
              <a:lnSpc>
                <a:spcPct val="100000"/>
              </a:lnSpc>
              <a:spcBef>
                <a:spcPts val="400"/>
              </a:spcBef>
              <a:buClr>
                <a:schemeClr val="accent3"/>
              </a:buClr>
              <a:buFont typeface="Arial" pitchFamily="34" charset="0"/>
              <a:buChar char="•"/>
              <a:defRPr sz="2400">
                <a:solidFill>
                  <a:schemeClr val="tx1"/>
                </a:solidFill>
              </a:defRPr>
            </a:lvl1pPr>
            <a:lvl2pPr marL="671983">
              <a:buClr>
                <a:schemeClr val="tx1"/>
              </a:buClr>
              <a:defRPr sz="2133" b="0"/>
            </a:lvl2pPr>
            <a:lvl3pPr indent="0">
              <a:buNone/>
              <a:defRPr/>
            </a:lvl3pPr>
            <a:lvl4pPr marL="911977" indent="-239994">
              <a:buClr>
                <a:schemeClr val="tx1"/>
              </a:buClr>
              <a:buFont typeface="Arial" pitchFamily="34" charset="0"/>
              <a:buChar char="•"/>
              <a:defRPr sz="1867"/>
            </a:lvl4pPr>
          </a:lstStyle>
          <a:p>
            <a:pPr lvl="0"/>
            <a:r>
              <a:rPr lang="en-GB" noProof="0"/>
              <a:t>Text level 2</a:t>
            </a:r>
          </a:p>
          <a:p>
            <a:pPr lvl="1"/>
            <a:r>
              <a:rPr lang="en-GB" noProof="0"/>
              <a:t>Text level 3</a:t>
            </a:r>
          </a:p>
          <a:p>
            <a:pPr lvl="2"/>
            <a:r>
              <a:rPr lang="en-GB" noProof="0"/>
              <a:t>Text level 4</a:t>
            </a:r>
          </a:p>
          <a:p>
            <a:pPr lvl="3"/>
            <a:r>
              <a:rPr lang="en-GB" noProof="0"/>
              <a:t>Text level 5</a:t>
            </a:r>
          </a:p>
        </p:txBody>
      </p:sp>
      <p:sp>
        <p:nvSpPr>
          <p:cNvPr id="23" name="Espace réservé du texte 9"/>
          <p:cNvSpPr>
            <a:spLocks noGrp="1"/>
          </p:cNvSpPr>
          <p:nvPr>
            <p:ph type="body" sz="quarter" idx="21" hasCustomPrompt="1"/>
          </p:nvPr>
        </p:nvSpPr>
        <p:spPr bwMode="gray">
          <a:xfrm>
            <a:off x="6096000" y="2638824"/>
            <a:ext cx="4896000" cy="324000"/>
          </a:xfrm>
          <a:solidFill>
            <a:schemeClr val="accent2"/>
          </a:solidFill>
          <a:ln w="9525">
            <a:solidFill>
              <a:schemeClr val="accent2"/>
            </a:solidFill>
          </a:ln>
        </p:spPr>
        <p:txBody>
          <a:bodyPr anchor="ctr" anchorCtr="0"/>
          <a:lstStyle>
            <a:lvl1pPr algn="ctr">
              <a:lnSpc>
                <a:spcPct val="100000"/>
              </a:lnSpc>
              <a:defRPr>
                <a:solidFill>
                  <a:schemeClr val="bg1"/>
                </a:solidFill>
              </a:defRPr>
            </a:lvl1pPr>
          </a:lstStyle>
          <a:p>
            <a:pPr lvl="0"/>
            <a:r>
              <a:rPr lang="en-GB" noProof="0"/>
              <a:t>Text level 1</a:t>
            </a:r>
          </a:p>
        </p:txBody>
      </p:sp>
      <p:sp>
        <p:nvSpPr>
          <p:cNvPr id="24" name="Espace réservé du texte 9"/>
          <p:cNvSpPr>
            <a:spLocks noGrp="1"/>
          </p:cNvSpPr>
          <p:nvPr>
            <p:ph type="body" sz="quarter" idx="22" hasCustomPrompt="1"/>
          </p:nvPr>
        </p:nvSpPr>
        <p:spPr bwMode="gray">
          <a:xfrm>
            <a:off x="6096000" y="2962824"/>
            <a:ext cx="4896000" cy="2352000"/>
          </a:xfrm>
          <a:ln w="9525">
            <a:solidFill>
              <a:schemeClr val="accent2"/>
            </a:solidFill>
          </a:ln>
        </p:spPr>
        <p:txBody>
          <a:bodyPr tIns="72000"/>
          <a:lstStyle>
            <a:lvl1pPr marL="431989" indent="-239994">
              <a:lnSpc>
                <a:spcPct val="100000"/>
              </a:lnSpc>
              <a:spcBef>
                <a:spcPts val="400"/>
              </a:spcBef>
              <a:buClr>
                <a:schemeClr val="accent3"/>
              </a:buClr>
              <a:buFont typeface="Arial" pitchFamily="34" charset="0"/>
              <a:buChar char="•"/>
              <a:defRPr sz="2400">
                <a:solidFill>
                  <a:schemeClr val="tx1"/>
                </a:solidFill>
              </a:defRPr>
            </a:lvl1pPr>
            <a:lvl2pPr marL="671983">
              <a:buClr>
                <a:schemeClr val="tx1"/>
              </a:buClr>
              <a:defRPr sz="2133" b="0"/>
            </a:lvl2pPr>
            <a:lvl3pPr indent="0">
              <a:buNone/>
              <a:defRPr/>
            </a:lvl3pPr>
            <a:lvl4pPr marL="911977" indent="-239994">
              <a:buClr>
                <a:schemeClr val="tx1"/>
              </a:buClr>
              <a:buFont typeface="Arial" pitchFamily="34" charset="0"/>
              <a:buChar char="•"/>
              <a:defRPr sz="1867"/>
            </a:lvl4pPr>
          </a:lstStyle>
          <a:p>
            <a:pPr lvl="0"/>
            <a:r>
              <a:rPr lang="en-GB" noProof="0"/>
              <a:t>Text level 2</a:t>
            </a:r>
          </a:p>
          <a:p>
            <a:pPr lvl="1"/>
            <a:r>
              <a:rPr lang="en-GB" noProof="0"/>
              <a:t>Text level 3</a:t>
            </a:r>
          </a:p>
          <a:p>
            <a:pPr lvl="2"/>
            <a:r>
              <a:rPr lang="en-GB" noProof="0"/>
              <a:t>Text level 4</a:t>
            </a:r>
          </a:p>
          <a:p>
            <a:pPr lvl="3"/>
            <a:r>
              <a:rPr lang="en-GB" noProof="0"/>
              <a:t>Text level 5</a:t>
            </a:r>
          </a:p>
        </p:txBody>
      </p:sp>
    </p:spTree>
    <p:extLst>
      <p:ext uri="{BB962C8B-B14F-4D97-AF65-F5344CB8AC3E}">
        <p14:creationId xmlns:p14="http://schemas.microsoft.com/office/powerpoint/2010/main" val="60192771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4_Blocks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9" name="Espace réservé du numéro de diapositive 8"/>
          <p:cNvSpPr>
            <a:spLocks noGrp="1"/>
          </p:cNvSpPr>
          <p:nvPr>
            <p:ph type="sldNum" sz="quarter" idx="15"/>
          </p:nvPr>
        </p:nvSpPr>
        <p:spPr bwMode="gray">
          <a:xfrm>
            <a:off x="672000" y="6327933"/>
            <a:ext cx="1200149" cy="530067"/>
          </a:xfrm>
          <a:prstGeom prst="rect">
            <a:avLst/>
          </a:prstGeom>
        </p:spPr>
        <p:txBody>
          <a:bodyPr/>
          <a:lstStyle/>
          <a:p>
            <a:pPr algn="l"/>
            <a:fld id="{733122C9-A0B9-462F-8757-0847AD287B63}" type="slidenum">
              <a:rPr lang="en-GB" noProof="0" smtClean="0"/>
              <a:pPr algn="l"/>
              <a:t>‹#›</a:t>
            </a:fld>
            <a:endParaRPr lang="en-GB" noProof="0"/>
          </a:p>
        </p:txBody>
      </p:sp>
      <p:pic>
        <p:nvPicPr>
          <p:cNvPr id="10" name="table"/>
          <p:cNvPicPr>
            <a:picLocks noChangeAspect="1"/>
          </p:cNvPicPr>
          <p:nvPr userDrawn="1"/>
        </p:nvPicPr>
        <p:blipFill>
          <a:blip r:embed="rId2"/>
          <a:stretch>
            <a:fillRect/>
          </a:stretch>
        </p:blipFill>
        <p:spPr>
          <a:xfrm>
            <a:off x="1192419" y="1653712"/>
            <a:ext cx="4465240" cy="1788160"/>
          </a:xfrm>
          <a:prstGeom prst="rect">
            <a:avLst/>
          </a:prstGeom>
        </p:spPr>
      </p:pic>
      <p:pic>
        <p:nvPicPr>
          <p:cNvPr id="12" name="table"/>
          <p:cNvPicPr>
            <a:picLocks noChangeAspect="1"/>
          </p:cNvPicPr>
          <p:nvPr userDrawn="1"/>
        </p:nvPicPr>
        <p:blipFill>
          <a:blip r:embed="rId3"/>
          <a:stretch>
            <a:fillRect/>
          </a:stretch>
        </p:blipFill>
        <p:spPr>
          <a:xfrm>
            <a:off x="6534343" y="1653712"/>
            <a:ext cx="4465240" cy="1788160"/>
          </a:xfrm>
          <a:prstGeom prst="rect">
            <a:avLst/>
          </a:prstGeom>
        </p:spPr>
      </p:pic>
      <p:pic>
        <p:nvPicPr>
          <p:cNvPr id="13" name="table"/>
          <p:cNvPicPr>
            <a:picLocks noChangeAspect="1"/>
          </p:cNvPicPr>
          <p:nvPr userDrawn="1"/>
        </p:nvPicPr>
        <p:blipFill>
          <a:blip r:embed="rId4"/>
          <a:stretch>
            <a:fillRect/>
          </a:stretch>
        </p:blipFill>
        <p:spPr>
          <a:xfrm>
            <a:off x="1192419" y="3813043"/>
            <a:ext cx="4465240" cy="1788160"/>
          </a:xfrm>
          <a:prstGeom prst="rect">
            <a:avLst/>
          </a:prstGeom>
        </p:spPr>
      </p:pic>
      <p:pic>
        <p:nvPicPr>
          <p:cNvPr id="14" name="table"/>
          <p:cNvPicPr>
            <a:picLocks noChangeAspect="1"/>
          </p:cNvPicPr>
          <p:nvPr userDrawn="1"/>
        </p:nvPicPr>
        <p:blipFill>
          <a:blip r:embed="rId5"/>
          <a:stretch>
            <a:fillRect/>
          </a:stretch>
        </p:blipFill>
        <p:spPr>
          <a:xfrm>
            <a:off x="6534343" y="3813043"/>
            <a:ext cx="4465240" cy="1788160"/>
          </a:xfrm>
          <a:prstGeom prst="rect">
            <a:avLst/>
          </a:prstGeom>
        </p:spPr>
      </p:pic>
    </p:spTree>
    <p:extLst>
      <p:ext uri="{BB962C8B-B14F-4D97-AF65-F5344CB8AC3E}">
        <p14:creationId xmlns:p14="http://schemas.microsoft.com/office/powerpoint/2010/main" val="6096655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ubtitle, object, text">
    <p:spTree>
      <p:nvGrpSpPr>
        <p:cNvPr id="1" name=""/>
        <p:cNvGrpSpPr/>
        <p:nvPr/>
      </p:nvGrpSpPr>
      <p:grpSpPr>
        <a:xfrm>
          <a:off x="0" y="0"/>
          <a:ext cx="0" cy="0"/>
          <a:chOff x="0" y="0"/>
          <a:chExt cx="0" cy="0"/>
        </a:xfrm>
      </p:grpSpPr>
      <p:sp>
        <p:nvSpPr>
          <p:cNvPr id="13" name="Rectángulo 9"/>
          <p:cNvSpPr/>
          <p:nvPr userDrawn="1"/>
        </p:nvSpPr>
        <p:spPr>
          <a:xfrm>
            <a:off x="0" y="0"/>
            <a:ext cx="12187995" cy="108000"/>
          </a:xfrm>
          <a:prstGeom prst="rect">
            <a:avLst/>
          </a:prstGeom>
          <a:gradFill rotWithShape="1">
            <a:gsLst>
              <a:gs pos="0">
                <a:srgbClr val="A50021"/>
              </a:gs>
              <a:gs pos="100000">
                <a:srgbClr val="636463"/>
              </a:gs>
            </a:gsLst>
            <a:lin ang="16200000" scaled="0"/>
          </a:gradFill>
          <a:ln w="952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srgbClr val="F3EBDD"/>
              </a:solidFill>
              <a:effectLst/>
              <a:uLnTx/>
              <a:uFillTx/>
              <a:latin typeface="Arial"/>
              <a:ea typeface="+mn-ea"/>
              <a:cs typeface="+mn-cs"/>
            </a:endParaRPr>
          </a:p>
        </p:txBody>
      </p:sp>
      <p:sp>
        <p:nvSpPr>
          <p:cNvPr id="6" name="Rectangle 2"/>
          <p:cNvSpPr>
            <a:spLocks noGrp="1" noChangeArrowheads="1"/>
          </p:cNvSpPr>
          <p:nvPr>
            <p:ph type="title" hasCustomPrompt="1"/>
          </p:nvPr>
        </p:nvSpPr>
        <p:spPr bwMode="auto">
          <a:xfrm>
            <a:off x="609600" y="274638"/>
            <a:ext cx="10972800" cy="90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defRPr>
                <a:solidFill>
                  <a:srgbClr val="A50021"/>
                </a:solidFill>
              </a:defRPr>
            </a:lvl1pPr>
          </a:lstStyle>
          <a:p>
            <a:pPr lvl="0"/>
            <a:r>
              <a:rPr lang="fr-FR"/>
              <a:t>Cliquez pour modifier le style du titre</a:t>
            </a:r>
            <a:br>
              <a:rPr lang="fr-FR"/>
            </a:br>
            <a:endParaRPr lang="fr-FR"/>
          </a:p>
        </p:txBody>
      </p:sp>
      <p:sp>
        <p:nvSpPr>
          <p:cNvPr id="8" name="Espace réservé du texte 2"/>
          <p:cNvSpPr>
            <a:spLocks noGrp="1"/>
          </p:cNvSpPr>
          <p:nvPr>
            <p:ph type="body" sz="half" idx="1"/>
          </p:nvPr>
        </p:nvSpPr>
        <p:spPr>
          <a:xfrm>
            <a:off x="6192011" y="1614505"/>
            <a:ext cx="5384800" cy="4536504"/>
          </a:xfrm>
        </p:spPr>
        <p:txBody>
          <a:bodyPr/>
          <a:lstStyle>
            <a:lvl1pPr marL="342900" indent="-342900">
              <a:buClr>
                <a:srgbClr val="A50021"/>
              </a:buClr>
              <a:buFont typeface="Wingdings" pitchFamily="2" charset="2"/>
              <a:buChar char="§"/>
              <a:defRPr sz="3000">
                <a:latin typeface="Arial" pitchFamily="34" charset="0"/>
                <a:cs typeface="Arial" pitchFamily="34" charset="0"/>
              </a:defRPr>
            </a:lvl1pPr>
            <a:lvl2pPr marL="742950" indent="-285750">
              <a:buSzPct val="100000"/>
              <a:buFont typeface="Arial" pitchFamily="34" charset="0"/>
              <a:buChar char="•"/>
              <a:defRPr>
                <a:latin typeface="Arial" pitchFamily="34" charset="0"/>
                <a:cs typeface="Arial" pitchFamily="34" charset="0"/>
              </a:defRPr>
            </a:lvl2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9" name="Espace réservé du contenu 3"/>
          <p:cNvSpPr>
            <a:spLocks noGrp="1"/>
          </p:cNvSpPr>
          <p:nvPr>
            <p:ph sz="half" idx="2"/>
          </p:nvPr>
        </p:nvSpPr>
        <p:spPr>
          <a:xfrm>
            <a:off x="615189" y="1614505"/>
            <a:ext cx="5384800" cy="4536504"/>
          </a:xfrm>
        </p:spPr>
        <p:txBody>
          <a:bodyPr/>
          <a:lstStyle>
            <a:lvl1pPr marL="0" indent="0">
              <a:buClr>
                <a:srgbClr val="A50021"/>
              </a:buClr>
              <a:buFont typeface="Wingdings" pitchFamily="2" charset="2"/>
              <a:buNone/>
              <a:defRPr sz="3000">
                <a:latin typeface="Arial" pitchFamily="34" charset="0"/>
                <a:cs typeface="Arial" pitchFamily="34" charset="0"/>
              </a:defRPr>
            </a:lvl1pPr>
            <a:lvl2pPr marL="742950" indent="-285750">
              <a:buSzPct val="100000"/>
              <a:buFont typeface="Arial" pitchFamily="34" charset="0"/>
              <a:buChar char="•"/>
              <a:defRPr>
                <a:latin typeface="Arial" pitchFamily="34" charset="0"/>
                <a:cs typeface="Arial" pitchFamily="34" charset="0"/>
              </a:defRPr>
            </a:lvl2pPr>
          </a:lstStyle>
          <a:p>
            <a:pPr lvl="0"/>
            <a:endParaRPr lang="fr-FR"/>
          </a:p>
        </p:txBody>
      </p:sp>
      <p:sp>
        <p:nvSpPr>
          <p:cNvPr id="7" name="Espace réservé du texte 4"/>
          <p:cNvSpPr>
            <a:spLocks noGrp="1"/>
          </p:cNvSpPr>
          <p:nvPr>
            <p:ph type="body" sz="quarter" idx="12" hasCustomPrompt="1"/>
          </p:nvPr>
        </p:nvSpPr>
        <p:spPr>
          <a:xfrm>
            <a:off x="624417" y="908720"/>
            <a:ext cx="10944191" cy="504056"/>
          </a:xfrm>
          <a:noFill/>
        </p:spPr>
        <p:txBody>
          <a:bodyPr/>
          <a:lstStyle>
            <a:lvl1pPr marL="0" indent="0" algn="ctr" rtl="0" eaLnBrk="0" fontAlgn="base" hangingPunct="0">
              <a:spcBef>
                <a:spcPct val="0"/>
              </a:spcBef>
              <a:spcAft>
                <a:spcPct val="0"/>
              </a:spcAft>
              <a:buNone/>
              <a:defRPr lang="fr-FR" sz="2400" b="0" i="1" kern="1200" dirty="0" smtClean="0">
                <a:solidFill>
                  <a:srgbClr val="636463"/>
                </a:solidFill>
                <a:latin typeface="Arial"/>
                <a:ea typeface="+mn-ea"/>
                <a:cs typeface="+mn-cs"/>
              </a:defRPr>
            </a:lvl1pPr>
          </a:lstStyle>
          <a:p>
            <a:pPr lvl="0"/>
            <a:r>
              <a:rPr lang="fr-FR" err="1"/>
              <a:t>Subtitle</a:t>
            </a:r>
            <a:r>
              <a:rPr lang="fr-FR"/>
              <a:t> </a:t>
            </a:r>
          </a:p>
        </p:txBody>
      </p:sp>
    </p:spTree>
    <p:extLst>
      <p:ext uri="{BB962C8B-B14F-4D97-AF65-F5344CB8AC3E}">
        <p14:creationId xmlns:p14="http://schemas.microsoft.com/office/powerpoint/2010/main" val="1012169833"/>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2_Blocks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9" name="Espace réservé du numéro de diapositive 8"/>
          <p:cNvSpPr>
            <a:spLocks noGrp="1"/>
          </p:cNvSpPr>
          <p:nvPr>
            <p:ph type="sldNum" sz="quarter" idx="15"/>
          </p:nvPr>
        </p:nvSpPr>
        <p:spPr bwMode="gray">
          <a:xfrm>
            <a:off x="672000" y="6327933"/>
            <a:ext cx="1200149" cy="530067"/>
          </a:xfrm>
          <a:prstGeom prst="rect">
            <a:avLst/>
          </a:prstGeom>
        </p:spPr>
        <p:txBody>
          <a:bodyPr/>
          <a:lstStyle/>
          <a:p>
            <a:pPr algn="l"/>
            <a:fld id="{733122C9-A0B9-462F-8757-0847AD287B63}" type="slidenum">
              <a:rPr lang="en-GB" noProof="0" smtClean="0"/>
              <a:pPr algn="l"/>
              <a:t>‹#›</a:t>
            </a:fld>
            <a:endParaRPr lang="en-GB" noProof="0"/>
          </a:p>
        </p:txBody>
      </p:sp>
      <p:sp>
        <p:nvSpPr>
          <p:cNvPr id="21" name="Espace réservé du texte 9"/>
          <p:cNvSpPr>
            <a:spLocks noGrp="1"/>
          </p:cNvSpPr>
          <p:nvPr>
            <p:ph type="body" sz="quarter" idx="19" hasCustomPrompt="1"/>
          </p:nvPr>
        </p:nvSpPr>
        <p:spPr bwMode="gray">
          <a:xfrm>
            <a:off x="672000" y="1651200"/>
            <a:ext cx="4896000" cy="335715"/>
          </a:xfrm>
          <a:solidFill>
            <a:schemeClr val="accent2"/>
          </a:solidFill>
          <a:ln w="9525">
            <a:solidFill>
              <a:schemeClr val="bg2"/>
            </a:solidFill>
          </a:ln>
        </p:spPr>
        <p:txBody>
          <a:bodyPr anchor="ctr" anchorCtr="0"/>
          <a:lstStyle>
            <a:lvl1pPr algn="ctr">
              <a:lnSpc>
                <a:spcPct val="100000"/>
              </a:lnSpc>
              <a:defRPr>
                <a:solidFill>
                  <a:schemeClr val="bg1"/>
                </a:solidFill>
              </a:defRPr>
            </a:lvl1pPr>
          </a:lstStyle>
          <a:p>
            <a:pPr lvl="0"/>
            <a:r>
              <a:rPr lang="en-GB" noProof="0"/>
              <a:t>Text level 1</a:t>
            </a:r>
          </a:p>
        </p:txBody>
      </p:sp>
      <p:sp>
        <p:nvSpPr>
          <p:cNvPr id="22" name="Espace réservé du texte 9"/>
          <p:cNvSpPr>
            <a:spLocks noGrp="1"/>
          </p:cNvSpPr>
          <p:nvPr>
            <p:ph type="body" sz="quarter" idx="20" hasCustomPrompt="1"/>
          </p:nvPr>
        </p:nvSpPr>
        <p:spPr bwMode="gray">
          <a:xfrm>
            <a:off x="672000" y="1985432"/>
            <a:ext cx="4896000" cy="3561600"/>
          </a:xfrm>
          <a:ln w="9525">
            <a:solidFill>
              <a:schemeClr val="bg2"/>
            </a:solidFill>
          </a:ln>
        </p:spPr>
        <p:txBody>
          <a:bodyPr tIns="72000"/>
          <a:lstStyle>
            <a:lvl1pPr marL="431989" indent="-239994">
              <a:lnSpc>
                <a:spcPct val="100000"/>
              </a:lnSpc>
              <a:spcBef>
                <a:spcPts val="400"/>
              </a:spcBef>
              <a:buClr>
                <a:schemeClr val="accent3"/>
              </a:buClr>
              <a:buFont typeface="Arial" pitchFamily="34" charset="0"/>
              <a:buChar char="•"/>
              <a:defRPr sz="2400">
                <a:solidFill>
                  <a:schemeClr val="tx1"/>
                </a:solidFill>
              </a:defRPr>
            </a:lvl1pPr>
            <a:lvl2pPr marL="671983">
              <a:buClr>
                <a:schemeClr val="tx1"/>
              </a:buClr>
              <a:defRPr sz="2133" b="0"/>
            </a:lvl2pPr>
            <a:lvl3pPr indent="0">
              <a:buNone/>
              <a:defRPr/>
            </a:lvl3pPr>
            <a:lvl4pPr marL="911977" indent="-239994">
              <a:buClr>
                <a:schemeClr val="tx1"/>
              </a:buClr>
              <a:buFont typeface="Arial" pitchFamily="34" charset="0"/>
              <a:buChar char="•"/>
              <a:defRPr sz="1867"/>
            </a:lvl4pPr>
          </a:lstStyle>
          <a:p>
            <a:pPr lvl="0"/>
            <a:r>
              <a:rPr lang="en-GB" noProof="0"/>
              <a:t>Text level 2</a:t>
            </a:r>
          </a:p>
          <a:p>
            <a:pPr lvl="1"/>
            <a:r>
              <a:rPr lang="en-GB" noProof="0"/>
              <a:t>Text level 3</a:t>
            </a:r>
          </a:p>
          <a:p>
            <a:pPr lvl="2"/>
            <a:r>
              <a:rPr lang="en-GB" noProof="0"/>
              <a:t>Text level 4</a:t>
            </a:r>
          </a:p>
          <a:p>
            <a:pPr lvl="3"/>
            <a:r>
              <a:rPr lang="en-GB" noProof="0"/>
              <a:t>Text level 5</a:t>
            </a:r>
          </a:p>
        </p:txBody>
      </p:sp>
      <p:sp>
        <p:nvSpPr>
          <p:cNvPr id="23" name="Espace réservé du texte 9"/>
          <p:cNvSpPr>
            <a:spLocks noGrp="1"/>
          </p:cNvSpPr>
          <p:nvPr>
            <p:ph type="body" sz="quarter" idx="21" hasCustomPrompt="1"/>
          </p:nvPr>
        </p:nvSpPr>
        <p:spPr bwMode="gray">
          <a:xfrm>
            <a:off x="6096795" y="1651200"/>
            <a:ext cx="4896000" cy="335715"/>
          </a:xfrm>
          <a:solidFill>
            <a:schemeClr val="accent2"/>
          </a:solidFill>
          <a:ln w="9525">
            <a:solidFill>
              <a:schemeClr val="bg2"/>
            </a:solidFill>
          </a:ln>
        </p:spPr>
        <p:txBody>
          <a:bodyPr anchor="ctr" anchorCtr="0"/>
          <a:lstStyle>
            <a:lvl1pPr algn="ctr">
              <a:lnSpc>
                <a:spcPct val="100000"/>
              </a:lnSpc>
              <a:defRPr>
                <a:solidFill>
                  <a:schemeClr val="bg1"/>
                </a:solidFill>
              </a:defRPr>
            </a:lvl1pPr>
          </a:lstStyle>
          <a:p>
            <a:pPr lvl="0"/>
            <a:r>
              <a:rPr lang="en-GB" noProof="0"/>
              <a:t>Text level 1</a:t>
            </a:r>
          </a:p>
        </p:txBody>
      </p:sp>
      <p:sp>
        <p:nvSpPr>
          <p:cNvPr id="24" name="Espace réservé du texte 9"/>
          <p:cNvSpPr>
            <a:spLocks noGrp="1"/>
          </p:cNvSpPr>
          <p:nvPr>
            <p:ph type="body" sz="quarter" idx="22" hasCustomPrompt="1"/>
          </p:nvPr>
        </p:nvSpPr>
        <p:spPr bwMode="gray">
          <a:xfrm>
            <a:off x="6096795" y="1985432"/>
            <a:ext cx="4896000" cy="3561600"/>
          </a:xfrm>
          <a:ln w="9525">
            <a:solidFill>
              <a:schemeClr val="bg2"/>
            </a:solidFill>
          </a:ln>
        </p:spPr>
        <p:txBody>
          <a:bodyPr tIns="72000"/>
          <a:lstStyle>
            <a:lvl1pPr marL="431989" indent="-239994">
              <a:lnSpc>
                <a:spcPct val="100000"/>
              </a:lnSpc>
              <a:spcBef>
                <a:spcPts val="400"/>
              </a:spcBef>
              <a:buClr>
                <a:schemeClr val="accent3"/>
              </a:buClr>
              <a:buFont typeface="Arial" pitchFamily="34" charset="0"/>
              <a:buChar char="•"/>
              <a:defRPr sz="2400">
                <a:solidFill>
                  <a:schemeClr val="tx1"/>
                </a:solidFill>
              </a:defRPr>
            </a:lvl1pPr>
            <a:lvl2pPr marL="671983">
              <a:buClr>
                <a:schemeClr val="tx1"/>
              </a:buClr>
              <a:defRPr sz="2133" b="0"/>
            </a:lvl2pPr>
            <a:lvl3pPr indent="0">
              <a:buNone/>
              <a:defRPr/>
            </a:lvl3pPr>
            <a:lvl4pPr marL="911977" indent="-239994">
              <a:buClr>
                <a:schemeClr val="tx1"/>
              </a:buClr>
              <a:buFont typeface="Arial" pitchFamily="34" charset="0"/>
              <a:buChar char="•"/>
              <a:defRPr sz="1867"/>
            </a:lvl4pPr>
          </a:lstStyle>
          <a:p>
            <a:pPr lvl="0"/>
            <a:r>
              <a:rPr lang="en-GB" noProof="0"/>
              <a:t>Text level 2</a:t>
            </a:r>
          </a:p>
          <a:p>
            <a:pPr lvl="1"/>
            <a:r>
              <a:rPr lang="en-GB" noProof="0"/>
              <a:t>Text level 3</a:t>
            </a:r>
          </a:p>
          <a:p>
            <a:pPr lvl="2"/>
            <a:r>
              <a:rPr lang="en-GB" noProof="0"/>
              <a:t>Text level 4</a:t>
            </a:r>
          </a:p>
          <a:p>
            <a:pPr lvl="3"/>
            <a:r>
              <a:rPr lang="en-GB" noProof="0"/>
              <a:t>Text level 5</a:t>
            </a:r>
          </a:p>
        </p:txBody>
      </p:sp>
    </p:spTree>
    <p:extLst>
      <p:ext uri="{BB962C8B-B14F-4D97-AF65-F5344CB8AC3E}">
        <p14:creationId xmlns:p14="http://schemas.microsoft.com/office/powerpoint/2010/main" val="392996148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hank_you_2">
    <p:spTree>
      <p:nvGrpSpPr>
        <p:cNvPr id="1" name=""/>
        <p:cNvGrpSpPr/>
        <p:nvPr/>
      </p:nvGrpSpPr>
      <p:grpSpPr>
        <a:xfrm>
          <a:off x="0" y="0"/>
          <a:ext cx="0" cy="0"/>
          <a:chOff x="0" y="0"/>
          <a:chExt cx="0" cy="0"/>
        </a:xfrm>
      </p:grpSpPr>
      <p:pic>
        <p:nvPicPr>
          <p:cNvPr id="18" name="Image 17" descr="Image_03.jpg"/>
          <p:cNvPicPr>
            <a:picLocks noChangeAspect="1"/>
          </p:cNvPicPr>
          <p:nvPr userDrawn="1"/>
        </p:nvPicPr>
        <p:blipFill>
          <a:blip r:embed="rId2" cstate="print"/>
          <a:stretch>
            <a:fillRect/>
          </a:stretch>
        </p:blipFill>
        <p:spPr bwMode="gray">
          <a:xfrm>
            <a:off x="6620071" y="-16850"/>
            <a:ext cx="5591179" cy="5712068"/>
          </a:xfrm>
          <a:prstGeom prst="rect">
            <a:avLst/>
          </a:prstGeom>
        </p:spPr>
      </p:pic>
      <p:sp>
        <p:nvSpPr>
          <p:cNvPr id="13" name="Forme libre 12"/>
          <p:cNvSpPr/>
          <p:nvPr userDrawn="1"/>
        </p:nvSpPr>
        <p:spPr>
          <a:xfrm>
            <a:off x="3" y="0"/>
            <a:ext cx="9394668" cy="5160000"/>
          </a:xfrm>
          <a:custGeom>
            <a:avLst/>
            <a:gdLst>
              <a:gd name="connsiteX0" fmla="*/ 0 w 7046001"/>
              <a:gd name="connsiteY0" fmla="*/ 0 h 3870000"/>
              <a:gd name="connsiteX1" fmla="*/ 7046001 w 7046001"/>
              <a:gd name="connsiteY1" fmla="*/ 0 h 3870000"/>
              <a:gd name="connsiteX2" fmla="*/ 5146256 w 7046001"/>
              <a:gd name="connsiteY2" fmla="*/ 3580448 h 3870000"/>
              <a:gd name="connsiteX3" fmla="*/ 5116340 w 7046001"/>
              <a:gd name="connsiteY3" fmla="*/ 3870000 h 3870000"/>
              <a:gd name="connsiteX4" fmla="*/ 0 w 7046001"/>
              <a:gd name="connsiteY4" fmla="*/ 3870000 h 387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046001" h="3870000">
                <a:moveTo>
                  <a:pt x="0" y="0"/>
                </a:moveTo>
                <a:lnTo>
                  <a:pt x="7046001" y="0"/>
                </a:lnTo>
                <a:cubicBezTo>
                  <a:pt x="7040718" y="945283"/>
                  <a:pt x="5396983" y="2115735"/>
                  <a:pt x="5146256" y="3580448"/>
                </a:cubicBezTo>
                <a:lnTo>
                  <a:pt x="5116340" y="3870000"/>
                </a:lnTo>
                <a:lnTo>
                  <a:pt x="0" y="3870000"/>
                </a:lnTo>
                <a:close/>
              </a:path>
            </a:pathLst>
          </a:custGeom>
          <a:blipFill>
            <a:blip r:embed="rId3"/>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2400"/>
          </a:p>
        </p:txBody>
      </p:sp>
      <p:sp>
        <p:nvSpPr>
          <p:cNvPr id="22" name="Rectangle 21"/>
          <p:cNvSpPr/>
          <p:nvPr userDrawn="1"/>
        </p:nvSpPr>
        <p:spPr bwMode="gray">
          <a:xfrm>
            <a:off x="4847169" y="5265205"/>
            <a:ext cx="7344833" cy="15927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sp>
        <p:nvSpPr>
          <p:cNvPr id="9" name="Espace réservé du texte 8"/>
          <p:cNvSpPr>
            <a:spLocks noGrp="1"/>
          </p:cNvSpPr>
          <p:nvPr>
            <p:ph type="body" sz="quarter" idx="13" hasCustomPrompt="1"/>
          </p:nvPr>
        </p:nvSpPr>
        <p:spPr bwMode="gray">
          <a:xfrm>
            <a:off x="672000" y="974400"/>
            <a:ext cx="6384000" cy="2232000"/>
          </a:xfrm>
        </p:spPr>
        <p:txBody>
          <a:bodyPr anchor="b" anchorCtr="0"/>
          <a:lstStyle>
            <a:lvl1pPr marL="0" indent="0" algn="l">
              <a:lnSpc>
                <a:spcPct val="90000"/>
              </a:lnSpc>
              <a:buNone/>
              <a:defRPr sz="3733" b="1" cap="none" baseline="0">
                <a:solidFill>
                  <a:schemeClr val="bg1"/>
                </a:solidFill>
              </a:defRPr>
            </a:lvl1pPr>
            <a:lvl2pPr marL="0" algn="ctr">
              <a:lnSpc>
                <a:spcPct val="100000"/>
              </a:lnSpc>
              <a:spcBef>
                <a:spcPts val="9200"/>
              </a:spcBef>
              <a:defRPr sz="2667" b="1">
                <a:solidFill>
                  <a:schemeClr val="bg1"/>
                </a:solidFill>
              </a:defRPr>
            </a:lvl2pPr>
          </a:lstStyle>
          <a:p>
            <a:pPr lvl="0"/>
            <a:r>
              <a:rPr lang="en-GB" noProof="0"/>
              <a:t>THANK YOU</a:t>
            </a:r>
          </a:p>
        </p:txBody>
      </p:sp>
      <p:sp>
        <p:nvSpPr>
          <p:cNvPr id="11" name="Espace réservé du numéro de diapositive 10"/>
          <p:cNvSpPr>
            <a:spLocks noGrp="1"/>
          </p:cNvSpPr>
          <p:nvPr>
            <p:ph type="sldNum" sz="quarter" idx="16"/>
          </p:nvPr>
        </p:nvSpPr>
        <p:spPr bwMode="gray">
          <a:xfrm>
            <a:off x="672000" y="6327933"/>
            <a:ext cx="1200149" cy="530067"/>
          </a:xfrm>
          <a:prstGeom prst="rect">
            <a:avLst/>
          </a:prstGeom>
        </p:spPr>
        <p:txBody>
          <a:bodyPr/>
          <a:lstStyle>
            <a:lvl1pPr>
              <a:defRPr sz="133">
                <a:solidFill>
                  <a:schemeClr val="bg1">
                    <a:alpha val="0"/>
                  </a:schemeClr>
                </a:solidFill>
              </a:defRPr>
            </a:lvl1pPr>
          </a:lstStyle>
          <a:p>
            <a:pPr algn="l"/>
            <a:r>
              <a:rPr lang="en-GB" noProof="0"/>
              <a:t>Page: </a:t>
            </a:r>
            <a:fld id="{733122C9-A0B9-462F-8757-0847AD287B63}" type="slidenum">
              <a:rPr lang="en-GB" noProof="0" smtClean="0"/>
              <a:pPr algn="l"/>
              <a:t>‹#›</a:t>
            </a:fld>
            <a:endParaRPr lang="en-GB" noProof="0"/>
          </a:p>
        </p:txBody>
      </p:sp>
      <p:sp>
        <p:nvSpPr>
          <p:cNvPr id="15" name="Espace réservé du texte 14"/>
          <p:cNvSpPr>
            <a:spLocks noGrp="1"/>
          </p:cNvSpPr>
          <p:nvPr>
            <p:ph type="body" sz="quarter" idx="19" hasCustomPrompt="1"/>
          </p:nvPr>
        </p:nvSpPr>
        <p:spPr bwMode="gray">
          <a:xfrm>
            <a:off x="5592000" y="5899200"/>
            <a:ext cx="5884800" cy="324000"/>
          </a:xfrm>
        </p:spPr>
        <p:txBody>
          <a:bodyPr anchor="b" anchorCtr="0"/>
          <a:lstStyle>
            <a:lvl1pPr algn="r">
              <a:lnSpc>
                <a:spcPct val="100000"/>
              </a:lnSpc>
              <a:defRPr sz="1200" b="1">
                <a:solidFill>
                  <a:schemeClr val="accent2"/>
                </a:solidFill>
              </a:defRPr>
            </a:lvl1pPr>
          </a:lstStyle>
          <a:p>
            <a:r>
              <a:rPr lang="fr-FR" err="1"/>
              <a:t>Reach</a:t>
            </a:r>
            <a:r>
              <a:rPr lang="fr-FR"/>
              <a:t> </a:t>
            </a:r>
            <a:r>
              <a:rPr lang="fr-FR" err="1"/>
              <a:t>every</a:t>
            </a:r>
            <a:r>
              <a:rPr lang="fr-FR"/>
              <a:t> </a:t>
            </a:r>
            <a:r>
              <a:rPr lang="fr-FR" err="1"/>
              <a:t>child</a:t>
            </a:r>
            <a:endParaRPr lang="fr-FR"/>
          </a:p>
        </p:txBody>
      </p:sp>
      <p:sp>
        <p:nvSpPr>
          <p:cNvPr id="16" name="Rectangle 15"/>
          <p:cNvSpPr/>
          <p:nvPr userDrawn="1"/>
        </p:nvSpPr>
        <p:spPr bwMode="gray">
          <a:xfrm>
            <a:off x="5592000" y="6283200"/>
            <a:ext cx="5884800" cy="287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r>
              <a:rPr lang="en-GB" sz="1200" noProof="0">
                <a:solidFill>
                  <a:schemeClr val="accent3"/>
                </a:solidFill>
              </a:rPr>
              <a:t>www.gavi.org</a:t>
            </a:r>
          </a:p>
        </p:txBody>
      </p:sp>
      <p:sp>
        <p:nvSpPr>
          <p:cNvPr id="19" name="Rectangle 18"/>
          <p:cNvSpPr/>
          <p:nvPr userDrawn="1"/>
        </p:nvSpPr>
        <p:spPr bwMode="gray">
          <a:xfrm>
            <a:off x="672000" y="3393600"/>
            <a:ext cx="2337600" cy="25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sp>
        <p:nvSpPr>
          <p:cNvPr id="17" name="Espace réservé du texte 16"/>
          <p:cNvSpPr>
            <a:spLocks noGrp="1"/>
          </p:cNvSpPr>
          <p:nvPr>
            <p:ph type="body" sz="quarter" idx="20" hasCustomPrompt="1"/>
          </p:nvPr>
        </p:nvSpPr>
        <p:spPr bwMode="gray">
          <a:xfrm>
            <a:off x="0" y="5157789"/>
            <a:ext cx="12192000" cy="287337"/>
          </a:xfrm>
          <a:solidFill>
            <a:schemeClr val="bg1"/>
          </a:solidFill>
        </p:spPr>
        <p:txBody>
          <a:bodyPr/>
          <a:lstStyle>
            <a:lvl1pPr>
              <a:defRPr sz="133" b="0">
                <a:solidFill>
                  <a:schemeClr val="bg1">
                    <a:alpha val="0"/>
                  </a:schemeClr>
                </a:solidFill>
              </a:defRPr>
            </a:lvl1pPr>
          </a:lstStyle>
          <a:p>
            <a:pPr lvl="0"/>
            <a:r>
              <a:rPr lang="en-GB" noProof="0"/>
              <a:t> </a:t>
            </a:r>
          </a:p>
        </p:txBody>
      </p:sp>
    </p:spTree>
    <p:extLst>
      <p:ext uri="{BB962C8B-B14F-4D97-AF65-F5344CB8AC3E}">
        <p14:creationId xmlns:p14="http://schemas.microsoft.com/office/powerpoint/2010/main" val="249479148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hank_you_picture_2">
    <p:spTree>
      <p:nvGrpSpPr>
        <p:cNvPr id="1" name=""/>
        <p:cNvGrpSpPr/>
        <p:nvPr/>
      </p:nvGrpSpPr>
      <p:grpSpPr>
        <a:xfrm>
          <a:off x="0" y="0"/>
          <a:ext cx="0" cy="0"/>
          <a:chOff x="0" y="0"/>
          <a:chExt cx="0" cy="0"/>
        </a:xfrm>
      </p:grpSpPr>
      <p:pic>
        <p:nvPicPr>
          <p:cNvPr id="13" name="Imag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5161280"/>
          </a:xfrm>
          <a:prstGeom prst="rect">
            <a:avLst/>
          </a:prstGeom>
        </p:spPr>
      </p:pic>
      <p:sp>
        <p:nvSpPr>
          <p:cNvPr id="20" name="Espace réservé pour une image  25"/>
          <p:cNvSpPr>
            <a:spLocks noGrp="1"/>
          </p:cNvSpPr>
          <p:nvPr>
            <p:ph type="pic" sz="quarter" idx="10" hasCustomPrompt="1"/>
          </p:nvPr>
        </p:nvSpPr>
        <p:spPr>
          <a:xfrm>
            <a:off x="6821913" y="0"/>
            <a:ext cx="5370089" cy="5158800"/>
          </a:xfrm>
          <a:custGeom>
            <a:avLst/>
            <a:gdLst>
              <a:gd name="connsiteX0" fmla="*/ 1929568 w 4027567"/>
              <a:gd name="connsiteY0" fmla="*/ 0 h 3869100"/>
              <a:gd name="connsiteX1" fmla="*/ 4027567 w 4027567"/>
              <a:gd name="connsiteY1" fmla="*/ 0 h 3869100"/>
              <a:gd name="connsiteX2" fmla="*/ 4027567 w 4027567"/>
              <a:gd name="connsiteY2" fmla="*/ 3869100 h 3869100"/>
              <a:gd name="connsiteX3" fmla="*/ 0 w 4027567"/>
              <a:gd name="connsiteY3" fmla="*/ 3869100 h 3869100"/>
              <a:gd name="connsiteX4" fmla="*/ 29823 w 4027567"/>
              <a:gd name="connsiteY4" fmla="*/ 3580448 h 3869100"/>
              <a:gd name="connsiteX5" fmla="*/ 1929568 w 4027567"/>
              <a:gd name="connsiteY5" fmla="*/ 0 h 3869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27567" h="3869100">
                <a:moveTo>
                  <a:pt x="1929568" y="0"/>
                </a:moveTo>
                <a:lnTo>
                  <a:pt x="4027567" y="0"/>
                </a:lnTo>
                <a:lnTo>
                  <a:pt x="4027567" y="3869100"/>
                </a:lnTo>
                <a:lnTo>
                  <a:pt x="0" y="3869100"/>
                </a:lnTo>
                <a:lnTo>
                  <a:pt x="29823" y="3580448"/>
                </a:lnTo>
                <a:cubicBezTo>
                  <a:pt x="280550" y="2115735"/>
                  <a:pt x="1924285" y="945283"/>
                  <a:pt x="1929568" y="0"/>
                </a:cubicBezTo>
                <a:close/>
              </a:path>
            </a:pathLst>
          </a:custGeom>
          <a:solidFill>
            <a:schemeClr val="bg2"/>
          </a:solidFill>
        </p:spPr>
        <p:txBody>
          <a:bodyPr wrap="square" tIns="720000" anchor="ctr" anchorCtr="0">
            <a:noAutofit/>
          </a:bodyPr>
          <a:lstStyle>
            <a:lvl1pPr marL="0" marR="0" indent="0" algn="ctr" defTabSz="1219170" rtl="0" eaLnBrk="1" fontAlgn="auto" latinLnBrk="0" hangingPunct="1">
              <a:lnSpc>
                <a:spcPct val="110000"/>
              </a:lnSpc>
              <a:spcBef>
                <a:spcPts val="0"/>
              </a:spcBef>
              <a:spcAft>
                <a:spcPts val="0"/>
              </a:spcAft>
              <a:buClrTx/>
              <a:buSzTx/>
              <a:buFont typeface="Arial" pitchFamily="34" charset="0"/>
              <a:buNone/>
              <a:tabLst/>
              <a:defRPr sz="2000">
                <a:solidFill>
                  <a:schemeClr val="bg1"/>
                </a:solidFill>
              </a:defRPr>
            </a:lvl1pPr>
          </a:lstStyle>
          <a:p>
            <a:r>
              <a:rPr lang="en-GB" noProof="0"/>
              <a:t>Select your own photo</a:t>
            </a:r>
          </a:p>
        </p:txBody>
      </p:sp>
      <p:sp>
        <p:nvSpPr>
          <p:cNvPr id="22" name="Rectangle 21"/>
          <p:cNvSpPr/>
          <p:nvPr userDrawn="1"/>
        </p:nvSpPr>
        <p:spPr bwMode="gray">
          <a:xfrm>
            <a:off x="4847169" y="5265205"/>
            <a:ext cx="7344833" cy="15927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sp>
        <p:nvSpPr>
          <p:cNvPr id="9" name="Espace réservé du texte 8"/>
          <p:cNvSpPr>
            <a:spLocks noGrp="1"/>
          </p:cNvSpPr>
          <p:nvPr>
            <p:ph type="body" sz="quarter" idx="13" hasCustomPrompt="1"/>
          </p:nvPr>
        </p:nvSpPr>
        <p:spPr bwMode="gray">
          <a:xfrm>
            <a:off x="672000" y="974400"/>
            <a:ext cx="6384000" cy="2232000"/>
          </a:xfrm>
        </p:spPr>
        <p:txBody>
          <a:bodyPr anchor="b" anchorCtr="0"/>
          <a:lstStyle>
            <a:lvl1pPr marL="0" indent="0" algn="l">
              <a:lnSpc>
                <a:spcPct val="90000"/>
              </a:lnSpc>
              <a:buNone/>
              <a:defRPr sz="3733" b="1" cap="none" baseline="0">
                <a:solidFill>
                  <a:schemeClr val="bg1"/>
                </a:solidFill>
              </a:defRPr>
            </a:lvl1pPr>
            <a:lvl2pPr marL="0" algn="ctr">
              <a:lnSpc>
                <a:spcPct val="100000"/>
              </a:lnSpc>
              <a:spcBef>
                <a:spcPts val="9200"/>
              </a:spcBef>
              <a:defRPr sz="2667" b="1">
                <a:solidFill>
                  <a:schemeClr val="bg1"/>
                </a:solidFill>
              </a:defRPr>
            </a:lvl2pPr>
          </a:lstStyle>
          <a:p>
            <a:pPr lvl="0"/>
            <a:r>
              <a:rPr lang="en-GB" noProof="0"/>
              <a:t>THANK YOU</a:t>
            </a:r>
          </a:p>
        </p:txBody>
      </p:sp>
      <p:sp>
        <p:nvSpPr>
          <p:cNvPr id="11" name="Espace réservé du numéro de diapositive 10"/>
          <p:cNvSpPr>
            <a:spLocks noGrp="1"/>
          </p:cNvSpPr>
          <p:nvPr>
            <p:ph type="sldNum" sz="quarter" idx="16"/>
          </p:nvPr>
        </p:nvSpPr>
        <p:spPr bwMode="gray">
          <a:xfrm>
            <a:off x="672000" y="6327933"/>
            <a:ext cx="1200149" cy="530067"/>
          </a:xfrm>
          <a:prstGeom prst="rect">
            <a:avLst/>
          </a:prstGeom>
        </p:spPr>
        <p:txBody>
          <a:bodyPr/>
          <a:lstStyle>
            <a:lvl1pPr>
              <a:defRPr sz="133">
                <a:solidFill>
                  <a:schemeClr val="bg1">
                    <a:alpha val="0"/>
                  </a:schemeClr>
                </a:solidFill>
              </a:defRPr>
            </a:lvl1pPr>
          </a:lstStyle>
          <a:p>
            <a:pPr algn="l"/>
            <a:r>
              <a:rPr lang="en-GB" noProof="0"/>
              <a:t>Page: </a:t>
            </a:r>
            <a:fld id="{733122C9-A0B9-462F-8757-0847AD287B63}" type="slidenum">
              <a:rPr lang="en-GB" noProof="0" smtClean="0"/>
              <a:pPr algn="l"/>
              <a:t>‹#›</a:t>
            </a:fld>
            <a:endParaRPr lang="en-GB" noProof="0"/>
          </a:p>
        </p:txBody>
      </p:sp>
      <p:sp>
        <p:nvSpPr>
          <p:cNvPr id="15" name="Espace réservé du texte 14"/>
          <p:cNvSpPr>
            <a:spLocks noGrp="1"/>
          </p:cNvSpPr>
          <p:nvPr>
            <p:ph type="body" sz="quarter" idx="19" hasCustomPrompt="1"/>
          </p:nvPr>
        </p:nvSpPr>
        <p:spPr bwMode="gray">
          <a:xfrm>
            <a:off x="5592000" y="5899200"/>
            <a:ext cx="5884800" cy="324000"/>
          </a:xfrm>
        </p:spPr>
        <p:txBody>
          <a:bodyPr anchor="b" anchorCtr="0"/>
          <a:lstStyle>
            <a:lvl1pPr algn="r">
              <a:lnSpc>
                <a:spcPct val="100000"/>
              </a:lnSpc>
              <a:defRPr sz="1200" b="1">
                <a:solidFill>
                  <a:schemeClr val="accent2"/>
                </a:solidFill>
              </a:defRPr>
            </a:lvl1pPr>
          </a:lstStyle>
          <a:p>
            <a:r>
              <a:rPr lang="fr-FR" err="1"/>
              <a:t>Reach</a:t>
            </a:r>
            <a:r>
              <a:rPr lang="fr-FR"/>
              <a:t> </a:t>
            </a:r>
            <a:r>
              <a:rPr lang="fr-FR" err="1"/>
              <a:t>every</a:t>
            </a:r>
            <a:r>
              <a:rPr lang="fr-FR"/>
              <a:t> </a:t>
            </a:r>
            <a:r>
              <a:rPr lang="fr-FR" err="1"/>
              <a:t>child</a:t>
            </a:r>
            <a:endParaRPr lang="fr-FR"/>
          </a:p>
        </p:txBody>
      </p:sp>
      <p:sp>
        <p:nvSpPr>
          <p:cNvPr id="16" name="Rectangle 15"/>
          <p:cNvSpPr/>
          <p:nvPr userDrawn="1"/>
        </p:nvSpPr>
        <p:spPr bwMode="gray">
          <a:xfrm>
            <a:off x="5592000" y="6283200"/>
            <a:ext cx="5884800" cy="287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r>
              <a:rPr lang="en-GB" sz="1200" noProof="0">
                <a:solidFill>
                  <a:schemeClr val="accent3"/>
                </a:solidFill>
              </a:rPr>
              <a:t>www.gavi.org</a:t>
            </a:r>
          </a:p>
        </p:txBody>
      </p:sp>
      <p:sp>
        <p:nvSpPr>
          <p:cNvPr id="19" name="Rectangle 18"/>
          <p:cNvSpPr/>
          <p:nvPr userDrawn="1"/>
        </p:nvSpPr>
        <p:spPr bwMode="gray">
          <a:xfrm>
            <a:off x="672000" y="3391895"/>
            <a:ext cx="2337600" cy="25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sp>
        <p:nvSpPr>
          <p:cNvPr id="17" name="Espace réservé du texte 16"/>
          <p:cNvSpPr>
            <a:spLocks noGrp="1"/>
          </p:cNvSpPr>
          <p:nvPr>
            <p:ph type="body" sz="quarter" idx="20" hasCustomPrompt="1"/>
          </p:nvPr>
        </p:nvSpPr>
        <p:spPr bwMode="gray">
          <a:xfrm>
            <a:off x="0" y="5157789"/>
            <a:ext cx="12192000" cy="287337"/>
          </a:xfrm>
          <a:solidFill>
            <a:schemeClr val="bg1"/>
          </a:solidFill>
        </p:spPr>
        <p:txBody>
          <a:bodyPr/>
          <a:lstStyle>
            <a:lvl1pPr>
              <a:defRPr sz="133" b="0">
                <a:solidFill>
                  <a:schemeClr val="bg1">
                    <a:alpha val="0"/>
                  </a:schemeClr>
                </a:solidFill>
              </a:defRPr>
            </a:lvl1pPr>
          </a:lstStyle>
          <a:p>
            <a:pPr lvl="0"/>
            <a:r>
              <a:rPr lang="en-GB" noProof="0"/>
              <a:t> </a:t>
            </a:r>
          </a:p>
        </p:txBody>
      </p:sp>
    </p:spTree>
    <p:extLst>
      <p:ext uri="{BB962C8B-B14F-4D97-AF65-F5344CB8AC3E}">
        <p14:creationId xmlns:p14="http://schemas.microsoft.com/office/powerpoint/2010/main" val="369271054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Colors">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p>
            <a:r>
              <a:rPr lang="en-GB" noProof="0"/>
              <a:t>BRAND COLOUR PALETTE</a:t>
            </a:r>
          </a:p>
        </p:txBody>
      </p:sp>
      <p:sp>
        <p:nvSpPr>
          <p:cNvPr id="5" name="Espace réservé du numéro de diapositive 4"/>
          <p:cNvSpPr>
            <a:spLocks noGrp="1"/>
          </p:cNvSpPr>
          <p:nvPr>
            <p:ph type="sldNum" sz="quarter" idx="12"/>
          </p:nvPr>
        </p:nvSpPr>
        <p:spPr>
          <a:xfrm>
            <a:off x="672000" y="6327933"/>
            <a:ext cx="1200149" cy="530067"/>
          </a:xfrm>
          <a:prstGeom prst="rect">
            <a:avLst/>
          </a:prstGeom>
        </p:spPr>
        <p:txBody>
          <a:bodyPr/>
          <a:lstStyle/>
          <a:p>
            <a:fld id="{733122C9-A0B9-462F-8757-0847AD287B63}" type="slidenum">
              <a:rPr lang="en-GB" noProof="0" smtClean="0"/>
              <a:pPr/>
              <a:t>‹#›</a:t>
            </a:fld>
            <a:endParaRPr lang="en-GB" noProof="0"/>
          </a:p>
        </p:txBody>
      </p:sp>
      <p:sp>
        <p:nvSpPr>
          <p:cNvPr id="6" name="ZoneTexte 5"/>
          <p:cNvSpPr txBox="1"/>
          <p:nvPr userDrawn="1"/>
        </p:nvSpPr>
        <p:spPr>
          <a:xfrm>
            <a:off x="672000" y="1506440"/>
            <a:ext cx="4358557" cy="2992531"/>
          </a:xfrm>
          <a:prstGeom prst="rect">
            <a:avLst/>
          </a:prstGeom>
          <a:noFill/>
        </p:spPr>
        <p:txBody>
          <a:bodyPr wrap="square" lIns="0" tIns="0" rIns="0" bIns="0" rtlCol="0">
            <a:noAutofit/>
          </a:bodyPr>
          <a:lstStyle/>
          <a:p>
            <a:pPr>
              <a:lnSpc>
                <a:spcPct val="110000"/>
              </a:lnSpc>
            </a:pPr>
            <a:r>
              <a:rPr lang="en-GB" sz="2400" b="0" noProof="0">
                <a:solidFill>
                  <a:schemeClr val="accent1"/>
                </a:solidFill>
              </a:rPr>
              <a:t>Primary</a:t>
            </a:r>
          </a:p>
          <a:p>
            <a:pPr marL="609585" lvl="1" indent="-124881">
              <a:lnSpc>
                <a:spcPct val="100000"/>
              </a:lnSpc>
              <a:spcAft>
                <a:spcPts val="800"/>
              </a:spcAft>
              <a:buClr>
                <a:schemeClr val="tx1"/>
              </a:buClr>
              <a:buFont typeface="Arial" panose="020B0604020202020204" pitchFamily="34" charset="0"/>
              <a:buChar char="•"/>
            </a:pPr>
            <a:r>
              <a:rPr lang="en-GB" sz="2133" b="0" noProof="0"/>
              <a:t>Corporate colours</a:t>
            </a:r>
          </a:p>
          <a:p>
            <a:pPr marL="609585" lvl="1" indent="-124881">
              <a:lnSpc>
                <a:spcPct val="100000"/>
              </a:lnSpc>
              <a:spcAft>
                <a:spcPts val="800"/>
              </a:spcAft>
              <a:buClr>
                <a:schemeClr val="tx1"/>
              </a:buClr>
              <a:buFont typeface="Arial" panose="020B0604020202020204" pitchFamily="34" charset="0"/>
              <a:buChar char="•"/>
            </a:pPr>
            <a:r>
              <a:rPr lang="en-GB" sz="2133" b="0" noProof="0"/>
              <a:t>Strategic Goal Colours</a:t>
            </a:r>
          </a:p>
          <a:p>
            <a:pPr>
              <a:lnSpc>
                <a:spcPct val="110000"/>
              </a:lnSpc>
            </a:pPr>
            <a:r>
              <a:rPr lang="en-GB" sz="2400" b="0" noProof="0">
                <a:solidFill>
                  <a:schemeClr val="accent1"/>
                </a:solidFill>
              </a:rPr>
              <a:t>Secondary</a:t>
            </a:r>
          </a:p>
        </p:txBody>
      </p:sp>
      <p:sp>
        <p:nvSpPr>
          <p:cNvPr id="7" name="Freeform 8"/>
          <p:cNvSpPr>
            <a:spLocks noChangeAspect="1"/>
          </p:cNvSpPr>
          <p:nvPr userDrawn="1"/>
        </p:nvSpPr>
        <p:spPr bwMode="auto">
          <a:xfrm>
            <a:off x="5012245" y="1416571"/>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8" name="Rectangle 7"/>
          <p:cNvSpPr/>
          <p:nvPr userDrawn="1"/>
        </p:nvSpPr>
        <p:spPr>
          <a:xfrm>
            <a:off x="5505451" y="1413965"/>
            <a:ext cx="590549"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noProof="0">
                <a:solidFill>
                  <a:schemeClr val="tx1"/>
                </a:solidFill>
              </a:rPr>
              <a:t>R: 0</a:t>
            </a:r>
          </a:p>
          <a:p>
            <a:pPr>
              <a:lnSpc>
                <a:spcPct val="90000"/>
              </a:lnSpc>
            </a:pPr>
            <a:r>
              <a:rPr lang="en-GB" sz="933" noProof="0">
                <a:solidFill>
                  <a:schemeClr val="tx1"/>
                </a:solidFill>
              </a:rPr>
              <a:t>G: 92</a:t>
            </a:r>
          </a:p>
          <a:p>
            <a:pPr>
              <a:lnSpc>
                <a:spcPct val="90000"/>
              </a:lnSpc>
            </a:pPr>
            <a:r>
              <a:rPr lang="en-GB" sz="933" noProof="0">
                <a:solidFill>
                  <a:schemeClr val="tx1"/>
                </a:solidFill>
              </a:rPr>
              <a:t>B: 185</a:t>
            </a:r>
          </a:p>
        </p:txBody>
      </p:sp>
      <p:sp>
        <p:nvSpPr>
          <p:cNvPr id="49" name="Rectangle 48"/>
          <p:cNvSpPr/>
          <p:nvPr userDrawn="1"/>
        </p:nvSpPr>
        <p:spPr>
          <a:xfrm>
            <a:off x="6239685" y="5185225"/>
            <a:ext cx="4224801" cy="6355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r>
              <a:rPr lang="en-GB" sz="1200" b="1" noProof="0">
                <a:solidFill>
                  <a:schemeClr val="tx1"/>
                </a:solidFill>
              </a:rPr>
              <a:t>Please use the four </a:t>
            </a:r>
            <a:r>
              <a:rPr lang="en-GB" sz="1200" b="1" noProof="0" err="1">
                <a:solidFill>
                  <a:schemeClr val="tx1"/>
                </a:solidFill>
              </a:rPr>
              <a:t>Gavi</a:t>
            </a:r>
            <a:r>
              <a:rPr lang="en-GB" sz="1200" b="1" noProof="0">
                <a:solidFill>
                  <a:schemeClr val="tx1"/>
                </a:solidFill>
              </a:rPr>
              <a:t> corporate colours where possible.  Specific strategic goals </a:t>
            </a:r>
            <a:br>
              <a:rPr lang="en-GB" sz="1200" b="1" noProof="0">
                <a:solidFill>
                  <a:schemeClr val="tx1"/>
                </a:solidFill>
              </a:rPr>
            </a:br>
            <a:r>
              <a:rPr lang="en-GB" sz="1200" b="1" noProof="0">
                <a:solidFill>
                  <a:schemeClr val="tx1"/>
                </a:solidFill>
              </a:rPr>
              <a:t>or vaccines should be highlighted using the key above. </a:t>
            </a:r>
          </a:p>
        </p:txBody>
      </p:sp>
      <p:sp>
        <p:nvSpPr>
          <p:cNvPr id="65" name="Freeform 8"/>
          <p:cNvSpPr>
            <a:spLocks noChangeAspect="1"/>
          </p:cNvSpPr>
          <p:nvPr userDrawn="1"/>
        </p:nvSpPr>
        <p:spPr bwMode="auto">
          <a:xfrm>
            <a:off x="6457437" y="1416571"/>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66" name="Rectangle 65"/>
          <p:cNvSpPr/>
          <p:nvPr userDrawn="1"/>
        </p:nvSpPr>
        <p:spPr>
          <a:xfrm>
            <a:off x="6950643" y="1413965"/>
            <a:ext cx="590549"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noProof="0">
                <a:solidFill>
                  <a:schemeClr val="tx1"/>
                </a:solidFill>
              </a:rPr>
              <a:t>R: 0</a:t>
            </a:r>
          </a:p>
          <a:p>
            <a:pPr>
              <a:lnSpc>
                <a:spcPct val="90000"/>
              </a:lnSpc>
            </a:pPr>
            <a:r>
              <a:rPr lang="en-GB" sz="933" noProof="0">
                <a:solidFill>
                  <a:schemeClr val="tx1"/>
                </a:solidFill>
              </a:rPr>
              <a:t>G: 161</a:t>
            </a:r>
          </a:p>
          <a:p>
            <a:pPr>
              <a:lnSpc>
                <a:spcPct val="90000"/>
              </a:lnSpc>
            </a:pPr>
            <a:r>
              <a:rPr lang="en-GB" sz="933" noProof="0">
                <a:solidFill>
                  <a:schemeClr val="tx1"/>
                </a:solidFill>
              </a:rPr>
              <a:t>B: 223</a:t>
            </a:r>
          </a:p>
        </p:txBody>
      </p:sp>
      <p:sp>
        <p:nvSpPr>
          <p:cNvPr id="68" name="Freeform 8"/>
          <p:cNvSpPr>
            <a:spLocks noChangeAspect="1"/>
          </p:cNvSpPr>
          <p:nvPr userDrawn="1"/>
        </p:nvSpPr>
        <p:spPr bwMode="auto">
          <a:xfrm>
            <a:off x="7869403" y="1416571"/>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69" name="Rectangle 68"/>
          <p:cNvSpPr/>
          <p:nvPr userDrawn="1"/>
        </p:nvSpPr>
        <p:spPr>
          <a:xfrm>
            <a:off x="8362608" y="1413965"/>
            <a:ext cx="590549"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noProof="0">
                <a:solidFill>
                  <a:schemeClr val="tx1"/>
                </a:solidFill>
              </a:rPr>
              <a:t>R: 149</a:t>
            </a:r>
          </a:p>
          <a:p>
            <a:pPr>
              <a:lnSpc>
                <a:spcPct val="90000"/>
              </a:lnSpc>
            </a:pPr>
            <a:r>
              <a:rPr lang="en-GB" sz="933" noProof="0">
                <a:solidFill>
                  <a:schemeClr val="tx1"/>
                </a:solidFill>
              </a:rPr>
              <a:t>G: 214</a:t>
            </a:r>
          </a:p>
          <a:p>
            <a:pPr>
              <a:lnSpc>
                <a:spcPct val="90000"/>
              </a:lnSpc>
            </a:pPr>
            <a:r>
              <a:rPr lang="en-GB" sz="933" noProof="0">
                <a:solidFill>
                  <a:schemeClr val="tx1"/>
                </a:solidFill>
              </a:rPr>
              <a:t>B: 0</a:t>
            </a:r>
          </a:p>
        </p:txBody>
      </p:sp>
      <p:sp>
        <p:nvSpPr>
          <p:cNvPr id="71" name="Freeform 8"/>
          <p:cNvSpPr>
            <a:spLocks noChangeAspect="1"/>
          </p:cNvSpPr>
          <p:nvPr userDrawn="1"/>
        </p:nvSpPr>
        <p:spPr bwMode="auto">
          <a:xfrm>
            <a:off x="9493117" y="1416571"/>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72" name="Rectangle 71"/>
          <p:cNvSpPr/>
          <p:nvPr userDrawn="1"/>
        </p:nvSpPr>
        <p:spPr>
          <a:xfrm>
            <a:off x="9986323" y="1413965"/>
            <a:ext cx="590549"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noProof="0">
                <a:solidFill>
                  <a:schemeClr val="tx1"/>
                </a:solidFill>
              </a:rPr>
              <a:t>R: 135</a:t>
            </a:r>
          </a:p>
          <a:p>
            <a:pPr>
              <a:lnSpc>
                <a:spcPct val="90000"/>
              </a:lnSpc>
            </a:pPr>
            <a:r>
              <a:rPr lang="en-GB" sz="933" noProof="0">
                <a:solidFill>
                  <a:schemeClr val="tx1"/>
                </a:solidFill>
              </a:rPr>
              <a:t>G: 135</a:t>
            </a:r>
          </a:p>
          <a:p>
            <a:pPr>
              <a:lnSpc>
                <a:spcPct val="90000"/>
              </a:lnSpc>
            </a:pPr>
            <a:r>
              <a:rPr lang="en-GB" sz="933" noProof="0">
                <a:solidFill>
                  <a:schemeClr val="tx1"/>
                </a:solidFill>
              </a:rPr>
              <a:t>B: 135</a:t>
            </a:r>
          </a:p>
        </p:txBody>
      </p:sp>
      <p:sp>
        <p:nvSpPr>
          <p:cNvPr id="74" name="Freeform 8"/>
          <p:cNvSpPr>
            <a:spLocks noChangeAspect="1"/>
          </p:cNvSpPr>
          <p:nvPr userDrawn="1"/>
        </p:nvSpPr>
        <p:spPr bwMode="auto">
          <a:xfrm>
            <a:off x="5012245" y="2317997"/>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chemeClr val="accent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75" name="Rectangle 74"/>
          <p:cNvSpPr/>
          <p:nvPr userDrawn="1"/>
        </p:nvSpPr>
        <p:spPr>
          <a:xfrm>
            <a:off x="5505451" y="2315392"/>
            <a:ext cx="951987"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ACCELERATE</a:t>
            </a:r>
          </a:p>
          <a:p>
            <a:pPr>
              <a:lnSpc>
                <a:spcPct val="90000"/>
              </a:lnSpc>
            </a:pPr>
            <a:r>
              <a:rPr lang="en-GB" sz="933" b="1" noProof="0">
                <a:solidFill>
                  <a:schemeClr val="tx1"/>
                </a:solidFill>
              </a:rPr>
              <a:t>VACCINES</a:t>
            </a:r>
          </a:p>
          <a:p>
            <a:pPr>
              <a:lnSpc>
                <a:spcPct val="90000"/>
              </a:lnSpc>
            </a:pPr>
            <a:r>
              <a:rPr lang="en-GB" sz="933" noProof="0">
                <a:solidFill>
                  <a:schemeClr val="tx1"/>
                </a:solidFill>
              </a:rPr>
              <a:t>R: 165</a:t>
            </a:r>
          </a:p>
          <a:p>
            <a:pPr>
              <a:lnSpc>
                <a:spcPct val="90000"/>
              </a:lnSpc>
            </a:pPr>
            <a:r>
              <a:rPr lang="en-GB" sz="933" noProof="0">
                <a:solidFill>
                  <a:schemeClr val="tx1"/>
                </a:solidFill>
              </a:rPr>
              <a:t>G: 24</a:t>
            </a:r>
          </a:p>
          <a:p>
            <a:pPr>
              <a:lnSpc>
                <a:spcPct val="90000"/>
              </a:lnSpc>
            </a:pPr>
            <a:r>
              <a:rPr lang="en-GB" sz="933" noProof="0">
                <a:solidFill>
                  <a:schemeClr val="tx1"/>
                </a:solidFill>
              </a:rPr>
              <a:t>B: 144</a:t>
            </a:r>
          </a:p>
        </p:txBody>
      </p:sp>
      <p:sp>
        <p:nvSpPr>
          <p:cNvPr id="77" name="Freeform 8"/>
          <p:cNvSpPr>
            <a:spLocks noChangeAspect="1"/>
          </p:cNvSpPr>
          <p:nvPr userDrawn="1"/>
        </p:nvSpPr>
        <p:spPr bwMode="auto">
          <a:xfrm>
            <a:off x="6457437" y="2317997"/>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78" name="Rectangle 77"/>
          <p:cNvSpPr/>
          <p:nvPr userDrawn="1"/>
        </p:nvSpPr>
        <p:spPr>
          <a:xfrm>
            <a:off x="6950643" y="2315392"/>
            <a:ext cx="918760"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STRENGTHEN</a:t>
            </a:r>
          </a:p>
          <a:p>
            <a:pPr>
              <a:lnSpc>
                <a:spcPct val="90000"/>
              </a:lnSpc>
            </a:pPr>
            <a:r>
              <a:rPr lang="en-GB" sz="933" b="1" noProof="0">
                <a:solidFill>
                  <a:schemeClr val="tx1"/>
                </a:solidFill>
              </a:rPr>
              <a:t>CAPACITY</a:t>
            </a:r>
          </a:p>
          <a:p>
            <a:pPr>
              <a:lnSpc>
                <a:spcPct val="90000"/>
              </a:lnSpc>
            </a:pPr>
            <a:r>
              <a:rPr lang="en-GB" sz="933" noProof="0">
                <a:solidFill>
                  <a:schemeClr val="tx1"/>
                </a:solidFill>
              </a:rPr>
              <a:t>R: 206</a:t>
            </a:r>
          </a:p>
          <a:p>
            <a:pPr>
              <a:lnSpc>
                <a:spcPct val="90000"/>
              </a:lnSpc>
            </a:pPr>
            <a:r>
              <a:rPr lang="en-GB" sz="933" noProof="0">
                <a:solidFill>
                  <a:schemeClr val="tx1"/>
                </a:solidFill>
              </a:rPr>
              <a:t>G: 15</a:t>
            </a:r>
          </a:p>
          <a:p>
            <a:pPr>
              <a:lnSpc>
                <a:spcPct val="90000"/>
              </a:lnSpc>
            </a:pPr>
            <a:r>
              <a:rPr lang="en-GB" sz="933" noProof="0">
                <a:solidFill>
                  <a:schemeClr val="tx1"/>
                </a:solidFill>
              </a:rPr>
              <a:t>B: 105</a:t>
            </a:r>
          </a:p>
        </p:txBody>
      </p:sp>
      <p:sp>
        <p:nvSpPr>
          <p:cNvPr id="80" name="Freeform 8"/>
          <p:cNvSpPr>
            <a:spLocks noChangeAspect="1"/>
          </p:cNvSpPr>
          <p:nvPr userDrawn="1"/>
        </p:nvSpPr>
        <p:spPr bwMode="auto">
          <a:xfrm>
            <a:off x="7869403" y="2317997"/>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81" name="Rectangle 80"/>
          <p:cNvSpPr/>
          <p:nvPr userDrawn="1"/>
        </p:nvSpPr>
        <p:spPr>
          <a:xfrm>
            <a:off x="8362608" y="2315392"/>
            <a:ext cx="997755"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INCREASE</a:t>
            </a:r>
          </a:p>
          <a:p>
            <a:pPr>
              <a:lnSpc>
                <a:spcPct val="90000"/>
              </a:lnSpc>
            </a:pPr>
            <a:r>
              <a:rPr lang="en-GB" sz="933" b="1" noProof="0">
                <a:solidFill>
                  <a:schemeClr val="tx1"/>
                </a:solidFill>
              </a:rPr>
              <a:t>PREDICTABILITY</a:t>
            </a:r>
          </a:p>
          <a:p>
            <a:pPr>
              <a:lnSpc>
                <a:spcPct val="90000"/>
              </a:lnSpc>
            </a:pPr>
            <a:r>
              <a:rPr lang="en-GB" sz="933" noProof="0">
                <a:solidFill>
                  <a:schemeClr val="tx1"/>
                </a:solidFill>
              </a:rPr>
              <a:t>R: 149</a:t>
            </a:r>
          </a:p>
          <a:p>
            <a:pPr>
              <a:lnSpc>
                <a:spcPct val="90000"/>
              </a:lnSpc>
            </a:pPr>
            <a:r>
              <a:rPr lang="en-GB" sz="933" noProof="0">
                <a:solidFill>
                  <a:schemeClr val="tx1"/>
                </a:solidFill>
              </a:rPr>
              <a:t>G: 214</a:t>
            </a:r>
          </a:p>
          <a:p>
            <a:pPr>
              <a:lnSpc>
                <a:spcPct val="90000"/>
              </a:lnSpc>
            </a:pPr>
            <a:r>
              <a:rPr lang="en-GB" sz="933" noProof="0">
                <a:solidFill>
                  <a:schemeClr val="tx1"/>
                </a:solidFill>
              </a:rPr>
              <a:t>B: 0</a:t>
            </a:r>
          </a:p>
        </p:txBody>
      </p:sp>
      <p:sp>
        <p:nvSpPr>
          <p:cNvPr id="83" name="Freeform 8"/>
          <p:cNvSpPr>
            <a:spLocks noChangeAspect="1"/>
          </p:cNvSpPr>
          <p:nvPr userDrawn="1"/>
        </p:nvSpPr>
        <p:spPr bwMode="auto">
          <a:xfrm>
            <a:off x="9493117" y="2317997"/>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84" name="Rectangle 83"/>
          <p:cNvSpPr/>
          <p:nvPr userDrawn="1"/>
        </p:nvSpPr>
        <p:spPr>
          <a:xfrm>
            <a:off x="9986323" y="2315392"/>
            <a:ext cx="1054211"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SHAPE</a:t>
            </a:r>
          </a:p>
          <a:p>
            <a:pPr>
              <a:lnSpc>
                <a:spcPct val="90000"/>
              </a:lnSpc>
            </a:pPr>
            <a:r>
              <a:rPr lang="en-GB" sz="933" b="1" noProof="0">
                <a:solidFill>
                  <a:schemeClr val="tx1"/>
                </a:solidFill>
              </a:rPr>
              <a:t>THE MARKET</a:t>
            </a:r>
          </a:p>
          <a:p>
            <a:pPr>
              <a:lnSpc>
                <a:spcPct val="90000"/>
              </a:lnSpc>
            </a:pPr>
            <a:r>
              <a:rPr lang="en-GB" sz="933" noProof="0">
                <a:solidFill>
                  <a:schemeClr val="tx1"/>
                </a:solidFill>
              </a:rPr>
              <a:t>R: 0</a:t>
            </a:r>
          </a:p>
          <a:p>
            <a:pPr>
              <a:lnSpc>
                <a:spcPct val="90000"/>
              </a:lnSpc>
            </a:pPr>
            <a:r>
              <a:rPr lang="en-GB" sz="933" noProof="0">
                <a:solidFill>
                  <a:schemeClr val="tx1"/>
                </a:solidFill>
              </a:rPr>
              <a:t>G: 161</a:t>
            </a:r>
          </a:p>
          <a:p>
            <a:pPr>
              <a:lnSpc>
                <a:spcPct val="90000"/>
              </a:lnSpc>
            </a:pPr>
            <a:r>
              <a:rPr lang="en-GB" sz="933" noProof="0">
                <a:solidFill>
                  <a:schemeClr val="tx1"/>
                </a:solidFill>
              </a:rPr>
              <a:t>B: 223</a:t>
            </a:r>
          </a:p>
        </p:txBody>
      </p:sp>
      <p:sp>
        <p:nvSpPr>
          <p:cNvPr id="97" name="Freeform 8"/>
          <p:cNvSpPr>
            <a:spLocks noChangeAspect="1"/>
          </p:cNvSpPr>
          <p:nvPr userDrawn="1"/>
        </p:nvSpPr>
        <p:spPr bwMode="auto">
          <a:xfrm>
            <a:off x="5012245" y="3401125"/>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CED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98" name="Rectangle 97"/>
          <p:cNvSpPr/>
          <p:nvPr userDrawn="1"/>
        </p:nvSpPr>
        <p:spPr>
          <a:xfrm>
            <a:off x="5505451" y="3236979"/>
            <a:ext cx="951987" cy="80474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IPV</a:t>
            </a:r>
          </a:p>
          <a:p>
            <a:pPr>
              <a:lnSpc>
                <a:spcPct val="90000"/>
              </a:lnSpc>
            </a:pPr>
            <a:r>
              <a:rPr lang="en-GB" sz="933" b="1" noProof="0">
                <a:solidFill>
                  <a:schemeClr val="tx1"/>
                </a:solidFill>
              </a:rPr>
              <a:t>INJECTABLE</a:t>
            </a:r>
          </a:p>
          <a:p>
            <a:pPr>
              <a:lnSpc>
                <a:spcPct val="90000"/>
              </a:lnSpc>
            </a:pPr>
            <a:r>
              <a:rPr lang="en-GB" sz="933" b="1" noProof="0">
                <a:solidFill>
                  <a:schemeClr val="tx1"/>
                </a:solidFill>
              </a:rPr>
              <a:t>POLIO</a:t>
            </a:r>
          </a:p>
          <a:p>
            <a:pPr>
              <a:lnSpc>
                <a:spcPct val="90000"/>
              </a:lnSpc>
            </a:pPr>
            <a:r>
              <a:rPr lang="en-GB" sz="933" noProof="0">
                <a:solidFill>
                  <a:schemeClr val="tx1"/>
                </a:solidFill>
              </a:rPr>
              <a:t>R: 206</a:t>
            </a:r>
          </a:p>
          <a:p>
            <a:pPr>
              <a:lnSpc>
                <a:spcPct val="90000"/>
              </a:lnSpc>
            </a:pPr>
            <a:r>
              <a:rPr lang="en-GB" sz="933" noProof="0">
                <a:solidFill>
                  <a:schemeClr val="tx1"/>
                </a:solidFill>
              </a:rPr>
              <a:t>G: 220</a:t>
            </a:r>
          </a:p>
          <a:p>
            <a:pPr>
              <a:lnSpc>
                <a:spcPct val="90000"/>
              </a:lnSpc>
            </a:pPr>
            <a:r>
              <a:rPr lang="en-GB" sz="933" noProof="0">
                <a:solidFill>
                  <a:schemeClr val="tx1"/>
                </a:solidFill>
              </a:rPr>
              <a:t>B: 0</a:t>
            </a:r>
          </a:p>
        </p:txBody>
      </p:sp>
      <p:sp>
        <p:nvSpPr>
          <p:cNvPr id="95" name="Freeform 8"/>
          <p:cNvSpPr>
            <a:spLocks noChangeAspect="1"/>
          </p:cNvSpPr>
          <p:nvPr userDrawn="1"/>
        </p:nvSpPr>
        <p:spPr bwMode="auto">
          <a:xfrm>
            <a:off x="6457437" y="3401125"/>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B288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96" name="Rectangle 95"/>
          <p:cNvSpPr/>
          <p:nvPr userDrawn="1"/>
        </p:nvSpPr>
        <p:spPr>
          <a:xfrm>
            <a:off x="6950643" y="3398520"/>
            <a:ext cx="918760"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JAPANESE</a:t>
            </a:r>
          </a:p>
          <a:p>
            <a:pPr>
              <a:lnSpc>
                <a:spcPct val="90000"/>
              </a:lnSpc>
            </a:pPr>
            <a:r>
              <a:rPr lang="en-GB" sz="933" b="1" noProof="0">
                <a:solidFill>
                  <a:schemeClr val="tx1"/>
                </a:solidFill>
              </a:rPr>
              <a:t>ENCEPHALITIS</a:t>
            </a:r>
          </a:p>
          <a:p>
            <a:pPr>
              <a:lnSpc>
                <a:spcPct val="90000"/>
              </a:lnSpc>
            </a:pPr>
            <a:r>
              <a:rPr lang="en-GB" sz="933" noProof="0">
                <a:solidFill>
                  <a:schemeClr val="tx1"/>
                </a:solidFill>
              </a:rPr>
              <a:t>R: 178</a:t>
            </a:r>
          </a:p>
          <a:p>
            <a:pPr>
              <a:lnSpc>
                <a:spcPct val="90000"/>
              </a:lnSpc>
            </a:pPr>
            <a:r>
              <a:rPr lang="en-GB" sz="933" noProof="0">
                <a:solidFill>
                  <a:schemeClr val="tx1"/>
                </a:solidFill>
              </a:rPr>
              <a:t>G: 136</a:t>
            </a:r>
          </a:p>
          <a:p>
            <a:pPr>
              <a:lnSpc>
                <a:spcPct val="90000"/>
              </a:lnSpc>
            </a:pPr>
            <a:r>
              <a:rPr lang="en-GB" sz="933" noProof="0">
                <a:solidFill>
                  <a:schemeClr val="tx1"/>
                </a:solidFill>
              </a:rPr>
              <a:t>B: 185</a:t>
            </a:r>
          </a:p>
        </p:txBody>
      </p:sp>
      <p:sp>
        <p:nvSpPr>
          <p:cNvPr id="93" name="Freeform 8"/>
          <p:cNvSpPr>
            <a:spLocks noChangeAspect="1"/>
          </p:cNvSpPr>
          <p:nvPr userDrawn="1"/>
        </p:nvSpPr>
        <p:spPr bwMode="auto">
          <a:xfrm>
            <a:off x="7869403" y="3401125"/>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41B6E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94" name="Rectangle 93"/>
          <p:cNvSpPr/>
          <p:nvPr userDrawn="1"/>
        </p:nvSpPr>
        <p:spPr>
          <a:xfrm>
            <a:off x="8362608" y="3398520"/>
            <a:ext cx="590549"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MEASLES</a:t>
            </a:r>
          </a:p>
          <a:p>
            <a:pPr>
              <a:lnSpc>
                <a:spcPct val="90000"/>
              </a:lnSpc>
            </a:pPr>
            <a:r>
              <a:rPr lang="en-GB" sz="933" noProof="0">
                <a:solidFill>
                  <a:schemeClr val="tx1"/>
                </a:solidFill>
              </a:rPr>
              <a:t>R: 65</a:t>
            </a:r>
          </a:p>
          <a:p>
            <a:pPr>
              <a:lnSpc>
                <a:spcPct val="90000"/>
              </a:lnSpc>
            </a:pPr>
            <a:r>
              <a:rPr lang="en-GB" sz="933" noProof="0">
                <a:solidFill>
                  <a:schemeClr val="tx1"/>
                </a:solidFill>
              </a:rPr>
              <a:t>G: 182</a:t>
            </a:r>
          </a:p>
          <a:p>
            <a:pPr>
              <a:lnSpc>
                <a:spcPct val="90000"/>
              </a:lnSpc>
            </a:pPr>
            <a:r>
              <a:rPr lang="en-GB" sz="933" noProof="0">
                <a:solidFill>
                  <a:schemeClr val="tx1"/>
                </a:solidFill>
              </a:rPr>
              <a:t>B: 230</a:t>
            </a:r>
          </a:p>
        </p:txBody>
      </p:sp>
      <p:sp>
        <p:nvSpPr>
          <p:cNvPr id="91" name="Freeform 8"/>
          <p:cNvSpPr>
            <a:spLocks noChangeAspect="1"/>
          </p:cNvSpPr>
          <p:nvPr userDrawn="1"/>
        </p:nvSpPr>
        <p:spPr bwMode="auto">
          <a:xfrm>
            <a:off x="9493117" y="3401125"/>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0097A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92" name="Rectangle 91"/>
          <p:cNvSpPr/>
          <p:nvPr userDrawn="1"/>
        </p:nvSpPr>
        <p:spPr>
          <a:xfrm>
            <a:off x="9986323" y="3398520"/>
            <a:ext cx="910211"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MEASLES</a:t>
            </a:r>
          </a:p>
          <a:p>
            <a:pPr>
              <a:lnSpc>
                <a:spcPct val="90000"/>
              </a:lnSpc>
            </a:pPr>
            <a:r>
              <a:rPr lang="en-GB" sz="933" b="1" noProof="0">
                <a:solidFill>
                  <a:schemeClr val="tx1"/>
                </a:solidFill>
              </a:rPr>
              <a:t>2</a:t>
            </a:r>
            <a:r>
              <a:rPr lang="en-GB" sz="933" b="1" baseline="30000" noProof="0">
                <a:solidFill>
                  <a:schemeClr val="tx1"/>
                </a:solidFill>
              </a:rPr>
              <a:t>ND</a:t>
            </a:r>
            <a:r>
              <a:rPr lang="en-GB" sz="933" b="1" noProof="0">
                <a:solidFill>
                  <a:schemeClr val="tx1"/>
                </a:solidFill>
              </a:rPr>
              <a:t> DOSE</a:t>
            </a:r>
          </a:p>
          <a:p>
            <a:pPr>
              <a:lnSpc>
                <a:spcPct val="90000"/>
              </a:lnSpc>
            </a:pPr>
            <a:r>
              <a:rPr lang="en-GB" sz="933" noProof="0">
                <a:solidFill>
                  <a:schemeClr val="tx1"/>
                </a:solidFill>
              </a:rPr>
              <a:t>R: 0</a:t>
            </a:r>
          </a:p>
          <a:p>
            <a:pPr>
              <a:lnSpc>
                <a:spcPct val="90000"/>
              </a:lnSpc>
            </a:pPr>
            <a:r>
              <a:rPr lang="en-GB" sz="933" noProof="0">
                <a:solidFill>
                  <a:schemeClr val="tx1"/>
                </a:solidFill>
              </a:rPr>
              <a:t>G: 151</a:t>
            </a:r>
          </a:p>
          <a:p>
            <a:pPr>
              <a:lnSpc>
                <a:spcPct val="90000"/>
              </a:lnSpc>
            </a:pPr>
            <a:r>
              <a:rPr lang="en-GB" sz="933" noProof="0">
                <a:solidFill>
                  <a:schemeClr val="tx1"/>
                </a:solidFill>
              </a:rPr>
              <a:t>B: 169</a:t>
            </a:r>
          </a:p>
        </p:txBody>
      </p:sp>
      <p:sp>
        <p:nvSpPr>
          <p:cNvPr id="110" name="Freeform 8"/>
          <p:cNvSpPr>
            <a:spLocks noChangeAspect="1"/>
          </p:cNvSpPr>
          <p:nvPr userDrawn="1"/>
        </p:nvSpPr>
        <p:spPr bwMode="auto">
          <a:xfrm>
            <a:off x="5012245" y="4244901"/>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0033A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111" name="Rectangle 110"/>
          <p:cNvSpPr/>
          <p:nvPr userDrawn="1"/>
        </p:nvSpPr>
        <p:spPr>
          <a:xfrm>
            <a:off x="5505450" y="4242296"/>
            <a:ext cx="734233"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PNEUMO</a:t>
            </a:r>
          </a:p>
          <a:p>
            <a:pPr>
              <a:lnSpc>
                <a:spcPct val="90000"/>
              </a:lnSpc>
            </a:pPr>
            <a:r>
              <a:rPr lang="en-GB" sz="933" noProof="0">
                <a:solidFill>
                  <a:schemeClr val="tx1"/>
                </a:solidFill>
              </a:rPr>
              <a:t>R: 0</a:t>
            </a:r>
          </a:p>
          <a:p>
            <a:pPr>
              <a:lnSpc>
                <a:spcPct val="90000"/>
              </a:lnSpc>
            </a:pPr>
            <a:r>
              <a:rPr lang="en-GB" sz="933" noProof="0">
                <a:solidFill>
                  <a:schemeClr val="tx1"/>
                </a:solidFill>
              </a:rPr>
              <a:t>G: 51</a:t>
            </a:r>
          </a:p>
          <a:p>
            <a:pPr>
              <a:lnSpc>
                <a:spcPct val="90000"/>
              </a:lnSpc>
            </a:pPr>
            <a:r>
              <a:rPr lang="en-GB" sz="933" noProof="0">
                <a:solidFill>
                  <a:schemeClr val="tx1"/>
                </a:solidFill>
              </a:rPr>
              <a:t>B: 160</a:t>
            </a:r>
          </a:p>
        </p:txBody>
      </p:sp>
      <p:sp>
        <p:nvSpPr>
          <p:cNvPr id="108" name="Freeform 8"/>
          <p:cNvSpPr>
            <a:spLocks noChangeAspect="1"/>
          </p:cNvSpPr>
          <p:nvPr userDrawn="1"/>
        </p:nvSpPr>
        <p:spPr bwMode="auto">
          <a:xfrm>
            <a:off x="6457437" y="4244901"/>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D8601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109" name="Rectangle 108"/>
          <p:cNvSpPr/>
          <p:nvPr userDrawn="1"/>
        </p:nvSpPr>
        <p:spPr>
          <a:xfrm>
            <a:off x="6950643" y="4242296"/>
            <a:ext cx="918760"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ROTAVIRUS</a:t>
            </a:r>
          </a:p>
          <a:p>
            <a:pPr>
              <a:lnSpc>
                <a:spcPct val="90000"/>
              </a:lnSpc>
            </a:pPr>
            <a:r>
              <a:rPr lang="en-GB" sz="933" noProof="0">
                <a:solidFill>
                  <a:schemeClr val="tx1"/>
                </a:solidFill>
              </a:rPr>
              <a:t>R: 216</a:t>
            </a:r>
          </a:p>
          <a:p>
            <a:pPr>
              <a:lnSpc>
                <a:spcPct val="90000"/>
              </a:lnSpc>
            </a:pPr>
            <a:r>
              <a:rPr lang="en-GB" sz="933" noProof="0">
                <a:solidFill>
                  <a:schemeClr val="tx1"/>
                </a:solidFill>
              </a:rPr>
              <a:t>G: 96</a:t>
            </a:r>
          </a:p>
          <a:p>
            <a:pPr>
              <a:lnSpc>
                <a:spcPct val="90000"/>
              </a:lnSpc>
            </a:pPr>
            <a:r>
              <a:rPr lang="en-GB" sz="933" noProof="0">
                <a:solidFill>
                  <a:schemeClr val="tx1"/>
                </a:solidFill>
              </a:rPr>
              <a:t>B: 24</a:t>
            </a:r>
          </a:p>
        </p:txBody>
      </p:sp>
      <p:sp>
        <p:nvSpPr>
          <p:cNvPr id="106" name="Freeform 8"/>
          <p:cNvSpPr>
            <a:spLocks noChangeAspect="1"/>
          </p:cNvSpPr>
          <p:nvPr userDrawn="1"/>
        </p:nvSpPr>
        <p:spPr bwMode="auto">
          <a:xfrm>
            <a:off x="7869403" y="4244901"/>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EAA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107" name="Rectangle 106"/>
          <p:cNvSpPr/>
          <p:nvPr userDrawn="1"/>
        </p:nvSpPr>
        <p:spPr>
          <a:xfrm>
            <a:off x="8362608" y="4242296"/>
            <a:ext cx="997755"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YELLOW</a:t>
            </a:r>
          </a:p>
          <a:p>
            <a:pPr>
              <a:lnSpc>
                <a:spcPct val="90000"/>
              </a:lnSpc>
            </a:pPr>
            <a:r>
              <a:rPr lang="en-GB" sz="933" b="1" noProof="0">
                <a:solidFill>
                  <a:schemeClr val="tx1"/>
                </a:solidFill>
              </a:rPr>
              <a:t>FEVER</a:t>
            </a:r>
          </a:p>
          <a:p>
            <a:pPr>
              <a:lnSpc>
                <a:spcPct val="90000"/>
              </a:lnSpc>
            </a:pPr>
            <a:r>
              <a:rPr lang="en-GB" sz="933" noProof="0">
                <a:solidFill>
                  <a:schemeClr val="tx1"/>
                </a:solidFill>
              </a:rPr>
              <a:t>R: 234</a:t>
            </a:r>
          </a:p>
          <a:p>
            <a:pPr>
              <a:lnSpc>
                <a:spcPct val="90000"/>
              </a:lnSpc>
            </a:pPr>
            <a:r>
              <a:rPr lang="en-GB" sz="933" noProof="0">
                <a:solidFill>
                  <a:schemeClr val="tx1"/>
                </a:solidFill>
              </a:rPr>
              <a:t>G: 170</a:t>
            </a:r>
          </a:p>
          <a:p>
            <a:pPr>
              <a:lnSpc>
                <a:spcPct val="90000"/>
              </a:lnSpc>
            </a:pPr>
            <a:r>
              <a:rPr lang="en-GB" sz="933" noProof="0">
                <a:solidFill>
                  <a:schemeClr val="tx1"/>
                </a:solidFill>
              </a:rPr>
              <a:t>B: 0</a:t>
            </a:r>
          </a:p>
        </p:txBody>
      </p:sp>
      <p:sp>
        <p:nvSpPr>
          <p:cNvPr id="104" name="Freeform 8"/>
          <p:cNvSpPr>
            <a:spLocks noChangeAspect="1"/>
          </p:cNvSpPr>
          <p:nvPr userDrawn="1"/>
        </p:nvSpPr>
        <p:spPr bwMode="auto">
          <a:xfrm>
            <a:off x="9493117" y="4244901"/>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7D706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105" name="Rectangle 104"/>
          <p:cNvSpPr/>
          <p:nvPr userDrawn="1"/>
        </p:nvSpPr>
        <p:spPr>
          <a:xfrm>
            <a:off x="9986323" y="4242296"/>
            <a:ext cx="766195"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TYPHOÏD</a:t>
            </a:r>
          </a:p>
          <a:p>
            <a:pPr>
              <a:lnSpc>
                <a:spcPct val="90000"/>
              </a:lnSpc>
            </a:pPr>
            <a:r>
              <a:rPr lang="en-GB" sz="933" noProof="0">
                <a:solidFill>
                  <a:schemeClr val="tx1"/>
                </a:solidFill>
              </a:rPr>
              <a:t>R: 125</a:t>
            </a:r>
          </a:p>
          <a:p>
            <a:pPr>
              <a:lnSpc>
                <a:spcPct val="90000"/>
              </a:lnSpc>
            </a:pPr>
            <a:r>
              <a:rPr lang="en-GB" sz="933" noProof="0">
                <a:solidFill>
                  <a:schemeClr val="tx1"/>
                </a:solidFill>
              </a:rPr>
              <a:t>G: 112</a:t>
            </a:r>
          </a:p>
          <a:p>
            <a:pPr>
              <a:lnSpc>
                <a:spcPct val="90000"/>
              </a:lnSpc>
            </a:pPr>
            <a:r>
              <a:rPr lang="en-GB" sz="933" noProof="0">
                <a:solidFill>
                  <a:schemeClr val="tx1"/>
                </a:solidFill>
              </a:rPr>
              <a:t>B: 97</a:t>
            </a:r>
          </a:p>
        </p:txBody>
      </p:sp>
      <p:sp>
        <p:nvSpPr>
          <p:cNvPr id="123" name="Freeform 8"/>
          <p:cNvSpPr>
            <a:spLocks noChangeAspect="1"/>
          </p:cNvSpPr>
          <p:nvPr userDrawn="1"/>
        </p:nvSpPr>
        <p:spPr bwMode="auto">
          <a:xfrm>
            <a:off x="672000" y="3401125"/>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AF5C3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124" name="Rectangle 123"/>
          <p:cNvSpPr/>
          <p:nvPr userDrawn="1"/>
        </p:nvSpPr>
        <p:spPr>
          <a:xfrm>
            <a:off x="1165206" y="3398520"/>
            <a:ext cx="590549"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CHOLERA</a:t>
            </a:r>
          </a:p>
          <a:p>
            <a:pPr>
              <a:lnSpc>
                <a:spcPct val="90000"/>
              </a:lnSpc>
            </a:pPr>
            <a:r>
              <a:rPr lang="en-GB" sz="933" noProof="0">
                <a:solidFill>
                  <a:schemeClr val="tx1"/>
                </a:solidFill>
              </a:rPr>
              <a:t>R: 175</a:t>
            </a:r>
          </a:p>
          <a:p>
            <a:pPr>
              <a:lnSpc>
                <a:spcPct val="90000"/>
              </a:lnSpc>
            </a:pPr>
            <a:r>
              <a:rPr lang="en-GB" sz="933" noProof="0">
                <a:solidFill>
                  <a:schemeClr val="tx1"/>
                </a:solidFill>
              </a:rPr>
              <a:t>G: 92</a:t>
            </a:r>
          </a:p>
          <a:p>
            <a:pPr>
              <a:lnSpc>
                <a:spcPct val="90000"/>
              </a:lnSpc>
            </a:pPr>
            <a:r>
              <a:rPr lang="en-GB" sz="933" noProof="0">
                <a:solidFill>
                  <a:schemeClr val="tx1"/>
                </a:solidFill>
              </a:rPr>
              <a:t>B: 55</a:t>
            </a:r>
          </a:p>
        </p:txBody>
      </p:sp>
      <p:sp>
        <p:nvSpPr>
          <p:cNvPr id="121" name="Freeform 8"/>
          <p:cNvSpPr>
            <a:spLocks noChangeAspect="1"/>
          </p:cNvSpPr>
          <p:nvPr userDrawn="1"/>
        </p:nvSpPr>
        <p:spPr bwMode="auto">
          <a:xfrm>
            <a:off x="2117192" y="3401125"/>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D5003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122" name="Rectangle 121"/>
          <p:cNvSpPr/>
          <p:nvPr userDrawn="1"/>
        </p:nvSpPr>
        <p:spPr>
          <a:xfrm>
            <a:off x="2610398" y="3398520"/>
            <a:ext cx="590549"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HEPB</a:t>
            </a:r>
          </a:p>
          <a:p>
            <a:pPr>
              <a:lnSpc>
                <a:spcPct val="90000"/>
              </a:lnSpc>
            </a:pPr>
            <a:r>
              <a:rPr lang="en-GB" sz="933" noProof="0">
                <a:solidFill>
                  <a:schemeClr val="tx1"/>
                </a:solidFill>
              </a:rPr>
              <a:t>R: 213</a:t>
            </a:r>
          </a:p>
          <a:p>
            <a:pPr>
              <a:lnSpc>
                <a:spcPct val="90000"/>
              </a:lnSpc>
            </a:pPr>
            <a:r>
              <a:rPr lang="en-GB" sz="933" noProof="0">
                <a:solidFill>
                  <a:schemeClr val="tx1"/>
                </a:solidFill>
              </a:rPr>
              <a:t>G: 0</a:t>
            </a:r>
          </a:p>
          <a:p>
            <a:pPr>
              <a:lnSpc>
                <a:spcPct val="90000"/>
              </a:lnSpc>
            </a:pPr>
            <a:r>
              <a:rPr lang="en-GB" sz="933" noProof="0">
                <a:solidFill>
                  <a:schemeClr val="tx1"/>
                </a:solidFill>
              </a:rPr>
              <a:t>B: 50</a:t>
            </a:r>
          </a:p>
        </p:txBody>
      </p:sp>
      <p:sp>
        <p:nvSpPr>
          <p:cNvPr id="119" name="Freeform 8"/>
          <p:cNvSpPr>
            <a:spLocks noChangeAspect="1"/>
          </p:cNvSpPr>
          <p:nvPr userDrawn="1"/>
        </p:nvSpPr>
        <p:spPr bwMode="auto">
          <a:xfrm>
            <a:off x="3529157" y="3401125"/>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F59BB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120" name="Rectangle 119"/>
          <p:cNvSpPr/>
          <p:nvPr userDrawn="1"/>
        </p:nvSpPr>
        <p:spPr>
          <a:xfrm>
            <a:off x="4022363" y="3398520"/>
            <a:ext cx="590549"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HPV</a:t>
            </a:r>
          </a:p>
          <a:p>
            <a:pPr>
              <a:lnSpc>
                <a:spcPct val="90000"/>
              </a:lnSpc>
            </a:pPr>
            <a:r>
              <a:rPr lang="en-GB" sz="933" noProof="0">
                <a:solidFill>
                  <a:schemeClr val="tx1"/>
                </a:solidFill>
              </a:rPr>
              <a:t>R: 245</a:t>
            </a:r>
          </a:p>
          <a:p>
            <a:pPr>
              <a:lnSpc>
                <a:spcPct val="90000"/>
              </a:lnSpc>
            </a:pPr>
            <a:r>
              <a:rPr lang="en-GB" sz="933" noProof="0">
                <a:solidFill>
                  <a:schemeClr val="tx1"/>
                </a:solidFill>
              </a:rPr>
              <a:t>G: 155</a:t>
            </a:r>
          </a:p>
          <a:p>
            <a:pPr>
              <a:lnSpc>
                <a:spcPct val="90000"/>
              </a:lnSpc>
            </a:pPr>
            <a:r>
              <a:rPr lang="en-GB" sz="933" noProof="0">
                <a:solidFill>
                  <a:schemeClr val="tx1"/>
                </a:solidFill>
              </a:rPr>
              <a:t>B: 187</a:t>
            </a:r>
          </a:p>
        </p:txBody>
      </p:sp>
      <p:sp>
        <p:nvSpPr>
          <p:cNvPr id="126" name="Freeform 8"/>
          <p:cNvSpPr>
            <a:spLocks noChangeAspect="1"/>
          </p:cNvSpPr>
          <p:nvPr userDrawn="1"/>
        </p:nvSpPr>
        <p:spPr bwMode="auto">
          <a:xfrm>
            <a:off x="5012245" y="5110123"/>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646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127" name="Rectangle 126"/>
          <p:cNvSpPr/>
          <p:nvPr userDrawn="1"/>
        </p:nvSpPr>
        <p:spPr>
          <a:xfrm>
            <a:off x="5505451" y="5107517"/>
            <a:ext cx="590549"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RABIES</a:t>
            </a:r>
          </a:p>
          <a:p>
            <a:pPr>
              <a:lnSpc>
                <a:spcPct val="90000"/>
              </a:lnSpc>
            </a:pPr>
            <a:r>
              <a:rPr lang="en-GB" sz="933" noProof="0">
                <a:solidFill>
                  <a:schemeClr val="tx1"/>
                </a:solidFill>
              </a:rPr>
              <a:t>R: 100</a:t>
            </a:r>
          </a:p>
          <a:p>
            <a:pPr>
              <a:lnSpc>
                <a:spcPct val="90000"/>
              </a:lnSpc>
            </a:pPr>
            <a:r>
              <a:rPr lang="en-GB" sz="933" noProof="0">
                <a:solidFill>
                  <a:schemeClr val="tx1"/>
                </a:solidFill>
              </a:rPr>
              <a:t>G: 99</a:t>
            </a:r>
          </a:p>
          <a:p>
            <a:pPr>
              <a:lnSpc>
                <a:spcPct val="90000"/>
              </a:lnSpc>
            </a:pPr>
            <a:r>
              <a:rPr lang="en-GB" sz="933" noProof="0">
                <a:solidFill>
                  <a:schemeClr val="tx1"/>
                </a:solidFill>
              </a:rPr>
              <a:t>B: 99</a:t>
            </a:r>
          </a:p>
        </p:txBody>
      </p:sp>
      <p:sp>
        <p:nvSpPr>
          <p:cNvPr id="137" name="Freeform 8"/>
          <p:cNvSpPr>
            <a:spLocks noChangeAspect="1"/>
          </p:cNvSpPr>
          <p:nvPr userDrawn="1"/>
        </p:nvSpPr>
        <p:spPr bwMode="auto">
          <a:xfrm>
            <a:off x="672000" y="4244901"/>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005A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138" name="Rectangle 137"/>
          <p:cNvSpPr/>
          <p:nvPr userDrawn="1"/>
        </p:nvSpPr>
        <p:spPr>
          <a:xfrm>
            <a:off x="1165205" y="4242296"/>
            <a:ext cx="802336"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MEASLES</a:t>
            </a:r>
          </a:p>
          <a:p>
            <a:pPr>
              <a:lnSpc>
                <a:spcPct val="90000"/>
              </a:lnSpc>
            </a:pPr>
            <a:r>
              <a:rPr lang="en-GB" sz="933" b="1" noProof="0">
                <a:solidFill>
                  <a:schemeClr val="tx1"/>
                </a:solidFill>
              </a:rPr>
              <a:t>RUBELLA</a:t>
            </a:r>
          </a:p>
          <a:p>
            <a:pPr>
              <a:lnSpc>
                <a:spcPct val="90000"/>
              </a:lnSpc>
            </a:pPr>
            <a:r>
              <a:rPr lang="en-GB" sz="933" noProof="0">
                <a:solidFill>
                  <a:schemeClr val="tx1"/>
                </a:solidFill>
              </a:rPr>
              <a:t>R: 0</a:t>
            </a:r>
          </a:p>
          <a:p>
            <a:pPr>
              <a:lnSpc>
                <a:spcPct val="90000"/>
              </a:lnSpc>
            </a:pPr>
            <a:r>
              <a:rPr lang="en-GB" sz="933" noProof="0">
                <a:solidFill>
                  <a:schemeClr val="tx1"/>
                </a:solidFill>
              </a:rPr>
              <a:t>G: 90</a:t>
            </a:r>
          </a:p>
          <a:p>
            <a:pPr>
              <a:lnSpc>
                <a:spcPct val="90000"/>
              </a:lnSpc>
            </a:pPr>
            <a:r>
              <a:rPr lang="en-GB" sz="933" noProof="0">
                <a:solidFill>
                  <a:schemeClr val="tx1"/>
                </a:solidFill>
              </a:rPr>
              <a:t>B: 112</a:t>
            </a:r>
          </a:p>
        </p:txBody>
      </p:sp>
      <p:sp>
        <p:nvSpPr>
          <p:cNvPr id="135" name="Freeform 8"/>
          <p:cNvSpPr>
            <a:spLocks noChangeAspect="1"/>
          </p:cNvSpPr>
          <p:nvPr userDrawn="1"/>
        </p:nvSpPr>
        <p:spPr bwMode="auto">
          <a:xfrm>
            <a:off x="2117192" y="4244901"/>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0096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136" name="Rectangle 135"/>
          <p:cNvSpPr/>
          <p:nvPr userDrawn="1"/>
        </p:nvSpPr>
        <p:spPr>
          <a:xfrm>
            <a:off x="2610397" y="4242296"/>
            <a:ext cx="918760"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MENINGITIS</a:t>
            </a:r>
          </a:p>
          <a:p>
            <a:pPr>
              <a:lnSpc>
                <a:spcPct val="90000"/>
              </a:lnSpc>
            </a:pPr>
            <a:r>
              <a:rPr lang="en-GB" sz="933" b="1" noProof="0">
                <a:solidFill>
                  <a:schemeClr val="tx1"/>
                </a:solidFill>
              </a:rPr>
              <a:t>A</a:t>
            </a:r>
          </a:p>
          <a:p>
            <a:pPr>
              <a:lnSpc>
                <a:spcPct val="90000"/>
              </a:lnSpc>
            </a:pPr>
            <a:r>
              <a:rPr lang="en-GB" sz="933" noProof="0">
                <a:solidFill>
                  <a:schemeClr val="tx1"/>
                </a:solidFill>
              </a:rPr>
              <a:t>R: 0</a:t>
            </a:r>
          </a:p>
          <a:p>
            <a:pPr>
              <a:lnSpc>
                <a:spcPct val="90000"/>
              </a:lnSpc>
            </a:pPr>
            <a:r>
              <a:rPr lang="en-GB" sz="933" noProof="0">
                <a:solidFill>
                  <a:schemeClr val="tx1"/>
                </a:solidFill>
              </a:rPr>
              <a:t>G: 150</a:t>
            </a:r>
          </a:p>
          <a:p>
            <a:pPr>
              <a:lnSpc>
                <a:spcPct val="90000"/>
              </a:lnSpc>
            </a:pPr>
            <a:r>
              <a:rPr lang="en-GB" sz="933" noProof="0">
                <a:solidFill>
                  <a:schemeClr val="tx1"/>
                </a:solidFill>
              </a:rPr>
              <a:t>B: 57</a:t>
            </a:r>
          </a:p>
        </p:txBody>
      </p:sp>
      <p:sp>
        <p:nvSpPr>
          <p:cNvPr id="133" name="Freeform 8"/>
          <p:cNvSpPr>
            <a:spLocks noChangeAspect="1"/>
          </p:cNvSpPr>
          <p:nvPr userDrawn="1"/>
        </p:nvSpPr>
        <p:spPr bwMode="auto">
          <a:xfrm>
            <a:off x="3529157" y="4244901"/>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6532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134" name="Rectangle 133"/>
          <p:cNvSpPr/>
          <p:nvPr userDrawn="1"/>
        </p:nvSpPr>
        <p:spPr>
          <a:xfrm>
            <a:off x="4022363" y="4242296"/>
            <a:ext cx="989883"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PENTA</a:t>
            </a:r>
          </a:p>
          <a:p>
            <a:pPr>
              <a:lnSpc>
                <a:spcPct val="90000"/>
              </a:lnSpc>
            </a:pPr>
            <a:r>
              <a:rPr lang="en-GB" sz="933" b="1" noProof="0">
                <a:solidFill>
                  <a:schemeClr val="tx1"/>
                </a:solidFill>
              </a:rPr>
              <a:t>DTP–HEP-HIB</a:t>
            </a:r>
          </a:p>
          <a:p>
            <a:pPr>
              <a:lnSpc>
                <a:spcPct val="90000"/>
              </a:lnSpc>
            </a:pPr>
            <a:r>
              <a:rPr lang="en-GB" sz="933" noProof="0">
                <a:solidFill>
                  <a:schemeClr val="tx1"/>
                </a:solidFill>
              </a:rPr>
              <a:t>R: 101</a:t>
            </a:r>
          </a:p>
          <a:p>
            <a:pPr>
              <a:lnSpc>
                <a:spcPct val="90000"/>
              </a:lnSpc>
            </a:pPr>
            <a:r>
              <a:rPr lang="en-GB" sz="933" noProof="0">
                <a:solidFill>
                  <a:schemeClr val="tx1"/>
                </a:solidFill>
              </a:rPr>
              <a:t>G: 50</a:t>
            </a:r>
          </a:p>
          <a:p>
            <a:pPr>
              <a:lnSpc>
                <a:spcPct val="90000"/>
              </a:lnSpc>
            </a:pPr>
            <a:r>
              <a:rPr lang="en-GB" sz="933" noProof="0">
                <a:solidFill>
                  <a:schemeClr val="tx1"/>
                </a:solidFill>
              </a:rPr>
              <a:t>B: 121</a:t>
            </a:r>
          </a:p>
        </p:txBody>
      </p:sp>
      <p:sp>
        <p:nvSpPr>
          <p:cNvPr id="149" name="Freeform 8"/>
          <p:cNvSpPr>
            <a:spLocks noChangeAspect="1"/>
          </p:cNvSpPr>
          <p:nvPr userDrawn="1"/>
        </p:nvSpPr>
        <p:spPr bwMode="auto">
          <a:xfrm>
            <a:off x="672000" y="5110123"/>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C6C6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150" name="Rectangle 149"/>
          <p:cNvSpPr/>
          <p:nvPr userDrawn="1"/>
        </p:nvSpPr>
        <p:spPr>
          <a:xfrm>
            <a:off x="1165205" y="5107517"/>
            <a:ext cx="802336"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DENGUE</a:t>
            </a:r>
          </a:p>
          <a:p>
            <a:pPr>
              <a:lnSpc>
                <a:spcPct val="90000"/>
              </a:lnSpc>
            </a:pPr>
            <a:r>
              <a:rPr lang="en-GB" sz="933" noProof="0">
                <a:solidFill>
                  <a:schemeClr val="tx1"/>
                </a:solidFill>
              </a:rPr>
              <a:t>R: 198</a:t>
            </a:r>
          </a:p>
          <a:p>
            <a:pPr>
              <a:lnSpc>
                <a:spcPct val="90000"/>
              </a:lnSpc>
            </a:pPr>
            <a:r>
              <a:rPr lang="en-GB" sz="933" noProof="0">
                <a:solidFill>
                  <a:schemeClr val="tx1"/>
                </a:solidFill>
              </a:rPr>
              <a:t>G:</a:t>
            </a:r>
            <a:r>
              <a:rPr lang="en-GB" sz="933" baseline="0" noProof="0">
                <a:solidFill>
                  <a:schemeClr val="tx1"/>
                </a:solidFill>
              </a:rPr>
              <a:t> </a:t>
            </a:r>
            <a:r>
              <a:rPr lang="en-GB" sz="933" noProof="0">
                <a:solidFill>
                  <a:schemeClr val="tx1"/>
                </a:solidFill>
              </a:rPr>
              <a:t>198</a:t>
            </a:r>
          </a:p>
          <a:p>
            <a:pPr>
              <a:lnSpc>
                <a:spcPct val="90000"/>
              </a:lnSpc>
            </a:pPr>
            <a:r>
              <a:rPr lang="en-GB" sz="933" noProof="0">
                <a:solidFill>
                  <a:schemeClr val="tx1"/>
                </a:solidFill>
              </a:rPr>
              <a:t>B:</a:t>
            </a:r>
            <a:r>
              <a:rPr lang="en-GB" sz="933" baseline="0" noProof="0">
                <a:solidFill>
                  <a:schemeClr val="tx1"/>
                </a:solidFill>
              </a:rPr>
              <a:t> </a:t>
            </a:r>
            <a:r>
              <a:rPr lang="en-GB" sz="933" noProof="0">
                <a:solidFill>
                  <a:schemeClr val="tx1"/>
                </a:solidFill>
              </a:rPr>
              <a:t>198</a:t>
            </a:r>
          </a:p>
        </p:txBody>
      </p:sp>
      <p:sp>
        <p:nvSpPr>
          <p:cNvPr id="147" name="Freeform 8"/>
          <p:cNvSpPr>
            <a:spLocks noChangeAspect="1"/>
          </p:cNvSpPr>
          <p:nvPr userDrawn="1"/>
        </p:nvSpPr>
        <p:spPr bwMode="auto">
          <a:xfrm>
            <a:off x="2117192" y="5110123"/>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A8A8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148" name="Rectangle 147"/>
          <p:cNvSpPr/>
          <p:nvPr userDrawn="1"/>
        </p:nvSpPr>
        <p:spPr>
          <a:xfrm>
            <a:off x="2610398" y="5107517"/>
            <a:ext cx="590549"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MALARIA</a:t>
            </a:r>
          </a:p>
          <a:p>
            <a:pPr>
              <a:lnSpc>
                <a:spcPct val="90000"/>
              </a:lnSpc>
            </a:pPr>
            <a:r>
              <a:rPr lang="en-GB" sz="933" noProof="0">
                <a:solidFill>
                  <a:schemeClr val="tx1"/>
                </a:solidFill>
              </a:rPr>
              <a:t>R: 168</a:t>
            </a:r>
          </a:p>
          <a:p>
            <a:pPr>
              <a:lnSpc>
                <a:spcPct val="90000"/>
              </a:lnSpc>
            </a:pPr>
            <a:r>
              <a:rPr lang="en-GB" sz="933" noProof="0">
                <a:solidFill>
                  <a:schemeClr val="tx1"/>
                </a:solidFill>
              </a:rPr>
              <a:t>G: 168</a:t>
            </a:r>
          </a:p>
          <a:p>
            <a:pPr>
              <a:lnSpc>
                <a:spcPct val="90000"/>
              </a:lnSpc>
            </a:pPr>
            <a:r>
              <a:rPr lang="en-GB" sz="933" noProof="0">
                <a:solidFill>
                  <a:schemeClr val="tx1"/>
                </a:solidFill>
              </a:rPr>
              <a:t>B: 167</a:t>
            </a:r>
          </a:p>
        </p:txBody>
      </p:sp>
      <p:sp>
        <p:nvSpPr>
          <p:cNvPr id="145" name="Freeform 8"/>
          <p:cNvSpPr>
            <a:spLocks noChangeAspect="1"/>
          </p:cNvSpPr>
          <p:nvPr userDrawn="1"/>
        </p:nvSpPr>
        <p:spPr bwMode="auto">
          <a:xfrm>
            <a:off x="3529157" y="5110123"/>
            <a:ext cx="432000" cy="640595"/>
          </a:xfrm>
          <a:custGeom>
            <a:avLst/>
            <a:gdLst>
              <a:gd name="T0" fmla="*/ 1647 w 2858"/>
              <a:gd name="T1" fmla="*/ 4222 h 4238"/>
              <a:gd name="T2" fmla="*/ 1855 w 2858"/>
              <a:gd name="T3" fmla="*/ 4173 h 4238"/>
              <a:gd name="T4" fmla="*/ 2057 w 2858"/>
              <a:gd name="T5" fmla="*/ 4093 h 4238"/>
              <a:gd name="T6" fmla="*/ 2236 w 2858"/>
              <a:gd name="T7" fmla="*/ 3989 h 4238"/>
              <a:gd name="T8" fmla="*/ 2404 w 2858"/>
              <a:gd name="T9" fmla="*/ 3854 h 4238"/>
              <a:gd name="T10" fmla="*/ 2544 w 2858"/>
              <a:gd name="T11" fmla="*/ 3705 h 4238"/>
              <a:gd name="T12" fmla="*/ 2665 w 2858"/>
              <a:gd name="T13" fmla="*/ 3528 h 4238"/>
              <a:gd name="T14" fmla="*/ 2756 w 2858"/>
              <a:gd name="T15" fmla="*/ 3340 h 4238"/>
              <a:gd name="T16" fmla="*/ 2822 w 2858"/>
              <a:gd name="T17" fmla="*/ 3131 h 4238"/>
              <a:gd name="T18" fmla="*/ 2854 w 2858"/>
              <a:gd name="T19" fmla="*/ 2918 h 4238"/>
              <a:gd name="T20" fmla="*/ 2849 w 2858"/>
              <a:gd name="T21" fmla="*/ 2647 h 4238"/>
              <a:gd name="T22" fmla="*/ 2779 w 2858"/>
              <a:gd name="T23" fmla="*/ 2350 h 4238"/>
              <a:gd name="T24" fmla="*/ 2653 w 2858"/>
              <a:gd name="T25" fmla="*/ 2045 h 4238"/>
              <a:gd name="T26" fmla="*/ 2492 w 2858"/>
              <a:gd name="T27" fmla="*/ 1755 h 4238"/>
              <a:gd name="T28" fmla="*/ 2299 w 2858"/>
              <a:gd name="T29" fmla="*/ 1462 h 4238"/>
              <a:gd name="T30" fmla="*/ 2103 w 2858"/>
              <a:gd name="T31" fmla="*/ 1189 h 4238"/>
              <a:gd name="T32" fmla="*/ 1904 w 2858"/>
              <a:gd name="T33" fmla="*/ 914 h 4238"/>
              <a:gd name="T34" fmla="*/ 1731 w 2858"/>
              <a:gd name="T35" fmla="*/ 663 h 4238"/>
              <a:gd name="T36" fmla="*/ 1586 w 2858"/>
              <a:gd name="T37" fmla="*/ 417 h 4238"/>
              <a:gd name="T38" fmla="*/ 1494 w 2858"/>
              <a:gd name="T39" fmla="*/ 196 h 4238"/>
              <a:gd name="T40" fmla="*/ 1462 w 2858"/>
              <a:gd name="T41" fmla="*/ 1 h 4238"/>
              <a:gd name="T42" fmla="*/ 1459 w 2858"/>
              <a:gd name="T43" fmla="*/ 1 h 4238"/>
              <a:gd name="T44" fmla="*/ 1455 w 2858"/>
              <a:gd name="T45" fmla="*/ 1 h 4238"/>
              <a:gd name="T46" fmla="*/ 1452 w 2858"/>
              <a:gd name="T47" fmla="*/ 1 h 4238"/>
              <a:gd name="T48" fmla="*/ 1449 w 2858"/>
              <a:gd name="T49" fmla="*/ 1 h 4238"/>
              <a:gd name="T50" fmla="*/ 1445 w 2858"/>
              <a:gd name="T51" fmla="*/ 1 h 4238"/>
              <a:gd name="T52" fmla="*/ 1443 w 2858"/>
              <a:gd name="T53" fmla="*/ 1 h 4238"/>
              <a:gd name="T54" fmla="*/ 1440 w 2858"/>
              <a:gd name="T55" fmla="*/ 1 h 4238"/>
              <a:gd name="T56" fmla="*/ 1437 w 2858"/>
              <a:gd name="T57" fmla="*/ 0 h 4238"/>
              <a:gd name="T58" fmla="*/ 1433 w 2858"/>
              <a:gd name="T59" fmla="*/ 0 h 4238"/>
              <a:gd name="T60" fmla="*/ 1430 w 2858"/>
              <a:gd name="T61" fmla="*/ 0 h 4238"/>
              <a:gd name="T62" fmla="*/ 1428 w 2858"/>
              <a:gd name="T63" fmla="*/ 0 h 4238"/>
              <a:gd name="T64" fmla="*/ 1424 w 2858"/>
              <a:gd name="T65" fmla="*/ 0 h 4238"/>
              <a:gd name="T66" fmla="*/ 1421 w 2858"/>
              <a:gd name="T67" fmla="*/ 1 h 4238"/>
              <a:gd name="T68" fmla="*/ 1418 w 2858"/>
              <a:gd name="T69" fmla="*/ 1 h 4238"/>
              <a:gd name="T70" fmla="*/ 1415 w 2858"/>
              <a:gd name="T71" fmla="*/ 1 h 4238"/>
              <a:gd name="T72" fmla="*/ 1411 w 2858"/>
              <a:gd name="T73" fmla="*/ 1 h 4238"/>
              <a:gd name="T74" fmla="*/ 1409 w 2858"/>
              <a:gd name="T75" fmla="*/ 1 h 4238"/>
              <a:gd name="T76" fmla="*/ 1406 w 2858"/>
              <a:gd name="T77" fmla="*/ 1 h 4238"/>
              <a:gd name="T78" fmla="*/ 1403 w 2858"/>
              <a:gd name="T79" fmla="*/ 1 h 4238"/>
              <a:gd name="T80" fmla="*/ 1399 w 2858"/>
              <a:gd name="T81" fmla="*/ 1 h 4238"/>
              <a:gd name="T82" fmla="*/ 1396 w 2858"/>
              <a:gd name="T83" fmla="*/ 34 h 4238"/>
              <a:gd name="T84" fmla="*/ 1347 w 2858"/>
              <a:gd name="T85" fmla="*/ 249 h 4238"/>
              <a:gd name="T86" fmla="*/ 1241 w 2858"/>
              <a:gd name="T87" fmla="*/ 474 h 4238"/>
              <a:gd name="T88" fmla="*/ 1086 w 2858"/>
              <a:gd name="T89" fmla="*/ 724 h 4238"/>
              <a:gd name="T90" fmla="*/ 908 w 2858"/>
              <a:gd name="T91" fmla="*/ 979 h 4238"/>
              <a:gd name="T92" fmla="*/ 706 w 2858"/>
              <a:gd name="T93" fmla="*/ 1255 h 4238"/>
              <a:gd name="T94" fmla="*/ 511 w 2858"/>
              <a:gd name="T95" fmla="*/ 1532 h 4238"/>
              <a:gd name="T96" fmla="*/ 324 w 2858"/>
              <a:gd name="T97" fmla="*/ 1827 h 4238"/>
              <a:gd name="T98" fmla="*/ 171 w 2858"/>
              <a:gd name="T99" fmla="*/ 2117 h 4238"/>
              <a:gd name="T100" fmla="*/ 55 w 2858"/>
              <a:gd name="T101" fmla="*/ 2425 h 4238"/>
              <a:gd name="T102" fmla="*/ 2 w 2858"/>
              <a:gd name="T103" fmla="*/ 2722 h 4238"/>
              <a:gd name="T104" fmla="*/ 9 w 2858"/>
              <a:gd name="T105" fmla="*/ 2972 h 4238"/>
              <a:gd name="T106" fmla="*/ 49 w 2858"/>
              <a:gd name="T107" fmla="*/ 3182 h 4238"/>
              <a:gd name="T108" fmla="*/ 122 w 2858"/>
              <a:gd name="T109" fmla="*/ 3389 h 4238"/>
              <a:gd name="T110" fmla="*/ 220 w 2858"/>
              <a:gd name="T111" fmla="*/ 3571 h 4238"/>
              <a:gd name="T112" fmla="*/ 348 w 2858"/>
              <a:gd name="T113" fmla="*/ 3744 h 4238"/>
              <a:gd name="T114" fmla="*/ 494 w 2858"/>
              <a:gd name="T115" fmla="*/ 3890 h 4238"/>
              <a:gd name="T116" fmla="*/ 665 w 2858"/>
              <a:gd name="T117" fmla="*/ 4018 h 4238"/>
              <a:gd name="T118" fmla="*/ 849 w 2858"/>
              <a:gd name="T119" fmla="*/ 4114 h 4238"/>
              <a:gd name="T120" fmla="*/ 1055 w 2858"/>
              <a:gd name="T121" fmla="*/ 4188 h 4238"/>
              <a:gd name="T122" fmla="*/ 1266 w 2858"/>
              <a:gd name="T123" fmla="*/ 4229 h 4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58" h="4238">
                <a:moveTo>
                  <a:pt x="1429" y="4238"/>
                </a:moveTo>
                <a:lnTo>
                  <a:pt x="1429" y="4238"/>
                </a:lnTo>
                <a:lnTo>
                  <a:pt x="1439" y="4238"/>
                </a:lnTo>
                <a:lnTo>
                  <a:pt x="1439" y="4238"/>
                </a:lnTo>
                <a:lnTo>
                  <a:pt x="1448" y="4238"/>
                </a:lnTo>
                <a:lnTo>
                  <a:pt x="1448" y="4238"/>
                </a:lnTo>
                <a:lnTo>
                  <a:pt x="1458" y="4237"/>
                </a:lnTo>
                <a:lnTo>
                  <a:pt x="1458" y="4237"/>
                </a:lnTo>
                <a:lnTo>
                  <a:pt x="1466" y="4237"/>
                </a:lnTo>
                <a:lnTo>
                  <a:pt x="1466" y="4237"/>
                </a:lnTo>
                <a:lnTo>
                  <a:pt x="1475" y="4237"/>
                </a:lnTo>
                <a:lnTo>
                  <a:pt x="1475" y="4237"/>
                </a:lnTo>
                <a:lnTo>
                  <a:pt x="1485" y="4237"/>
                </a:lnTo>
                <a:lnTo>
                  <a:pt x="1485" y="4237"/>
                </a:lnTo>
                <a:lnTo>
                  <a:pt x="1494" y="4237"/>
                </a:lnTo>
                <a:lnTo>
                  <a:pt x="1494" y="4237"/>
                </a:lnTo>
                <a:lnTo>
                  <a:pt x="1503" y="4236"/>
                </a:lnTo>
                <a:lnTo>
                  <a:pt x="1503" y="4236"/>
                </a:lnTo>
                <a:lnTo>
                  <a:pt x="1512" y="4236"/>
                </a:lnTo>
                <a:lnTo>
                  <a:pt x="1512" y="4236"/>
                </a:lnTo>
                <a:lnTo>
                  <a:pt x="1522" y="4236"/>
                </a:lnTo>
                <a:lnTo>
                  <a:pt x="1522" y="4236"/>
                </a:lnTo>
                <a:lnTo>
                  <a:pt x="1530" y="4234"/>
                </a:lnTo>
                <a:lnTo>
                  <a:pt x="1530" y="4234"/>
                </a:lnTo>
                <a:lnTo>
                  <a:pt x="1539" y="4234"/>
                </a:lnTo>
                <a:lnTo>
                  <a:pt x="1539" y="4234"/>
                </a:lnTo>
                <a:lnTo>
                  <a:pt x="1549" y="4233"/>
                </a:lnTo>
                <a:lnTo>
                  <a:pt x="1549" y="4233"/>
                </a:lnTo>
                <a:lnTo>
                  <a:pt x="1557" y="4233"/>
                </a:lnTo>
                <a:lnTo>
                  <a:pt x="1557" y="4233"/>
                </a:lnTo>
                <a:lnTo>
                  <a:pt x="1566" y="4232"/>
                </a:lnTo>
                <a:lnTo>
                  <a:pt x="1566" y="4232"/>
                </a:lnTo>
                <a:lnTo>
                  <a:pt x="1576" y="4230"/>
                </a:lnTo>
                <a:lnTo>
                  <a:pt x="1576" y="4230"/>
                </a:lnTo>
                <a:lnTo>
                  <a:pt x="1584" y="4230"/>
                </a:lnTo>
                <a:lnTo>
                  <a:pt x="1584" y="4230"/>
                </a:lnTo>
                <a:lnTo>
                  <a:pt x="1594" y="4229"/>
                </a:lnTo>
                <a:lnTo>
                  <a:pt x="1594" y="4229"/>
                </a:lnTo>
                <a:lnTo>
                  <a:pt x="1602" y="4227"/>
                </a:lnTo>
                <a:lnTo>
                  <a:pt x="1602" y="4227"/>
                </a:lnTo>
                <a:lnTo>
                  <a:pt x="1611" y="4226"/>
                </a:lnTo>
                <a:lnTo>
                  <a:pt x="1611" y="4226"/>
                </a:lnTo>
                <a:lnTo>
                  <a:pt x="1621" y="4225"/>
                </a:lnTo>
                <a:lnTo>
                  <a:pt x="1621" y="4225"/>
                </a:lnTo>
                <a:lnTo>
                  <a:pt x="1629" y="4223"/>
                </a:lnTo>
                <a:lnTo>
                  <a:pt x="1629" y="4223"/>
                </a:lnTo>
                <a:lnTo>
                  <a:pt x="1639" y="4223"/>
                </a:lnTo>
                <a:lnTo>
                  <a:pt x="1639" y="4223"/>
                </a:lnTo>
                <a:lnTo>
                  <a:pt x="1647" y="4222"/>
                </a:lnTo>
                <a:lnTo>
                  <a:pt x="1647" y="4222"/>
                </a:lnTo>
                <a:lnTo>
                  <a:pt x="1656" y="4221"/>
                </a:lnTo>
                <a:lnTo>
                  <a:pt x="1656" y="4221"/>
                </a:lnTo>
                <a:lnTo>
                  <a:pt x="1665" y="4218"/>
                </a:lnTo>
                <a:lnTo>
                  <a:pt x="1665" y="4218"/>
                </a:lnTo>
                <a:lnTo>
                  <a:pt x="1674" y="4217"/>
                </a:lnTo>
                <a:lnTo>
                  <a:pt x="1674" y="4217"/>
                </a:lnTo>
                <a:lnTo>
                  <a:pt x="1682" y="4215"/>
                </a:lnTo>
                <a:lnTo>
                  <a:pt x="1682" y="4215"/>
                </a:lnTo>
                <a:lnTo>
                  <a:pt x="1692" y="4214"/>
                </a:lnTo>
                <a:lnTo>
                  <a:pt x="1692" y="4214"/>
                </a:lnTo>
                <a:lnTo>
                  <a:pt x="1700" y="4212"/>
                </a:lnTo>
                <a:lnTo>
                  <a:pt x="1700" y="4212"/>
                </a:lnTo>
                <a:lnTo>
                  <a:pt x="1708" y="4211"/>
                </a:lnTo>
                <a:lnTo>
                  <a:pt x="1708" y="4211"/>
                </a:lnTo>
                <a:lnTo>
                  <a:pt x="1718" y="4208"/>
                </a:lnTo>
                <a:lnTo>
                  <a:pt x="1718" y="4208"/>
                </a:lnTo>
                <a:lnTo>
                  <a:pt x="1726" y="4207"/>
                </a:lnTo>
                <a:lnTo>
                  <a:pt x="1726" y="4207"/>
                </a:lnTo>
                <a:lnTo>
                  <a:pt x="1735" y="4206"/>
                </a:lnTo>
                <a:lnTo>
                  <a:pt x="1735" y="4206"/>
                </a:lnTo>
                <a:lnTo>
                  <a:pt x="1743" y="4203"/>
                </a:lnTo>
                <a:lnTo>
                  <a:pt x="1743" y="4203"/>
                </a:lnTo>
                <a:lnTo>
                  <a:pt x="1752" y="4202"/>
                </a:lnTo>
                <a:lnTo>
                  <a:pt x="1752" y="4202"/>
                </a:lnTo>
                <a:lnTo>
                  <a:pt x="1761" y="4199"/>
                </a:lnTo>
                <a:lnTo>
                  <a:pt x="1761" y="4199"/>
                </a:lnTo>
                <a:lnTo>
                  <a:pt x="1769" y="4197"/>
                </a:lnTo>
                <a:lnTo>
                  <a:pt x="1769" y="4197"/>
                </a:lnTo>
                <a:lnTo>
                  <a:pt x="1777" y="4195"/>
                </a:lnTo>
                <a:lnTo>
                  <a:pt x="1777" y="4195"/>
                </a:lnTo>
                <a:lnTo>
                  <a:pt x="1787" y="4193"/>
                </a:lnTo>
                <a:lnTo>
                  <a:pt x="1787" y="4193"/>
                </a:lnTo>
                <a:lnTo>
                  <a:pt x="1795" y="4191"/>
                </a:lnTo>
                <a:lnTo>
                  <a:pt x="1795" y="4191"/>
                </a:lnTo>
                <a:lnTo>
                  <a:pt x="1803" y="4188"/>
                </a:lnTo>
                <a:lnTo>
                  <a:pt x="1803" y="4188"/>
                </a:lnTo>
                <a:lnTo>
                  <a:pt x="1813" y="4187"/>
                </a:lnTo>
                <a:lnTo>
                  <a:pt x="1813" y="4187"/>
                </a:lnTo>
                <a:lnTo>
                  <a:pt x="1821" y="4184"/>
                </a:lnTo>
                <a:lnTo>
                  <a:pt x="1821" y="4184"/>
                </a:lnTo>
                <a:lnTo>
                  <a:pt x="1829" y="4181"/>
                </a:lnTo>
                <a:lnTo>
                  <a:pt x="1829" y="4181"/>
                </a:lnTo>
                <a:lnTo>
                  <a:pt x="1837" y="4178"/>
                </a:lnTo>
                <a:lnTo>
                  <a:pt x="1837" y="4178"/>
                </a:lnTo>
                <a:lnTo>
                  <a:pt x="1846" y="4176"/>
                </a:lnTo>
                <a:lnTo>
                  <a:pt x="1846" y="4176"/>
                </a:lnTo>
                <a:lnTo>
                  <a:pt x="1855" y="4173"/>
                </a:lnTo>
                <a:lnTo>
                  <a:pt x="1855" y="4173"/>
                </a:lnTo>
                <a:lnTo>
                  <a:pt x="1863" y="4172"/>
                </a:lnTo>
                <a:lnTo>
                  <a:pt x="1863" y="4172"/>
                </a:lnTo>
                <a:lnTo>
                  <a:pt x="1871" y="4169"/>
                </a:lnTo>
                <a:lnTo>
                  <a:pt x="1871" y="4169"/>
                </a:lnTo>
                <a:lnTo>
                  <a:pt x="1880" y="4166"/>
                </a:lnTo>
                <a:lnTo>
                  <a:pt x="1880" y="4166"/>
                </a:lnTo>
                <a:lnTo>
                  <a:pt x="1888" y="4162"/>
                </a:lnTo>
                <a:lnTo>
                  <a:pt x="1888" y="4162"/>
                </a:lnTo>
                <a:lnTo>
                  <a:pt x="1896" y="4159"/>
                </a:lnTo>
                <a:lnTo>
                  <a:pt x="1896" y="4159"/>
                </a:lnTo>
                <a:lnTo>
                  <a:pt x="1904" y="4157"/>
                </a:lnTo>
                <a:lnTo>
                  <a:pt x="1904" y="4157"/>
                </a:lnTo>
                <a:lnTo>
                  <a:pt x="1912" y="4154"/>
                </a:lnTo>
                <a:lnTo>
                  <a:pt x="1912" y="4154"/>
                </a:lnTo>
                <a:lnTo>
                  <a:pt x="1920" y="4151"/>
                </a:lnTo>
                <a:lnTo>
                  <a:pt x="1920" y="4151"/>
                </a:lnTo>
                <a:lnTo>
                  <a:pt x="1929" y="4148"/>
                </a:lnTo>
                <a:lnTo>
                  <a:pt x="1929" y="4148"/>
                </a:lnTo>
                <a:lnTo>
                  <a:pt x="1937" y="4144"/>
                </a:lnTo>
                <a:lnTo>
                  <a:pt x="1937" y="4144"/>
                </a:lnTo>
                <a:lnTo>
                  <a:pt x="1945" y="4142"/>
                </a:lnTo>
                <a:lnTo>
                  <a:pt x="1945" y="4142"/>
                </a:lnTo>
                <a:lnTo>
                  <a:pt x="1953" y="4139"/>
                </a:lnTo>
                <a:lnTo>
                  <a:pt x="1953" y="4139"/>
                </a:lnTo>
                <a:lnTo>
                  <a:pt x="1961" y="4135"/>
                </a:lnTo>
                <a:lnTo>
                  <a:pt x="1961" y="4135"/>
                </a:lnTo>
                <a:lnTo>
                  <a:pt x="1969" y="4132"/>
                </a:lnTo>
                <a:lnTo>
                  <a:pt x="1969" y="4132"/>
                </a:lnTo>
                <a:lnTo>
                  <a:pt x="1978" y="4129"/>
                </a:lnTo>
                <a:lnTo>
                  <a:pt x="1978" y="4129"/>
                </a:lnTo>
                <a:lnTo>
                  <a:pt x="1986" y="4125"/>
                </a:lnTo>
                <a:lnTo>
                  <a:pt x="1986" y="4125"/>
                </a:lnTo>
                <a:lnTo>
                  <a:pt x="1994" y="4123"/>
                </a:lnTo>
                <a:lnTo>
                  <a:pt x="1994" y="4123"/>
                </a:lnTo>
                <a:lnTo>
                  <a:pt x="2002" y="4118"/>
                </a:lnTo>
                <a:lnTo>
                  <a:pt x="2002" y="4118"/>
                </a:lnTo>
                <a:lnTo>
                  <a:pt x="2010" y="4114"/>
                </a:lnTo>
                <a:lnTo>
                  <a:pt x="2010" y="4114"/>
                </a:lnTo>
                <a:lnTo>
                  <a:pt x="2017" y="4112"/>
                </a:lnTo>
                <a:lnTo>
                  <a:pt x="2017" y="4112"/>
                </a:lnTo>
                <a:lnTo>
                  <a:pt x="2025" y="4108"/>
                </a:lnTo>
                <a:lnTo>
                  <a:pt x="2025" y="4108"/>
                </a:lnTo>
                <a:lnTo>
                  <a:pt x="2033" y="4105"/>
                </a:lnTo>
                <a:lnTo>
                  <a:pt x="2033" y="4105"/>
                </a:lnTo>
                <a:lnTo>
                  <a:pt x="2042" y="4101"/>
                </a:lnTo>
                <a:lnTo>
                  <a:pt x="2042" y="4101"/>
                </a:lnTo>
                <a:lnTo>
                  <a:pt x="2050" y="4097"/>
                </a:lnTo>
                <a:lnTo>
                  <a:pt x="2050" y="4097"/>
                </a:lnTo>
                <a:lnTo>
                  <a:pt x="2057" y="4093"/>
                </a:lnTo>
                <a:lnTo>
                  <a:pt x="2057" y="4093"/>
                </a:lnTo>
                <a:lnTo>
                  <a:pt x="2065" y="4089"/>
                </a:lnTo>
                <a:lnTo>
                  <a:pt x="2065" y="4089"/>
                </a:lnTo>
                <a:lnTo>
                  <a:pt x="2073" y="4086"/>
                </a:lnTo>
                <a:lnTo>
                  <a:pt x="2073" y="4086"/>
                </a:lnTo>
                <a:lnTo>
                  <a:pt x="2080" y="4082"/>
                </a:lnTo>
                <a:lnTo>
                  <a:pt x="2080" y="4082"/>
                </a:lnTo>
                <a:lnTo>
                  <a:pt x="2088" y="4078"/>
                </a:lnTo>
                <a:lnTo>
                  <a:pt x="2088" y="4078"/>
                </a:lnTo>
                <a:lnTo>
                  <a:pt x="2096" y="4074"/>
                </a:lnTo>
                <a:lnTo>
                  <a:pt x="2096" y="4074"/>
                </a:lnTo>
                <a:lnTo>
                  <a:pt x="2103" y="4069"/>
                </a:lnTo>
                <a:lnTo>
                  <a:pt x="2103" y="4069"/>
                </a:lnTo>
                <a:lnTo>
                  <a:pt x="2111" y="4065"/>
                </a:lnTo>
                <a:lnTo>
                  <a:pt x="2111" y="4065"/>
                </a:lnTo>
                <a:lnTo>
                  <a:pt x="2118" y="4061"/>
                </a:lnTo>
                <a:lnTo>
                  <a:pt x="2118" y="4061"/>
                </a:lnTo>
                <a:lnTo>
                  <a:pt x="2126" y="4057"/>
                </a:lnTo>
                <a:lnTo>
                  <a:pt x="2126" y="4057"/>
                </a:lnTo>
                <a:lnTo>
                  <a:pt x="2133" y="4053"/>
                </a:lnTo>
                <a:lnTo>
                  <a:pt x="2133" y="4053"/>
                </a:lnTo>
                <a:lnTo>
                  <a:pt x="2141" y="4049"/>
                </a:lnTo>
                <a:lnTo>
                  <a:pt x="2141" y="4049"/>
                </a:lnTo>
                <a:lnTo>
                  <a:pt x="2148" y="4044"/>
                </a:lnTo>
                <a:lnTo>
                  <a:pt x="2148" y="4044"/>
                </a:lnTo>
                <a:lnTo>
                  <a:pt x="2156" y="4040"/>
                </a:lnTo>
                <a:lnTo>
                  <a:pt x="2156" y="4040"/>
                </a:lnTo>
                <a:lnTo>
                  <a:pt x="2163" y="4035"/>
                </a:lnTo>
                <a:lnTo>
                  <a:pt x="2163" y="4035"/>
                </a:lnTo>
                <a:lnTo>
                  <a:pt x="2171" y="4031"/>
                </a:lnTo>
                <a:lnTo>
                  <a:pt x="2171" y="4031"/>
                </a:lnTo>
                <a:lnTo>
                  <a:pt x="2178" y="4026"/>
                </a:lnTo>
                <a:lnTo>
                  <a:pt x="2178" y="4026"/>
                </a:lnTo>
                <a:lnTo>
                  <a:pt x="2186" y="4022"/>
                </a:lnTo>
                <a:lnTo>
                  <a:pt x="2186" y="4022"/>
                </a:lnTo>
                <a:lnTo>
                  <a:pt x="2193" y="4018"/>
                </a:lnTo>
                <a:lnTo>
                  <a:pt x="2193" y="4018"/>
                </a:lnTo>
                <a:lnTo>
                  <a:pt x="2199" y="4012"/>
                </a:lnTo>
                <a:lnTo>
                  <a:pt x="2199" y="4012"/>
                </a:lnTo>
                <a:lnTo>
                  <a:pt x="2208" y="4008"/>
                </a:lnTo>
                <a:lnTo>
                  <a:pt x="2208" y="4008"/>
                </a:lnTo>
                <a:lnTo>
                  <a:pt x="2214" y="4003"/>
                </a:lnTo>
                <a:lnTo>
                  <a:pt x="2214" y="4003"/>
                </a:lnTo>
                <a:lnTo>
                  <a:pt x="2221" y="3999"/>
                </a:lnTo>
                <a:lnTo>
                  <a:pt x="2221" y="3999"/>
                </a:lnTo>
                <a:lnTo>
                  <a:pt x="2228" y="3993"/>
                </a:lnTo>
                <a:lnTo>
                  <a:pt x="2228" y="3993"/>
                </a:lnTo>
                <a:lnTo>
                  <a:pt x="2236" y="3989"/>
                </a:lnTo>
                <a:lnTo>
                  <a:pt x="2236" y="3989"/>
                </a:lnTo>
                <a:lnTo>
                  <a:pt x="2243" y="3984"/>
                </a:lnTo>
                <a:lnTo>
                  <a:pt x="2243" y="3984"/>
                </a:lnTo>
                <a:lnTo>
                  <a:pt x="2250" y="3980"/>
                </a:lnTo>
                <a:lnTo>
                  <a:pt x="2250" y="3980"/>
                </a:lnTo>
                <a:lnTo>
                  <a:pt x="2257" y="3974"/>
                </a:lnTo>
                <a:lnTo>
                  <a:pt x="2257" y="3974"/>
                </a:lnTo>
                <a:lnTo>
                  <a:pt x="2263" y="3969"/>
                </a:lnTo>
                <a:lnTo>
                  <a:pt x="2263" y="3969"/>
                </a:lnTo>
                <a:lnTo>
                  <a:pt x="2270" y="3963"/>
                </a:lnTo>
                <a:lnTo>
                  <a:pt x="2270" y="3963"/>
                </a:lnTo>
                <a:lnTo>
                  <a:pt x="2278" y="3959"/>
                </a:lnTo>
                <a:lnTo>
                  <a:pt x="2278" y="3959"/>
                </a:lnTo>
                <a:lnTo>
                  <a:pt x="2285" y="3954"/>
                </a:lnTo>
                <a:lnTo>
                  <a:pt x="2285" y="3954"/>
                </a:lnTo>
                <a:lnTo>
                  <a:pt x="2292" y="3948"/>
                </a:lnTo>
                <a:lnTo>
                  <a:pt x="2292" y="3948"/>
                </a:lnTo>
                <a:lnTo>
                  <a:pt x="2299" y="3943"/>
                </a:lnTo>
                <a:lnTo>
                  <a:pt x="2299" y="3943"/>
                </a:lnTo>
                <a:lnTo>
                  <a:pt x="2306" y="3939"/>
                </a:lnTo>
                <a:lnTo>
                  <a:pt x="2306" y="3939"/>
                </a:lnTo>
                <a:lnTo>
                  <a:pt x="2312" y="3933"/>
                </a:lnTo>
                <a:lnTo>
                  <a:pt x="2312" y="3933"/>
                </a:lnTo>
                <a:lnTo>
                  <a:pt x="2319" y="3928"/>
                </a:lnTo>
                <a:lnTo>
                  <a:pt x="2319" y="3928"/>
                </a:lnTo>
                <a:lnTo>
                  <a:pt x="2325" y="3922"/>
                </a:lnTo>
                <a:lnTo>
                  <a:pt x="2325" y="3922"/>
                </a:lnTo>
                <a:lnTo>
                  <a:pt x="2332" y="3917"/>
                </a:lnTo>
                <a:lnTo>
                  <a:pt x="2332" y="3917"/>
                </a:lnTo>
                <a:lnTo>
                  <a:pt x="2338" y="3912"/>
                </a:lnTo>
                <a:lnTo>
                  <a:pt x="2338" y="3912"/>
                </a:lnTo>
                <a:lnTo>
                  <a:pt x="2345" y="3906"/>
                </a:lnTo>
                <a:lnTo>
                  <a:pt x="2345" y="3906"/>
                </a:lnTo>
                <a:lnTo>
                  <a:pt x="2352" y="3901"/>
                </a:lnTo>
                <a:lnTo>
                  <a:pt x="2352" y="3901"/>
                </a:lnTo>
                <a:lnTo>
                  <a:pt x="2359" y="3895"/>
                </a:lnTo>
                <a:lnTo>
                  <a:pt x="2359" y="3895"/>
                </a:lnTo>
                <a:lnTo>
                  <a:pt x="2364" y="3890"/>
                </a:lnTo>
                <a:lnTo>
                  <a:pt x="2364" y="3890"/>
                </a:lnTo>
                <a:lnTo>
                  <a:pt x="2371" y="3883"/>
                </a:lnTo>
                <a:lnTo>
                  <a:pt x="2371" y="3883"/>
                </a:lnTo>
                <a:lnTo>
                  <a:pt x="2378" y="3878"/>
                </a:lnTo>
                <a:lnTo>
                  <a:pt x="2378" y="3878"/>
                </a:lnTo>
                <a:lnTo>
                  <a:pt x="2385" y="3872"/>
                </a:lnTo>
                <a:lnTo>
                  <a:pt x="2385" y="3872"/>
                </a:lnTo>
                <a:lnTo>
                  <a:pt x="2390" y="3867"/>
                </a:lnTo>
                <a:lnTo>
                  <a:pt x="2390" y="3867"/>
                </a:lnTo>
                <a:lnTo>
                  <a:pt x="2397" y="3861"/>
                </a:lnTo>
                <a:lnTo>
                  <a:pt x="2397" y="3861"/>
                </a:lnTo>
                <a:lnTo>
                  <a:pt x="2404" y="3854"/>
                </a:lnTo>
                <a:lnTo>
                  <a:pt x="2404" y="3854"/>
                </a:lnTo>
                <a:lnTo>
                  <a:pt x="2409" y="3849"/>
                </a:lnTo>
                <a:lnTo>
                  <a:pt x="2409" y="3849"/>
                </a:lnTo>
                <a:lnTo>
                  <a:pt x="2416" y="3843"/>
                </a:lnTo>
                <a:lnTo>
                  <a:pt x="2416" y="3843"/>
                </a:lnTo>
                <a:lnTo>
                  <a:pt x="2421" y="3837"/>
                </a:lnTo>
                <a:lnTo>
                  <a:pt x="2421" y="3837"/>
                </a:lnTo>
                <a:lnTo>
                  <a:pt x="2428" y="3831"/>
                </a:lnTo>
                <a:lnTo>
                  <a:pt x="2428" y="3831"/>
                </a:lnTo>
                <a:lnTo>
                  <a:pt x="2434" y="3824"/>
                </a:lnTo>
                <a:lnTo>
                  <a:pt x="2434" y="3824"/>
                </a:lnTo>
                <a:lnTo>
                  <a:pt x="2440" y="3819"/>
                </a:lnTo>
                <a:lnTo>
                  <a:pt x="2440" y="3819"/>
                </a:lnTo>
                <a:lnTo>
                  <a:pt x="2446" y="3814"/>
                </a:lnTo>
                <a:lnTo>
                  <a:pt x="2446" y="3814"/>
                </a:lnTo>
                <a:lnTo>
                  <a:pt x="2453" y="3807"/>
                </a:lnTo>
                <a:lnTo>
                  <a:pt x="2453" y="3807"/>
                </a:lnTo>
                <a:lnTo>
                  <a:pt x="2458" y="3801"/>
                </a:lnTo>
                <a:lnTo>
                  <a:pt x="2458" y="3801"/>
                </a:lnTo>
                <a:lnTo>
                  <a:pt x="2464" y="3794"/>
                </a:lnTo>
                <a:lnTo>
                  <a:pt x="2464" y="3794"/>
                </a:lnTo>
                <a:lnTo>
                  <a:pt x="2470" y="3788"/>
                </a:lnTo>
                <a:lnTo>
                  <a:pt x="2470" y="3788"/>
                </a:lnTo>
                <a:lnTo>
                  <a:pt x="2476" y="3782"/>
                </a:lnTo>
                <a:lnTo>
                  <a:pt x="2476" y="3782"/>
                </a:lnTo>
                <a:lnTo>
                  <a:pt x="2481" y="3775"/>
                </a:lnTo>
                <a:lnTo>
                  <a:pt x="2481" y="3775"/>
                </a:lnTo>
                <a:lnTo>
                  <a:pt x="2488" y="3770"/>
                </a:lnTo>
                <a:lnTo>
                  <a:pt x="2488" y="3770"/>
                </a:lnTo>
                <a:lnTo>
                  <a:pt x="2494" y="3763"/>
                </a:lnTo>
                <a:lnTo>
                  <a:pt x="2494" y="3763"/>
                </a:lnTo>
                <a:lnTo>
                  <a:pt x="2499" y="3756"/>
                </a:lnTo>
                <a:lnTo>
                  <a:pt x="2499" y="3756"/>
                </a:lnTo>
                <a:lnTo>
                  <a:pt x="2504" y="3750"/>
                </a:lnTo>
                <a:lnTo>
                  <a:pt x="2504" y="3750"/>
                </a:lnTo>
                <a:lnTo>
                  <a:pt x="2510" y="3744"/>
                </a:lnTo>
                <a:lnTo>
                  <a:pt x="2510" y="3744"/>
                </a:lnTo>
                <a:lnTo>
                  <a:pt x="2515" y="3737"/>
                </a:lnTo>
                <a:lnTo>
                  <a:pt x="2515" y="3737"/>
                </a:lnTo>
                <a:lnTo>
                  <a:pt x="2521" y="3730"/>
                </a:lnTo>
                <a:lnTo>
                  <a:pt x="2521" y="3730"/>
                </a:lnTo>
                <a:lnTo>
                  <a:pt x="2528" y="3724"/>
                </a:lnTo>
                <a:lnTo>
                  <a:pt x="2528" y="3724"/>
                </a:lnTo>
                <a:lnTo>
                  <a:pt x="2533" y="3717"/>
                </a:lnTo>
                <a:lnTo>
                  <a:pt x="2533" y="3717"/>
                </a:lnTo>
                <a:lnTo>
                  <a:pt x="2538" y="3711"/>
                </a:lnTo>
                <a:lnTo>
                  <a:pt x="2538" y="3711"/>
                </a:lnTo>
                <a:lnTo>
                  <a:pt x="2544" y="3705"/>
                </a:lnTo>
                <a:lnTo>
                  <a:pt x="2544" y="3705"/>
                </a:lnTo>
                <a:lnTo>
                  <a:pt x="2548" y="3698"/>
                </a:lnTo>
                <a:lnTo>
                  <a:pt x="2548" y="3698"/>
                </a:lnTo>
                <a:lnTo>
                  <a:pt x="2553" y="3691"/>
                </a:lnTo>
                <a:lnTo>
                  <a:pt x="2553" y="3691"/>
                </a:lnTo>
                <a:lnTo>
                  <a:pt x="2559" y="3684"/>
                </a:lnTo>
                <a:lnTo>
                  <a:pt x="2559" y="3684"/>
                </a:lnTo>
                <a:lnTo>
                  <a:pt x="2564" y="3677"/>
                </a:lnTo>
                <a:lnTo>
                  <a:pt x="2564" y="3677"/>
                </a:lnTo>
                <a:lnTo>
                  <a:pt x="2570" y="3671"/>
                </a:lnTo>
                <a:lnTo>
                  <a:pt x="2570" y="3671"/>
                </a:lnTo>
                <a:lnTo>
                  <a:pt x="2575" y="3664"/>
                </a:lnTo>
                <a:lnTo>
                  <a:pt x="2575" y="3664"/>
                </a:lnTo>
                <a:lnTo>
                  <a:pt x="2581" y="3657"/>
                </a:lnTo>
                <a:lnTo>
                  <a:pt x="2581" y="3657"/>
                </a:lnTo>
                <a:lnTo>
                  <a:pt x="2585" y="3650"/>
                </a:lnTo>
                <a:lnTo>
                  <a:pt x="2585" y="3650"/>
                </a:lnTo>
                <a:lnTo>
                  <a:pt x="2590" y="3642"/>
                </a:lnTo>
                <a:lnTo>
                  <a:pt x="2590" y="3642"/>
                </a:lnTo>
                <a:lnTo>
                  <a:pt x="2596" y="3635"/>
                </a:lnTo>
                <a:lnTo>
                  <a:pt x="2596" y="3635"/>
                </a:lnTo>
                <a:lnTo>
                  <a:pt x="2600" y="3628"/>
                </a:lnTo>
                <a:lnTo>
                  <a:pt x="2600" y="3628"/>
                </a:lnTo>
                <a:lnTo>
                  <a:pt x="2605" y="3622"/>
                </a:lnTo>
                <a:lnTo>
                  <a:pt x="2605" y="3622"/>
                </a:lnTo>
                <a:lnTo>
                  <a:pt x="2609" y="3615"/>
                </a:lnTo>
                <a:lnTo>
                  <a:pt x="2609" y="3615"/>
                </a:lnTo>
                <a:lnTo>
                  <a:pt x="2615" y="3608"/>
                </a:lnTo>
                <a:lnTo>
                  <a:pt x="2615" y="3608"/>
                </a:lnTo>
                <a:lnTo>
                  <a:pt x="2620" y="3600"/>
                </a:lnTo>
                <a:lnTo>
                  <a:pt x="2620" y="3600"/>
                </a:lnTo>
                <a:lnTo>
                  <a:pt x="2624" y="3593"/>
                </a:lnTo>
                <a:lnTo>
                  <a:pt x="2624" y="3593"/>
                </a:lnTo>
                <a:lnTo>
                  <a:pt x="2628" y="3586"/>
                </a:lnTo>
                <a:lnTo>
                  <a:pt x="2628" y="3586"/>
                </a:lnTo>
                <a:lnTo>
                  <a:pt x="2634" y="3578"/>
                </a:lnTo>
                <a:lnTo>
                  <a:pt x="2634" y="3578"/>
                </a:lnTo>
                <a:lnTo>
                  <a:pt x="2638" y="3571"/>
                </a:lnTo>
                <a:lnTo>
                  <a:pt x="2638" y="3571"/>
                </a:lnTo>
                <a:lnTo>
                  <a:pt x="2643" y="3564"/>
                </a:lnTo>
                <a:lnTo>
                  <a:pt x="2643" y="3564"/>
                </a:lnTo>
                <a:lnTo>
                  <a:pt x="2647" y="3556"/>
                </a:lnTo>
                <a:lnTo>
                  <a:pt x="2647" y="3556"/>
                </a:lnTo>
                <a:lnTo>
                  <a:pt x="2651" y="3549"/>
                </a:lnTo>
                <a:lnTo>
                  <a:pt x="2651" y="3549"/>
                </a:lnTo>
                <a:lnTo>
                  <a:pt x="2657" y="3543"/>
                </a:lnTo>
                <a:lnTo>
                  <a:pt x="2657" y="3543"/>
                </a:lnTo>
                <a:lnTo>
                  <a:pt x="2661" y="3534"/>
                </a:lnTo>
                <a:lnTo>
                  <a:pt x="2661" y="3534"/>
                </a:lnTo>
                <a:lnTo>
                  <a:pt x="2665" y="3528"/>
                </a:lnTo>
                <a:lnTo>
                  <a:pt x="2665" y="3528"/>
                </a:lnTo>
                <a:lnTo>
                  <a:pt x="2669" y="3519"/>
                </a:lnTo>
                <a:lnTo>
                  <a:pt x="2669" y="3519"/>
                </a:lnTo>
                <a:lnTo>
                  <a:pt x="2673" y="3513"/>
                </a:lnTo>
                <a:lnTo>
                  <a:pt x="2673" y="3513"/>
                </a:lnTo>
                <a:lnTo>
                  <a:pt x="2677" y="3504"/>
                </a:lnTo>
                <a:lnTo>
                  <a:pt x="2677" y="3504"/>
                </a:lnTo>
                <a:lnTo>
                  <a:pt x="2683" y="3498"/>
                </a:lnTo>
                <a:lnTo>
                  <a:pt x="2683" y="3498"/>
                </a:lnTo>
                <a:lnTo>
                  <a:pt x="2687" y="3489"/>
                </a:lnTo>
                <a:lnTo>
                  <a:pt x="2687" y="3489"/>
                </a:lnTo>
                <a:lnTo>
                  <a:pt x="2691" y="3481"/>
                </a:lnTo>
                <a:lnTo>
                  <a:pt x="2691" y="3481"/>
                </a:lnTo>
                <a:lnTo>
                  <a:pt x="2695" y="3475"/>
                </a:lnTo>
                <a:lnTo>
                  <a:pt x="2695" y="3475"/>
                </a:lnTo>
                <a:lnTo>
                  <a:pt x="2699" y="3466"/>
                </a:lnTo>
                <a:lnTo>
                  <a:pt x="2699" y="3466"/>
                </a:lnTo>
                <a:lnTo>
                  <a:pt x="2702" y="3458"/>
                </a:lnTo>
                <a:lnTo>
                  <a:pt x="2702" y="3458"/>
                </a:lnTo>
                <a:lnTo>
                  <a:pt x="2706" y="3451"/>
                </a:lnTo>
                <a:lnTo>
                  <a:pt x="2706" y="3451"/>
                </a:lnTo>
                <a:lnTo>
                  <a:pt x="2710" y="3443"/>
                </a:lnTo>
                <a:lnTo>
                  <a:pt x="2710" y="3443"/>
                </a:lnTo>
                <a:lnTo>
                  <a:pt x="2714" y="3435"/>
                </a:lnTo>
                <a:lnTo>
                  <a:pt x="2714" y="3435"/>
                </a:lnTo>
                <a:lnTo>
                  <a:pt x="2718" y="3428"/>
                </a:lnTo>
                <a:lnTo>
                  <a:pt x="2718" y="3428"/>
                </a:lnTo>
                <a:lnTo>
                  <a:pt x="2722" y="3420"/>
                </a:lnTo>
                <a:lnTo>
                  <a:pt x="2722" y="3420"/>
                </a:lnTo>
                <a:lnTo>
                  <a:pt x="2725" y="3412"/>
                </a:lnTo>
                <a:lnTo>
                  <a:pt x="2725" y="3412"/>
                </a:lnTo>
                <a:lnTo>
                  <a:pt x="2729" y="3404"/>
                </a:lnTo>
                <a:lnTo>
                  <a:pt x="2729" y="3404"/>
                </a:lnTo>
                <a:lnTo>
                  <a:pt x="2733" y="3397"/>
                </a:lnTo>
                <a:lnTo>
                  <a:pt x="2733" y="3397"/>
                </a:lnTo>
                <a:lnTo>
                  <a:pt x="2736" y="3389"/>
                </a:lnTo>
                <a:lnTo>
                  <a:pt x="2736" y="3389"/>
                </a:lnTo>
                <a:lnTo>
                  <a:pt x="2740" y="3381"/>
                </a:lnTo>
                <a:lnTo>
                  <a:pt x="2740" y="3381"/>
                </a:lnTo>
                <a:lnTo>
                  <a:pt x="2743" y="3372"/>
                </a:lnTo>
                <a:lnTo>
                  <a:pt x="2743" y="3372"/>
                </a:lnTo>
                <a:lnTo>
                  <a:pt x="2747" y="3364"/>
                </a:lnTo>
                <a:lnTo>
                  <a:pt x="2747" y="3364"/>
                </a:lnTo>
                <a:lnTo>
                  <a:pt x="2749" y="3356"/>
                </a:lnTo>
                <a:lnTo>
                  <a:pt x="2749" y="3356"/>
                </a:lnTo>
                <a:lnTo>
                  <a:pt x="2754" y="3348"/>
                </a:lnTo>
                <a:lnTo>
                  <a:pt x="2754" y="3348"/>
                </a:lnTo>
                <a:lnTo>
                  <a:pt x="2756" y="3340"/>
                </a:lnTo>
                <a:lnTo>
                  <a:pt x="2756" y="3340"/>
                </a:lnTo>
                <a:lnTo>
                  <a:pt x="2759" y="3332"/>
                </a:lnTo>
                <a:lnTo>
                  <a:pt x="2759" y="3332"/>
                </a:lnTo>
                <a:lnTo>
                  <a:pt x="2763" y="3323"/>
                </a:lnTo>
                <a:lnTo>
                  <a:pt x="2763" y="3323"/>
                </a:lnTo>
                <a:lnTo>
                  <a:pt x="2766" y="3315"/>
                </a:lnTo>
                <a:lnTo>
                  <a:pt x="2766" y="3315"/>
                </a:lnTo>
                <a:lnTo>
                  <a:pt x="2769" y="3307"/>
                </a:lnTo>
                <a:lnTo>
                  <a:pt x="2769" y="3307"/>
                </a:lnTo>
                <a:lnTo>
                  <a:pt x="2773" y="3299"/>
                </a:lnTo>
                <a:lnTo>
                  <a:pt x="2773" y="3299"/>
                </a:lnTo>
                <a:lnTo>
                  <a:pt x="2775" y="3291"/>
                </a:lnTo>
                <a:lnTo>
                  <a:pt x="2775" y="3291"/>
                </a:lnTo>
                <a:lnTo>
                  <a:pt x="2778" y="3283"/>
                </a:lnTo>
                <a:lnTo>
                  <a:pt x="2778" y="3283"/>
                </a:lnTo>
                <a:lnTo>
                  <a:pt x="2781" y="3274"/>
                </a:lnTo>
                <a:lnTo>
                  <a:pt x="2781" y="3274"/>
                </a:lnTo>
                <a:lnTo>
                  <a:pt x="2783" y="3266"/>
                </a:lnTo>
                <a:lnTo>
                  <a:pt x="2783" y="3266"/>
                </a:lnTo>
                <a:lnTo>
                  <a:pt x="2786" y="3258"/>
                </a:lnTo>
                <a:lnTo>
                  <a:pt x="2786" y="3258"/>
                </a:lnTo>
                <a:lnTo>
                  <a:pt x="2789" y="3250"/>
                </a:lnTo>
                <a:lnTo>
                  <a:pt x="2789" y="3250"/>
                </a:lnTo>
                <a:lnTo>
                  <a:pt x="2792" y="3242"/>
                </a:lnTo>
                <a:lnTo>
                  <a:pt x="2792" y="3242"/>
                </a:lnTo>
                <a:lnTo>
                  <a:pt x="2794" y="3234"/>
                </a:lnTo>
                <a:lnTo>
                  <a:pt x="2794" y="3234"/>
                </a:lnTo>
                <a:lnTo>
                  <a:pt x="2797" y="3224"/>
                </a:lnTo>
                <a:lnTo>
                  <a:pt x="2797" y="3224"/>
                </a:lnTo>
                <a:lnTo>
                  <a:pt x="2800" y="3216"/>
                </a:lnTo>
                <a:lnTo>
                  <a:pt x="2800" y="3216"/>
                </a:lnTo>
                <a:lnTo>
                  <a:pt x="2803" y="3208"/>
                </a:lnTo>
                <a:lnTo>
                  <a:pt x="2803" y="3208"/>
                </a:lnTo>
                <a:lnTo>
                  <a:pt x="2804" y="3199"/>
                </a:lnTo>
                <a:lnTo>
                  <a:pt x="2804" y="3199"/>
                </a:lnTo>
                <a:lnTo>
                  <a:pt x="2807" y="3191"/>
                </a:lnTo>
                <a:lnTo>
                  <a:pt x="2807" y="3191"/>
                </a:lnTo>
                <a:lnTo>
                  <a:pt x="2809" y="3182"/>
                </a:lnTo>
                <a:lnTo>
                  <a:pt x="2809" y="3182"/>
                </a:lnTo>
                <a:lnTo>
                  <a:pt x="2812" y="3174"/>
                </a:lnTo>
                <a:lnTo>
                  <a:pt x="2812" y="3174"/>
                </a:lnTo>
                <a:lnTo>
                  <a:pt x="2813" y="3165"/>
                </a:lnTo>
                <a:lnTo>
                  <a:pt x="2813" y="3165"/>
                </a:lnTo>
                <a:lnTo>
                  <a:pt x="2816" y="3157"/>
                </a:lnTo>
                <a:lnTo>
                  <a:pt x="2816" y="3157"/>
                </a:lnTo>
                <a:lnTo>
                  <a:pt x="2818" y="3148"/>
                </a:lnTo>
                <a:lnTo>
                  <a:pt x="2818" y="3148"/>
                </a:lnTo>
                <a:lnTo>
                  <a:pt x="2820" y="3140"/>
                </a:lnTo>
                <a:lnTo>
                  <a:pt x="2820" y="3140"/>
                </a:lnTo>
                <a:lnTo>
                  <a:pt x="2822" y="3131"/>
                </a:lnTo>
                <a:lnTo>
                  <a:pt x="2822" y="3131"/>
                </a:lnTo>
                <a:lnTo>
                  <a:pt x="2824" y="3122"/>
                </a:lnTo>
                <a:lnTo>
                  <a:pt x="2824" y="3122"/>
                </a:lnTo>
                <a:lnTo>
                  <a:pt x="2826" y="3114"/>
                </a:lnTo>
                <a:lnTo>
                  <a:pt x="2826" y="3114"/>
                </a:lnTo>
                <a:lnTo>
                  <a:pt x="2828" y="3104"/>
                </a:lnTo>
                <a:lnTo>
                  <a:pt x="2828" y="3104"/>
                </a:lnTo>
                <a:lnTo>
                  <a:pt x="2830" y="3096"/>
                </a:lnTo>
                <a:lnTo>
                  <a:pt x="2830" y="3096"/>
                </a:lnTo>
                <a:lnTo>
                  <a:pt x="2831" y="3088"/>
                </a:lnTo>
                <a:lnTo>
                  <a:pt x="2831" y="3088"/>
                </a:lnTo>
                <a:lnTo>
                  <a:pt x="2834" y="3078"/>
                </a:lnTo>
                <a:lnTo>
                  <a:pt x="2834" y="3078"/>
                </a:lnTo>
                <a:lnTo>
                  <a:pt x="2835" y="3070"/>
                </a:lnTo>
                <a:lnTo>
                  <a:pt x="2835" y="3070"/>
                </a:lnTo>
                <a:lnTo>
                  <a:pt x="2837" y="3061"/>
                </a:lnTo>
                <a:lnTo>
                  <a:pt x="2837" y="3061"/>
                </a:lnTo>
                <a:lnTo>
                  <a:pt x="2838" y="3052"/>
                </a:lnTo>
                <a:lnTo>
                  <a:pt x="2838" y="3052"/>
                </a:lnTo>
                <a:lnTo>
                  <a:pt x="2839" y="3043"/>
                </a:lnTo>
                <a:lnTo>
                  <a:pt x="2839" y="3043"/>
                </a:lnTo>
                <a:lnTo>
                  <a:pt x="2841" y="3035"/>
                </a:lnTo>
                <a:lnTo>
                  <a:pt x="2841" y="3035"/>
                </a:lnTo>
                <a:lnTo>
                  <a:pt x="2842" y="3025"/>
                </a:lnTo>
                <a:lnTo>
                  <a:pt x="2842" y="3025"/>
                </a:lnTo>
                <a:lnTo>
                  <a:pt x="2843" y="3017"/>
                </a:lnTo>
                <a:lnTo>
                  <a:pt x="2843" y="3017"/>
                </a:lnTo>
                <a:lnTo>
                  <a:pt x="2845" y="3008"/>
                </a:lnTo>
                <a:lnTo>
                  <a:pt x="2845" y="3008"/>
                </a:lnTo>
                <a:lnTo>
                  <a:pt x="2846" y="2999"/>
                </a:lnTo>
                <a:lnTo>
                  <a:pt x="2846" y="2999"/>
                </a:lnTo>
                <a:lnTo>
                  <a:pt x="2847" y="2990"/>
                </a:lnTo>
                <a:lnTo>
                  <a:pt x="2847" y="2990"/>
                </a:lnTo>
                <a:lnTo>
                  <a:pt x="2849" y="2982"/>
                </a:lnTo>
                <a:lnTo>
                  <a:pt x="2849" y="2982"/>
                </a:lnTo>
                <a:lnTo>
                  <a:pt x="2849" y="2972"/>
                </a:lnTo>
                <a:lnTo>
                  <a:pt x="2849" y="2972"/>
                </a:lnTo>
                <a:lnTo>
                  <a:pt x="2850" y="2963"/>
                </a:lnTo>
                <a:lnTo>
                  <a:pt x="2850" y="2963"/>
                </a:lnTo>
                <a:lnTo>
                  <a:pt x="2852" y="2954"/>
                </a:lnTo>
                <a:lnTo>
                  <a:pt x="2852" y="2954"/>
                </a:lnTo>
                <a:lnTo>
                  <a:pt x="2853" y="2945"/>
                </a:lnTo>
                <a:lnTo>
                  <a:pt x="2853" y="2945"/>
                </a:lnTo>
                <a:lnTo>
                  <a:pt x="2853" y="2935"/>
                </a:lnTo>
                <a:lnTo>
                  <a:pt x="2853" y="2935"/>
                </a:lnTo>
                <a:lnTo>
                  <a:pt x="2854" y="2927"/>
                </a:lnTo>
                <a:lnTo>
                  <a:pt x="2854" y="2927"/>
                </a:lnTo>
                <a:lnTo>
                  <a:pt x="2854" y="2918"/>
                </a:lnTo>
                <a:lnTo>
                  <a:pt x="2854" y="2918"/>
                </a:lnTo>
                <a:lnTo>
                  <a:pt x="2856" y="2908"/>
                </a:lnTo>
                <a:lnTo>
                  <a:pt x="2856" y="2908"/>
                </a:lnTo>
                <a:lnTo>
                  <a:pt x="2856" y="2900"/>
                </a:lnTo>
                <a:lnTo>
                  <a:pt x="2856" y="2900"/>
                </a:lnTo>
                <a:lnTo>
                  <a:pt x="2857" y="2890"/>
                </a:lnTo>
                <a:lnTo>
                  <a:pt x="2857" y="2890"/>
                </a:lnTo>
                <a:lnTo>
                  <a:pt x="2857" y="2881"/>
                </a:lnTo>
                <a:lnTo>
                  <a:pt x="2857" y="2881"/>
                </a:lnTo>
                <a:lnTo>
                  <a:pt x="2857" y="2873"/>
                </a:lnTo>
                <a:lnTo>
                  <a:pt x="2857" y="2873"/>
                </a:lnTo>
                <a:lnTo>
                  <a:pt x="2858" y="2863"/>
                </a:lnTo>
                <a:lnTo>
                  <a:pt x="2858" y="2863"/>
                </a:lnTo>
                <a:lnTo>
                  <a:pt x="2858" y="2854"/>
                </a:lnTo>
                <a:lnTo>
                  <a:pt x="2858" y="2854"/>
                </a:lnTo>
                <a:lnTo>
                  <a:pt x="2858" y="2844"/>
                </a:lnTo>
                <a:lnTo>
                  <a:pt x="2858" y="2844"/>
                </a:lnTo>
                <a:lnTo>
                  <a:pt x="2858" y="2836"/>
                </a:lnTo>
                <a:lnTo>
                  <a:pt x="2858" y="2836"/>
                </a:lnTo>
                <a:lnTo>
                  <a:pt x="2858" y="2826"/>
                </a:lnTo>
                <a:lnTo>
                  <a:pt x="2858" y="2826"/>
                </a:lnTo>
                <a:lnTo>
                  <a:pt x="2858" y="2817"/>
                </a:lnTo>
                <a:lnTo>
                  <a:pt x="2858" y="2817"/>
                </a:lnTo>
                <a:lnTo>
                  <a:pt x="2858" y="2807"/>
                </a:lnTo>
                <a:lnTo>
                  <a:pt x="2858" y="2807"/>
                </a:lnTo>
                <a:lnTo>
                  <a:pt x="2858" y="2795"/>
                </a:lnTo>
                <a:lnTo>
                  <a:pt x="2858" y="2795"/>
                </a:lnTo>
                <a:lnTo>
                  <a:pt x="2858" y="2783"/>
                </a:lnTo>
                <a:lnTo>
                  <a:pt x="2858" y="2783"/>
                </a:lnTo>
                <a:lnTo>
                  <a:pt x="2858" y="2771"/>
                </a:lnTo>
                <a:lnTo>
                  <a:pt x="2858" y="2771"/>
                </a:lnTo>
                <a:lnTo>
                  <a:pt x="2858" y="2758"/>
                </a:lnTo>
                <a:lnTo>
                  <a:pt x="2858" y="2758"/>
                </a:lnTo>
                <a:lnTo>
                  <a:pt x="2857" y="2746"/>
                </a:lnTo>
                <a:lnTo>
                  <a:pt x="2857" y="2746"/>
                </a:lnTo>
                <a:lnTo>
                  <a:pt x="2857" y="2734"/>
                </a:lnTo>
                <a:lnTo>
                  <a:pt x="2857" y="2734"/>
                </a:lnTo>
                <a:lnTo>
                  <a:pt x="2856" y="2722"/>
                </a:lnTo>
                <a:lnTo>
                  <a:pt x="2856" y="2722"/>
                </a:lnTo>
                <a:lnTo>
                  <a:pt x="2854" y="2709"/>
                </a:lnTo>
                <a:lnTo>
                  <a:pt x="2854" y="2709"/>
                </a:lnTo>
                <a:lnTo>
                  <a:pt x="2854" y="2696"/>
                </a:lnTo>
                <a:lnTo>
                  <a:pt x="2854" y="2696"/>
                </a:lnTo>
                <a:lnTo>
                  <a:pt x="2853" y="2683"/>
                </a:lnTo>
                <a:lnTo>
                  <a:pt x="2853" y="2683"/>
                </a:lnTo>
                <a:lnTo>
                  <a:pt x="2852" y="2671"/>
                </a:lnTo>
                <a:lnTo>
                  <a:pt x="2852" y="2671"/>
                </a:lnTo>
                <a:lnTo>
                  <a:pt x="2850" y="2659"/>
                </a:lnTo>
                <a:lnTo>
                  <a:pt x="2850" y="2659"/>
                </a:lnTo>
                <a:lnTo>
                  <a:pt x="2849" y="2647"/>
                </a:lnTo>
                <a:lnTo>
                  <a:pt x="2849" y="2647"/>
                </a:lnTo>
                <a:lnTo>
                  <a:pt x="2846" y="2634"/>
                </a:lnTo>
                <a:lnTo>
                  <a:pt x="2846" y="2634"/>
                </a:lnTo>
                <a:lnTo>
                  <a:pt x="2845" y="2622"/>
                </a:lnTo>
                <a:lnTo>
                  <a:pt x="2845" y="2622"/>
                </a:lnTo>
                <a:lnTo>
                  <a:pt x="2843" y="2610"/>
                </a:lnTo>
                <a:lnTo>
                  <a:pt x="2843" y="2610"/>
                </a:lnTo>
                <a:lnTo>
                  <a:pt x="2841" y="2598"/>
                </a:lnTo>
                <a:lnTo>
                  <a:pt x="2841" y="2598"/>
                </a:lnTo>
                <a:lnTo>
                  <a:pt x="2839" y="2585"/>
                </a:lnTo>
                <a:lnTo>
                  <a:pt x="2839" y="2585"/>
                </a:lnTo>
                <a:lnTo>
                  <a:pt x="2837" y="2572"/>
                </a:lnTo>
                <a:lnTo>
                  <a:pt x="2837" y="2572"/>
                </a:lnTo>
                <a:lnTo>
                  <a:pt x="2835" y="2560"/>
                </a:lnTo>
                <a:lnTo>
                  <a:pt x="2835" y="2560"/>
                </a:lnTo>
                <a:lnTo>
                  <a:pt x="2832" y="2547"/>
                </a:lnTo>
                <a:lnTo>
                  <a:pt x="2832" y="2547"/>
                </a:lnTo>
                <a:lnTo>
                  <a:pt x="2830" y="2535"/>
                </a:lnTo>
                <a:lnTo>
                  <a:pt x="2830" y="2535"/>
                </a:lnTo>
                <a:lnTo>
                  <a:pt x="2827" y="2523"/>
                </a:lnTo>
                <a:lnTo>
                  <a:pt x="2827" y="2523"/>
                </a:lnTo>
                <a:lnTo>
                  <a:pt x="2824" y="2511"/>
                </a:lnTo>
                <a:lnTo>
                  <a:pt x="2824" y="2511"/>
                </a:lnTo>
                <a:lnTo>
                  <a:pt x="2822" y="2498"/>
                </a:lnTo>
                <a:lnTo>
                  <a:pt x="2822" y="2498"/>
                </a:lnTo>
                <a:lnTo>
                  <a:pt x="2819" y="2486"/>
                </a:lnTo>
                <a:lnTo>
                  <a:pt x="2819" y="2486"/>
                </a:lnTo>
                <a:lnTo>
                  <a:pt x="2815" y="2474"/>
                </a:lnTo>
                <a:lnTo>
                  <a:pt x="2815" y="2474"/>
                </a:lnTo>
                <a:lnTo>
                  <a:pt x="2812" y="2462"/>
                </a:lnTo>
                <a:lnTo>
                  <a:pt x="2812" y="2462"/>
                </a:lnTo>
                <a:lnTo>
                  <a:pt x="2809" y="2449"/>
                </a:lnTo>
                <a:lnTo>
                  <a:pt x="2809" y="2449"/>
                </a:lnTo>
                <a:lnTo>
                  <a:pt x="2805" y="2437"/>
                </a:lnTo>
                <a:lnTo>
                  <a:pt x="2805" y="2437"/>
                </a:lnTo>
                <a:lnTo>
                  <a:pt x="2803" y="2425"/>
                </a:lnTo>
                <a:lnTo>
                  <a:pt x="2803" y="2425"/>
                </a:lnTo>
                <a:lnTo>
                  <a:pt x="2798" y="2413"/>
                </a:lnTo>
                <a:lnTo>
                  <a:pt x="2798" y="2413"/>
                </a:lnTo>
                <a:lnTo>
                  <a:pt x="2796" y="2399"/>
                </a:lnTo>
                <a:lnTo>
                  <a:pt x="2796" y="2399"/>
                </a:lnTo>
                <a:lnTo>
                  <a:pt x="2792" y="2387"/>
                </a:lnTo>
                <a:lnTo>
                  <a:pt x="2792" y="2387"/>
                </a:lnTo>
                <a:lnTo>
                  <a:pt x="2788" y="2374"/>
                </a:lnTo>
                <a:lnTo>
                  <a:pt x="2788" y="2374"/>
                </a:lnTo>
                <a:lnTo>
                  <a:pt x="2783" y="2362"/>
                </a:lnTo>
                <a:lnTo>
                  <a:pt x="2783" y="2362"/>
                </a:lnTo>
                <a:lnTo>
                  <a:pt x="2779" y="2350"/>
                </a:lnTo>
                <a:lnTo>
                  <a:pt x="2779" y="2350"/>
                </a:lnTo>
                <a:lnTo>
                  <a:pt x="2775" y="2338"/>
                </a:lnTo>
                <a:lnTo>
                  <a:pt x="2775" y="2338"/>
                </a:lnTo>
                <a:lnTo>
                  <a:pt x="2771" y="2325"/>
                </a:lnTo>
                <a:lnTo>
                  <a:pt x="2771" y="2325"/>
                </a:lnTo>
                <a:lnTo>
                  <a:pt x="2767" y="2313"/>
                </a:lnTo>
                <a:lnTo>
                  <a:pt x="2767" y="2313"/>
                </a:lnTo>
                <a:lnTo>
                  <a:pt x="2763" y="2301"/>
                </a:lnTo>
                <a:lnTo>
                  <a:pt x="2763" y="2301"/>
                </a:lnTo>
                <a:lnTo>
                  <a:pt x="2759" y="2289"/>
                </a:lnTo>
                <a:lnTo>
                  <a:pt x="2759" y="2289"/>
                </a:lnTo>
                <a:lnTo>
                  <a:pt x="2754" y="2276"/>
                </a:lnTo>
                <a:lnTo>
                  <a:pt x="2754" y="2276"/>
                </a:lnTo>
                <a:lnTo>
                  <a:pt x="2749" y="2264"/>
                </a:lnTo>
                <a:lnTo>
                  <a:pt x="2749" y="2264"/>
                </a:lnTo>
                <a:lnTo>
                  <a:pt x="2744" y="2252"/>
                </a:lnTo>
                <a:lnTo>
                  <a:pt x="2744" y="2252"/>
                </a:lnTo>
                <a:lnTo>
                  <a:pt x="2740" y="2240"/>
                </a:lnTo>
                <a:lnTo>
                  <a:pt x="2740" y="2240"/>
                </a:lnTo>
                <a:lnTo>
                  <a:pt x="2734" y="2227"/>
                </a:lnTo>
                <a:lnTo>
                  <a:pt x="2734" y="2227"/>
                </a:lnTo>
                <a:lnTo>
                  <a:pt x="2730" y="2215"/>
                </a:lnTo>
                <a:lnTo>
                  <a:pt x="2730" y="2215"/>
                </a:lnTo>
                <a:lnTo>
                  <a:pt x="2725" y="2203"/>
                </a:lnTo>
                <a:lnTo>
                  <a:pt x="2725" y="2203"/>
                </a:lnTo>
                <a:lnTo>
                  <a:pt x="2719" y="2191"/>
                </a:lnTo>
                <a:lnTo>
                  <a:pt x="2719" y="2191"/>
                </a:lnTo>
                <a:lnTo>
                  <a:pt x="2714" y="2178"/>
                </a:lnTo>
                <a:lnTo>
                  <a:pt x="2714" y="2178"/>
                </a:lnTo>
                <a:lnTo>
                  <a:pt x="2710" y="2166"/>
                </a:lnTo>
                <a:lnTo>
                  <a:pt x="2710" y="2166"/>
                </a:lnTo>
                <a:lnTo>
                  <a:pt x="2705" y="2154"/>
                </a:lnTo>
                <a:lnTo>
                  <a:pt x="2705" y="2154"/>
                </a:lnTo>
                <a:lnTo>
                  <a:pt x="2699" y="2142"/>
                </a:lnTo>
                <a:lnTo>
                  <a:pt x="2699" y="2142"/>
                </a:lnTo>
                <a:lnTo>
                  <a:pt x="2694" y="2129"/>
                </a:lnTo>
                <a:lnTo>
                  <a:pt x="2694" y="2129"/>
                </a:lnTo>
                <a:lnTo>
                  <a:pt x="2688" y="2117"/>
                </a:lnTo>
                <a:lnTo>
                  <a:pt x="2688" y="2117"/>
                </a:lnTo>
                <a:lnTo>
                  <a:pt x="2681" y="2105"/>
                </a:lnTo>
                <a:lnTo>
                  <a:pt x="2681" y="2105"/>
                </a:lnTo>
                <a:lnTo>
                  <a:pt x="2676" y="2093"/>
                </a:lnTo>
                <a:lnTo>
                  <a:pt x="2676" y="2093"/>
                </a:lnTo>
                <a:lnTo>
                  <a:pt x="2670" y="2080"/>
                </a:lnTo>
                <a:lnTo>
                  <a:pt x="2670" y="2080"/>
                </a:lnTo>
                <a:lnTo>
                  <a:pt x="2665" y="2068"/>
                </a:lnTo>
                <a:lnTo>
                  <a:pt x="2665" y="2068"/>
                </a:lnTo>
                <a:lnTo>
                  <a:pt x="2658" y="2057"/>
                </a:lnTo>
                <a:lnTo>
                  <a:pt x="2658" y="2057"/>
                </a:lnTo>
                <a:lnTo>
                  <a:pt x="2653" y="2045"/>
                </a:lnTo>
                <a:lnTo>
                  <a:pt x="2653" y="2045"/>
                </a:lnTo>
                <a:lnTo>
                  <a:pt x="2647" y="2033"/>
                </a:lnTo>
                <a:lnTo>
                  <a:pt x="2647" y="2033"/>
                </a:lnTo>
                <a:lnTo>
                  <a:pt x="2641" y="2020"/>
                </a:lnTo>
                <a:lnTo>
                  <a:pt x="2641" y="2020"/>
                </a:lnTo>
                <a:lnTo>
                  <a:pt x="2635" y="2008"/>
                </a:lnTo>
                <a:lnTo>
                  <a:pt x="2635" y="2008"/>
                </a:lnTo>
                <a:lnTo>
                  <a:pt x="2628" y="1996"/>
                </a:lnTo>
                <a:lnTo>
                  <a:pt x="2628" y="1996"/>
                </a:lnTo>
                <a:lnTo>
                  <a:pt x="2621" y="1984"/>
                </a:lnTo>
                <a:lnTo>
                  <a:pt x="2621" y="1984"/>
                </a:lnTo>
                <a:lnTo>
                  <a:pt x="2616" y="1971"/>
                </a:lnTo>
                <a:lnTo>
                  <a:pt x="2616" y="1971"/>
                </a:lnTo>
                <a:lnTo>
                  <a:pt x="2609" y="1959"/>
                </a:lnTo>
                <a:lnTo>
                  <a:pt x="2609" y="1959"/>
                </a:lnTo>
                <a:lnTo>
                  <a:pt x="2602" y="1947"/>
                </a:lnTo>
                <a:lnTo>
                  <a:pt x="2602" y="1947"/>
                </a:lnTo>
                <a:lnTo>
                  <a:pt x="2596" y="1936"/>
                </a:lnTo>
                <a:lnTo>
                  <a:pt x="2596" y="1936"/>
                </a:lnTo>
                <a:lnTo>
                  <a:pt x="2590" y="1924"/>
                </a:lnTo>
                <a:lnTo>
                  <a:pt x="2590" y="1924"/>
                </a:lnTo>
                <a:lnTo>
                  <a:pt x="2583" y="1912"/>
                </a:lnTo>
                <a:lnTo>
                  <a:pt x="2583" y="1912"/>
                </a:lnTo>
                <a:lnTo>
                  <a:pt x="2577" y="1899"/>
                </a:lnTo>
                <a:lnTo>
                  <a:pt x="2577" y="1899"/>
                </a:lnTo>
                <a:lnTo>
                  <a:pt x="2570" y="1887"/>
                </a:lnTo>
                <a:lnTo>
                  <a:pt x="2570" y="1887"/>
                </a:lnTo>
                <a:lnTo>
                  <a:pt x="2563" y="1875"/>
                </a:lnTo>
                <a:lnTo>
                  <a:pt x="2563" y="1875"/>
                </a:lnTo>
                <a:lnTo>
                  <a:pt x="2556" y="1864"/>
                </a:lnTo>
                <a:lnTo>
                  <a:pt x="2556" y="1864"/>
                </a:lnTo>
                <a:lnTo>
                  <a:pt x="2549" y="1852"/>
                </a:lnTo>
                <a:lnTo>
                  <a:pt x="2549" y="1852"/>
                </a:lnTo>
                <a:lnTo>
                  <a:pt x="2543" y="1839"/>
                </a:lnTo>
                <a:lnTo>
                  <a:pt x="2543" y="1839"/>
                </a:lnTo>
                <a:lnTo>
                  <a:pt x="2534" y="1827"/>
                </a:lnTo>
                <a:lnTo>
                  <a:pt x="2534" y="1827"/>
                </a:lnTo>
                <a:lnTo>
                  <a:pt x="2528" y="1815"/>
                </a:lnTo>
                <a:lnTo>
                  <a:pt x="2528" y="1815"/>
                </a:lnTo>
                <a:lnTo>
                  <a:pt x="2521" y="1804"/>
                </a:lnTo>
                <a:lnTo>
                  <a:pt x="2521" y="1804"/>
                </a:lnTo>
                <a:lnTo>
                  <a:pt x="2514" y="1792"/>
                </a:lnTo>
                <a:lnTo>
                  <a:pt x="2514" y="1792"/>
                </a:lnTo>
                <a:lnTo>
                  <a:pt x="2506" y="1779"/>
                </a:lnTo>
                <a:lnTo>
                  <a:pt x="2506" y="1779"/>
                </a:lnTo>
                <a:lnTo>
                  <a:pt x="2499" y="1767"/>
                </a:lnTo>
                <a:lnTo>
                  <a:pt x="2499" y="1767"/>
                </a:lnTo>
                <a:lnTo>
                  <a:pt x="2492" y="1755"/>
                </a:lnTo>
                <a:lnTo>
                  <a:pt x="2492" y="1755"/>
                </a:lnTo>
                <a:lnTo>
                  <a:pt x="2484" y="1744"/>
                </a:lnTo>
                <a:lnTo>
                  <a:pt x="2484" y="1744"/>
                </a:lnTo>
                <a:lnTo>
                  <a:pt x="2477" y="1732"/>
                </a:lnTo>
                <a:lnTo>
                  <a:pt x="2477" y="1732"/>
                </a:lnTo>
                <a:lnTo>
                  <a:pt x="2470" y="1720"/>
                </a:lnTo>
                <a:lnTo>
                  <a:pt x="2470" y="1720"/>
                </a:lnTo>
                <a:lnTo>
                  <a:pt x="2462" y="1709"/>
                </a:lnTo>
                <a:lnTo>
                  <a:pt x="2462" y="1709"/>
                </a:lnTo>
                <a:lnTo>
                  <a:pt x="2455" y="1696"/>
                </a:lnTo>
                <a:lnTo>
                  <a:pt x="2455" y="1696"/>
                </a:lnTo>
                <a:lnTo>
                  <a:pt x="2447" y="1684"/>
                </a:lnTo>
                <a:lnTo>
                  <a:pt x="2447" y="1684"/>
                </a:lnTo>
                <a:lnTo>
                  <a:pt x="2440" y="1672"/>
                </a:lnTo>
                <a:lnTo>
                  <a:pt x="2440" y="1672"/>
                </a:lnTo>
                <a:lnTo>
                  <a:pt x="2432" y="1661"/>
                </a:lnTo>
                <a:lnTo>
                  <a:pt x="2432" y="1661"/>
                </a:lnTo>
                <a:lnTo>
                  <a:pt x="2424" y="1649"/>
                </a:lnTo>
                <a:lnTo>
                  <a:pt x="2424" y="1649"/>
                </a:lnTo>
                <a:lnTo>
                  <a:pt x="2417" y="1637"/>
                </a:lnTo>
                <a:lnTo>
                  <a:pt x="2417" y="1637"/>
                </a:lnTo>
                <a:lnTo>
                  <a:pt x="2409" y="1626"/>
                </a:lnTo>
                <a:lnTo>
                  <a:pt x="2409" y="1626"/>
                </a:lnTo>
                <a:lnTo>
                  <a:pt x="2401" y="1613"/>
                </a:lnTo>
                <a:lnTo>
                  <a:pt x="2401" y="1613"/>
                </a:lnTo>
                <a:lnTo>
                  <a:pt x="2394" y="1601"/>
                </a:lnTo>
                <a:lnTo>
                  <a:pt x="2394" y="1601"/>
                </a:lnTo>
                <a:lnTo>
                  <a:pt x="2386" y="1590"/>
                </a:lnTo>
                <a:lnTo>
                  <a:pt x="2386" y="1590"/>
                </a:lnTo>
                <a:lnTo>
                  <a:pt x="2378" y="1578"/>
                </a:lnTo>
                <a:lnTo>
                  <a:pt x="2378" y="1578"/>
                </a:lnTo>
                <a:lnTo>
                  <a:pt x="2371" y="1567"/>
                </a:lnTo>
                <a:lnTo>
                  <a:pt x="2371" y="1567"/>
                </a:lnTo>
                <a:lnTo>
                  <a:pt x="2363" y="1555"/>
                </a:lnTo>
                <a:lnTo>
                  <a:pt x="2363" y="1555"/>
                </a:lnTo>
                <a:lnTo>
                  <a:pt x="2355" y="1543"/>
                </a:lnTo>
                <a:lnTo>
                  <a:pt x="2355" y="1543"/>
                </a:lnTo>
                <a:lnTo>
                  <a:pt x="2347" y="1532"/>
                </a:lnTo>
                <a:lnTo>
                  <a:pt x="2347" y="1532"/>
                </a:lnTo>
                <a:lnTo>
                  <a:pt x="2338" y="1519"/>
                </a:lnTo>
                <a:lnTo>
                  <a:pt x="2338" y="1519"/>
                </a:lnTo>
                <a:lnTo>
                  <a:pt x="2332" y="1509"/>
                </a:lnTo>
                <a:lnTo>
                  <a:pt x="2332" y="1509"/>
                </a:lnTo>
                <a:lnTo>
                  <a:pt x="2323" y="1496"/>
                </a:lnTo>
                <a:lnTo>
                  <a:pt x="2323" y="1496"/>
                </a:lnTo>
                <a:lnTo>
                  <a:pt x="2315" y="1485"/>
                </a:lnTo>
                <a:lnTo>
                  <a:pt x="2315" y="1485"/>
                </a:lnTo>
                <a:lnTo>
                  <a:pt x="2307" y="1473"/>
                </a:lnTo>
                <a:lnTo>
                  <a:pt x="2307" y="1473"/>
                </a:lnTo>
                <a:lnTo>
                  <a:pt x="2299" y="1462"/>
                </a:lnTo>
                <a:lnTo>
                  <a:pt x="2299" y="1462"/>
                </a:lnTo>
                <a:lnTo>
                  <a:pt x="2291" y="1450"/>
                </a:lnTo>
                <a:lnTo>
                  <a:pt x="2291" y="1450"/>
                </a:lnTo>
                <a:lnTo>
                  <a:pt x="2283" y="1439"/>
                </a:lnTo>
                <a:lnTo>
                  <a:pt x="2283" y="1439"/>
                </a:lnTo>
                <a:lnTo>
                  <a:pt x="2274" y="1427"/>
                </a:lnTo>
                <a:lnTo>
                  <a:pt x="2274" y="1427"/>
                </a:lnTo>
                <a:lnTo>
                  <a:pt x="2266" y="1416"/>
                </a:lnTo>
                <a:lnTo>
                  <a:pt x="2266" y="1416"/>
                </a:lnTo>
                <a:lnTo>
                  <a:pt x="2258" y="1404"/>
                </a:lnTo>
                <a:lnTo>
                  <a:pt x="2258" y="1404"/>
                </a:lnTo>
                <a:lnTo>
                  <a:pt x="2250" y="1393"/>
                </a:lnTo>
                <a:lnTo>
                  <a:pt x="2250" y="1393"/>
                </a:lnTo>
                <a:lnTo>
                  <a:pt x="2242" y="1381"/>
                </a:lnTo>
                <a:lnTo>
                  <a:pt x="2242" y="1381"/>
                </a:lnTo>
                <a:lnTo>
                  <a:pt x="2234" y="1370"/>
                </a:lnTo>
                <a:lnTo>
                  <a:pt x="2234" y="1370"/>
                </a:lnTo>
                <a:lnTo>
                  <a:pt x="2225" y="1357"/>
                </a:lnTo>
                <a:lnTo>
                  <a:pt x="2225" y="1357"/>
                </a:lnTo>
                <a:lnTo>
                  <a:pt x="2217" y="1347"/>
                </a:lnTo>
                <a:lnTo>
                  <a:pt x="2217" y="1347"/>
                </a:lnTo>
                <a:lnTo>
                  <a:pt x="2209" y="1336"/>
                </a:lnTo>
                <a:lnTo>
                  <a:pt x="2209" y="1336"/>
                </a:lnTo>
                <a:lnTo>
                  <a:pt x="2201" y="1323"/>
                </a:lnTo>
                <a:lnTo>
                  <a:pt x="2201" y="1323"/>
                </a:lnTo>
                <a:lnTo>
                  <a:pt x="2193" y="1312"/>
                </a:lnTo>
                <a:lnTo>
                  <a:pt x="2193" y="1312"/>
                </a:lnTo>
                <a:lnTo>
                  <a:pt x="2185" y="1300"/>
                </a:lnTo>
                <a:lnTo>
                  <a:pt x="2185" y="1300"/>
                </a:lnTo>
                <a:lnTo>
                  <a:pt x="2176" y="1289"/>
                </a:lnTo>
                <a:lnTo>
                  <a:pt x="2176" y="1289"/>
                </a:lnTo>
                <a:lnTo>
                  <a:pt x="2168" y="1278"/>
                </a:lnTo>
                <a:lnTo>
                  <a:pt x="2168" y="1278"/>
                </a:lnTo>
                <a:lnTo>
                  <a:pt x="2160" y="1266"/>
                </a:lnTo>
                <a:lnTo>
                  <a:pt x="2160" y="1266"/>
                </a:lnTo>
                <a:lnTo>
                  <a:pt x="2152" y="1255"/>
                </a:lnTo>
                <a:lnTo>
                  <a:pt x="2152" y="1255"/>
                </a:lnTo>
                <a:lnTo>
                  <a:pt x="2144" y="1244"/>
                </a:lnTo>
                <a:lnTo>
                  <a:pt x="2144" y="1244"/>
                </a:lnTo>
                <a:lnTo>
                  <a:pt x="2136" y="1234"/>
                </a:lnTo>
                <a:lnTo>
                  <a:pt x="2136" y="1234"/>
                </a:lnTo>
                <a:lnTo>
                  <a:pt x="2127" y="1221"/>
                </a:lnTo>
                <a:lnTo>
                  <a:pt x="2127" y="1221"/>
                </a:lnTo>
                <a:lnTo>
                  <a:pt x="2119" y="1210"/>
                </a:lnTo>
                <a:lnTo>
                  <a:pt x="2119" y="1210"/>
                </a:lnTo>
                <a:lnTo>
                  <a:pt x="2111" y="1199"/>
                </a:lnTo>
                <a:lnTo>
                  <a:pt x="2111" y="1199"/>
                </a:lnTo>
                <a:lnTo>
                  <a:pt x="2103" y="1189"/>
                </a:lnTo>
                <a:lnTo>
                  <a:pt x="2103" y="1189"/>
                </a:lnTo>
                <a:lnTo>
                  <a:pt x="2095" y="1176"/>
                </a:lnTo>
                <a:lnTo>
                  <a:pt x="2095" y="1176"/>
                </a:lnTo>
                <a:lnTo>
                  <a:pt x="2087" y="1165"/>
                </a:lnTo>
                <a:lnTo>
                  <a:pt x="2087" y="1165"/>
                </a:lnTo>
                <a:lnTo>
                  <a:pt x="2078" y="1155"/>
                </a:lnTo>
                <a:lnTo>
                  <a:pt x="2078" y="1155"/>
                </a:lnTo>
                <a:lnTo>
                  <a:pt x="2070" y="1144"/>
                </a:lnTo>
                <a:lnTo>
                  <a:pt x="2070" y="1144"/>
                </a:lnTo>
                <a:lnTo>
                  <a:pt x="2063" y="1133"/>
                </a:lnTo>
                <a:lnTo>
                  <a:pt x="2063" y="1133"/>
                </a:lnTo>
                <a:lnTo>
                  <a:pt x="2055" y="1121"/>
                </a:lnTo>
                <a:lnTo>
                  <a:pt x="2055" y="1121"/>
                </a:lnTo>
                <a:lnTo>
                  <a:pt x="2047" y="1110"/>
                </a:lnTo>
                <a:lnTo>
                  <a:pt x="2047" y="1110"/>
                </a:lnTo>
                <a:lnTo>
                  <a:pt x="2039" y="1099"/>
                </a:lnTo>
                <a:lnTo>
                  <a:pt x="2039" y="1099"/>
                </a:lnTo>
                <a:lnTo>
                  <a:pt x="2031" y="1088"/>
                </a:lnTo>
                <a:lnTo>
                  <a:pt x="2031" y="1088"/>
                </a:lnTo>
                <a:lnTo>
                  <a:pt x="2023" y="1077"/>
                </a:lnTo>
                <a:lnTo>
                  <a:pt x="2023" y="1077"/>
                </a:lnTo>
                <a:lnTo>
                  <a:pt x="2014" y="1066"/>
                </a:lnTo>
                <a:lnTo>
                  <a:pt x="2014" y="1066"/>
                </a:lnTo>
                <a:lnTo>
                  <a:pt x="2006" y="1055"/>
                </a:lnTo>
                <a:lnTo>
                  <a:pt x="2006" y="1055"/>
                </a:lnTo>
                <a:lnTo>
                  <a:pt x="1998" y="1044"/>
                </a:lnTo>
                <a:lnTo>
                  <a:pt x="1998" y="1044"/>
                </a:lnTo>
                <a:lnTo>
                  <a:pt x="1990" y="1033"/>
                </a:lnTo>
                <a:lnTo>
                  <a:pt x="1990" y="1033"/>
                </a:lnTo>
                <a:lnTo>
                  <a:pt x="1982" y="1022"/>
                </a:lnTo>
                <a:lnTo>
                  <a:pt x="1982" y="1022"/>
                </a:lnTo>
                <a:lnTo>
                  <a:pt x="1975" y="1012"/>
                </a:lnTo>
                <a:lnTo>
                  <a:pt x="1975" y="1012"/>
                </a:lnTo>
                <a:lnTo>
                  <a:pt x="1967" y="1001"/>
                </a:lnTo>
                <a:lnTo>
                  <a:pt x="1967" y="1001"/>
                </a:lnTo>
                <a:lnTo>
                  <a:pt x="1959" y="990"/>
                </a:lnTo>
                <a:lnTo>
                  <a:pt x="1959" y="990"/>
                </a:lnTo>
                <a:lnTo>
                  <a:pt x="1950" y="979"/>
                </a:lnTo>
                <a:lnTo>
                  <a:pt x="1950" y="979"/>
                </a:lnTo>
                <a:lnTo>
                  <a:pt x="1944" y="968"/>
                </a:lnTo>
                <a:lnTo>
                  <a:pt x="1944" y="968"/>
                </a:lnTo>
                <a:lnTo>
                  <a:pt x="1935" y="957"/>
                </a:lnTo>
                <a:lnTo>
                  <a:pt x="1935" y="957"/>
                </a:lnTo>
                <a:lnTo>
                  <a:pt x="1927" y="946"/>
                </a:lnTo>
                <a:lnTo>
                  <a:pt x="1927" y="946"/>
                </a:lnTo>
                <a:lnTo>
                  <a:pt x="1919" y="935"/>
                </a:lnTo>
                <a:lnTo>
                  <a:pt x="1919" y="935"/>
                </a:lnTo>
                <a:lnTo>
                  <a:pt x="1912" y="924"/>
                </a:lnTo>
                <a:lnTo>
                  <a:pt x="1912" y="924"/>
                </a:lnTo>
                <a:lnTo>
                  <a:pt x="1904" y="914"/>
                </a:lnTo>
                <a:lnTo>
                  <a:pt x="1904" y="914"/>
                </a:lnTo>
                <a:lnTo>
                  <a:pt x="1896" y="903"/>
                </a:lnTo>
                <a:lnTo>
                  <a:pt x="1896" y="903"/>
                </a:lnTo>
                <a:lnTo>
                  <a:pt x="1889" y="892"/>
                </a:lnTo>
                <a:lnTo>
                  <a:pt x="1889" y="892"/>
                </a:lnTo>
                <a:lnTo>
                  <a:pt x="1881" y="882"/>
                </a:lnTo>
                <a:lnTo>
                  <a:pt x="1881" y="882"/>
                </a:lnTo>
                <a:lnTo>
                  <a:pt x="1874" y="871"/>
                </a:lnTo>
                <a:lnTo>
                  <a:pt x="1874" y="871"/>
                </a:lnTo>
                <a:lnTo>
                  <a:pt x="1866" y="860"/>
                </a:lnTo>
                <a:lnTo>
                  <a:pt x="1866" y="860"/>
                </a:lnTo>
                <a:lnTo>
                  <a:pt x="1859" y="850"/>
                </a:lnTo>
                <a:lnTo>
                  <a:pt x="1859" y="850"/>
                </a:lnTo>
                <a:lnTo>
                  <a:pt x="1851" y="839"/>
                </a:lnTo>
                <a:lnTo>
                  <a:pt x="1851" y="839"/>
                </a:lnTo>
                <a:lnTo>
                  <a:pt x="1844" y="829"/>
                </a:lnTo>
                <a:lnTo>
                  <a:pt x="1844" y="829"/>
                </a:lnTo>
                <a:lnTo>
                  <a:pt x="1836" y="818"/>
                </a:lnTo>
                <a:lnTo>
                  <a:pt x="1836" y="818"/>
                </a:lnTo>
                <a:lnTo>
                  <a:pt x="1829" y="807"/>
                </a:lnTo>
                <a:lnTo>
                  <a:pt x="1829" y="807"/>
                </a:lnTo>
                <a:lnTo>
                  <a:pt x="1822" y="798"/>
                </a:lnTo>
                <a:lnTo>
                  <a:pt x="1822" y="798"/>
                </a:lnTo>
                <a:lnTo>
                  <a:pt x="1814" y="787"/>
                </a:lnTo>
                <a:lnTo>
                  <a:pt x="1814" y="787"/>
                </a:lnTo>
                <a:lnTo>
                  <a:pt x="1807" y="776"/>
                </a:lnTo>
                <a:lnTo>
                  <a:pt x="1807" y="776"/>
                </a:lnTo>
                <a:lnTo>
                  <a:pt x="1801" y="767"/>
                </a:lnTo>
                <a:lnTo>
                  <a:pt x="1801" y="767"/>
                </a:lnTo>
                <a:lnTo>
                  <a:pt x="1794" y="756"/>
                </a:lnTo>
                <a:lnTo>
                  <a:pt x="1794" y="756"/>
                </a:lnTo>
                <a:lnTo>
                  <a:pt x="1786" y="745"/>
                </a:lnTo>
                <a:lnTo>
                  <a:pt x="1786" y="745"/>
                </a:lnTo>
                <a:lnTo>
                  <a:pt x="1779" y="735"/>
                </a:lnTo>
                <a:lnTo>
                  <a:pt x="1779" y="735"/>
                </a:lnTo>
                <a:lnTo>
                  <a:pt x="1772" y="724"/>
                </a:lnTo>
                <a:lnTo>
                  <a:pt x="1772" y="724"/>
                </a:lnTo>
                <a:lnTo>
                  <a:pt x="1765" y="713"/>
                </a:lnTo>
                <a:lnTo>
                  <a:pt x="1765" y="713"/>
                </a:lnTo>
                <a:lnTo>
                  <a:pt x="1758" y="704"/>
                </a:lnTo>
                <a:lnTo>
                  <a:pt x="1758" y="704"/>
                </a:lnTo>
                <a:lnTo>
                  <a:pt x="1752" y="693"/>
                </a:lnTo>
                <a:lnTo>
                  <a:pt x="1752" y="693"/>
                </a:lnTo>
                <a:lnTo>
                  <a:pt x="1745" y="683"/>
                </a:lnTo>
                <a:lnTo>
                  <a:pt x="1745" y="683"/>
                </a:lnTo>
                <a:lnTo>
                  <a:pt x="1738" y="673"/>
                </a:lnTo>
                <a:lnTo>
                  <a:pt x="1738" y="673"/>
                </a:lnTo>
                <a:lnTo>
                  <a:pt x="1731" y="663"/>
                </a:lnTo>
                <a:lnTo>
                  <a:pt x="1731" y="663"/>
                </a:lnTo>
                <a:lnTo>
                  <a:pt x="1724" y="652"/>
                </a:lnTo>
                <a:lnTo>
                  <a:pt x="1724" y="652"/>
                </a:lnTo>
                <a:lnTo>
                  <a:pt x="1719" y="643"/>
                </a:lnTo>
                <a:lnTo>
                  <a:pt x="1719" y="643"/>
                </a:lnTo>
                <a:lnTo>
                  <a:pt x="1712" y="633"/>
                </a:lnTo>
                <a:lnTo>
                  <a:pt x="1712" y="633"/>
                </a:lnTo>
                <a:lnTo>
                  <a:pt x="1705" y="622"/>
                </a:lnTo>
                <a:lnTo>
                  <a:pt x="1705" y="622"/>
                </a:lnTo>
                <a:lnTo>
                  <a:pt x="1699" y="613"/>
                </a:lnTo>
                <a:lnTo>
                  <a:pt x="1699" y="613"/>
                </a:lnTo>
                <a:lnTo>
                  <a:pt x="1693" y="602"/>
                </a:lnTo>
                <a:lnTo>
                  <a:pt x="1693" y="602"/>
                </a:lnTo>
                <a:lnTo>
                  <a:pt x="1686" y="592"/>
                </a:lnTo>
                <a:lnTo>
                  <a:pt x="1686" y="592"/>
                </a:lnTo>
                <a:lnTo>
                  <a:pt x="1681" y="583"/>
                </a:lnTo>
                <a:lnTo>
                  <a:pt x="1681" y="583"/>
                </a:lnTo>
                <a:lnTo>
                  <a:pt x="1674" y="572"/>
                </a:lnTo>
                <a:lnTo>
                  <a:pt x="1674" y="572"/>
                </a:lnTo>
                <a:lnTo>
                  <a:pt x="1669" y="562"/>
                </a:lnTo>
                <a:lnTo>
                  <a:pt x="1669" y="562"/>
                </a:lnTo>
                <a:lnTo>
                  <a:pt x="1662" y="553"/>
                </a:lnTo>
                <a:lnTo>
                  <a:pt x="1662" y="553"/>
                </a:lnTo>
                <a:lnTo>
                  <a:pt x="1656" y="543"/>
                </a:lnTo>
                <a:lnTo>
                  <a:pt x="1656" y="543"/>
                </a:lnTo>
                <a:lnTo>
                  <a:pt x="1651" y="532"/>
                </a:lnTo>
                <a:lnTo>
                  <a:pt x="1651" y="532"/>
                </a:lnTo>
                <a:lnTo>
                  <a:pt x="1644" y="523"/>
                </a:lnTo>
                <a:lnTo>
                  <a:pt x="1644" y="523"/>
                </a:lnTo>
                <a:lnTo>
                  <a:pt x="1639" y="513"/>
                </a:lnTo>
                <a:lnTo>
                  <a:pt x="1639" y="513"/>
                </a:lnTo>
                <a:lnTo>
                  <a:pt x="1633" y="504"/>
                </a:lnTo>
                <a:lnTo>
                  <a:pt x="1633" y="504"/>
                </a:lnTo>
                <a:lnTo>
                  <a:pt x="1628" y="494"/>
                </a:lnTo>
                <a:lnTo>
                  <a:pt x="1628" y="494"/>
                </a:lnTo>
                <a:lnTo>
                  <a:pt x="1622" y="483"/>
                </a:lnTo>
                <a:lnTo>
                  <a:pt x="1622" y="483"/>
                </a:lnTo>
                <a:lnTo>
                  <a:pt x="1617" y="474"/>
                </a:lnTo>
                <a:lnTo>
                  <a:pt x="1617" y="474"/>
                </a:lnTo>
                <a:lnTo>
                  <a:pt x="1611" y="464"/>
                </a:lnTo>
                <a:lnTo>
                  <a:pt x="1611" y="464"/>
                </a:lnTo>
                <a:lnTo>
                  <a:pt x="1606" y="455"/>
                </a:lnTo>
                <a:lnTo>
                  <a:pt x="1606" y="455"/>
                </a:lnTo>
                <a:lnTo>
                  <a:pt x="1601" y="445"/>
                </a:lnTo>
                <a:lnTo>
                  <a:pt x="1601" y="445"/>
                </a:lnTo>
                <a:lnTo>
                  <a:pt x="1596" y="436"/>
                </a:lnTo>
                <a:lnTo>
                  <a:pt x="1596" y="436"/>
                </a:lnTo>
                <a:lnTo>
                  <a:pt x="1591" y="426"/>
                </a:lnTo>
                <a:lnTo>
                  <a:pt x="1591" y="426"/>
                </a:lnTo>
                <a:lnTo>
                  <a:pt x="1586" y="417"/>
                </a:lnTo>
                <a:lnTo>
                  <a:pt x="1586" y="417"/>
                </a:lnTo>
                <a:lnTo>
                  <a:pt x="1581" y="407"/>
                </a:lnTo>
                <a:lnTo>
                  <a:pt x="1581" y="407"/>
                </a:lnTo>
                <a:lnTo>
                  <a:pt x="1576" y="398"/>
                </a:lnTo>
                <a:lnTo>
                  <a:pt x="1576" y="398"/>
                </a:lnTo>
                <a:lnTo>
                  <a:pt x="1572" y="388"/>
                </a:lnTo>
                <a:lnTo>
                  <a:pt x="1572" y="388"/>
                </a:lnTo>
                <a:lnTo>
                  <a:pt x="1566" y="378"/>
                </a:lnTo>
                <a:lnTo>
                  <a:pt x="1566" y="378"/>
                </a:lnTo>
                <a:lnTo>
                  <a:pt x="1562" y="369"/>
                </a:lnTo>
                <a:lnTo>
                  <a:pt x="1562" y="369"/>
                </a:lnTo>
                <a:lnTo>
                  <a:pt x="1558" y="359"/>
                </a:lnTo>
                <a:lnTo>
                  <a:pt x="1558" y="359"/>
                </a:lnTo>
                <a:lnTo>
                  <a:pt x="1554" y="350"/>
                </a:lnTo>
                <a:lnTo>
                  <a:pt x="1554" y="350"/>
                </a:lnTo>
                <a:lnTo>
                  <a:pt x="1549" y="342"/>
                </a:lnTo>
                <a:lnTo>
                  <a:pt x="1549" y="342"/>
                </a:lnTo>
                <a:lnTo>
                  <a:pt x="1545" y="332"/>
                </a:lnTo>
                <a:lnTo>
                  <a:pt x="1545" y="332"/>
                </a:lnTo>
                <a:lnTo>
                  <a:pt x="1541" y="323"/>
                </a:lnTo>
                <a:lnTo>
                  <a:pt x="1541" y="323"/>
                </a:lnTo>
                <a:lnTo>
                  <a:pt x="1537" y="313"/>
                </a:lnTo>
                <a:lnTo>
                  <a:pt x="1537" y="313"/>
                </a:lnTo>
                <a:lnTo>
                  <a:pt x="1534" y="304"/>
                </a:lnTo>
                <a:lnTo>
                  <a:pt x="1534" y="304"/>
                </a:lnTo>
                <a:lnTo>
                  <a:pt x="1530" y="295"/>
                </a:lnTo>
                <a:lnTo>
                  <a:pt x="1530" y="295"/>
                </a:lnTo>
                <a:lnTo>
                  <a:pt x="1526" y="286"/>
                </a:lnTo>
                <a:lnTo>
                  <a:pt x="1526" y="286"/>
                </a:lnTo>
                <a:lnTo>
                  <a:pt x="1522" y="276"/>
                </a:lnTo>
                <a:lnTo>
                  <a:pt x="1522" y="276"/>
                </a:lnTo>
                <a:lnTo>
                  <a:pt x="1519" y="268"/>
                </a:lnTo>
                <a:lnTo>
                  <a:pt x="1519" y="268"/>
                </a:lnTo>
                <a:lnTo>
                  <a:pt x="1515" y="259"/>
                </a:lnTo>
                <a:lnTo>
                  <a:pt x="1515" y="259"/>
                </a:lnTo>
                <a:lnTo>
                  <a:pt x="1512" y="249"/>
                </a:lnTo>
                <a:lnTo>
                  <a:pt x="1512" y="249"/>
                </a:lnTo>
                <a:lnTo>
                  <a:pt x="1508" y="241"/>
                </a:lnTo>
                <a:lnTo>
                  <a:pt x="1508" y="241"/>
                </a:lnTo>
                <a:lnTo>
                  <a:pt x="1505" y="231"/>
                </a:lnTo>
                <a:lnTo>
                  <a:pt x="1505" y="231"/>
                </a:lnTo>
                <a:lnTo>
                  <a:pt x="1503" y="223"/>
                </a:lnTo>
                <a:lnTo>
                  <a:pt x="1503" y="223"/>
                </a:lnTo>
                <a:lnTo>
                  <a:pt x="1500" y="214"/>
                </a:lnTo>
                <a:lnTo>
                  <a:pt x="1500" y="214"/>
                </a:lnTo>
                <a:lnTo>
                  <a:pt x="1497" y="206"/>
                </a:lnTo>
                <a:lnTo>
                  <a:pt x="1497" y="206"/>
                </a:lnTo>
                <a:lnTo>
                  <a:pt x="1494" y="196"/>
                </a:lnTo>
                <a:lnTo>
                  <a:pt x="1494" y="196"/>
                </a:lnTo>
                <a:lnTo>
                  <a:pt x="1492" y="188"/>
                </a:lnTo>
                <a:lnTo>
                  <a:pt x="1492" y="188"/>
                </a:lnTo>
                <a:lnTo>
                  <a:pt x="1489" y="178"/>
                </a:lnTo>
                <a:lnTo>
                  <a:pt x="1489" y="178"/>
                </a:lnTo>
                <a:lnTo>
                  <a:pt x="1486" y="170"/>
                </a:lnTo>
                <a:lnTo>
                  <a:pt x="1486" y="170"/>
                </a:lnTo>
                <a:lnTo>
                  <a:pt x="1483" y="161"/>
                </a:lnTo>
                <a:lnTo>
                  <a:pt x="1483" y="161"/>
                </a:lnTo>
                <a:lnTo>
                  <a:pt x="1482" y="152"/>
                </a:lnTo>
                <a:lnTo>
                  <a:pt x="1482" y="152"/>
                </a:lnTo>
                <a:lnTo>
                  <a:pt x="1479" y="144"/>
                </a:lnTo>
                <a:lnTo>
                  <a:pt x="1479" y="144"/>
                </a:lnTo>
                <a:lnTo>
                  <a:pt x="1478" y="135"/>
                </a:lnTo>
                <a:lnTo>
                  <a:pt x="1478" y="135"/>
                </a:lnTo>
                <a:lnTo>
                  <a:pt x="1475" y="127"/>
                </a:lnTo>
                <a:lnTo>
                  <a:pt x="1475" y="127"/>
                </a:lnTo>
                <a:lnTo>
                  <a:pt x="1474" y="118"/>
                </a:lnTo>
                <a:lnTo>
                  <a:pt x="1474" y="118"/>
                </a:lnTo>
                <a:lnTo>
                  <a:pt x="1473" y="109"/>
                </a:lnTo>
                <a:lnTo>
                  <a:pt x="1473" y="109"/>
                </a:lnTo>
                <a:lnTo>
                  <a:pt x="1471" y="101"/>
                </a:lnTo>
                <a:lnTo>
                  <a:pt x="1471" y="101"/>
                </a:lnTo>
                <a:lnTo>
                  <a:pt x="1470" y="93"/>
                </a:lnTo>
                <a:lnTo>
                  <a:pt x="1470" y="93"/>
                </a:lnTo>
                <a:lnTo>
                  <a:pt x="1468" y="84"/>
                </a:lnTo>
                <a:lnTo>
                  <a:pt x="1468" y="84"/>
                </a:lnTo>
                <a:lnTo>
                  <a:pt x="1467" y="76"/>
                </a:lnTo>
                <a:lnTo>
                  <a:pt x="1467" y="76"/>
                </a:lnTo>
                <a:lnTo>
                  <a:pt x="1466" y="67"/>
                </a:lnTo>
                <a:lnTo>
                  <a:pt x="1466" y="67"/>
                </a:lnTo>
                <a:lnTo>
                  <a:pt x="1464" y="59"/>
                </a:lnTo>
                <a:lnTo>
                  <a:pt x="1464" y="59"/>
                </a:lnTo>
                <a:lnTo>
                  <a:pt x="1464" y="50"/>
                </a:lnTo>
                <a:lnTo>
                  <a:pt x="1464" y="50"/>
                </a:lnTo>
                <a:lnTo>
                  <a:pt x="1463" y="42"/>
                </a:lnTo>
                <a:lnTo>
                  <a:pt x="1463" y="42"/>
                </a:lnTo>
                <a:lnTo>
                  <a:pt x="1463" y="34"/>
                </a:lnTo>
                <a:lnTo>
                  <a:pt x="1463" y="34"/>
                </a:lnTo>
                <a:lnTo>
                  <a:pt x="1462" y="26"/>
                </a:lnTo>
                <a:lnTo>
                  <a:pt x="1462" y="26"/>
                </a:lnTo>
                <a:lnTo>
                  <a:pt x="1462" y="18"/>
                </a:lnTo>
                <a:lnTo>
                  <a:pt x="1462" y="18"/>
                </a:lnTo>
                <a:lnTo>
                  <a:pt x="1462" y="10"/>
                </a:lnTo>
                <a:lnTo>
                  <a:pt x="1462" y="10"/>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2"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60"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9"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8"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6"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5"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4"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2"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51"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9"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8"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7"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5"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4"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3"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1"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40"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9"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1"/>
                </a:lnTo>
                <a:lnTo>
                  <a:pt x="1437" y="0"/>
                </a:lnTo>
                <a:lnTo>
                  <a:pt x="1437" y="0"/>
                </a:lnTo>
                <a:lnTo>
                  <a:pt x="1437" y="0"/>
                </a:lnTo>
                <a:lnTo>
                  <a:pt x="1437" y="0"/>
                </a:lnTo>
                <a:lnTo>
                  <a:pt x="1437" y="0"/>
                </a:lnTo>
                <a:lnTo>
                  <a:pt x="1437"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6"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4"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3"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2"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30"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9"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8"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6"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5"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4"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0"/>
                </a:lnTo>
                <a:lnTo>
                  <a:pt x="1422" y="1"/>
                </a:lnTo>
                <a:lnTo>
                  <a:pt x="1422" y="1"/>
                </a:lnTo>
                <a:lnTo>
                  <a:pt x="1422" y="1"/>
                </a:lnTo>
                <a:lnTo>
                  <a:pt x="1422"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21"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9"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8"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7"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5"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4"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3"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1"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10"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9"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7"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6"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4"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3"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2"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400"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9"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8" y="1"/>
                </a:lnTo>
                <a:lnTo>
                  <a:pt x="1396" y="1"/>
                </a:lnTo>
                <a:lnTo>
                  <a:pt x="1396" y="1"/>
                </a:lnTo>
                <a:lnTo>
                  <a:pt x="1396" y="1"/>
                </a:lnTo>
                <a:lnTo>
                  <a:pt x="1396" y="1"/>
                </a:lnTo>
                <a:lnTo>
                  <a:pt x="1396" y="10"/>
                </a:lnTo>
                <a:lnTo>
                  <a:pt x="1396" y="10"/>
                </a:lnTo>
                <a:lnTo>
                  <a:pt x="1396" y="18"/>
                </a:lnTo>
                <a:lnTo>
                  <a:pt x="1396" y="18"/>
                </a:lnTo>
                <a:lnTo>
                  <a:pt x="1396" y="26"/>
                </a:lnTo>
                <a:lnTo>
                  <a:pt x="1396" y="26"/>
                </a:lnTo>
                <a:lnTo>
                  <a:pt x="1396" y="34"/>
                </a:lnTo>
                <a:lnTo>
                  <a:pt x="1396" y="34"/>
                </a:lnTo>
                <a:lnTo>
                  <a:pt x="1395" y="42"/>
                </a:lnTo>
                <a:lnTo>
                  <a:pt x="1395" y="42"/>
                </a:lnTo>
                <a:lnTo>
                  <a:pt x="1395" y="50"/>
                </a:lnTo>
                <a:lnTo>
                  <a:pt x="1395" y="50"/>
                </a:lnTo>
                <a:lnTo>
                  <a:pt x="1394" y="59"/>
                </a:lnTo>
                <a:lnTo>
                  <a:pt x="1394" y="59"/>
                </a:lnTo>
                <a:lnTo>
                  <a:pt x="1392" y="67"/>
                </a:lnTo>
                <a:lnTo>
                  <a:pt x="1392" y="67"/>
                </a:lnTo>
                <a:lnTo>
                  <a:pt x="1392" y="76"/>
                </a:lnTo>
                <a:lnTo>
                  <a:pt x="1392" y="76"/>
                </a:lnTo>
                <a:lnTo>
                  <a:pt x="1391" y="84"/>
                </a:lnTo>
                <a:lnTo>
                  <a:pt x="1391" y="84"/>
                </a:lnTo>
                <a:lnTo>
                  <a:pt x="1390" y="93"/>
                </a:lnTo>
                <a:lnTo>
                  <a:pt x="1390" y="93"/>
                </a:lnTo>
                <a:lnTo>
                  <a:pt x="1388" y="101"/>
                </a:lnTo>
                <a:lnTo>
                  <a:pt x="1388" y="101"/>
                </a:lnTo>
                <a:lnTo>
                  <a:pt x="1387" y="109"/>
                </a:lnTo>
                <a:lnTo>
                  <a:pt x="1387" y="109"/>
                </a:lnTo>
                <a:lnTo>
                  <a:pt x="1384" y="118"/>
                </a:lnTo>
                <a:lnTo>
                  <a:pt x="1384" y="118"/>
                </a:lnTo>
                <a:lnTo>
                  <a:pt x="1383" y="127"/>
                </a:lnTo>
                <a:lnTo>
                  <a:pt x="1383" y="127"/>
                </a:lnTo>
                <a:lnTo>
                  <a:pt x="1381" y="135"/>
                </a:lnTo>
                <a:lnTo>
                  <a:pt x="1381" y="135"/>
                </a:lnTo>
                <a:lnTo>
                  <a:pt x="1379" y="144"/>
                </a:lnTo>
                <a:lnTo>
                  <a:pt x="1379" y="144"/>
                </a:lnTo>
                <a:lnTo>
                  <a:pt x="1377" y="152"/>
                </a:lnTo>
                <a:lnTo>
                  <a:pt x="1377" y="152"/>
                </a:lnTo>
                <a:lnTo>
                  <a:pt x="1375" y="161"/>
                </a:lnTo>
                <a:lnTo>
                  <a:pt x="1375" y="161"/>
                </a:lnTo>
                <a:lnTo>
                  <a:pt x="1372" y="170"/>
                </a:lnTo>
                <a:lnTo>
                  <a:pt x="1372" y="170"/>
                </a:lnTo>
                <a:lnTo>
                  <a:pt x="1370" y="178"/>
                </a:lnTo>
                <a:lnTo>
                  <a:pt x="1370" y="178"/>
                </a:lnTo>
                <a:lnTo>
                  <a:pt x="1368" y="188"/>
                </a:lnTo>
                <a:lnTo>
                  <a:pt x="1368" y="188"/>
                </a:lnTo>
                <a:lnTo>
                  <a:pt x="1365" y="196"/>
                </a:lnTo>
                <a:lnTo>
                  <a:pt x="1365" y="196"/>
                </a:lnTo>
                <a:lnTo>
                  <a:pt x="1362" y="206"/>
                </a:lnTo>
                <a:lnTo>
                  <a:pt x="1362" y="206"/>
                </a:lnTo>
                <a:lnTo>
                  <a:pt x="1360" y="214"/>
                </a:lnTo>
                <a:lnTo>
                  <a:pt x="1360" y="214"/>
                </a:lnTo>
                <a:lnTo>
                  <a:pt x="1357" y="223"/>
                </a:lnTo>
                <a:lnTo>
                  <a:pt x="1357" y="223"/>
                </a:lnTo>
                <a:lnTo>
                  <a:pt x="1353" y="231"/>
                </a:lnTo>
                <a:lnTo>
                  <a:pt x="1353" y="231"/>
                </a:lnTo>
                <a:lnTo>
                  <a:pt x="1350" y="241"/>
                </a:lnTo>
                <a:lnTo>
                  <a:pt x="1350" y="241"/>
                </a:lnTo>
                <a:lnTo>
                  <a:pt x="1347" y="249"/>
                </a:lnTo>
                <a:lnTo>
                  <a:pt x="1347" y="249"/>
                </a:lnTo>
                <a:lnTo>
                  <a:pt x="1343" y="259"/>
                </a:lnTo>
                <a:lnTo>
                  <a:pt x="1343" y="259"/>
                </a:lnTo>
                <a:lnTo>
                  <a:pt x="1341" y="268"/>
                </a:lnTo>
                <a:lnTo>
                  <a:pt x="1341" y="268"/>
                </a:lnTo>
                <a:lnTo>
                  <a:pt x="1336" y="276"/>
                </a:lnTo>
                <a:lnTo>
                  <a:pt x="1336" y="276"/>
                </a:lnTo>
                <a:lnTo>
                  <a:pt x="1332" y="286"/>
                </a:lnTo>
                <a:lnTo>
                  <a:pt x="1332" y="286"/>
                </a:lnTo>
                <a:lnTo>
                  <a:pt x="1330" y="295"/>
                </a:lnTo>
                <a:lnTo>
                  <a:pt x="1330" y="295"/>
                </a:lnTo>
                <a:lnTo>
                  <a:pt x="1326" y="304"/>
                </a:lnTo>
                <a:lnTo>
                  <a:pt x="1326" y="304"/>
                </a:lnTo>
                <a:lnTo>
                  <a:pt x="1321" y="313"/>
                </a:lnTo>
                <a:lnTo>
                  <a:pt x="1321" y="313"/>
                </a:lnTo>
                <a:lnTo>
                  <a:pt x="1317" y="323"/>
                </a:lnTo>
                <a:lnTo>
                  <a:pt x="1317" y="323"/>
                </a:lnTo>
                <a:lnTo>
                  <a:pt x="1313" y="332"/>
                </a:lnTo>
                <a:lnTo>
                  <a:pt x="1313" y="332"/>
                </a:lnTo>
                <a:lnTo>
                  <a:pt x="1309" y="342"/>
                </a:lnTo>
                <a:lnTo>
                  <a:pt x="1309" y="342"/>
                </a:lnTo>
                <a:lnTo>
                  <a:pt x="1305" y="350"/>
                </a:lnTo>
                <a:lnTo>
                  <a:pt x="1305" y="350"/>
                </a:lnTo>
                <a:lnTo>
                  <a:pt x="1301" y="359"/>
                </a:lnTo>
                <a:lnTo>
                  <a:pt x="1301" y="359"/>
                </a:lnTo>
                <a:lnTo>
                  <a:pt x="1296" y="369"/>
                </a:lnTo>
                <a:lnTo>
                  <a:pt x="1296" y="369"/>
                </a:lnTo>
                <a:lnTo>
                  <a:pt x="1292" y="378"/>
                </a:lnTo>
                <a:lnTo>
                  <a:pt x="1292" y="378"/>
                </a:lnTo>
                <a:lnTo>
                  <a:pt x="1287" y="388"/>
                </a:lnTo>
                <a:lnTo>
                  <a:pt x="1287" y="388"/>
                </a:lnTo>
                <a:lnTo>
                  <a:pt x="1282" y="398"/>
                </a:lnTo>
                <a:lnTo>
                  <a:pt x="1282" y="398"/>
                </a:lnTo>
                <a:lnTo>
                  <a:pt x="1278" y="407"/>
                </a:lnTo>
                <a:lnTo>
                  <a:pt x="1278" y="407"/>
                </a:lnTo>
                <a:lnTo>
                  <a:pt x="1272" y="417"/>
                </a:lnTo>
                <a:lnTo>
                  <a:pt x="1272" y="417"/>
                </a:lnTo>
                <a:lnTo>
                  <a:pt x="1267" y="426"/>
                </a:lnTo>
                <a:lnTo>
                  <a:pt x="1267" y="426"/>
                </a:lnTo>
                <a:lnTo>
                  <a:pt x="1263" y="436"/>
                </a:lnTo>
                <a:lnTo>
                  <a:pt x="1263" y="436"/>
                </a:lnTo>
                <a:lnTo>
                  <a:pt x="1257" y="445"/>
                </a:lnTo>
                <a:lnTo>
                  <a:pt x="1257" y="445"/>
                </a:lnTo>
                <a:lnTo>
                  <a:pt x="1252" y="455"/>
                </a:lnTo>
                <a:lnTo>
                  <a:pt x="1252" y="455"/>
                </a:lnTo>
                <a:lnTo>
                  <a:pt x="1247" y="464"/>
                </a:lnTo>
                <a:lnTo>
                  <a:pt x="1247" y="464"/>
                </a:lnTo>
                <a:lnTo>
                  <a:pt x="1241" y="474"/>
                </a:lnTo>
                <a:lnTo>
                  <a:pt x="1241" y="474"/>
                </a:lnTo>
                <a:lnTo>
                  <a:pt x="1236" y="483"/>
                </a:lnTo>
                <a:lnTo>
                  <a:pt x="1236" y="483"/>
                </a:lnTo>
                <a:lnTo>
                  <a:pt x="1230" y="494"/>
                </a:lnTo>
                <a:lnTo>
                  <a:pt x="1230" y="494"/>
                </a:lnTo>
                <a:lnTo>
                  <a:pt x="1225" y="504"/>
                </a:lnTo>
                <a:lnTo>
                  <a:pt x="1225" y="504"/>
                </a:lnTo>
                <a:lnTo>
                  <a:pt x="1219" y="513"/>
                </a:lnTo>
                <a:lnTo>
                  <a:pt x="1219" y="513"/>
                </a:lnTo>
                <a:lnTo>
                  <a:pt x="1214" y="523"/>
                </a:lnTo>
                <a:lnTo>
                  <a:pt x="1214" y="523"/>
                </a:lnTo>
                <a:lnTo>
                  <a:pt x="1208" y="532"/>
                </a:lnTo>
                <a:lnTo>
                  <a:pt x="1208" y="532"/>
                </a:lnTo>
                <a:lnTo>
                  <a:pt x="1202" y="543"/>
                </a:lnTo>
                <a:lnTo>
                  <a:pt x="1202" y="543"/>
                </a:lnTo>
                <a:lnTo>
                  <a:pt x="1196" y="553"/>
                </a:lnTo>
                <a:lnTo>
                  <a:pt x="1196" y="553"/>
                </a:lnTo>
                <a:lnTo>
                  <a:pt x="1191" y="562"/>
                </a:lnTo>
                <a:lnTo>
                  <a:pt x="1191" y="562"/>
                </a:lnTo>
                <a:lnTo>
                  <a:pt x="1184" y="572"/>
                </a:lnTo>
                <a:lnTo>
                  <a:pt x="1184" y="572"/>
                </a:lnTo>
                <a:lnTo>
                  <a:pt x="1179" y="583"/>
                </a:lnTo>
                <a:lnTo>
                  <a:pt x="1179" y="583"/>
                </a:lnTo>
                <a:lnTo>
                  <a:pt x="1172" y="592"/>
                </a:lnTo>
                <a:lnTo>
                  <a:pt x="1172" y="592"/>
                </a:lnTo>
                <a:lnTo>
                  <a:pt x="1166" y="602"/>
                </a:lnTo>
                <a:lnTo>
                  <a:pt x="1166" y="602"/>
                </a:lnTo>
                <a:lnTo>
                  <a:pt x="1159" y="613"/>
                </a:lnTo>
                <a:lnTo>
                  <a:pt x="1159" y="613"/>
                </a:lnTo>
                <a:lnTo>
                  <a:pt x="1153" y="622"/>
                </a:lnTo>
                <a:lnTo>
                  <a:pt x="1153" y="622"/>
                </a:lnTo>
                <a:lnTo>
                  <a:pt x="1147" y="633"/>
                </a:lnTo>
                <a:lnTo>
                  <a:pt x="1147" y="633"/>
                </a:lnTo>
                <a:lnTo>
                  <a:pt x="1140" y="643"/>
                </a:lnTo>
                <a:lnTo>
                  <a:pt x="1140" y="643"/>
                </a:lnTo>
                <a:lnTo>
                  <a:pt x="1134" y="652"/>
                </a:lnTo>
                <a:lnTo>
                  <a:pt x="1134" y="652"/>
                </a:lnTo>
                <a:lnTo>
                  <a:pt x="1127" y="663"/>
                </a:lnTo>
                <a:lnTo>
                  <a:pt x="1127" y="663"/>
                </a:lnTo>
                <a:lnTo>
                  <a:pt x="1120" y="673"/>
                </a:lnTo>
                <a:lnTo>
                  <a:pt x="1120" y="673"/>
                </a:lnTo>
                <a:lnTo>
                  <a:pt x="1113" y="683"/>
                </a:lnTo>
                <a:lnTo>
                  <a:pt x="1113" y="683"/>
                </a:lnTo>
                <a:lnTo>
                  <a:pt x="1106" y="693"/>
                </a:lnTo>
                <a:lnTo>
                  <a:pt x="1106" y="693"/>
                </a:lnTo>
                <a:lnTo>
                  <a:pt x="1100" y="704"/>
                </a:lnTo>
                <a:lnTo>
                  <a:pt x="1100" y="704"/>
                </a:lnTo>
                <a:lnTo>
                  <a:pt x="1093" y="713"/>
                </a:lnTo>
                <a:lnTo>
                  <a:pt x="1093" y="713"/>
                </a:lnTo>
                <a:lnTo>
                  <a:pt x="1086" y="724"/>
                </a:lnTo>
                <a:lnTo>
                  <a:pt x="1086" y="724"/>
                </a:lnTo>
                <a:lnTo>
                  <a:pt x="1079" y="735"/>
                </a:lnTo>
                <a:lnTo>
                  <a:pt x="1079" y="735"/>
                </a:lnTo>
                <a:lnTo>
                  <a:pt x="1072" y="745"/>
                </a:lnTo>
                <a:lnTo>
                  <a:pt x="1072" y="745"/>
                </a:lnTo>
                <a:lnTo>
                  <a:pt x="1066" y="756"/>
                </a:lnTo>
                <a:lnTo>
                  <a:pt x="1066" y="756"/>
                </a:lnTo>
                <a:lnTo>
                  <a:pt x="1059" y="767"/>
                </a:lnTo>
                <a:lnTo>
                  <a:pt x="1059" y="767"/>
                </a:lnTo>
                <a:lnTo>
                  <a:pt x="1051" y="776"/>
                </a:lnTo>
                <a:lnTo>
                  <a:pt x="1051" y="776"/>
                </a:lnTo>
                <a:lnTo>
                  <a:pt x="1044" y="787"/>
                </a:lnTo>
                <a:lnTo>
                  <a:pt x="1044" y="787"/>
                </a:lnTo>
                <a:lnTo>
                  <a:pt x="1037" y="798"/>
                </a:lnTo>
                <a:lnTo>
                  <a:pt x="1037" y="798"/>
                </a:lnTo>
                <a:lnTo>
                  <a:pt x="1029" y="807"/>
                </a:lnTo>
                <a:lnTo>
                  <a:pt x="1029" y="807"/>
                </a:lnTo>
                <a:lnTo>
                  <a:pt x="1022" y="818"/>
                </a:lnTo>
                <a:lnTo>
                  <a:pt x="1022" y="818"/>
                </a:lnTo>
                <a:lnTo>
                  <a:pt x="1015" y="829"/>
                </a:lnTo>
                <a:lnTo>
                  <a:pt x="1015" y="829"/>
                </a:lnTo>
                <a:lnTo>
                  <a:pt x="1007" y="839"/>
                </a:lnTo>
                <a:lnTo>
                  <a:pt x="1007" y="839"/>
                </a:lnTo>
                <a:lnTo>
                  <a:pt x="1000" y="850"/>
                </a:lnTo>
                <a:lnTo>
                  <a:pt x="1000" y="850"/>
                </a:lnTo>
                <a:lnTo>
                  <a:pt x="992" y="860"/>
                </a:lnTo>
                <a:lnTo>
                  <a:pt x="992" y="860"/>
                </a:lnTo>
                <a:lnTo>
                  <a:pt x="985" y="871"/>
                </a:lnTo>
                <a:lnTo>
                  <a:pt x="985" y="871"/>
                </a:lnTo>
                <a:lnTo>
                  <a:pt x="977" y="882"/>
                </a:lnTo>
                <a:lnTo>
                  <a:pt x="977" y="882"/>
                </a:lnTo>
                <a:lnTo>
                  <a:pt x="969" y="892"/>
                </a:lnTo>
                <a:lnTo>
                  <a:pt x="969" y="892"/>
                </a:lnTo>
                <a:lnTo>
                  <a:pt x="962" y="903"/>
                </a:lnTo>
                <a:lnTo>
                  <a:pt x="962" y="903"/>
                </a:lnTo>
                <a:lnTo>
                  <a:pt x="954" y="914"/>
                </a:lnTo>
                <a:lnTo>
                  <a:pt x="954" y="914"/>
                </a:lnTo>
                <a:lnTo>
                  <a:pt x="947" y="924"/>
                </a:lnTo>
                <a:lnTo>
                  <a:pt x="947" y="924"/>
                </a:lnTo>
                <a:lnTo>
                  <a:pt x="939" y="935"/>
                </a:lnTo>
                <a:lnTo>
                  <a:pt x="939" y="935"/>
                </a:lnTo>
                <a:lnTo>
                  <a:pt x="931" y="946"/>
                </a:lnTo>
                <a:lnTo>
                  <a:pt x="931" y="946"/>
                </a:lnTo>
                <a:lnTo>
                  <a:pt x="924" y="957"/>
                </a:lnTo>
                <a:lnTo>
                  <a:pt x="924" y="957"/>
                </a:lnTo>
                <a:lnTo>
                  <a:pt x="916" y="968"/>
                </a:lnTo>
                <a:lnTo>
                  <a:pt x="916" y="968"/>
                </a:lnTo>
                <a:lnTo>
                  <a:pt x="908" y="979"/>
                </a:lnTo>
                <a:lnTo>
                  <a:pt x="908" y="979"/>
                </a:lnTo>
                <a:lnTo>
                  <a:pt x="899" y="990"/>
                </a:lnTo>
                <a:lnTo>
                  <a:pt x="899" y="990"/>
                </a:lnTo>
                <a:lnTo>
                  <a:pt x="891" y="1001"/>
                </a:lnTo>
                <a:lnTo>
                  <a:pt x="891" y="1001"/>
                </a:lnTo>
                <a:lnTo>
                  <a:pt x="884" y="1012"/>
                </a:lnTo>
                <a:lnTo>
                  <a:pt x="884" y="1012"/>
                </a:lnTo>
                <a:lnTo>
                  <a:pt x="876" y="1022"/>
                </a:lnTo>
                <a:lnTo>
                  <a:pt x="876" y="1022"/>
                </a:lnTo>
                <a:lnTo>
                  <a:pt x="868" y="1033"/>
                </a:lnTo>
                <a:lnTo>
                  <a:pt x="868" y="1033"/>
                </a:lnTo>
                <a:lnTo>
                  <a:pt x="860" y="1044"/>
                </a:lnTo>
                <a:lnTo>
                  <a:pt x="860" y="1044"/>
                </a:lnTo>
                <a:lnTo>
                  <a:pt x="852" y="1055"/>
                </a:lnTo>
                <a:lnTo>
                  <a:pt x="852" y="1055"/>
                </a:lnTo>
                <a:lnTo>
                  <a:pt x="844" y="1066"/>
                </a:lnTo>
                <a:lnTo>
                  <a:pt x="844" y="1066"/>
                </a:lnTo>
                <a:lnTo>
                  <a:pt x="835" y="1077"/>
                </a:lnTo>
                <a:lnTo>
                  <a:pt x="835" y="1077"/>
                </a:lnTo>
                <a:lnTo>
                  <a:pt x="829" y="1088"/>
                </a:lnTo>
                <a:lnTo>
                  <a:pt x="829" y="1088"/>
                </a:lnTo>
                <a:lnTo>
                  <a:pt x="821" y="1099"/>
                </a:lnTo>
                <a:lnTo>
                  <a:pt x="821" y="1099"/>
                </a:lnTo>
                <a:lnTo>
                  <a:pt x="812" y="1110"/>
                </a:lnTo>
                <a:lnTo>
                  <a:pt x="812" y="1110"/>
                </a:lnTo>
                <a:lnTo>
                  <a:pt x="804" y="1121"/>
                </a:lnTo>
                <a:lnTo>
                  <a:pt x="804" y="1121"/>
                </a:lnTo>
                <a:lnTo>
                  <a:pt x="796" y="1133"/>
                </a:lnTo>
                <a:lnTo>
                  <a:pt x="796" y="1133"/>
                </a:lnTo>
                <a:lnTo>
                  <a:pt x="788" y="1144"/>
                </a:lnTo>
                <a:lnTo>
                  <a:pt x="788" y="1144"/>
                </a:lnTo>
                <a:lnTo>
                  <a:pt x="780" y="1155"/>
                </a:lnTo>
                <a:lnTo>
                  <a:pt x="780" y="1155"/>
                </a:lnTo>
                <a:lnTo>
                  <a:pt x="771" y="1165"/>
                </a:lnTo>
                <a:lnTo>
                  <a:pt x="771" y="1165"/>
                </a:lnTo>
                <a:lnTo>
                  <a:pt x="763" y="1176"/>
                </a:lnTo>
                <a:lnTo>
                  <a:pt x="763" y="1176"/>
                </a:lnTo>
                <a:lnTo>
                  <a:pt x="755" y="1189"/>
                </a:lnTo>
                <a:lnTo>
                  <a:pt x="755" y="1189"/>
                </a:lnTo>
                <a:lnTo>
                  <a:pt x="747" y="1199"/>
                </a:lnTo>
                <a:lnTo>
                  <a:pt x="747" y="1199"/>
                </a:lnTo>
                <a:lnTo>
                  <a:pt x="739" y="1210"/>
                </a:lnTo>
                <a:lnTo>
                  <a:pt x="739" y="1210"/>
                </a:lnTo>
                <a:lnTo>
                  <a:pt x="731" y="1221"/>
                </a:lnTo>
                <a:lnTo>
                  <a:pt x="731" y="1221"/>
                </a:lnTo>
                <a:lnTo>
                  <a:pt x="722" y="1234"/>
                </a:lnTo>
                <a:lnTo>
                  <a:pt x="722" y="1234"/>
                </a:lnTo>
                <a:lnTo>
                  <a:pt x="714" y="1244"/>
                </a:lnTo>
                <a:lnTo>
                  <a:pt x="714" y="1244"/>
                </a:lnTo>
                <a:lnTo>
                  <a:pt x="706" y="1255"/>
                </a:lnTo>
                <a:lnTo>
                  <a:pt x="706" y="1255"/>
                </a:lnTo>
                <a:lnTo>
                  <a:pt x="698" y="1266"/>
                </a:lnTo>
                <a:lnTo>
                  <a:pt x="698" y="1266"/>
                </a:lnTo>
                <a:lnTo>
                  <a:pt x="690" y="1278"/>
                </a:lnTo>
                <a:lnTo>
                  <a:pt x="690" y="1278"/>
                </a:lnTo>
                <a:lnTo>
                  <a:pt x="682" y="1289"/>
                </a:lnTo>
                <a:lnTo>
                  <a:pt x="682" y="1289"/>
                </a:lnTo>
                <a:lnTo>
                  <a:pt x="673" y="1300"/>
                </a:lnTo>
                <a:lnTo>
                  <a:pt x="673" y="1300"/>
                </a:lnTo>
                <a:lnTo>
                  <a:pt x="665" y="1312"/>
                </a:lnTo>
                <a:lnTo>
                  <a:pt x="665" y="1312"/>
                </a:lnTo>
                <a:lnTo>
                  <a:pt x="657" y="1323"/>
                </a:lnTo>
                <a:lnTo>
                  <a:pt x="657" y="1323"/>
                </a:lnTo>
                <a:lnTo>
                  <a:pt x="649" y="1336"/>
                </a:lnTo>
                <a:lnTo>
                  <a:pt x="649" y="1336"/>
                </a:lnTo>
                <a:lnTo>
                  <a:pt x="641" y="1347"/>
                </a:lnTo>
                <a:lnTo>
                  <a:pt x="641" y="1347"/>
                </a:lnTo>
                <a:lnTo>
                  <a:pt x="633" y="1357"/>
                </a:lnTo>
                <a:lnTo>
                  <a:pt x="633" y="1357"/>
                </a:lnTo>
                <a:lnTo>
                  <a:pt x="624" y="1370"/>
                </a:lnTo>
                <a:lnTo>
                  <a:pt x="624" y="1370"/>
                </a:lnTo>
                <a:lnTo>
                  <a:pt x="616" y="1381"/>
                </a:lnTo>
                <a:lnTo>
                  <a:pt x="616" y="1381"/>
                </a:lnTo>
                <a:lnTo>
                  <a:pt x="608" y="1393"/>
                </a:lnTo>
                <a:lnTo>
                  <a:pt x="608" y="1393"/>
                </a:lnTo>
                <a:lnTo>
                  <a:pt x="600" y="1404"/>
                </a:lnTo>
                <a:lnTo>
                  <a:pt x="600" y="1404"/>
                </a:lnTo>
                <a:lnTo>
                  <a:pt x="592" y="1416"/>
                </a:lnTo>
                <a:lnTo>
                  <a:pt x="592" y="1416"/>
                </a:lnTo>
                <a:lnTo>
                  <a:pt x="584" y="1427"/>
                </a:lnTo>
                <a:lnTo>
                  <a:pt x="584" y="1427"/>
                </a:lnTo>
                <a:lnTo>
                  <a:pt x="575" y="1439"/>
                </a:lnTo>
                <a:lnTo>
                  <a:pt x="575" y="1439"/>
                </a:lnTo>
                <a:lnTo>
                  <a:pt x="567" y="1450"/>
                </a:lnTo>
                <a:lnTo>
                  <a:pt x="567" y="1450"/>
                </a:lnTo>
                <a:lnTo>
                  <a:pt x="559" y="1462"/>
                </a:lnTo>
                <a:lnTo>
                  <a:pt x="559" y="1462"/>
                </a:lnTo>
                <a:lnTo>
                  <a:pt x="551" y="1473"/>
                </a:lnTo>
                <a:lnTo>
                  <a:pt x="551" y="1473"/>
                </a:lnTo>
                <a:lnTo>
                  <a:pt x="543" y="1485"/>
                </a:lnTo>
                <a:lnTo>
                  <a:pt x="543" y="1485"/>
                </a:lnTo>
                <a:lnTo>
                  <a:pt x="536" y="1496"/>
                </a:lnTo>
                <a:lnTo>
                  <a:pt x="536" y="1496"/>
                </a:lnTo>
                <a:lnTo>
                  <a:pt x="528" y="1509"/>
                </a:lnTo>
                <a:lnTo>
                  <a:pt x="528" y="1509"/>
                </a:lnTo>
                <a:lnTo>
                  <a:pt x="520" y="1519"/>
                </a:lnTo>
                <a:lnTo>
                  <a:pt x="520" y="1519"/>
                </a:lnTo>
                <a:lnTo>
                  <a:pt x="511" y="1532"/>
                </a:lnTo>
                <a:lnTo>
                  <a:pt x="511" y="1532"/>
                </a:lnTo>
                <a:lnTo>
                  <a:pt x="503" y="1543"/>
                </a:lnTo>
                <a:lnTo>
                  <a:pt x="503" y="1543"/>
                </a:lnTo>
                <a:lnTo>
                  <a:pt x="495" y="1555"/>
                </a:lnTo>
                <a:lnTo>
                  <a:pt x="495" y="1555"/>
                </a:lnTo>
                <a:lnTo>
                  <a:pt x="488" y="1567"/>
                </a:lnTo>
                <a:lnTo>
                  <a:pt x="488" y="1567"/>
                </a:lnTo>
                <a:lnTo>
                  <a:pt x="480" y="1578"/>
                </a:lnTo>
                <a:lnTo>
                  <a:pt x="480" y="1578"/>
                </a:lnTo>
                <a:lnTo>
                  <a:pt x="472" y="1590"/>
                </a:lnTo>
                <a:lnTo>
                  <a:pt x="472" y="1590"/>
                </a:lnTo>
                <a:lnTo>
                  <a:pt x="465" y="1601"/>
                </a:lnTo>
                <a:lnTo>
                  <a:pt x="465" y="1601"/>
                </a:lnTo>
                <a:lnTo>
                  <a:pt x="457" y="1613"/>
                </a:lnTo>
                <a:lnTo>
                  <a:pt x="457" y="1613"/>
                </a:lnTo>
                <a:lnTo>
                  <a:pt x="449" y="1626"/>
                </a:lnTo>
                <a:lnTo>
                  <a:pt x="449" y="1626"/>
                </a:lnTo>
                <a:lnTo>
                  <a:pt x="442" y="1637"/>
                </a:lnTo>
                <a:lnTo>
                  <a:pt x="442" y="1637"/>
                </a:lnTo>
                <a:lnTo>
                  <a:pt x="434" y="1649"/>
                </a:lnTo>
                <a:lnTo>
                  <a:pt x="434" y="1649"/>
                </a:lnTo>
                <a:lnTo>
                  <a:pt x="426" y="1661"/>
                </a:lnTo>
                <a:lnTo>
                  <a:pt x="426" y="1661"/>
                </a:lnTo>
                <a:lnTo>
                  <a:pt x="419" y="1672"/>
                </a:lnTo>
                <a:lnTo>
                  <a:pt x="419" y="1672"/>
                </a:lnTo>
                <a:lnTo>
                  <a:pt x="411" y="1684"/>
                </a:lnTo>
                <a:lnTo>
                  <a:pt x="411" y="1684"/>
                </a:lnTo>
                <a:lnTo>
                  <a:pt x="404" y="1696"/>
                </a:lnTo>
                <a:lnTo>
                  <a:pt x="404" y="1696"/>
                </a:lnTo>
                <a:lnTo>
                  <a:pt x="396" y="1709"/>
                </a:lnTo>
                <a:lnTo>
                  <a:pt x="396" y="1709"/>
                </a:lnTo>
                <a:lnTo>
                  <a:pt x="389" y="1720"/>
                </a:lnTo>
                <a:lnTo>
                  <a:pt x="389" y="1720"/>
                </a:lnTo>
                <a:lnTo>
                  <a:pt x="381" y="1732"/>
                </a:lnTo>
                <a:lnTo>
                  <a:pt x="381" y="1732"/>
                </a:lnTo>
                <a:lnTo>
                  <a:pt x="374" y="1744"/>
                </a:lnTo>
                <a:lnTo>
                  <a:pt x="374" y="1744"/>
                </a:lnTo>
                <a:lnTo>
                  <a:pt x="366" y="1755"/>
                </a:lnTo>
                <a:lnTo>
                  <a:pt x="366" y="1755"/>
                </a:lnTo>
                <a:lnTo>
                  <a:pt x="359" y="1767"/>
                </a:lnTo>
                <a:lnTo>
                  <a:pt x="359" y="1767"/>
                </a:lnTo>
                <a:lnTo>
                  <a:pt x="352" y="1779"/>
                </a:lnTo>
                <a:lnTo>
                  <a:pt x="352" y="1779"/>
                </a:lnTo>
                <a:lnTo>
                  <a:pt x="345" y="1792"/>
                </a:lnTo>
                <a:lnTo>
                  <a:pt x="345" y="1792"/>
                </a:lnTo>
                <a:lnTo>
                  <a:pt x="337" y="1804"/>
                </a:lnTo>
                <a:lnTo>
                  <a:pt x="337" y="1804"/>
                </a:lnTo>
                <a:lnTo>
                  <a:pt x="330" y="1815"/>
                </a:lnTo>
                <a:lnTo>
                  <a:pt x="330" y="1815"/>
                </a:lnTo>
                <a:lnTo>
                  <a:pt x="324" y="1827"/>
                </a:lnTo>
                <a:lnTo>
                  <a:pt x="324" y="1827"/>
                </a:lnTo>
                <a:lnTo>
                  <a:pt x="317" y="1839"/>
                </a:lnTo>
                <a:lnTo>
                  <a:pt x="317" y="1839"/>
                </a:lnTo>
                <a:lnTo>
                  <a:pt x="310" y="1852"/>
                </a:lnTo>
                <a:lnTo>
                  <a:pt x="310" y="1852"/>
                </a:lnTo>
                <a:lnTo>
                  <a:pt x="303" y="1864"/>
                </a:lnTo>
                <a:lnTo>
                  <a:pt x="303" y="1864"/>
                </a:lnTo>
                <a:lnTo>
                  <a:pt x="295" y="1875"/>
                </a:lnTo>
                <a:lnTo>
                  <a:pt x="295" y="1875"/>
                </a:lnTo>
                <a:lnTo>
                  <a:pt x="288" y="1887"/>
                </a:lnTo>
                <a:lnTo>
                  <a:pt x="288" y="1887"/>
                </a:lnTo>
                <a:lnTo>
                  <a:pt x="283" y="1899"/>
                </a:lnTo>
                <a:lnTo>
                  <a:pt x="283" y="1899"/>
                </a:lnTo>
                <a:lnTo>
                  <a:pt x="276" y="1912"/>
                </a:lnTo>
                <a:lnTo>
                  <a:pt x="276" y="1912"/>
                </a:lnTo>
                <a:lnTo>
                  <a:pt x="269" y="1924"/>
                </a:lnTo>
                <a:lnTo>
                  <a:pt x="269" y="1924"/>
                </a:lnTo>
                <a:lnTo>
                  <a:pt x="262" y="1936"/>
                </a:lnTo>
                <a:lnTo>
                  <a:pt x="262" y="1936"/>
                </a:lnTo>
                <a:lnTo>
                  <a:pt x="256" y="1947"/>
                </a:lnTo>
                <a:lnTo>
                  <a:pt x="256" y="1947"/>
                </a:lnTo>
                <a:lnTo>
                  <a:pt x="249" y="1959"/>
                </a:lnTo>
                <a:lnTo>
                  <a:pt x="249" y="1959"/>
                </a:lnTo>
                <a:lnTo>
                  <a:pt x="243" y="1971"/>
                </a:lnTo>
                <a:lnTo>
                  <a:pt x="243" y="1971"/>
                </a:lnTo>
                <a:lnTo>
                  <a:pt x="237" y="1984"/>
                </a:lnTo>
                <a:lnTo>
                  <a:pt x="237" y="1984"/>
                </a:lnTo>
                <a:lnTo>
                  <a:pt x="230" y="1996"/>
                </a:lnTo>
                <a:lnTo>
                  <a:pt x="230" y="1996"/>
                </a:lnTo>
                <a:lnTo>
                  <a:pt x="224" y="2008"/>
                </a:lnTo>
                <a:lnTo>
                  <a:pt x="224" y="2008"/>
                </a:lnTo>
                <a:lnTo>
                  <a:pt x="217" y="2020"/>
                </a:lnTo>
                <a:lnTo>
                  <a:pt x="217" y="2020"/>
                </a:lnTo>
                <a:lnTo>
                  <a:pt x="212" y="2033"/>
                </a:lnTo>
                <a:lnTo>
                  <a:pt x="212" y="2033"/>
                </a:lnTo>
                <a:lnTo>
                  <a:pt x="205" y="2045"/>
                </a:lnTo>
                <a:lnTo>
                  <a:pt x="205" y="2045"/>
                </a:lnTo>
                <a:lnTo>
                  <a:pt x="200" y="2057"/>
                </a:lnTo>
                <a:lnTo>
                  <a:pt x="200" y="2057"/>
                </a:lnTo>
                <a:lnTo>
                  <a:pt x="194" y="2068"/>
                </a:lnTo>
                <a:lnTo>
                  <a:pt x="194" y="2068"/>
                </a:lnTo>
                <a:lnTo>
                  <a:pt x="188" y="2080"/>
                </a:lnTo>
                <a:lnTo>
                  <a:pt x="188" y="2080"/>
                </a:lnTo>
                <a:lnTo>
                  <a:pt x="182" y="2093"/>
                </a:lnTo>
                <a:lnTo>
                  <a:pt x="182" y="2093"/>
                </a:lnTo>
                <a:lnTo>
                  <a:pt x="177" y="2105"/>
                </a:lnTo>
                <a:lnTo>
                  <a:pt x="177" y="2105"/>
                </a:lnTo>
                <a:lnTo>
                  <a:pt x="171" y="2117"/>
                </a:lnTo>
                <a:lnTo>
                  <a:pt x="171" y="2117"/>
                </a:lnTo>
                <a:lnTo>
                  <a:pt x="166" y="2129"/>
                </a:lnTo>
                <a:lnTo>
                  <a:pt x="166" y="2129"/>
                </a:lnTo>
                <a:lnTo>
                  <a:pt x="160" y="2142"/>
                </a:lnTo>
                <a:lnTo>
                  <a:pt x="160" y="2142"/>
                </a:lnTo>
                <a:lnTo>
                  <a:pt x="155" y="2154"/>
                </a:lnTo>
                <a:lnTo>
                  <a:pt x="155" y="2154"/>
                </a:lnTo>
                <a:lnTo>
                  <a:pt x="149" y="2166"/>
                </a:lnTo>
                <a:lnTo>
                  <a:pt x="149" y="2166"/>
                </a:lnTo>
                <a:lnTo>
                  <a:pt x="144" y="2178"/>
                </a:lnTo>
                <a:lnTo>
                  <a:pt x="144" y="2178"/>
                </a:lnTo>
                <a:lnTo>
                  <a:pt x="139" y="2191"/>
                </a:lnTo>
                <a:lnTo>
                  <a:pt x="139" y="2191"/>
                </a:lnTo>
                <a:lnTo>
                  <a:pt x="133" y="2203"/>
                </a:lnTo>
                <a:lnTo>
                  <a:pt x="133" y="2203"/>
                </a:lnTo>
                <a:lnTo>
                  <a:pt x="129" y="2215"/>
                </a:lnTo>
                <a:lnTo>
                  <a:pt x="129" y="2215"/>
                </a:lnTo>
                <a:lnTo>
                  <a:pt x="124" y="2227"/>
                </a:lnTo>
                <a:lnTo>
                  <a:pt x="124" y="2227"/>
                </a:lnTo>
                <a:lnTo>
                  <a:pt x="118" y="2240"/>
                </a:lnTo>
                <a:lnTo>
                  <a:pt x="118" y="2240"/>
                </a:lnTo>
                <a:lnTo>
                  <a:pt x="114" y="2252"/>
                </a:lnTo>
                <a:lnTo>
                  <a:pt x="114" y="2252"/>
                </a:lnTo>
                <a:lnTo>
                  <a:pt x="109" y="2264"/>
                </a:lnTo>
                <a:lnTo>
                  <a:pt x="109" y="2264"/>
                </a:lnTo>
                <a:lnTo>
                  <a:pt x="104" y="2276"/>
                </a:lnTo>
                <a:lnTo>
                  <a:pt x="104" y="2276"/>
                </a:lnTo>
                <a:lnTo>
                  <a:pt x="100" y="2289"/>
                </a:lnTo>
                <a:lnTo>
                  <a:pt x="100" y="2289"/>
                </a:lnTo>
                <a:lnTo>
                  <a:pt x="95" y="2301"/>
                </a:lnTo>
                <a:lnTo>
                  <a:pt x="95" y="2301"/>
                </a:lnTo>
                <a:lnTo>
                  <a:pt x="91" y="2313"/>
                </a:lnTo>
                <a:lnTo>
                  <a:pt x="91" y="2313"/>
                </a:lnTo>
                <a:lnTo>
                  <a:pt x="87" y="2325"/>
                </a:lnTo>
                <a:lnTo>
                  <a:pt x="87" y="2325"/>
                </a:lnTo>
                <a:lnTo>
                  <a:pt x="83" y="2338"/>
                </a:lnTo>
                <a:lnTo>
                  <a:pt x="83" y="2338"/>
                </a:lnTo>
                <a:lnTo>
                  <a:pt x="79" y="2350"/>
                </a:lnTo>
                <a:lnTo>
                  <a:pt x="79" y="2350"/>
                </a:lnTo>
                <a:lnTo>
                  <a:pt x="75" y="2362"/>
                </a:lnTo>
                <a:lnTo>
                  <a:pt x="75" y="2362"/>
                </a:lnTo>
                <a:lnTo>
                  <a:pt x="70" y="2374"/>
                </a:lnTo>
                <a:lnTo>
                  <a:pt x="70" y="2374"/>
                </a:lnTo>
                <a:lnTo>
                  <a:pt x="66" y="2387"/>
                </a:lnTo>
                <a:lnTo>
                  <a:pt x="66" y="2387"/>
                </a:lnTo>
                <a:lnTo>
                  <a:pt x="64" y="2399"/>
                </a:lnTo>
                <a:lnTo>
                  <a:pt x="64" y="2399"/>
                </a:lnTo>
                <a:lnTo>
                  <a:pt x="60" y="2413"/>
                </a:lnTo>
                <a:lnTo>
                  <a:pt x="60" y="2413"/>
                </a:lnTo>
                <a:lnTo>
                  <a:pt x="55" y="2425"/>
                </a:lnTo>
                <a:lnTo>
                  <a:pt x="55" y="2425"/>
                </a:lnTo>
                <a:lnTo>
                  <a:pt x="53" y="2437"/>
                </a:lnTo>
                <a:lnTo>
                  <a:pt x="53" y="2437"/>
                </a:lnTo>
                <a:lnTo>
                  <a:pt x="49" y="2449"/>
                </a:lnTo>
                <a:lnTo>
                  <a:pt x="49" y="2449"/>
                </a:lnTo>
                <a:lnTo>
                  <a:pt x="46" y="2462"/>
                </a:lnTo>
                <a:lnTo>
                  <a:pt x="46" y="2462"/>
                </a:lnTo>
                <a:lnTo>
                  <a:pt x="43" y="2474"/>
                </a:lnTo>
                <a:lnTo>
                  <a:pt x="43" y="2474"/>
                </a:lnTo>
                <a:lnTo>
                  <a:pt x="40" y="2486"/>
                </a:lnTo>
                <a:lnTo>
                  <a:pt x="40" y="2486"/>
                </a:lnTo>
                <a:lnTo>
                  <a:pt x="36" y="2498"/>
                </a:lnTo>
                <a:lnTo>
                  <a:pt x="36" y="2498"/>
                </a:lnTo>
                <a:lnTo>
                  <a:pt x="34" y="2511"/>
                </a:lnTo>
                <a:lnTo>
                  <a:pt x="34" y="2511"/>
                </a:lnTo>
                <a:lnTo>
                  <a:pt x="31" y="2523"/>
                </a:lnTo>
                <a:lnTo>
                  <a:pt x="31" y="2523"/>
                </a:lnTo>
                <a:lnTo>
                  <a:pt x="28" y="2535"/>
                </a:lnTo>
                <a:lnTo>
                  <a:pt x="28" y="2535"/>
                </a:lnTo>
                <a:lnTo>
                  <a:pt x="27" y="2547"/>
                </a:lnTo>
                <a:lnTo>
                  <a:pt x="27" y="2547"/>
                </a:lnTo>
                <a:lnTo>
                  <a:pt x="24" y="2560"/>
                </a:lnTo>
                <a:lnTo>
                  <a:pt x="24" y="2560"/>
                </a:lnTo>
                <a:lnTo>
                  <a:pt x="21" y="2572"/>
                </a:lnTo>
                <a:lnTo>
                  <a:pt x="21" y="2572"/>
                </a:lnTo>
                <a:lnTo>
                  <a:pt x="19" y="2585"/>
                </a:lnTo>
                <a:lnTo>
                  <a:pt x="19" y="2585"/>
                </a:lnTo>
                <a:lnTo>
                  <a:pt x="17" y="2598"/>
                </a:lnTo>
                <a:lnTo>
                  <a:pt x="17" y="2598"/>
                </a:lnTo>
                <a:lnTo>
                  <a:pt x="15" y="2610"/>
                </a:lnTo>
                <a:lnTo>
                  <a:pt x="15" y="2610"/>
                </a:lnTo>
                <a:lnTo>
                  <a:pt x="13" y="2622"/>
                </a:lnTo>
                <a:lnTo>
                  <a:pt x="13" y="2622"/>
                </a:lnTo>
                <a:lnTo>
                  <a:pt x="12" y="2634"/>
                </a:lnTo>
                <a:lnTo>
                  <a:pt x="12" y="2634"/>
                </a:lnTo>
                <a:lnTo>
                  <a:pt x="11" y="2647"/>
                </a:lnTo>
                <a:lnTo>
                  <a:pt x="11" y="2647"/>
                </a:lnTo>
                <a:lnTo>
                  <a:pt x="9" y="2659"/>
                </a:lnTo>
                <a:lnTo>
                  <a:pt x="9" y="2659"/>
                </a:lnTo>
                <a:lnTo>
                  <a:pt x="6" y="2671"/>
                </a:lnTo>
                <a:lnTo>
                  <a:pt x="6" y="2671"/>
                </a:lnTo>
                <a:lnTo>
                  <a:pt x="6" y="2683"/>
                </a:lnTo>
                <a:lnTo>
                  <a:pt x="6" y="2683"/>
                </a:lnTo>
                <a:lnTo>
                  <a:pt x="5" y="2696"/>
                </a:lnTo>
                <a:lnTo>
                  <a:pt x="5" y="2696"/>
                </a:lnTo>
                <a:lnTo>
                  <a:pt x="4" y="2709"/>
                </a:lnTo>
                <a:lnTo>
                  <a:pt x="4" y="2709"/>
                </a:lnTo>
                <a:lnTo>
                  <a:pt x="2" y="2722"/>
                </a:lnTo>
                <a:lnTo>
                  <a:pt x="2" y="2722"/>
                </a:lnTo>
                <a:lnTo>
                  <a:pt x="2" y="2734"/>
                </a:lnTo>
                <a:lnTo>
                  <a:pt x="2" y="2734"/>
                </a:lnTo>
                <a:lnTo>
                  <a:pt x="1" y="2746"/>
                </a:lnTo>
                <a:lnTo>
                  <a:pt x="1" y="2746"/>
                </a:lnTo>
                <a:lnTo>
                  <a:pt x="1" y="2758"/>
                </a:lnTo>
                <a:lnTo>
                  <a:pt x="1" y="2758"/>
                </a:lnTo>
                <a:lnTo>
                  <a:pt x="0" y="2771"/>
                </a:lnTo>
                <a:lnTo>
                  <a:pt x="0" y="2771"/>
                </a:lnTo>
                <a:lnTo>
                  <a:pt x="0" y="2783"/>
                </a:lnTo>
                <a:lnTo>
                  <a:pt x="0" y="2783"/>
                </a:lnTo>
                <a:lnTo>
                  <a:pt x="0" y="2795"/>
                </a:lnTo>
                <a:lnTo>
                  <a:pt x="0" y="2795"/>
                </a:lnTo>
                <a:lnTo>
                  <a:pt x="0" y="2807"/>
                </a:lnTo>
                <a:lnTo>
                  <a:pt x="0" y="2807"/>
                </a:lnTo>
                <a:lnTo>
                  <a:pt x="0" y="2817"/>
                </a:lnTo>
                <a:lnTo>
                  <a:pt x="0" y="2817"/>
                </a:lnTo>
                <a:lnTo>
                  <a:pt x="0" y="2826"/>
                </a:lnTo>
                <a:lnTo>
                  <a:pt x="0" y="2826"/>
                </a:lnTo>
                <a:lnTo>
                  <a:pt x="0" y="2836"/>
                </a:lnTo>
                <a:lnTo>
                  <a:pt x="0" y="2836"/>
                </a:lnTo>
                <a:lnTo>
                  <a:pt x="0" y="2844"/>
                </a:lnTo>
                <a:lnTo>
                  <a:pt x="0" y="2844"/>
                </a:lnTo>
                <a:lnTo>
                  <a:pt x="0" y="2854"/>
                </a:lnTo>
                <a:lnTo>
                  <a:pt x="0" y="2854"/>
                </a:lnTo>
                <a:lnTo>
                  <a:pt x="1" y="2863"/>
                </a:lnTo>
                <a:lnTo>
                  <a:pt x="1" y="2863"/>
                </a:lnTo>
                <a:lnTo>
                  <a:pt x="1" y="2873"/>
                </a:lnTo>
                <a:lnTo>
                  <a:pt x="1" y="2873"/>
                </a:lnTo>
                <a:lnTo>
                  <a:pt x="1" y="2881"/>
                </a:lnTo>
                <a:lnTo>
                  <a:pt x="1" y="2881"/>
                </a:lnTo>
                <a:lnTo>
                  <a:pt x="2" y="2890"/>
                </a:lnTo>
                <a:lnTo>
                  <a:pt x="2" y="2890"/>
                </a:lnTo>
                <a:lnTo>
                  <a:pt x="2" y="2900"/>
                </a:lnTo>
                <a:lnTo>
                  <a:pt x="2" y="2900"/>
                </a:lnTo>
                <a:lnTo>
                  <a:pt x="4" y="2908"/>
                </a:lnTo>
                <a:lnTo>
                  <a:pt x="4" y="2908"/>
                </a:lnTo>
                <a:lnTo>
                  <a:pt x="4" y="2918"/>
                </a:lnTo>
                <a:lnTo>
                  <a:pt x="4" y="2918"/>
                </a:lnTo>
                <a:lnTo>
                  <a:pt x="5" y="2927"/>
                </a:lnTo>
                <a:lnTo>
                  <a:pt x="5" y="2927"/>
                </a:lnTo>
                <a:lnTo>
                  <a:pt x="5" y="2935"/>
                </a:lnTo>
                <a:lnTo>
                  <a:pt x="5" y="2935"/>
                </a:lnTo>
                <a:lnTo>
                  <a:pt x="6" y="2945"/>
                </a:lnTo>
                <a:lnTo>
                  <a:pt x="6" y="2945"/>
                </a:lnTo>
                <a:lnTo>
                  <a:pt x="6" y="2954"/>
                </a:lnTo>
                <a:lnTo>
                  <a:pt x="6" y="2954"/>
                </a:lnTo>
                <a:lnTo>
                  <a:pt x="8" y="2963"/>
                </a:lnTo>
                <a:lnTo>
                  <a:pt x="8" y="2963"/>
                </a:lnTo>
                <a:lnTo>
                  <a:pt x="9" y="2972"/>
                </a:lnTo>
                <a:lnTo>
                  <a:pt x="9" y="2972"/>
                </a:lnTo>
                <a:lnTo>
                  <a:pt x="11" y="2982"/>
                </a:lnTo>
                <a:lnTo>
                  <a:pt x="11" y="2982"/>
                </a:lnTo>
                <a:lnTo>
                  <a:pt x="11" y="2990"/>
                </a:lnTo>
                <a:lnTo>
                  <a:pt x="11" y="2990"/>
                </a:lnTo>
                <a:lnTo>
                  <a:pt x="12" y="2999"/>
                </a:lnTo>
                <a:lnTo>
                  <a:pt x="12" y="2999"/>
                </a:lnTo>
                <a:lnTo>
                  <a:pt x="13" y="3008"/>
                </a:lnTo>
                <a:lnTo>
                  <a:pt x="13" y="3008"/>
                </a:lnTo>
                <a:lnTo>
                  <a:pt x="15" y="3017"/>
                </a:lnTo>
                <a:lnTo>
                  <a:pt x="15" y="3017"/>
                </a:lnTo>
                <a:lnTo>
                  <a:pt x="16" y="3025"/>
                </a:lnTo>
                <a:lnTo>
                  <a:pt x="16" y="3025"/>
                </a:lnTo>
                <a:lnTo>
                  <a:pt x="17" y="3035"/>
                </a:lnTo>
                <a:lnTo>
                  <a:pt x="17" y="3035"/>
                </a:lnTo>
                <a:lnTo>
                  <a:pt x="19" y="3043"/>
                </a:lnTo>
                <a:lnTo>
                  <a:pt x="19" y="3043"/>
                </a:lnTo>
                <a:lnTo>
                  <a:pt x="20" y="3052"/>
                </a:lnTo>
                <a:lnTo>
                  <a:pt x="20" y="3052"/>
                </a:lnTo>
                <a:lnTo>
                  <a:pt x="21" y="3061"/>
                </a:lnTo>
                <a:lnTo>
                  <a:pt x="21" y="3061"/>
                </a:lnTo>
                <a:lnTo>
                  <a:pt x="24" y="3070"/>
                </a:lnTo>
                <a:lnTo>
                  <a:pt x="24" y="3070"/>
                </a:lnTo>
                <a:lnTo>
                  <a:pt x="26" y="3078"/>
                </a:lnTo>
                <a:lnTo>
                  <a:pt x="26" y="3078"/>
                </a:lnTo>
                <a:lnTo>
                  <a:pt x="27" y="3088"/>
                </a:lnTo>
                <a:lnTo>
                  <a:pt x="27" y="3088"/>
                </a:lnTo>
                <a:lnTo>
                  <a:pt x="28" y="3096"/>
                </a:lnTo>
                <a:lnTo>
                  <a:pt x="28" y="3096"/>
                </a:lnTo>
                <a:lnTo>
                  <a:pt x="31" y="3104"/>
                </a:lnTo>
                <a:lnTo>
                  <a:pt x="31" y="3104"/>
                </a:lnTo>
                <a:lnTo>
                  <a:pt x="32" y="3114"/>
                </a:lnTo>
                <a:lnTo>
                  <a:pt x="32" y="3114"/>
                </a:lnTo>
                <a:lnTo>
                  <a:pt x="34" y="3122"/>
                </a:lnTo>
                <a:lnTo>
                  <a:pt x="34" y="3122"/>
                </a:lnTo>
                <a:lnTo>
                  <a:pt x="36" y="3131"/>
                </a:lnTo>
                <a:lnTo>
                  <a:pt x="36" y="3131"/>
                </a:lnTo>
                <a:lnTo>
                  <a:pt x="38" y="3140"/>
                </a:lnTo>
                <a:lnTo>
                  <a:pt x="38" y="3140"/>
                </a:lnTo>
                <a:lnTo>
                  <a:pt x="40" y="3148"/>
                </a:lnTo>
                <a:lnTo>
                  <a:pt x="40" y="3148"/>
                </a:lnTo>
                <a:lnTo>
                  <a:pt x="42" y="3157"/>
                </a:lnTo>
                <a:lnTo>
                  <a:pt x="42" y="3157"/>
                </a:lnTo>
                <a:lnTo>
                  <a:pt x="45" y="3165"/>
                </a:lnTo>
                <a:lnTo>
                  <a:pt x="45" y="3165"/>
                </a:lnTo>
                <a:lnTo>
                  <a:pt x="47" y="3174"/>
                </a:lnTo>
                <a:lnTo>
                  <a:pt x="47" y="3174"/>
                </a:lnTo>
                <a:lnTo>
                  <a:pt x="49" y="3182"/>
                </a:lnTo>
                <a:lnTo>
                  <a:pt x="49" y="3182"/>
                </a:lnTo>
                <a:lnTo>
                  <a:pt x="51" y="3191"/>
                </a:lnTo>
                <a:lnTo>
                  <a:pt x="51" y="3191"/>
                </a:lnTo>
                <a:lnTo>
                  <a:pt x="54" y="3199"/>
                </a:lnTo>
                <a:lnTo>
                  <a:pt x="54" y="3199"/>
                </a:lnTo>
                <a:lnTo>
                  <a:pt x="57" y="3208"/>
                </a:lnTo>
                <a:lnTo>
                  <a:pt x="57" y="3208"/>
                </a:lnTo>
                <a:lnTo>
                  <a:pt x="58" y="3216"/>
                </a:lnTo>
                <a:lnTo>
                  <a:pt x="58" y="3216"/>
                </a:lnTo>
                <a:lnTo>
                  <a:pt x="61" y="3224"/>
                </a:lnTo>
                <a:lnTo>
                  <a:pt x="61" y="3224"/>
                </a:lnTo>
                <a:lnTo>
                  <a:pt x="64" y="3234"/>
                </a:lnTo>
                <a:lnTo>
                  <a:pt x="64" y="3234"/>
                </a:lnTo>
                <a:lnTo>
                  <a:pt x="66" y="3242"/>
                </a:lnTo>
                <a:lnTo>
                  <a:pt x="66" y="3242"/>
                </a:lnTo>
                <a:lnTo>
                  <a:pt x="69" y="3250"/>
                </a:lnTo>
                <a:lnTo>
                  <a:pt x="69" y="3250"/>
                </a:lnTo>
                <a:lnTo>
                  <a:pt x="72" y="3258"/>
                </a:lnTo>
                <a:lnTo>
                  <a:pt x="72" y="3258"/>
                </a:lnTo>
                <a:lnTo>
                  <a:pt x="75" y="3266"/>
                </a:lnTo>
                <a:lnTo>
                  <a:pt x="75" y="3266"/>
                </a:lnTo>
                <a:lnTo>
                  <a:pt x="77" y="3274"/>
                </a:lnTo>
                <a:lnTo>
                  <a:pt x="77" y="3274"/>
                </a:lnTo>
                <a:lnTo>
                  <a:pt x="80" y="3283"/>
                </a:lnTo>
                <a:lnTo>
                  <a:pt x="80" y="3283"/>
                </a:lnTo>
                <a:lnTo>
                  <a:pt x="83" y="3291"/>
                </a:lnTo>
                <a:lnTo>
                  <a:pt x="83" y="3291"/>
                </a:lnTo>
                <a:lnTo>
                  <a:pt x="87" y="3299"/>
                </a:lnTo>
                <a:lnTo>
                  <a:pt x="87" y="3299"/>
                </a:lnTo>
                <a:lnTo>
                  <a:pt x="89" y="3307"/>
                </a:lnTo>
                <a:lnTo>
                  <a:pt x="89" y="3307"/>
                </a:lnTo>
                <a:lnTo>
                  <a:pt x="92" y="3315"/>
                </a:lnTo>
                <a:lnTo>
                  <a:pt x="92" y="3315"/>
                </a:lnTo>
                <a:lnTo>
                  <a:pt x="95" y="3323"/>
                </a:lnTo>
                <a:lnTo>
                  <a:pt x="95" y="3323"/>
                </a:lnTo>
                <a:lnTo>
                  <a:pt x="99" y="3332"/>
                </a:lnTo>
                <a:lnTo>
                  <a:pt x="99" y="3332"/>
                </a:lnTo>
                <a:lnTo>
                  <a:pt x="102" y="3340"/>
                </a:lnTo>
                <a:lnTo>
                  <a:pt x="102" y="3340"/>
                </a:lnTo>
                <a:lnTo>
                  <a:pt x="106" y="3348"/>
                </a:lnTo>
                <a:lnTo>
                  <a:pt x="106" y="3348"/>
                </a:lnTo>
                <a:lnTo>
                  <a:pt x="109" y="3356"/>
                </a:lnTo>
                <a:lnTo>
                  <a:pt x="109" y="3356"/>
                </a:lnTo>
                <a:lnTo>
                  <a:pt x="111" y="3364"/>
                </a:lnTo>
                <a:lnTo>
                  <a:pt x="111" y="3364"/>
                </a:lnTo>
                <a:lnTo>
                  <a:pt x="115" y="3372"/>
                </a:lnTo>
                <a:lnTo>
                  <a:pt x="115" y="3372"/>
                </a:lnTo>
                <a:lnTo>
                  <a:pt x="119" y="3381"/>
                </a:lnTo>
                <a:lnTo>
                  <a:pt x="119" y="3381"/>
                </a:lnTo>
                <a:lnTo>
                  <a:pt x="122" y="3389"/>
                </a:lnTo>
                <a:lnTo>
                  <a:pt x="122" y="3389"/>
                </a:lnTo>
                <a:lnTo>
                  <a:pt x="126" y="3397"/>
                </a:lnTo>
                <a:lnTo>
                  <a:pt x="126" y="3397"/>
                </a:lnTo>
                <a:lnTo>
                  <a:pt x="129" y="3404"/>
                </a:lnTo>
                <a:lnTo>
                  <a:pt x="129" y="3404"/>
                </a:lnTo>
                <a:lnTo>
                  <a:pt x="133" y="3412"/>
                </a:lnTo>
                <a:lnTo>
                  <a:pt x="133" y="3412"/>
                </a:lnTo>
                <a:lnTo>
                  <a:pt x="137" y="3420"/>
                </a:lnTo>
                <a:lnTo>
                  <a:pt x="137" y="3420"/>
                </a:lnTo>
                <a:lnTo>
                  <a:pt x="141" y="3428"/>
                </a:lnTo>
                <a:lnTo>
                  <a:pt x="141" y="3428"/>
                </a:lnTo>
                <a:lnTo>
                  <a:pt x="144" y="3435"/>
                </a:lnTo>
                <a:lnTo>
                  <a:pt x="144" y="3435"/>
                </a:lnTo>
                <a:lnTo>
                  <a:pt x="148" y="3443"/>
                </a:lnTo>
                <a:lnTo>
                  <a:pt x="148" y="3443"/>
                </a:lnTo>
                <a:lnTo>
                  <a:pt x="152" y="3451"/>
                </a:lnTo>
                <a:lnTo>
                  <a:pt x="152" y="3451"/>
                </a:lnTo>
                <a:lnTo>
                  <a:pt x="156" y="3458"/>
                </a:lnTo>
                <a:lnTo>
                  <a:pt x="156" y="3458"/>
                </a:lnTo>
                <a:lnTo>
                  <a:pt x="160" y="3466"/>
                </a:lnTo>
                <a:lnTo>
                  <a:pt x="160" y="3466"/>
                </a:lnTo>
                <a:lnTo>
                  <a:pt x="164" y="3475"/>
                </a:lnTo>
                <a:lnTo>
                  <a:pt x="164" y="3475"/>
                </a:lnTo>
                <a:lnTo>
                  <a:pt x="168" y="3481"/>
                </a:lnTo>
                <a:lnTo>
                  <a:pt x="168" y="3481"/>
                </a:lnTo>
                <a:lnTo>
                  <a:pt x="173" y="3489"/>
                </a:lnTo>
                <a:lnTo>
                  <a:pt x="173" y="3489"/>
                </a:lnTo>
                <a:lnTo>
                  <a:pt x="177" y="3498"/>
                </a:lnTo>
                <a:lnTo>
                  <a:pt x="177" y="3498"/>
                </a:lnTo>
                <a:lnTo>
                  <a:pt x="181" y="3504"/>
                </a:lnTo>
                <a:lnTo>
                  <a:pt x="181" y="3504"/>
                </a:lnTo>
                <a:lnTo>
                  <a:pt x="185" y="3513"/>
                </a:lnTo>
                <a:lnTo>
                  <a:pt x="185" y="3513"/>
                </a:lnTo>
                <a:lnTo>
                  <a:pt x="189" y="3519"/>
                </a:lnTo>
                <a:lnTo>
                  <a:pt x="189" y="3519"/>
                </a:lnTo>
                <a:lnTo>
                  <a:pt x="193" y="3528"/>
                </a:lnTo>
                <a:lnTo>
                  <a:pt x="193" y="3528"/>
                </a:lnTo>
                <a:lnTo>
                  <a:pt x="197" y="3534"/>
                </a:lnTo>
                <a:lnTo>
                  <a:pt x="197" y="3534"/>
                </a:lnTo>
                <a:lnTo>
                  <a:pt x="202" y="3543"/>
                </a:lnTo>
                <a:lnTo>
                  <a:pt x="202" y="3543"/>
                </a:lnTo>
                <a:lnTo>
                  <a:pt x="207" y="3549"/>
                </a:lnTo>
                <a:lnTo>
                  <a:pt x="207" y="3549"/>
                </a:lnTo>
                <a:lnTo>
                  <a:pt x="211" y="3556"/>
                </a:lnTo>
                <a:lnTo>
                  <a:pt x="211" y="3556"/>
                </a:lnTo>
                <a:lnTo>
                  <a:pt x="216" y="3564"/>
                </a:lnTo>
                <a:lnTo>
                  <a:pt x="216" y="3564"/>
                </a:lnTo>
                <a:lnTo>
                  <a:pt x="220" y="3571"/>
                </a:lnTo>
                <a:lnTo>
                  <a:pt x="220" y="3571"/>
                </a:lnTo>
                <a:lnTo>
                  <a:pt x="224" y="3578"/>
                </a:lnTo>
                <a:lnTo>
                  <a:pt x="224" y="3578"/>
                </a:lnTo>
                <a:lnTo>
                  <a:pt x="230" y="3586"/>
                </a:lnTo>
                <a:lnTo>
                  <a:pt x="230" y="3586"/>
                </a:lnTo>
                <a:lnTo>
                  <a:pt x="234" y="3593"/>
                </a:lnTo>
                <a:lnTo>
                  <a:pt x="234" y="3593"/>
                </a:lnTo>
                <a:lnTo>
                  <a:pt x="239" y="3600"/>
                </a:lnTo>
                <a:lnTo>
                  <a:pt x="239" y="3600"/>
                </a:lnTo>
                <a:lnTo>
                  <a:pt x="243" y="3608"/>
                </a:lnTo>
                <a:lnTo>
                  <a:pt x="243" y="3608"/>
                </a:lnTo>
                <a:lnTo>
                  <a:pt x="249" y="3615"/>
                </a:lnTo>
                <a:lnTo>
                  <a:pt x="249" y="3615"/>
                </a:lnTo>
                <a:lnTo>
                  <a:pt x="253" y="3622"/>
                </a:lnTo>
                <a:lnTo>
                  <a:pt x="253" y="3622"/>
                </a:lnTo>
                <a:lnTo>
                  <a:pt x="258" y="3628"/>
                </a:lnTo>
                <a:lnTo>
                  <a:pt x="258" y="3628"/>
                </a:lnTo>
                <a:lnTo>
                  <a:pt x="264" y="3635"/>
                </a:lnTo>
                <a:lnTo>
                  <a:pt x="264" y="3635"/>
                </a:lnTo>
                <a:lnTo>
                  <a:pt x="268" y="3642"/>
                </a:lnTo>
                <a:lnTo>
                  <a:pt x="268" y="3642"/>
                </a:lnTo>
                <a:lnTo>
                  <a:pt x="273" y="3650"/>
                </a:lnTo>
                <a:lnTo>
                  <a:pt x="273" y="3650"/>
                </a:lnTo>
                <a:lnTo>
                  <a:pt x="279" y="3657"/>
                </a:lnTo>
                <a:lnTo>
                  <a:pt x="279" y="3657"/>
                </a:lnTo>
                <a:lnTo>
                  <a:pt x="284" y="3664"/>
                </a:lnTo>
                <a:lnTo>
                  <a:pt x="284" y="3664"/>
                </a:lnTo>
                <a:lnTo>
                  <a:pt x="288" y="3671"/>
                </a:lnTo>
                <a:lnTo>
                  <a:pt x="288" y="3671"/>
                </a:lnTo>
                <a:lnTo>
                  <a:pt x="294" y="3677"/>
                </a:lnTo>
                <a:lnTo>
                  <a:pt x="294" y="3677"/>
                </a:lnTo>
                <a:lnTo>
                  <a:pt x="299" y="3684"/>
                </a:lnTo>
                <a:lnTo>
                  <a:pt x="299" y="3684"/>
                </a:lnTo>
                <a:lnTo>
                  <a:pt x="305" y="3691"/>
                </a:lnTo>
                <a:lnTo>
                  <a:pt x="305" y="3691"/>
                </a:lnTo>
                <a:lnTo>
                  <a:pt x="310" y="3698"/>
                </a:lnTo>
                <a:lnTo>
                  <a:pt x="310" y="3698"/>
                </a:lnTo>
                <a:lnTo>
                  <a:pt x="315" y="3705"/>
                </a:lnTo>
                <a:lnTo>
                  <a:pt x="315" y="3705"/>
                </a:lnTo>
                <a:lnTo>
                  <a:pt x="321" y="3711"/>
                </a:lnTo>
                <a:lnTo>
                  <a:pt x="321" y="3711"/>
                </a:lnTo>
                <a:lnTo>
                  <a:pt x="326" y="3717"/>
                </a:lnTo>
                <a:lnTo>
                  <a:pt x="326" y="3717"/>
                </a:lnTo>
                <a:lnTo>
                  <a:pt x="332" y="3724"/>
                </a:lnTo>
                <a:lnTo>
                  <a:pt x="332" y="3724"/>
                </a:lnTo>
                <a:lnTo>
                  <a:pt x="337" y="3730"/>
                </a:lnTo>
                <a:lnTo>
                  <a:pt x="337" y="3730"/>
                </a:lnTo>
                <a:lnTo>
                  <a:pt x="343" y="3737"/>
                </a:lnTo>
                <a:lnTo>
                  <a:pt x="343" y="3737"/>
                </a:lnTo>
                <a:lnTo>
                  <a:pt x="348" y="3744"/>
                </a:lnTo>
                <a:lnTo>
                  <a:pt x="348" y="3744"/>
                </a:lnTo>
                <a:lnTo>
                  <a:pt x="354" y="3750"/>
                </a:lnTo>
                <a:lnTo>
                  <a:pt x="354" y="3750"/>
                </a:lnTo>
                <a:lnTo>
                  <a:pt x="359" y="3756"/>
                </a:lnTo>
                <a:lnTo>
                  <a:pt x="359" y="3756"/>
                </a:lnTo>
                <a:lnTo>
                  <a:pt x="366" y="3763"/>
                </a:lnTo>
                <a:lnTo>
                  <a:pt x="366" y="3763"/>
                </a:lnTo>
                <a:lnTo>
                  <a:pt x="371" y="3770"/>
                </a:lnTo>
                <a:lnTo>
                  <a:pt x="371" y="3770"/>
                </a:lnTo>
                <a:lnTo>
                  <a:pt x="377" y="3775"/>
                </a:lnTo>
                <a:lnTo>
                  <a:pt x="377" y="3775"/>
                </a:lnTo>
                <a:lnTo>
                  <a:pt x="382" y="3782"/>
                </a:lnTo>
                <a:lnTo>
                  <a:pt x="382" y="3782"/>
                </a:lnTo>
                <a:lnTo>
                  <a:pt x="389" y="3788"/>
                </a:lnTo>
                <a:lnTo>
                  <a:pt x="389" y="3788"/>
                </a:lnTo>
                <a:lnTo>
                  <a:pt x="394" y="3794"/>
                </a:lnTo>
                <a:lnTo>
                  <a:pt x="394" y="3794"/>
                </a:lnTo>
                <a:lnTo>
                  <a:pt x="400" y="3801"/>
                </a:lnTo>
                <a:lnTo>
                  <a:pt x="400" y="3801"/>
                </a:lnTo>
                <a:lnTo>
                  <a:pt x="407" y="3807"/>
                </a:lnTo>
                <a:lnTo>
                  <a:pt x="407" y="3807"/>
                </a:lnTo>
                <a:lnTo>
                  <a:pt x="412" y="3814"/>
                </a:lnTo>
                <a:lnTo>
                  <a:pt x="412" y="3814"/>
                </a:lnTo>
                <a:lnTo>
                  <a:pt x="419" y="3819"/>
                </a:lnTo>
                <a:lnTo>
                  <a:pt x="419" y="3819"/>
                </a:lnTo>
                <a:lnTo>
                  <a:pt x="424" y="3824"/>
                </a:lnTo>
                <a:lnTo>
                  <a:pt x="424" y="3824"/>
                </a:lnTo>
                <a:lnTo>
                  <a:pt x="431" y="3831"/>
                </a:lnTo>
                <a:lnTo>
                  <a:pt x="431" y="3831"/>
                </a:lnTo>
                <a:lnTo>
                  <a:pt x="437" y="3837"/>
                </a:lnTo>
                <a:lnTo>
                  <a:pt x="437" y="3837"/>
                </a:lnTo>
                <a:lnTo>
                  <a:pt x="443" y="3843"/>
                </a:lnTo>
                <a:lnTo>
                  <a:pt x="443" y="3843"/>
                </a:lnTo>
                <a:lnTo>
                  <a:pt x="449" y="3849"/>
                </a:lnTo>
                <a:lnTo>
                  <a:pt x="449" y="3849"/>
                </a:lnTo>
                <a:lnTo>
                  <a:pt x="456" y="3854"/>
                </a:lnTo>
                <a:lnTo>
                  <a:pt x="456" y="3854"/>
                </a:lnTo>
                <a:lnTo>
                  <a:pt x="461" y="3861"/>
                </a:lnTo>
                <a:lnTo>
                  <a:pt x="461" y="3861"/>
                </a:lnTo>
                <a:lnTo>
                  <a:pt x="468" y="3867"/>
                </a:lnTo>
                <a:lnTo>
                  <a:pt x="468" y="3867"/>
                </a:lnTo>
                <a:lnTo>
                  <a:pt x="475" y="3872"/>
                </a:lnTo>
                <a:lnTo>
                  <a:pt x="475" y="3872"/>
                </a:lnTo>
                <a:lnTo>
                  <a:pt x="480" y="3878"/>
                </a:lnTo>
                <a:lnTo>
                  <a:pt x="480" y="3878"/>
                </a:lnTo>
                <a:lnTo>
                  <a:pt x="487" y="3883"/>
                </a:lnTo>
                <a:lnTo>
                  <a:pt x="487" y="3883"/>
                </a:lnTo>
                <a:lnTo>
                  <a:pt x="494" y="3890"/>
                </a:lnTo>
                <a:lnTo>
                  <a:pt x="494" y="3890"/>
                </a:lnTo>
                <a:lnTo>
                  <a:pt x="501" y="3895"/>
                </a:lnTo>
                <a:lnTo>
                  <a:pt x="501" y="3895"/>
                </a:lnTo>
                <a:lnTo>
                  <a:pt x="506" y="3901"/>
                </a:lnTo>
                <a:lnTo>
                  <a:pt x="506" y="3901"/>
                </a:lnTo>
                <a:lnTo>
                  <a:pt x="513" y="3906"/>
                </a:lnTo>
                <a:lnTo>
                  <a:pt x="513" y="3906"/>
                </a:lnTo>
                <a:lnTo>
                  <a:pt x="520" y="3912"/>
                </a:lnTo>
                <a:lnTo>
                  <a:pt x="520" y="3912"/>
                </a:lnTo>
                <a:lnTo>
                  <a:pt x="526" y="3917"/>
                </a:lnTo>
                <a:lnTo>
                  <a:pt x="526" y="3917"/>
                </a:lnTo>
                <a:lnTo>
                  <a:pt x="533" y="3922"/>
                </a:lnTo>
                <a:lnTo>
                  <a:pt x="533" y="3922"/>
                </a:lnTo>
                <a:lnTo>
                  <a:pt x="540" y="3928"/>
                </a:lnTo>
                <a:lnTo>
                  <a:pt x="540" y="3928"/>
                </a:lnTo>
                <a:lnTo>
                  <a:pt x="547" y="3933"/>
                </a:lnTo>
                <a:lnTo>
                  <a:pt x="547" y="3933"/>
                </a:lnTo>
                <a:lnTo>
                  <a:pt x="554" y="3939"/>
                </a:lnTo>
                <a:lnTo>
                  <a:pt x="554" y="3939"/>
                </a:lnTo>
                <a:lnTo>
                  <a:pt x="560" y="3943"/>
                </a:lnTo>
                <a:lnTo>
                  <a:pt x="560" y="3943"/>
                </a:lnTo>
                <a:lnTo>
                  <a:pt x="567" y="3948"/>
                </a:lnTo>
                <a:lnTo>
                  <a:pt x="567" y="3948"/>
                </a:lnTo>
                <a:lnTo>
                  <a:pt x="574" y="3954"/>
                </a:lnTo>
                <a:lnTo>
                  <a:pt x="574" y="3954"/>
                </a:lnTo>
                <a:lnTo>
                  <a:pt x="581" y="3959"/>
                </a:lnTo>
                <a:lnTo>
                  <a:pt x="581" y="3959"/>
                </a:lnTo>
                <a:lnTo>
                  <a:pt x="588" y="3963"/>
                </a:lnTo>
                <a:lnTo>
                  <a:pt x="588" y="3963"/>
                </a:lnTo>
                <a:lnTo>
                  <a:pt x="595" y="3969"/>
                </a:lnTo>
                <a:lnTo>
                  <a:pt x="595" y="3969"/>
                </a:lnTo>
                <a:lnTo>
                  <a:pt x="601" y="3974"/>
                </a:lnTo>
                <a:lnTo>
                  <a:pt x="601" y="3974"/>
                </a:lnTo>
                <a:lnTo>
                  <a:pt x="608" y="3980"/>
                </a:lnTo>
                <a:lnTo>
                  <a:pt x="608" y="3980"/>
                </a:lnTo>
                <a:lnTo>
                  <a:pt x="616" y="3984"/>
                </a:lnTo>
                <a:lnTo>
                  <a:pt x="616" y="3984"/>
                </a:lnTo>
                <a:lnTo>
                  <a:pt x="623" y="3989"/>
                </a:lnTo>
                <a:lnTo>
                  <a:pt x="623" y="3989"/>
                </a:lnTo>
                <a:lnTo>
                  <a:pt x="630" y="3993"/>
                </a:lnTo>
                <a:lnTo>
                  <a:pt x="630" y="3993"/>
                </a:lnTo>
                <a:lnTo>
                  <a:pt x="637" y="3999"/>
                </a:lnTo>
                <a:lnTo>
                  <a:pt x="637" y="3999"/>
                </a:lnTo>
                <a:lnTo>
                  <a:pt x="645" y="4003"/>
                </a:lnTo>
                <a:lnTo>
                  <a:pt x="645" y="4003"/>
                </a:lnTo>
                <a:lnTo>
                  <a:pt x="652" y="4008"/>
                </a:lnTo>
                <a:lnTo>
                  <a:pt x="652" y="4008"/>
                </a:lnTo>
                <a:lnTo>
                  <a:pt x="659" y="4012"/>
                </a:lnTo>
                <a:lnTo>
                  <a:pt x="659" y="4012"/>
                </a:lnTo>
                <a:lnTo>
                  <a:pt x="665" y="4018"/>
                </a:lnTo>
                <a:lnTo>
                  <a:pt x="665" y="4018"/>
                </a:lnTo>
                <a:lnTo>
                  <a:pt x="673" y="4022"/>
                </a:lnTo>
                <a:lnTo>
                  <a:pt x="673" y="4022"/>
                </a:lnTo>
                <a:lnTo>
                  <a:pt x="680" y="4026"/>
                </a:lnTo>
                <a:lnTo>
                  <a:pt x="680" y="4026"/>
                </a:lnTo>
                <a:lnTo>
                  <a:pt x="688" y="4031"/>
                </a:lnTo>
                <a:lnTo>
                  <a:pt x="688" y="4031"/>
                </a:lnTo>
                <a:lnTo>
                  <a:pt x="695" y="4035"/>
                </a:lnTo>
                <a:lnTo>
                  <a:pt x="695" y="4035"/>
                </a:lnTo>
                <a:lnTo>
                  <a:pt x="703" y="4040"/>
                </a:lnTo>
                <a:lnTo>
                  <a:pt x="703" y="4040"/>
                </a:lnTo>
                <a:lnTo>
                  <a:pt x="710" y="4044"/>
                </a:lnTo>
                <a:lnTo>
                  <a:pt x="710" y="4044"/>
                </a:lnTo>
                <a:lnTo>
                  <a:pt x="717" y="4049"/>
                </a:lnTo>
                <a:lnTo>
                  <a:pt x="717" y="4049"/>
                </a:lnTo>
                <a:lnTo>
                  <a:pt x="725" y="4053"/>
                </a:lnTo>
                <a:lnTo>
                  <a:pt x="725" y="4053"/>
                </a:lnTo>
                <a:lnTo>
                  <a:pt x="732" y="4057"/>
                </a:lnTo>
                <a:lnTo>
                  <a:pt x="732" y="4057"/>
                </a:lnTo>
                <a:lnTo>
                  <a:pt x="740" y="4061"/>
                </a:lnTo>
                <a:lnTo>
                  <a:pt x="740" y="4061"/>
                </a:lnTo>
                <a:lnTo>
                  <a:pt x="748" y="4065"/>
                </a:lnTo>
                <a:lnTo>
                  <a:pt x="748" y="4065"/>
                </a:lnTo>
                <a:lnTo>
                  <a:pt x="755" y="4069"/>
                </a:lnTo>
                <a:lnTo>
                  <a:pt x="755" y="4069"/>
                </a:lnTo>
                <a:lnTo>
                  <a:pt x="763" y="4074"/>
                </a:lnTo>
                <a:lnTo>
                  <a:pt x="763" y="4074"/>
                </a:lnTo>
                <a:lnTo>
                  <a:pt x="770" y="4078"/>
                </a:lnTo>
                <a:lnTo>
                  <a:pt x="770" y="4078"/>
                </a:lnTo>
                <a:lnTo>
                  <a:pt x="778" y="4082"/>
                </a:lnTo>
                <a:lnTo>
                  <a:pt x="778" y="4082"/>
                </a:lnTo>
                <a:lnTo>
                  <a:pt x="786" y="4086"/>
                </a:lnTo>
                <a:lnTo>
                  <a:pt x="786" y="4086"/>
                </a:lnTo>
                <a:lnTo>
                  <a:pt x="793" y="4089"/>
                </a:lnTo>
                <a:lnTo>
                  <a:pt x="793" y="4089"/>
                </a:lnTo>
                <a:lnTo>
                  <a:pt x="801" y="4093"/>
                </a:lnTo>
                <a:lnTo>
                  <a:pt x="801" y="4093"/>
                </a:lnTo>
                <a:lnTo>
                  <a:pt x="810" y="4097"/>
                </a:lnTo>
                <a:lnTo>
                  <a:pt x="810" y="4097"/>
                </a:lnTo>
                <a:lnTo>
                  <a:pt x="818" y="4101"/>
                </a:lnTo>
                <a:lnTo>
                  <a:pt x="818" y="4101"/>
                </a:lnTo>
                <a:lnTo>
                  <a:pt x="825" y="4105"/>
                </a:lnTo>
                <a:lnTo>
                  <a:pt x="825" y="4105"/>
                </a:lnTo>
                <a:lnTo>
                  <a:pt x="833" y="4108"/>
                </a:lnTo>
                <a:lnTo>
                  <a:pt x="833" y="4108"/>
                </a:lnTo>
                <a:lnTo>
                  <a:pt x="841" y="4112"/>
                </a:lnTo>
                <a:lnTo>
                  <a:pt x="841" y="4112"/>
                </a:lnTo>
                <a:lnTo>
                  <a:pt x="849" y="4114"/>
                </a:lnTo>
                <a:lnTo>
                  <a:pt x="849" y="4114"/>
                </a:lnTo>
                <a:lnTo>
                  <a:pt x="857" y="4118"/>
                </a:lnTo>
                <a:lnTo>
                  <a:pt x="857" y="4118"/>
                </a:lnTo>
                <a:lnTo>
                  <a:pt x="865" y="4123"/>
                </a:lnTo>
                <a:lnTo>
                  <a:pt x="865" y="4123"/>
                </a:lnTo>
                <a:lnTo>
                  <a:pt x="872" y="4125"/>
                </a:lnTo>
                <a:lnTo>
                  <a:pt x="872" y="4125"/>
                </a:lnTo>
                <a:lnTo>
                  <a:pt x="880" y="4129"/>
                </a:lnTo>
                <a:lnTo>
                  <a:pt x="880" y="4129"/>
                </a:lnTo>
                <a:lnTo>
                  <a:pt x="889" y="4132"/>
                </a:lnTo>
                <a:lnTo>
                  <a:pt x="889" y="4132"/>
                </a:lnTo>
                <a:lnTo>
                  <a:pt x="897" y="4135"/>
                </a:lnTo>
                <a:lnTo>
                  <a:pt x="897" y="4135"/>
                </a:lnTo>
                <a:lnTo>
                  <a:pt x="905" y="4139"/>
                </a:lnTo>
                <a:lnTo>
                  <a:pt x="905" y="4139"/>
                </a:lnTo>
                <a:lnTo>
                  <a:pt x="913" y="4142"/>
                </a:lnTo>
                <a:lnTo>
                  <a:pt x="913" y="4142"/>
                </a:lnTo>
                <a:lnTo>
                  <a:pt x="921" y="4144"/>
                </a:lnTo>
                <a:lnTo>
                  <a:pt x="921" y="4144"/>
                </a:lnTo>
                <a:lnTo>
                  <a:pt x="929" y="4148"/>
                </a:lnTo>
                <a:lnTo>
                  <a:pt x="929" y="4148"/>
                </a:lnTo>
                <a:lnTo>
                  <a:pt x="938" y="4151"/>
                </a:lnTo>
                <a:lnTo>
                  <a:pt x="938" y="4151"/>
                </a:lnTo>
                <a:lnTo>
                  <a:pt x="946" y="4154"/>
                </a:lnTo>
                <a:lnTo>
                  <a:pt x="946" y="4154"/>
                </a:lnTo>
                <a:lnTo>
                  <a:pt x="954" y="4157"/>
                </a:lnTo>
                <a:lnTo>
                  <a:pt x="954" y="4157"/>
                </a:lnTo>
                <a:lnTo>
                  <a:pt x="962" y="4159"/>
                </a:lnTo>
                <a:lnTo>
                  <a:pt x="962" y="4159"/>
                </a:lnTo>
                <a:lnTo>
                  <a:pt x="970" y="4162"/>
                </a:lnTo>
                <a:lnTo>
                  <a:pt x="970" y="4162"/>
                </a:lnTo>
                <a:lnTo>
                  <a:pt x="978" y="4166"/>
                </a:lnTo>
                <a:lnTo>
                  <a:pt x="978" y="4166"/>
                </a:lnTo>
                <a:lnTo>
                  <a:pt x="988" y="4169"/>
                </a:lnTo>
                <a:lnTo>
                  <a:pt x="988" y="4169"/>
                </a:lnTo>
                <a:lnTo>
                  <a:pt x="996" y="4172"/>
                </a:lnTo>
                <a:lnTo>
                  <a:pt x="996" y="4172"/>
                </a:lnTo>
                <a:lnTo>
                  <a:pt x="1004" y="4173"/>
                </a:lnTo>
                <a:lnTo>
                  <a:pt x="1004" y="4173"/>
                </a:lnTo>
                <a:lnTo>
                  <a:pt x="1012" y="4176"/>
                </a:lnTo>
                <a:lnTo>
                  <a:pt x="1012" y="4176"/>
                </a:lnTo>
                <a:lnTo>
                  <a:pt x="1021" y="4178"/>
                </a:lnTo>
                <a:lnTo>
                  <a:pt x="1021" y="4178"/>
                </a:lnTo>
                <a:lnTo>
                  <a:pt x="1029" y="4181"/>
                </a:lnTo>
                <a:lnTo>
                  <a:pt x="1029" y="4181"/>
                </a:lnTo>
                <a:lnTo>
                  <a:pt x="1038" y="4184"/>
                </a:lnTo>
                <a:lnTo>
                  <a:pt x="1038" y="4184"/>
                </a:lnTo>
                <a:lnTo>
                  <a:pt x="1046" y="4187"/>
                </a:lnTo>
                <a:lnTo>
                  <a:pt x="1046" y="4187"/>
                </a:lnTo>
                <a:lnTo>
                  <a:pt x="1055" y="4188"/>
                </a:lnTo>
                <a:lnTo>
                  <a:pt x="1055" y="4188"/>
                </a:lnTo>
                <a:lnTo>
                  <a:pt x="1063" y="4191"/>
                </a:lnTo>
                <a:lnTo>
                  <a:pt x="1063" y="4191"/>
                </a:lnTo>
                <a:lnTo>
                  <a:pt x="1072" y="4193"/>
                </a:lnTo>
                <a:lnTo>
                  <a:pt x="1072" y="4193"/>
                </a:lnTo>
                <a:lnTo>
                  <a:pt x="1081" y="4195"/>
                </a:lnTo>
                <a:lnTo>
                  <a:pt x="1081" y="4195"/>
                </a:lnTo>
                <a:lnTo>
                  <a:pt x="1089" y="4197"/>
                </a:lnTo>
                <a:lnTo>
                  <a:pt x="1089" y="4197"/>
                </a:lnTo>
                <a:lnTo>
                  <a:pt x="1098" y="4199"/>
                </a:lnTo>
                <a:lnTo>
                  <a:pt x="1098" y="4199"/>
                </a:lnTo>
                <a:lnTo>
                  <a:pt x="1106" y="4202"/>
                </a:lnTo>
                <a:lnTo>
                  <a:pt x="1106" y="4202"/>
                </a:lnTo>
                <a:lnTo>
                  <a:pt x="1115" y="4203"/>
                </a:lnTo>
                <a:lnTo>
                  <a:pt x="1115" y="4203"/>
                </a:lnTo>
                <a:lnTo>
                  <a:pt x="1124" y="4206"/>
                </a:lnTo>
                <a:lnTo>
                  <a:pt x="1124" y="4206"/>
                </a:lnTo>
                <a:lnTo>
                  <a:pt x="1132" y="4207"/>
                </a:lnTo>
                <a:lnTo>
                  <a:pt x="1132" y="4207"/>
                </a:lnTo>
                <a:lnTo>
                  <a:pt x="1142" y="4208"/>
                </a:lnTo>
                <a:lnTo>
                  <a:pt x="1142" y="4208"/>
                </a:lnTo>
                <a:lnTo>
                  <a:pt x="1150" y="4211"/>
                </a:lnTo>
                <a:lnTo>
                  <a:pt x="1150" y="4211"/>
                </a:lnTo>
                <a:lnTo>
                  <a:pt x="1158" y="4212"/>
                </a:lnTo>
                <a:lnTo>
                  <a:pt x="1158" y="4212"/>
                </a:lnTo>
                <a:lnTo>
                  <a:pt x="1168" y="4214"/>
                </a:lnTo>
                <a:lnTo>
                  <a:pt x="1168" y="4214"/>
                </a:lnTo>
                <a:lnTo>
                  <a:pt x="1176" y="4215"/>
                </a:lnTo>
                <a:lnTo>
                  <a:pt x="1176" y="4215"/>
                </a:lnTo>
                <a:lnTo>
                  <a:pt x="1185" y="4217"/>
                </a:lnTo>
                <a:lnTo>
                  <a:pt x="1185" y="4217"/>
                </a:lnTo>
                <a:lnTo>
                  <a:pt x="1193" y="4218"/>
                </a:lnTo>
                <a:lnTo>
                  <a:pt x="1193" y="4218"/>
                </a:lnTo>
                <a:lnTo>
                  <a:pt x="1203" y="4221"/>
                </a:lnTo>
                <a:lnTo>
                  <a:pt x="1203" y="4221"/>
                </a:lnTo>
                <a:lnTo>
                  <a:pt x="1211" y="4222"/>
                </a:lnTo>
                <a:lnTo>
                  <a:pt x="1211" y="4222"/>
                </a:lnTo>
                <a:lnTo>
                  <a:pt x="1221" y="4223"/>
                </a:lnTo>
                <a:lnTo>
                  <a:pt x="1221" y="4223"/>
                </a:lnTo>
                <a:lnTo>
                  <a:pt x="1229" y="4223"/>
                </a:lnTo>
                <a:lnTo>
                  <a:pt x="1229" y="4223"/>
                </a:lnTo>
                <a:lnTo>
                  <a:pt x="1238" y="4225"/>
                </a:lnTo>
                <a:lnTo>
                  <a:pt x="1238" y="4225"/>
                </a:lnTo>
                <a:lnTo>
                  <a:pt x="1247" y="4226"/>
                </a:lnTo>
                <a:lnTo>
                  <a:pt x="1247" y="4226"/>
                </a:lnTo>
                <a:lnTo>
                  <a:pt x="1256" y="4227"/>
                </a:lnTo>
                <a:lnTo>
                  <a:pt x="1256" y="4227"/>
                </a:lnTo>
                <a:lnTo>
                  <a:pt x="1266" y="4229"/>
                </a:lnTo>
                <a:lnTo>
                  <a:pt x="1266" y="4229"/>
                </a:lnTo>
                <a:lnTo>
                  <a:pt x="1274" y="4230"/>
                </a:lnTo>
                <a:lnTo>
                  <a:pt x="1274" y="4230"/>
                </a:lnTo>
                <a:lnTo>
                  <a:pt x="1283" y="4230"/>
                </a:lnTo>
                <a:lnTo>
                  <a:pt x="1283" y="4230"/>
                </a:lnTo>
                <a:lnTo>
                  <a:pt x="1292" y="4232"/>
                </a:lnTo>
                <a:lnTo>
                  <a:pt x="1292" y="4232"/>
                </a:lnTo>
                <a:lnTo>
                  <a:pt x="1301" y="4233"/>
                </a:lnTo>
                <a:lnTo>
                  <a:pt x="1301" y="4233"/>
                </a:lnTo>
                <a:lnTo>
                  <a:pt x="1311" y="4233"/>
                </a:lnTo>
                <a:lnTo>
                  <a:pt x="1311" y="4233"/>
                </a:lnTo>
                <a:lnTo>
                  <a:pt x="1319" y="4234"/>
                </a:lnTo>
                <a:lnTo>
                  <a:pt x="1319" y="4234"/>
                </a:lnTo>
                <a:lnTo>
                  <a:pt x="1328" y="4234"/>
                </a:lnTo>
                <a:lnTo>
                  <a:pt x="1328" y="4234"/>
                </a:lnTo>
                <a:lnTo>
                  <a:pt x="1338" y="4236"/>
                </a:lnTo>
                <a:lnTo>
                  <a:pt x="1338" y="4236"/>
                </a:lnTo>
                <a:lnTo>
                  <a:pt x="1346" y="4236"/>
                </a:lnTo>
                <a:lnTo>
                  <a:pt x="1346" y="4236"/>
                </a:lnTo>
                <a:lnTo>
                  <a:pt x="1355" y="4236"/>
                </a:lnTo>
                <a:lnTo>
                  <a:pt x="1355" y="4236"/>
                </a:lnTo>
                <a:lnTo>
                  <a:pt x="1365" y="4237"/>
                </a:lnTo>
                <a:lnTo>
                  <a:pt x="1365" y="4237"/>
                </a:lnTo>
                <a:lnTo>
                  <a:pt x="1375" y="4237"/>
                </a:lnTo>
                <a:lnTo>
                  <a:pt x="1375" y="4237"/>
                </a:lnTo>
                <a:lnTo>
                  <a:pt x="1383" y="4237"/>
                </a:lnTo>
                <a:lnTo>
                  <a:pt x="1383" y="4237"/>
                </a:lnTo>
                <a:lnTo>
                  <a:pt x="1392" y="4237"/>
                </a:lnTo>
                <a:lnTo>
                  <a:pt x="1392" y="4237"/>
                </a:lnTo>
                <a:lnTo>
                  <a:pt x="1402" y="4237"/>
                </a:lnTo>
                <a:lnTo>
                  <a:pt x="1402" y="4237"/>
                </a:lnTo>
                <a:lnTo>
                  <a:pt x="1411" y="4238"/>
                </a:lnTo>
                <a:lnTo>
                  <a:pt x="1411" y="4238"/>
                </a:lnTo>
                <a:lnTo>
                  <a:pt x="1419" y="4238"/>
                </a:lnTo>
                <a:lnTo>
                  <a:pt x="1419" y="4238"/>
                </a:lnTo>
                <a:lnTo>
                  <a:pt x="1429" y="4238"/>
                </a:lnTo>
                <a:lnTo>
                  <a:pt x="1429" y="4238"/>
                </a:lnTo>
                <a:close/>
              </a:path>
            </a:pathLst>
          </a:custGeom>
          <a:solidFill>
            <a:srgbClr val="87878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a:lnSpc>
                <a:spcPct val="90000"/>
              </a:lnSpc>
            </a:pPr>
            <a:endParaRPr lang="en-GB" sz="2400" noProof="0"/>
          </a:p>
        </p:txBody>
      </p:sp>
      <p:sp>
        <p:nvSpPr>
          <p:cNvPr id="146" name="Rectangle 145"/>
          <p:cNvSpPr/>
          <p:nvPr userDrawn="1"/>
        </p:nvSpPr>
        <p:spPr>
          <a:xfrm>
            <a:off x="4022363" y="5107517"/>
            <a:ext cx="989883" cy="643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nSpc>
                <a:spcPct val="90000"/>
              </a:lnSpc>
            </a:pPr>
            <a:r>
              <a:rPr lang="en-GB" sz="933" b="1" noProof="0">
                <a:solidFill>
                  <a:schemeClr val="tx1"/>
                </a:solidFill>
              </a:rPr>
              <a:t>MATERNAL</a:t>
            </a:r>
          </a:p>
          <a:p>
            <a:pPr>
              <a:lnSpc>
                <a:spcPct val="90000"/>
              </a:lnSpc>
            </a:pPr>
            <a:r>
              <a:rPr lang="en-GB" sz="933" b="1" noProof="0">
                <a:solidFill>
                  <a:schemeClr val="tx1"/>
                </a:solidFill>
              </a:rPr>
              <a:t>FLU</a:t>
            </a:r>
          </a:p>
          <a:p>
            <a:pPr>
              <a:lnSpc>
                <a:spcPct val="90000"/>
              </a:lnSpc>
            </a:pPr>
            <a:r>
              <a:rPr lang="en-GB" sz="933" noProof="0">
                <a:solidFill>
                  <a:schemeClr val="tx1"/>
                </a:solidFill>
              </a:rPr>
              <a:t>R: 135</a:t>
            </a:r>
          </a:p>
          <a:p>
            <a:pPr>
              <a:lnSpc>
                <a:spcPct val="90000"/>
              </a:lnSpc>
            </a:pPr>
            <a:r>
              <a:rPr lang="en-GB" sz="933" noProof="0">
                <a:solidFill>
                  <a:schemeClr val="tx1"/>
                </a:solidFill>
              </a:rPr>
              <a:t>G: 135</a:t>
            </a:r>
          </a:p>
          <a:p>
            <a:pPr>
              <a:lnSpc>
                <a:spcPct val="90000"/>
              </a:lnSpc>
            </a:pPr>
            <a:r>
              <a:rPr lang="en-GB" sz="933" noProof="0">
                <a:solidFill>
                  <a:schemeClr val="tx1"/>
                </a:solidFill>
              </a:rPr>
              <a:t>B: 135</a:t>
            </a:r>
          </a:p>
        </p:txBody>
      </p:sp>
    </p:spTree>
    <p:extLst>
      <p:ext uri="{BB962C8B-B14F-4D97-AF65-F5344CB8AC3E}">
        <p14:creationId xmlns:p14="http://schemas.microsoft.com/office/powerpoint/2010/main" val="2769664078"/>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Cover_Blue">
    <p:spTree>
      <p:nvGrpSpPr>
        <p:cNvPr id="1" name=""/>
        <p:cNvGrpSpPr/>
        <p:nvPr/>
      </p:nvGrpSpPr>
      <p:grpSpPr>
        <a:xfrm>
          <a:off x="0" y="0"/>
          <a:ext cx="0" cy="0"/>
          <a:chOff x="0" y="0"/>
          <a:chExt cx="0" cy="0"/>
        </a:xfrm>
      </p:grpSpPr>
      <p:pic>
        <p:nvPicPr>
          <p:cNvPr id="17" name="Imag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5161280"/>
          </a:xfrm>
          <a:prstGeom prst="rect">
            <a:avLst/>
          </a:prstGeom>
        </p:spPr>
      </p:pic>
      <p:pic>
        <p:nvPicPr>
          <p:cNvPr id="13" name="Image 12" descr="Bas_couv.png"/>
          <p:cNvPicPr>
            <a:picLocks noChangeAspect="1"/>
          </p:cNvPicPr>
          <p:nvPr userDrawn="1"/>
        </p:nvPicPr>
        <p:blipFill>
          <a:blip r:embed="rId3" cstate="print"/>
          <a:srcRect r="60243" b="722"/>
          <a:stretch>
            <a:fillRect/>
          </a:stretch>
        </p:blipFill>
        <p:spPr bwMode="gray">
          <a:xfrm>
            <a:off x="251520" y="5213040"/>
            <a:ext cx="3416493" cy="1584000"/>
          </a:xfrm>
          <a:prstGeom prst="rect">
            <a:avLst/>
          </a:prstGeom>
        </p:spPr>
      </p:pic>
      <p:sp>
        <p:nvSpPr>
          <p:cNvPr id="22" name="Rectangle 21"/>
          <p:cNvSpPr/>
          <p:nvPr userDrawn="1"/>
        </p:nvSpPr>
        <p:spPr bwMode="gray">
          <a:xfrm>
            <a:off x="4847169" y="5265205"/>
            <a:ext cx="7344833" cy="15927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sp>
        <p:nvSpPr>
          <p:cNvPr id="9" name="Espace réservé du texte 8"/>
          <p:cNvSpPr>
            <a:spLocks noGrp="1"/>
          </p:cNvSpPr>
          <p:nvPr>
            <p:ph type="body" sz="quarter" idx="13" hasCustomPrompt="1"/>
          </p:nvPr>
        </p:nvSpPr>
        <p:spPr bwMode="gray">
          <a:xfrm>
            <a:off x="672000" y="974400"/>
            <a:ext cx="6384000" cy="2232000"/>
          </a:xfrm>
        </p:spPr>
        <p:txBody>
          <a:bodyPr anchor="b" anchorCtr="0"/>
          <a:lstStyle>
            <a:lvl1pPr marL="0" indent="0" algn="l">
              <a:lnSpc>
                <a:spcPct val="90000"/>
              </a:lnSpc>
              <a:buNone/>
              <a:defRPr sz="3733" b="1" cap="none" baseline="0">
                <a:solidFill>
                  <a:schemeClr val="bg1"/>
                </a:solidFill>
              </a:defRPr>
            </a:lvl1pPr>
            <a:lvl2pPr marL="0" algn="ctr">
              <a:lnSpc>
                <a:spcPct val="100000"/>
              </a:lnSpc>
              <a:spcBef>
                <a:spcPts val="9200"/>
              </a:spcBef>
              <a:defRPr sz="2667" b="1">
                <a:solidFill>
                  <a:schemeClr val="bg1"/>
                </a:solidFill>
              </a:defRPr>
            </a:lvl2pPr>
          </a:lstStyle>
          <a:p>
            <a:pPr lvl="0"/>
            <a:r>
              <a:rPr lang="en-GB" noProof="0"/>
              <a:t>TITLE</a:t>
            </a:r>
          </a:p>
        </p:txBody>
      </p:sp>
      <p:sp>
        <p:nvSpPr>
          <p:cNvPr id="8" name="Espace réservé du texte 8"/>
          <p:cNvSpPr>
            <a:spLocks noGrp="1"/>
          </p:cNvSpPr>
          <p:nvPr>
            <p:ph type="body" sz="quarter" idx="14" hasCustomPrompt="1"/>
          </p:nvPr>
        </p:nvSpPr>
        <p:spPr bwMode="gray">
          <a:xfrm>
            <a:off x="672000" y="3585600"/>
            <a:ext cx="6384000" cy="1478400"/>
          </a:xfrm>
        </p:spPr>
        <p:txBody>
          <a:bodyPr anchor="t" anchorCtr="0"/>
          <a:lstStyle>
            <a:lvl1pPr marL="0" indent="0" algn="l">
              <a:lnSpc>
                <a:spcPct val="90000"/>
              </a:lnSpc>
              <a:buNone/>
              <a:defRPr sz="2667" b="0" baseline="0">
                <a:solidFill>
                  <a:schemeClr val="bg1"/>
                </a:solidFill>
              </a:defRPr>
            </a:lvl1pPr>
            <a:lvl2pPr marL="0" algn="ctr">
              <a:lnSpc>
                <a:spcPct val="100000"/>
              </a:lnSpc>
              <a:spcBef>
                <a:spcPts val="9200"/>
              </a:spcBef>
              <a:defRPr sz="2667" b="1">
                <a:solidFill>
                  <a:schemeClr val="bg1"/>
                </a:solidFill>
              </a:defRPr>
            </a:lvl2pPr>
          </a:lstStyle>
          <a:p>
            <a:pPr lvl="0"/>
            <a:r>
              <a:rPr lang="en-GB" noProof="0"/>
              <a:t>SUBTITLE</a:t>
            </a:r>
          </a:p>
        </p:txBody>
      </p:sp>
      <p:sp>
        <p:nvSpPr>
          <p:cNvPr id="11" name="Espace réservé du numéro de diapositive 10"/>
          <p:cNvSpPr>
            <a:spLocks noGrp="1"/>
          </p:cNvSpPr>
          <p:nvPr>
            <p:ph type="sldNum" sz="quarter" idx="16"/>
          </p:nvPr>
        </p:nvSpPr>
        <p:spPr bwMode="gray"/>
        <p:txBody>
          <a:bodyPr/>
          <a:lstStyle>
            <a:lvl1pPr>
              <a:defRPr sz="133">
                <a:solidFill>
                  <a:schemeClr val="bg1">
                    <a:alpha val="0"/>
                  </a:schemeClr>
                </a:solidFill>
              </a:defRPr>
            </a:lvl1pPr>
          </a:lstStyle>
          <a:p>
            <a:pPr algn="l"/>
            <a:r>
              <a:rPr lang="en-GB" noProof="0"/>
              <a:t>Page: </a:t>
            </a:r>
            <a:fld id="{733122C9-A0B9-462F-8757-0847AD287B63}" type="slidenum">
              <a:rPr lang="en-GB" noProof="0" smtClean="0"/>
              <a:pPr algn="l"/>
              <a:t>‹#›</a:t>
            </a:fld>
            <a:endParaRPr lang="en-GB" noProof="0"/>
          </a:p>
        </p:txBody>
      </p:sp>
      <p:sp>
        <p:nvSpPr>
          <p:cNvPr id="15" name="Espace réservé du texte 14"/>
          <p:cNvSpPr>
            <a:spLocks noGrp="1"/>
          </p:cNvSpPr>
          <p:nvPr>
            <p:ph type="body" sz="quarter" idx="19" hasCustomPrompt="1"/>
          </p:nvPr>
        </p:nvSpPr>
        <p:spPr bwMode="gray">
          <a:xfrm>
            <a:off x="5592000" y="5899200"/>
            <a:ext cx="5884800" cy="326400"/>
          </a:xfrm>
        </p:spPr>
        <p:txBody>
          <a:bodyPr anchor="b" anchorCtr="0"/>
          <a:lstStyle>
            <a:lvl1pPr algn="r">
              <a:lnSpc>
                <a:spcPct val="100000"/>
              </a:lnSpc>
              <a:defRPr sz="1200" b="1">
                <a:solidFill>
                  <a:schemeClr val="accent2"/>
                </a:solidFill>
              </a:defRPr>
            </a:lvl1pPr>
          </a:lstStyle>
          <a:p>
            <a:r>
              <a:rPr lang="fr-FR" err="1"/>
              <a:t>Reach</a:t>
            </a:r>
            <a:r>
              <a:rPr lang="fr-FR"/>
              <a:t> </a:t>
            </a:r>
            <a:r>
              <a:rPr lang="fr-FR" err="1"/>
              <a:t>every</a:t>
            </a:r>
            <a:r>
              <a:rPr lang="fr-FR"/>
              <a:t> </a:t>
            </a:r>
            <a:r>
              <a:rPr lang="fr-FR" err="1"/>
              <a:t>child</a:t>
            </a:r>
            <a:endParaRPr lang="fr-FR"/>
          </a:p>
        </p:txBody>
      </p:sp>
      <p:sp>
        <p:nvSpPr>
          <p:cNvPr id="16" name="Rectangle 15"/>
          <p:cNvSpPr/>
          <p:nvPr userDrawn="1"/>
        </p:nvSpPr>
        <p:spPr bwMode="gray">
          <a:xfrm>
            <a:off x="5592000" y="6283200"/>
            <a:ext cx="5884800" cy="28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r>
              <a:rPr lang="en-GB" sz="1200" noProof="0">
                <a:solidFill>
                  <a:schemeClr val="accent3"/>
                </a:solidFill>
              </a:rPr>
              <a:t>www.gavi.org</a:t>
            </a:r>
          </a:p>
        </p:txBody>
      </p:sp>
      <p:sp>
        <p:nvSpPr>
          <p:cNvPr id="18" name="Rectangle 17"/>
          <p:cNvSpPr/>
          <p:nvPr userDrawn="1"/>
        </p:nvSpPr>
        <p:spPr bwMode="gray">
          <a:xfrm>
            <a:off x="672000" y="3391895"/>
            <a:ext cx="2337600" cy="25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spTree>
    <p:extLst>
      <p:ext uri="{BB962C8B-B14F-4D97-AF65-F5344CB8AC3E}">
        <p14:creationId xmlns:p14="http://schemas.microsoft.com/office/powerpoint/2010/main" val="78018484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over_Picture_2">
    <p:spTree>
      <p:nvGrpSpPr>
        <p:cNvPr id="1" name=""/>
        <p:cNvGrpSpPr/>
        <p:nvPr/>
      </p:nvGrpSpPr>
      <p:grpSpPr>
        <a:xfrm>
          <a:off x="0" y="0"/>
          <a:ext cx="0" cy="0"/>
          <a:chOff x="0" y="0"/>
          <a:chExt cx="0" cy="0"/>
        </a:xfrm>
      </p:grpSpPr>
      <p:pic>
        <p:nvPicPr>
          <p:cNvPr id="24" name="Image 2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5161280"/>
          </a:xfrm>
          <a:prstGeom prst="rect">
            <a:avLst/>
          </a:prstGeom>
        </p:spPr>
      </p:pic>
      <p:pic>
        <p:nvPicPr>
          <p:cNvPr id="23" name="Image 22" descr="Bas_couv.png"/>
          <p:cNvPicPr>
            <a:picLocks noChangeAspect="1"/>
          </p:cNvPicPr>
          <p:nvPr userDrawn="1"/>
        </p:nvPicPr>
        <p:blipFill>
          <a:blip r:embed="rId3" cstate="print"/>
          <a:srcRect r="60243" b="722"/>
          <a:stretch>
            <a:fillRect/>
          </a:stretch>
        </p:blipFill>
        <p:spPr bwMode="gray">
          <a:xfrm>
            <a:off x="251520" y="5213040"/>
            <a:ext cx="3416493" cy="1584000"/>
          </a:xfrm>
          <a:prstGeom prst="rect">
            <a:avLst/>
          </a:prstGeom>
        </p:spPr>
      </p:pic>
      <p:sp>
        <p:nvSpPr>
          <p:cNvPr id="22" name="Rectangle 21"/>
          <p:cNvSpPr/>
          <p:nvPr userDrawn="1"/>
        </p:nvSpPr>
        <p:spPr bwMode="gray">
          <a:xfrm>
            <a:off x="4847169" y="5265205"/>
            <a:ext cx="7344833" cy="15927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sp>
        <p:nvSpPr>
          <p:cNvPr id="9" name="Espace réservé du texte 8"/>
          <p:cNvSpPr>
            <a:spLocks noGrp="1"/>
          </p:cNvSpPr>
          <p:nvPr>
            <p:ph type="body" sz="quarter" idx="13" hasCustomPrompt="1"/>
          </p:nvPr>
        </p:nvSpPr>
        <p:spPr bwMode="gray">
          <a:xfrm>
            <a:off x="672000" y="974400"/>
            <a:ext cx="6384000" cy="2232000"/>
          </a:xfrm>
        </p:spPr>
        <p:txBody>
          <a:bodyPr anchor="b" anchorCtr="0"/>
          <a:lstStyle>
            <a:lvl1pPr marL="0" indent="0" algn="l">
              <a:lnSpc>
                <a:spcPct val="90000"/>
              </a:lnSpc>
              <a:buNone/>
              <a:defRPr sz="3733" b="1" cap="none" baseline="0">
                <a:solidFill>
                  <a:schemeClr val="bg1"/>
                </a:solidFill>
              </a:defRPr>
            </a:lvl1pPr>
            <a:lvl2pPr marL="0" algn="ctr">
              <a:lnSpc>
                <a:spcPct val="100000"/>
              </a:lnSpc>
              <a:spcBef>
                <a:spcPts val="9200"/>
              </a:spcBef>
              <a:defRPr sz="2667" b="1">
                <a:solidFill>
                  <a:schemeClr val="bg1"/>
                </a:solidFill>
              </a:defRPr>
            </a:lvl2pPr>
          </a:lstStyle>
          <a:p>
            <a:pPr lvl="0"/>
            <a:r>
              <a:rPr lang="en-GB" noProof="0"/>
              <a:t>TITLE</a:t>
            </a:r>
          </a:p>
        </p:txBody>
      </p:sp>
      <p:sp>
        <p:nvSpPr>
          <p:cNvPr id="8" name="Espace réservé du texte 8"/>
          <p:cNvSpPr>
            <a:spLocks noGrp="1"/>
          </p:cNvSpPr>
          <p:nvPr>
            <p:ph type="body" sz="quarter" idx="14" hasCustomPrompt="1"/>
          </p:nvPr>
        </p:nvSpPr>
        <p:spPr bwMode="gray">
          <a:xfrm>
            <a:off x="672000" y="3585600"/>
            <a:ext cx="6384000" cy="1479600"/>
          </a:xfrm>
        </p:spPr>
        <p:txBody>
          <a:bodyPr anchor="t" anchorCtr="0"/>
          <a:lstStyle>
            <a:lvl1pPr marL="0" indent="0" algn="l">
              <a:lnSpc>
                <a:spcPct val="90000"/>
              </a:lnSpc>
              <a:buNone/>
              <a:defRPr sz="2667" b="0" baseline="0">
                <a:solidFill>
                  <a:schemeClr val="bg1"/>
                </a:solidFill>
              </a:defRPr>
            </a:lvl1pPr>
            <a:lvl2pPr marL="0" algn="ctr">
              <a:lnSpc>
                <a:spcPct val="100000"/>
              </a:lnSpc>
              <a:spcBef>
                <a:spcPts val="9200"/>
              </a:spcBef>
              <a:defRPr sz="2667" b="1">
                <a:solidFill>
                  <a:schemeClr val="bg1"/>
                </a:solidFill>
              </a:defRPr>
            </a:lvl2pPr>
          </a:lstStyle>
          <a:p>
            <a:pPr lvl="0"/>
            <a:r>
              <a:rPr lang="en-GB" noProof="0"/>
              <a:t>SUBTITLE</a:t>
            </a:r>
          </a:p>
        </p:txBody>
      </p:sp>
      <p:sp>
        <p:nvSpPr>
          <p:cNvPr id="11" name="Espace réservé du numéro de diapositive 10"/>
          <p:cNvSpPr>
            <a:spLocks noGrp="1"/>
          </p:cNvSpPr>
          <p:nvPr>
            <p:ph type="sldNum" sz="quarter" idx="16"/>
          </p:nvPr>
        </p:nvSpPr>
        <p:spPr bwMode="gray"/>
        <p:txBody>
          <a:bodyPr/>
          <a:lstStyle>
            <a:lvl1pPr>
              <a:defRPr sz="133">
                <a:solidFill>
                  <a:schemeClr val="bg1">
                    <a:alpha val="0"/>
                  </a:schemeClr>
                </a:solidFill>
              </a:defRPr>
            </a:lvl1pPr>
          </a:lstStyle>
          <a:p>
            <a:pPr algn="l"/>
            <a:r>
              <a:rPr lang="en-GB" noProof="0"/>
              <a:t>Page: </a:t>
            </a:r>
            <a:fld id="{733122C9-A0B9-462F-8757-0847AD287B63}" type="slidenum">
              <a:rPr lang="en-GB" noProof="0" smtClean="0"/>
              <a:pPr algn="l"/>
              <a:t>‹#›</a:t>
            </a:fld>
            <a:endParaRPr lang="en-GB" noProof="0"/>
          </a:p>
        </p:txBody>
      </p:sp>
      <p:sp>
        <p:nvSpPr>
          <p:cNvPr id="15" name="Espace réservé du texte 14"/>
          <p:cNvSpPr>
            <a:spLocks noGrp="1"/>
          </p:cNvSpPr>
          <p:nvPr>
            <p:ph type="body" sz="quarter" idx="19" hasCustomPrompt="1"/>
          </p:nvPr>
        </p:nvSpPr>
        <p:spPr bwMode="gray">
          <a:xfrm>
            <a:off x="5592000" y="5899200"/>
            <a:ext cx="5884800" cy="324000"/>
          </a:xfrm>
        </p:spPr>
        <p:txBody>
          <a:bodyPr anchor="b" anchorCtr="0"/>
          <a:lstStyle>
            <a:lvl1pPr algn="r">
              <a:lnSpc>
                <a:spcPct val="100000"/>
              </a:lnSpc>
              <a:defRPr sz="1200" b="1">
                <a:solidFill>
                  <a:schemeClr val="accent2"/>
                </a:solidFill>
              </a:defRPr>
            </a:lvl1pPr>
          </a:lstStyle>
          <a:p>
            <a:r>
              <a:rPr lang="fr-FR" err="1"/>
              <a:t>Reach</a:t>
            </a:r>
            <a:r>
              <a:rPr lang="fr-FR"/>
              <a:t> </a:t>
            </a:r>
            <a:r>
              <a:rPr lang="fr-FR" err="1"/>
              <a:t>every</a:t>
            </a:r>
            <a:r>
              <a:rPr lang="fr-FR"/>
              <a:t> </a:t>
            </a:r>
            <a:r>
              <a:rPr lang="fr-FR" err="1"/>
              <a:t>child</a:t>
            </a:r>
            <a:endParaRPr lang="fr-FR"/>
          </a:p>
        </p:txBody>
      </p:sp>
      <p:sp>
        <p:nvSpPr>
          <p:cNvPr id="16" name="Rectangle 15"/>
          <p:cNvSpPr/>
          <p:nvPr userDrawn="1"/>
        </p:nvSpPr>
        <p:spPr bwMode="gray">
          <a:xfrm>
            <a:off x="5592000" y="6283200"/>
            <a:ext cx="5884800" cy="2872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r>
              <a:rPr lang="en-GB" sz="1200" noProof="0">
                <a:solidFill>
                  <a:schemeClr val="accent3"/>
                </a:solidFill>
              </a:rPr>
              <a:t>www.gavi.org</a:t>
            </a:r>
          </a:p>
        </p:txBody>
      </p:sp>
      <p:sp>
        <p:nvSpPr>
          <p:cNvPr id="19" name="Rectangle 18"/>
          <p:cNvSpPr/>
          <p:nvPr userDrawn="1"/>
        </p:nvSpPr>
        <p:spPr bwMode="gray">
          <a:xfrm>
            <a:off x="672000" y="3391895"/>
            <a:ext cx="2337600" cy="25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sp>
        <p:nvSpPr>
          <p:cNvPr id="18" name="Espace réservé pour une image  25"/>
          <p:cNvSpPr>
            <a:spLocks noGrp="1"/>
          </p:cNvSpPr>
          <p:nvPr>
            <p:ph type="pic" sz="quarter" idx="10" hasCustomPrompt="1"/>
          </p:nvPr>
        </p:nvSpPr>
        <p:spPr>
          <a:xfrm>
            <a:off x="6821913" y="0"/>
            <a:ext cx="5370089" cy="5158800"/>
          </a:xfrm>
          <a:custGeom>
            <a:avLst/>
            <a:gdLst>
              <a:gd name="connsiteX0" fmla="*/ 1929568 w 4027567"/>
              <a:gd name="connsiteY0" fmla="*/ 0 h 3869100"/>
              <a:gd name="connsiteX1" fmla="*/ 4027567 w 4027567"/>
              <a:gd name="connsiteY1" fmla="*/ 0 h 3869100"/>
              <a:gd name="connsiteX2" fmla="*/ 4027567 w 4027567"/>
              <a:gd name="connsiteY2" fmla="*/ 3869100 h 3869100"/>
              <a:gd name="connsiteX3" fmla="*/ 0 w 4027567"/>
              <a:gd name="connsiteY3" fmla="*/ 3869100 h 3869100"/>
              <a:gd name="connsiteX4" fmla="*/ 29823 w 4027567"/>
              <a:gd name="connsiteY4" fmla="*/ 3580448 h 3869100"/>
              <a:gd name="connsiteX5" fmla="*/ 1929568 w 4027567"/>
              <a:gd name="connsiteY5" fmla="*/ 0 h 3869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27567" h="3869100">
                <a:moveTo>
                  <a:pt x="1929568" y="0"/>
                </a:moveTo>
                <a:lnTo>
                  <a:pt x="4027567" y="0"/>
                </a:lnTo>
                <a:lnTo>
                  <a:pt x="4027567" y="3869100"/>
                </a:lnTo>
                <a:lnTo>
                  <a:pt x="0" y="3869100"/>
                </a:lnTo>
                <a:lnTo>
                  <a:pt x="29823" y="3580448"/>
                </a:lnTo>
                <a:cubicBezTo>
                  <a:pt x="280550" y="2115735"/>
                  <a:pt x="1924285" y="945283"/>
                  <a:pt x="1929568" y="0"/>
                </a:cubicBezTo>
                <a:close/>
              </a:path>
            </a:pathLst>
          </a:custGeom>
          <a:solidFill>
            <a:schemeClr val="bg2"/>
          </a:solidFill>
        </p:spPr>
        <p:txBody>
          <a:bodyPr wrap="square" tIns="720000" anchor="ctr" anchorCtr="0">
            <a:noAutofit/>
          </a:bodyPr>
          <a:lstStyle>
            <a:lvl1pPr marL="0" marR="0" indent="0" algn="ctr" defTabSz="1219170" rtl="0" eaLnBrk="1" fontAlgn="auto" latinLnBrk="0" hangingPunct="1">
              <a:lnSpc>
                <a:spcPct val="110000"/>
              </a:lnSpc>
              <a:spcBef>
                <a:spcPts val="0"/>
              </a:spcBef>
              <a:spcAft>
                <a:spcPts val="0"/>
              </a:spcAft>
              <a:buClrTx/>
              <a:buSzTx/>
              <a:buFont typeface="Arial" pitchFamily="34" charset="0"/>
              <a:buNone/>
              <a:tabLst/>
              <a:defRPr sz="2000">
                <a:solidFill>
                  <a:schemeClr val="bg1"/>
                </a:solidFill>
              </a:defRPr>
            </a:lvl1pPr>
          </a:lstStyle>
          <a:p>
            <a:r>
              <a:rPr lang="en-GB" noProof="0"/>
              <a:t>Select your own photo</a:t>
            </a:r>
          </a:p>
        </p:txBody>
      </p:sp>
      <p:sp>
        <p:nvSpPr>
          <p:cNvPr id="17" name="Espace réservé du texte 16"/>
          <p:cNvSpPr>
            <a:spLocks noGrp="1"/>
          </p:cNvSpPr>
          <p:nvPr>
            <p:ph type="body" sz="quarter" idx="20" hasCustomPrompt="1"/>
          </p:nvPr>
        </p:nvSpPr>
        <p:spPr bwMode="gray">
          <a:xfrm>
            <a:off x="0" y="5157789"/>
            <a:ext cx="12192000" cy="287337"/>
          </a:xfrm>
          <a:solidFill>
            <a:schemeClr val="bg1"/>
          </a:solidFill>
        </p:spPr>
        <p:txBody>
          <a:bodyPr/>
          <a:lstStyle>
            <a:lvl1pPr>
              <a:defRPr sz="133" b="0">
                <a:solidFill>
                  <a:schemeClr val="bg1">
                    <a:alpha val="0"/>
                  </a:schemeClr>
                </a:solidFill>
              </a:defRPr>
            </a:lvl1pPr>
          </a:lstStyle>
          <a:p>
            <a:pPr lvl="0"/>
            <a:r>
              <a:rPr lang="en-GB" noProof="0"/>
              <a:t> </a:t>
            </a:r>
          </a:p>
        </p:txBody>
      </p:sp>
    </p:spTree>
    <p:extLst>
      <p:ext uri="{BB962C8B-B14F-4D97-AF65-F5344CB8AC3E}">
        <p14:creationId xmlns:p14="http://schemas.microsoft.com/office/powerpoint/2010/main" val="155375661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Chapter_Layout">
    <p:spTree>
      <p:nvGrpSpPr>
        <p:cNvPr id="1" name=""/>
        <p:cNvGrpSpPr/>
        <p:nvPr/>
      </p:nvGrpSpPr>
      <p:grpSpPr>
        <a:xfrm>
          <a:off x="0" y="0"/>
          <a:ext cx="0" cy="0"/>
          <a:chOff x="0" y="0"/>
          <a:chExt cx="0" cy="0"/>
        </a:xfrm>
      </p:grpSpPr>
      <p:pic>
        <p:nvPicPr>
          <p:cNvPr id="4" name="Imag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0"/>
            <a:ext cx="3453377" cy="6858000"/>
          </a:xfrm>
          <a:prstGeom prst="rect">
            <a:avLst/>
          </a:prstGeom>
        </p:spPr>
      </p:pic>
      <p:sp>
        <p:nvSpPr>
          <p:cNvPr id="2" name="Titre 1"/>
          <p:cNvSpPr>
            <a:spLocks noGrp="1"/>
          </p:cNvSpPr>
          <p:nvPr>
            <p:ph type="title" hasCustomPrompt="1"/>
          </p:nvPr>
        </p:nvSpPr>
        <p:spPr bwMode="gray">
          <a:xfrm>
            <a:off x="3672000" y="1037167"/>
            <a:ext cx="7368533" cy="1646864"/>
          </a:xfrm>
        </p:spPr>
        <p:txBody>
          <a:bodyPr/>
          <a:lstStyle/>
          <a:p>
            <a:r>
              <a:rPr lang="en-GB" noProof="0"/>
              <a:t>TITLE</a:t>
            </a:r>
          </a:p>
        </p:txBody>
      </p:sp>
      <p:sp>
        <p:nvSpPr>
          <p:cNvPr id="10" name="Espace réservé du texte 9"/>
          <p:cNvSpPr>
            <a:spLocks noGrp="1"/>
          </p:cNvSpPr>
          <p:nvPr>
            <p:ph type="body" sz="quarter" idx="13" hasCustomPrompt="1"/>
          </p:nvPr>
        </p:nvSpPr>
        <p:spPr bwMode="gray">
          <a:xfrm>
            <a:off x="3672000" y="2902572"/>
            <a:ext cx="7368533" cy="2903445"/>
          </a:xfrm>
        </p:spPr>
        <p:txBody>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4" name="Espace réservé du texte 9"/>
          <p:cNvSpPr>
            <a:spLocks noGrp="1"/>
          </p:cNvSpPr>
          <p:nvPr>
            <p:ph type="body" sz="quarter" idx="14" hasCustomPrompt="1"/>
          </p:nvPr>
        </p:nvSpPr>
        <p:spPr bwMode="gray">
          <a:xfrm>
            <a:off x="0" y="1"/>
            <a:ext cx="2495211" cy="4990431"/>
          </a:xfrm>
        </p:spPr>
        <p:txBody>
          <a:bodyPr/>
          <a:lstStyle>
            <a:lvl1pPr algn="r">
              <a:defRPr sz="22133" b="1">
                <a:solidFill>
                  <a:schemeClr val="bg1"/>
                </a:solidFill>
              </a:defRPr>
            </a:lvl1pPr>
          </a:lstStyle>
          <a:p>
            <a:pPr lvl="0"/>
            <a:r>
              <a:rPr lang="en-GB" noProof="0"/>
              <a:t>0</a:t>
            </a:r>
          </a:p>
        </p:txBody>
      </p:sp>
      <p:sp>
        <p:nvSpPr>
          <p:cNvPr id="12" name="Espace réservé du numéro de diapositive 11"/>
          <p:cNvSpPr>
            <a:spLocks noGrp="1"/>
          </p:cNvSpPr>
          <p:nvPr>
            <p:ph type="sldNum" sz="quarter" idx="16"/>
          </p:nvPr>
        </p:nvSpPr>
        <p:spPr bwMode="gray"/>
        <p:txBody>
          <a:bodyPr/>
          <a:lstStyle/>
          <a:p>
            <a:pPr algn="l"/>
            <a:fld id="{733122C9-A0B9-462F-8757-0847AD287B63}" type="slidenum">
              <a:rPr lang="en-GB" noProof="0" smtClean="0"/>
              <a:pPr algn="l"/>
              <a:t>‹#›</a:t>
            </a:fld>
            <a:endParaRPr lang="en-GB" noProof="0"/>
          </a:p>
        </p:txBody>
      </p:sp>
      <p:sp>
        <p:nvSpPr>
          <p:cNvPr id="16" name="Rectangle 15"/>
          <p:cNvSpPr/>
          <p:nvPr userDrawn="1"/>
        </p:nvSpPr>
        <p:spPr bwMode="gray">
          <a:xfrm>
            <a:off x="3672000" y="2777245"/>
            <a:ext cx="1344000" cy="25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spTree>
    <p:extLst>
      <p:ext uri="{BB962C8B-B14F-4D97-AF65-F5344CB8AC3E}">
        <p14:creationId xmlns:p14="http://schemas.microsoft.com/office/powerpoint/2010/main" val="2258581236"/>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obj" preserve="1">
  <p:cSld name="Content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3" name="Espace réservé du contenu 2"/>
          <p:cNvSpPr>
            <a:spLocks noGrp="1"/>
          </p:cNvSpPr>
          <p:nvPr>
            <p:ph idx="1" hasCustomPrompt="1"/>
          </p:nvPr>
        </p:nvSpPr>
        <p:spPr bwMode="gray">
          <a:xfrm>
            <a:off x="672000" y="1603200"/>
            <a:ext cx="10848000" cy="4190400"/>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4" name="Espace réservé du numéro de diapositive 13"/>
          <p:cNvSpPr>
            <a:spLocks noGrp="1"/>
          </p:cNvSpPr>
          <p:nvPr>
            <p:ph type="sldNum" sz="quarter" idx="11"/>
          </p:nvPr>
        </p:nvSpPr>
        <p:spPr bwMode="gray"/>
        <p:txBody>
          <a:bodyPr/>
          <a:lstStyle/>
          <a:p>
            <a:fld id="{733122C9-A0B9-462F-8757-0847AD287B63}" type="slidenum">
              <a:rPr lang="en-GB" noProof="0" smtClean="0"/>
              <a:pPr/>
              <a:t>‹#›</a:t>
            </a:fld>
            <a:endParaRPr lang="en-GB" noProof="0"/>
          </a:p>
        </p:txBody>
      </p:sp>
    </p:spTree>
    <p:extLst>
      <p:ext uri="{BB962C8B-B14F-4D97-AF65-F5344CB8AC3E}">
        <p14:creationId xmlns:p14="http://schemas.microsoft.com/office/powerpoint/2010/main" val="2841302661"/>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Picture&amp;Content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3" name="Espace réservé du contenu 2"/>
          <p:cNvSpPr>
            <a:spLocks noGrp="1"/>
          </p:cNvSpPr>
          <p:nvPr>
            <p:ph idx="1" hasCustomPrompt="1"/>
          </p:nvPr>
        </p:nvSpPr>
        <p:spPr bwMode="gray">
          <a:xfrm>
            <a:off x="4357648" y="1607999"/>
            <a:ext cx="6960000" cy="4198017"/>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9" name="Espace réservé pour une image  8"/>
          <p:cNvSpPr>
            <a:spLocks noGrp="1"/>
          </p:cNvSpPr>
          <p:nvPr>
            <p:ph type="pic" sz="quarter" idx="13" hasCustomPrompt="1"/>
          </p:nvPr>
        </p:nvSpPr>
        <p:spPr bwMode="gray">
          <a:xfrm>
            <a:off x="0" y="1707856"/>
            <a:ext cx="4072411" cy="4098163"/>
          </a:xfrm>
        </p:spPr>
        <p:txBody>
          <a:bodyPr tIns="1008000" anchor="ctr" anchorCtr="0"/>
          <a:lstStyle>
            <a:lvl1pPr algn="ctr">
              <a:defRPr/>
            </a:lvl1pPr>
          </a:lstStyle>
          <a:p>
            <a:r>
              <a:rPr lang="en-GB" noProof="0"/>
              <a:t>Select your own photo</a:t>
            </a:r>
          </a:p>
        </p:txBody>
      </p:sp>
      <p:sp>
        <p:nvSpPr>
          <p:cNvPr id="11" name="Espace réservé du numéro de diapositive 10"/>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a:p>
        </p:txBody>
      </p:sp>
    </p:spTree>
    <p:extLst>
      <p:ext uri="{BB962C8B-B14F-4D97-AF65-F5344CB8AC3E}">
        <p14:creationId xmlns:p14="http://schemas.microsoft.com/office/powerpoint/2010/main" val="178045861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Picture&amp;Content_Layout">
    <p:spTree>
      <p:nvGrpSpPr>
        <p:cNvPr id="1" name=""/>
        <p:cNvGrpSpPr/>
        <p:nvPr/>
      </p:nvGrpSpPr>
      <p:grpSpPr>
        <a:xfrm>
          <a:off x="0" y="0"/>
          <a:ext cx="0" cy="0"/>
          <a:chOff x="0" y="0"/>
          <a:chExt cx="0" cy="0"/>
        </a:xfrm>
      </p:grpSpPr>
      <p:sp>
        <p:nvSpPr>
          <p:cNvPr id="2" name="Titre 1"/>
          <p:cNvSpPr>
            <a:spLocks noGrp="1"/>
          </p:cNvSpPr>
          <p:nvPr>
            <p:ph type="title" hasCustomPrompt="1"/>
          </p:nvPr>
        </p:nvSpPr>
        <p:spPr bwMode="gray"/>
        <p:txBody>
          <a:bodyPr/>
          <a:lstStyle/>
          <a:p>
            <a:r>
              <a:rPr lang="en-GB" noProof="0"/>
              <a:t>TITLE</a:t>
            </a:r>
          </a:p>
        </p:txBody>
      </p:sp>
      <p:sp>
        <p:nvSpPr>
          <p:cNvPr id="3" name="Espace réservé du contenu 2"/>
          <p:cNvSpPr>
            <a:spLocks noGrp="1"/>
          </p:cNvSpPr>
          <p:nvPr>
            <p:ph idx="1" hasCustomPrompt="1"/>
          </p:nvPr>
        </p:nvSpPr>
        <p:spPr bwMode="gray">
          <a:xfrm>
            <a:off x="672000" y="1607999"/>
            <a:ext cx="6672139" cy="4198017"/>
          </a:xfrm>
        </p:spPr>
        <p:txBody>
          <a:bodyPr/>
          <a:lstStyle>
            <a:lvl2pPr>
              <a:defRPr/>
            </a:lvl2pPr>
            <a:lvl3pPr>
              <a:defRPr/>
            </a:lvl3pPr>
            <a:lvl4pPr>
              <a:defRPr baseline="0"/>
            </a:lvl4pPr>
            <a:lvl5pPr>
              <a:defRPr/>
            </a:lvl5p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1" name="Espace réservé du numéro de diapositive 10"/>
          <p:cNvSpPr>
            <a:spLocks noGrp="1"/>
          </p:cNvSpPr>
          <p:nvPr>
            <p:ph type="sldNum" sz="quarter" idx="15"/>
          </p:nvPr>
        </p:nvSpPr>
        <p:spPr bwMode="gray"/>
        <p:txBody>
          <a:bodyPr/>
          <a:lstStyle/>
          <a:p>
            <a:pPr algn="l"/>
            <a:fld id="{733122C9-A0B9-462F-8757-0847AD287B63}" type="slidenum">
              <a:rPr lang="en-GB" noProof="0" smtClean="0"/>
              <a:pPr algn="l"/>
              <a:t>‹#›</a:t>
            </a:fld>
            <a:endParaRPr lang="en-GB" noProof="0"/>
          </a:p>
        </p:txBody>
      </p:sp>
      <p:sp>
        <p:nvSpPr>
          <p:cNvPr id="10" name="Espace réservé pour une image  17"/>
          <p:cNvSpPr>
            <a:spLocks noGrp="1"/>
          </p:cNvSpPr>
          <p:nvPr>
            <p:ph type="pic" sz="quarter" idx="18" hasCustomPrompt="1"/>
          </p:nvPr>
        </p:nvSpPr>
        <p:spPr bwMode="gray">
          <a:xfrm>
            <a:off x="7439389" y="5168"/>
            <a:ext cx="4752611" cy="5807451"/>
          </a:xfrm>
          <a:custGeom>
            <a:avLst/>
            <a:gdLst>
              <a:gd name="connsiteX0" fmla="*/ 0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0 w 3851275"/>
              <a:gd name="connsiteY4"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0 w 3851275"/>
              <a:gd name="connsiteY3" fmla="*/ 5157788 h 5157788"/>
              <a:gd name="connsiteX4" fmla="*/ 1692275 w 3851275"/>
              <a:gd name="connsiteY4" fmla="*/ 0 h 5157788"/>
              <a:gd name="connsiteX0" fmla="*/ 0 w 2159000"/>
              <a:gd name="connsiteY0" fmla="*/ 0 h 5157788"/>
              <a:gd name="connsiteX1" fmla="*/ 2159000 w 2159000"/>
              <a:gd name="connsiteY1" fmla="*/ 0 h 5157788"/>
              <a:gd name="connsiteX2" fmla="*/ 2159000 w 2159000"/>
              <a:gd name="connsiteY2" fmla="*/ 5157788 h 5157788"/>
              <a:gd name="connsiteX3" fmla="*/ 0 w 2159000"/>
              <a:gd name="connsiteY3" fmla="*/ 5157788 h 5157788"/>
              <a:gd name="connsiteX4" fmla="*/ 0 w 2159000"/>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2625271 w 4784271"/>
              <a:gd name="connsiteY0" fmla="*/ 0 h 5157788"/>
              <a:gd name="connsiteX1" fmla="*/ 4784271 w 4784271"/>
              <a:gd name="connsiteY1" fmla="*/ 0 h 5157788"/>
              <a:gd name="connsiteX2" fmla="*/ 4784271 w 4784271"/>
              <a:gd name="connsiteY2" fmla="*/ 5157788 h 5157788"/>
              <a:gd name="connsiteX3" fmla="*/ 2625271 w 4784271"/>
              <a:gd name="connsiteY3" fmla="*/ 5157788 h 5157788"/>
              <a:gd name="connsiteX4" fmla="*/ 2625271 w 4784271"/>
              <a:gd name="connsiteY4" fmla="*/ 0 h 5157788"/>
              <a:gd name="connsiteX0" fmla="*/ 3568576 w 5727576"/>
              <a:gd name="connsiteY0" fmla="*/ 0 h 5157788"/>
              <a:gd name="connsiteX1" fmla="*/ 5727576 w 5727576"/>
              <a:gd name="connsiteY1" fmla="*/ 0 h 5157788"/>
              <a:gd name="connsiteX2" fmla="*/ 5727576 w 5727576"/>
              <a:gd name="connsiteY2" fmla="*/ 5157788 h 5157788"/>
              <a:gd name="connsiteX3" fmla="*/ 3568576 w 5727576"/>
              <a:gd name="connsiteY3" fmla="*/ 5157788 h 5157788"/>
              <a:gd name="connsiteX4" fmla="*/ 3568576 w 5727576"/>
              <a:gd name="connsiteY4" fmla="*/ 0 h 5157788"/>
              <a:gd name="connsiteX0" fmla="*/ 3306355 w 5465355"/>
              <a:gd name="connsiteY0" fmla="*/ 0 h 5157788"/>
              <a:gd name="connsiteX1" fmla="*/ 5465355 w 5465355"/>
              <a:gd name="connsiteY1" fmla="*/ 0 h 5157788"/>
              <a:gd name="connsiteX2" fmla="*/ 5465355 w 5465355"/>
              <a:gd name="connsiteY2" fmla="*/ 5157788 h 5157788"/>
              <a:gd name="connsiteX3" fmla="*/ 3306355 w 5465355"/>
              <a:gd name="connsiteY3" fmla="*/ 5157788 h 5157788"/>
              <a:gd name="connsiteX4" fmla="*/ 3306355 w 5465355"/>
              <a:gd name="connsiteY4" fmla="*/ 0 h 5157788"/>
              <a:gd name="connsiteX0" fmla="*/ 1416957 w 3575957"/>
              <a:gd name="connsiteY0" fmla="*/ 0 h 5157788"/>
              <a:gd name="connsiteX1" fmla="*/ 3575957 w 3575957"/>
              <a:gd name="connsiteY1" fmla="*/ 0 h 5157788"/>
              <a:gd name="connsiteX2" fmla="*/ 3575957 w 3575957"/>
              <a:gd name="connsiteY2" fmla="*/ 5157788 h 5157788"/>
              <a:gd name="connsiteX3" fmla="*/ 1416957 w 3575957"/>
              <a:gd name="connsiteY3" fmla="*/ 5157788 h 5157788"/>
              <a:gd name="connsiteX4" fmla="*/ 0 w 3575957"/>
              <a:gd name="connsiteY4" fmla="*/ 3339193 h 5157788"/>
              <a:gd name="connsiteX5" fmla="*/ 1416957 w 3575957"/>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6017419"/>
              <a:gd name="connsiteX1" fmla="*/ 3851275 w 3851275"/>
              <a:gd name="connsiteY1" fmla="*/ 0 h 6017419"/>
              <a:gd name="connsiteX2" fmla="*/ 3851275 w 3851275"/>
              <a:gd name="connsiteY2" fmla="*/ 5157788 h 6017419"/>
              <a:gd name="connsiteX3" fmla="*/ 1692275 w 3851275"/>
              <a:gd name="connsiteY3" fmla="*/ 5157788 h 6017419"/>
              <a:gd name="connsiteX4" fmla="*/ 0 w 3851275"/>
              <a:gd name="connsiteY4" fmla="*/ 3284984 h 6017419"/>
              <a:gd name="connsiteX5" fmla="*/ 1692275 w 3851275"/>
              <a:gd name="connsiteY5" fmla="*/ 0 h 6017419"/>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692275 w 3851275"/>
              <a:gd name="connsiteY0" fmla="*/ 0 h 5157788"/>
              <a:gd name="connsiteX1" fmla="*/ 3851275 w 3851275"/>
              <a:gd name="connsiteY1" fmla="*/ 0 h 5157788"/>
              <a:gd name="connsiteX2" fmla="*/ 3851275 w 3851275"/>
              <a:gd name="connsiteY2" fmla="*/ 5157788 h 5157788"/>
              <a:gd name="connsiteX3" fmla="*/ 1692275 w 3851275"/>
              <a:gd name="connsiteY3" fmla="*/ 5157788 h 5157788"/>
              <a:gd name="connsiteX4" fmla="*/ 0 w 3851275"/>
              <a:gd name="connsiteY4" fmla="*/ 3284984 h 5157788"/>
              <a:gd name="connsiteX5" fmla="*/ 1692275 w 3851275"/>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284984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10871 w 3869871"/>
              <a:gd name="connsiteY0" fmla="*/ 0 h 5157788"/>
              <a:gd name="connsiteX1" fmla="*/ 3869871 w 3869871"/>
              <a:gd name="connsiteY1" fmla="*/ 0 h 5157788"/>
              <a:gd name="connsiteX2" fmla="*/ 3869871 w 3869871"/>
              <a:gd name="connsiteY2" fmla="*/ 5157788 h 5157788"/>
              <a:gd name="connsiteX3" fmla="*/ 1710871 w 3869871"/>
              <a:gd name="connsiteY3" fmla="*/ 5157788 h 5157788"/>
              <a:gd name="connsiteX4" fmla="*/ 18596 w 3869871"/>
              <a:gd name="connsiteY4" fmla="*/ 3429000 h 5157788"/>
              <a:gd name="connsiteX5" fmla="*/ 1710871 w 3869871"/>
              <a:gd name="connsiteY5" fmla="*/ 0 h 5157788"/>
              <a:gd name="connsiteX0" fmla="*/ 1704975 w 3863975"/>
              <a:gd name="connsiteY0" fmla="*/ 0 h 5157788"/>
              <a:gd name="connsiteX1" fmla="*/ 3863975 w 3863975"/>
              <a:gd name="connsiteY1" fmla="*/ 0 h 5157788"/>
              <a:gd name="connsiteX2" fmla="*/ 3863975 w 3863975"/>
              <a:gd name="connsiteY2" fmla="*/ 5157788 h 5157788"/>
              <a:gd name="connsiteX3" fmla="*/ 1704975 w 3863975"/>
              <a:gd name="connsiteY3" fmla="*/ 5157788 h 5157788"/>
              <a:gd name="connsiteX4" fmla="*/ 12700 w 3863975"/>
              <a:gd name="connsiteY4" fmla="*/ 3429000 h 5157788"/>
              <a:gd name="connsiteX5" fmla="*/ 1704975 w 3863975"/>
              <a:gd name="connsiteY5" fmla="*/ 0 h 5157788"/>
              <a:gd name="connsiteX0" fmla="*/ 1707243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707243 w 3866243"/>
              <a:gd name="connsiteY5" fmla="*/ 0 h 5157788"/>
              <a:gd name="connsiteX0" fmla="*/ 1130447 w 3866243"/>
              <a:gd name="connsiteY0" fmla="*/ 0 h 5157788"/>
              <a:gd name="connsiteX1" fmla="*/ 3866243 w 3866243"/>
              <a:gd name="connsiteY1" fmla="*/ 0 h 5157788"/>
              <a:gd name="connsiteX2" fmla="*/ 3866243 w 3866243"/>
              <a:gd name="connsiteY2" fmla="*/ 5157788 h 5157788"/>
              <a:gd name="connsiteX3" fmla="*/ 1707243 w 3866243"/>
              <a:gd name="connsiteY3" fmla="*/ 5157788 h 5157788"/>
              <a:gd name="connsiteX4" fmla="*/ 14968 w 3866243"/>
              <a:gd name="connsiteY4" fmla="*/ 3429000 h 5157788"/>
              <a:gd name="connsiteX5" fmla="*/ 1130447 w 3866243"/>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746143 w 5481939"/>
              <a:gd name="connsiteY0" fmla="*/ 0 h 5157788"/>
              <a:gd name="connsiteX1" fmla="*/ 5481939 w 5481939"/>
              <a:gd name="connsiteY1" fmla="*/ 0 h 5157788"/>
              <a:gd name="connsiteX2" fmla="*/ 5481939 w 5481939"/>
              <a:gd name="connsiteY2" fmla="*/ 5157788 h 5157788"/>
              <a:gd name="connsiteX3" fmla="*/ 585903 w 5481939"/>
              <a:gd name="connsiteY3" fmla="*/ 5153180 h 5157788"/>
              <a:gd name="connsiteX4" fmla="*/ 1630664 w 5481939"/>
              <a:gd name="connsiteY4" fmla="*/ 3429000 h 5157788"/>
              <a:gd name="connsiteX5" fmla="*/ 2746143 w 548193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2838053 w 5573849"/>
              <a:gd name="connsiteY0" fmla="*/ 0 h 5157788"/>
              <a:gd name="connsiteX1" fmla="*/ 5573849 w 5573849"/>
              <a:gd name="connsiteY1" fmla="*/ 0 h 5157788"/>
              <a:gd name="connsiteX2" fmla="*/ 5573849 w 5573849"/>
              <a:gd name="connsiteY2" fmla="*/ 5157788 h 5157788"/>
              <a:gd name="connsiteX3" fmla="*/ 677813 w 5573849"/>
              <a:gd name="connsiteY3" fmla="*/ 5153180 h 5157788"/>
              <a:gd name="connsiteX4" fmla="*/ 1001849 w 5573849"/>
              <a:gd name="connsiteY4" fmla="*/ 3389965 h 5157788"/>
              <a:gd name="connsiteX5" fmla="*/ 2838053 w 5573849"/>
              <a:gd name="connsiteY5" fmla="*/ 0 h 5157788"/>
              <a:gd name="connsiteX0" fmla="*/ 3574235 w 6310031"/>
              <a:gd name="connsiteY0" fmla="*/ 0 h 5157788"/>
              <a:gd name="connsiteX1" fmla="*/ 6310031 w 6310031"/>
              <a:gd name="connsiteY1" fmla="*/ 0 h 5157788"/>
              <a:gd name="connsiteX2" fmla="*/ 6310031 w 6310031"/>
              <a:gd name="connsiteY2" fmla="*/ 5157788 h 5157788"/>
              <a:gd name="connsiteX3" fmla="*/ 585903 w 6310031"/>
              <a:gd name="connsiteY3" fmla="*/ 5153180 h 5157788"/>
              <a:gd name="connsiteX4" fmla="*/ 1738031 w 6310031"/>
              <a:gd name="connsiteY4" fmla="*/ 3389965 h 5157788"/>
              <a:gd name="connsiteX5" fmla="*/ 3574235 w 6310031"/>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152128 w 5724128"/>
              <a:gd name="connsiteY4" fmla="*/ 3389965 h 5157788"/>
              <a:gd name="connsiteX5" fmla="*/ 2988332 w 5724128"/>
              <a:gd name="connsiteY5" fmla="*/ 0 h 5157788"/>
              <a:gd name="connsiteX0" fmla="*/ 2988332 w 5724128"/>
              <a:gd name="connsiteY0" fmla="*/ 0 h 5157788"/>
              <a:gd name="connsiteX1" fmla="*/ 5724128 w 5724128"/>
              <a:gd name="connsiteY1" fmla="*/ 0 h 5157788"/>
              <a:gd name="connsiteX2" fmla="*/ 5724128 w 5724128"/>
              <a:gd name="connsiteY2" fmla="*/ 5157788 h 5157788"/>
              <a:gd name="connsiteX3" fmla="*/ 0 w 5724128"/>
              <a:gd name="connsiteY3" fmla="*/ 5153180 h 5157788"/>
              <a:gd name="connsiteX4" fmla="*/ 1296143 w 5724128"/>
              <a:gd name="connsiteY4" fmla="*/ 3461908 h 5157788"/>
              <a:gd name="connsiteX5" fmla="*/ 2988332 w 5724128"/>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296144 w 5724129"/>
              <a:gd name="connsiteY4" fmla="*/ 3461908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2988333 w 5724129"/>
              <a:gd name="connsiteY0" fmla="*/ 0 h 5157788"/>
              <a:gd name="connsiteX1" fmla="*/ 5724129 w 5724129"/>
              <a:gd name="connsiteY1" fmla="*/ 0 h 5157788"/>
              <a:gd name="connsiteX2" fmla="*/ 5724129 w 5724129"/>
              <a:gd name="connsiteY2" fmla="*/ 5157788 h 5157788"/>
              <a:gd name="connsiteX3" fmla="*/ 0 w 5724129"/>
              <a:gd name="connsiteY3" fmla="*/ 5153180 h 5157788"/>
              <a:gd name="connsiteX4" fmla="*/ 1152129 w 5724129"/>
              <a:gd name="connsiteY4" fmla="*/ 3425937 h 5157788"/>
              <a:gd name="connsiteX5" fmla="*/ 2988333 w 5724129"/>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1188132 w 5760132"/>
              <a:gd name="connsiteY4" fmla="*/ 3425937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3024336 w 5760132"/>
              <a:gd name="connsiteY0" fmla="*/ 0 h 5157788"/>
              <a:gd name="connsiteX1" fmla="*/ 5760132 w 5760132"/>
              <a:gd name="connsiteY1" fmla="*/ 0 h 5157788"/>
              <a:gd name="connsiteX2" fmla="*/ 5760132 w 5760132"/>
              <a:gd name="connsiteY2" fmla="*/ 5157788 h 5157788"/>
              <a:gd name="connsiteX3" fmla="*/ 0 w 5760132"/>
              <a:gd name="connsiteY3" fmla="*/ 5153180 h 5157788"/>
              <a:gd name="connsiteX4" fmla="*/ 2736304 w 5760132"/>
              <a:gd name="connsiteY4" fmla="*/ 3461908 h 5157788"/>
              <a:gd name="connsiteX5" fmla="*/ 3024336 w 5760132"/>
              <a:gd name="connsiteY5" fmla="*/ 0 h 5157788"/>
              <a:gd name="connsiteX0" fmla="*/ 2160240 w 4896036"/>
              <a:gd name="connsiteY0" fmla="*/ 0 h 5157788"/>
              <a:gd name="connsiteX1" fmla="*/ 4896036 w 4896036"/>
              <a:gd name="connsiteY1" fmla="*/ 0 h 5157788"/>
              <a:gd name="connsiteX2" fmla="*/ 4896036 w 4896036"/>
              <a:gd name="connsiteY2" fmla="*/ 5157788 h 5157788"/>
              <a:gd name="connsiteX3" fmla="*/ 0 w 4896036"/>
              <a:gd name="connsiteY3" fmla="*/ 5153180 h 5157788"/>
              <a:gd name="connsiteX4" fmla="*/ 1872208 w 4896036"/>
              <a:gd name="connsiteY4" fmla="*/ 3461908 h 5157788"/>
              <a:gd name="connsiteX5" fmla="*/ 2160240 w 4896036"/>
              <a:gd name="connsiteY5" fmla="*/ 0 h 5157788"/>
              <a:gd name="connsiteX0" fmla="*/ 2232248 w 4968044"/>
              <a:gd name="connsiteY0" fmla="*/ 0 h 5157788"/>
              <a:gd name="connsiteX1" fmla="*/ 4968044 w 4968044"/>
              <a:gd name="connsiteY1" fmla="*/ 0 h 5157788"/>
              <a:gd name="connsiteX2" fmla="*/ 4968044 w 4968044"/>
              <a:gd name="connsiteY2" fmla="*/ 5157788 h 5157788"/>
              <a:gd name="connsiteX3" fmla="*/ 0 w 4968044"/>
              <a:gd name="connsiteY3" fmla="*/ 5153180 h 5157788"/>
              <a:gd name="connsiteX4" fmla="*/ 1944216 w 4968044"/>
              <a:gd name="connsiteY4" fmla="*/ 3461908 h 5157788"/>
              <a:gd name="connsiteX5" fmla="*/ 2232248 w 4968044"/>
              <a:gd name="connsiteY5" fmla="*/ 0 h 5157788"/>
              <a:gd name="connsiteX0" fmla="*/ 2207679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207679 w 4943475"/>
              <a:gd name="connsiteY5" fmla="*/ 0 h 5157788"/>
              <a:gd name="connsiteX0" fmla="*/ 2963763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963763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919647 w 4943475"/>
              <a:gd name="connsiteY4" fmla="*/ 3461908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092200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71575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184275 w 4943475"/>
              <a:gd name="connsiteY4" fmla="*/ 263289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343583 w 4943475"/>
              <a:gd name="connsiteY4" fmla="*/ 2634556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675731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675731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1735 w 4943475"/>
              <a:gd name="connsiteY0" fmla="*/ 0 h 5157788"/>
              <a:gd name="connsiteX1" fmla="*/ 4943475 w 4943475"/>
              <a:gd name="connsiteY1" fmla="*/ 0 h 5157788"/>
              <a:gd name="connsiteX2" fmla="*/ 4943475 w 4943475"/>
              <a:gd name="connsiteY2" fmla="*/ 5157788 h 5157788"/>
              <a:gd name="connsiteX3" fmla="*/ 0 w 4943475"/>
              <a:gd name="connsiteY3" fmla="*/ 5153180 h 5157788"/>
              <a:gd name="connsiteX4" fmla="*/ 1235571 w 4943475"/>
              <a:gd name="connsiteY4" fmla="*/ 2562613 h 5157788"/>
              <a:gd name="connsiteX5" fmla="*/ 2711735 w 4943475"/>
              <a:gd name="connsiteY5" fmla="*/ 0 h 5157788"/>
              <a:gd name="connsiteX0" fmla="*/ 2719672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19672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 name="connsiteX0" fmla="*/ 2706687 w 4951412"/>
              <a:gd name="connsiteY0" fmla="*/ 0 h 5157788"/>
              <a:gd name="connsiteX1" fmla="*/ 4951412 w 4951412"/>
              <a:gd name="connsiteY1" fmla="*/ 0 h 5157788"/>
              <a:gd name="connsiteX2" fmla="*/ 4951412 w 4951412"/>
              <a:gd name="connsiteY2" fmla="*/ 5157788 h 5157788"/>
              <a:gd name="connsiteX3" fmla="*/ 0 w 4951412"/>
              <a:gd name="connsiteY3" fmla="*/ 5153180 h 5157788"/>
              <a:gd name="connsiteX4" fmla="*/ 1243508 w 4951412"/>
              <a:gd name="connsiteY4" fmla="*/ 2562613 h 5157788"/>
              <a:gd name="connsiteX5" fmla="*/ 2706687 w 4951412"/>
              <a:gd name="connsiteY5" fmla="*/ 0 h 51577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51412" h="5157788">
                <a:moveTo>
                  <a:pt x="2706687" y="0"/>
                </a:moveTo>
                <a:lnTo>
                  <a:pt x="4951412" y="0"/>
                </a:lnTo>
                <a:lnTo>
                  <a:pt x="4951412" y="5157788"/>
                </a:lnTo>
                <a:lnTo>
                  <a:pt x="0" y="5153180"/>
                </a:lnTo>
                <a:cubicBezTo>
                  <a:pt x="84411" y="4542509"/>
                  <a:pt x="183041" y="4024723"/>
                  <a:pt x="1243508" y="2562613"/>
                </a:cubicBezTo>
                <a:cubicBezTo>
                  <a:pt x="1867447" y="1704780"/>
                  <a:pt x="2665955" y="709265"/>
                  <a:pt x="2706687" y="0"/>
                </a:cubicBezTo>
                <a:close/>
              </a:path>
            </a:pathLst>
          </a:custGeom>
          <a:solidFill>
            <a:schemeClr val="bg2"/>
          </a:solidFill>
          <a:ln w="3175">
            <a:noFill/>
          </a:ln>
        </p:spPr>
        <p:txBody>
          <a:bodyPr tIns="720000" anchor="ctr" anchorCtr="0"/>
          <a:lstStyle>
            <a:lvl1pPr algn="ctr">
              <a:defRPr sz="2000">
                <a:solidFill>
                  <a:schemeClr val="bg1"/>
                </a:solidFill>
              </a:defRPr>
            </a:lvl1pPr>
          </a:lstStyle>
          <a:p>
            <a:r>
              <a:rPr lang="en-GB" noProof="0"/>
              <a:t>Select your own photo</a:t>
            </a:r>
          </a:p>
        </p:txBody>
      </p:sp>
      <p:sp>
        <p:nvSpPr>
          <p:cNvPr id="13" name="Espace réservé du texte 4"/>
          <p:cNvSpPr>
            <a:spLocks noGrp="1"/>
          </p:cNvSpPr>
          <p:nvPr>
            <p:ph type="body" sz="quarter" idx="19"/>
          </p:nvPr>
        </p:nvSpPr>
        <p:spPr>
          <a:xfrm>
            <a:off x="7440085" y="5445224"/>
            <a:ext cx="4751916" cy="367521"/>
          </a:xfrm>
          <a:solidFill>
            <a:schemeClr val="bg1">
              <a:alpha val="60000"/>
            </a:schemeClr>
          </a:solidFill>
        </p:spPr>
        <p:txBody>
          <a:bodyPr anchor="ctr" anchorCtr="0"/>
          <a:lstStyle>
            <a:lvl1pPr algn="ctr">
              <a:defRPr sz="1400" b="0" i="1"/>
            </a:lvl1pPr>
            <a:lvl2pPr algn="ctr">
              <a:defRPr sz="1333" b="0" i="1"/>
            </a:lvl2pPr>
            <a:lvl3pPr algn="ctr">
              <a:defRPr sz="1200" b="0" i="1"/>
            </a:lvl3pPr>
            <a:lvl4pPr algn="ctr">
              <a:defRPr sz="1200" b="0" i="1"/>
            </a:lvl4pPr>
            <a:lvl5pPr algn="ctr">
              <a:defRPr sz="1067" b="0" i="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Tree>
    <p:extLst>
      <p:ext uri="{BB962C8B-B14F-4D97-AF65-F5344CB8AC3E}">
        <p14:creationId xmlns:p14="http://schemas.microsoft.com/office/powerpoint/2010/main" val="242725111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96.xml"/><Relationship Id="rId13" Type="http://schemas.openxmlformats.org/officeDocument/2006/relationships/slideLayout" Target="../slideLayouts/slideLayout301.xml"/><Relationship Id="rId18" Type="http://schemas.openxmlformats.org/officeDocument/2006/relationships/slideLayout" Target="../slideLayouts/slideLayout306.xml"/><Relationship Id="rId26" Type="http://schemas.openxmlformats.org/officeDocument/2006/relationships/image" Target="../media/image49.emf"/><Relationship Id="rId3" Type="http://schemas.openxmlformats.org/officeDocument/2006/relationships/slideLayout" Target="../slideLayouts/slideLayout291.xml"/><Relationship Id="rId21" Type="http://schemas.openxmlformats.org/officeDocument/2006/relationships/slideLayout" Target="../slideLayouts/slideLayout309.xml"/><Relationship Id="rId7" Type="http://schemas.openxmlformats.org/officeDocument/2006/relationships/slideLayout" Target="../slideLayouts/slideLayout295.xml"/><Relationship Id="rId12" Type="http://schemas.openxmlformats.org/officeDocument/2006/relationships/slideLayout" Target="../slideLayouts/slideLayout300.xml"/><Relationship Id="rId17" Type="http://schemas.openxmlformats.org/officeDocument/2006/relationships/slideLayout" Target="../slideLayouts/slideLayout305.xml"/><Relationship Id="rId25" Type="http://schemas.openxmlformats.org/officeDocument/2006/relationships/oleObject" Target="../embeddings/oleObject6.bin"/><Relationship Id="rId2" Type="http://schemas.openxmlformats.org/officeDocument/2006/relationships/slideLayout" Target="../slideLayouts/slideLayout290.xml"/><Relationship Id="rId16" Type="http://schemas.openxmlformats.org/officeDocument/2006/relationships/slideLayout" Target="../slideLayouts/slideLayout304.xml"/><Relationship Id="rId20" Type="http://schemas.openxmlformats.org/officeDocument/2006/relationships/slideLayout" Target="../slideLayouts/slideLayout308.xml"/><Relationship Id="rId1" Type="http://schemas.openxmlformats.org/officeDocument/2006/relationships/slideLayout" Target="../slideLayouts/slideLayout289.xml"/><Relationship Id="rId6" Type="http://schemas.openxmlformats.org/officeDocument/2006/relationships/slideLayout" Target="../slideLayouts/slideLayout294.xml"/><Relationship Id="rId11" Type="http://schemas.openxmlformats.org/officeDocument/2006/relationships/slideLayout" Target="../slideLayouts/slideLayout299.xml"/><Relationship Id="rId24" Type="http://schemas.openxmlformats.org/officeDocument/2006/relationships/tags" Target="../tags/tag6.xml"/><Relationship Id="rId5" Type="http://schemas.openxmlformats.org/officeDocument/2006/relationships/slideLayout" Target="../slideLayouts/slideLayout293.xml"/><Relationship Id="rId15" Type="http://schemas.openxmlformats.org/officeDocument/2006/relationships/slideLayout" Target="../slideLayouts/slideLayout303.xml"/><Relationship Id="rId23" Type="http://schemas.openxmlformats.org/officeDocument/2006/relationships/theme" Target="../theme/theme10.xml"/><Relationship Id="rId10" Type="http://schemas.openxmlformats.org/officeDocument/2006/relationships/slideLayout" Target="../slideLayouts/slideLayout298.xml"/><Relationship Id="rId19" Type="http://schemas.openxmlformats.org/officeDocument/2006/relationships/slideLayout" Target="../slideLayouts/slideLayout307.xml"/><Relationship Id="rId4" Type="http://schemas.openxmlformats.org/officeDocument/2006/relationships/slideLayout" Target="../slideLayouts/slideLayout292.xml"/><Relationship Id="rId9" Type="http://schemas.openxmlformats.org/officeDocument/2006/relationships/slideLayout" Target="../slideLayouts/slideLayout297.xml"/><Relationship Id="rId14" Type="http://schemas.openxmlformats.org/officeDocument/2006/relationships/slideLayout" Target="../slideLayouts/slideLayout302.xml"/><Relationship Id="rId22" Type="http://schemas.openxmlformats.org/officeDocument/2006/relationships/slideLayout" Target="../slideLayouts/slideLayout31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318.xml"/><Relationship Id="rId13" Type="http://schemas.openxmlformats.org/officeDocument/2006/relationships/slideLayout" Target="../slideLayouts/slideLayout323.xml"/><Relationship Id="rId18" Type="http://schemas.openxmlformats.org/officeDocument/2006/relationships/slideLayout" Target="../slideLayouts/slideLayout328.xml"/><Relationship Id="rId3" Type="http://schemas.openxmlformats.org/officeDocument/2006/relationships/slideLayout" Target="../slideLayouts/slideLayout313.xml"/><Relationship Id="rId21" Type="http://schemas.openxmlformats.org/officeDocument/2006/relationships/theme" Target="../theme/theme11.xml"/><Relationship Id="rId7" Type="http://schemas.openxmlformats.org/officeDocument/2006/relationships/slideLayout" Target="../slideLayouts/slideLayout317.xml"/><Relationship Id="rId12" Type="http://schemas.openxmlformats.org/officeDocument/2006/relationships/slideLayout" Target="../slideLayouts/slideLayout322.xml"/><Relationship Id="rId17" Type="http://schemas.openxmlformats.org/officeDocument/2006/relationships/slideLayout" Target="../slideLayouts/slideLayout327.xml"/><Relationship Id="rId25" Type="http://schemas.openxmlformats.org/officeDocument/2006/relationships/image" Target="../media/image25.png"/><Relationship Id="rId2" Type="http://schemas.openxmlformats.org/officeDocument/2006/relationships/slideLayout" Target="../slideLayouts/slideLayout312.xml"/><Relationship Id="rId16" Type="http://schemas.openxmlformats.org/officeDocument/2006/relationships/slideLayout" Target="../slideLayouts/slideLayout326.xml"/><Relationship Id="rId20" Type="http://schemas.openxmlformats.org/officeDocument/2006/relationships/slideLayout" Target="../slideLayouts/slideLayout330.xml"/><Relationship Id="rId1" Type="http://schemas.openxmlformats.org/officeDocument/2006/relationships/slideLayout" Target="../slideLayouts/slideLayout311.xml"/><Relationship Id="rId6" Type="http://schemas.openxmlformats.org/officeDocument/2006/relationships/slideLayout" Target="../slideLayouts/slideLayout316.xml"/><Relationship Id="rId11" Type="http://schemas.openxmlformats.org/officeDocument/2006/relationships/slideLayout" Target="../slideLayouts/slideLayout321.xml"/><Relationship Id="rId24" Type="http://schemas.openxmlformats.org/officeDocument/2006/relationships/image" Target="../media/image24.emf"/><Relationship Id="rId5" Type="http://schemas.openxmlformats.org/officeDocument/2006/relationships/slideLayout" Target="../slideLayouts/slideLayout315.xml"/><Relationship Id="rId15" Type="http://schemas.openxmlformats.org/officeDocument/2006/relationships/slideLayout" Target="../slideLayouts/slideLayout325.xml"/><Relationship Id="rId23" Type="http://schemas.openxmlformats.org/officeDocument/2006/relationships/oleObject" Target="../embeddings/oleObject7.bin"/><Relationship Id="rId10" Type="http://schemas.openxmlformats.org/officeDocument/2006/relationships/slideLayout" Target="../slideLayouts/slideLayout320.xml"/><Relationship Id="rId19" Type="http://schemas.openxmlformats.org/officeDocument/2006/relationships/slideLayout" Target="../slideLayouts/slideLayout329.xml"/><Relationship Id="rId4" Type="http://schemas.openxmlformats.org/officeDocument/2006/relationships/slideLayout" Target="../slideLayouts/slideLayout314.xml"/><Relationship Id="rId9" Type="http://schemas.openxmlformats.org/officeDocument/2006/relationships/slideLayout" Target="../slideLayouts/slideLayout319.xml"/><Relationship Id="rId14" Type="http://schemas.openxmlformats.org/officeDocument/2006/relationships/slideLayout" Target="../slideLayouts/slideLayout324.xml"/><Relationship Id="rId22" Type="http://schemas.openxmlformats.org/officeDocument/2006/relationships/tags" Target="../tags/tag7.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338.xml"/><Relationship Id="rId13" Type="http://schemas.openxmlformats.org/officeDocument/2006/relationships/slideLayout" Target="../slideLayouts/slideLayout343.xml"/><Relationship Id="rId18" Type="http://schemas.openxmlformats.org/officeDocument/2006/relationships/slideLayout" Target="../slideLayouts/slideLayout348.xml"/><Relationship Id="rId26" Type="http://schemas.openxmlformats.org/officeDocument/2006/relationships/theme" Target="../theme/theme12.xml"/><Relationship Id="rId3" Type="http://schemas.openxmlformats.org/officeDocument/2006/relationships/slideLayout" Target="../slideLayouts/slideLayout333.xml"/><Relationship Id="rId21" Type="http://schemas.openxmlformats.org/officeDocument/2006/relationships/slideLayout" Target="../slideLayouts/slideLayout351.xml"/><Relationship Id="rId7" Type="http://schemas.openxmlformats.org/officeDocument/2006/relationships/slideLayout" Target="../slideLayouts/slideLayout337.xml"/><Relationship Id="rId12" Type="http://schemas.openxmlformats.org/officeDocument/2006/relationships/slideLayout" Target="../slideLayouts/slideLayout342.xml"/><Relationship Id="rId17" Type="http://schemas.openxmlformats.org/officeDocument/2006/relationships/slideLayout" Target="../slideLayouts/slideLayout347.xml"/><Relationship Id="rId25" Type="http://schemas.openxmlformats.org/officeDocument/2006/relationships/slideLayout" Target="../slideLayouts/slideLayout355.xml"/><Relationship Id="rId2" Type="http://schemas.openxmlformats.org/officeDocument/2006/relationships/slideLayout" Target="../slideLayouts/slideLayout332.xml"/><Relationship Id="rId16" Type="http://schemas.openxmlformats.org/officeDocument/2006/relationships/slideLayout" Target="../slideLayouts/slideLayout346.xml"/><Relationship Id="rId20" Type="http://schemas.openxmlformats.org/officeDocument/2006/relationships/slideLayout" Target="../slideLayouts/slideLayout350.xml"/><Relationship Id="rId29" Type="http://schemas.openxmlformats.org/officeDocument/2006/relationships/image" Target="../media/image24.emf"/><Relationship Id="rId1" Type="http://schemas.openxmlformats.org/officeDocument/2006/relationships/slideLayout" Target="../slideLayouts/slideLayout331.xml"/><Relationship Id="rId6" Type="http://schemas.openxmlformats.org/officeDocument/2006/relationships/slideLayout" Target="../slideLayouts/slideLayout336.xml"/><Relationship Id="rId11" Type="http://schemas.openxmlformats.org/officeDocument/2006/relationships/slideLayout" Target="../slideLayouts/slideLayout341.xml"/><Relationship Id="rId24" Type="http://schemas.openxmlformats.org/officeDocument/2006/relationships/slideLayout" Target="../slideLayouts/slideLayout354.xml"/><Relationship Id="rId5" Type="http://schemas.openxmlformats.org/officeDocument/2006/relationships/slideLayout" Target="../slideLayouts/slideLayout335.xml"/><Relationship Id="rId15" Type="http://schemas.openxmlformats.org/officeDocument/2006/relationships/slideLayout" Target="../slideLayouts/slideLayout345.xml"/><Relationship Id="rId23" Type="http://schemas.openxmlformats.org/officeDocument/2006/relationships/slideLayout" Target="../slideLayouts/slideLayout353.xml"/><Relationship Id="rId28" Type="http://schemas.openxmlformats.org/officeDocument/2006/relationships/oleObject" Target="../embeddings/oleObject8.bin"/><Relationship Id="rId10" Type="http://schemas.openxmlformats.org/officeDocument/2006/relationships/slideLayout" Target="../slideLayouts/slideLayout340.xml"/><Relationship Id="rId19" Type="http://schemas.openxmlformats.org/officeDocument/2006/relationships/slideLayout" Target="../slideLayouts/slideLayout349.xml"/><Relationship Id="rId4" Type="http://schemas.openxmlformats.org/officeDocument/2006/relationships/slideLayout" Target="../slideLayouts/slideLayout334.xml"/><Relationship Id="rId9" Type="http://schemas.openxmlformats.org/officeDocument/2006/relationships/slideLayout" Target="../slideLayouts/slideLayout339.xml"/><Relationship Id="rId14" Type="http://schemas.openxmlformats.org/officeDocument/2006/relationships/slideLayout" Target="../slideLayouts/slideLayout344.xml"/><Relationship Id="rId22" Type="http://schemas.openxmlformats.org/officeDocument/2006/relationships/slideLayout" Target="../slideLayouts/slideLayout352.xml"/><Relationship Id="rId27" Type="http://schemas.openxmlformats.org/officeDocument/2006/relationships/tags" Target="../tags/tag8.xml"/><Relationship Id="rId30" Type="http://schemas.openxmlformats.org/officeDocument/2006/relationships/image" Target="../media/image25.png"/></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363.xml"/><Relationship Id="rId13" Type="http://schemas.openxmlformats.org/officeDocument/2006/relationships/slideLayout" Target="../slideLayouts/slideLayout368.xml"/><Relationship Id="rId18" Type="http://schemas.openxmlformats.org/officeDocument/2006/relationships/slideLayout" Target="../slideLayouts/slideLayout373.xml"/><Relationship Id="rId26" Type="http://schemas.openxmlformats.org/officeDocument/2006/relationships/slideLayout" Target="../slideLayouts/slideLayout381.xml"/><Relationship Id="rId39" Type="http://schemas.openxmlformats.org/officeDocument/2006/relationships/slideLayout" Target="../slideLayouts/slideLayout394.xml"/><Relationship Id="rId3" Type="http://schemas.openxmlformats.org/officeDocument/2006/relationships/slideLayout" Target="../slideLayouts/slideLayout358.xml"/><Relationship Id="rId21" Type="http://schemas.openxmlformats.org/officeDocument/2006/relationships/slideLayout" Target="../slideLayouts/slideLayout376.xml"/><Relationship Id="rId34" Type="http://schemas.openxmlformats.org/officeDocument/2006/relationships/slideLayout" Target="../slideLayouts/slideLayout389.xml"/><Relationship Id="rId42" Type="http://schemas.openxmlformats.org/officeDocument/2006/relationships/slideLayout" Target="../slideLayouts/slideLayout397.xml"/><Relationship Id="rId47" Type="http://schemas.openxmlformats.org/officeDocument/2006/relationships/slideLayout" Target="../slideLayouts/slideLayout402.xml"/><Relationship Id="rId7" Type="http://schemas.openxmlformats.org/officeDocument/2006/relationships/slideLayout" Target="../slideLayouts/slideLayout362.xml"/><Relationship Id="rId12" Type="http://schemas.openxmlformats.org/officeDocument/2006/relationships/slideLayout" Target="../slideLayouts/slideLayout367.xml"/><Relationship Id="rId17" Type="http://schemas.openxmlformats.org/officeDocument/2006/relationships/slideLayout" Target="../slideLayouts/slideLayout372.xml"/><Relationship Id="rId25" Type="http://schemas.openxmlformats.org/officeDocument/2006/relationships/slideLayout" Target="../slideLayouts/slideLayout380.xml"/><Relationship Id="rId33" Type="http://schemas.openxmlformats.org/officeDocument/2006/relationships/slideLayout" Target="../slideLayouts/slideLayout388.xml"/><Relationship Id="rId38" Type="http://schemas.openxmlformats.org/officeDocument/2006/relationships/slideLayout" Target="../slideLayouts/slideLayout393.xml"/><Relationship Id="rId46" Type="http://schemas.openxmlformats.org/officeDocument/2006/relationships/slideLayout" Target="../slideLayouts/slideLayout401.xml"/><Relationship Id="rId2" Type="http://schemas.openxmlformats.org/officeDocument/2006/relationships/slideLayout" Target="../slideLayouts/slideLayout357.xml"/><Relationship Id="rId16" Type="http://schemas.openxmlformats.org/officeDocument/2006/relationships/slideLayout" Target="../slideLayouts/slideLayout371.xml"/><Relationship Id="rId20" Type="http://schemas.openxmlformats.org/officeDocument/2006/relationships/slideLayout" Target="../slideLayouts/slideLayout375.xml"/><Relationship Id="rId29" Type="http://schemas.openxmlformats.org/officeDocument/2006/relationships/slideLayout" Target="../slideLayouts/slideLayout384.xml"/><Relationship Id="rId41" Type="http://schemas.openxmlformats.org/officeDocument/2006/relationships/slideLayout" Target="../slideLayouts/slideLayout396.xml"/><Relationship Id="rId1" Type="http://schemas.openxmlformats.org/officeDocument/2006/relationships/slideLayout" Target="../slideLayouts/slideLayout356.xml"/><Relationship Id="rId6" Type="http://schemas.openxmlformats.org/officeDocument/2006/relationships/slideLayout" Target="../slideLayouts/slideLayout361.xml"/><Relationship Id="rId11" Type="http://schemas.openxmlformats.org/officeDocument/2006/relationships/slideLayout" Target="../slideLayouts/slideLayout366.xml"/><Relationship Id="rId24" Type="http://schemas.openxmlformats.org/officeDocument/2006/relationships/slideLayout" Target="../slideLayouts/slideLayout379.xml"/><Relationship Id="rId32" Type="http://schemas.openxmlformats.org/officeDocument/2006/relationships/slideLayout" Target="../slideLayouts/slideLayout387.xml"/><Relationship Id="rId37" Type="http://schemas.openxmlformats.org/officeDocument/2006/relationships/slideLayout" Target="../slideLayouts/slideLayout392.xml"/><Relationship Id="rId40" Type="http://schemas.openxmlformats.org/officeDocument/2006/relationships/slideLayout" Target="../slideLayouts/slideLayout395.xml"/><Relationship Id="rId45" Type="http://schemas.openxmlformats.org/officeDocument/2006/relationships/slideLayout" Target="../slideLayouts/slideLayout400.xml"/><Relationship Id="rId5" Type="http://schemas.openxmlformats.org/officeDocument/2006/relationships/slideLayout" Target="../slideLayouts/slideLayout360.xml"/><Relationship Id="rId15" Type="http://schemas.openxmlformats.org/officeDocument/2006/relationships/slideLayout" Target="../slideLayouts/slideLayout370.xml"/><Relationship Id="rId23" Type="http://schemas.openxmlformats.org/officeDocument/2006/relationships/slideLayout" Target="../slideLayouts/slideLayout378.xml"/><Relationship Id="rId28" Type="http://schemas.openxmlformats.org/officeDocument/2006/relationships/slideLayout" Target="../slideLayouts/slideLayout383.xml"/><Relationship Id="rId36" Type="http://schemas.openxmlformats.org/officeDocument/2006/relationships/slideLayout" Target="../slideLayouts/slideLayout391.xml"/><Relationship Id="rId10" Type="http://schemas.openxmlformats.org/officeDocument/2006/relationships/slideLayout" Target="../slideLayouts/slideLayout365.xml"/><Relationship Id="rId19" Type="http://schemas.openxmlformats.org/officeDocument/2006/relationships/slideLayout" Target="../slideLayouts/slideLayout374.xml"/><Relationship Id="rId31" Type="http://schemas.openxmlformats.org/officeDocument/2006/relationships/slideLayout" Target="../slideLayouts/slideLayout386.xml"/><Relationship Id="rId44" Type="http://schemas.openxmlformats.org/officeDocument/2006/relationships/slideLayout" Target="../slideLayouts/slideLayout399.xml"/><Relationship Id="rId4" Type="http://schemas.openxmlformats.org/officeDocument/2006/relationships/slideLayout" Target="../slideLayouts/slideLayout359.xml"/><Relationship Id="rId9" Type="http://schemas.openxmlformats.org/officeDocument/2006/relationships/slideLayout" Target="../slideLayouts/slideLayout364.xml"/><Relationship Id="rId14" Type="http://schemas.openxmlformats.org/officeDocument/2006/relationships/slideLayout" Target="../slideLayouts/slideLayout369.xml"/><Relationship Id="rId22" Type="http://schemas.openxmlformats.org/officeDocument/2006/relationships/slideLayout" Target="../slideLayouts/slideLayout377.xml"/><Relationship Id="rId27" Type="http://schemas.openxmlformats.org/officeDocument/2006/relationships/slideLayout" Target="../slideLayouts/slideLayout382.xml"/><Relationship Id="rId30" Type="http://schemas.openxmlformats.org/officeDocument/2006/relationships/slideLayout" Target="../slideLayouts/slideLayout385.xml"/><Relationship Id="rId35" Type="http://schemas.openxmlformats.org/officeDocument/2006/relationships/slideLayout" Target="../slideLayouts/slideLayout390.xml"/><Relationship Id="rId43" Type="http://schemas.openxmlformats.org/officeDocument/2006/relationships/slideLayout" Target="../slideLayouts/slideLayout398.xml"/><Relationship Id="rId48"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410.xml"/><Relationship Id="rId13" Type="http://schemas.openxmlformats.org/officeDocument/2006/relationships/slideLayout" Target="../slideLayouts/slideLayout415.xml"/><Relationship Id="rId18" Type="http://schemas.openxmlformats.org/officeDocument/2006/relationships/slideLayout" Target="../slideLayouts/slideLayout420.xml"/><Relationship Id="rId26" Type="http://schemas.openxmlformats.org/officeDocument/2006/relationships/image" Target="../media/image49.emf"/><Relationship Id="rId3" Type="http://schemas.openxmlformats.org/officeDocument/2006/relationships/slideLayout" Target="../slideLayouts/slideLayout405.xml"/><Relationship Id="rId21" Type="http://schemas.openxmlformats.org/officeDocument/2006/relationships/slideLayout" Target="../slideLayouts/slideLayout423.xml"/><Relationship Id="rId7" Type="http://schemas.openxmlformats.org/officeDocument/2006/relationships/slideLayout" Target="../slideLayouts/slideLayout409.xml"/><Relationship Id="rId12" Type="http://schemas.openxmlformats.org/officeDocument/2006/relationships/slideLayout" Target="../slideLayouts/slideLayout414.xml"/><Relationship Id="rId17" Type="http://schemas.openxmlformats.org/officeDocument/2006/relationships/slideLayout" Target="../slideLayouts/slideLayout419.xml"/><Relationship Id="rId25" Type="http://schemas.openxmlformats.org/officeDocument/2006/relationships/oleObject" Target="../embeddings/oleObject9.bin"/><Relationship Id="rId2" Type="http://schemas.openxmlformats.org/officeDocument/2006/relationships/slideLayout" Target="../slideLayouts/slideLayout404.xml"/><Relationship Id="rId16" Type="http://schemas.openxmlformats.org/officeDocument/2006/relationships/slideLayout" Target="../slideLayouts/slideLayout418.xml"/><Relationship Id="rId20" Type="http://schemas.openxmlformats.org/officeDocument/2006/relationships/slideLayout" Target="../slideLayouts/slideLayout422.xml"/><Relationship Id="rId1" Type="http://schemas.openxmlformats.org/officeDocument/2006/relationships/slideLayout" Target="../slideLayouts/slideLayout403.xml"/><Relationship Id="rId6" Type="http://schemas.openxmlformats.org/officeDocument/2006/relationships/slideLayout" Target="../slideLayouts/slideLayout408.xml"/><Relationship Id="rId11" Type="http://schemas.openxmlformats.org/officeDocument/2006/relationships/slideLayout" Target="../slideLayouts/slideLayout413.xml"/><Relationship Id="rId24" Type="http://schemas.openxmlformats.org/officeDocument/2006/relationships/tags" Target="../tags/tag9.xml"/><Relationship Id="rId5" Type="http://schemas.openxmlformats.org/officeDocument/2006/relationships/slideLayout" Target="../slideLayouts/slideLayout407.xml"/><Relationship Id="rId15" Type="http://schemas.openxmlformats.org/officeDocument/2006/relationships/slideLayout" Target="../slideLayouts/slideLayout417.xml"/><Relationship Id="rId23" Type="http://schemas.openxmlformats.org/officeDocument/2006/relationships/theme" Target="../theme/theme14.xml"/><Relationship Id="rId10" Type="http://schemas.openxmlformats.org/officeDocument/2006/relationships/slideLayout" Target="../slideLayouts/slideLayout412.xml"/><Relationship Id="rId19" Type="http://schemas.openxmlformats.org/officeDocument/2006/relationships/slideLayout" Target="../slideLayouts/slideLayout421.xml"/><Relationship Id="rId4" Type="http://schemas.openxmlformats.org/officeDocument/2006/relationships/slideLayout" Target="../slideLayouts/slideLayout406.xml"/><Relationship Id="rId9" Type="http://schemas.openxmlformats.org/officeDocument/2006/relationships/slideLayout" Target="../slideLayouts/slideLayout411.xml"/><Relationship Id="rId14" Type="http://schemas.openxmlformats.org/officeDocument/2006/relationships/slideLayout" Target="../slideLayouts/slideLayout416.xml"/><Relationship Id="rId22" Type="http://schemas.openxmlformats.org/officeDocument/2006/relationships/slideLayout" Target="../slideLayouts/slideLayout424.xml"/></Relationships>
</file>

<file path=ppt/slideMasters/_rels/slideMaster15.xml.rels><?xml version="1.0" encoding="UTF-8" standalone="yes"?>
<Relationships xmlns="http://schemas.openxmlformats.org/package/2006/relationships"><Relationship Id="rId13" Type="http://schemas.openxmlformats.org/officeDocument/2006/relationships/slideLayout" Target="../slideLayouts/slideLayout437.xml"/><Relationship Id="rId18" Type="http://schemas.openxmlformats.org/officeDocument/2006/relationships/slideLayout" Target="../slideLayouts/slideLayout442.xml"/><Relationship Id="rId26" Type="http://schemas.openxmlformats.org/officeDocument/2006/relationships/slideLayout" Target="../slideLayouts/slideLayout450.xml"/><Relationship Id="rId39" Type="http://schemas.openxmlformats.org/officeDocument/2006/relationships/slideLayout" Target="../slideLayouts/slideLayout463.xml"/><Relationship Id="rId3" Type="http://schemas.openxmlformats.org/officeDocument/2006/relationships/slideLayout" Target="../slideLayouts/slideLayout427.xml"/><Relationship Id="rId21" Type="http://schemas.openxmlformats.org/officeDocument/2006/relationships/slideLayout" Target="../slideLayouts/slideLayout445.xml"/><Relationship Id="rId34" Type="http://schemas.openxmlformats.org/officeDocument/2006/relationships/slideLayout" Target="../slideLayouts/slideLayout458.xml"/><Relationship Id="rId42" Type="http://schemas.openxmlformats.org/officeDocument/2006/relationships/slideLayout" Target="../slideLayouts/slideLayout466.xml"/><Relationship Id="rId47" Type="http://schemas.openxmlformats.org/officeDocument/2006/relationships/slideLayout" Target="../slideLayouts/slideLayout471.xml"/><Relationship Id="rId50" Type="http://schemas.openxmlformats.org/officeDocument/2006/relationships/oleObject" Target="../embeddings/oleObject10.bin"/><Relationship Id="rId7" Type="http://schemas.openxmlformats.org/officeDocument/2006/relationships/slideLayout" Target="../slideLayouts/slideLayout431.xml"/><Relationship Id="rId12" Type="http://schemas.openxmlformats.org/officeDocument/2006/relationships/slideLayout" Target="../slideLayouts/slideLayout436.xml"/><Relationship Id="rId17" Type="http://schemas.openxmlformats.org/officeDocument/2006/relationships/slideLayout" Target="../slideLayouts/slideLayout441.xml"/><Relationship Id="rId25" Type="http://schemas.openxmlformats.org/officeDocument/2006/relationships/slideLayout" Target="../slideLayouts/slideLayout449.xml"/><Relationship Id="rId33" Type="http://schemas.openxmlformats.org/officeDocument/2006/relationships/slideLayout" Target="../slideLayouts/slideLayout457.xml"/><Relationship Id="rId38" Type="http://schemas.openxmlformats.org/officeDocument/2006/relationships/slideLayout" Target="../slideLayouts/slideLayout462.xml"/><Relationship Id="rId46" Type="http://schemas.openxmlformats.org/officeDocument/2006/relationships/slideLayout" Target="../slideLayouts/slideLayout470.xml"/><Relationship Id="rId2" Type="http://schemas.openxmlformats.org/officeDocument/2006/relationships/slideLayout" Target="../slideLayouts/slideLayout426.xml"/><Relationship Id="rId16" Type="http://schemas.openxmlformats.org/officeDocument/2006/relationships/slideLayout" Target="../slideLayouts/slideLayout440.xml"/><Relationship Id="rId20" Type="http://schemas.openxmlformats.org/officeDocument/2006/relationships/slideLayout" Target="../slideLayouts/slideLayout444.xml"/><Relationship Id="rId29" Type="http://schemas.openxmlformats.org/officeDocument/2006/relationships/slideLayout" Target="../slideLayouts/slideLayout453.xml"/><Relationship Id="rId41" Type="http://schemas.openxmlformats.org/officeDocument/2006/relationships/slideLayout" Target="../slideLayouts/slideLayout465.xml"/><Relationship Id="rId1" Type="http://schemas.openxmlformats.org/officeDocument/2006/relationships/slideLayout" Target="../slideLayouts/slideLayout425.xml"/><Relationship Id="rId6" Type="http://schemas.openxmlformats.org/officeDocument/2006/relationships/slideLayout" Target="../slideLayouts/slideLayout430.xml"/><Relationship Id="rId11" Type="http://schemas.openxmlformats.org/officeDocument/2006/relationships/slideLayout" Target="../slideLayouts/slideLayout435.xml"/><Relationship Id="rId24" Type="http://schemas.openxmlformats.org/officeDocument/2006/relationships/slideLayout" Target="../slideLayouts/slideLayout448.xml"/><Relationship Id="rId32" Type="http://schemas.openxmlformats.org/officeDocument/2006/relationships/slideLayout" Target="../slideLayouts/slideLayout456.xml"/><Relationship Id="rId37" Type="http://schemas.openxmlformats.org/officeDocument/2006/relationships/slideLayout" Target="../slideLayouts/slideLayout461.xml"/><Relationship Id="rId40" Type="http://schemas.openxmlformats.org/officeDocument/2006/relationships/slideLayout" Target="../slideLayouts/slideLayout464.xml"/><Relationship Id="rId45" Type="http://schemas.openxmlformats.org/officeDocument/2006/relationships/slideLayout" Target="../slideLayouts/slideLayout469.xml"/><Relationship Id="rId5" Type="http://schemas.openxmlformats.org/officeDocument/2006/relationships/slideLayout" Target="../slideLayouts/slideLayout429.xml"/><Relationship Id="rId15" Type="http://schemas.openxmlformats.org/officeDocument/2006/relationships/slideLayout" Target="../slideLayouts/slideLayout439.xml"/><Relationship Id="rId23" Type="http://schemas.openxmlformats.org/officeDocument/2006/relationships/slideLayout" Target="../slideLayouts/slideLayout447.xml"/><Relationship Id="rId28" Type="http://schemas.openxmlformats.org/officeDocument/2006/relationships/slideLayout" Target="../slideLayouts/slideLayout452.xml"/><Relationship Id="rId36" Type="http://schemas.openxmlformats.org/officeDocument/2006/relationships/slideLayout" Target="../slideLayouts/slideLayout460.xml"/><Relationship Id="rId49" Type="http://schemas.openxmlformats.org/officeDocument/2006/relationships/tags" Target="../tags/tag10.xml"/><Relationship Id="rId10" Type="http://schemas.openxmlformats.org/officeDocument/2006/relationships/slideLayout" Target="../slideLayouts/slideLayout434.xml"/><Relationship Id="rId19" Type="http://schemas.openxmlformats.org/officeDocument/2006/relationships/slideLayout" Target="../slideLayouts/slideLayout443.xml"/><Relationship Id="rId31" Type="http://schemas.openxmlformats.org/officeDocument/2006/relationships/slideLayout" Target="../slideLayouts/slideLayout455.xml"/><Relationship Id="rId44" Type="http://schemas.openxmlformats.org/officeDocument/2006/relationships/slideLayout" Target="../slideLayouts/slideLayout468.xml"/><Relationship Id="rId4" Type="http://schemas.openxmlformats.org/officeDocument/2006/relationships/slideLayout" Target="../slideLayouts/slideLayout428.xml"/><Relationship Id="rId9" Type="http://schemas.openxmlformats.org/officeDocument/2006/relationships/slideLayout" Target="../slideLayouts/slideLayout433.xml"/><Relationship Id="rId14" Type="http://schemas.openxmlformats.org/officeDocument/2006/relationships/slideLayout" Target="../slideLayouts/slideLayout438.xml"/><Relationship Id="rId22" Type="http://schemas.openxmlformats.org/officeDocument/2006/relationships/slideLayout" Target="../slideLayouts/slideLayout446.xml"/><Relationship Id="rId27" Type="http://schemas.openxmlformats.org/officeDocument/2006/relationships/slideLayout" Target="../slideLayouts/slideLayout451.xml"/><Relationship Id="rId30" Type="http://schemas.openxmlformats.org/officeDocument/2006/relationships/slideLayout" Target="../slideLayouts/slideLayout454.xml"/><Relationship Id="rId35" Type="http://schemas.openxmlformats.org/officeDocument/2006/relationships/slideLayout" Target="../slideLayouts/slideLayout459.xml"/><Relationship Id="rId43" Type="http://schemas.openxmlformats.org/officeDocument/2006/relationships/slideLayout" Target="../slideLayouts/slideLayout467.xml"/><Relationship Id="rId48" Type="http://schemas.openxmlformats.org/officeDocument/2006/relationships/theme" Target="../theme/theme15.xml"/><Relationship Id="rId8" Type="http://schemas.openxmlformats.org/officeDocument/2006/relationships/slideLayout" Target="../slideLayouts/slideLayout432.xml"/><Relationship Id="rId51" Type="http://schemas.openxmlformats.org/officeDocument/2006/relationships/image" Target="../media/image49.emf"/></Relationships>
</file>

<file path=ppt/slideMasters/_rels/slideMaster16.xml.rels><?xml version="1.0" encoding="UTF-8" standalone="yes"?>
<Relationships xmlns="http://schemas.openxmlformats.org/package/2006/relationships"><Relationship Id="rId13" Type="http://schemas.openxmlformats.org/officeDocument/2006/relationships/slideLayout" Target="../slideLayouts/slideLayout484.xml"/><Relationship Id="rId18" Type="http://schemas.openxmlformats.org/officeDocument/2006/relationships/slideLayout" Target="../slideLayouts/slideLayout489.xml"/><Relationship Id="rId26" Type="http://schemas.openxmlformats.org/officeDocument/2006/relationships/slideLayout" Target="../slideLayouts/slideLayout497.xml"/><Relationship Id="rId39" Type="http://schemas.openxmlformats.org/officeDocument/2006/relationships/slideLayout" Target="../slideLayouts/slideLayout510.xml"/><Relationship Id="rId3" Type="http://schemas.openxmlformats.org/officeDocument/2006/relationships/slideLayout" Target="../slideLayouts/slideLayout474.xml"/><Relationship Id="rId21" Type="http://schemas.openxmlformats.org/officeDocument/2006/relationships/slideLayout" Target="../slideLayouts/slideLayout492.xml"/><Relationship Id="rId34" Type="http://schemas.openxmlformats.org/officeDocument/2006/relationships/slideLayout" Target="../slideLayouts/slideLayout505.xml"/><Relationship Id="rId42" Type="http://schemas.openxmlformats.org/officeDocument/2006/relationships/slideLayout" Target="../slideLayouts/slideLayout513.xml"/><Relationship Id="rId47" Type="http://schemas.openxmlformats.org/officeDocument/2006/relationships/theme" Target="../theme/theme16.xml"/><Relationship Id="rId50" Type="http://schemas.openxmlformats.org/officeDocument/2006/relationships/image" Target="../media/image49.emf"/><Relationship Id="rId7" Type="http://schemas.openxmlformats.org/officeDocument/2006/relationships/slideLayout" Target="../slideLayouts/slideLayout478.xml"/><Relationship Id="rId12" Type="http://schemas.openxmlformats.org/officeDocument/2006/relationships/slideLayout" Target="../slideLayouts/slideLayout483.xml"/><Relationship Id="rId17" Type="http://schemas.openxmlformats.org/officeDocument/2006/relationships/slideLayout" Target="../slideLayouts/slideLayout488.xml"/><Relationship Id="rId25" Type="http://schemas.openxmlformats.org/officeDocument/2006/relationships/slideLayout" Target="../slideLayouts/slideLayout496.xml"/><Relationship Id="rId33" Type="http://schemas.openxmlformats.org/officeDocument/2006/relationships/slideLayout" Target="../slideLayouts/slideLayout504.xml"/><Relationship Id="rId38" Type="http://schemas.openxmlformats.org/officeDocument/2006/relationships/slideLayout" Target="../slideLayouts/slideLayout509.xml"/><Relationship Id="rId46" Type="http://schemas.openxmlformats.org/officeDocument/2006/relationships/slideLayout" Target="../slideLayouts/slideLayout517.xml"/><Relationship Id="rId2" Type="http://schemas.openxmlformats.org/officeDocument/2006/relationships/slideLayout" Target="../slideLayouts/slideLayout473.xml"/><Relationship Id="rId16" Type="http://schemas.openxmlformats.org/officeDocument/2006/relationships/slideLayout" Target="../slideLayouts/slideLayout487.xml"/><Relationship Id="rId20" Type="http://schemas.openxmlformats.org/officeDocument/2006/relationships/slideLayout" Target="../slideLayouts/slideLayout491.xml"/><Relationship Id="rId29" Type="http://schemas.openxmlformats.org/officeDocument/2006/relationships/slideLayout" Target="../slideLayouts/slideLayout500.xml"/><Relationship Id="rId41" Type="http://schemas.openxmlformats.org/officeDocument/2006/relationships/slideLayout" Target="../slideLayouts/slideLayout512.xml"/><Relationship Id="rId1" Type="http://schemas.openxmlformats.org/officeDocument/2006/relationships/slideLayout" Target="../slideLayouts/slideLayout472.xml"/><Relationship Id="rId6" Type="http://schemas.openxmlformats.org/officeDocument/2006/relationships/slideLayout" Target="../slideLayouts/slideLayout477.xml"/><Relationship Id="rId11" Type="http://schemas.openxmlformats.org/officeDocument/2006/relationships/slideLayout" Target="../slideLayouts/slideLayout482.xml"/><Relationship Id="rId24" Type="http://schemas.openxmlformats.org/officeDocument/2006/relationships/slideLayout" Target="../slideLayouts/slideLayout495.xml"/><Relationship Id="rId32" Type="http://schemas.openxmlformats.org/officeDocument/2006/relationships/slideLayout" Target="../slideLayouts/slideLayout503.xml"/><Relationship Id="rId37" Type="http://schemas.openxmlformats.org/officeDocument/2006/relationships/slideLayout" Target="../slideLayouts/slideLayout508.xml"/><Relationship Id="rId40" Type="http://schemas.openxmlformats.org/officeDocument/2006/relationships/slideLayout" Target="../slideLayouts/slideLayout511.xml"/><Relationship Id="rId45" Type="http://schemas.openxmlformats.org/officeDocument/2006/relationships/slideLayout" Target="../slideLayouts/slideLayout516.xml"/><Relationship Id="rId5" Type="http://schemas.openxmlformats.org/officeDocument/2006/relationships/slideLayout" Target="../slideLayouts/slideLayout476.xml"/><Relationship Id="rId15" Type="http://schemas.openxmlformats.org/officeDocument/2006/relationships/slideLayout" Target="../slideLayouts/slideLayout486.xml"/><Relationship Id="rId23" Type="http://schemas.openxmlformats.org/officeDocument/2006/relationships/slideLayout" Target="../slideLayouts/slideLayout494.xml"/><Relationship Id="rId28" Type="http://schemas.openxmlformats.org/officeDocument/2006/relationships/slideLayout" Target="../slideLayouts/slideLayout499.xml"/><Relationship Id="rId36" Type="http://schemas.openxmlformats.org/officeDocument/2006/relationships/slideLayout" Target="../slideLayouts/slideLayout507.xml"/><Relationship Id="rId49" Type="http://schemas.openxmlformats.org/officeDocument/2006/relationships/oleObject" Target="../embeddings/oleObject11.bin"/><Relationship Id="rId10" Type="http://schemas.openxmlformats.org/officeDocument/2006/relationships/slideLayout" Target="../slideLayouts/slideLayout481.xml"/><Relationship Id="rId19" Type="http://schemas.openxmlformats.org/officeDocument/2006/relationships/slideLayout" Target="../slideLayouts/slideLayout490.xml"/><Relationship Id="rId31" Type="http://schemas.openxmlformats.org/officeDocument/2006/relationships/slideLayout" Target="../slideLayouts/slideLayout502.xml"/><Relationship Id="rId44" Type="http://schemas.openxmlformats.org/officeDocument/2006/relationships/slideLayout" Target="../slideLayouts/slideLayout515.xml"/><Relationship Id="rId4" Type="http://schemas.openxmlformats.org/officeDocument/2006/relationships/slideLayout" Target="../slideLayouts/slideLayout475.xml"/><Relationship Id="rId9" Type="http://schemas.openxmlformats.org/officeDocument/2006/relationships/slideLayout" Target="../slideLayouts/slideLayout480.xml"/><Relationship Id="rId14" Type="http://schemas.openxmlformats.org/officeDocument/2006/relationships/slideLayout" Target="../slideLayouts/slideLayout485.xml"/><Relationship Id="rId22" Type="http://schemas.openxmlformats.org/officeDocument/2006/relationships/slideLayout" Target="../slideLayouts/slideLayout493.xml"/><Relationship Id="rId27" Type="http://schemas.openxmlformats.org/officeDocument/2006/relationships/slideLayout" Target="../slideLayouts/slideLayout498.xml"/><Relationship Id="rId30" Type="http://schemas.openxmlformats.org/officeDocument/2006/relationships/slideLayout" Target="../slideLayouts/slideLayout501.xml"/><Relationship Id="rId35" Type="http://schemas.openxmlformats.org/officeDocument/2006/relationships/slideLayout" Target="../slideLayouts/slideLayout506.xml"/><Relationship Id="rId43" Type="http://schemas.openxmlformats.org/officeDocument/2006/relationships/slideLayout" Target="../slideLayouts/slideLayout514.xml"/><Relationship Id="rId48" Type="http://schemas.openxmlformats.org/officeDocument/2006/relationships/tags" Target="../tags/tag11.xml"/><Relationship Id="rId8" Type="http://schemas.openxmlformats.org/officeDocument/2006/relationships/slideLayout" Target="../slideLayouts/slideLayout47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theme" Target="../theme/theme2.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slideLayout" Target="../slideLayouts/slideLayout40.xml"/><Relationship Id="rId18" Type="http://schemas.openxmlformats.org/officeDocument/2006/relationships/slideLayout" Target="../slideLayouts/slideLayout45.xml"/><Relationship Id="rId26" Type="http://schemas.openxmlformats.org/officeDocument/2006/relationships/slideLayout" Target="../slideLayouts/slideLayout53.xml"/><Relationship Id="rId39" Type="http://schemas.openxmlformats.org/officeDocument/2006/relationships/slideLayout" Target="../slideLayouts/slideLayout66.xml"/><Relationship Id="rId3" Type="http://schemas.openxmlformats.org/officeDocument/2006/relationships/slideLayout" Target="../slideLayouts/slideLayout30.xml"/><Relationship Id="rId21" Type="http://schemas.openxmlformats.org/officeDocument/2006/relationships/slideLayout" Target="../slideLayouts/slideLayout48.xml"/><Relationship Id="rId34" Type="http://schemas.openxmlformats.org/officeDocument/2006/relationships/slideLayout" Target="../slideLayouts/slideLayout61.xml"/><Relationship Id="rId42" Type="http://schemas.openxmlformats.org/officeDocument/2006/relationships/slideLayout" Target="../slideLayouts/slideLayout69.xml"/><Relationship Id="rId47" Type="http://schemas.openxmlformats.org/officeDocument/2006/relationships/theme" Target="../theme/theme3.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17" Type="http://schemas.openxmlformats.org/officeDocument/2006/relationships/slideLayout" Target="../slideLayouts/slideLayout44.xml"/><Relationship Id="rId25" Type="http://schemas.openxmlformats.org/officeDocument/2006/relationships/slideLayout" Target="../slideLayouts/slideLayout52.xml"/><Relationship Id="rId33" Type="http://schemas.openxmlformats.org/officeDocument/2006/relationships/slideLayout" Target="../slideLayouts/slideLayout60.xml"/><Relationship Id="rId38" Type="http://schemas.openxmlformats.org/officeDocument/2006/relationships/slideLayout" Target="../slideLayouts/slideLayout65.xml"/><Relationship Id="rId46" Type="http://schemas.openxmlformats.org/officeDocument/2006/relationships/slideLayout" Target="../slideLayouts/slideLayout73.xml"/><Relationship Id="rId2" Type="http://schemas.openxmlformats.org/officeDocument/2006/relationships/slideLayout" Target="../slideLayouts/slideLayout29.xml"/><Relationship Id="rId16" Type="http://schemas.openxmlformats.org/officeDocument/2006/relationships/slideLayout" Target="../slideLayouts/slideLayout43.xml"/><Relationship Id="rId20" Type="http://schemas.openxmlformats.org/officeDocument/2006/relationships/slideLayout" Target="../slideLayouts/slideLayout47.xml"/><Relationship Id="rId29" Type="http://schemas.openxmlformats.org/officeDocument/2006/relationships/slideLayout" Target="../slideLayouts/slideLayout56.xml"/><Relationship Id="rId41" Type="http://schemas.openxmlformats.org/officeDocument/2006/relationships/slideLayout" Target="../slideLayouts/slideLayout68.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24" Type="http://schemas.openxmlformats.org/officeDocument/2006/relationships/slideLayout" Target="../slideLayouts/slideLayout51.xml"/><Relationship Id="rId32" Type="http://schemas.openxmlformats.org/officeDocument/2006/relationships/slideLayout" Target="../slideLayouts/slideLayout59.xml"/><Relationship Id="rId37" Type="http://schemas.openxmlformats.org/officeDocument/2006/relationships/slideLayout" Target="../slideLayouts/slideLayout64.xml"/><Relationship Id="rId40" Type="http://schemas.openxmlformats.org/officeDocument/2006/relationships/slideLayout" Target="../slideLayouts/slideLayout67.xml"/><Relationship Id="rId45" Type="http://schemas.openxmlformats.org/officeDocument/2006/relationships/slideLayout" Target="../slideLayouts/slideLayout72.xml"/><Relationship Id="rId5" Type="http://schemas.openxmlformats.org/officeDocument/2006/relationships/slideLayout" Target="../slideLayouts/slideLayout32.xml"/><Relationship Id="rId15" Type="http://schemas.openxmlformats.org/officeDocument/2006/relationships/slideLayout" Target="../slideLayouts/slideLayout42.xml"/><Relationship Id="rId23" Type="http://schemas.openxmlformats.org/officeDocument/2006/relationships/slideLayout" Target="../slideLayouts/slideLayout50.xml"/><Relationship Id="rId28" Type="http://schemas.openxmlformats.org/officeDocument/2006/relationships/slideLayout" Target="../slideLayouts/slideLayout55.xml"/><Relationship Id="rId36" Type="http://schemas.openxmlformats.org/officeDocument/2006/relationships/slideLayout" Target="../slideLayouts/slideLayout63.xml"/><Relationship Id="rId10" Type="http://schemas.openxmlformats.org/officeDocument/2006/relationships/slideLayout" Target="../slideLayouts/slideLayout37.xml"/><Relationship Id="rId19" Type="http://schemas.openxmlformats.org/officeDocument/2006/relationships/slideLayout" Target="../slideLayouts/slideLayout46.xml"/><Relationship Id="rId31" Type="http://schemas.openxmlformats.org/officeDocument/2006/relationships/slideLayout" Target="../slideLayouts/slideLayout58.xml"/><Relationship Id="rId44" Type="http://schemas.openxmlformats.org/officeDocument/2006/relationships/slideLayout" Target="../slideLayouts/slideLayout71.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 Id="rId22" Type="http://schemas.openxmlformats.org/officeDocument/2006/relationships/slideLayout" Target="../slideLayouts/slideLayout49.xml"/><Relationship Id="rId27" Type="http://schemas.openxmlformats.org/officeDocument/2006/relationships/slideLayout" Target="../slideLayouts/slideLayout54.xml"/><Relationship Id="rId30" Type="http://schemas.openxmlformats.org/officeDocument/2006/relationships/slideLayout" Target="../slideLayouts/slideLayout57.xml"/><Relationship Id="rId35" Type="http://schemas.openxmlformats.org/officeDocument/2006/relationships/slideLayout" Target="../slideLayouts/slideLayout62.xml"/><Relationship Id="rId43" Type="http://schemas.openxmlformats.org/officeDocument/2006/relationships/slideLayout" Target="../slideLayouts/slideLayout7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1.xml"/><Relationship Id="rId13" Type="http://schemas.openxmlformats.org/officeDocument/2006/relationships/slideLayout" Target="../slideLayouts/slideLayout86.xml"/><Relationship Id="rId18" Type="http://schemas.openxmlformats.org/officeDocument/2006/relationships/slideLayout" Target="../slideLayouts/slideLayout91.xml"/><Relationship Id="rId3" Type="http://schemas.openxmlformats.org/officeDocument/2006/relationships/slideLayout" Target="../slideLayouts/slideLayout76.xml"/><Relationship Id="rId21" Type="http://schemas.openxmlformats.org/officeDocument/2006/relationships/theme" Target="../theme/theme4.xml"/><Relationship Id="rId7" Type="http://schemas.openxmlformats.org/officeDocument/2006/relationships/slideLayout" Target="../slideLayouts/slideLayout80.xml"/><Relationship Id="rId12" Type="http://schemas.openxmlformats.org/officeDocument/2006/relationships/slideLayout" Target="../slideLayouts/slideLayout85.xml"/><Relationship Id="rId17" Type="http://schemas.openxmlformats.org/officeDocument/2006/relationships/slideLayout" Target="../slideLayouts/slideLayout90.xml"/><Relationship Id="rId25" Type="http://schemas.openxmlformats.org/officeDocument/2006/relationships/image" Target="../media/image25.png"/><Relationship Id="rId2" Type="http://schemas.openxmlformats.org/officeDocument/2006/relationships/slideLayout" Target="../slideLayouts/slideLayout75.xml"/><Relationship Id="rId16" Type="http://schemas.openxmlformats.org/officeDocument/2006/relationships/slideLayout" Target="../slideLayouts/slideLayout89.xml"/><Relationship Id="rId20" Type="http://schemas.openxmlformats.org/officeDocument/2006/relationships/slideLayout" Target="../slideLayouts/slideLayout93.xml"/><Relationship Id="rId1" Type="http://schemas.openxmlformats.org/officeDocument/2006/relationships/slideLayout" Target="../slideLayouts/slideLayout74.xml"/><Relationship Id="rId6" Type="http://schemas.openxmlformats.org/officeDocument/2006/relationships/slideLayout" Target="../slideLayouts/slideLayout79.xml"/><Relationship Id="rId11" Type="http://schemas.openxmlformats.org/officeDocument/2006/relationships/slideLayout" Target="../slideLayouts/slideLayout84.xml"/><Relationship Id="rId24" Type="http://schemas.openxmlformats.org/officeDocument/2006/relationships/image" Target="../media/image24.emf"/><Relationship Id="rId5" Type="http://schemas.openxmlformats.org/officeDocument/2006/relationships/slideLayout" Target="../slideLayouts/slideLayout78.xml"/><Relationship Id="rId15" Type="http://schemas.openxmlformats.org/officeDocument/2006/relationships/slideLayout" Target="../slideLayouts/slideLayout88.xml"/><Relationship Id="rId23" Type="http://schemas.openxmlformats.org/officeDocument/2006/relationships/oleObject" Target="../embeddings/oleObject1.bin"/><Relationship Id="rId10" Type="http://schemas.openxmlformats.org/officeDocument/2006/relationships/slideLayout" Target="../slideLayouts/slideLayout83.xml"/><Relationship Id="rId19" Type="http://schemas.openxmlformats.org/officeDocument/2006/relationships/slideLayout" Target="../slideLayouts/slideLayout92.xml"/><Relationship Id="rId4" Type="http://schemas.openxmlformats.org/officeDocument/2006/relationships/slideLayout" Target="../slideLayouts/slideLayout77.xml"/><Relationship Id="rId9" Type="http://schemas.openxmlformats.org/officeDocument/2006/relationships/slideLayout" Target="../slideLayouts/slideLayout82.xml"/><Relationship Id="rId14" Type="http://schemas.openxmlformats.org/officeDocument/2006/relationships/slideLayout" Target="../slideLayouts/slideLayout87.xml"/><Relationship Id="rId22" Type="http://schemas.openxmlformats.org/officeDocument/2006/relationships/tags" Target="../tags/tag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1.xml"/><Relationship Id="rId13" Type="http://schemas.openxmlformats.org/officeDocument/2006/relationships/slideLayout" Target="../slideLayouts/slideLayout106.xml"/><Relationship Id="rId18" Type="http://schemas.openxmlformats.org/officeDocument/2006/relationships/slideLayout" Target="../slideLayouts/slideLayout111.xml"/><Relationship Id="rId26" Type="http://schemas.openxmlformats.org/officeDocument/2006/relationships/tags" Target="../tags/tag2.xml"/><Relationship Id="rId3" Type="http://schemas.openxmlformats.org/officeDocument/2006/relationships/slideLayout" Target="../slideLayouts/slideLayout96.xml"/><Relationship Id="rId21" Type="http://schemas.openxmlformats.org/officeDocument/2006/relationships/slideLayout" Target="../slideLayouts/slideLayout114.xml"/><Relationship Id="rId7" Type="http://schemas.openxmlformats.org/officeDocument/2006/relationships/slideLayout" Target="../slideLayouts/slideLayout100.xml"/><Relationship Id="rId12" Type="http://schemas.openxmlformats.org/officeDocument/2006/relationships/slideLayout" Target="../slideLayouts/slideLayout105.xml"/><Relationship Id="rId17" Type="http://schemas.openxmlformats.org/officeDocument/2006/relationships/slideLayout" Target="../slideLayouts/slideLayout110.xml"/><Relationship Id="rId25" Type="http://schemas.openxmlformats.org/officeDocument/2006/relationships/theme" Target="../theme/theme5.xml"/><Relationship Id="rId2" Type="http://schemas.openxmlformats.org/officeDocument/2006/relationships/slideLayout" Target="../slideLayouts/slideLayout95.xml"/><Relationship Id="rId16" Type="http://schemas.openxmlformats.org/officeDocument/2006/relationships/slideLayout" Target="../slideLayouts/slideLayout109.xml"/><Relationship Id="rId20" Type="http://schemas.openxmlformats.org/officeDocument/2006/relationships/slideLayout" Target="../slideLayouts/slideLayout113.xml"/><Relationship Id="rId29" Type="http://schemas.openxmlformats.org/officeDocument/2006/relationships/image" Target="../media/image25.png"/><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24" Type="http://schemas.openxmlformats.org/officeDocument/2006/relationships/slideLayout" Target="../slideLayouts/slideLayout117.xml"/><Relationship Id="rId5" Type="http://schemas.openxmlformats.org/officeDocument/2006/relationships/slideLayout" Target="../slideLayouts/slideLayout98.xml"/><Relationship Id="rId15" Type="http://schemas.openxmlformats.org/officeDocument/2006/relationships/slideLayout" Target="../slideLayouts/slideLayout108.xml"/><Relationship Id="rId23" Type="http://schemas.openxmlformats.org/officeDocument/2006/relationships/slideLayout" Target="../slideLayouts/slideLayout116.xml"/><Relationship Id="rId28" Type="http://schemas.openxmlformats.org/officeDocument/2006/relationships/image" Target="../media/image24.emf"/><Relationship Id="rId10" Type="http://schemas.openxmlformats.org/officeDocument/2006/relationships/slideLayout" Target="../slideLayouts/slideLayout103.xml"/><Relationship Id="rId19" Type="http://schemas.openxmlformats.org/officeDocument/2006/relationships/slideLayout" Target="../slideLayouts/slideLayout112.xml"/><Relationship Id="rId4" Type="http://schemas.openxmlformats.org/officeDocument/2006/relationships/slideLayout" Target="../slideLayouts/slideLayout97.xml"/><Relationship Id="rId9" Type="http://schemas.openxmlformats.org/officeDocument/2006/relationships/slideLayout" Target="../slideLayouts/slideLayout102.xml"/><Relationship Id="rId14" Type="http://schemas.openxmlformats.org/officeDocument/2006/relationships/slideLayout" Target="../slideLayouts/slideLayout107.xml"/><Relationship Id="rId22" Type="http://schemas.openxmlformats.org/officeDocument/2006/relationships/slideLayout" Target="../slideLayouts/slideLayout115.xml"/><Relationship Id="rId27" Type="http://schemas.openxmlformats.org/officeDocument/2006/relationships/oleObject" Target="../embeddings/oleObject2.bin"/></Relationships>
</file>

<file path=ppt/slideMasters/_rels/slideMaster6.xml.rels><?xml version="1.0" encoding="UTF-8" standalone="yes"?>
<Relationships xmlns="http://schemas.openxmlformats.org/package/2006/relationships"><Relationship Id="rId26" Type="http://schemas.openxmlformats.org/officeDocument/2006/relationships/slideLayout" Target="../slideLayouts/slideLayout143.xml"/><Relationship Id="rId21" Type="http://schemas.openxmlformats.org/officeDocument/2006/relationships/slideLayout" Target="../slideLayouts/slideLayout138.xml"/><Relationship Id="rId34" Type="http://schemas.openxmlformats.org/officeDocument/2006/relationships/slideLayout" Target="../slideLayouts/slideLayout151.xml"/><Relationship Id="rId42" Type="http://schemas.openxmlformats.org/officeDocument/2006/relationships/slideLayout" Target="../slideLayouts/slideLayout159.xml"/><Relationship Id="rId47" Type="http://schemas.openxmlformats.org/officeDocument/2006/relationships/slideLayout" Target="../slideLayouts/slideLayout164.xml"/><Relationship Id="rId50" Type="http://schemas.openxmlformats.org/officeDocument/2006/relationships/slideLayout" Target="../slideLayouts/slideLayout167.xml"/><Relationship Id="rId55" Type="http://schemas.openxmlformats.org/officeDocument/2006/relationships/slideLayout" Target="../slideLayouts/slideLayout172.xml"/><Relationship Id="rId63" Type="http://schemas.openxmlformats.org/officeDocument/2006/relationships/slideLayout" Target="../slideLayouts/slideLayout180.xml"/><Relationship Id="rId68" Type="http://schemas.openxmlformats.org/officeDocument/2006/relationships/slideLayout" Target="../slideLayouts/slideLayout185.xml"/><Relationship Id="rId76" Type="http://schemas.openxmlformats.org/officeDocument/2006/relationships/slideLayout" Target="../slideLayouts/slideLayout193.xml"/><Relationship Id="rId84" Type="http://schemas.openxmlformats.org/officeDocument/2006/relationships/slideLayout" Target="../slideLayouts/slideLayout201.xml"/><Relationship Id="rId89" Type="http://schemas.openxmlformats.org/officeDocument/2006/relationships/slideLayout" Target="../slideLayouts/slideLayout206.xml"/><Relationship Id="rId97" Type="http://schemas.openxmlformats.org/officeDocument/2006/relationships/image" Target="../media/image39.emf"/><Relationship Id="rId7" Type="http://schemas.openxmlformats.org/officeDocument/2006/relationships/slideLayout" Target="../slideLayouts/slideLayout124.xml"/><Relationship Id="rId71" Type="http://schemas.openxmlformats.org/officeDocument/2006/relationships/slideLayout" Target="../slideLayouts/slideLayout188.xml"/><Relationship Id="rId92" Type="http://schemas.openxmlformats.org/officeDocument/2006/relationships/slideLayout" Target="../slideLayouts/slideLayout209.xml"/><Relationship Id="rId2" Type="http://schemas.openxmlformats.org/officeDocument/2006/relationships/slideLayout" Target="../slideLayouts/slideLayout119.xml"/><Relationship Id="rId16" Type="http://schemas.openxmlformats.org/officeDocument/2006/relationships/slideLayout" Target="../slideLayouts/slideLayout133.xml"/><Relationship Id="rId29" Type="http://schemas.openxmlformats.org/officeDocument/2006/relationships/slideLayout" Target="../slideLayouts/slideLayout146.xml"/><Relationship Id="rId11" Type="http://schemas.openxmlformats.org/officeDocument/2006/relationships/slideLayout" Target="../slideLayouts/slideLayout128.xml"/><Relationship Id="rId24" Type="http://schemas.openxmlformats.org/officeDocument/2006/relationships/slideLayout" Target="../slideLayouts/slideLayout141.xml"/><Relationship Id="rId32" Type="http://schemas.openxmlformats.org/officeDocument/2006/relationships/slideLayout" Target="../slideLayouts/slideLayout149.xml"/><Relationship Id="rId37" Type="http://schemas.openxmlformats.org/officeDocument/2006/relationships/slideLayout" Target="../slideLayouts/slideLayout154.xml"/><Relationship Id="rId40" Type="http://schemas.openxmlformats.org/officeDocument/2006/relationships/slideLayout" Target="../slideLayouts/slideLayout157.xml"/><Relationship Id="rId45" Type="http://schemas.openxmlformats.org/officeDocument/2006/relationships/slideLayout" Target="../slideLayouts/slideLayout162.xml"/><Relationship Id="rId53" Type="http://schemas.openxmlformats.org/officeDocument/2006/relationships/slideLayout" Target="../slideLayouts/slideLayout170.xml"/><Relationship Id="rId58" Type="http://schemas.openxmlformats.org/officeDocument/2006/relationships/slideLayout" Target="../slideLayouts/slideLayout175.xml"/><Relationship Id="rId66" Type="http://schemas.openxmlformats.org/officeDocument/2006/relationships/slideLayout" Target="../slideLayouts/slideLayout183.xml"/><Relationship Id="rId74" Type="http://schemas.openxmlformats.org/officeDocument/2006/relationships/slideLayout" Target="../slideLayouts/slideLayout191.xml"/><Relationship Id="rId79" Type="http://schemas.openxmlformats.org/officeDocument/2006/relationships/slideLayout" Target="../slideLayouts/slideLayout196.xml"/><Relationship Id="rId87" Type="http://schemas.openxmlformats.org/officeDocument/2006/relationships/slideLayout" Target="../slideLayouts/slideLayout204.xml"/><Relationship Id="rId5" Type="http://schemas.openxmlformats.org/officeDocument/2006/relationships/slideLayout" Target="../slideLayouts/slideLayout122.xml"/><Relationship Id="rId61" Type="http://schemas.openxmlformats.org/officeDocument/2006/relationships/slideLayout" Target="../slideLayouts/slideLayout178.xml"/><Relationship Id="rId82" Type="http://schemas.openxmlformats.org/officeDocument/2006/relationships/slideLayout" Target="../slideLayouts/slideLayout199.xml"/><Relationship Id="rId90" Type="http://schemas.openxmlformats.org/officeDocument/2006/relationships/slideLayout" Target="../slideLayouts/slideLayout207.xml"/><Relationship Id="rId95" Type="http://schemas.openxmlformats.org/officeDocument/2006/relationships/tags" Target="../tags/tag3.xml"/><Relationship Id="rId19" Type="http://schemas.openxmlformats.org/officeDocument/2006/relationships/slideLayout" Target="../slideLayouts/slideLayout136.xml"/><Relationship Id="rId14" Type="http://schemas.openxmlformats.org/officeDocument/2006/relationships/slideLayout" Target="../slideLayouts/slideLayout131.xml"/><Relationship Id="rId22" Type="http://schemas.openxmlformats.org/officeDocument/2006/relationships/slideLayout" Target="../slideLayouts/slideLayout139.xml"/><Relationship Id="rId27" Type="http://schemas.openxmlformats.org/officeDocument/2006/relationships/slideLayout" Target="../slideLayouts/slideLayout144.xml"/><Relationship Id="rId30" Type="http://schemas.openxmlformats.org/officeDocument/2006/relationships/slideLayout" Target="../slideLayouts/slideLayout147.xml"/><Relationship Id="rId35" Type="http://schemas.openxmlformats.org/officeDocument/2006/relationships/slideLayout" Target="../slideLayouts/slideLayout152.xml"/><Relationship Id="rId43" Type="http://schemas.openxmlformats.org/officeDocument/2006/relationships/slideLayout" Target="../slideLayouts/slideLayout160.xml"/><Relationship Id="rId48" Type="http://schemas.openxmlformats.org/officeDocument/2006/relationships/slideLayout" Target="../slideLayouts/slideLayout165.xml"/><Relationship Id="rId56" Type="http://schemas.openxmlformats.org/officeDocument/2006/relationships/slideLayout" Target="../slideLayouts/slideLayout173.xml"/><Relationship Id="rId64" Type="http://schemas.openxmlformats.org/officeDocument/2006/relationships/slideLayout" Target="../slideLayouts/slideLayout181.xml"/><Relationship Id="rId69" Type="http://schemas.openxmlformats.org/officeDocument/2006/relationships/slideLayout" Target="../slideLayouts/slideLayout186.xml"/><Relationship Id="rId77" Type="http://schemas.openxmlformats.org/officeDocument/2006/relationships/slideLayout" Target="../slideLayouts/slideLayout194.xml"/><Relationship Id="rId8" Type="http://schemas.openxmlformats.org/officeDocument/2006/relationships/slideLayout" Target="../slideLayouts/slideLayout125.xml"/><Relationship Id="rId51" Type="http://schemas.openxmlformats.org/officeDocument/2006/relationships/slideLayout" Target="../slideLayouts/slideLayout168.xml"/><Relationship Id="rId72" Type="http://schemas.openxmlformats.org/officeDocument/2006/relationships/slideLayout" Target="../slideLayouts/slideLayout189.xml"/><Relationship Id="rId80" Type="http://schemas.openxmlformats.org/officeDocument/2006/relationships/slideLayout" Target="../slideLayouts/slideLayout197.xml"/><Relationship Id="rId85" Type="http://schemas.openxmlformats.org/officeDocument/2006/relationships/slideLayout" Target="../slideLayouts/slideLayout202.xml"/><Relationship Id="rId93" Type="http://schemas.openxmlformats.org/officeDocument/2006/relationships/slideLayout" Target="../slideLayouts/slideLayout210.xml"/><Relationship Id="rId3" Type="http://schemas.openxmlformats.org/officeDocument/2006/relationships/slideLayout" Target="../slideLayouts/slideLayout120.xml"/><Relationship Id="rId12" Type="http://schemas.openxmlformats.org/officeDocument/2006/relationships/slideLayout" Target="../slideLayouts/slideLayout129.xml"/><Relationship Id="rId17" Type="http://schemas.openxmlformats.org/officeDocument/2006/relationships/slideLayout" Target="../slideLayouts/slideLayout134.xml"/><Relationship Id="rId25" Type="http://schemas.openxmlformats.org/officeDocument/2006/relationships/slideLayout" Target="../slideLayouts/slideLayout142.xml"/><Relationship Id="rId33" Type="http://schemas.openxmlformats.org/officeDocument/2006/relationships/slideLayout" Target="../slideLayouts/slideLayout150.xml"/><Relationship Id="rId38" Type="http://schemas.openxmlformats.org/officeDocument/2006/relationships/slideLayout" Target="../slideLayouts/slideLayout155.xml"/><Relationship Id="rId46" Type="http://schemas.openxmlformats.org/officeDocument/2006/relationships/slideLayout" Target="../slideLayouts/slideLayout163.xml"/><Relationship Id="rId59" Type="http://schemas.openxmlformats.org/officeDocument/2006/relationships/slideLayout" Target="../slideLayouts/slideLayout176.xml"/><Relationship Id="rId67" Type="http://schemas.openxmlformats.org/officeDocument/2006/relationships/slideLayout" Target="../slideLayouts/slideLayout184.xml"/><Relationship Id="rId20" Type="http://schemas.openxmlformats.org/officeDocument/2006/relationships/slideLayout" Target="../slideLayouts/slideLayout137.xml"/><Relationship Id="rId41" Type="http://schemas.openxmlformats.org/officeDocument/2006/relationships/slideLayout" Target="../slideLayouts/slideLayout158.xml"/><Relationship Id="rId54" Type="http://schemas.openxmlformats.org/officeDocument/2006/relationships/slideLayout" Target="../slideLayouts/slideLayout171.xml"/><Relationship Id="rId62" Type="http://schemas.openxmlformats.org/officeDocument/2006/relationships/slideLayout" Target="../slideLayouts/slideLayout179.xml"/><Relationship Id="rId70" Type="http://schemas.openxmlformats.org/officeDocument/2006/relationships/slideLayout" Target="../slideLayouts/slideLayout187.xml"/><Relationship Id="rId75" Type="http://schemas.openxmlformats.org/officeDocument/2006/relationships/slideLayout" Target="../slideLayouts/slideLayout192.xml"/><Relationship Id="rId83" Type="http://schemas.openxmlformats.org/officeDocument/2006/relationships/slideLayout" Target="../slideLayouts/slideLayout200.xml"/><Relationship Id="rId88" Type="http://schemas.openxmlformats.org/officeDocument/2006/relationships/slideLayout" Target="../slideLayouts/slideLayout205.xml"/><Relationship Id="rId91" Type="http://schemas.openxmlformats.org/officeDocument/2006/relationships/slideLayout" Target="../slideLayouts/slideLayout208.xml"/><Relationship Id="rId96" Type="http://schemas.openxmlformats.org/officeDocument/2006/relationships/oleObject" Target="../embeddings/oleObject3.bin"/><Relationship Id="rId1" Type="http://schemas.openxmlformats.org/officeDocument/2006/relationships/slideLayout" Target="../slideLayouts/slideLayout118.xml"/><Relationship Id="rId6" Type="http://schemas.openxmlformats.org/officeDocument/2006/relationships/slideLayout" Target="../slideLayouts/slideLayout123.xml"/><Relationship Id="rId15" Type="http://schemas.openxmlformats.org/officeDocument/2006/relationships/slideLayout" Target="../slideLayouts/slideLayout132.xml"/><Relationship Id="rId23" Type="http://schemas.openxmlformats.org/officeDocument/2006/relationships/slideLayout" Target="../slideLayouts/slideLayout140.xml"/><Relationship Id="rId28" Type="http://schemas.openxmlformats.org/officeDocument/2006/relationships/slideLayout" Target="../slideLayouts/slideLayout145.xml"/><Relationship Id="rId36" Type="http://schemas.openxmlformats.org/officeDocument/2006/relationships/slideLayout" Target="../slideLayouts/slideLayout153.xml"/><Relationship Id="rId49" Type="http://schemas.openxmlformats.org/officeDocument/2006/relationships/slideLayout" Target="../slideLayouts/slideLayout166.xml"/><Relationship Id="rId57" Type="http://schemas.openxmlformats.org/officeDocument/2006/relationships/slideLayout" Target="../slideLayouts/slideLayout174.xml"/><Relationship Id="rId10" Type="http://schemas.openxmlformats.org/officeDocument/2006/relationships/slideLayout" Target="../slideLayouts/slideLayout127.xml"/><Relationship Id="rId31" Type="http://schemas.openxmlformats.org/officeDocument/2006/relationships/slideLayout" Target="../slideLayouts/slideLayout148.xml"/><Relationship Id="rId44" Type="http://schemas.openxmlformats.org/officeDocument/2006/relationships/slideLayout" Target="../slideLayouts/slideLayout161.xml"/><Relationship Id="rId52" Type="http://schemas.openxmlformats.org/officeDocument/2006/relationships/slideLayout" Target="../slideLayouts/slideLayout169.xml"/><Relationship Id="rId60" Type="http://schemas.openxmlformats.org/officeDocument/2006/relationships/slideLayout" Target="../slideLayouts/slideLayout177.xml"/><Relationship Id="rId65" Type="http://schemas.openxmlformats.org/officeDocument/2006/relationships/slideLayout" Target="../slideLayouts/slideLayout182.xml"/><Relationship Id="rId73" Type="http://schemas.openxmlformats.org/officeDocument/2006/relationships/slideLayout" Target="../slideLayouts/slideLayout190.xml"/><Relationship Id="rId78" Type="http://schemas.openxmlformats.org/officeDocument/2006/relationships/slideLayout" Target="../slideLayouts/slideLayout195.xml"/><Relationship Id="rId81" Type="http://schemas.openxmlformats.org/officeDocument/2006/relationships/slideLayout" Target="../slideLayouts/slideLayout198.xml"/><Relationship Id="rId86" Type="http://schemas.openxmlformats.org/officeDocument/2006/relationships/slideLayout" Target="../slideLayouts/slideLayout203.xml"/><Relationship Id="rId94" Type="http://schemas.openxmlformats.org/officeDocument/2006/relationships/theme" Target="../theme/theme6.xml"/><Relationship Id="rId4" Type="http://schemas.openxmlformats.org/officeDocument/2006/relationships/slideLayout" Target="../slideLayouts/slideLayout121.xml"/><Relationship Id="rId9" Type="http://schemas.openxmlformats.org/officeDocument/2006/relationships/slideLayout" Target="../slideLayouts/slideLayout126.xml"/><Relationship Id="rId13" Type="http://schemas.openxmlformats.org/officeDocument/2006/relationships/slideLayout" Target="../slideLayouts/slideLayout130.xml"/><Relationship Id="rId18" Type="http://schemas.openxmlformats.org/officeDocument/2006/relationships/slideLayout" Target="../slideLayouts/slideLayout135.xml"/><Relationship Id="rId39" Type="http://schemas.openxmlformats.org/officeDocument/2006/relationships/slideLayout" Target="../slideLayouts/slideLayout156.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223.xml"/><Relationship Id="rId18" Type="http://schemas.openxmlformats.org/officeDocument/2006/relationships/slideLayout" Target="../slideLayouts/slideLayout228.xml"/><Relationship Id="rId26" Type="http://schemas.openxmlformats.org/officeDocument/2006/relationships/slideLayout" Target="../slideLayouts/slideLayout236.xml"/><Relationship Id="rId39" Type="http://schemas.openxmlformats.org/officeDocument/2006/relationships/slideLayout" Target="../slideLayouts/slideLayout249.xml"/><Relationship Id="rId3" Type="http://schemas.openxmlformats.org/officeDocument/2006/relationships/slideLayout" Target="../slideLayouts/slideLayout213.xml"/><Relationship Id="rId21" Type="http://schemas.openxmlformats.org/officeDocument/2006/relationships/slideLayout" Target="../slideLayouts/slideLayout231.xml"/><Relationship Id="rId34" Type="http://schemas.openxmlformats.org/officeDocument/2006/relationships/slideLayout" Target="../slideLayouts/slideLayout244.xml"/><Relationship Id="rId42" Type="http://schemas.openxmlformats.org/officeDocument/2006/relationships/slideLayout" Target="../slideLayouts/slideLayout252.xml"/><Relationship Id="rId47" Type="http://schemas.openxmlformats.org/officeDocument/2006/relationships/theme" Target="../theme/theme7.xml"/><Relationship Id="rId50" Type="http://schemas.openxmlformats.org/officeDocument/2006/relationships/image" Target="../media/image49.emf"/><Relationship Id="rId7" Type="http://schemas.openxmlformats.org/officeDocument/2006/relationships/slideLayout" Target="../slideLayouts/slideLayout217.xml"/><Relationship Id="rId12" Type="http://schemas.openxmlformats.org/officeDocument/2006/relationships/slideLayout" Target="../slideLayouts/slideLayout222.xml"/><Relationship Id="rId17" Type="http://schemas.openxmlformats.org/officeDocument/2006/relationships/slideLayout" Target="../slideLayouts/slideLayout227.xml"/><Relationship Id="rId25" Type="http://schemas.openxmlformats.org/officeDocument/2006/relationships/slideLayout" Target="../slideLayouts/slideLayout235.xml"/><Relationship Id="rId33" Type="http://schemas.openxmlformats.org/officeDocument/2006/relationships/slideLayout" Target="../slideLayouts/slideLayout243.xml"/><Relationship Id="rId38" Type="http://schemas.openxmlformats.org/officeDocument/2006/relationships/slideLayout" Target="../slideLayouts/slideLayout248.xml"/><Relationship Id="rId46" Type="http://schemas.openxmlformats.org/officeDocument/2006/relationships/slideLayout" Target="../slideLayouts/slideLayout256.xml"/><Relationship Id="rId2" Type="http://schemas.openxmlformats.org/officeDocument/2006/relationships/slideLayout" Target="../slideLayouts/slideLayout212.xml"/><Relationship Id="rId16" Type="http://schemas.openxmlformats.org/officeDocument/2006/relationships/slideLayout" Target="../slideLayouts/slideLayout226.xml"/><Relationship Id="rId20" Type="http://schemas.openxmlformats.org/officeDocument/2006/relationships/slideLayout" Target="../slideLayouts/slideLayout230.xml"/><Relationship Id="rId29" Type="http://schemas.openxmlformats.org/officeDocument/2006/relationships/slideLayout" Target="../slideLayouts/slideLayout239.xml"/><Relationship Id="rId41" Type="http://schemas.openxmlformats.org/officeDocument/2006/relationships/slideLayout" Target="../slideLayouts/slideLayout251.xml"/><Relationship Id="rId1" Type="http://schemas.openxmlformats.org/officeDocument/2006/relationships/slideLayout" Target="../slideLayouts/slideLayout211.xml"/><Relationship Id="rId6" Type="http://schemas.openxmlformats.org/officeDocument/2006/relationships/slideLayout" Target="../slideLayouts/slideLayout216.xml"/><Relationship Id="rId11" Type="http://schemas.openxmlformats.org/officeDocument/2006/relationships/slideLayout" Target="../slideLayouts/slideLayout221.xml"/><Relationship Id="rId24" Type="http://schemas.openxmlformats.org/officeDocument/2006/relationships/slideLayout" Target="../slideLayouts/slideLayout234.xml"/><Relationship Id="rId32" Type="http://schemas.openxmlformats.org/officeDocument/2006/relationships/slideLayout" Target="../slideLayouts/slideLayout242.xml"/><Relationship Id="rId37" Type="http://schemas.openxmlformats.org/officeDocument/2006/relationships/slideLayout" Target="../slideLayouts/slideLayout247.xml"/><Relationship Id="rId40" Type="http://schemas.openxmlformats.org/officeDocument/2006/relationships/slideLayout" Target="../slideLayouts/slideLayout250.xml"/><Relationship Id="rId45" Type="http://schemas.openxmlformats.org/officeDocument/2006/relationships/slideLayout" Target="../slideLayouts/slideLayout255.xml"/><Relationship Id="rId5" Type="http://schemas.openxmlformats.org/officeDocument/2006/relationships/slideLayout" Target="../slideLayouts/slideLayout215.xml"/><Relationship Id="rId15" Type="http://schemas.openxmlformats.org/officeDocument/2006/relationships/slideLayout" Target="../slideLayouts/slideLayout225.xml"/><Relationship Id="rId23" Type="http://schemas.openxmlformats.org/officeDocument/2006/relationships/slideLayout" Target="../slideLayouts/slideLayout233.xml"/><Relationship Id="rId28" Type="http://schemas.openxmlformats.org/officeDocument/2006/relationships/slideLayout" Target="../slideLayouts/slideLayout238.xml"/><Relationship Id="rId36" Type="http://schemas.openxmlformats.org/officeDocument/2006/relationships/slideLayout" Target="../slideLayouts/slideLayout246.xml"/><Relationship Id="rId49" Type="http://schemas.openxmlformats.org/officeDocument/2006/relationships/oleObject" Target="../embeddings/oleObject4.bin"/><Relationship Id="rId10" Type="http://schemas.openxmlformats.org/officeDocument/2006/relationships/slideLayout" Target="../slideLayouts/slideLayout220.xml"/><Relationship Id="rId19" Type="http://schemas.openxmlformats.org/officeDocument/2006/relationships/slideLayout" Target="../slideLayouts/slideLayout229.xml"/><Relationship Id="rId31" Type="http://schemas.openxmlformats.org/officeDocument/2006/relationships/slideLayout" Target="../slideLayouts/slideLayout241.xml"/><Relationship Id="rId44" Type="http://schemas.openxmlformats.org/officeDocument/2006/relationships/slideLayout" Target="../slideLayouts/slideLayout254.xml"/><Relationship Id="rId4" Type="http://schemas.openxmlformats.org/officeDocument/2006/relationships/slideLayout" Target="../slideLayouts/slideLayout214.xml"/><Relationship Id="rId9" Type="http://schemas.openxmlformats.org/officeDocument/2006/relationships/slideLayout" Target="../slideLayouts/slideLayout219.xml"/><Relationship Id="rId14" Type="http://schemas.openxmlformats.org/officeDocument/2006/relationships/slideLayout" Target="../slideLayouts/slideLayout224.xml"/><Relationship Id="rId22" Type="http://schemas.openxmlformats.org/officeDocument/2006/relationships/slideLayout" Target="../slideLayouts/slideLayout232.xml"/><Relationship Id="rId27" Type="http://schemas.openxmlformats.org/officeDocument/2006/relationships/slideLayout" Target="../slideLayouts/slideLayout237.xml"/><Relationship Id="rId30" Type="http://schemas.openxmlformats.org/officeDocument/2006/relationships/slideLayout" Target="../slideLayouts/slideLayout240.xml"/><Relationship Id="rId35" Type="http://schemas.openxmlformats.org/officeDocument/2006/relationships/slideLayout" Target="../slideLayouts/slideLayout245.xml"/><Relationship Id="rId43" Type="http://schemas.openxmlformats.org/officeDocument/2006/relationships/slideLayout" Target="../slideLayouts/slideLayout253.xml"/><Relationship Id="rId48" Type="http://schemas.openxmlformats.org/officeDocument/2006/relationships/tags" Target="../tags/tag4.xml"/><Relationship Id="rId8" Type="http://schemas.openxmlformats.org/officeDocument/2006/relationships/slideLayout" Target="../slideLayouts/slideLayout218.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64.xml"/><Relationship Id="rId13" Type="http://schemas.openxmlformats.org/officeDocument/2006/relationships/theme" Target="../theme/theme8.xml"/><Relationship Id="rId3" Type="http://schemas.openxmlformats.org/officeDocument/2006/relationships/slideLayout" Target="../slideLayouts/slideLayout259.xml"/><Relationship Id="rId7" Type="http://schemas.openxmlformats.org/officeDocument/2006/relationships/slideLayout" Target="../slideLayouts/slideLayout263.xml"/><Relationship Id="rId12" Type="http://schemas.openxmlformats.org/officeDocument/2006/relationships/slideLayout" Target="../slideLayouts/slideLayout268.xml"/><Relationship Id="rId2" Type="http://schemas.openxmlformats.org/officeDocument/2006/relationships/slideLayout" Target="../slideLayouts/slideLayout258.xml"/><Relationship Id="rId1" Type="http://schemas.openxmlformats.org/officeDocument/2006/relationships/slideLayout" Target="../slideLayouts/slideLayout257.xml"/><Relationship Id="rId6" Type="http://schemas.openxmlformats.org/officeDocument/2006/relationships/slideLayout" Target="../slideLayouts/slideLayout262.xml"/><Relationship Id="rId11" Type="http://schemas.openxmlformats.org/officeDocument/2006/relationships/slideLayout" Target="../slideLayouts/slideLayout267.xml"/><Relationship Id="rId5" Type="http://schemas.openxmlformats.org/officeDocument/2006/relationships/slideLayout" Target="../slideLayouts/slideLayout261.xml"/><Relationship Id="rId10" Type="http://schemas.openxmlformats.org/officeDocument/2006/relationships/slideLayout" Target="../slideLayouts/slideLayout266.xml"/><Relationship Id="rId4" Type="http://schemas.openxmlformats.org/officeDocument/2006/relationships/slideLayout" Target="../slideLayouts/slideLayout260.xml"/><Relationship Id="rId9" Type="http://schemas.openxmlformats.org/officeDocument/2006/relationships/slideLayout" Target="../slideLayouts/slideLayout265.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276.xml"/><Relationship Id="rId13" Type="http://schemas.openxmlformats.org/officeDocument/2006/relationships/slideLayout" Target="../slideLayouts/slideLayout281.xml"/><Relationship Id="rId18" Type="http://schemas.openxmlformats.org/officeDocument/2006/relationships/slideLayout" Target="../slideLayouts/slideLayout286.xml"/><Relationship Id="rId3" Type="http://schemas.openxmlformats.org/officeDocument/2006/relationships/slideLayout" Target="../slideLayouts/slideLayout271.xml"/><Relationship Id="rId21" Type="http://schemas.openxmlformats.org/officeDocument/2006/relationships/theme" Target="../theme/theme9.xml"/><Relationship Id="rId7" Type="http://schemas.openxmlformats.org/officeDocument/2006/relationships/slideLayout" Target="../slideLayouts/slideLayout275.xml"/><Relationship Id="rId12" Type="http://schemas.openxmlformats.org/officeDocument/2006/relationships/slideLayout" Target="../slideLayouts/slideLayout280.xml"/><Relationship Id="rId17" Type="http://schemas.openxmlformats.org/officeDocument/2006/relationships/slideLayout" Target="../slideLayouts/slideLayout285.xml"/><Relationship Id="rId2" Type="http://schemas.openxmlformats.org/officeDocument/2006/relationships/slideLayout" Target="../slideLayouts/slideLayout270.xml"/><Relationship Id="rId16" Type="http://schemas.openxmlformats.org/officeDocument/2006/relationships/slideLayout" Target="../slideLayouts/slideLayout284.xml"/><Relationship Id="rId20" Type="http://schemas.openxmlformats.org/officeDocument/2006/relationships/slideLayout" Target="../slideLayouts/slideLayout288.xml"/><Relationship Id="rId1" Type="http://schemas.openxmlformats.org/officeDocument/2006/relationships/slideLayout" Target="../slideLayouts/slideLayout269.xml"/><Relationship Id="rId6" Type="http://schemas.openxmlformats.org/officeDocument/2006/relationships/slideLayout" Target="../slideLayouts/slideLayout274.xml"/><Relationship Id="rId11" Type="http://schemas.openxmlformats.org/officeDocument/2006/relationships/slideLayout" Target="../slideLayouts/slideLayout279.xml"/><Relationship Id="rId24" Type="http://schemas.openxmlformats.org/officeDocument/2006/relationships/image" Target="../media/image49.emf"/><Relationship Id="rId5" Type="http://schemas.openxmlformats.org/officeDocument/2006/relationships/slideLayout" Target="../slideLayouts/slideLayout273.xml"/><Relationship Id="rId15" Type="http://schemas.openxmlformats.org/officeDocument/2006/relationships/slideLayout" Target="../slideLayouts/slideLayout283.xml"/><Relationship Id="rId23" Type="http://schemas.openxmlformats.org/officeDocument/2006/relationships/oleObject" Target="../embeddings/oleObject5.bin"/><Relationship Id="rId10" Type="http://schemas.openxmlformats.org/officeDocument/2006/relationships/slideLayout" Target="../slideLayouts/slideLayout278.xml"/><Relationship Id="rId19" Type="http://schemas.openxmlformats.org/officeDocument/2006/relationships/slideLayout" Target="../slideLayouts/slideLayout287.xml"/><Relationship Id="rId4" Type="http://schemas.openxmlformats.org/officeDocument/2006/relationships/slideLayout" Target="../slideLayouts/slideLayout272.xml"/><Relationship Id="rId9" Type="http://schemas.openxmlformats.org/officeDocument/2006/relationships/slideLayout" Target="../slideLayouts/slideLayout277.xml"/><Relationship Id="rId14" Type="http://schemas.openxmlformats.org/officeDocument/2006/relationships/slideLayout" Target="../slideLayouts/slideLayout282.xml"/><Relationship Id="rId22" Type="http://schemas.openxmlformats.org/officeDocument/2006/relationships/tags" Target="../tags/tag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chemeClr val="bg1">
                <a:lumMod val="80000"/>
              </a:schemeClr>
            </a:gs>
            <a:gs pos="60000">
              <a:srgbClr val="FFFFFF"/>
            </a:gs>
          </a:gsLst>
          <a:lin ang="16200000" scaled="0"/>
          <a:tileRect/>
        </a:gradFill>
        <a:effectLst/>
      </p:bgPr>
    </p:bg>
    <p:spTree>
      <p:nvGrpSpPr>
        <p:cNvPr id="1" name=""/>
        <p:cNvGrpSpPr/>
        <p:nvPr/>
      </p:nvGrpSpPr>
      <p:grpSpPr>
        <a:xfrm>
          <a:off x="0" y="0"/>
          <a:ext cx="0" cy="0"/>
          <a:chOff x="0" y="0"/>
          <a:chExt cx="0" cy="0"/>
        </a:xfrm>
      </p:grpSpPr>
      <p:sp>
        <p:nvSpPr>
          <p:cNvPr id="1027" name="Rectangle 3"/>
          <p:cNvSpPr>
            <a:spLocks noGrp="1" noChangeArrowheads="1"/>
          </p:cNvSpPr>
          <p:nvPr>
            <p:ph type="body" idx="1"/>
          </p:nvPr>
        </p:nvSpPr>
        <p:spPr bwMode="auto">
          <a:xfrm>
            <a:off x="609600" y="1600212"/>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9" name="CuadroTexto 21"/>
          <p:cNvSpPr txBox="1"/>
          <p:nvPr/>
        </p:nvSpPr>
        <p:spPr>
          <a:xfrm>
            <a:off x="3110851" y="6467772"/>
            <a:ext cx="8886251" cy="288000"/>
          </a:xfrm>
          <a:prstGeom prst="rect">
            <a:avLst/>
          </a:prstGeom>
          <a:noFill/>
        </p:spPr>
        <p:txBody>
          <a:bodyPr wrap="square" lIns="0" tIns="0" rIns="0" bIns="0" rtlCol="0" anchor="ctr" anchorCtr="0">
            <a:noAutofit/>
          </a:bodyPr>
          <a:lstStyle/>
          <a:p>
            <a:pPr algn="r">
              <a:lnSpc>
                <a:spcPct val="120000"/>
              </a:lnSpc>
            </a:pPr>
            <a:r>
              <a:rPr lang="es-ES" sz="900" err="1">
                <a:solidFill>
                  <a:srgbClr val="636463"/>
                </a:solidFill>
              </a:rPr>
              <a:t>World</a:t>
            </a:r>
            <a:r>
              <a:rPr lang="es-ES" sz="900">
                <a:solidFill>
                  <a:srgbClr val="636463"/>
                </a:solidFill>
              </a:rPr>
              <a:t> </a:t>
            </a:r>
            <a:r>
              <a:rPr lang="es-ES" sz="900" err="1">
                <a:solidFill>
                  <a:srgbClr val="636463"/>
                </a:solidFill>
              </a:rPr>
              <a:t>Organisation</a:t>
            </a:r>
            <a:r>
              <a:rPr lang="es-ES" sz="900">
                <a:solidFill>
                  <a:srgbClr val="636463"/>
                </a:solidFill>
              </a:rPr>
              <a:t> </a:t>
            </a:r>
            <a:r>
              <a:rPr lang="es-ES" sz="900" err="1">
                <a:solidFill>
                  <a:srgbClr val="636463"/>
                </a:solidFill>
              </a:rPr>
              <a:t>for</a:t>
            </a:r>
            <a:r>
              <a:rPr lang="es-ES" sz="900">
                <a:solidFill>
                  <a:srgbClr val="636463"/>
                </a:solidFill>
              </a:rPr>
              <a:t> Animal </a:t>
            </a:r>
            <a:r>
              <a:rPr lang="es-ES" sz="900" err="1">
                <a:solidFill>
                  <a:srgbClr val="636463"/>
                </a:solidFill>
              </a:rPr>
              <a:t>Health</a:t>
            </a:r>
            <a:r>
              <a:rPr lang="es-ES" sz="900">
                <a:solidFill>
                  <a:srgbClr val="636463"/>
                </a:solidFill>
              </a:rPr>
              <a:t> · </a:t>
            </a:r>
            <a:r>
              <a:rPr lang="es-ES" sz="900" err="1">
                <a:solidFill>
                  <a:srgbClr val="636463"/>
                </a:solidFill>
              </a:rPr>
              <a:t>Protecting</a:t>
            </a:r>
            <a:r>
              <a:rPr lang="es-ES" sz="900">
                <a:solidFill>
                  <a:srgbClr val="636463"/>
                </a:solidFill>
              </a:rPr>
              <a:t> </a:t>
            </a:r>
            <a:r>
              <a:rPr lang="es-ES" sz="900" err="1">
                <a:solidFill>
                  <a:srgbClr val="636463"/>
                </a:solidFill>
              </a:rPr>
              <a:t>animals</a:t>
            </a:r>
            <a:r>
              <a:rPr lang="es-ES" sz="900">
                <a:solidFill>
                  <a:srgbClr val="636463"/>
                </a:solidFill>
              </a:rPr>
              <a:t>, </a:t>
            </a:r>
            <a:r>
              <a:rPr lang="es-ES" sz="900" err="1">
                <a:solidFill>
                  <a:srgbClr val="636463"/>
                </a:solidFill>
              </a:rPr>
              <a:t>Preserving</a:t>
            </a:r>
            <a:r>
              <a:rPr lang="es-ES" sz="900">
                <a:solidFill>
                  <a:srgbClr val="636463"/>
                </a:solidFill>
              </a:rPr>
              <a:t> </a:t>
            </a:r>
            <a:r>
              <a:rPr lang="es-ES" sz="900" err="1">
                <a:solidFill>
                  <a:srgbClr val="636463"/>
                </a:solidFill>
              </a:rPr>
              <a:t>our</a:t>
            </a:r>
            <a:r>
              <a:rPr lang="es-ES" sz="900">
                <a:solidFill>
                  <a:srgbClr val="636463"/>
                </a:solidFill>
              </a:rPr>
              <a:t> </a:t>
            </a:r>
            <a:r>
              <a:rPr lang="es-ES" sz="900" err="1">
                <a:solidFill>
                  <a:srgbClr val="636463"/>
                </a:solidFill>
              </a:rPr>
              <a:t>future</a:t>
            </a:r>
            <a:r>
              <a:rPr lang="es-ES" sz="900">
                <a:solidFill>
                  <a:srgbClr val="636463"/>
                </a:solidFill>
              </a:rPr>
              <a:t> | </a:t>
            </a:r>
            <a:fld id="{0D7EA1A0-CE32-4247-BC46-C2A36BF69406}" type="slidenum">
              <a:rPr lang="es-ES" sz="900" b="1">
                <a:solidFill>
                  <a:srgbClr val="636463"/>
                </a:solidFill>
              </a:rPr>
              <a:pPr algn="r">
                <a:lnSpc>
                  <a:spcPct val="120000"/>
                </a:lnSpc>
              </a:pPr>
              <a:t>‹#›</a:t>
            </a:fld>
            <a:r>
              <a:rPr lang="es-ES" sz="800">
                <a:solidFill>
                  <a:srgbClr val="636463"/>
                </a:solidFill>
              </a:rPr>
              <a:t> </a:t>
            </a:r>
            <a:r>
              <a:rPr lang="es-ES" sz="900">
                <a:solidFill>
                  <a:srgbClr val="636463"/>
                </a:solidFill>
              </a:rPr>
              <a:t> </a:t>
            </a:r>
          </a:p>
        </p:txBody>
      </p:sp>
      <p:pic>
        <p:nvPicPr>
          <p:cNvPr id="5123" name="99638db0-9fa5-495f-99d5-02ce6da1733e" descr="7107F13B-2B31-4DE3-9BEB-496579FAA57C@oielan2"/>
          <p:cNvPicPr>
            <a:picLocks noChangeAspect="1" noChangeArrowheads="1"/>
          </p:cNvPicPr>
          <p:nvPr/>
        </p:nvPicPr>
        <p:blipFill>
          <a:blip r:embed="rId17" cstate="email">
            <a:extLst>
              <a:ext uri="{28A0092B-C50C-407E-A947-70E740481C1C}">
                <a14:useLocalDpi xmlns:a14="http://schemas.microsoft.com/office/drawing/2010/main" val="0"/>
              </a:ext>
            </a:extLst>
          </a:blip>
          <a:srcRect/>
          <a:stretch>
            <a:fillRect/>
          </a:stretch>
        </p:blipFill>
        <p:spPr bwMode="auto">
          <a:xfrm>
            <a:off x="239365" y="6443259"/>
            <a:ext cx="896673" cy="2981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ángulo 28"/>
          <p:cNvSpPr/>
          <p:nvPr userDrawn="1"/>
        </p:nvSpPr>
        <p:spPr>
          <a:xfrm>
            <a:off x="0" y="0"/>
            <a:ext cx="12192000" cy="108000"/>
          </a:xfrm>
          <a:prstGeom prst="rect">
            <a:avLst/>
          </a:prstGeom>
          <a:gradFill>
            <a:gsLst>
              <a:gs pos="0">
                <a:srgbClr val="A50021"/>
              </a:gs>
              <a:gs pos="100000">
                <a:srgbClr val="636463"/>
              </a:gs>
            </a:gsLst>
            <a:lin ang="1620000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sz="1800"/>
          </a:p>
        </p:txBody>
      </p:sp>
      <p:sp>
        <p:nvSpPr>
          <p:cNvPr id="11" name="Titre 1"/>
          <p:cNvSpPr txBox="1">
            <a:spLocks/>
          </p:cNvSpPr>
          <p:nvPr userDrawn="1"/>
        </p:nvSpPr>
        <p:spPr>
          <a:xfrm>
            <a:off x="239349" y="188640"/>
            <a:ext cx="11329259" cy="494062"/>
          </a:xfrm>
          <a:prstGeom prst="rect">
            <a:avLst/>
          </a:prstGeom>
        </p:spPr>
        <p:txBody>
          <a:bodyPr/>
          <a:lstStyle>
            <a:lvl1pPr algn="l" rtl="0" eaLnBrk="0" fontAlgn="base" hangingPunct="0">
              <a:spcBef>
                <a:spcPct val="0"/>
              </a:spcBef>
              <a:spcAft>
                <a:spcPct val="0"/>
              </a:spcAft>
              <a:defRPr lang="fr-FR" sz="2800" b="0" kern="1200" dirty="0">
                <a:solidFill>
                  <a:srgbClr val="A50021"/>
                </a:solidFill>
                <a:latin typeface="Arial"/>
                <a:ea typeface="+mn-ea"/>
                <a:cs typeface="+mn-cs"/>
              </a:defRPr>
            </a:lvl1pPr>
            <a:lvl2pPr algn="ctr" rtl="0" eaLnBrk="0" fontAlgn="base" hangingPunct="0">
              <a:spcBef>
                <a:spcPct val="0"/>
              </a:spcBef>
              <a:spcAft>
                <a:spcPct val="0"/>
              </a:spcAft>
              <a:defRPr sz="3600" b="1">
                <a:solidFill>
                  <a:srgbClr val="990033"/>
                </a:solidFill>
                <a:latin typeface="Arial Narrow" pitchFamily="34" charset="0"/>
              </a:defRPr>
            </a:lvl2pPr>
            <a:lvl3pPr algn="ctr" rtl="0" eaLnBrk="0" fontAlgn="base" hangingPunct="0">
              <a:spcBef>
                <a:spcPct val="0"/>
              </a:spcBef>
              <a:spcAft>
                <a:spcPct val="0"/>
              </a:spcAft>
              <a:defRPr sz="3600" b="1">
                <a:solidFill>
                  <a:srgbClr val="990033"/>
                </a:solidFill>
                <a:latin typeface="Arial Narrow" pitchFamily="34" charset="0"/>
              </a:defRPr>
            </a:lvl3pPr>
            <a:lvl4pPr algn="ctr" rtl="0" eaLnBrk="0" fontAlgn="base" hangingPunct="0">
              <a:spcBef>
                <a:spcPct val="0"/>
              </a:spcBef>
              <a:spcAft>
                <a:spcPct val="0"/>
              </a:spcAft>
              <a:defRPr sz="3600" b="1">
                <a:solidFill>
                  <a:srgbClr val="990033"/>
                </a:solidFill>
                <a:latin typeface="Arial Narrow" pitchFamily="34" charset="0"/>
              </a:defRPr>
            </a:lvl4pPr>
            <a:lvl5pPr algn="ctr" rtl="0" eaLnBrk="0" fontAlgn="base" hangingPunct="0">
              <a:spcBef>
                <a:spcPct val="0"/>
              </a:spcBef>
              <a:spcAft>
                <a:spcPct val="0"/>
              </a:spcAft>
              <a:defRPr sz="3600" b="1">
                <a:solidFill>
                  <a:srgbClr val="990033"/>
                </a:solidFill>
                <a:latin typeface="Arial Narrow" pitchFamily="34"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a:lstStyle>
          <a:p>
            <a:endParaRPr lang="fr-FR" sz="2800"/>
          </a:p>
        </p:txBody>
      </p:sp>
      <p:sp>
        <p:nvSpPr>
          <p:cNvPr id="13" name="Titre 1"/>
          <p:cNvSpPr txBox="1">
            <a:spLocks/>
          </p:cNvSpPr>
          <p:nvPr userDrawn="1"/>
        </p:nvSpPr>
        <p:spPr bwMode="auto">
          <a:xfrm>
            <a:off x="623392" y="774698"/>
            <a:ext cx="10945216" cy="494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lang="fr-FR" sz="2800" b="0" kern="1200" dirty="0">
                <a:solidFill>
                  <a:srgbClr val="A50021"/>
                </a:solidFill>
                <a:latin typeface="Arial"/>
                <a:ea typeface="+mn-ea"/>
                <a:cs typeface="+mn-cs"/>
              </a:defRPr>
            </a:lvl1pPr>
            <a:lvl2pPr algn="ctr" rtl="0" eaLnBrk="0" fontAlgn="base" hangingPunct="0">
              <a:spcBef>
                <a:spcPct val="0"/>
              </a:spcBef>
              <a:spcAft>
                <a:spcPct val="0"/>
              </a:spcAft>
              <a:defRPr sz="3600" b="1">
                <a:solidFill>
                  <a:srgbClr val="990033"/>
                </a:solidFill>
                <a:latin typeface="Arial Narrow" pitchFamily="34" charset="0"/>
              </a:defRPr>
            </a:lvl2pPr>
            <a:lvl3pPr algn="ctr" rtl="0" eaLnBrk="0" fontAlgn="base" hangingPunct="0">
              <a:spcBef>
                <a:spcPct val="0"/>
              </a:spcBef>
              <a:spcAft>
                <a:spcPct val="0"/>
              </a:spcAft>
              <a:defRPr sz="3600" b="1">
                <a:solidFill>
                  <a:srgbClr val="990033"/>
                </a:solidFill>
                <a:latin typeface="Arial Narrow" pitchFamily="34" charset="0"/>
              </a:defRPr>
            </a:lvl3pPr>
            <a:lvl4pPr algn="ctr" rtl="0" eaLnBrk="0" fontAlgn="base" hangingPunct="0">
              <a:spcBef>
                <a:spcPct val="0"/>
              </a:spcBef>
              <a:spcAft>
                <a:spcPct val="0"/>
              </a:spcAft>
              <a:defRPr sz="3600" b="1">
                <a:solidFill>
                  <a:srgbClr val="990033"/>
                </a:solidFill>
                <a:latin typeface="Arial Narrow" pitchFamily="34" charset="0"/>
              </a:defRPr>
            </a:lvl4pPr>
            <a:lvl5pPr algn="ctr" rtl="0" eaLnBrk="0" fontAlgn="base" hangingPunct="0">
              <a:spcBef>
                <a:spcPct val="0"/>
              </a:spcBef>
              <a:spcAft>
                <a:spcPct val="0"/>
              </a:spcAft>
              <a:defRPr sz="3600" b="1">
                <a:solidFill>
                  <a:srgbClr val="990033"/>
                </a:solidFill>
                <a:latin typeface="Arial Narrow" pitchFamily="34"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a:lstStyle>
          <a:p>
            <a:endParaRPr lang="fr-FR" sz="2400" i="1" kern="1200">
              <a:solidFill>
                <a:srgbClr val="636463"/>
              </a:solidFill>
              <a:latin typeface="Arial"/>
              <a:ea typeface="+mn-ea"/>
              <a:cs typeface="+mn-cs"/>
            </a:endParaRPr>
          </a:p>
        </p:txBody>
      </p:sp>
    </p:spTree>
    <p:extLst>
      <p:ext uri="{BB962C8B-B14F-4D97-AF65-F5344CB8AC3E}">
        <p14:creationId xmlns:p14="http://schemas.microsoft.com/office/powerpoint/2010/main" val="340139634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2" r:id="rId10"/>
    <p:sldLayoutId id="2147483673" r:id="rId11"/>
    <p:sldLayoutId id="2147483674" r:id="rId12"/>
    <p:sldLayoutId id="2147483675" r:id="rId13"/>
    <p:sldLayoutId id="2147483677" r:id="rId14"/>
    <p:sldLayoutId id="2147483678" r:id="rId15"/>
  </p:sldLayoutIdLst>
  <p:hf hdr="0" dt="0"/>
  <p:txStyles>
    <p:titleStyle>
      <a:lvl1pPr algn="ctr" rtl="0" eaLnBrk="0" fontAlgn="base" hangingPunct="0">
        <a:spcBef>
          <a:spcPct val="0"/>
        </a:spcBef>
        <a:spcAft>
          <a:spcPct val="0"/>
        </a:spcAft>
        <a:defRPr sz="3800" b="1">
          <a:solidFill>
            <a:srgbClr val="990033"/>
          </a:solidFill>
          <a:latin typeface="Arial Narrow" pitchFamily="34" charset="0"/>
          <a:ea typeface="+mj-ea"/>
          <a:cs typeface="+mj-cs"/>
        </a:defRPr>
      </a:lvl1pPr>
      <a:lvl2pPr algn="ctr" rtl="0" eaLnBrk="0" fontAlgn="base" hangingPunct="0">
        <a:spcBef>
          <a:spcPct val="0"/>
        </a:spcBef>
        <a:spcAft>
          <a:spcPct val="0"/>
        </a:spcAft>
        <a:defRPr sz="3600" b="1">
          <a:solidFill>
            <a:srgbClr val="990033"/>
          </a:solidFill>
          <a:latin typeface="Arial Narrow" pitchFamily="34" charset="0"/>
        </a:defRPr>
      </a:lvl2pPr>
      <a:lvl3pPr algn="ctr" rtl="0" eaLnBrk="0" fontAlgn="base" hangingPunct="0">
        <a:spcBef>
          <a:spcPct val="0"/>
        </a:spcBef>
        <a:spcAft>
          <a:spcPct val="0"/>
        </a:spcAft>
        <a:defRPr sz="3600" b="1">
          <a:solidFill>
            <a:srgbClr val="990033"/>
          </a:solidFill>
          <a:latin typeface="Arial Narrow" pitchFamily="34" charset="0"/>
        </a:defRPr>
      </a:lvl3pPr>
      <a:lvl4pPr algn="ctr" rtl="0" eaLnBrk="0" fontAlgn="base" hangingPunct="0">
        <a:spcBef>
          <a:spcPct val="0"/>
        </a:spcBef>
        <a:spcAft>
          <a:spcPct val="0"/>
        </a:spcAft>
        <a:defRPr sz="3600" b="1">
          <a:solidFill>
            <a:srgbClr val="990033"/>
          </a:solidFill>
          <a:latin typeface="Arial Narrow" pitchFamily="34" charset="0"/>
        </a:defRPr>
      </a:lvl4pPr>
      <a:lvl5pPr algn="ctr" rtl="0" eaLnBrk="0" fontAlgn="base" hangingPunct="0">
        <a:spcBef>
          <a:spcPct val="0"/>
        </a:spcBef>
        <a:spcAft>
          <a:spcPct val="0"/>
        </a:spcAft>
        <a:defRPr sz="3600" b="1">
          <a:solidFill>
            <a:srgbClr val="990033"/>
          </a:solidFill>
          <a:latin typeface="Arial Narrow" pitchFamily="34"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p:titleStyle>
    <p:bodyStyle>
      <a:lvl1pPr marL="342900" indent="-342900" algn="l" rtl="0" eaLnBrk="0" fontAlgn="base" hangingPunct="0">
        <a:spcBef>
          <a:spcPct val="20000"/>
        </a:spcBef>
        <a:spcAft>
          <a:spcPct val="0"/>
        </a:spcAft>
        <a:buClr>
          <a:srgbClr val="A50021"/>
        </a:buClr>
        <a:buSzPct val="100000"/>
        <a:buFont typeface="Wingdings" pitchFamily="2" charset="2"/>
        <a:buChar char="§"/>
        <a:defRPr sz="3000">
          <a:solidFill>
            <a:srgbClr val="676D6F"/>
          </a:solidFill>
          <a:latin typeface="Arial" pitchFamily="34" charset="0"/>
          <a:ea typeface="+mn-ea"/>
          <a:cs typeface="Arial" pitchFamily="34" charset="0"/>
        </a:defRPr>
      </a:lvl1pPr>
      <a:lvl2pPr marL="742950" indent="-285750" algn="l" rtl="0" eaLnBrk="0" fontAlgn="base" hangingPunct="0">
        <a:spcBef>
          <a:spcPct val="20000"/>
        </a:spcBef>
        <a:spcAft>
          <a:spcPct val="0"/>
        </a:spcAft>
        <a:buSzPct val="100000"/>
        <a:buFont typeface="Arial" pitchFamily="34" charset="0"/>
        <a:buChar char="•"/>
        <a:defRPr sz="2800">
          <a:solidFill>
            <a:srgbClr val="676D6F"/>
          </a:solidFill>
          <a:latin typeface="Arial" pitchFamily="34" charset="0"/>
          <a:cs typeface="Arial" pitchFamily="34" charset="0"/>
        </a:defRPr>
      </a:lvl2pPr>
      <a:lvl3pPr marL="1143000" indent="-228600" algn="l" rtl="0" eaLnBrk="0" fontAlgn="base" hangingPunct="0">
        <a:spcBef>
          <a:spcPct val="20000"/>
        </a:spcBef>
        <a:spcAft>
          <a:spcPct val="0"/>
        </a:spcAft>
        <a:buFont typeface="Wingdings" pitchFamily="2" charset="2"/>
        <a:buChar char="§"/>
        <a:defRPr sz="2400">
          <a:solidFill>
            <a:srgbClr val="676D6F"/>
          </a:solidFill>
          <a:latin typeface="Arial" panose="020B0604020202020204" pitchFamily="34" charset="0"/>
          <a:cs typeface="Arial" panose="020B0604020202020204" pitchFamily="34" charset="0"/>
        </a:defRPr>
      </a:lvl3pPr>
      <a:lvl4pPr marL="1600200" indent="-228600" algn="l" rtl="0" eaLnBrk="0" fontAlgn="base" hangingPunct="0">
        <a:spcBef>
          <a:spcPct val="20000"/>
        </a:spcBef>
        <a:spcAft>
          <a:spcPct val="0"/>
        </a:spcAft>
        <a:buFont typeface="Wingdings" panose="05000000000000000000" pitchFamily="2" charset="2"/>
        <a:buChar char="s"/>
        <a:defRPr sz="2000">
          <a:solidFill>
            <a:srgbClr val="676D6F"/>
          </a:solidFill>
          <a:latin typeface="Arial Narrow" pitchFamily="34" charset="0"/>
        </a:defRPr>
      </a:lvl4pPr>
      <a:lvl5pPr marL="2057400" indent="-228600" algn="l" rtl="0" eaLnBrk="0" fontAlgn="base" hangingPunct="0">
        <a:spcBef>
          <a:spcPct val="20000"/>
        </a:spcBef>
        <a:spcAft>
          <a:spcPct val="0"/>
        </a:spcAft>
        <a:buFont typeface="Arial Narrow" panose="020B0606020202030204" pitchFamily="34" charset="0"/>
        <a:buChar char="▫"/>
        <a:defRPr sz="1800">
          <a:solidFill>
            <a:srgbClr val="676D6F"/>
          </a:solidFill>
          <a:latin typeface="Arial Narrow" pitchFamily="34" charset="0"/>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A1574B2-E1D4-FD00-EB77-631C2B1F5142}"/>
              </a:ext>
            </a:extLst>
          </p:cNvPr>
          <p:cNvGraphicFramePr>
            <a:graphicFrameLocks noChangeAspect="1"/>
          </p:cNvGraphicFramePr>
          <p:nvPr userDrawn="1">
            <p:custDataLst>
              <p:tags r:id="rId24"/>
            </p:custDataLst>
            <p:extLst>
              <p:ext uri="{D42A27DB-BD31-4B8C-83A1-F6EECF244321}">
                <p14:modId xmlns:p14="http://schemas.microsoft.com/office/powerpoint/2010/main" val="1222466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415" imgH="416" progId="TCLayout.ActiveDocument.1">
                  <p:embed/>
                </p:oleObj>
              </mc:Choice>
              <mc:Fallback>
                <p:oleObj name="think-cell Slide" r:id="rId25" imgW="415" imgH="416" progId="TCLayout.ActiveDocument.1">
                  <p:embed/>
                  <p:pic>
                    <p:nvPicPr>
                      <p:cNvPr id="7" name="Object 6" hidden="1">
                        <a:extLst>
                          <a:ext uri="{FF2B5EF4-FFF2-40B4-BE49-F238E27FC236}">
                            <a16:creationId xmlns:a16="http://schemas.microsoft.com/office/drawing/2014/main" id="{0A1574B2-E1D4-FD00-EB77-631C2B1F5142}"/>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E4C9939A-617C-3E44-A0D0-909C79756BDF}"/>
              </a:ext>
            </a:extLst>
          </p:cNvPr>
          <p:cNvSpPr>
            <a:spLocks noGrp="1"/>
          </p:cNvSpPr>
          <p:nvPr>
            <p:ph type="title"/>
          </p:nvPr>
        </p:nvSpPr>
        <p:spPr>
          <a:xfrm>
            <a:off x="521719" y="368300"/>
            <a:ext cx="11154344" cy="722674"/>
          </a:xfrm>
          <a:prstGeom prst="rect">
            <a:avLst/>
          </a:prstGeom>
        </p:spPr>
        <p:txBody>
          <a:bodyPr vert="horz" lIns="0" tIns="0" rIns="0" bIns="0" rtlCol="0" anchor="t">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9F9D0AC0-F01F-B544-AC35-7D2BCB4EB7F6}"/>
              </a:ext>
            </a:extLst>
          </p:cNvPr>
          <p:cNvSpPr>
            <a:spLocks noGrp="1"/>
          </p:cNvSpPr>
          <p:nvPr>
            <p:ph type="body" idx="1"/>
          </p:nvPr>
        </p:nvSpPr>
        <p:spPr>
          <a:xfrm>
            <a:off x="515938" y="1325974"/>
            <a:ext cx="11154344" cy="4456608"/>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66F729D7-DBF0-1846-87E5-720E70F9E8F0}"/>
              </a:ext>
            </a:extLst>
          </p:cNvPr>
          <p:cNvSpPr>
            <a:spLocks noGrp="1"/>
          </p:cNvSpPr>
          <p:nvPr>
            <p:ph type="ftr" sz="quarter" idx="3"/>
          </p:nvPr>
        </p:nvSpPr>
        <p:spPr>
          <a:xfrm>
            <a:off x="777567" y="6356350"/>
            <a:ext cx="4189003" cy="136526"/>
          </a:xfrm>
          <a:prstGeom prst="rect">
            <a:avLst/>
          </a:prstGeom>
        </p:spPr>
        <p:txBody>
          <a:bodyPr vert="horz" lIns="0" tIns="0" rIns="0" bIns="0" rtlCol="0" anchor="b"/>
          <a:lstStyle>
            <a:lvl1pPr algn="l">
              <a:defRPr sz="800">
                <a:solidFill>
                  <a:schemeClr val="tx1">
                    <a:tint val="75000"/>
                  </a:schemeClr>
                </a:solidFill>
                <a:latin typeface="Arial" panose="020B0604020202020204" pitchFamily="34" charset="0"/>
                <a:cs typeface="Arial" panose="020B0604020202020204" pitchFamily="34" charset="0"/>
              </a:defRPr>
            </a:lvl1pPr>
          </a:lstStyle>
          <a:p>
            <a:r>
              <a:rPr lang="en-US"/>
              <a:t>GNN webinar on rabies 6 May 2024</a:t>
            </a:r>
            <a:endParaRPr lang="en-GB"/>
          </a:p>
        </p:txBody>
      </p:sp>
      <p:sp>
        <p:nvSpPr>
          <p:cNvPr id="6" name="Slide Number Placeholder 5">
            <a:extLst>
              <a:ext uri="{FF2B5EF4-FFF2-40B4-BE49-F238E27FC236}">
                <a16:creationId xmlns:a16="http://schemas.microsoft.com/office/drawing/2014/main" id="{8918EB43-CEEF-AF40-88AE-32CEA15C642C}"/>
              </a:ext>
            </a:extLst>
          </p:cNvPr>
          <p:cNvSpPr>
            <a:spLocks noGrp="1"/>
          </p:cNvSpPr>
          <p:nvPr>
            <p:ph type="sldNum" sz="quarter" idx="4"/>
          </p:nvPr>
        </p:nvSpPr>
        <p:spPr>
          <a:xfrm>
            <a:off x="515938" y="6356351"/>
            <a:ext cx="261629" cy="133349"/>
          </a:xfrm>
          <a:prstGeom prst="rect">
            <a:avLst/>
          </a:prstGeom>
        </p:spPr>
        <p:txBody>
          <a:bodyPr vert="horz" lIns="0" tIns="0" rIns="0" bIns="0" rtlCol="0" anchor="b"/>
          <a:lstStyle>
            <a:lvl1pPr algn="l">
              <a:defRPr sz="800">
                <a:solidFill>
                  <a:schemeClr val="tx1">
                    <a:tint val="75000"/>
                  </a:schemeClr>
                </a:solidFill>
                <a:latin typeface="Arial" panose="020B0604020202020204" pitchFamily="34" charset="0"/>
                <a:cs typeface="Arial" panose="020B0604020202020204" pitchFamily="34" charset="0"/>
              </a:defRPr>
            </a:lvl1pPr>
          </a:lstStyle>
          <a:p>
            <a:fld id="{AB746B08-255A-2748-8A21-40BE94A17FD1}" type="slidenum">
              <a:rPr lang="en-GB" smtClean="0"/>
              <a:pPr/>
              <a:t>‹#›</a:t>
            </a:fld>
            <a:endParaRPr lang="en-GB"/>
          </a:p>
        </p:txBody>
      </p:sp>
    </p:spTree>
    <p:extLst>
      <p:ext uri="{BB962C8B-B14F-4D97-AF65-F5344CB8AC3E}">
        <p14:creationId xmlns:p14="http://schemas.microsoft.com/office/powerpoint/2010/main" val="3766706056"/>
      </p:ext>
    </p:extLst>
  </p:cSld>
  <p:clrMap bg1="lt1" tx1="dk1" bg2="lt2" tx2="dk2" accent1="accent1" accent2="accent2" accent3="accent3" accent4="accent4" accent5="accent5" accent6="accent6" hlink="hlink" folHlink="folHlink"/>
  <p:sldLayoutIdLst>
    <p:sldLayoutId id="2147484075" r:id="rId1"/>
    <p:sldLayoutId id="2147484076" r:id="rId2"/>
    <p:sldLayoutId id="2147484077" r:id="rId3"/>
    <p:sldLayoutId id="2147484078" r:id="rId4"/>
    <p:sldLayoutId id="2147484079" r:id="rId5"/>
    <p:sldLayoutId id="2147484080" r:id="rId6"/>
    <p:sldLayoutId id="2147484081" r:id="rId7"/>
    <p:sldLayoutId id="2147484082" r:id="rId8"/>
    <p:sldLayoutId id="2147484083" r:id="rId9"/>
    <p:sldLayoutId id="2147484084" r:id="rId10"/>
    <p:sldLayoutId id="2147484085" r:id="rId11"/>
    <p:sldLayoutId id="2147484086" r:id="rId12"/>
    <p:sldLayoutId id="2147484087" r:id="rId13"/>
    <p:sldLayoutId id="2147484088" r:id="rId14"/>
    <p:sldLayoutId id="2147484089" r:id="rId15"/>
    <p:sldLayoutId id="2147484090" r:id="rId16"/>
    <p:sldLayoutId id="2147484091" r:id="rId17"/>
    <p:sldLayoutId id="2147484092" r:id="rId18"/>
    <p:sldLayoutId id="2147484093" r:id="rId19"/>
    <p:sldLayoutId id="2147484094" r:id="rId20"/>
    <p:sldLayoutId id="2147484095" r:id="rId21"/>
    <p:sldLayoutId id="2147484096" r:id="rId22"/>
  </p:sldLayoutIdLst>
  <p:hf hdr="0" dt="0"/>
  <p:txStyles>
    <p:titleStyle>
      <a:lvl1pPr algn="l" defTabSz="914400" rtl="0" eaLnBrk="1" latinLnBrk="0" hangingPunct="1">
        <a:lnSpc>
          <a:spcPct val="90000"/>
        </a:lnSpc>
        <a:spcBef>
          <a:spcPct val="0"/>
        </a:spcBef>
        <a:buNone/>
        <a:defRPr sz="3600" b="1" kern="1200">
          <a:solidFill>
            <a:schemeClr val="tx2"/>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25">
          <p15:clr>
            <a:srgbClr val="F26B43"/>
          </p15:clr>
        </p15:guide>
        <p15:guide id="3" pos="7355">
          <p15:clr>
            <a:srgbClr val="F26B43"/>
          </p15:clr>
        </p15:guide>
        <p15:guide id="4" orient="horz" pos="232">
          <p15:clr>
            <a:srgbClr val="F26B43"/>
          </p15:clr>
        </p15:guide>
        <p15:guide id="5" orient="horz" pos="4088">
          <p15:clr>
            <a:srgbClr val="F26B43"/>
          </p15:clr>
        </p15:guide>
        <p15:guide id="7" orient="horz" pos="822">
          <p15:clr>
            <a:srgbClr val="F26B43"/>
          </p15:clr>
        </p15:guide>
        <p15:guide id="9" orient="horz" pos="3725">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E1F36B2-CDA4-4FC0-8E00-58551B08649B}"/>
              </a:ext>
            </a:extLst>
          </p:cNvPr>
          <p:cNvGraphicFramePr>
            <a:graphicFrameLocks noChangeAspect="1"/>
          </p:cNvGraphicFramePr>
          <p:nvPr userDrawn="1">
            <p:custDataLst>
              <p:tags r:id="rId22"/>
            </p:custDataLst>
            <p:extLst>
              <p:ext uri="{D42A27DB-BD31-4B8C-83A1-F6EECF244321}">
                <p14:modId xmlns:p14="http://schemas.microsoft.com/office/powerpoint/2010/main" val="51725429"/>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23" imgW="306" imgH="306" progId="TCLayout.ActiveDocument.1">
                  <p:embed/>
                </p:oleObj>
              </mc:Choice>
              <mc:Fallback>
                <p:oleObj name="think-cell Slide" r:id="rId23" imgW="306" imgH="306" progId="TCLayout.ActiveDocument.1">
                  <p:embed/>
                  <p:pic>
                    <p:nvPicPr>
                      <p:cNvPr id="4" name="Object 3" hidden="1">
                        <a:extLst>
                          <a:ext uri="{FF2B5EF4-FFF2-40B4-BE49-F238E27FC236}">
                            <a16:creationId xmlns:a16="http://schemas.microsoft.com/office/drawing/2014/main" id="{FE1F36B2-CDA4-4FC0-8E00-58551B08649B}"/>
                          </a:ext>
                        </a:extLst>
                      </p:cNvPr>
                      <p:cNvPicPr/>
                      <p:nvPr/>
                    </p:nvPicPr>
                    <p:blipFill>
                      <a:blip r:embed="rId24"/>
                      <a:stretch>
                        <a:fillRect/>
                      </a:stretch>
                    </p:blipFill>
                    <p:spPr>
                      <a:xfrm>
                        <a:off x="2118" y="2118"/>
                        <a:ext cx="2117" cy="2117"/>
                      </a:xfrm>
                      <a:prstGeom prst="rect">
                        <a:avLst/>
                      </a:prstGeom>
                    </p:spPr>
                  </p:pic>
                </p:oleObj>
              </mc:Fallback>
            </mc:AlternateContent>
          </a:graphicData>
        </a:graphic>
      </p:graphicFrame>
      <p:sp>
        <p:nvSpPr>
          <p:cNvPr id="14" name="Rectangle 13"/>
          <p:cNvSpPr/>
          <p:nvPr userDrawn="1"/>
        </p:nvSpPr>
        <p:spPr bwMode="gray">
          <a:xfrm>
            <a:off x="672000" y="1424243"/>
            <a:ext cx="1296000" cy="25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sp>
        <p:nvSpPr>
          <p:cNvPr id="2" name="Espace réservé du titre 1"/>
          <p:cNvSpPr>
            <a:spLocks noGrp="1"/>
          </p:cNvSpPr>
          <p:nvPr>
            <p:ph type="title"/>
          </p:nvPr>
        </p:nvSpPr>
        <p:spPr bwMode="gray">
          <a:xfrm>
            <a:off x="672000" y="217251"/>
            <a:ext cx="10848000" cy="1036637"/>
          </a:xfrm>
          <a:prstGeom prst="rect">
            <a:avLst/>
          </a:prstGeom>
        </p:spPr>
        <p:txBody>
          <a:bodyPr vert="horz" lIns="0" tIns="0" rIns="0" bIns="0" rtlCol="0" anchor="b" anchorCtr="0">
            <a:noAutofit/>
          </a:bodyPr>
          <a:lstStyle/>
          <a:p>
            <a:r>
              <a:rPr lang="en-GB" noProof="0"/>
              <a:t>TITLE</a:t>
            </a:r>
          </a:p>
        </p:txBody>
      </p:sp>
      <p:sp>
        <p:nvSpPr>
          <p:cNvPr id="3" name="Espace réservé du texte 2"/>
          <p:cNvSpPr>
            <a:spLocks noGrp="1"/>
          </p:cNvSpPr>
          <p:nvPr>
            <p:ph type="body" idx="1"/>
          </p:nvPr>
        </p:nvSpPr>
        <p:spPr bwMode="gray">
          <a:xfrm>
            <a:off x="672000" y="1604675"/>
            <a:ext cx="10848000" cy="4192480"/>
          </a:xfrm>
          <a:prstGeom prst="rect">
            <a:avLst/>
          </a:prstGeom>
        </p:spPr>
        <p:txBody>
          <a:bodyPr vert="horz" lIns="0" tIns="0" rIns="0" bIns="0" rtlCol="0" anchor="t" anchorCtr="0">
            <a:noAutofit/>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0" name="Rectangle 9"/>
          <p:cNvSpPr/>
          <p:nvPr userDrawn="1"/>
        </p:nvSpPr>
        <p:spPr bwMode="gray">
          <a:xfrm>
            <a:off x="9854400" y="5771955"/>
            <a:ext cx="2337600" cy="25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pic>
        <p:nvPicPr>
          <p:cNvPr id="12" name="Image 11"/>
          <p:cNvPicPr>
            <a:picLocks noChangeAspect="1"/>
          </p:cNvPicPr>
          <p:nvPr userDrawn="1"/>
        </p:nvPicPr>
        <p:blipFill>
          <a:blip r:embed="rId25" cstate="print">
            <a:extLst>
              <a:ext uri="{28A0092B-C50C-407E-A947-70E740481C1C}">
                <a14:useLocalDpi xmlns:a14="http://schemas.microsoft.com/office/drawing/2010/main" val="0"/>
              </a:ext>
            </a:extLst>
          </a:blip>
          <a:stretch>
            <a:fillRect/>
          </a:stretch>
        </p:blipFill>
        <p:spPr bwMode="gray">
          <a:xfrm>
            <a:off x="9782979" y="5424167"/>
            <a:ext cx="2400000" cy="1437563"/>
          </a:xfrm>
          <a:prstGeom prst="rect">
            <a:avLst/>
          </a:prstGeom>
        </p:spPr>
      </p:pic>
    </p:spTree>
    <p:extLst>
      <p:ext uri="{BB962C8B-B14F-4D97-AF65-F5344CB8AC3E}">
        <p14:creationId xmlns:p14="http://schemas.microsoft.com/office/powerpoint/2010/main" val="1530769435"/>
      </p:ext>
    </p:extLst>
  </p:cSld>
  <p:clrMap bg1="lt1" tx1="dk1" bg2="lt2" tx2="dk2" accent1="accent1" accent2="accent2" accent3="accent3" accent4="accent4" accent5="accent5" accent6="accent6" hlink="hlink" folHlink="folHlink"/>
  <p:sldLayoutIdLst>
    <p:sldLayoutId id="2147484098" r:id="rId1"/>
    <p:sldLayoutId id="2147484099" r:id="rId2"/>
    <p:sldLayoutId id="2147484100" r:id="rId3"/>
    <p:sldLayoutId id="2147484101" r:id="rId4"/>
    <p:sldLayoutId id="2147484102" r:id="rId5"/>
    <p:sldLayoutId id="2147484103" r:id="rId6"/>
    <p:sldLayoutId id="2147484104" r:id="rId7"/>
    <p:sldLayoutId id="2147484105" r:id="rId8"/>
    <p:sldLayoutId id="2147484106" r:id="rId9"/>
    <p:sldLayoutId id="2147484107" r:id="rId10"/>
    <p:sldLayoutId id="2147484108" r:id="rId11"/>
    <p:sldLayoutId id="2147484109" r:id="rId12"/>
    <p:sldLayoutId id="2147484110" r:id="rId13"/>
    <p:sldLayoutId id="2147484111" r:id="rId14"/>
    <p:sldLayoutId id="2147484112" r:id="rId15"/>
    <p:sldLayoutId id="2147484113" r:id="rId16"/>
    <p:sldLayoutId id="2147484114" r:id="rId17"/>
    <p:sldLayoutId id="2147484115" r:id="rId18"/>
    <p:sldLayoutId id="2147484116" r:id="rId19"/>
    <p:sldLayoutId id="2147484117" r:id="rId20"/>
  </p:sldLayoutIdLst>
  <p:hf hdr="0" dt="0"/>
  <p:txStyles>
    <p:titleStyle>
      <a:lvl1pPr algn="l" defTabSz="1219170" rtl="0" eaLnBrk="1" latinLnBrk="0" hangingPunct="1">
        <a:lnSpc>
          <a:spcPct val="90000"/>
        </a:lnSpc>
        <a:spcBef>
          <a:spcPct val="0"/>
        </a:spcBef>
        <a:buNone/>
        <a:defRPr sz="3733" b="0" kern="1200" cap="none" baseline="0">
          <a:solidFill>
            <a:schemeClr val="accent1"/>
          </a:solidFill>
          <a:latin typeface="+mj-lt"/>
          <a:ea typeface="+mj-ea"/>
          <a:cs typeface="+mj-cs"/>
        </a:defRPr>
      </a:lvl1pPr>
    </p:titleStyle>
    <p:bodyStyle>
      <a:lvl1pPr marL="0" indent="0" algn="l" defTabSz="1219170" rtl="0" eaLnBrk="1" latinLnBrk="0" hangingPunct="1">
        <a:lnSpc>
          <a:spcPct val="110000"/>
        </a:lnSpc>
        <a:spcBef>
          <a:spcPts val="0"/>
        </a:spcBef>
        <a:buFont typeface="Arial" pitchFamily="34" charset="0"/>
        <a:buNone/>
        <a:defRPr sz="2667" b="1" kern="1200">
          <a:solidFill>
            <a:schemeClr val="accent1"/>
          </a:solidFill>
          <a:latin typeface="+mn-lt"/>
          <a:ea typeface="+mn-ea"/>
          <a:cs typeface="+mn-cs"/>
        </a:defRPr>
      </a:lvl1pPr>
      <a:lvl2pPr marL="431989" indent="-239994" algn="l" defTabSz="1219170" rtl="0" eaLnBrk="1" latinLnBrk="0" hangingPunct="1">
        <a:lnSpc>
          <a:spcPct val="100000"/>
        </a:lnSpc>
        <a:spcBef>
          <a:spcPts val="400"/>
        </a:spcBef>
        <a:buClr>
          <a:schemeClr val="accent3"/>
        </a:buClr>
        <a:buFont typeface="Arial" pitchFamily="34" charset="0"/>
        <a:buChar char="•"/>
        <a:defRPr sz="2400" b="1" kern="1200">
          <a:solidFill>
            <a:schemeClr val="tx1"/>
          </a:solidFill>
          <a:latin typeface="+mn-lt"/>
          <a:ea typeface="+mn-ea"/>
          <a:cs typeface="+mn-cs"/>
        </a:defRPr>
      </a:lvl2pPr>
      <a:lvl3pPr marL="671983" indent="-239994" algn="l" defTabSz="1219170" rtl="0" eaLnBrk="1" latinLnBrk="0" hangingPunct="1">
        <a:lnSpc>
          <a:spcPct val="100000"/>
        </a:lnSpc>
        <a:spcBef>
          <a:spcPts val="400"/>
        </a:spcBef>
        <a:buSzPct val="100000"/>
        <a:buFont typeface="Arial" pitchFamily="34" charset="0"/>
        <a:buChar char="•"/>
        <a:defRPr sz="2133" b="0" kern="1200">
          <a:solidFill>
            <a:schemeClr val="tx1"/>
          </a:solidFill>
          <a:latin typeface="+mn-lt"/>
          <a:ea typeface="+mn-ea"/>
          <a:cs typeface="+mn-cs"/>
        </a:defRPr>
      </a:lvl3pPr>
      <a:lvl4pPr marL="671983" indent="0" algn="l" defTabSz="1219170" rtl="0" eaLnBrk="1" latinLnBrk="0" hangingPunct="1">
        <a:lnSpc>
          <a:spcPct val="100000"/>
        </a:lnSpc>
        <a:spcBef>
          <a:spcPts val="400"/>
        </a:spcBef>
        <a:buSzPct val="100000"/>
        <a:buFont typeface="Arial" pitchFamily="34" charset="0"/>
        <a:buNone/>
        <a:defRPr sz="2133" kern="1200">
          <a:solidFill>
            <a:schemeClr val="tx1"/>
          </a:solidFill>
          <a:latin typeface="+mn-lt"/>
          <a:ea typeface="+mn-ea"/>
          <a:cs typeface="+mn-cs"/>
        </a:defRPr>
      </a:lvl4pPr>
      <a:lvl5pPr marL="911977" indent="-239994" algn="l" defTabSz="1219170" rtl="0" eaLnBrk="1" latinLnBrk="0" hangingPunct="1">
        <a:lnSpc>
          <a:spcPct val="100000"/>
        </a:lnSpc>
        <a:spcBef>
          <a:spcPts val="400"/>
        </a:spcBef>
        <a:buSzPct val="100000"/>
        <a:buFont typeface="Arial" pitchFamily="34" charset="0"/>
        <a:buChar char="•"/>
        <a:defRPr sz="1867"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3679A0C-1B43-3F81-4B76-5D5BB69A5FC9}"/>
              </a:ext>
            </a:extLst>
          </p:cNvPr>
          <p:cNvGraphicFramePr>
            <a:graphicFrameLocks noChangeAspect="1"/>
          </p:cNvGraphicFramePr>
          <p:nvPr userDrawn="1">
            <p:custDataLst>
              <p:tags r:id="rId27"/>
            </p:custDataLst>
            <p:extLst>
              <p:ext uri="{D42A27DB-BD31-4B8C-83A1-F6EECF244321}">
                <p14:modId xmlns:p14="http://schemas.microsoft.com/office/powerpoint/2010/main" val="3361113894"/>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28" imgW="306" imgH="306" progId="TCLayout.ActiveDocument.1">
                  <p:embed/>
                </p:oleObj>
              </mc:Choice>
              <mc:Fallback>
                <p:oleObj name="think-cell Slide" r:id="rId28" imgW="306" imgH="306" progId="TCLayout.ActiveDocument.1">
                  <p:embed/>
                  <p:pic>
                    <p:nvPicPr>
                      <p:cNvPr id="4" name="Object 3" hidden="1">
                        <a:extLst>
                          <a:ext uri="{FF2B5EF4-FFF2-40B4-BE49-F238E27FC236}">
                            <a16:creationId xmlns:a16="http://schemas.microsoft.com/office/drawing/2014/main" id="{03679A0C-1B43-3F81-4B76-5D5BB69A5FC9}"/>
                          </a:ext>
                        </a:extLst>
                      </p:cNvPr>
                      <p:cNvPicPr/>
                      <p:nvPr/>
                    </p:nvPicPr>
                    <p:blipFill>
                      <a:blip r:embed="rId29"/>
                      <a:stretch>
                        <a:fillRect/>
                      </a:stretch>
                    </p:blipFill>
                    <p:spPr>
                      <a:xfrm>
                        <a:off x="2118" y="2118"/>
                        <a:ext cx="2117" cy="2117"/>
                      </a:xfrm>
                      <a:prstGeom prst="rect">
                        <a:avLst/>
                      </a:prstGeom>
                    </p:spPr>
                  </p:pic>
                </p:oleObj>
              </mc:Fallback>
            </mc:AlternateContent>
          </a:graphicData>
        </a:graphic>
      </p:graphicFrame>
      <p:sp>
        <p:nvSpPr>
          <p:cNvPr id="14" name="Rectangle 13"/>
          <p:cNvSpPr/>
          <p:nvPr userDrawn="1"/>
        </p:nvSpPr>
        <p:spPr bwMode="gray">
          <a:xfrm>
            <a:off x="672000" y="1424243"/>
            <a:ext cx="1296000" cy="25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sp>
        <p:nvSpPr>
          <p:cNvPr id="2" name="Espace réservé du titre 1"/>
          <p:cNvSpPr>
            <a:spLocks noGrp="1"/>
          </p:cNvSpPr>
          <p:nvPr>
            <p:ph type="title"/>
          </p:nvPr>
        </p:nvSpPr>
        <p:spPr bwMode="gray">
          <a:xfrm>
            <a:off x="672000" y="217251"/>
            <a:ext cx="10848000" cy="1036637"/>
          </a:xfrm>
          <a:prstGeom prst="rect">
            <a:avLst/>
          </a:prstGeom>
        </p:spPr>
        <p:txBody>
          <a:bodyPr vert="horz" lIns="0" tIns="0" rIns="0" bIns="0" rtlCol="0" anchor="b" anchorCtr="0">
            <a:noAutofit/>
          </a:bodyPr>
          <a:lstStyle/>
          <a:p>
            <a:r>
              <a:rPr lang="en-GB" noProof="0"/>
              <a:t>TITLE</a:t>
            </a:r>
          </a:p>
        </p:txBody>
      </p:sp>
      <p:sp>
        <p:nvSpPr>
          <p:cNvPr id="3" name="Espace réservé du texte 2"/>
          <p:cNvSpPr>
            <a:spLocks noGrp="1"/>
          </p:cNvSpPr>
          <p:nvPr>
            <p:ph type="body" idx="1"/>
          </p:nvPr>
        </p:nvSpPr>
        <p:spPr bwMode="gray">
          <a:xfrm>
            <a:off x="672000" y="1604675"/>
            <a:ext cx="10848000" cy="4192480"/>
          </a:xfrm>
          <a:prstGeom prst="rect">
            <a:avLst/>
          </a:prstGeom>
        </p:spPr>
        <p:txBody>
          <a:bodyPr vert="horz" lIns="0" tIns="0" rIns="0" bIns="0" rtlCol="0" anchor="t" anchorCtr="0">
            <a:noAutofit/>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6" name="Espace réservé du numéro de diapositive 5"/>
          <p:cNvSpPr>
            <a:spLocks noGrp="1"/>
          </p:cNvSpPr>
          <p:nvPr>
            <p:ph type="sldNum" sz="quarter" idx="4"/>
          </p:nvPr>
        </p:nvSpPr>
        <p:spPr bwMode="gray">
          <a:xfrm>
            <a:off x="672000" y="6327933"/>
            <a:ext cx="1200149" cy="530067"/>
          </a:xfrm>
          <a:prstGeom prst="rect">
            <a:avLst/>
          </a:prstGeom>
        </p:spPr>
        <p:txBody>
          <a:bodyPr vert="horz" lIns="0" tIns="21600" rIns="0" bIns="0" rtlCol="0" anchor="t" anchorCtr="0">
            <a:noAutofit/>
          </a:bodyPr>
          <a:lstStyle>
            <a:lvl1pPr algn="l">
              <a:defRPr sz="1200" b="1">
                <a:solidFill>
                  <a:schemeClr val="tx1"/>
                </a:solidFill>
              </a:defRPr>
            </a:lvl1pPr>
          </a:lstStyle>
          <a:p>
            <a:fld id="{733122C9-A0B9-462F-8757-0847AD287B63}" type="slidenum">
              <a:rPr lang="en-GB" noProof="0" smtClean="0"/>
              <a:pPr/>
              <a:t>‹#›</a:t>
            </a:fld>
            <a:endParaRPr lang="en-GB" noProof="0"/>
          </a:p>
        </p:txBody>
      </p:sp>
      <p:sp>
        <p:nvSpPr>
          <p:cNvPr id="10" name="Rectangle 9"/>
          <p:cNvSpPr/>
          <p:nvPr userDrawn="1"/>
        </p:nvSpPr>
        <p:spPr bwMode="gray">
          <a:xfrm>
            <a:off x="9854400" y="5771955"/>
            <a:ext cx="2337600" cy="25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pic>
        <p:nvPicPr>
          <p:cNvPr id="12" name="Image 11"/>
          <p:cNvPicPr>
            <a:picLocks noChangeAspect="1"/>
          </p:cNvPicPr>
          <p:nvPr userDrawn="1"/>
        </p:nvPicPr>
        <p:blipFill>
          <a:blip r:embed="rId30" cstate="print">
            <a:extLst>
              <a:ext uri="{28A0092B-C50C-407E-A947-70E740481C1C}">
                <a14:useLocalDpi xmlns:a14="http://schemas.microsoft.com/office/drawing/2010/main" val="0"/>
              </a:ext>
            </a:extLst>
          </a:blip>
          <a:stretch>
            <a:fillRect/>
          </a:stretch>
        </p:blipFill>
        <p:spPr bwMode="gray">
          <a:xfrm>
            <a:off x="9782979" y="5424167"/>
            <a:ext cx="2400000" cy="1437563"/>
          </a:xfrm>
          <a:prstGeom prst="rect">
            <a:avLst/>
          </a:prstGeom>
        </p:spPr>
      </p:pic>
      <p:sp>
        <p:nvSpPr>
          <p:cNvPr id="5" name="TextBox 4">
            <a:extLst>
              <a:ext uri="{FF2B5EF4-FFF2-40B4-BE49-F238E27FC236}">
                <a16:creationId xmlns:a16="http://schemas.microsoft.com/office/drawing/2014/main" id="{778CEF84-644D-7618-46C8-679A23DCDC11}"/>
              </a:ext>
            </a:extLst>
          </p:cNvPr>
          <p:cNvSpPr txBox="1"/>
          <p:nvPr userDrawn="1">
            <p:extLst>
              <p:ext uri="{1162E1C5-73C7-4A58-AE30-91384D911F3F}">
                <p184:classification xmlns:p184="http://schemas.microsoft.com/office/powerpoint/2018/4/main" val="hdr"/>
              </p:ext>
            </p:extLst>
          </p:nvPr>
        </p:nvSpPr>
        <p:spPr>
          <a:xfrm>
            <a:off x="254000" y="254001"/>
            <a:ext cx="1441451" cy="205121"/>
          </a:xfrm>
          <a:prstGeom prst="rect">
            <a:avLst/>
          </a:prstGeom>
        </p:spPr>
        <p:txBody>
          <a:bodyPr horzOverflow="overflow" lIns="0" tIns="0" rIns="0" bIns="0">
            <a:spAutoFit/>
          </a:bodyPr>
          <a:lstStyle/>
          <a:p>
            <a:pPr algn="l"/>
            <a:r>
              <a:rPr lang="en-GB" sz="1333">
                <a:solidFill>
                  <a:srgbClr val="000000"/>
                </a:solidFill>
                <a:latin typeface="Calibri" panose="020F0502020204030204" pitchFamily="34" charset="0"/>
                <a:cs typeface="Calibri" panose="020F0502020204030204" pitchFamily="34" charset="0"/>
              </a:rPr>
              <a:t>Classified as Internal</a:t>
            </a:r>
          </a:p>
        </p:txBody>
      </p:sp>
    </p:spTree>
    <p:extLst>
      <p:ext uri="{BB962C8B-B14F-4D97-AF65-F5344CB8AC3E}">
        <p14:creationId xmlns:p14="http://schemas.microsoft.com/office/powerpoint/2010/main" val="478897800"/>
      </p:ext>
    </p:extLst>
  </p:cSld>
  <p:clrMap bg1="lt1" tx1="dk1" bg2="lt2" tx2="dk2" accent1="accent1" accent2="accent2" accent3="accent3" accent4="accent4" accent5="accent5" accent6="accent6" hlink="hlink" folHlink="folHlink"/>
  <p:sldLayoutIdLst>
    <p:sldLayoutId id="2147484119" r:id="rId1"/>
    <p:sldLayoutId id="2147484120" r:id="rId2"/>
    <p:sldLayoutId id="2147484121" r:id="rId3"/>
    <p:sldLayoutId id="2147484122" r:id="rId4"/>
    <p:sldLayoutId id="2147484123" r:id="rId5"/>
    <p:sldLayoutId id="2147484124" r:id="rId6"/>
    <p:sldLayoutId id="2147484125" r:id="rId7"/>
    <p:sldLayoutId id="2147484126" r:id="rId8"/>
    <p:sldLayoutId id="2147484127" r:id="rId9"/>
    <p:sldLayoutId id="2147484128" r:id="rId10"/>
    <p:sldLayoutId id="2147484129" r:id="rId11"/>
    <p:sldLayoutId id="2147484130" r:id="rId12"/>
    <p:sldLayoutId id="2147484131" r:id="rId13"/>
    <p:sldLayoutId id="2147484132" r:id="rId14"/>
    <p:sldLayoutId id="2147484133" r:id="rId15"/>
    <p:sldLayoutId id="2147484134" r:id="rId16"/>
    <p:sldLayoutId id="2147484135" r:id="rId17"/>
    <p:sldLayoutId id="2147484136" r:id="rId18"/>
    <p:sldLayoutId id="2147484137" r:id="rId19"/>
    <p:sldLayoutId id="2147484138" r:id="rId20"/>
    <p:sldLayoutId id="2147484139" r:id="rId21"/>
    <p:sldLayoutId id="2147484140" r:id="rId22"/>
    <p:sldLayoutId id="2147484141" r:id="rId23"/>
    <p:sldLayoutId id="2147484142" r:id="rId24"/>
    <p:sldLayoutId id="2147484143" r:id="rId25"/>
  </p:sldLayoutIdLst>
  <p:hf hdr="0" dt="0"/>
  <p:txStyles>
    <p:titleStyle>
      <a:lvl1pPr algn="l" defTabSz="1219170" rtl="0" eaLnBrk="1" latinLnBrk="0" hangingPunct="1">
        <a:lnSpc>
          <a:spcPct val="90000"/>
        </a:lnSpc>
        <a:spcBef>
          <a:spcPct val="0"/>
        </a:spcBef>
        <a:buNone/>
        <a:defRPr sz="3733" b="0" kern="1200" cap="none" baseline="0">
          <a:solidFill>
            <a:schemeClr val="accent1"/>
          </a:solidFill>
          <a:latin typeface="+mj-lt"/>
          <a:ea typeface="+mj-ea"/>
          <a:cs typeface="+mj-cs"/>
        </a:defRPr>
      </a:lvl1pPr>
    </p:titleStyle>
    <p:bodyStyle>
      <a:lvl1pPr marL="0" indent="0" algn="l" defTabSz="1219170" rtl="0" eaLnBrk="1" latinLnBrk="0" hangingPunct="1">
        <a:lnSpc>
          <a:spcPct val="110000"/>
        </a:lnSpc>
        <a:spcBef>
          <a:spcPts val="0"/>
        </a:spcBef>
        <a:buFont typeface="Arial" pitchFamily="34" charset="0"/>
        <a:buNone/>
        <a:defRPr sz="2667" b="1" kern="1200">
          <a:solidFill>
            <a:schemeClr val="accent1"/>
          </a:solidFill>
          <a:latin typeface="+mn-lt"/>
          <a:ea typeface="+mn-ea"/>
          <a:cs typeface="+mn-cs"/>
        </a:defRPr>
      </a:lvl1pPr>
      <a:lvl2pPr marL="431989" indent="-239994" algn="l" defTabSz="1219170" rtl="0" eaLnBrk="1" latinLnBrk="0" hangingPunct="1">
        <a:lnSpc>
          <a:spcPct val="100000"/>
        </a:lnSpc>
        <a:spcBef>
          <a:spcPts val="400"/>
        </a:spcBef>
        <a:buClr>
          <a:schemeClr val="accent3"/>
        </a:buClr>
        <a:buFont typeface="Arial" pitchFamily="34" charset="0"/>
        <a:buChar char="•"/>
        <a:defRPr sz="2400" b="1" kern="1200">
          <a:solidFill>
            <a:schemeClr val="tx1"/>
          </a:solidFill>
          <a:latin typeface="+mn-lt"/>
          <a:ea typeface="+mn-ea"/>
          <a:cs typeface="+mn-cs"/>
        </a:defRPr>
      </a:lvl2pPr>
      <a:lvl3pPr marL="671983" indent="-239994" algn="l" defTabSz="1219170" rtl="0" eaLnBrk="1" latinLnBrk="0" hangingPunct="1">
        <a:lnSpc>
          <a:spcPct val="100000"/>
        </a:lnSpc>
        <a:spcBef>
          <a:spcPts val="400"/>
        </a:spcBef>
        <a:buSzPct val="100000"/>
        <a:buFont typeface="Arial" pitchFamily="34" charset="0"/>
        <a:buChar char="•"/>
        <a:defRPr sz="2133" b="0" kern="1200">
          <a:solidFill>
            <a:schemeClr val="tx1"/>
          </a:solidFill>
          <a:latin typeface="+mn-lt"/>
          <a:ea typeface="+mn-ea"/>
          <a:cs typeface="+mn-cs"/>
        </a:defRPr>
      </a:lvl3pPr>
      <a:lvl4pPr marL="671983" indent="0" algn="l" defTabSz="1219170" rtl="0" eaLnBrk="1" latinLnBrk="0" hangingPunct="1">
        <a:lnSpc>
          <a:spcPct val="100000"/>
        </a:lnSpc>
        <a:spcBef>
          <a:spcPts val="400"/>
        </a:spcBef>
        <a:buSzPct val="100000"/>
        <a:buFont typeface="Arial" pitchFamily="34" charset="0"/>
        <a:buNone/>
        <a:defRPr sz="2133" kern="1200">
          <a:solidFill>
            <a:schemeClr val="tx1"/>
          </a:solidFill>
          <a:latin typeface="+mn-lt"/>
          <a:ea typeface="+mn-ea"/>
          <a:cs typeface="+mn-cs"/>
        </a:defRPr>
      </a:lvl4pPr>
      <a:lvl5pPr marL="911977" indent="-239994" algn="l" defTabSz="1219170" rtl="0" eaLnBrk="1" latinLnBrk="0" hangingPunct="1">
        <a:lnSpc>
          <a:spcPct val="100000"/>
        </a:lnSpc>
        <a:spcBef>
          <a:spcPts val="400"/>
        </a:spcBef>
        <a:buSzPct val="100000"/>
        <a:buFont typeface="Arial" pitchFamily="34" charset="0"/>
        <a:buChar char="•"/>
        <a:defRPr sz="1867"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4C9939A-617C-3E44-A0D0-909C79756BDF}"/>
              </a:ext>
            </a:extLst>
          </p:cNvPr>
          <p:cNvSpPr>
            <a:spLocks noGrp="1"/>
          </p:cNvSpPr>
          <p:nvPr>
            <p:ph type="title"/>
          </p:nvPr>
        </p:nvSpPr>
        <p:spPr>
          <a:xfrm>
            <a:off x="521719" y="368300"/>
            <a:ext cx="11154344" cy="722674"/>
          </a:xfrm>
          <a:prstGeom prst="rect">
            <a:avLst/>
          </a:prstGeom>
        </p:spPr>
        <p:txBody>
          <a:bodyPr vert="horz" lIns="0" tIns="0" rIns="0" bIns="0" rtlCol="0" anchor="t">
            <a:normAutofit/>
          </a:bodyPr>
          <a:lstStyle/>
          <a:p>
            <a:r>
              <a:rPr lang="en-GB"/>
              <a:t>Click to edit Master title style</a:t>
            </a:r>
          </a:p>
        </p:txBody>
      </p:sp>
      <p:sp>
        <p:nvSpPr>
          <p:cNvPr id="3" name="Text Placeholder 2">
            <a:extLst>
              <a:ext uri="{FF2B5EF4-FFF2-40B4-BE49-F238E27FC236}">
                <a16:creationId xmlns:a16="http://schemas.microsoft.com/office/drawing/2014/main" id="{9F9D0AC0-F01F-B544-AC35-7D2BCB4EB7F6}"/>
              </a:ext>
            </a:extLst>
          </p:cNvPr>
          <p:cNvSpPr>
            <a:spLocks noGrp="1"/>
          </p:cNvSpPr>
          <p:nvPr>
            <p:ph type="body" idx="1"/>
          </p:nvPr>
        </p:nvSpPr>
        <p:spPr>
          <a:xfrm>
            <a:off x="515938" y="1325974"/>
            <a:ext cx="11154344" cy="4456608"/>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Footer Placeholder 4">
            <a:extLst>
              <a:ext uri="{FF2B5EF4-FFF2-40B4-BE49-F238E27FC236}">
                <a16:creationId xmlns:a16="http://schemas.microsoft.com/office/drawing/2014/main" id="{66F729D7-DBF0-1846-87E5-720E70F9E8F0}"/>
              </a:ext>
            </a:extLst>
          </p:cNvPr>
          <p:cNvSpPr>
            <a:spLocks noGrp="1"/>
          </p:cNvSpPr>
          <p:nvPr>
            <p:ph type="ftr" sz="quarter" idx="3"/>
          </p:nvPr>
        </p:nvSpPr>
        <p:spPr>
          <a:xfrm>
            <a:off x="777567" y="6356350"/>
            <a:ext cx="4189003" cy="136526"/>
          </a:xfrm>
          <a:prstGeom prst="rect">
            <a:avLst/>
          </a:prstGeom>
        </p:spPr>
        <p:txBody>
          <a:bodyPr vert="horz" lIns="0" tIns="0" rIns="0" bIns="0" rtlCol="0" anchor="b"/>
          <a:lstStyle>
            <a:lvl1pPr algn="l">
              <a:defRPr sz="800">
                <a:solidFill>
                  <a:schemeClr val="tx1">
                    <a:tint val="75000"/>
                  </a:schemeClr>
                </a:solidFill>
                <a:latin typeface="Arial" panose="020B0604020202020204" pitchFamily="34" charset="0"/>
                <a:cs typeface="Arial" panose="020B0604020202020204" pitchFamily="34" charset="0"/>
              </a:defRPr>
            </a:lvl1pPr>
          </a:lstStyle>
          <a:p>
            <a:r>
              <a:rPr lang="en-US"/>
              <a:t>GNN webinar on rabies 6 May 2024</a:t>
            </a:r>
            <a:endParaRPr lang="en-GB"/>
          </a:p>
        </p:txBody>
      </p:sp>
      <p:sp>
        <p:nvSpPr>
          <p:cNvPr id="6" name="Slide Number Placeholder 5">
            <a:extLst>
              <a:ext uri="{FF2B5EF4-FFF2-40B4-BE49-F238E27FC236}">
                <a16:creationId xmlns:a16="http://schemas.microsoft.com/office/drawing/2014/main" id="{8918EB43-CEEF-AF40-88AE-32CEA15C642C}"/>
              </a:ext>
            </a:extLst>
          </p:cNvPr>
          <p:cNvSpPr>
            <a:spLocks noGrp="1"/>
          </p:cNvSpPr>
          <p:nvPr>
            <p:ph type="sldNum" sz="quarter" idx="4"/>
          </p:nvPr>
        </p:nvSpPr>
        <p:spPr>
          <a:xfrm>
            <a:off x="515938" y="6356351"/>
            <a:ext cx="261629" cy="133349"/>
          </a:xfrm>
          <a:prstGeom prst="rect">
            <a:avLst/>
          </a:prstGeom>
        </p:spPr>
        <p:txBody>
          <a:bodyPr vert="horz" lIns="0" tIns="0" rIns="0" bIns="0" rtlCol="0" anchor="b"/>
          <a:lstStyle>
            <a:lvl1pPr algn="l">
              <a:defRPr sz="800">
                <a:solidFill>
                  <a:schemeClr val="tx1">
                    <a:tint val="75000"/>
                  </a:schemeClr>
                </a:solidFill>
                <a:latin typeface="Arial" panose="020B0604020202020204" pitchFamily="34" charset="0"/>
                <a:cs typeface="Arial" panose="020B0604020202020204" pitchFamily="34" charset="0"/>
              </a:defRPr>
            </a:lvl1pPr>
          </a:lstStyle>
          <a:p>
            <a:fld id="{AB746B08-255A-2748-8A21-40BE94A17FD1}" type="slidenum">
              <a:rPr lang="en-GB" smtClean="0"/>
              <a:pPr/>
              <a:t>‹#›</a:t>
            </a:fld>
            <a:endParaRPr lang="en-GB"/>
          </a:p>
        </p:txBody>
      </p:sp>
    </p:spTree>
    <p:extLst>
      <p:ext uri="{BB962C8B-B14F-4D97-AF65-F5344CB8AC3E}">
        <p14:creationId xmlns:p14="http://schemas.microsoft.com/office/powerpoint/2010/main" val="1783907478"/>
      </p:ext>
    </p:extLst>
  </p:cSld>
  <p:clrMap bg1="lt1" tx1="dk1" bg2="lt2" tx2="dk2" accent1="accent1" accent2="accent2" accent3="accent3" accent4="accent4" accent5="accent5" accent6="accent6" hlink="hlink" folHlink="folHlink"/>
  <p:sldLayoutIdLst>
    <p:sldLayoutId id="2147484145" r:id="rId1"/>
    <p:sldLayoutId id="2147484146" r:id="rId2"/>
    <p:sldLayoutId id="2147484147" r:id="rId3"/>
    <p:sldLayoutId id="2147484148" r:id="rId4"/>
    <p:sldLayoutId id="2147484149" r:id="rId5"/>
    <p:sldLayoutId id="2147484150" r:id="rId6"/>
    <p:sldLayoutId id="2147484151" r:id="rId7"/>
    <p:sldLayoutId id="2147484152" r:id="rId8"/>
    <p:sldLayoutId id="2147484153" r:id="rId9"/>
    <p:sldLayoutId id="2147484154" r:id="rId10"/>
    <p:sldLayoutId id="2147484155" r:id="rId11"/>
    <p:sldLayoutId id="2147484156" r:id="rId12"/>
    <p:sldLayoutId id="2147484157" r:id="rId13"/>
    <p:sldLayoutId id="2147484158" r:id="rId14"/>
    <p:sldLayoutId id="2147484159" r:id="rId15"/>
    <p:sldLayoutId id="2147484160" r:id="rId16"/>
    <p:sldLayoutId id="2147484161" r:id="rId17"/>
    <p:sldLayoutId id="2147484162" r:id="rId18"/>
    <p:sldLayoutId id="2147484163" r:id="rId19"/>
    <p:sldLayoutId id="2147484164" r:id="rId20"/>
    <p:sldLayoutId id="2147484165" r:id="rId21"/>
    <p:sldLayoutId id="2147484166" r:id="rId22"/>
    <p:sldLayoutId id="2147484167" r:id="rId23"/>
    <p:sldLayoutId id="2147484168" r:id="rId24"/>
    <p:sldLayoutId id="2147484169" r:id="rId25"/>
    <p:sldLayoutId id="2147484170" r:id="rId26"/>
    <p:sldLayoutId id="2147484171" r:id="rId27"/>
    <p:sldLayoutId id="2147484172" r:id="rId28"/>
    <p:sldLayoutId id="2147484173" r:id="rId29"/>
    <p:sldLayoutId id="2147484174" r:id="rId30"/>
    <p:sldLayoutId id="2147484175" r:id="rId31"/>
    <p:sldLayoutId id="2147484176" r:id="rId32"/>
    <p:sldLayoutId id="2147484177" r:id="rId33"/>
    <p:sldLayoutId id="2147484178" r:id="rId34"/>
    <p:sldLayoutId id="2147484179" r:id="rId35"/>
    <p:sldLayoutId id="2147484180" r:id="rId36"/>
    <p:sldLayoutId id="2147484181" r:id="rId37"/>
    <p:sldLayoutId id="2147484182" r:id="rId38"/>
    <p:sldLayoutId id="2147484183" r:id="rId39"/>
    <p:sldLayoutId id="2147484184" r:id="rId40"/>
    <p:sldLayoutId id="2147484185" r:id="rId41"/>
    <p:sldLayoutId id="2147484186" r:id="rId42"/>
    <p:sldLayoutId id="2147484187" r:id="rId43"/>
    <p:sldLayoutId id="2147484188" r:id="rId44"/>
    <p:sldLayoutId id="2147484189" r:id="rId45"/>
    <p:sldLayoutId id="2147484190" r:id="rId46"/>
    <p:sldLayoutId id="2147484191" r:id="rId47"/>
  </p:sldLayoutIdLst>
  <p:hf hdr="0" dt="0"/>
  <p:txStyles>
    <p:titleStyle>
      <a:lvl1pPr algn="l" defTabSz="914400" rtl="0" eaLnBrk="1" latinLnBrk="0" hangingPunct="1">
        <a:lnSpc>
          <a:spcPct val="90000"/>
        </a:lnSpc>
        <a:spcBef>
          <a:spcPct val="0"/>
        </a:spcBef>
        <a:buNone/>
        <a:defRPr sz="3600" b="1" kern="1200">
          <a:solidFill>
            <a:schemeClr val="tx2"/>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25">
          <p15:clr>
            <a:srgbClr val="F26B43"/>
          </p15:clr>
        </p15:guide>
        <p15:guide id="3" pos="7355">
          <p15:clr>
            <a:srgbClr val="F26B43"/>
          </p15:clr>
        </p15:guide>
        <p15:guide id="4" orient="horz" pos="232">
          <p15:clr>
            <a:srgbClr val="F26B43"/>
          </p15:clr>
        </p15:guide>
        <p15:guide id="5" orient="horz" pos="4088">
          <p15:clr>
            <a:srgbClr val="F26B43"/>
          </p15:clr>
        </p15:guide>
        <p15:guide id="7" orient="horz" pos="822">
          <p15:clr>
            <a:srgbClr val="F26B43"/>
          </p15:clr>
        </p15:guide>
        <p15:guide id="9" orient="horz" pos="3725">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A1574B2-E1D4-FD00-EB77-631C2B1F5142}"/>
              </a:ext>
            </a:extLst>
          </p:cNvPr>
          <p:cNvGraphicFramePr>
            <a:graphicFrameLocks noChangeAspect="1"/>
          </p:cNvGraphicFramePr>
          <p:nvPr userDrawn="1">
            <p:custDataLst>
              <p:tags r:id="rId24"/>
            </p:custDataLst>
            <p:extLst>
              <p:ext uri="{D42A27DB-BD31-4B8C-83A1-F6EECF244321}">
                <p14:modId xmlns:p14="http://schemas.microsoft.com/office/powerpoint/2010/main" val="1222466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415" imgH="416" progId="TCLayout.ActiveDocument.1">
                  <p:embed/>
                </p:oleObj>
              </mc:Choice>
              <mc:Fallback>
                <p:oleObj name="think-cell Slide" r:id="rId25" imgW="415" imgH="416" progId="TCLayout.ActiveDocument.1">
                  <p:embed/>
                  <p:pic>
                    <p:nvPicPr>
                      <p:cNvPr id="7" name="Object 6" hidden="1">
                        <a:extLst>
                          <a:ext uri="{FF2B5EF4-FFF2-40B4-BE49-F238E27FC236}">
                            <a16:creationId xmlns:a16="http://schemas.microsoft.com/office/drawing/2014/main" id="{0A1574B2-E1D4-FD00-EB77-631C2B1F5142}"/>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E4C9939A-617C-3E44-A0D0-909C79756BDF}"/>
              </a:ext>
            </a:extLst>
          </p:cNvPr>
          <p:cNvSpPr>
            <a:spLocks noGrp="1"/>
          </p:cNvSpPr>
          <p:nvPr>
            <p:ph type="title"/>
          </p:nvPr>
        </p:nvSpPr>
        <p:spPr>
          <a:xfrm>
            <a:off x="521719" y="368300"/>
            <a:ext cx="11154344" cy="722674"/>
          </a:xfrm>
          <a:prstGeom prst="rect">
            <a:avLst/>
          </a:prstGeom>
        </p:spPr>
        <p:txBody>
          <a:bodyPr vert="horz" lIns="0" tIns="0" rIns="0" bIns="0" rtlCol="0" anchor="t">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9F9D0AC0-F01F-B544-AC35-7D2BCB4EB7F6}"/>
              </a:ext>
            </a:extLst>
          </p:cNvPr>
          <p:cNvSpPr>
            <a:spLocks noGrp="1"/>
          </p:cNvSpPr>
          <p:nvPr>
            <p:ph type="body" idx="1"/>
          </p:nvPr>
        </p:nvSpPr>
        <p:spPr>
          <a:xfrm>
            <a:off x="515938" y="1325974"/>
            <a:ext cx="11154344" cy="4456608"/>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66F729D7-DBF0-1846-87E5-720E70F9E8F0}"/>
              </a:ext>
            </a:extLst>
          </p:cNvPr>
          <p:cNvSpPr>
            <a:spLocks noGrp="1"/>
          </p:cNvSpPr>
          <p:nvPr>
            <p:ph type="ftr" sz="quarter" idx="3"/>
          </p:nvPr>
        </p:nvSpPr>
        <p:spPr>
          <a:xfrm>
            <a:off x="777567" y="6356350"/>
            <a:ext cx="4189003" cy="136526"/>
          </a:xfrm>
          <a:prstGeom prst="rect">
            <a:avLst/>
          </a:prstGeom>
        </p:spPr>
        <p:txBody>
          <a:bodyPr vert="horz" lIns="0" tIns="0" rIns="0" bIns="0" rtlCol="0" anchor="b"/>
          <a:lstStyle>
            <a:lvl1pPr algn="l">
              <a:defRPr sz="800">
                <a:solidFill>
                  <a:schemeClr val="tx1">
                    <a:tint val="75000"/>
                  </a:schemeClr>
                </a:solidFill>
                <a:latin typeface="Arial" panose="020B0604020202020204" pitchFamily="34" charset="0"/>
                <a:cs typeface="Arial" panose="020B0604020202020204" pitchFamily="34" charset="0"/>
              </a:defRPr>
            </a:lvl1pPr>
          </a:lstStyle>
          <a:p>
            <a:r>
              <a:rPr lang="en-US"/>
              <a:t>GNN webinar on rabies 6 May 2024</a:t>
            </a:r>
            <a:endParaRPr lang="en-GB"/>
          </a:p>
        </p:txBody>
      </p:sp>
      <p:sp>
        <p:nvSpPr>
          <p:cNvPr id="6" name="Slide Number Placeholder 5">
            <a:extLst>
              <a:ext uri="{FF2B5EF4-FFF2-40B4-BE49-F238E27FC236}">
                <a16:creationId xmlns:a16="http://schemas.microsoft.com/office/drawing/2014/main" id="{8918EB43-CEEF-AF40-88AE-32CEA15C642C}"/>
              </a:ext>
            </a:extLst>
          </p:cNvPr>
          <p:cNvSpPr>
            <a:spLocks noGrp="1"/>
          </p:cNvSpPr>
          <p:nvPr>
            <p:ph type="sldNum" sz="quarter" idx="4"/>
          </p:nvPr>
        </p:nvSpPr>
        <p:spPr>
          <a:xfrm>
            <a:off x="515938" y="6356351"/>
            <a:ext cx="261629" cy="133349"/>
          </a:xfrm>
          <a:prstGeom prst="rect">
            <a:avLst/>
          </a:prstGeom>
        </p:spPr>
        <p:txBody>
          <a:bodyPr vert="horz" lIns="0" tIns="0" rIns="0" bIns="0" rtlCol="0" anchor="b"/>
          <a:lstStyle>
            <a:lvl1pPr algn="l">
              <a:defRPr sz="800">
                <a:solidFill>
                  <a:schemeClr val="tx1">
                    <a:tint val="75000"/>
                  </a:schemeClr>
                </a:solidFill>
                <a:latin typeface="Arial" panose="020B0604020202020204" pitchFamily="34" charset="0"/>
                <a:cs typeface="Arial" panose="020B0604020202020204" pitchFamily="34" charset="0"/>
              </a:defRPr>
            </a:lvl1pPr>
          </a:lstStyle>
          <a:p>
            <a:fld id="{AB746B08-255A-2748-8A21-40BE94A17FD1}" type="slidenum">
              <a:rPr lang="en-GB" smtClean="0"/>
              <a:pPr/>
              <a:t>‹#›</a:t>
            </a:fld>
            <a:endParaRPr lang="en-GB"/>
          </a:p>
        </p:txBody>
      </p:sp>
    </p:spTree>
    <p:extLst>
      <p:ext uri="{BB962C8B-B14F-4D97-AF65-F5344CB8AC3E}">
        <p14:creationId xmlns:p14="http://schemas.microsoft.com/office/powerpoint/2010/main" val="2912690634"/>
      </p:ext>
    </p:extLst>
  </p:cSld>
  <p:clrMap bg1="lt1" tx1="dk1" bg2="lt2" tx2="dk2" accent1="accent1" accent2="accent2" accent3="accent3" accent4="accent4" accent5="accent5" accent6="accent6" hlink="hlink" folHlink="folHlink"/>
  <p:sldLayoutIdLst>
    <p:sldLayoutId id="2147484193" r:id="rId1"/>
    <p:sldLayoutId id="2147484194" r:id="rId2"/>
    <p:sldLayoutId id="2147484195" r:id="rId3"/>
    <p:sldLayoutId id="2147484196" r:id="rId4"/>
    <p:sldLayoutId id="2147484197" r:id="rId5"/>
    <p:sldLayoutId id="2147484198" r:id="rId6"/>
    <p:sldLayoutId id="2147484199" r:id="rId7"/>
    <p:sldLayoutId id="2147484200" r:id="rId8"/>
    <p:sldLayoutId id="2147484201" r:id="rId9"/>
    <p:sldLayoutId id="2147484202" r:id="rId10"/>
    <p:sldLayoutId id="2147484203" r:id="rId11"/>
    <p:sldLayoutId id="2147484204" r:id="rId12"/>
    <p:sldLayoutId id="2147484205" r:id="rId13"/>
    <p:sldLayoutId id="2147484206" r:id="rId14"/>
    <p:sldLayoutId id="2147484207" r:id="rId15"/>
    <p:sldLayoutId id="2147484208" r:id="rId16"/>
    <p:sldLayoutId id="2147484209" r:id="rId17"/>
    <p:sldLayoutId id="2147484210" r:id="rId18"/>
    <p:sldLayoutId id="2147484211" r:id="rId19"/>
    <p:sldLayoutId id="2147484212" r:id="rId20"/>
    <p:sldLayoutId id="2147484213" r:id="rId21"/>
    <p:sldLayoutId id="2147484214" r:id="rId22"/>
  </p:sldLayoutIdLst>
  <p:hf hdr="0" dt="0"/>
  <p:txStyles>
    <p:titleStyle>
      <a:lvl1pPr algn="l" defTabSz="914400" rtl="0" eaLnBrk="1" latinLnBrk="0" hangingPunct="1">
        <a:lnSpc>
          <a:spcPct val="90000"/>
        </a:lnSpc>
        <a:spcBef>
          <a:spcPct val="0"/>
        </a:spcBef>
        <a:buNone/>
        <a:defRPr sz="3600" b="1" kern="1200">
          <a:solidFill>
            <a:schemeClr val="tx2"/>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25">
          <p15:clr>
            <a:srgbClr val="F26B43"/>
          </p15:clr>
        </p15:guide>
        <p15:guide id="3" pos="7355">
          <p15:clr>
            <a:srgbClr val="F26B43"/>
          </p15:clr>
        </p15:guide>
        <p15:guide id="4" orient="horz" pos="232">
          <p15:clr>
            <a:srgbClr val="F26B43"/>
          </p15:clr>
        </p15:guide>
        <p15:guide id="5" orient="horz" pos="4088">
          <p15:clr>
            <a:srgbClr val="F26B43"/>
          </p15:clr>
        </p15:guide>
        <p15:guide id="7" orient="horz" pos="822">
          <p15:clr>
            <a:srgbClr val="F26B43"/>
          </p15:clr>
        </p15:guide>
        <p15:guide id="9" orient="horz" pos="3725">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5D2B2EC-933C-1CE2-E0FB-FAA8DF12A988}"/>
              </a:ext>
            </a:extLst>
          </p:cNvPr>
          <p:cNvGraphicFramePr>
            <a:graphicFrameLocks noChangeAspect="1"/>
          </p:cNvGraphicFramePr>
          <p:nvPr userDrawn="1">
            <p:custDataLst>
              <p:tags r:id="rId49"/>
            </p:custDataLst>
            <p:extLst>
              <p:ext uri="{D42A27DB-BD31-4B8C-83A1-F6EECF244321}">
                <p14:modId xmlns:p14="http://schemas.microsoft.com/office/powerpoint/2010/main" val="25103092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0" imgW="415" imgH="416" progId="TCLayout.ActiveDocument.1">
                  <p:embed/>
                </p:oleObj>
              </mc:Choice>
              <mc:Fallback>
                <p:oleObj name="think-cell Slide" r:id="rId50" imgW="415" imgH="416" progId="TCLayout.ActiveDocument.1">
                  <p:embed/>
                  <p:pic>
                    <p:nvPicPr>
                      <p:cNvPr id="7" name="Object 6" hidden="1">
                        <a:extLst>
                          <a:ext uri="{FF2B5EF4-FFF2-40B4-BE49-F238E27FC236}">
                            <a16:creationId xmlns:a16="http://schemas.microsoft.com/office/drawing/2014/main" id="{65D2B2EC-933C-1CE2-E0FB-FAA8DF12A988}"/>
                          </a:ext>
                        </a:extLst>
                      </p:cNvPr>
                      <p:cNvPicPr/>
                      <p:nvPr/>
                    </p:nvPicPr>
                    <p:blipFill>
                      <a:blip r:embed="rId51"/>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E4C9939A-617C-3E44-A0D0-909C79756BDF}"/>
              </a:ext>
            </a:extLst>
          </p:cNvPr>
          <p:cNvSpPr>
            <a:spLocks noGrp="1"/>
          </p:cNvSpPr>
          <p:nvPr>
            <p:ph type="title"/>
          </p:nvPr>
        </p:nvSpPr>
        <p:spPr>
          <a:xfrm>
            <a:off x="521719" y="368300"/>
            <a:ext cx="11154344" cy="722674"/>
          </a:xfrm>
          <a:prstGeom prst="rect">
            <a:avLst/>
          </a:prstGeom>
        </p:spPr>
        <p:txBody>
          <a:bodyPr vert="horz" lIns="0" tIns="0" rIns="0" bIns="0" rtlCol="0" anchor="t">
            <a:normAutofit/>
          </a:bodyPr>
          <a:lstStyle/>
          <a:p>
            <a:r>
              <a:rPr lang="en-GB"/>
              <a:t>Click to edit Master title style</a:t>
            </a:r>
          </a:p>
        </p:txBody>
      </p:sp>
      <p:sp>
        <p:nvSpPr>
          <p:cNvPr id="3" name="Text Placeholder 2">
            <a:extLst>
              <a:ext uri="{FF2B5EF4-FFF2-40B4-BE49-F238E27FC236}">
                <a16:creationId xmlns:a16="http://schemas.microsoft.com/office/drawing/2014/main" id="{9F9D0AC0-F01F-B544-AC35-7D2BCB4EB7F6}"/>
              </a:ext>
            </a:extLst>
          </p:cNvPr>
          <p:cNvSpPr>
            <a:spLocks noGrp="1"/>
          </p:cNvSpPr>
          <p:nvPr>
            <p:ph type="body" idx="1"/>
          </p:nvPr>
        </p:nvSpPr>
        <p:spPr>
          <a:xfrm>
            <a:off x="515938" y="1325974"/>
            <a:ext cx="11154344" cy="4456608"/>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Footer Placeholder 4">
            <a:extLst>
              <a:ext uri="{FF2B5EF4-FFF2-40B4-BE49-F238E27FC236}">
                <a16:creationId xmlns:a16="http://schemas.microsoft.com/office/drawing/2014/main" id="{66F729D7-DBF0-1846-87E5-720E70F9E8F0}"/>
              </a:ext>
            </a:extLst>
          </p:cNvPr>
          <p:cNvSpPr>
            <a:spLocks noGrp="1"/>
          </p:cNvSpPr>
          <p:nvPr>
            <p:ph type="ftr" sz="quarter" idx="3"/>
          </p:nvPr>
        </p:nvSpPr>
        <p:spPr>
          <a:xfrm>
            <a:off x="777567" y="6356350"/>
            <a:ext cx="4189003" cy="136526"/>
          </a:xfrm>
          <a:prstGeom prst="rect">
            <a:avLst/>
          </a:prstGeom>
        </p:spPr>
        <p:txBody>
          <a:bodyPr vert="horz" lIns="0" tIns="0" rIns="0" bIns="0" rtlCol="0" anchor="b"/>
          <a:lstStyle>
            <a:lvl1pPr algn="l">
              <a:defRPr sz="800">
                <a:solidFill>
                  <a:schemeClr val="tx1">
                    <a:tint val="75000"/>
                  </a:schemeClr>
                </a:solidFill>
                <a:latin typeface="Arial" panose="020B0604020202020204" pitchFamily="34" charset="0"/>
                <a:cs typeface="Arial" panose="020B0604020202020204" pitchFamily="34" charset="0"/>
              </a:defRPr>
            </a:lvl1pPr>
          </a:lstStyle>
          <a:p>
            <a:r>
              <a:rPr lang="en-US"/>
              <a:t>GNN webinar on rabies 6 May 2024</a:t>
            </a:r>
            <a:endParaRPr lang="en-GB"/>
          </a:p>
        </p:txBody>
      </p:sp>
      <p:sp>
        <p:nvSpPr>
          <p:cNvPr id="6" name="Slide Number Placeholder 5">
            <a:extLst>
              <a:ext uri="{FF2B5EF4-FFF2-40B4-BE49-F238E27FC236}">
                <a16:creationId xmlns:a16="http://schemas.microsoft.com/office/drawing/2014/main" id="{8918EB43-CEEF-AF40-88AE-32CEA15C642C}"/>
              </a:ext>
            </a:extLst>
          </p:cNvPr>
          <p:cNvSpPr>
            <a:spLocks noGrp="1"/>
          </p:cNvSpPr>
          <p:nvPr>
            <p:ph type="sldNum" sz="quarter" idx="4"/>
          </p:nvPr>
        </p:nvSpPr>
        <p:spPr>
          <a:xfrm>
            <a:off x="515938" y="6356351"/>
            <a:ext cx="261629" cy="133349"/>
          </a:xfrm>
          <a:prstGeom prst="rect">
            <a:avLst/>
          </a:prstGeom>
        </p:spPr>
        <p:txBody>
          <a:bodyPr vert="horz" lIns="0" tIns="0" rIns="0" bIns="0" rtlCol="0" anchor="b"/>
          <a:lstStyle>
            <a:lvl1pPr algn="l">
              <a:defRPr sz="800">
                <a:solidFill>
                  <a:schemeClr val="tx1">
                    <a:tint val="75000"/>
                  </a:schemeClr>
                </a:solidFill>
                <a:latin typeface="Arial" panose="020B0604020202020204" pitchFamily="34" charset="0"/>
                <a:cs typeface="Arial" panose="020B0604020202020204" pitchFamily="34" charset="0"/>
              </a:defRPr>
            </a:lvl1pPr>
          </a:lstStyle>
          <a:p>
            <a:fld id="{AB746B08-255A-2748-8A21-40BE94A17FD1}" type="slidenum">
              <a:rPr lang="en-GB" smtClean="0"/>
              <a:pPr/>
              <a:t>‹#›</a:t>
            </a:fld>
            <a:endParaRPr lang="en-GB"/>
          </a:p>
        </p:txBody>
      </p:sp>
      <p:sp>
        <p:nvSpPr>
          <p:cNvPr id="8" name="TextBox 7">
            <a:extLst>
              <a:ext uri="{FF2B5EF4-FFF2-40B4-BE49-F238E27FC236}">
                <a16:creationId xmlns:a16="http://schemas.microsoft.com/office/drawing/2014/main" id="{AA402759-BEAF-66B2-D42E-436503284D48}"/>
              </a:ext>
            </a:extLst>
          </p:cNvPr>
          <p:cNvSpPr txBox="1"/>
          <p:nvPr userDrawn="1">
            <p:extLst>
              <p:ext uri="{1162E1C5-73C7-4A58-AE30-91384D911F3F}">
                <p184:classification xmlns:p184="http://schemas.microsoft.com/office/powerpoint/2018/4/main" val="hdr"/>
              </p:ext>
            </p:extLst>
          </p:nvPr>
        </p:nvSpPr>
        <p:spPr>
          <a:xfrm>
            <a:off x="190500" y="190500"/>
            <a:ext cx="1081088"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cs typeface="Calibri" panose="020F0502020204030204" pitchFamily="34" charset="0"/>
              </a:rPr>
              <a:t>Classified as Internal</a:t>
            </a:r>
          </a:p>
        </p:txBody>
      </p:sp>
    </p:spTree>
    <p:extLst>
      <p:ext uri="{BB962C8B-B14F-4D97-AF65-F5344CB8AC3E}">
        <p14:creationId xmlns:p14="http://schemas.microsoft.com/office/powerpoint/2010/main" val="3961611380"/>
      </p:ext>
    </p:extLst>
  </p:cSld>
  <p:clrMap bg1="lt1" tx1="dk1" bg2="lt2" tx2="dk2" accent1="accent1" accent2="accent2" accent3="accent3" accent4="accent4" accent5="accent5" accent6="accent6" hlink="hlink" folHlink="folHlink"/>
  <p:sldLayoutIdLst>
    <p:sldLayoutId id="2147484216" r:id="rId1"/>
    <p:sldLayoutId id="2147484217" r:id="rId2"/>
    <p:sldLayoutId id="2147484218" r:id="rId3"/>
    <p:sldLayoutId id="2147484219" r:id="rId4"/>
    <p:sldLayoutId id="2147484220" r:id="rId5"/>
    <p:sldLayoutId id="2147484221" r:id="rId6"/>
    <p:sldLayoutId id="2147484222" r:id="rId7"/>
    <p:sldLayoutId id="2147484223" r:id="rId8"/>
    <p:sldLayoutId id="2147484224" r:id="rId9"/>
    <p:sldLayoutId id="2147484225" r:id="rId10"/>
    <p:sldLayoutId id="2147484226" r:id="rId11"/>
    <p:sldLayoutId id="2147484227" r:id="rId12"/>
    <p:sldLayoutId id="2147484228" r:id="rId13"/>
    <p:sldLayoutId id="2147484229" r:id="rId14"/>
    <p:sldLayoutId id="2147484230" r:id="rId15"/>
    <p:sldLayoutId id="2147484231" r:id="rId16"/>
    <p:sldLayoutId id="2147484232" r:id="rId17"/>
    <p:sldLayoutId id="2147484233" r:id="rId18"/>
    <p:sldLayoutId id="2147484234" r:id="rId19"/>
    <p:sldLayoutId id="2147484235" r:id="rId20"/>
    <p:sldLayoutId id="2147484236" r:id="rId21"/>
    <p:sldLayoutId id="2147484237" r:id="rId22"/>
    <p:sldLayoutId id="2147484238" r:id="rId23"/>
    <p:sldLayoutId id="2147484239" r:id="rId24"/>
    <p:sldLayoutId id="2147484240" r:id="rId25"/>
    <p:sldLayoutId id="2147484241" r:id="rId26"/>
    <p:sldLayoutId id="2147484242" r:id="rId27"/>
    <p:sldLayoutId id="2147484243" r:id="rId28"/>
    <p:sldLayoutId id="2147484244" r:id="rId29"/>
    <p:sldLayoutId id="2147484245" r:id="rId30"/>
    <p:sldLayoutId id="2147484246" r:id="rId31"/>
    <p:sldLayoutId id="2147484247" r:id="rId32"/>
    <p:sldLayoutId id="2147484248" r:id="rId33"/>
    <p:sldLayoutId id="2147484249" r:id="rId34"/>
    <p:sldLayoutId id="2147484250" r:id="rId35"/>
    <p:sldLayoutId id="2147484251" r:id="rId36"/>
    <p:sldLayoutId id="2147484252" r:id="rId37"/>
    <p:sldLayoutId id="2147484253" r:id="rId38"/>
    <p:sldLayoutId id="2147484254" r:id="rId39"/>
    <p:sldLayoutId id="2147484255" r:id="rId40"/>
    <p:sldLayoutId id="2147484256" r:id="rId41"/>
    <p:sldLayoutId id="2147484257" r:id="rId42"/>
    <p:sldLayoutId id="2147484258" r:id="rId43"/>
    <p:sldLayoutId id="2147484259" r:id="rId44"/>
    <p:sldLayoutId id="2147484260" r:id="rId45"/>
    <p:sldLayoutId id="2147484261" r:id="rId46"/>
    <p:sldLayoutId id="2147484262" r:id="rId47"/>
  </p:sldLayoutIdLst>
  <p:hf hdr="0" dt="0"/>
  <p:txStyles>
    <p:titleStyle>
      <a:lvl1pPr algn="l" defTabSz="914400" rtl="0" eaLnBrk="1" latinLnBrk="0" hangingPunct="1">
        <a:lnSpc>
          <a:spcPct val="90000"/>
        </a:lnSpc>
        <a:spcBef>
          <a:spcPct val="0"/>
        </a:spcBef>
        <a:buNone/>
        <a:defRPr sz="3600" b="1" kern="1200">
          <a:solidFill>
            <a:schemeClr val="tx2"/>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25">
          <p15:clr>
            <a:srgbClr val="F26B43"/>
          </p15:clr>
        </p15:guide>
        <p15:guide id="3" pos="7355">
          <p15:clr>
            <a:srgbClr val="F26B43"/>
          </p15:clr>
        </p15:guide>
        <p15:guide id="4" orient="horz" pos="232">
          <p15:clr>
            <a:srgbClr val="F26B43"/>
          </p15:clr>
        </p15:guide>
        <p15:guide id="5" orient="horz" pos="4088">
          <p15:clr>
            <a:srgbClr val="F26B43"/>
          </p15:clr>
        </p15:guide>
        <p15:guide id="7" orient="horz" pos="822">
          <p15:clr>
            <a:srgbClr val="F26B43"/>
          </p15:clr>
        </p15:guide>
        <p15:guide id="9" orient="horz" pos="3725">
          <p15:clr>
            <a:srgbClr val="F26B43"/>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A8B16C0-0604-291B-2021-F3D6DB6CEC4B}"/>
              </a:ext>
            </a:extLst>
          </p:cNvPr>
          <p:cNvGraphicFramePr>
            <a:graphicFrameLocks noChangeAspect="1"/>
          </p:cNvGraphicFramePr>
          <p:nvPr userDrawn="1">
            <p:custDataLst>
              <p:tags r:id="rId48"/>
            </p:custDataLst>
            <p:extLst>
              <p:ext uri="{D42A27DB-BD31-4B8C-83A1-F6EECF244321}">
                <p14:modId xmlns:p14="http://schemas.microsoft.com/office/powerpoint/2010/main" val="40874350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9" imgW="415" imgH="416" progId="TCLayout.ActiveDocument.1">
                  <p:embed/>
                </p:oleObj>
              </mc:Choice>
              <mc:Fallback>
                <p:oleObj name="think-cell Slide" r:id="rId49" imgW="415" imgH="416" progId="TCLayout.ActiveDocument.1">
                  <p:embed/>
                  <p:pic>
                    <p:nvPicPr>
                      <p:cNvPr id="7" name="Object 6" hidden="1">
                        <a:extLst>
                          <a:ext uri="{FF2B5EF4-FFF2-40B4-BE49-F238E27FC236}">
                            <a16:creationId xmlns:a16="http://schemas.microsoft.com/office/drawing/2014/main" id="{8A8B16C0-0604-291B-2021-F3D6DB6CEC4B}"/>
                          </a:ext>
                        </a:extLst>
                      </p:cNvPr>
                      <p:cNvPicPr/>
                      <p:nvPr/>
                    </p:nvPicPr>
                    <p:blipFill>
                      <a:blip r:embed="rId50"/>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E4C9939A-617C-3E44-A0D0-909C79756BDF}"/>
              </a:ext>
            </a:extLst>
          </p:cNvPr>
          <p:cNvSpPr>
            <a:spLocks noGrp="1"/>
          </p:cNvSpPr>
          <p:nvPr>
            <p:ph type="title"/>
          </p:nvPr>
        </p:nvSpPr>
        <p:spPr>
          <a:xfrm>
            <a:off x="521719" y="368300"/>
            <a:ext cx="11154344" cy="722674"/>
          </a:xfrm>
          <a:prstGeom prst="rect">
            <a:avLst/>
          </a:prstGeom>
        </p:spPr>
        <p:txBody>
          <a:bodyPr vert="horz" lIns="0" tIns="0" rIns="0" bIns="0" rtlCol="0" anchor="t">
            <a:normAutofit/>
          </a:bodyPr>
          <a:lstStyle/>
          <a:p>
            <a:r>
              <a:rPr lang="en-GB"/>
              <a:t>Click to edit Master title style</a:t>
            </a:r>
          </a:p>
        </p:txBody>
      </p:sp>
      <p:sp>
        <p:nvSpPr>
          <p:cNvPr id="3" name="Text Placeholder 2">
            <a:extLst>
              <a:ext uri="{FF2B5EF4-FFF2-40B4-BE49-F238E27FC236}">
                <a16:creationId xmlns:a16="http://schemas.microsoft.com/office/drawing/2014/main" id="{9F9D0AC0-F01F-B544-AC35-7D2BCB4EB7F6}"/>
              </a:ext>
            </a:extLst>
          </p:cNvPr>
          <p:cNvSpPr>
            <a:spLocks noGrp="1"/>
          </p:cNvSpPr>
          <p:nvPr>
            <p:ph type="body" idx="1"/>
          </p:nvPr>
        </p:nvSpPr>
        <p:spPr>
          <a:xfrm>
            <a:off x="515938" y="1325974"/>
            <a:ext cx="11154344" cy="4456608"/>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Footer Placeholder 4">
            <a:extLst>
              <a:ext uri="{FF2B5EF4-FFF2-40B4-BE49-F238E27FC236}">
                <a16:creationId xmlns:a16="http://schemas.microsoft.com/office/drawing/2014/main" id="{66F729D7-DBF0-1846-87E5-720E70F9E8F0}"/>
              </a:ext>
            </a:extLst>
          </p:cNvPr>
          <p:cNvSpPr>
            <a:spLocks noGrp="1"/>
          </p:cNvSpPr>
          <p:nvPr>
            <p:ph type="ftr" sz="quarter" idx="3"/>
          </p:nvPr>
        </p:nvSpPr>
        <p:spPr>
          <a:xfrm>
            <a:off x="777567" y="6356350"/>
            <a:ext cx="4189003" cy="136526"/>
          </a:xfrm>
          <a:prstGeom prst="rect">
            <a:avLst/>
          </a:prstGeom>
        </p:spPr>
        <p:txBody>
          <a:bodyPr vert="horz" lIns="0" tIns="0" rIns="0" bIns="0" rtlCol="0" anchor="b"/>
          <a:lstStyle>
            <a:lvl1pPr algn="l">
              <a:defRPr sz="800">
                <a:solidFill>
                  <a:schemeClr val="tx1">
                    <a:tint val="75000"/>
                  </a:schemeClr>
                </a:solidFill>
                <a:latin typeface="Arial" panose="020B0604020202020204" pitchFamily="34" charset="0"/>
                <a:cs typeface="Arial" panose="020B0604020202020204" pitchFamily="34" charset="0"/>
              </a:defRPr>
            </a:lvl1pPr>
          </a:lstStyle>
          <a:p>
            <a:r>
              <a:rPr lang="en-US"/>
              <a:t>GNN webinar on rabies 6 May 2024</a:t>
            </a:r>
            <a:endParaRPr lang="en-GB"/>
          </a:p>
        </p:txBody>
      </p:sp>
      <p:sp>
        <p:nvSpPr>
          <p:cNvPr id="6" name="Slide Number Placeholder 5">
            <a:extLst>
              <a:ext uri="{FF2B5EF4-FFF2-40B4-BE49-F238E27FC236}">
                <a16:creationId xmlns:a16="http://schemas.microsoft.com/office/drawing/2014/main" id="{8918EB43-CEEF-AF40-88AE-32CEA15C642C}"/>
              </a:ext>
            </a:extLst>
          </p:cNvPr>
          <p:cNvSpPr>
            <a:spLocks noGrp="1"/>
          </p:cNvSpPr>
          <p:nvPr>
            <p:ph type="sldNum" sz="quarter" idx="4"/>
          </p:nvPr>
        </p:nvSpPr>
        <p:spPr>
          <a:xfrm>
            <a:off x="515938" y="6356351"/>
            <a:ext cx="261629" cy="133349"/>
          </a:xfrm>
          <a:prstGeom prst="rect">
            <a:avLst/>
          </a:prstGeom>
        </p:spPr>
        <p:txBody>
          <a:bodyPr vert="horz" lIns="0" tIns="0" rIns="0" bIns="0" rtlCol="0" anchor="b"/>
          <a:lstStyle>
            <a:lvl1pPr algn="l">
              <a:defRPr sz="800">
                <a:solidFill>
                  <a:schemeClr val="tx1">
                    <a:tint val="75000"/>
                  </a:schemeClr>
                </a:solidFill>
                <a:latin typeface="Arial" panose="020B0604020202020204" pitchFamily="34" charset="0"/>
                <a:cs typeface="Arial" panose="020B0604020202020204" pitchFamily="34" charset="0"/>
              </a:defRPr>
            </a:lvl1pPr>
          </a:lstStyle>
          <a:p>
            <a:fld id="{AB746B08-255A-2748-8A21-40BE94A17FD1}" type="slidenum">
              <a:rPr lang="en-GB" smtClean="0"/>
              <a:pPr/>
              <a:t>‹#›</a:t>
            </a:fld>
            <a:endParaRPr lang="en-GB"/>
          </a:p>
        </p:txBody>
      </p:sp>
    </p:spTree>
    <p:extLst>
      <p:ext uri="{BB962C8B-B14F-4D97-AF65-F5344CB8AC3E}">
        <p14:creationId xmlns:p14="http://schemas.microsoft.com/office/powerpoint/2010/main" val="1390932967"/>
      </p:ext>
    </p:extLst>
  </p:cSld>
  <p:clrMap bg1="lt1" tx1="dk1" bg2="lt2" tx2="dk2" accent1="accent1" accent2="accent2" accent3="accent3" accent4="accent4" accent5="accent5" accent6="accent6" hlink="hlink" folHlink="folHlink"/>
  <p:sldLayoutIdLst>
    <p:sldLayoutId id="2147484264" r:id="rId1"/>
    <p:sldLayoutId id="2147484265" r:id="rId2"/>
    <p:sldLayoutId id="2147484266" r:id="rId3"/>
    <p:sldLayoutId id="2147484267" r:id="rId4"/>
    <p:sldLayoutId id="2147484268" r:id="rId5"/>
    <p:sldLayoutId id="2147484269" r:id="rId6"/>
    <p:sldLayoutId id="2147484270" r:id="rId7"/>
    <p:sldLayoutId id="2147484271" r:id="rId8"/>
    <p:sldLayoutId id="2147484272" r:id="rId9"/>
    <p:sldLayoutId id="2147484273" r:id="rId10"/>
    <p:sldLayoutId id="2147484274" r:id="rId11"/>
    <p:sldLayoutId id="2147484275" r:id="rId12"/>
    <p:sldLayoutId id="2147484276" r:id="rId13"/>
    <p:sldLayoutId id="2147484277" r:id="rId14"/>
    <p:sldLayoutId id="2147484278" r:id="rId15"/>
    <p:sldLayoutId id="2147484279" r:id="rId16"/>
    <p:sldLayoutId id="2147484280" r:id="rId17"/>
    <p:sldLayoutId id="2147484281" r:id="rId18"/>
    <p:sldLayoutId id="2147484282" r:id="rId19"/>
    <p:sldLayoutId id="2147484283" r:id="rId20"/>
    <p:sldLayoutId id="2147484284" r:id="rId21"/>
    <p:sldLayoutId id="2147484285" r:id="rId22"/>
    <p:sldLayoutId id="2147484286" r:id="rId23"/>
    <p:sldLayoutId id="2147484287" r:id="rId24"/>
    <p:sldLayoutId id="2147484288" r:id="rId25"/>
    <p:sldLayoutId id="2147484289" r:id="rId26"/>
    <p:sldLayoutId id="2147484290" r:id="rId27"/>
    <p:sldLayoutId id="2147484291" r:id="rId28"/>
    <p:sldLayoutId id="2147484292" r:id="rId29"/>
    <p:sldLayoutId id="2147484293" r:id="rId30"/>
    <p:sldLayoutId id="2147484294" r:id="rId31"/>
    <p:sldLayoutId id="2147484295" r:id="rId32"/>
    <p:sldLayoutId id="2147484296" r:id="rId33"/>
    <p:sldLayoutId id="2147484297" r:id="rId34"/>
    <p:sldLayoutId id="2147484298" r:id="rId35"/>
    <p:sldLayoutId id="2147484299" r:id="rId36"/>
    <p:sldLayoutId id="2147484300" r:id="rId37"/>
    <p:sldLayoutId id="2147484301" r:id="rId38"/>
    <p:sldLayoutId id="2147484302" r:id="rId39"/>
    <p:sldLayoutId id="2147484303" r:id="rId40"/>
    <p:sldLayoutId id="2147484304" r:id="rId41"/>
    <p:sldLayoutId id="2147484305" r:id="rId42"/>
    <p:sldLayoutId id="2147484306" r:id="rId43"/>
    <p:sldLayoutId id="2147484307" r:id="rId44"/>
    <p:sldLayoutId id="2147484308" r:id="rId45"/>
    <p:sldLayoutId id="2147484309" r:id="rId46"/>
  </p:sldLayoutIdLst>
  <p:hf hdr="0" dt="0"/>
  <p:txStyles>
    <p:titleStyle>
      <a:lvl1pPr algn="l" defTabSz="914400" rtl="0" eaLnBrk="1" latinLnBrk="0" hangingPunct="1">
        <a:lnSpc>
          <a:spcPct val="90000"/>
        </a:lnSpc>
        <a:spcBef>
          <a:spcPct val="0"/>
        </a:spcBef>
        <a:buNone/>
        <a:defRPr sz="3600" b="1" kern="1200">
          <a:solidFill>
            <a:schemeClr val="tx2"/>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25">
          <p15:clr>
            <a:srgbClr val="F26B43"/>
          </p15:clr>
        </p15:guide>
        <p15:guide id="3" pos="7355">
          <p15:clr>
            <a:srgbClr val="F26B43"/>
          </p15:clr>
        </p15:guide>
        <p15:guide id="4" orient="horz" pos="232">
          <p15:clr>
            <a:srgbClr val="F26B43"/>
          </p15:clr>
        </p15:guide>
        <p15:guide id="5" orient="horz" pos="4088">
          <p15:clr>
            <a:srgbClr val="F26B43"/>
          </p15:clr>
        </p15:guide>
        <p15:guide id="7" orient="horz" pos="822">
          <p15:clr>
            <a:srgbClr val="F26B43"/>
          </p15:clr>
        </p15:guide>
        <p15:guide id="9" orient="horz" pos="3725">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9A0C912-601A-49BA-A6AA-CB0F09A1A78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AU"/>
          </a:p>
        </p:txBody>
      </p:sp>
      <p:sp>
        <p:nvSpPr>
          <p:cNvPr id="3" name="Text Placeholder 2">
            <a:extLst>
              <a:ext uri="{FF2B5EF4-FFF2-40B4-BE49-F238E27FC236}">
                <a16:creationId xmlns:a16="http://schemas.microsoft.com/office/drawing/2014/main" id="{8AEFD5A7-3778-4B52-9AC5-C155E3D0AC5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07775919-755A-4551-BBDE-D3936BEF8BD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E245E4A-FF4C-45AF-8C7E-B80A48678A5C}" type="datetime1">
              <a:rPr lang="en-AU" smtClean="0"/>
              <a:t>9/12/2024</a:t>
            </a:fld>
            <a:endParaRPr lang="en-AU"/>
          </a:p>
        </p:txBody>
      </p:sp>
      <p:sp>
        <p:nvSpPr>
          <p:cNvPr id="5" name="Footer Placeholder 4">
            <a:extLst>
              <a:ext uri="{FF2B5EF4-FFF2-40B4-BE49-F238E27FC236}">
                <a16:creationId xmlns:a16="http://schemas.microsoft.com/office/drawing/2014/main" id="{4ADDEC0E-14B0-42D7-B44B-26A87767FB7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AU"/>
          </a:p>
        </p:txBody>
      </p:sp>
      <p:sp>
        <p:nvSpPr>
          <p:cNvPr id="6" name="Slide Number Placeholder 5">
            <a:extLst>
              <a:ext uri="{FF2B5EF4-FFF2-40B4-BE49-F238E27FC236}">
                <a16:creationId xmlns:a16="http://schemas.microsoft.com/office/drawing/2014/main" id="{FED69295-D8D5-4E32-9BBE-4E608E460FB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3ECF85F-2FE6-4C40-9C0D-695BD934DCA6}" type="slidenum">
              <a:rPr lang="en-AU" smtClean="0"/>
              <a:t>‹#›</a:t>
            </a:fld>
            <a:endParaRPr lang="en-AU"/>
          </a:p>
        </p:txBody>
      </p:sp>
      <p:sp>
        <p:nvSpPr>
          <p:cNvPr id="7" name="Rectángulo 28">
            <a:extLst>
              <a:ext uri="{FF2B5EF4-FFF2-40B4-BE49-F238E27FC236}">
                <a16:creationId xmlns:a16="http://schemas.microsoft.com/office/drawing/2014/main" id="{E2764310-0719-4326-B3DB-D98F436BB28F}"/>
              </a:ext>
            </a:extLst>
          </p:cNvPr>
          <p:cNvSpPr/>
          <p:nvPr userDrawn="1"/>
        </p:nvSpPr>
        <p:spPr>
          <a:xfrm>
            <a:off x="0" y="0"/>
            <a:ext cx="12192000" cy="108000"/>
          </a:xfrm>
          <a:prstGeom prst="rect">
            <a:avLst/>
          </a:prstGeom>
          <a:gradFill>
            <a:gsLst>
              <a:gs pos="0">
                <a:srgbClr val="A50021"/>
              </a:gs>
              <a:gs pos="100000">
                <a:srgbClr val="636463"/>
              </a:gs>
            </a:gsLst>
            <a:lin ang="1620000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s-ES" sz="1800"/>
          </a:p>
        </p:txBody>
      </p:sp>
      <p:sp>
        <p:nvSpPr>
          <p:cNvPr id="8" name="Titre 1">
            <a:extLst>
              <a:ext uri="{FF2B5EF4-FFF2-40B4-BE49-F238E27FC236}">
                <a16:creationId xmlns:a16="http://schemas.microsoft.com/office/drawing/2014/main" id="{5E249A86-E211-463B-AF1B-150053153CF9}"/>
              </a:ext>
            </a:extLst>
          </p:cNvPr>
          <p:cNvSpPr txBox="1">
            <a:spLocks/>
          </p:cNvSpPr>
          <p:nvPr userDrawn="1"/>
        </p:nvSpPr>
        <p:spPr>
          <a:xfrm>
            <a:off x="239349" y="188640"/>
            <a:ext cx="11329259" cy="494062"/>
          </a:xfrm>
          <a:prstGeom prst="rect">
            <a:avLst/>
          </a:prstGeom>
        </p:spPr>
        <p:txBody>
          <a:bodyPr/>
          <a:lstStyle>
            <a:lvl1pPr algn="l" rtl="0" eaLnBrk="0" fontAlgn="base" hangingPunct="0">
              <a:spcBef>
                <a:spcPct val="0"/>
              </a:spcBef>
              <a:spcAft>
                <a:spcPct val="0"/>
              </a:spcAft>
              <a:defRPr lang="fr-FR" sz="2800" b="0" kern="1200" dirty="0">
                <a:solidFill>
                  <a:srgbClr val="A50021"/>
                </a:solidFill>
                <a:latin typeface="Arial"/>
                <a:ea typeface="+mn-ea"/>
                <a:cs typeface="+mn-cs"/>
              </a:defRPr>
            </a:lvl1pPr>
            <a:lvl2pPr algn="ctr" rtl="0" eaLnBrk="0" fontAlgn="base" hangingPunct="0">
              <a:spcBef>
                <a:spcPct val="0"/>
              </a:spcBef>
              <a:spcAft>
                <a:spcPct val="0"/>
              </a:spcAft>
              <a:defRPr sz="3600" b="1">
                <a:solidFill>
                  <a:srgbClr val="990033"/>
                </a:solidFill>
                <a:latin typeface="Arial Narrow" pitchFamily="34" charset="0"/>
              </a:defRPr>
            </a:lvl2pPr>
            <a:lvl3pPr algn="ctr" rtl="0" eaLnBrk="0" fontAlgn="base" hangingPunct="0">
              <a:spcBef>
                <a:spcPct val="0"/>
              </a:spcBef>
              <a:spcAft>
                <a:spcPct val="0"/>
              </a:spcAft>
              <a:defRPr sz="3600" b="1">
                <a:solidFill>
                  <a:srgbClr val="990033"/>
                </a:solidFill>
                <a:latin typeface="Arial Narrow" pitchFamily="34" charset="0"/>
              </a:defRPr>
            </a:lvl3pPr>
            <a:lvl4pPr algn="ctr" rtl="0" eaLnBrk="0" fontAlgn="base" hangingPunct="0">
              <a:spcBef>
                <a:spcPct val="0"/>
              </a:spcBef>
              <a:spcAft>
                <a:spcPct val="0"/>
              </a:spcAft>
              <a:defRPr sz="3600" b="1">
                <a:solidFill>
                  <a:srgbClr val="990033"/>
                </a:solidFill>
                <a:latin typeface="Arial Narrow" pitchFamily="34" charset="0"/>
              </a:defRPr>
            </a:lvl4pPr>
            <a:lvl5pPr algn="ctr" rtl="0" eaLnBrk="0" fontAlgn="base" hangingPunct="0">
              <a:spcBef>
                <a:spcPct val="0"/>
              </a:spcBef>
              <a:spcAft>
                <a:spcPct val="0"/>
              </a:spcAft>
              <a:defRPr sz="3600" b="1">
                <a:solidFill>
                  <a:srgbClr val="990033"/>
                </a:solidFill>
                <a:latin typeface="Arial Narrow" pitchFamily="34"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a:lstStyle>
          <a:p>
            <a:endParaRPr lang="fr-FR" sz="2800"/>
          </a:p>
        </p:txBody>
      </p:sp>
      <p:sp>
        <p:nvSpPr>
          <p:cNvPr id="9" name="Titre 1">
            <a:extLst>
              <a:ext uri="{FF2B5EF4-FFF2-40B4-BE49-F238E27FC236}">
                <a16:creationId xmlns:a16="http://schemas.microsoft.com/office/drawing/2014/main" id="{DFABA52D-0B64-48CF-BFD5-389C33EB6CEE}"/>
              </a:ext>
            </a:extLst>
          </p:cNvPr>
          <p:cNvSpPr txBox="1">
            <a:spLocks/>
          </p:cNvSpPr>
          <p:nvPr userDrawn="1"/>
        </p:nvSpPr>
        <p:spPr bwMode="auto">
          <a:xfrm>
            <a:off x="623392" y="774698"/>
            <a:ext cx="10945216" cy="494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lang="fr-FR" sz="2800" b="0" kern="1200" dirty="0">
                <a:solidFill>
                  <a:srgbClr val="A50021"/>
                </a:solidFill>
                <a:latin typeface="Arial"/>
                <a:ea typeface="+mn-ea"/>
                <a:cs typeface="+mn-cs"/>
              </a:defRPr>
            </a:lvl1pPr>
            <a:lvl2pPr algn="ctr" rtl="0" eaLnBrk="0" fontAlgn="base" hangingPunct="0">
              <a:spcBef>
                <a:spcPct val="0"/>
              </a:spcBef>
              <a:spcAft>
                <a:spcPct val="0"/>
              </a:spcAft>
              <a:defRPr sz="3600" b="1">
                <a:solidFill>
                  <a:srgbClr val="990033"/>
                </a:solidFill>
                <a:latin typeface="Arial Narrow" pitchFamily="34" charset="0"/>
              </a:defRPr>
            </a:lvl2pPr>
            <a:lvl3pPr algn="ctr" rtl="0" eaLnBrk="0" fontAlgn="base" hangingPunct="0">
              <a:spcBef>
                <a:spcPct val="0"/>
              </a:spcBef>
              <a:spcAft>
                <a:spcPct val="0"/>
              </a:spcAft>
              <a:defRPr sz="3600" b="1">
                <a:solidFill>
                  <a:srgbClr val="990033"/>
                </a:solidFill>
                <a:latin typeface="Arial Narrow" pitchFamily="34" charset="0"/>
              </a:defRPr>
            </a:lvl3pPr>
            <a:lvl4pPr algn="ctr" rtl="0" eaLnBrk="0" fontAlgn="base" hangingPunct="0">
              <a:spcBef>
                <a:spcPct val="0"/>
              </a:spcBef>
              <a:spcAft>
                <a:spcPct val="0"/>
              </a:spcAft>
              <a:defRPr sz="3600" b="1">
                <a:solidFill>
                  <a:srgbClr val="990033"/>
                </a:solidFill>
                <a:latin typeface="Arial Narrow" pitchFamily="34" charset="0"/>
              </a:defRPr>
            </a:lvl4pPr>
            <a:lvl5pPr algn="ctr" rtl="0" eaLnBrk="0" fontAlgn="base" hangingPunct="0">
              <a:spcBef>
                <a:spcPct val="0"/>
              </a:spcBef>
              <a:spcAft>
                <a:spcPct val="0"/>
              </a:spcAft>
              <a:defRPr sz="3600" b="1">
                <a:solidFill>
                  <a:srgbClr val="990033"/>
                </a:solidFill>
                <a:latin typeface="Arial Narrow" pitchFamily="34"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a:lstStyle>
          <a:p>
            <a:endParaRPr lang="fr-FR" sz="2400" i="1" kern="1200">
              <a:solidFill>
                <a:srgbClr val="636463"/>
              </a:solidFill>
              <a:latin typeface="Arial"/>
              <a:ea typeface="+mn-ea"/>
              <a:cs typeface="+mn-cs"/>
            </a:endParaRPr>
          </a:p>
        </p:txBody>
      </p:sp>
    </p:spTree>
    <p:extLst>
      <p:ext uri="{BB962C8B-B14F-4D97-AF65-F5344CB8AC3E}">
        <p14:creationId xmlns:p14="http://schemas.microsoft.com/office/powerpoint/2010/main" val="1303508488"/>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4C9939A-617C-3E44-A0D0-909C79756BDF}"/>
              </a:ext>
            </a:extLst>
          </p:cNvPr>
          <p:cNvSpPr>
            <a:spLocks noGrp="1"/>
          </p:cNvSpPr>
          <p:nvPr>
            <p:ph type="title"/>
          </p:nvPr>
        </p:nvSpPr>
        <p:spPr>
          <a:xfrm>
            <a:off x="521719" y="368300"/>
            <a:ext cx="11154344" cy="722674"/>
          </a:xfrm>
          <a:prstGeom prst="rect">
            <a:avLst/>
          </a:prstGeom>
        </p:spPr>
        <p:txBody>
          <a:bodyPr vert="horz" lIns="0" tIns="0" rIns="0" bIns="0" rtlCol="0" anchor="t">
            <a:normAutofit/>
          </a:bodyPr>
          <a:lstStyle/>
          <a:p>
            <a:r>
              <a:rPr lang="en-GB"/>
              <a:t>Click to edit Master title style</a:t>
            </a:r>
          </a:p>
        </p:txBody>
      </p:sp>
      <p:sp>
        <p:nvSpPr>
          <p:cNvPr id="3" name="Text Placeholder 2">
            <a:extLst>
              <a:ext uri="{FF2B5EF4-FFF2-40B4-BE49-F238E27FC236}">
                <a16:creationId xmlns:a16="http://schemas.microsoft.com/office/drawing/2014/main" id="{9F9D0AC0-F01F-B544-AC35-7D2BCB4EB7F6}"/>
              </a:ext>
            </a:extLst>
          </p:cNvPr>
          <p:cNvSpPr>
            <a:spLocks noGrp="1"/>
          </p:cNvSpPr>
          <p:nvPr>
            <p:ph type="body" idx="1"/>
          </p:nvPr>
        </p:nvSpPr>
        <p:spPr>
          <a:xfrm>
            <a:off x="515938" y="1325974"/>
            <a:ext cx="11154344" cy="4456608"/>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Footer Placeholder 4">
            <a:extLst>
              <a:ext uri="{FF2B5EF4-FFF2-40B4-BE49-F238E27FC236}">
                <a16:creationId xmlns:a16="http://schemas.microsoft.com/office/drawing/2014/main" id="{66F729D7-DBF0-1846-87E5-720E70F9E8F0}"/>
              </a:ext>
            </a:extLst>
          </p:cNvPr>
          <p:cNvSpPr>
            <a:spLocks noGrp="1"/>
          </p:cNvSpPr>
          <p:nvPr>
            <p:ph type="ftr" sz="quarter" idx="3"/>
          </p:nvPr>
        </p:nvSpPr>
        <p:spPr>
          <a:xfrm>
            <a:off x="777567" y="6356350"/>
            <a:ext cx="4189003" cy="136526"/>
          </a:xfrm>
          <a:prstGeom prst="rect">
            <a:avLst/>
          </a:prstGeom>
        </p:spPr>
        <p:txBody>
          <a:bodyPr vert="horz" lIns="0" tIns="0" rIns="0" bIns="0" rtlCol="0" anchor="b"/>
          <a:lstStyle>
            <a:lvl1pPr algn="l">
              <a:defRPr sz="800">
                <a:solidFill>
                  <a:schemeClr val="tx1">
                    <a:tint val="75000"/>
                  </a:schemeClr>
                </a:solidFill>
                <a:latin typeface="Arial" panose="020B0604020202020204" pitchFamily="34" charset="0"/>
                <a:cs typeface="Arial" panose="020B0604020202020204" pitchFamily="34" charset="0"/>
              </a:defRPr>
            </a:lvl1pPr>
          </a:lstStyle>
          <a:p>
            <a:r>
              <a:rPr lang="en-US"/>
              <a:t>United Against Rabies Forum Meeting - 6-8 November 2023</a:t>
            </a:r>
            <a:endParaRPr lang="en-GB"/>
          </a:p>
        </p:txBody>
      </p:sp>
      <p:sp>
        <p:nvSpPr>
          <p:cNvPr id="6" name="Slide Number Placeholder 5">
            <a:extLst>
              <a:ext uri="{FF2B5EF4-FFF2-40B4-BE49-F238E27FC236}">
                <a16:creationId xmlns:a16="http://schemas.microsoft.com/office/drawing/2014/main" id="{8918EB43-CEEF-AF40-88AE-32CEA15C642C}"/>
              </a:ext>
            </a:extLst>
          </p:cNvPr>
          <p:cNvSpPr>
            <a:spLocks noGrp="1"/>
          </p:cNvSpPr>
          <p:nvPr>
            <p:ph type="sldNum" sz="quarter" idx="4"/>
          </p:nvPr>
        </p:nvSpPr>
        <p:spPr>
          <a:xfrm>
            <a:off x="515938" y="6356351"/>
            <a:ext cx="261629" cy="133349"/>
          </a:xfrm>
          <a:prstGeom prst="rect">
            <a:avLst/>
          </a:prstGeom>
        </p:spPr>
        <p:txBody>
          <a:bodyPr vert="horz" lIns="0" tIns="0" rIns="0" bIns="0" rtlCol="0" anchor="b"/>
          <a:lstStyle>
            <a:lvl1pPr algn="l">
              <a:defRPr sz="800">
                <a:solidFill>
                  <a:schemeClr val="tx1">
                    <a:tint val="75000"/>
                  </a:schemeClr>
                </a:solidFill>
                <a:latin typeface="Arial" panose="020B0604020202020204" pitchFamily="34" charset="0"/>
                <a:cs typeface="Arial" panose="020B0604020202020204" pitchFamily="34" charset="0"/>
              </a:defRPr>
            </a:lvl1pPr>
          </a:lstStyle>
          <a:p>
            <a:fld id="{AB746B08-255A-2748-8A21-40BE94A17FD1}" type="slidenum">
              <a:rPr lang="en-GB" smtClean="0"/>
              <a:pPr/>
              <a:t>‹#›</a:t>
            </a:fld>
            <a:endParaRPr lang="en-GB"/>
          </a:p>
        </p:txBody>
      </p:sp>
    </p:spTree>
    <p:extLst>
      <p:ext uri="{BB962C8B-B14F-4D97-AF65-F5344CB8AC3E}">
        <p14:creationId xmlns:p14="http://schemas.microsoft.com/office/powerpoint/2010/main" val="423884269"/>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44" r:id="rId5"/>
    <p:sldLayoutId id="2147483745" r:id="rId6"/>
    <p:sldLayoutId id="2147483746" r:id="rId7"/>
    <p:sldLayoutId id="2147483747" r:id="rId8"/>
    <p:sldLayoutId id="2147483748" r:id="rId9"/>
    <p:sldLayoutId id="2147483749" r:id="rId10"/>
    <p:sldLayoutId id="2147483750" r:id="rId11"/>
    <p:sldLayoutId id="2147483751" r:id="rId12"/>
    <p:sldLayoutId id="2147483752" r:id="rId13"/>
    <p:sldLayoutId id="2147483753" r:id="rId14"/>
    <p:sldLayoutId id="2147483754" r:id="rId15"/>
    <p:sldLayoutId id="2147483755" r:id="rId16"/>
    <p:sldLayoutId id="2147483756" r:id="rId17"/>
    <p:sldLayoutId id="2147483757" r:id="rId18"/>
    <p:sldLayoutId id="2147483758" r:id="rId19"/>
    <p:sldLayoutId id="2147483759" r:id="rId20"/>
    <p:sldLayoutId id="2147483760" r:id="rId21"/>
    <p:sldLayoutId id="2147483761" r:id="rId22"/>
    <p:sldLayoutId id="2147483762" r:id="rId23"/>
    <p:sldLayoutId id="2147483763" r:id="rId24"/>
    <p:sldLayoutId id="2147483764" r:id="rId25"/>
    <p:sldLayoutId id="2147483765" r:id="rId26"/>
    <p:sldLayoutId id="2147483766" r:id="rId27"/>
    <p:sldLayoutId id="2147483767" r:id="rId28"/>
    <p:sldLayoutId id="2147483768" r:id="rId29"/>
    <p:sldLayoutId id="2147483769" r:id="rId30"/>
    <p:sldLayoutId id="2147483770" r:id="rId31"/>
    <p:sldLayoutId id="2147483771" r:id="rId32"/>
    <p:sldLayoutId id="2147483772" r:id="rId33"/>
    <p:sldLayoutId id="2147483773" r:id="rId34"/>
    <p:sldLayoutId id="2147483774" r:id="rId35"/>
    <p:sldLayoutId id="2147483775" r:id="rId36"/>
    <p:sldLayoutId id="2147483776" r:id="rId37"/>
    <p:sldLayoutId id="2147483777" r:id="rId38"/>
    <p:sldLayoutId id="2147483778" r:id="rId39"/>
    <p:sldLayoutId id="2147483779" r:id="rId40"/>
    <p:sldLayoutId id="2147483780" r:id="rId41"/>
    <p:sldLayoutId id="2147483781" r:id="rId42"/>
    <p:sldLayoutId id="2147483782" r:id="rId43"/>
    <p:sldLayoutId id="2147483783" r:id="rId44"/>
    <p:sldLayoutId id="2147483784" r:id="rId45"/>
    <p:sldLayoutId id="2147483785" r:id="rId46"/>
  </p:sldLayoutIdLst>
  <p:hf hdr="0" dt="0"/>
  <p:txStyles>
    <p:titleStyle>
      <a:lvl1pPr algn="l" defTabSz="914400" rtl="0" eaLnBrk="1" latinLnBrk="0" hangingPunct="1">
        <a:lnSpc>
          <a:spcPct val="90000"/>
        </a:lnSpc>
        <a:spcBef>
          <a:spcPct val="0"/>
        </a:spcBef>
        <a:buNone/>
        <a:defRPr sz="3600" b="1" kern="1200">
          <a:solidFill>
            <a:schemeClr val="tx2"/>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25">
          <p15:clr>
            <a:srgbClr val="F26B43"/>
          </p15:clr>
        </p15:guide>
        <p15:guide id="3" pos="7355">
          <p15:clr>
            <a:srgbClr val="F26B43"/>
          </p15:clr>
        </p15:guide>
        <p15:guide id="4" orient="horz" pos="232">
          <p15:clr>
            <a:srgbClr val="F26B43"/>
          </p15:clr>
        </p15:guide>
        <p15:guide id="5" orient="horz" pos="4088">
          <p15:clr>
            <a:srgbClr val="F26B43"/>
          </p15:clr>
        </p15:guide>
        <p15:guide id="7" orient="horz" pos="822">
          <p15:clr>
            <a:srgbClr val="F26B43"/>
          </p15:clr>
        </p15:guide>
        <p15:guide id="9" orient="horz" pos="3725">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E1F36B2-CDA4-4FC0-8E00-58551B08649B}"/>
              </a:ext>
            </a:extLst>
          </p:cNvPr>
          <p:cNvGraphicFramePr>
            <a:graphicFrameLocks noChangeAspect="1"/>
          </p:cNvGraphicFramePr>
          <p:nvPr userDrawn="1">
            <p:custDataLst>
              <p:tags r:id="rId22"/>
            </p:custDataLst>
            <p:extLst>
              <p:ext uri="{D42A27DB-BD31-4B8C-83A1-F6EECF244321}">
                <p14:modId xmlns:p14="http://schemas.microsoft.com/office/powerpoint/2010/main" val="51725429"/>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23" imgW="306" imgH="306" progId="TCLayout.ActiveDocument.1">
                  <p:embed/>
                </p:oleObj>
              </mc:Choice>
              <mc:Fallback>
                <p:oleObj name="think-cell Slide" r:id="rId23" imgW="306" imgH="306" progId="TCLayout.ActiveDocument.1">
                  <p:embed/>
                  <p:pic>
                    <p:nvPicPr>
                      <p:cNvPr id="4" name="Object 3" hidden="1">
                        <a:extLst>
                          <a:ext uri="{FF2B5EF4-FFF2-40B4-BE49-F238E27FC236}">
                            <a16:creationId xmlns:a16="http://schemas.microsoft.com/office/drawing/2014/main" id="{FE1F36B2-CDA4-4FC0-8E00-58551B08649B}"/>
                          </a:ext>
                        </a:extLst>
                      </p:cNvPr>
                      <p:cNvPicPr/>
                      <p:nvPr/>
                    </p:nvPicPr>
                    <p:blipFill>
                      <a:blip r:embed="rId24"/>
                      <a:stretch>
                        <a:fillRect/>
                      </a:stretch>
                    </p:blipFill>
                    <p:spPr>
                      <a:xfrm>
                        <a:off x="2118" y="2118"/>
                        <a:ext cx="2117" cy="2117"/>
                      </a:xfrm>
                      <a:prstGeom prst="rect">
                        <a:avLst/>
                      </a:prstGeom>
                    </p:spPr>
                  </p:pic>
                </p:oleObj>
              </mc:Fallback>
            </mc:AlternateContent>
          </a:graphicData>
        </a:graphic>
      </p:graphicFrame>
      <p:sp>
        <p:nvSpPr>
          <p:cNvPr id="14" name="Rectangle 13"/>
          <p:cNvSpPr/>
          <p:nvPr userDrawn="1"/>
        </p:nvSpPr>
        <p:spPr bwMode="gray">
          <a:xfrm>
            <a:off x="672000" y="1424243"/>
            <a:ext cx="1296000" cy="25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sp>
        <p:nvSpPr>
          <p:cNvPr id="2" name="Espace réservé du titre 1"/>
          <p:cNvSpPr>
            <a:spLocks noGrp="1"/>
          </p:cNvSpPr>
          <p:nvPr>
            <p:ph type="title"/>
          </p:nvPr>
        </p:nvSpPr>
        <p:spPr bwMode="gray">
          <a:xfrm>
            <a:off x="672000" y="217251"/>
            <a:ext cx="10848000" cy="1036637"/>
          </a:xfrm>
          <a:prstGeom prst="rect">
            <a:avLst/>
          </a:prstGeom>
        </p:spPr>
        <p:txBody>
          <a:bodyPr vert="horz" lIns="0" tIns="0" rIns="0" bIns="0" rtlCol="0" anchor="b" anchorCtr="0">
            <a:noAutofit/>
          </a:bodyPr>
          <a:lstStyle/>
          <a:p>
            <a:r>
              <a:rPr lang="en-GB" noProof="0"/>
              <a:t>TITLE</a:t>
            </a:r>
          </a:p>
        </p:txBody>
      </p:sp>
      <p:sp>
        <p:nvSpPr>
          <p:cNvPr id="3" name="Espace réservé du texte 2"/>
          <p:cNvSpPr>
            <a:spLocks noGrp="1"/>
          </p:cNvSpPr>
          <p:nvPr>
            <p:ph type="body" idx="1"/>
          </p:nvPr>
        </p:nvSpPr>
        <p:spPr bwMode="gray">
          <a:xfrm>
            <a:off x="672000" y="1604675"/>
            <a:ext cx="10848000" cy="4192480"/>
          </a:xfrm>
          <a:prstGeom prst="rect">
            <a:avLst/>
          </a:prstGeom>
        </p:spPr>
        <p:txBody>
          <a:bodyPr vert="horz" lIns="0" tIns="0" rIns="0" bIns="0" rtlCol="0" anchor="t" anchorCtr="0">
            <a:noAutofit/>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10" name="Rectangle 9"/>
          <p:cNvSpPr/>
          <p:nvPr userDrawn="1"/>
        </p:nvSpPr>
        <p:spPr bwMode="gray">
          <a:xfrm>
            <a:off x="9854400" y="5771955"/>
            <a:ext cx="2337600" cy="25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pic>
        <p:nvPicPr>
          <p:cNvPr id="12" name="Image 11"/>
          <p:cNvPicPr>
            <a:picLocks noChangeAspect="1"/>
          </p:cNvPicPr>
          <p:nvPr userDrawn="1"/>
        </p:nvPicPr>
        <p:blipFill>
          <a:blip r:embed="rId25" cstate="print">
            <a:extLst>
              <a:ext uri="{28A0092B-C50C-407E-A947-70E740481C1C}">
                <a14:useLocalDpi xmlns:a14="http://schemas.microsoft.com/office/drawing/2010/main" val="0"/>
              </a:ext>
            </a:extLst>
          </a:blip>
          <a:stretch>
            <a:fillRect/>
          </a:stretch>
        </p:blipFill>
        <p:spPr bwMode="gray">
          <a:xfrm>
            <a:off x="9782979" y="5424167"/>
            <a:ext cx="2400000" cy="1437563"/>
          </a:xfrm>
          <a:prstGeom prst="rect">
            <a:avLst/>
          </a:prstGeom>
        </p:spPr>
      </p:pic>
    </p:spTree>
    <p:extLst>
      <p:ext uri="{BB962C8B-B14F-4D97-AF65-F5344CB8AC3E}">
        <p14:creationId xmlns:p14="http://schemas.microsoft.com/office/powerpoint/2010/main" val="3249671379"/>
      </p:ext>
    </p:extLst>
  </p:cSld>
  <p:clrMap bg1="lt1" tx1="dk1" bg2="lt2" tx2="dk2" accent1="accent1" accent2="accent2" accent3="accent3" accent4="accent4" accent5="accent5" accent6="accent6" hlink="hlink" folHlink="folHlink"/>
  <p:sldLayoutIdLst>
    <p:sldLayoutId id="2147483853" r:id="rId1"/>
    <p:sldLayoutId id="2147483854" r:id="rId2"/>
    <p:sldLayoutId id="2147483855" r:id="rId3"/>
    <p:sldLayoutId id="2147483856" r:id="rId4"/>
    <p:sldLayoutId id="2147483857" r:id="rId5"/>
    <p:sldLayoutId id="2147483858" r:id="rId6"/>
    <p:sldLayoutId id="2147483859" r:id="rId7"/>
    <p:sldLayoutId id="2147483860" r:id="rId8"/>
    <p:sldLayoutId id="2147483861" r:id="rId9"/>
    <p:sldLayoutId id="2147483862" r:id="rId10"/>
    <p:sldLayoutId id="2147483863" r:id="rId11"/>
    <p:sldLayoutId id="2147483864" r:id="rId12"/>
    <p:sldLayoutId id="2147483865" r:id="rId13"/>
    <p:sldLayoutId id="2147483866" r:id="rId14"/>
    <p:sldLayoutId id="2147483867" r:id="rId15"/>
    <p:sldLayoutId id="2147483868" r:id="rId16"/>
    <p:sldLayoutId id="2147483869" r:id="rId17"/>
    <p:sldLayoutId id="2147483870" r:id="rId18"/>
    <p:sldLayoutId id="2147483871" r:id="rId19"/>
    <p:sldLayoutId id="2147483872" r:id="rId20"/>
  </p:sldLayoutIdLst>
  <p:hf hdr="0" ftr="0" dt="0"/>
  <p:txStyles>
    <p:titleStyle>
      <a:lvl1pPr algn="l" defTabSz="1219170" rtl="0" eaLnBrk="1" latinLnBrk="0" hangingPunct="1">
        <a:lnSpc>
          <a:spcPct val="90000"/>
        </a:lnSpc>
        <a:spcBef>
          <a:spcPct val="0"/>
        </a:spcBef>
        <a:buNone/>
        <a:defRPr sz="3733" b="0" kern="1200" cap="none" baseline="0">
          <a:solidFill>
            <a:schemeClr val="accent1"/>
          </a:solidFill>
          <a:latin typeface="+mj-lt"/>
          <a:ea typeface="+mj-ea"/>
          <a:cs typeface="+mj-cs"/>
        </a:defRPr>
      </a:lvl1pPr>
    </p:titleStyle>
    <p:bodyStyle>
      <a:lvl1pPr marL="0" indent="0" algn="l" defTabSz="1219170" rtl="0" eaLnBrk="1" latinLnBrk="0" hangingPunct="1">
        <a:lnSpc>
          <a:spcPct val="110000"/>
        </a:lnSpc>
        <a:spcBef>
          <a:spcPts val="0"/>
        </a:spcBef>
        <a:buFont typeface="Arial" pitchFamily="34" charset="0"/>
        <a:buNone/>
        <a:defRPr sz="2667" b="1" kern="1200">
          <a:solidFill>
            <a:schemeClr val="accent1"/>
          </a:solidFill>
          <a:latin typeface="+mn-lt"/>
          <a:ea typeface="+mn-ea"/>
          <a:cs typeface="+mn-cs"/>
        </a:defRPr>
      </a:lvl1pPr>
      <a:lvl2pPr marL="431989" indent="-239994" algn="l" defTabSz="1219170" rtl="0" eaLnBrk="1" latinLnBrk="0" hangingPunct="1">
        <a:lnSpc>
          <a:spcPct val="100000"/>
        </a:lnSpc>
        <a:spcBef>
          <a:spcPts val="400"/>
        </a:spcBef>
        <a:buClr>
          <a:schemeClr val="accent3"/>
        </a:buClr>
        <a:buFont typeface="Arial" pitchFamily="34" charset="0"/>
        <a:buChar char="•"/>
        <a:defRPr sz="2400" b="1" kern="1200">
          <a:solidFill>
            <a:schemeClr val="tx1"/>
          </a:solidFill>
          <a:latin typeface="+mn-lt"/>
          <a:ea typeface="+mn-ea"/>
          <a:cs typeface="+mn-cs"/>
        </a:defRPr>
      </a:lvl2pPr>
      <a:lvl3pPr marL="671983" indent="-239994" algn="l" defTabSz="1219170" rtl="0" eaLnBrk="1" latinLnBrk="0" hangingPunct="1">
        <a:lnSpc>
          <a:spcPct val="100000"/>
        </a:lnSpc>
        <a:spcBef>
          <a:spcPts val="400"/>
        </a:spcBef>
        <a:buSzPct val="100000"/>
        <a:buFont typeface="Arial" pitchFamily="34" charset="0"/>
        <a:buChar char="•"/>
        <a:defRPr sz="2133" b="0" kern="1200">
          <a:solidFill>
            <a:schemeClr val="tx1"/>
          </a:solidFill>
          <a:latin typeface="+mn-lt"/>
          <a:ea typeface="+mn-ea"/>
          <a:cs typeface="+mn-cs"/>
        </a:defRPr>
      </a:lvl3pPr>
      <a:lvl4pPr marL="671983" indent="0" algn="l" defTabSz="1219170" rtl="0" eaLnBrk="1" latinLnBrk="0" hangingPunct="1">
        <a:lnSpc>
          <a:spcPct val="100000"/>
        </a:lnSpc>
        <a:spcBef>
          <a:spcPts val="400"/>
        </a:spcBef>
        <a:buSzPct val="100000"/>
        <a:buFont typeface="Arial" pitchFamily="34" charset="0"/>
        <a:buNone/>
        <a:defRPr sz="2133" kern="1200">
          <a:solidFill>
            <a:schemeClr val="tx1"/>
          </a:solidFill>
          <a:latin typeface="+mn-lt"/>
          <a:ea typeface="+mn-ea"/>
          <a:cs typeface="+mn-cs"/>
        </a:defRPr>
      </a:lvl4pPr>
      <a:lvl5pPr marL="911977" indent="-239994" algn="l" defTabSz="1219170" rtl="0" eaLnBrk="1" latinLnBrk="0" hangingPunct="1">
        <a:lnSpc>
          <a:spcPct val="100000"/>
        </a:lnSpc>
        <a:spcBef>
          <a:spcPts val="400"/>
        </a:spcBef>
        <a:buSzPct val="100000"/>
        <a:buFont typeface="Arial" pitchFamily="34" charset="0"/>
        <a:buChar char="•"/>
        <a:defRPr sz="1867"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3679A0C-1B43-3F81-4B76-5D5BB69A5FC9}"/>
              </a:ext>
            </a:extLst>
          </p:cNvPr>
          <p:cNvGraphicFramePr>
            <a:graphicFrameLocks noChangeAspect="1"/>
          </p:cNvGraphicFramePr>
          <p:nvPr userDrawn="1">
            <p:custDataLst>
              <p:tags r:id="rId26"/>
            </p:custDataLst>
            <p:extLst>
              <p:ext uri="{D42A27DB-BD31-4B8C-83A1-F6EECF244321}">
                <p14:modId xmlns:p14="http://schemas.microsoft.com/office/powerpoint/2010/main" val="3361113894"/>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27" imgW="306" imgH="306" progId="TCLayout.ActiveDocument.1">
                  <p:embed/>
                </p:oleObj>
              </mc:Choice>
              <mc:Fallback>
                <p:oleObj name="think-cell Slide" r:id="rId27" imgW="306" imgH="306" progId="TCLayout.ActiveDocument.1">
                  <p:embed/>
                  <p:pic>
                    <p:nvPicPr>
                      <p:cNvPr id="4" name="Object 3" hidden="1">
                        <a:extLst>
                          <a:ext uri="{FF2B5EF4-FFF2-40B4-BE49-F238E27FC236}">
                            <a16:creationId xmlns:a16="http://schemas.microsoft.com/office/drawing/2014/main" id="{03679A0C-1B43-3F81-4B76-5D5BB69A5FC9}"/>
                          </a:ext>
                        </a:extLst>
                      </p:cNvPr>
                      <p:cNvPicPr/>
                      <p:nvPr/>
                    </p:nvPicPr>
                    <p:blipFill>
                      <a:blip r:embed="rId28"/>
                      <a:stretch>
                        <a:fillRect/>
                      </a:stretch>
                    </p:blipFill>
                    <p:spPr>
                      <a:xfrm>
                        <a:off x="2118" y="2118"/>
                        <a:ext cx="2117" cy="2117"/>
                      </a:xfrm>
                      <a:prstGeom prst="rect">
                        <a:avLst/>
                      </a:prstGeom>
                    </p:spPr>
                  </p:pic>
                </p:oleObj>
              </mc:Fallback>
            </mc:AlternateContent>
          </a:graphicData>
        </a:graphic>
      </p:graphicFrame>
      <p:sp>
        <p:nvSpPr>
          <p:cNvPr id="14" name="Rectangle 13"/>
          <p:cNvSpPr/>
          <p:nvPr userDrawn="1"/>
        </p:nvSpPr>
        <p:spPr bwMode="gray">
          <a:xfrm>
            <a:off x="672000" y="1424243"/>
            <a:ext cx="1296000" cy="25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sp>
        <p:nvSpPr>
          <p:cNvPr id="2" name="Espace réservé du titre 1"/>
          <p:cNvSpPr>
            <a:spLocks noGrp="1"/>
          </p:cNvSpPr>
          <p:nvPr>
            <p:ph type="title"/>
          </p:nvPr>
        </p:nvSpPr>
        <p:spPr bwMode="gray">
          <a:xfrm>
            <a:off x="672000" y="217251"/>
            <a:ext cx="10848000" cy="1036637"/>
          </a:xfrm>
          <a:prstGeom prst="rect">
            <a:avLst/>
          </a:prstGeom>
        </p:spPr>
        <p:txBody>
          <a:bodyPr vert="horz" lIns="0" tIns="0" rIns="0" bIns="0" rtlCol="0" anchor="b" anchorCtr="0">
            <a:noAutofit/>
          </a:bodyPr>
          <a:lstStyle/>
          <a:p>
            <a:r>
              <a:rPr lang="en-GB" noProof="0"/>
              <a:t>TITLE</a:t>
            </a:r>
          </a:p>
        </p:txBody>
      </p:sp>
      <p:sp>
        <p:nvSpPr>
          <p:cNvPr id="3" name="Espace réservé du texte 2"/>
          <p:cNvSpPr>
            <a:spLocks noGrp="1"/>
          </p:cNvSpPr>
          <p:nvPr>
            <p:ph type="body" idx="1"/>
          </p:nvPr>
        </p:nvSpPr>
        <p:spPr bwMode="gray">
          <a:xfrm>
            <a:off x="672000" y="1604675"/>
            <a:ext cx="10848000" cy="4192480"/>
          </a:xfrm>
          <a:prstGeom prst="rect">
            <a:avLst/>
          </a:prstGeom>
        </p:spPr>
        <p:txBody>
          <a:bodyPr vert="horz" lIns="0" tIns="0" rIns="0" bIns="0" rtlCol="0" anchor="t" anchorCtr="0">
            <a:noAutofit/>
          </a:bodyPr>
          <a:lstStyle/>
          <a:p>
            <a:pPr lvl="0"/>
            <a:r>
              <a:rPr lang="en-GB" noProof="0"/>
              <a:t>Text level 1</a:t>
            </a:r>
          </a:p>
          <a:p>
            <a:pPr lvl="1"/>
            <a:r>
              <a:rPr lang="en-GB" noProof="0"/>
              <a:t>Text level 2</a:t>
            </a:r>
          </a:p>
          <a:p>
            <a:pPr lvl="2"/>
            <a:r>
              <a:rPr lang="en-GB" noProof="0"/>
              <a:t>Text level 3</a:t>
            </a:r>
          </a:p>
          <a:p>
            <a:pPr lvl="3"/>
            <a:r>
              <a:rPr lang="en-GB" noProof="0"/>
              <a:t>Text level 4</a:t>
            </a:r>
          </a:p>
          <a:p>
            <a:pPr lvl="4"/>
            <a:r>
              <a:rPr lang="en-GB" noProof="0"/>
              <a:t>Text level 5</a:t>
            </a:r>
          </a:p>
        </p:txBody>
      </p:sp>
      <p:sp>
        <p:nvSpPr>
          <p:cNvPr id="6" name="Espace réservé du numéro de diapositive 5"/>
          <p:cNvSpPr>
            <a:spLocks noGrp="1"/>
          </p:cNvSpPr>
          <p:nvPr>
            <p:ph type="sldNum" sz="quarter" idx="4"/>
          </p:nvPr>
        </p:nvSpPr>
        <p:spPr bwMode="gray">
          <a:xfrm>
            <a:off x="672000" y="6327933"/>
            <a:ext cx="1200149" cy="530067"/>
          </a:xfrm>
          <a:prstGeom prst="rect">
            <a:avLst/>
          </a:prstGeom>
        </p:spPr>
        <p:txBody>
          <a:bodyPr vert="horz" lIns="0" tIns="21600" rIns="0" bIns="0" rtlCol="0" anchor="t" anchorCtr="0">
            <a:noAutofit/>
          </a:bodyPr>
          <a:lstStyle>
            <a:lvl1pPr algn="l">
              <a:defRPr sz="1200" b="1">
                <a:solidFill>
                  <a:schemeClr val="tx1"/>
                </a:solidFill>
              </a:defRPr>
            </a:lvl1pPr>
          </a:lstStyle>
          <a:p>
            <a:fld id="{733122C9-A0B9-462F-8757-0847AD287B63}" type="slidenum">
              <a:rPr lang="en-GB" noProof="0" smtClean="0"/>
              <a:pPr/>
              <a:t>‹#›</a:t>
            </a:fld>
            <a:endParaRPr lang="en-GB" noProof="0"/>
          </a:p>
        </p:txBody>
      </p:sp>
      <p:sp>
        <p:nvSpPr>
          <p:cNvPr id="10" name="Rectangle 9"/>
          <p:cNvSpPr/>
          <p:nvPr userDrawn="1"/>
        </p:nvSpPr>
        <p:spPr bwMode="gray">
          <a:xfrm>
            <a:off x="9854400" y="5771955"/>
            <a:ext cx="2337600" cy="25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noProof="0"/>
          </a:p>
        </p:txBody>
      </p:sp>
      <p:pic>
        <p:nvPicPr>
          <p:cNvPr id="12" name="Image 11"/>
          <p:cNvPicPr>
            <a:picLocks noChangeAspect="1"/>
          </p:cNvPicPr>
          <p:nvPr userDrawn="1"/>
        </p:nvPicPr>
        <p:blipFill>
          <a:blip r:embed="rId29" cstate="print">
            <a:extLst>
              <a:ext uri="{28A0092B-C50C-407E-A947-70E740481C1C}">
                <a14:useLocalDpi xmlns:a14="http://schemas.microsoft.com/office/drawing/2010/main" val="0"/>
              </a:ext>
            </a:extLst>
          </a:blip>
          <a:stretch>
            <a:fillRect/>
          </a:stretch>
        </p:blipFill>
        <p:spPr bwMode="gray">
          <a:xfrm>
            <a:off x="9782979" y="5424167"/>
            <a:ext cx="2400000" cy="1437563"/>
          </a:xfrm>
          <a:prstGeom prst="rect">
            <a:avLst/>
          </a:prstGeom>
        </p:spPr>
      </p:pic>
      <p:sp>
        <p:nvSpPr>
          <p:cNvPr id="5" name="TextBox 4">
            <a:extLst>
              <a:ext uri="{FF2B5EF4-FFF2-40B4-BE49-F238E27FC236}">
                <a16:creationId xmlns:a16="http://schemas.microsoft.com/office/drawing/2014/main" id="{778CEF84-644D-7618-46C8-679A23DCDC11}"/>
              </a:ext>
            </a:extLst>
          </p:cNvPr>
          <p:cNvSpPr txBox="1"/>
          <p:nvPr userDrawn="1">
            <p:extLst>
              <p:ext uri="{1162E1C5-73C7-4A58-AE30-91384D911F3F}">
                <p184:classification xmlns:p184="http://schemas.microsoft.com/office/powerpoint/2018/4/main" val="hdr"/>
              </p:ext>
            </p:extLst>
          </p:nvPr>
        </p:nvSpPr>
        <p:spPr>
          <a:xfrm>
            <a:off x="254000" y="254001"/>
            <a:ext cx="1441451" cy="205121"/>
          </a:xfrm>
          <a:prstGeom prst="rect">
            <a:avLst/>
          </a:prstGeom>
        </p:spPr>
        <p:txBody>
          <a:bodyPr horzOverflow="overflow" lIns="0" tIns="0" rIns="0" bIns="0">
            <a:spAutoFit/>
          </a:bodyPr>
          <a:lstStyle/>
          <a:p>
            <a:pPr algn="l"/>
            <a:r>
              <a:rPr lang="en-GB" sz="1333">
                <a:solidFill>
                  <a:srgbClr val="000000"/>
                </a:solidFill>
                <a:latin typeface="Calibri" panose="020F0502020204030204" pitchFamily="34" charset="0"/>
                <a:cs typeface="Calibri" panose="020F0502020204030204" pitchFamily="34" charset="0"/>
              </a:rPr>
              <a:t>Classified as Internal</a:t>
            </a:r>
          </a:p>
        </p:txBody>
      </p:sp>
    </p:spTree>
    <p:extLst>
      <p:ext uri="{BB962C8B-B14F-4D97-AF65-F5344CB8AC3E}">
        <p14:creationId xmlns:p14="http://schemas.microsoft.com/office/powerpoint/2010/main" val="3848145431"/>
      </p:ext>
    </p:extLst>
  </p:cSld>
  <p:clrMap bg1="lt1" tx1="dk1" bg2="lt2" tx2="dk2" accent1="accent1" accent2="accent2" accent3="accent3" accent4="accent4" accent5="accent5" accent6="accent6" hlink="hlink" folHlink="folHlink"/>
  <p:sldLayoutIdLst>
    <p:sldLayoutId id="2147483874" r:id="rId1"/>
    <p:sldLayoutId id="2147483875" r:id="rId2"/>
    <p:sldLayoutId id="2147483876" r:id="rId3"/>
    <p:sldLayoutId id="2147483877" r:id="rId4"/>
    <p:sldLayoutId id="2147483878" r:id="rId5"/>
    <p:sldLayoutId id="2147483879" r:id="rId6"/>
    <p:sldLayoutId id="2147483880" r:id="rId7"/>
    <p:sldLayoutId id="2147483881" r:id="rId8"/>
    <p:sldLayoutId id="2147483882" r:id="rId9"/>
    <p:sldLayoutId id="2147483883" r:id="rId10"/>
    <p:sldLayoutId id="2147483884" r:id="rId11"/>
    <p:sldLayoutId id="2147483885" r:id="rId12"/>
    <p:sldLayoutId id="2147483886" r:id="rId13"/>
    <p:sldLayoutId id="2147483887" r:id="rId14"/>
    <p:sldLayoutId id="2147483888" r:id="rId15"/>
    <p:sldLayoutId id="2147483889" r:id="rId16"/>
    <p:sldLayoutId id="2147483890" r:id="rId17"/>
    <p:sldLayoutId id="2147483891" r:id="rId18"/>
    <p:sldLayoutId id="2147483892" r:id="rId19"/>
    <p:sldLayoutId id="2147483893" r:id="rId20"/>
    <p:sldLayoutId id="2147483894" r:id="rId21"/>
    <p:sldLayoutId id="2147483895" r:id="rId22"/>
    <p:sldLayoutId id="2147483896" r:id="rId23"/>
    <p:sldLayoutId id="2147483898" r:id="rId24"/>
  </p:sldLayoutIdLst>
  <p:hf hdr="0" ftr="0" dt="0"/>
  <p:txStyles>
    <p:titleStyle>
      <a:lvl1pPr algn="l" defTabSz="1219170" rtl="0" eaLnBrk="1" latinLnBrk="0" hangingPunct="1">
        <a:lnSpc>
          <a:spcPct val="90000"/>
        </a:lnSpc>
        <a:spcBef>
          <a:spcPct val="0"/>
        </a:spcBef>
        <a:buNone/>
        <a:defRPr sz="3733" b="0" kern="1200" cap="none" baseline="0">
          <a:solidFill>
            <a:schemeClr val="accent1"/>
          </a:solidFill>
          <a:latin typeface="+mj-lt"/>
          <a:ea typeface="+mj-ea"/>
          <a:cs typeface="+mj-cs"/>
        </a:defRPr>
      </a:lvl1pPr>
    </p:titleStyle>
    <p:bodyStyle>
      <a:lvl1pPr marL="0" indent="0" algn="l" defTabSz="1219170" rtl="0" eaLnBrk="1" latinLnBrk="0" hangingPunct="1">
        <a:lnSpc>
          <a:spcPct val="110000"/>
        </a:lnSpc>
        <a:spcBef>
          <a:spcPts val="0"/>
        </a:spcBef>
        <a:buFont typeface="Arial" pitchFamily="34" charset="0"/>
        <a:buNone/>
        <a:defRPr sz="2667" b="1" kern="1200">
          <a:solidFill>
            <a:schemeClr val="accent1"/>
          </a:solidFill>
          <a:latin typeface="+mn-lt"/>
          <a:ea typeface="+mn-ea"/>
          <a:cs typeface="+mn-cs"/>
        </a:defRPr>
      </a:lvl1pPr>
      <a:lvl2pPr marL="431989" indent="-239994" algn="l" defTabSz="1219170" rtl="0" eaLnBrk="1" latinLnBrk="0" hangingPunct="1">
        <a:lnSpc>
          <a:spcPct val="100000"/>
        </a:lnSpc>
        <a:spcBef>
          <a:spcPts val="400"/>
        </a:spcBef>
        <a:buClr>
          <a:schemeClr val="accent3"/>
        </a:buClr>
        <a:buFont typeface="Arial" pitchFamily="34" charset="0"/>
        <a:buChar char="•"/>
        <a:defRPr sz="2400" b="1" kern="1200">
          <a:solidFill>
            <a:schemeClr val="tx1"/>
          </a:solidFill>
          <a:latin typeface="+mn-lt"/>
          <a:ea typeface="+mn-ea"/>
          <a:cs typeface="+mn-cs"/>
        </a:defRPr>
      </a:lvl2pPr>
      <a:lvl3pPr marL="671983" indent="-239994" algn="l" defTabSz="1219170" rtl="0" eaLnBrk="1" latinLnBrk="0" hangingPunct="1">
        <a:lnSpc>
          <a:spcPct val="100000"/>
        </a:lnSpc>
        <a:spcBef>
          <a:spcPts val="400"/>
        </a:spcBef>
        <a:buSzPct val="100000"/>
        <a:buFont typeface="Arial" pitchFamily="34" charset="0"/>
        <a:buChar char="•"/>
        <a:defRPr sz="2133" b="0" kern="1200">
          <a:solidFill>
            <a:schemeClr val="tx1"/>
          </a:solidFill>
          <a:latin typeface="+mn-lt"/>
          <a:ea typeface="+mn-ea"/>
          <a:cs typeface="+mn-cs"/>
        </a:defRPr>
      </a:lvl3pPr>
      <a:lvl4pPr marL="671983" indent="0" algn="l" defTabSz="1219170" rtl="0" eaLnBrk="1" latinLnBrk="0" hangingPunct="1">
        <a:lnSpc>
          <a:spcPct val="100000"/>
        </a:lnSpc>
        <a:spcBef>
          <a:spcPts val="400"/>
        </a:spcBef>
        <a:buSzPct val="100000"/>
        <a:buFont typeface="Arial" pitchFamily="34" charset="0"/>
        <a:buNone/>
        <a:defRPr sz="2133" kern="1200">
          <a:solidFill>
            <a:schemeClr val="tx1"/>
          </a:solidFill>
          <a:latin typeface="+mn-lt"/>
          <a:ea typeface="+mn-ea"/>
          <a:cs typeface="+mn-cs"/>
        </a:defRPr>
      </a:lvl4pPr>
      <a:lvl5pPr marL="911977" indent="-239994" algn="l" defTabSz="1219170" rtl="0" eaLnBrk="1" latinLnBrk="0" hangingPunct="1">
        <a:lnSpc>
          <a:spcPct val="100000"/>
        </a:lnSpc>
        <a:spcBef>
          <a:spcPts val="400"/>
        </a:spcBef>
        <a:buSzPct val="100000"/>
        <a:buFont typeface="Arial" pitchFamily="34" charset="0"/>
        <a:buChar char="•"/>
        <a:defRPr sz="1867"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fr-FR"/>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F808540-4383-93ED-4A25-32CF781489B7}"/>
              </a:ext>
            </a:extLst>
          </p:cNvPr>
          <p:cNvGraphicFramePr>
            <a:graphicFrameLocks noChangeAspect="1"/>
          </p:cNvGraphicFramePr>
          <p:nvPr userDrawn="1">
            <p:custDataLst>
              <p:tags r:id="rId95"/>
            </p:custDataLst>
            <p:extLst>
              <p:ext uri="{D42A27DB-BD31-4B8C-83A1-F6EECF244321}">
                <p14:modId xmlns:p14="http://schemas.microsoft.com/office/powerpoint/2010/main" val="25425545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6" imgW="306" imgH="305" progId="TCLayout.ActiveDocument.1">
                  <p:embed/>
                </p:oleObj>
              </mc:Choice>
              <mc:Fallback>
                <p:oleObj name="think-cell Slide" r:id="rId96" imgW="306" imgH="305" progId="TCLayout.ActiveDocument.1">
                  <p:embed/>
                  <p:pic>
                    <p:nvPicPr>
                      <p:cNvPr id="7" name="Object 6" hidden="1">
                        <a:extLst>
                          <a:ext uri="{FF2B5EF4-FFF2-40B4-BE49-F238E27FC236}">
                            <a16:creationId xmlns:a16="http://schemas.microsoft.com/office/drawing/2014/main" id="{FF808540-4383-93ED-4A25-32CF781489B7}"/>
                          </a:ext>
                        </a:extLst>
                      </p:cNvPr>
                      <p:cNvPicPr/>
                      <p:nvPr/>
                    </p:nvPicPr>
                    <p:blipFill>
                      <a:blip r:embed="rId97"/>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E4C9939A-617C-3E44-A0D0-909C79756BDF}"/>
              </a:ext>
            </a:extLst>
          </p:cNvPr>
          <p:cNvSpPr>
            <a:spLocks noGrp="1"/>
          </p:cNvSpPr>
          <p:nvPr>
            <p:ph type="title"/>
          </p:nvPr>
        </p:nvSpPr>
        <p:spPr>
          <a:xfrm>
            <a:off x="521719" y="368300"/>
            <a:ext cx="11154344" cy="722674"/>
          </a:xfrm>
          <a:prstGeom prst="rect">
            <a:avLst/>
          </a:prstGeom>
        </p:spPr>
        <p:txBody>
          <a:bodyPr vert="horz" lIns="0" tIns="0" rIns="0" bIns="0" rtlCol="0" anchor="t">
            <a:normAutofit/>
          </a:bodyPr>
          <a:lstStyle/>
          <a:p>
            <a:r>
              <a:rPr lang="en-GB"/>
              <a:t>Click to edit Master title style</a:t>
            </a:r>
          </a:p>
        </p:txBody>
      </p:sp>
      <p:sp>
        <p:nvSpPr>
          <p:cNvPr id="3" name="Text Placeholder 2">
            <a:extLst>
              <a:ext uri="{FF2B5EF4-FFF2-40B4-BE49-F238E27FC236}">
                <a16:creationId xmlns:a16="http://schemas.microsoft.com/office/drawing/2014/main" id="{9F9D0AC0-F01F-B544-AC35-7D2BCB4EB7F6}"/>
              </a:ext>
            </a:extLst>
          </p:cNvPr>
          <p:cNvSpPr>
            <a:spLocks noGrp="1"/>
          </p:cNvSpPr>
          <p:nvPr>
            <p:ph type="body" idx="1"/>
          </p:nvPr>
        </p:nvSpPr>
        <p:spPr>
          <a:xfrm>
            <a:off x="515938" y="1325974"/>
            <a:ext cx="11154344" cy="4456608"/>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Footer Placeholder 4">
            <a:extLst>
              <a:ext uri="{FF2B5EF4-FFF2-40B4-BE49-F238E27FC236}">
                <a16:creationId xmlns:a16="http://schemas.microsoft.com/office/drawing/2014/main" id="{66F729D7-DBF0-1846-87E5-720E70F9E8F0}"/>
              </a:ext>
            </a:extLst>
          </p:cNvPr>
          <p:cNvSpPr>
            <a:spLocks noGrp="1"/>
          </p:cNvSpPr>
          <p:nvPr>
            <p:ph type="ftr" sz="quarter" idx="3"/>
          </p:nvPr>
        </p:nvSpPr>
        <p:spPr>
          <a:xfrm>
            <a:off x="777567" y="6356350"/>
            <a:ext cx="4189003" cy="136526"/>
          </a:xfrm>
          <a:prstGeom prst="rect">
            <a:avLst/>
          </a:prstGeom>
        </p:spPr>
        <p:txBody>
          <a:bodyPr vert="horz" lIns="0" tIns="0" rIns="0" bIns="0" rtlCol="0" anchor="b"/>
          <a:lstStyle>
            <a:lvl1pPr algn="l">
              <a:defRPr sz="800">
                <a:solidFill>
                  <a:schemeClr val="tx1">
                    <a:tint val="75000"/>
                  </a:schemeClr>
                </a:solidFill>
                <a:latin typeface="Arial" panose="020B0604020202020204" pitchFamily="34" charset="0"/>
                <a:cs typeface="Arial" panose="020B0604020202020204" pitchFamily="34" charset="0"/>
              </a:defRPr>
            </a:lvl1pPr>
          </a:lstStyle>
          <a:p>
            <a:r>
              <a:rPr lang="en-US"/>
              <a:t>United Against Rabies Forum Meeting - 6-8 November 2023</a:t>
            </a:r>
            <a:endParaRPr lang="en-GB"/>
          </a:p>
        </p:txBody>
      </p:sp>
      <p:sp>
        <p:nvSpPr>
          <p:cNvPr id="6" name="Slide Number Placeholder 5">
            <a:extLst>
              <a:ext uri="{FF2B5EF4-FFF2-40B4-BE49-F238E27FC236}">
                <a16:creationId xmlns:a16="http://schemas.microsoft.com/office/drawing/2014/main" id="{8918EB43-CEEF-AF40-88AE-32CEA15C642C}"/>
              </a:ext>
            </a:extLst>
          </p:cNvPr>
          <p:cNvSpPr>
            <a:spLocks noGrp="1"/>
          </p:cNvSpPr>
          <p:nvPr>
            <p:ph type="sldNum" sz="quarter" idx="4"/>
          </p:nvPr>
        </p:nvSpPr>
        <p:spPr>
          <a:xfrm>
            <a:off x="515938" y="6356351"/>
            <a:ext cx="261629" cy="133349"/>
          </a:xfrm>
          <a:prstGeom prst="rect">
            <a:avLst/>
          </a:prstGeom>
        </p:spPr>
        <p:txBody>
          <a:bodyPr vert="horz" lIns="0" tIns="0" rIns="0" bIns="0" rtlCol="0" anchor="b"/>
          <a:lstStyle>
            <a:lvl1pPr algn="l">
              <a:defRPr sz="800">
                <a:solidFill>
                  <a:schemeClr val="tx1">
                    <a:tint val="75000"/>
                  </a:schemeClr>
                </a:solidFill>
                <a:latin typeface="Arial" panose="020B0604020202020204" pitchFamily="34" charset="0"/>
                <a:cs typeface="Arial" panose="020B0604020202020204" pitchFamily="34" charset="0"/>
              </a:defRPr>
            </a:lvl1pPr>
          </a:lstStyle>
          <a:p>
            <a:fld id="{AB746B08-255A-2748-8A21-40BE94A17FD1}" type="slidenum">
              <a:rPr lang="en-GB" smtClean="0"/>
              <a:pPr/>
              <a:t>‹#›</a:t>
            </a:fld>
            <a:endParaRPr lang="en-GB"/>
          </a:p>
        </p:txBody>
      </p:sp>
    </p:spTree>
    <p:extLst>
      <p:ext uri="{BB962C8B-B14F-4D97-AF65-F5344CB8AC3E}">
        <p14:creationId xmlns:p14="http://schemas.microsoft.com/office/powerpoint/2010/main" val="2372806472"/>
      </p:ext>
    </p:extLst>
  </p:cSld>
  <p:clrMap bg1="lt1" tx1="dk1" bg2="lt2" tx2="dk2" accent1="accent1" accent2="accent2" accent3="accent3" accent4="accent4" accent5="accent5" accent6="accent6" hlink="hlink" folHlink="folHlink"/>
  <p:sldLayoutIdLst>
    <p:sldLayoutId id="2147483900" r:id="rId1"/>
    <p:sldLayoutId id="2147483901" r:id="rId2"/>
    <p:sldLayoutId id="2147483902" r:id="rId3"/>
    <p:sldLayoutId id="2147483903" r:id="rId4"/>
    <p:sldLayoutId id="2147483904" r:id="rId5"/>
    <p:sldLayoutId id="2147483905" r:id="rId6"/>
    <p:sldLayoutId id="2147483906" r:id="rId7"/>
    <p:sldLayoutId id="2147483907" r:id="rId8"/>
    <p:sldLayoutId id="2147483908" r:id="rId9"/>
    <p:sldLayoutId id="2147483909" r:id="rId10"/>
    <p:sldLayoutId id="2147483910" r:id="rId11"/>
    <p:sldLayoutId id="2147483911" r:id="rId12"/>
    <p:sldLayoutId id="2147483912" r:id="rId13"/>
    <p:sldLayoutId id="2147483913" r:id="rId14"/>
    <p:sldLayoutId id="2147483914" r:id="rId15"/>
    <p:sldLayoutId id="2147483915" r:id="rId16"/>
    <p:sldLayoutId id="2147483916" r:id="rId17"/>
    <p:sldLayoutId id="2147483917" r:id="rId18"/>
    <p:sldLayoutId id="2147483918" r:id="rId19"/>
    <p:sldLayoutId id="2147483919" r:id="rId20"/>
    <p:sldLayoutId id="2147483920" r:id="rId21"/>
    <p:sldLayoutId id="2147483921" r:id="rId22"/>
    <p:sldLayoutId id="2147483922" r:id="rId23"/>
    <p:sldLayoutId id="2147483923" r:id="rId24"/>
    <p:sldLayoutId id="2147483924" r:id="rId25"/>
    <p:sldLayoutId id="2147483925" r:id="rId26"/>
    <p:sldLayoutId id="2147483926" r:id="rId27"/>
    <p:sldLayoutId id="2147483927" r:id="rId28"/>
    <p:sldLayoutId id="2147483928" r:id="rId29"/>
    <p:sldLayoutId id="2147483929" r:id="rId30"/>
    <p:sldLayoutId id="2147483930" r:id="rId31"/>
    <p:sldLayoutId id="2147483931" r:id="rId32"/>
    <p:sldLayoutId id="2147483932" r:id="rId33"/>
    <p:sldLayoutId id="2147483933" r:id="rId34"/>
    <p:sldLayoutId id="2147483934" r:id="rId35"/>
    <p:sldLayoutId id="2147483935" r:id="rId36"/>
    <p:sldLayoutId id="2147483936" r:id="rId37"/>
    <p:sldLayoutId id="2147483937" r:id="rId38"/>
    <p:sldLayoutId id="2147483938" r:id="rId39"/>
    <p:sldLayoutId id="2147483939" r:id="rId40"/>
    <p:sldLayoutId id="2147483940" r:id="rId41"/>
    <p:sldLayoutId id="2147483941" r:id="rId42"/>
    <p:sldLayoutId id="2147483942" r:id="rId43"/>
    <p:sldLayoutId id="2147483943" r:id="rId44"/>
    <p:sldLayoutId id="2147483944" r:id="rId45"/>
    <p:sldLayoutId id="2147483945" r:id="rId46"/>
    <p:sldLayoutId id="2147483946" r:id="rId47"/>
    <p:sldLayoutId id="2147483947" r:id="rId48"/>
    <p:sldLayoutId id="2147483948" r:id="rId49"/>
    <p:sldLayoutId id="2147483949" r:id="rId50"/>
    <p:sldLayoutId id="2147483950" r:id="rId51"/>
    <p:sldLayoutId id="2147483951" r:id="rId52"/>
    <p:sldLayoutId id="2147483952" r:id="rId53"/>
    <p:sldLayoutId id="2147483953" r:id="rId54"/>
    <p:sldLayoutId id="2147483954" r:id="rId55"/>
    <p:sldLayoutId id="2147483955" r:id="rId56"/>
    <p:sldLayoutId id="2147483956" r:id="rId57"/>
    <p:sldLayoutId id="2147483957" r:id="rId58"/>
    <p:sldLayoutId id="2147483958" r:id="rId59"/>
    <p:sldLayoutId id="2147483959" r:id="rId60"/>
    <p:sldLayoutId id="2147483960" r:id="rId61"/>
    <p:sldLayoutId id="2147483961" r:id="rId62"/>
    <p:sldLayoutId id="2147483962" r:id="rId63"/>
    <p:sldLayoutId id="2147483963" r:id="rId64"/>
    <p:sldLayoutId id="2147483964" r:id="rId65"/>
    <p:sldLayoutId id="2147483965" r:id="rId66"/>
    <p:sldLayoutId id="2147483966" r:id="rId67"/>
    <p:sldLayoutId id="2147483967" r:id="rId68"/>
    <p:sldLayoutId id="2147483968" r:id="rId69"/>
    <p:sldLayoutId id="2147483969" r:id="rId70"/>
    <p:sldLayoutId id="2147483970" r:id="rId71"/>
    <p:sldLayoutId id="2147483971" r:id="rId72"/>
    <p:sldLayoutId id="2147483972" r:id="rId73"/>
    <p:sldLayoutId id="2147483973" r:id="rId74"/>
    <p:sldLayoutId id="2147483974" r:id="rId75"/>
    <p:sldLayoutId id="2147483975" r:id="rId76"/>
    <p:sldLayoutId id="2147483976" r:id="rId77"/>
    <p:sldLayoutId id="2147483977" r:id="rId78"/>
    <p:sldLayoutId id="2147483978" r:id="rId79"/>
    <p:sldLayoutId id="2147483979" r:id="rId80"/>
    <p:sldLayoutId id="2147483980" r:id="rId81"/>
    <p:sldLayoutId id="2147483981" r:id="rId82"/>
    <p:sldLayoutId id="2147483982" r:id="rId83"/>
    <p:sldLayoutId id="2147483983" r:id="rId84"/>
    <p:sldLayoutId id="2147483984" r:id="rId85"/>
    <p:sldLayoutId id="2147483985" r:id="rId86"/>
    <p:sldLayoutId id="2147483986" r:id="rId87"/>
    <p:sldLayoutId id="2147483987" r:id="rId88"/>
    <p:sldLayoutId id="2147483988" r:id="rId89"/>
    <p:sldLayoutId id="2147483989" r:id="rId90"/>
    <p:sldLayoutId id="2147483990" r:id="rId91"/>
    <p:sldLayoutId id="2147483991" r:id="rId92"/>
    <p:sldLayoutId id="2147483992" r:id="rId93"/>
  </p:sldLayoutIdLst>
  <p:hf hdr="0" dt="0"/>
  <p:txStyles>
    <p:titleStyle>
      <a:lvl1pPr algn="l" defTabSz="914400" rtl="0" eaLnBrk="1" latinLnBrk="0" hangingPunct="1">
        <a:lnSpc>
          <a:spcPct val="90000"/>
        </a:lnSpc>
        <a:spcBef>
          <a:spcPct val="0"/>
        </a:spcBef>
        <a:buNone/>
        <a:defRPr sz="3600" b="1" kern="1200">
          <a:solidFill>
            <a:schemeClr val="tx2"/>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25">
          <p15:clr>
            <a:srgbClr val="F26B43"/>
          </p15:clr>
        </p15:guide>
        <p15:guide id="3" pos="7355">
          <p15:clr>
            <a:srgbClr val="F26B43"/>
          </p15:clr>
        </p15:guide>
        <p15:guide id="4" orient="horz" pos="232">
          <p15:clr>
            <a:srgbClr val="F26B43"/>
          </p15:clr>
        </p15:guide>
        <p15:guide id="5" orient="horz" pos="4088">
          <p15:clr>
            <a:srgbClr val="F26B43"/>
          </p15:clr>
        </p15:guide>
        <p15:guide id="7" orient="horz" pos="822">
          <p15:clr>
            <a:srgbClr val="F26B43"/>
          </p15:clr>
        </p15:guide>
        <p15:guide id="9" orient="horz" pos="3725">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A8B16C0-0604-291B-2021-F3D6DB6CEC4B}"/>
              </a:ext>
            </a:extLst>
          </p:cNvPr>
          <p:cNvGraphicFramePr>
            <a:graphicFrameLocks noChangeAspect="1"/>
          </p:cNvGraphicFramePr>
          <p:nvPr userDrawn="1">
            <p:custDataLst>
              <p:tags r:id="rId48"/>
            </p:custDataLst>
            <p:extLst>
              <p:ext uri="{D42A27DB-BD31-4B8C-83A1-F6EECF244321}">
                <p14:modId xmlns:p14="http://schemas.microsoft.com/office/powerpoint/2010/main" val="40874350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9" imgW="415" imgH="416" progId="TCLayout.ActiveDocument.1">
                  <p:embed/>
                </p:oleObj>
              </mc:Choice>
              <mc:Fallback>
                <p:oleObj name="think-cell Slide" r:id="rId49" imgW="415" imgH="416" progId="TCLayout.ActiveDocument.1">
                  <p:embed/>
                  <p:pic>
                    <p:nvPicPr>
                      <p:cNvPr id="7" name="Object 6" hidden="1">
                        <a:extLst>
                          <a:ext uri="{FF2B5EF4-FFF2-40B4-BE49-F238E27FC236}">
                            <a16:creationId xmlns:a16="http://schemas.microsoft.com/office/drawing/2014/main" id="{8A8B16C0-0604-291B-2021-F3D6DB6CEC4B}"/>
                          </a:ext>
                        </a:extLst>
                      </p:cNvPr>
                      <p:cNvPicPr/>
                      <p:nvPr/>
                    </p:nvPicPr>
                    <p:blipFill>
                      <a:blip r:embed="rId50"/>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E4C9939A-617C-3E44-A0D0-909C79756BDF}"/>
              </a:ext>
            </a:extLst>
          </p:cNvPr>
          <p:cNvSpPr>
            <a:spLocks noGrp="1"/>
          </p:cNvSpPr>
          <p:nvPr>
            <p:ph type="title"/>
          </p:nvPr>
        </p:nvSpPr>
        <p:spPr>
          <a:xfrm>
            <a:off x="521719" y="368300"/>
            <a:ext cx="11154344" cy="722674"/>
          </a:xfrm>
          <a:prstGeom prst="rect">
            <a:avLst/>
          </a:prstGeom>
        </p:spPr>
        <p:txBody>
          <a:bodyPr vert="horz" lIns="0" tIns="0" rIns="0" bIns="0" rtlCol="0" anchor="t">
            <a:normAutofit/>
          </a:bodyPr>
          <a:lstStyle/>
          <a:p>
            <a:r>
              <a:rPr lang="en-GB"/>
              <a:t>Click to edit Master title style</a:t>
            </a:r>
          </a:p>
        </p:txBody>
      </p:sp>
      <p:sp>
        <p:nvSpPr>
          <p:cNvPr id="3" name="Text Placeholder 2">
            <a:extLst>
              <a:ext uri="{FF2B5EF4-FFF2-40B4-BE49-F238E27FC236}">
                <a16:creationId xmlns:a16="http://schemas.microsoft.com/office/drawing/2014/main" id="{9F9D0AC0-F01F-B544-AC35-7D2BCB4EB7F6}"/>
              </a:ext>
            </a:extLst>
          </p:cNvPr>
          <p:cNvSpPr>
            <a:spLocks noGrp="1"/>
          </p:cNvSpPr>
          <p:nvPr>
            <p:ph type="body" idx="1"/>
          </p:nvPr>
        </p:nvSpPr>
        <p:spPr>
          <a:xfrm>
            <a:off x="515938" y="1325974"/>
            <a:ext cx="11154344" cy="4456608"/>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Footer Placeholder 4">
            <a:extLst>
              <a:ext uri="{FF2B5EF4-FFF2-40B4-BE49-F238E27FC236}">
                <a16:creationId xmlns:a16="http://schemas.microsoft.com/office/drawing/2014/main" id="{66F729D7-DBF0-1846-87E5-720E70F9E8F0}"/>
              </a:ext>
            </a:extLst>
          </p:cNvPr>
          <p:cNvSpPr>
            <a:spLocks noGrp="1"/>
          </p:cNvSpPr>
          <p:nvPr>
            <p:ph type="ftr" sz="quarter" idx="3"/>
          </p:nvPr>
        </p:nvSpPr>
        <p:spPr>
          <a:xfrm>
            <a:off x="777567" y="6356350"/>
            <a:ext cx="4189003" cy="136526"/>
          </a:xfrm>
          <a:prstGeom prst="rect">
            <a:avLst/>
          </a:prstGeom>
        </p:spPr>
        <p:txBody>
          <a:bodyPr vert="horz" lIns="0" tIns="0" rIns="0" bIns="0" rtlCol="0" anchor="b"/>
          <a:lstStyle>
            <a:lvl1pPr algn="l">
              <a:defRPr sz="800">
                <a:solidFill>
                  <a:schemeClr val="tx1">
                    <a:tint val="75000"/>
                  </a:schemeClr>
                </a:solidFill>
                <a:latin typeface="Arial" panose="020B0604020202020204" pitchFamily="34" charset="0"/>
                <a:cs typeface="Arial" panose="020B0604020202020204" pitchFamily="34" charset="0"/>
              </a:defRPr>
            </a:lvl1pPr>
          </a:lstStyle>
          <a:p>
            <a:r>
              <a:rPr lang="en-GB"/>
              <a:t>Gavi Presentation Template</a:t>
            </a:r>
          </a:p>
        </p:txBody>
      </p:sp>
      <p:sp>
        <p:nvSpPr>
          <p:cNvPr id="6" name="Slide Number Placeholder 5">
            <a:extLst>
              <a:ext uri="{FF2B5EF4-FFF2-40B4-BE49-F238E27FC236}">
                <a16:creationId xmlns:a16="http://schemas.microsoft.com/office/drawing/2014/main" id="{8918EB43-CEEF-AF40-88AE-32CEA15C642C}"/>
              </a:ext>
            </a:extLst>
          </p:cNvPr>
          <p:cNvSpPr>
            <a:spLocks noGrp="1"/>
          </p:cNvSpPr>
          <p:nvPr>
            <p:ph type="sldNum" sz="quarter" idx="4"/>
          </p:nvPr>
        </p:nvSpPr>
        <p:spPr>
          <a:xfrm>
            <a:off x="515938" y="6356351"/>
            <a:ext cx="261629" cy="133349"/>
          </a:xfrm>
          <a:prstGeom prst="rect">
            <a:avLst/>
          </a:prstGeom>
        </p:spPr>
        <p:txBody>
          <a:bodyPr vert="horz" lIns="0" tIns="0" rIns="0" bIns="0" rtlCol="0" anchor="b"/>
          <a:lstStyle>
            <a:lvl1pPr algn="l">
              <a:defRPr sz="800">
                <a:solidFill>
                  <a:schemeClr val="tx1">
                    <a:tint val="75000"/>
                  </a:schemeClr>
                </a:solidFill>
                <a:latin typeface="Arial" panose="020B0604020202020204" pitchFamily="34" charset="0"/>
                <a:cs typeface="Arial" panose="020B0604020202020204" pitchFamily="34" charset="0"/>
              </a:defRPr>
            </a:lvl1pPr>
          </a:lstStyle>
          <a:p>
            <a:fld id="{AB746B08-255A-2748-8A21-40BE94A17FD1}" type="slidenum">
              <a:rPr lang="en-GB" smtClean="0"/>
              <a:pPr/>
              <a:t>‹#›</a:t>
            </a:fld>
            <a:endParaRPr lang="en-GB"/>
          </a:p>
        </p:txBody>
      </p:sp>
    </p:spTree>
    <p:extLst>
      <p:ext uri="{BB962C8B-B14F-4D97-AF65-F5344CB8AC3E}">
        <p14:creationId xmlns:p14="http://schemas.microsoft.com/office/powerpoint/2010/main" val="2541474265"/>
      </p:ext>
    </p:extLst>
  </p:cSld>
  <p:clrMap bg1="lt1" tx1="dk1" bg2="lt2" tx2="dk2" accent1="accent1" accent2="accent2" accent3="accent3" accent4="accent4" accent5="accent5" accent6="accent6" hlink="hlink" folHlink="folHlink"/>
  <p:sldLayoutIdLst>
    <p:sldLayoutId id="2147483994" r:id="rId1"/>
    <p:sldLayoutId id="2147483995" r:id="rId2"/>
    <p:sldLayoutId id="2147483996" r:id="rId3"/>
    <p:sldLayoutId id="2147483997" r:id="rId4"/>
    <p:sldLayoutId id="2147483998" r:id="rId5"/>
    <p:sldLayoutId id="2147483999" r:id="rId6"/>
    <p:sldLayoutId id="2147484000" r:id="rId7"/>
    <p:sldLayoutId id="2147484001" r:id="rId8"/>
    <p:sldLayoutId id="2147484002" r:id="rId9"/>
    <p:sldLayoutId id="2147484003" r:id="rId10"/>
    <p:sldLayoutId id="2147484004" r:id="rId11"/>
    <p:sldLayoutId id="2147484005" r:id="rId12"/>
    <p:sldLayoutId id="2147484006" r:id="rId13"/>
    <p:sldLayoutId id="2147484007" r:id="rId14"/>
    <p:sldLayoutId id="2147484008" r:id="rId15"/>
    <p:sldLayoutId id="2147484009" r:id="rId16"/>
    <p:sldLayoutId id="2147484010" r:id="rId17"/>
    <p:sldLayoutId id="2147484011" r:id="rId18"/>
    <p:sldLayoutId id="2147484012" r:id="rId19"/>
    <p:sldLayoutId id="2147484013" r:id="rId20"/>
    <p:sldLayoutId id="2147484014" r:id="rId21"/>
    <p:sldLayoutId id="2147484015" r:id="rId22"/>
    <p:sldLayoutId id="2147484016" r:id="rId23"/>
    <p:sldLayoutId id="2147484017" r:id="rId24"/>
    <p:sldLayoutId id="2147484018" r:id="rId25"/>
    <p:sldLayoutId id="2147484019" r:id="rId26"/>
    <p:sldLayoutId id="2147484020" r:id="rId27"/>
    <p:sldLayoutId id="2147484021" r:id="rId28"/>
    <p:sldLayoutId id="2147484022" r:id="rId29"/>
    <p:sldLayoutId id="2147484023" r:id="rId30"/>
    <p:sldLayoutId id="2147484024" r:id="rId31"/>
    <p:sldLayoutId id="2147484025" r:id="rId32"/>
    <p:sldLayoutId id="2147484026" r:id="rId33"/>
    <p:sldLayoutId id="2147484027" r:id="rId34"/>
    <p:sldLayoutId id="2147484028" r:id="rId35"/>
    <p:sldLayoutId id="2147484029" r:id="rId36"/>
    <p:sldLayoutId id="2147484030" r:id="rId37"/>
    <p:sldLayoutId id="2147484031" r:id="rId38"/>
    <p:sldLayoutId id="2147484032" r:id="rId39"/>
    <p:sldLayoutId id="2147484033" r:id="rId40"/>
    <p:sldLayoutId id="2147484034" r:id="rId41"/>
    <p:sldLayoutId id="2147484035" r:id="rId42"/>
    <p:sldLayoutId id="2147484036" r:id="rId43"/>
    <p:sldLayoutId id="2147484037" r:id="rId44"/>
    <p:sldLayoutId id="2147484038" r:id="rId45"/>
    <p:sldLayoutId id="2147484039" r:id="rId46"/>
  </p:sldLayoutIdLst>
  <p:hf hdr="0" dt="0"/>
  <p:txStyles>
    <p:titleStyle>
      <a:lvl1pPr algn="l" defTabSz="914400" rtl="0" eaLnBrk="1" latinLnBrk="0" hangingPunct="1">
        <a:lnSpc>
          <a:spcPct val="90000"/>
        </a:lnSpc>
        <a:spcBef>
          <a:spcPct val="0"/>
        </a:spcBef>
        <a:buNone/>
        <a:defRPr sz="3600" b="1" kern="1200">
          <a:solidFill>
            <a:schemeClr val="tx2"/>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25">
          <p15:clr>
            <a:srgbClr val="F26B43"/>
          </p15:clr>
        </p15:guide>
        <p15:guide id="3" pos="7355">
          <p15:clr>
            <a:srgbClr val="F26B43"/>
          </p15:clr>
        </p15:guide>
        <p15:guide id="4" orient="horz" pos="232">
          <p15:clr>
            <a:srgbClr val="F26B43"/>
          </p15:clr>
        </p15:guide>
        <p15:guide id="5" orient="horz" pos="4088">
          <p15:clr>
            <a:srgbClr val="F26B43"/>
          </p15:clr>
        </p15:guide>
        <p15:guide id="7" orient="horz" pos="822">
          <p15:clr>
            <a:srgbClr val="F26B43"/>
          </p15:clr>
        </p15:guide>
        <p15:guide id="9" orient="horz" pos="3725">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371600" y="685800"/>
            <a:ext cx="9601200" cy="1485900"/>
          </a:xfrm>
          <a:prstGeom prst="rect">
            <a:avLst/>
          </a:prstGeom>
        </p:spPr>
        <p:txBody>
          <a:bodyPr vert="horz" lIns="91440" tIns="45720" rIns="91440" bIns="45720" rtlCol="0" anchor="t">
            <a:normAutofit/>
          </a:bodyPr>
          <a:lstStyle/>
          <a:p>
            <a:r>
              <a:rPr lang="en-US"/>
              <a:t>Click to edit Master title style</a:t>
            </a:r>
            <a:endParaRPr lang="en-US" dirty="0"/>
          </a:p>
        </p:txBody>
      </p:sp>
      <p:sp>
        <p:nvSpPr>
          <p:cNvPr id="3" name="Text Placeholder 2"/>
          <p:cNvSpPr>
            <a:spLocks noGrp="1"/>
          </p:cNvSpPr>
          <p:nvPr>
            <p:ph type="body" idx="1"/>
          </p:nvPr>
        </p:nvSpPr>
        <p:spPr>
          <a:xfrm>
            <a:off x="1371600" y="2286000"/>
            <a:ext cx="9601200" cy="35814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390650" y="6453386"/>
            <a:ext cx="1204572" cy="404614"/>
          </a:xfrm>
          <a:prstGeom prst="rect">
            <a:avLst/>
          </a:prstGeom>
        </p:spPr>
        <p:txBody>
          <a:bodyPr vert="horz" lIns="91440" tIns="45720" rIns="91440" bIns="45720" rtlCol="0" anchor="ctr"/>
          <a:lstStyle>
            <a:lvl1pPr algn="l">
              <a:defRPr sz="1200" baseline="0">
                <a:solidFill>
                  <a:schemeClr val="tx2"/>
                </a:solidFill>
              </a:defRPr>
            </a:lvl1pPr>
          </a:lstStyle>
          <a:p>
            <a:fld id="{7A7C2B39-40D3-4F48-860E-C9B6D08886CB}" type="datetimeFigureOut">
              <a:rPr lang="en-PK" smtClean="0"/>
              <a:t>12/09/2024</a:t>
            </a:fld>
            <a:endParaRPr lang="en-PK"/>
          </a:p>
        </p:txBody>
      </p:sp>
      <p:sp>
        <p:nvSpPr>
          <p:cNvPr id="5" name="Footer Placeholder 4"/>
          <p:cNvSpPr>
            <a:spLocks noGrp="1"/>
          </p:cNvSpPr>
          <p:nvPr>
            <p:ph type="ftr" sz="quarter" idx="3"/>
          </p:nvPr>
        </p:nvSpPr>
        <p:spPr>
          <a:xfrm>
            <a:off x="2893564" y="6453386"/>
            <a:ext cx="6280830" cy="404614"/>
          </a:xfrm>
          <a:prstGeom prst="rect">
            <a:avLst/>
          </a:prstGeom>
        </p:spPr>
        <p:txBody>
          <a:bodyPr vert="horz" lIns="91440" tIns="45720" rIns="91440" bIns="45720" rtlCol="0" anchor="ctr"/>
          <a:lstStyle>
            <a:lvl1pPr algn="l">
              <a:defRPr sz="1200" baseline="0">
                <a:solidFill>
                  <a:schemeClr val="tx2"/>
                </a:solidFill>
              </a:defRPr>
            </a:lvl1pPr>
          </a:lstStyle>
          <a:p>
            <a:endParaRPr lang="en-PK"/>
          </a:p>
        </p:txBody>
      </p:sp>
      <p:sp>
        <p:nvSpPr>
          <p:cNvPr id="6" name="Slide Number Placeholder 5"/>
          <p:cNvSpPr>
            <a:spLocks noGrp="1"/>
          </p:cNvSpPr>
          <p:nvPr>
            <p:ph type="sldNum" sz="quarter" idx="4"/>
          </p:nvPr>
        </p:nvSpPr>
        <p:spPr>
          <a:xfrm>
            <a:off x="9472736" y="6453386"/>
            <a:ext cx="1596292" cy="404614"/>
          </a:xfrm>
          <a:prstGeom prst="rect">
            <a:avLst/>
          </a:prstGeom>
        </p:spPr>
        <p:txBody>
          <a:bodyPr vert="horz" lIns="91440" tIns="45720" rIns="91440" bIns="45720" rtlCol="0" anchor="ctr"/>
          <a:lstStyle>
            <a:lvl1pPr algn="r">
              <a:defRPr sz="1200" baseline="0">
                <a:solidFill>
                  <a:schemeClr val="tx2"/>
                </a:solidFill>
              </a:defRPr>
            </a:lvl1pPr>
          </a:lstStyle>
          <a:p>
            <a:fld id="{BE973FF8-CBCF-A245-A7F0-FB5C1559B95A}" type="slidenum">
              <a:rPr lang="en-PK" smtClean="0"/>
              <a:t>‹#›</a:t>
            </a:fld>
            <a:endParaRPr lang="en-PK"/>
          </a:p>
        </p:txBody>
      </p:sp>
      <p:sp>
        <p:nvSpPr>
          <p:cNvPr id="9" name="Rectangle 8" title="Side bar"/>
          <p:cNvSpPr/>
          <p:nvPr/>
        </p:nvSpPr>
        <p:spPr>
          <a:xfrm>
            <a:off x="478095" y="376"/>
            <a:ext cx="2286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sp>
    </p:spTree>
    <p:extLst>
      <p:ext uri="{BB962C8B-B14F-4D97-AF65-F5344CB8AC3E}">
        <p14:creationId xmlns:p14="http://schemas.microsoft.com/office/powerpoint/2010/main" val="2579913126"/>
      </p:ext>
    </p:extLst>
  </p:cSld>
  <p:clrMap bg1="lt1" tx1="dk1" bg2="lt2" tx2="dk2" accent1="accent1" accent2="accent2" accent3="accent3" accent4="accent4" accent5="accent5" accent6="accent6" hlink="hlink" folHlink="folHlink"/>
  <p:sldLayoutIdLst>
    <p:sldLayoutId id="2147484041" r:id="rId1"/>
    <p:sldLayoutId id="2147484042" r:id="rId2"/>
    <p:sldLayoutId id="2147484043" r:id="rId3"/>
    <p:sldLayoutId id="2147484044" r:id="rId4"/>
    <p:sldLayoutId id="2147484045" r:id="rId5"/>
    <p:sldLayoutId id="2147484046" r:id="rId6"/>
    <p:sldLayoutId id="2147484047" r:id="rId7"/>
    <p:sldLayoutId id="2147484048" r:id="rId8"/>
    <p:sldLayoutId id="2147484049" r:id="rId9"/>
    <p:sldLayoutId id="2147484050" r:id="rId10"/>
    <p:sldLayoutId id="2147484051" r:id="rId11"/>
    <p:sldLayoutId id="2147484052" r:id="rId12"/>
  </p:sldLayoutIdLst>
  <p:txStyles>
    <p:titleStyle>
      <a:lvl1pPr algn="l" defTabSz="914400" rtl="0" eaLnBrk="1" latinLnBrk="0" hangingPunct="1">
        <a:lnSpc>
          <a:spcPct val="89000"/>
        </a:lnSpc>
        <a:spcBef>
          <a:spcPct val="0"/>
        </a:spcBef>
        <a:buNone/>
        <a:defRPr sz="4400" kern="1200" baseline="0">
          <a:solidFill>
            <a:schemeClr val="tx2"/>
          </a:solidFill>
          <a:latin typeface="+mj-lt"/>
          <a:ea typeface="+mj-ea"/>
          <a:cs typeface="+mj-cs"/>
        </a:defRPr>
      </a:lvl1pPr>
    </p:titleStyle>
    <p:bodyStyle>
      <a:lvl1pPr marL="384048" indent="-384048" algn="l" defTabSz="914400" rtl="0" eaLnBrk="1" latinLnBrk="0" hangingPunct="1">
        <a:lnSpc>
          <a:spcPct val="94000"/>
        </a:lnSpc>
        <a:spcBef>
          <a:spcPts val="1000"/>
        </a:spcBef>
        <a:spcAft>
          <a:spcPts val="200"/>
        </a:spcAft>
        <a:buFont typeface="Franklin Gothic Book" panose="020B0503020102020204" pitchFamily="34" charset="0"/>
        <a:buChar char="■"/>
        <a:defRPr sz="2000" kern="1200" baseline="0">
          <a:solidFill>
            <a:schemeClr val="tx2"/>
          </a:solidFill>
          <a:latin typeface="+mn-lt"/>
          <a:ea typeface="+mn-ea"/>
          <a:cs typeface="+mn-cs"/>
        </a:defRPr>
      </a:lvl1pPr>
      <a:lvl2pPr marL="9144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2000" i="1" kern="1200" baseline="0">
          <a:solidFill>
            <a:schemeClr val="tx2"/>
          </a:solidFill>
          <a:latin typeface="+mn-lt"/>
          <a:ea typeface="+mn-ea"/>
          <a:cs typeface="+mn-cs"/>
        </a:defRPr>
      </a:lvl2pPr>
      <a:lvl3pPr marL="13716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800" kern="1200" baseline="0">
          <a:solidFill>
            <a:schemeClr val="tx2"/>
          </a:solidFill>
          <a:latin typeface="+mn-lt"/>
          <a:ea typeface="+mn-ea"/>
          <a:cs typeface="+mn-cs"/>
        </a:defRPr>
      </a:lvl3pPr>
      <a:lvl4pPr marL="18288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800" i="1" kern="1200" baseline="0">
          <a:solidFill>
            <a:schemeClr val="tx2"/>
          </a:solidFill>
          <a:latin typeface="+mn-lt"/>
          <a:ea typeface="+mn-ea"/>
          <a:cs typeface="+mn-cs"/>
        </a:defRPr>
      </a:lvl4pPr>
      <a:lvl5pPr marL="22860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600" kern="1200" baseline="0">
          <a:solidFill>
            <a:schemeClr val="tx2"/>
          </a:solidFill>
          <a:latin typeface="+mn-lt"/>
          <a:ea typeface="+mn-ea"/>
          <a:cs typeface="+mn-cs"/>
        </a:defRPr>
      </a:lvl5pPr>
      <a:lvl6pPr marL="27432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600" i="1" kern="1200" baseline="0">
          <a:solidFill>
            <a:schemeClr val="tx2"/>
          </a:solidFill>
          <a:latin typeface="+mn-lt"/>
          <a:ea typeface="+mn-ea"/>
          <a:cs typeface="+mn-cs"/>
        </a:defRPr>
      </a:lvl6pPr>
      <a:lvl7pPr marL="32004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kern="1200" baseline="0">
          <a:solidFill>
            <a:schemeClr val="tx2"/>
          </a:solidFill>
          <a:latin typeface="+mn-lt"/>
          <a:ea typeface="+mn-ea"/>
          <a:cs typeface="+mn-cs"/>
        </a:defRPr>
      </a:lvl7pPr>
      <a:lvl8pPr marL="36576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i="1" kern="1200" baseline="0">
          <a:solidFill>
            <a:schemeClr val="tx2"/>
          </a:solidFill>
          <a:latin typeface="+mn-lt"/>
          <a:ea typeface="+mn-ea"/>
          <a:cs typeface="+mn-cs"/>
        </a:defRPr>
      </a:lvl8pPr>
      <a:lvl9pPr marL="4114800" indent="-384048" algn="l" defTabSz="914400" rtl="0" eaLnBrk="1" latinLnBrk="0" hangingPunct="1">
        <a:lnSpc>
          <a:spcPct val="94000"/>
        </a:lnSpc>
        <a:spcBef>
          <a:spcPts val="500"/>
        </a:spcBef>
        <a:spcAft>
          <a:spcPts val="200"/>
        </a:spcAft>
        <a:buFont typeface="Franklin Gothic Book" panose="020B0503020102020204" pitchFamily="34" charset="0"/>
        <a:buChar char="■"/>
        <a:defRPr sz="1400" kern="1200" baseline="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1368">
          <p15:clr>
            <a:srgbClr val="F26B43"/>
          </p15:clr>
        </p15:guide>
        <p15:guide id="4" orient="horz" pos="1440">
          <p15:clr>
            <a:srgbClr val="F26B43"/>
          </p15:clr>
        </p15:guide>
        <p15:guide id="6" orient="horz" pos="3696">
          <p15:clr>
            <a:srgbClr val="F26B43"/>
          </p15:clr>
        </p15:guide>
        <p15:guide id="7" orient="horz" pos="432">
          <p15:clr>
            <a:srgbClr val="F26B43"/>
          </p15:clr>
        </p15:guide>
        <p15:guide id="8" orient="horz" pos="1512">
          <p15:clr>
            <a:srgbClr val="F26B43"/>
          </p15:clr>
        </p15:guide>
        <p15:guide id="9" pos="6912">
          <p15:clr>
            <a:srgbClr val="F26B43"/>
          </p15:clr>
        </p15:guide>
        <p15:guide id="10" pos="936">
          <p15:clr>
            <a:srgbClr val="F26B43"/>
          </p15:clr>
        </p15:guide>
        <p15:guide id="11" pos="864">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AC08D44-CCA4-9D6C-079F-13D187F0DDF4}"/>
              </a:ext>
            </a:extLst>
          </p:cNvPr>
          <p:cNvGraphicFramePr>
            <a:graphicFrameLocks noChangeAspect="1"/>
          </p:cNvGraphicFramePr>
          <p:nvPr userDrawn="1">
            <p:custDataLst>
              <p:tags r:id="rId22"/>
            </p:custDataLst>
            <p:extLst>
              <p:ext uri="{D42A27DB-BD31-4B8C-83A1-F6EECF244321}">
                <p14:modId xmlns:p14="http://schemas.microsoft.com/office/powerpoint/2010/main" val="40626134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3" imgW="415" imgH="416" progId="TCLayout.ActiveDocument.1">
                  <p:embed/>
                </p:oleObj>
              </mc:Choice>
              <mc:Fallback>
                <p:oleObj name="think-cell Slide" r:id="rId23" imgW="415" imgH="416" progId="TCLayout.ActiveDocument.1">
                  <p:embed/>
                  <p:pic>
                    <p:nvPicPr>
                      <p:cNvPr id="7" name="Object 6" hidden="1">
                        <a:extLst>
                          <a:ext uri="{FF2B5EF4-FFF2-40B4-BE49-F238E27FC236}">
                            <a16:creationId xmlns:a16="http://schemas.microsoft.com/office/drawing/2014/main" id="{5AC08D44-CCA4-9D6C-079F-13D187F0DDF4}"/>
                          </a:ext>
                        </a:extLst>
                      </p:cNvPr>
                      <p:cNvPicPr/>
                      <p:nvPr/>
                    </p:nvPicPr>
                    <p:blipFill>
                      <a:blip r:embed="rId24"/>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E4C9939A-617C-3E44-A0D0-909C79756BDF}"/>
              </a:ext>
            </a:extLst>
          </p:cNvPr>
          <p:cNvSpPr>
            <a:spLocks noGrp="1"/>
          </p:cNvSpPr>
          <p:nvPr>
            <p:ph type="title"/>
          </p:nvPr>
        </p:nvSpPr>
        <p:spPr>
          <a:xfrm>
            <a:off x="521719" y="368300"/>
            <a:ext cx="11154344" cy="722674"/>
          </a:xfrm>
          <a:prstGeom prst="rect">
            <a:avLst/>
          </a:prstGeom>
        </p:spPr>
        <p:txBody>
          <a:bodyPr vert="horz" lIns="0" tIns="0" rIns="0" bIns="0" rtlCol="0" anchor="t">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9F9D0AC0-F01F-B544-AC35-7D2BCB4EB7F6}"/>
              </a:ext>
            </a:extLst>
          </p:cNvPr>
          <p:cNvSpPr>
            <a:spLocks noGrp="1"/>
          </p:cNvSpPr>
          <p:nvPr>
            <p:ph type="body" idx="1"/>
          </p:nvPr>
        </p:nvSpPr>
        <p:spPr>
          <a:xfrm>
            <a:off x="515938" y="1325974"/>
            <a:ext cx="11154344" cy="4456608"/>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a:extLst>
              <a:ext uri="{FF2B5EF4-FFF2-40B4-BE49-F238E27FC236}">
                <a16:creationId xmlns:a16="http://schemas.microsoft.com/office/drawing/2014/main" id="{66F729D7-DBF0-1846-87E5-720E70F9E8F0}"/>
              </a:ext>
            </a:extLst>
          </p:cNvPr>
          <p:cNvSpPr>
            <a:spLocks noGrp="1"/>
          </p:cNvSpPr>
          <p:nvPr>
            <p:ph type="ftr" sz="quarter" idx="3"/>
          </p:nvPr>
        </p:nvSpPr>
        <p:spPr>
          <a:xfrm>
            <a:off x="777567" y="6356350"/>
            <a:ext cx="4189003" cy="136526"/>
          </a:xfrm>
          <a:prstGeom prst="rect">
            <a:avLst/>
          </a:prstGeom>
        </p:spPr>
        <p:txBody>
          <a:bodyPr vert="horz" lIns="0" tIns="0" rIns="0" bIns="0" rtlCol="0" anchor="b"/>
          <a:lstStyle>
            <a:lvl1pPr algn="l">
              <a:defRPr sz="800">
                <a:solidFill>
                  <a:schemeClr val="tx1">
                    <a:tint val="75000"/>
                  </a:schemeClr>
                </a:solidFill>
                <a:latin typeface="Arial" panose="020B0604020202020204" pitchFamily="34" charset="0"/>
                <a:cs typeface="Arial" panose="020B0604020202020204" pitchFamily="34" charset="0"/>
              </a:defRPr>
            </a:lvl1pPr>
          </a:lstStyle>
          <a:p>
            <a:r>
              <a:rPr lang="en-US"/>
              <a:t>GNN webinar on rabies 6 May 2024</a:t>
            </a:r>
            <a:endParaRPr lang="en-GB"/>
          </a:p>
        </p:txBody>
      </p:sp>
      <p:sp>
        <p:nvSpPr>
          <p:cNvPr id="6" name="Slide Number Placeholder 5">
            <a:extLst>
              <a:ext uri="{FF2B5EF4-FFF2-40B4-BE49-F238E27FC236}">
                <a16:creationId xmlns:a16="http://schemas.microsoft.com/office/drawing/2014/main" id="{8918EB43-CEEF-AF40-88AE-32CEA15C642C}"/>
              </a:ext>
            </a:extLst>
          </p:cNvPr>
          <p:cNvSpPr>
            <a:spLocks noGrp="1"/>
          </p:cNvSpPr>
          <p:nvPr>
            <p:ph type="sldNum" sz="quarter" idx="4"/>
          </p:nvPr>
        </p:nvSpPr>
        <p:spPr>
          <a:xfrm>
            <a:off x="515938" y="6356351"/>
            <a:ext cx="261629" cy="133349"/>
          </a:xfrm>
          <a:prstGeom prst="rect">
            <a:avLst/>
          </a:prstGeom>
        </p:spPr>
        <p:txBody>
          <a:bodyPr vert="horz" lIns="0" tIns="0" rIns="0" bIns="0" rtlCol="0" anchor="b"/>
          <a:lstStyle>
            <a:lvl1pPr algn="l">
              <a:defRPr sz="800">
                <a:solidFill>
                  <a:schemeClr val="tx1">
                    <a:tint val="75000"/>
                  </a:schemeClr>
                </a:solidFill>
                <a:latin typeface="Arial" panose="020B0604020202020204" pitchFamily="34" charset="0"/>
                <a:cs typeface="Arial" panose="020B0604020202020204" pitchFamily="34" charset="0"/>
              </a:defRPr>
            </a:lvl1pPr>
          </a:lstStyle>
          <a:p>
            <a:fld id="{AB746B08-255A-2748-8A21-40BE94A17FD1}" type="slidenum">
              <a:rPr lang="en-GB" smtClean="0"/>
              <a:pPr/>
              <a:t>‹#›</a:t>
            </a:fld>
            <a:endParaRPr lang="en-GB"/>
          </a:p>
        </p:txBody>
      </p:sp>
      <p:sp>
        <p:nvSpPr>
          <p:cNvPr id="8" name="TextBox 7">
            <a:extLst>
              <a:ext uri="{FF2B5EF4-FFF2-40B4-BE49-F238E27FC236}">
                <a16:creationId xmlns:a16="http://schemas.microsoft.com/office/drawing/2014/main" id="{6B246C42-F515-AF10-3F52-6F3DDAF58FE5}"/>
              </a:ext>
            </a:extLst>
          </p:cNvPr>
          <p:cNvSpPr txBox="1"/>
          <p:nvPr userDrawn="1">
            <p:extLst>
              <p:ext uri="{1162E1C5-73C7-4A58-AE30-91384D911F3F}">
                <p184:classification xmlns:p184="http://schemas.microsoft.com/office/powerpoint/2018/4/main" val="hdr"/>
              </p:ext>
            </p:extLst>
          </p:nvPr>
        </p:nvSpPr>
        <p:spPr>
          <a:xfrm>
            <a:off x="190500" y="190500"/>
            <a:ext cx="1081088"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cs typeface="Calibri" panose="020F0502020204030204" pitchFamily="34" charset="0"/>
              </a:rPr>
              <a:t>Classified as Internal</a:t>
            </a:r>
          </a:p>
        </p:txBody>
      </p:sp>
    </p:spTree>
    <p:extLst>
      <p:ext uri="{BB962C8B-B14F-4D97-AF65-F5344CB8AC3E}">
        <p14:creationId xmlns:p14="http://schemas.microsoft.com/office/powerpoint/2010/main" val="3560990108"/>
      </p:ext>
    </p:extLst>
  </p:cSld>
  <p:clrMap bg1="lt1" tx1="dk1" bg2="lt2" tx2="dk2" accent1="accent1" accent2="accent2" accent3="accent3" accent4="accent4" accent5="accent5" accent6="accent6" hlink="hlink" folHlink="folHlink"/>
  <p:sldLayoutIdLst>
    <p:sldLayoutId id="2147484054" r:id="rId1"/>
    <p:sldLayoutId id="2147484055" r:id="rId2"/>
    <p:sldLayoutId id="2147484056" r:id="rId3"/>
    <p:sldLayoutId id="2147484057" r:id="rId4"/>
    <p:sldLayoutId id="2147484058" r:id="rId5"/>
    <p:sldLayoutId id="2147484059" r:id="rId6"/>
    <p:sldLayoutId id="2147484060" r:id="rId7"/>
    <p:sldLayoutId id="2147484061" r:id="rId8"/>
    <p:sldLayoutId id="2147484062" r:id="rId9"/>
    <p:sldLayoutId id="2147484063" r:id="rId10"/>
    <p:sldLayoutId id="2147484064" r:id="rId11"/>
    <p:sldLayoutId id="2147484065" r:id="rId12"/>
    <p:sldLayoutId id="2147484066" r:id="rId13"/>
    <p:sldLayoutId id="2147484067" r:id="rId14"/>
    <p:sldLayoutId id="2147484068" r:id="rId15"/>
    <p:sldLayoutId id="2147484069" r:id="rId16"/>
    <p:sldLayoutId id="2147484070" r:id="rId17"/>
    <p:sldLayoutId id="2147484071" r:id="rId18"/>
    <p:sldLayoutId id="2147484072" r:id="rId19"/>
    <p:sldLayoutId id="2147484073" r:id="rId20"/>
  </p:sldLayoutIdLst>
  <p:hf hdr="0" dt="0"/>
  <p:txStyles>
    <p:titleStyle>
      <a:lvl1pPr algn="l" defTabSz="914400" rtl="0" eaLnBrk="1" latinLnBrk="0" hangingPunct="1">
        <a:lnSpc>
          <a:spcPct val="90000"/>
        </a:lnSpc>
        <a:spcBef>
          <a:spcPct val="0"/>
        </a:spcBef>
        <a:buNone/>
        <a:defRPr sz="3600" b="1" kern="1200">
          <a:solidFill>
            <a:schemeClr val="tx2"/>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lnSpc>
          <a:spcPct val="110000"/>
        </a:lnSpc>
        <a:spcBef>
          <a:spcPts val="0"/>
        </a:spcBef>
        <a:spcAft>
          <a:spcPts val="1200"/>
        </a:spcAft>
        <a:buFont typeface="Arial" panose="020B0604020202020204" pitchFamily="34" charset="0"/>
        <a:buNone/>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0000"/>
        </a:lnSpc>
        <a:spcBef>
          <a:spcPts val="0"/>
        </a:spcBef>
        <a:spcAft>
          <a:spcPts val="1200"/>
        </a:spcAft>
        <a:buClr>
          <a:schemeClr val="bg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25">
          <p15:clr>
            <a:srgbClr val="F26B43"/>
          </p15:clr>
        </p15:guide>
        <p15:guide id="3" pos="7355">
          <p15:clr>
            <a:srgbClr val="F26B43"/>
          </p15:clr>
        </p15:guide>
        <p15:guide id="4" orient="horz" pos="232">
          <p15:clr>
            <a:srgbClr val="F26B43"/>
          </p15:clr>
        </p15:guide>
        <p15:guide id="5" orient="horz" pos="4088">
          <p15:clr>
            <a:srgbClr val="F26B43"/>
          </p15:clr>
        </p15:guide>
        <p15:guide id="7" orient="horz" pos="822">
          <p15:clr>
            <a:srgbClr val="F26B43"/>
          </p15:clr>
        </p15:guide>
        <p15:guide id="9" orient="horz" pos="3725">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image" Target="../media/image57.jpeg"/><Relationship Id="rId1" Type="http://schemas.openxmlformats.org/officeDocument/2006/relationships/slideLayout" Target="../slideLayouts/slideLayout16.xml"/></Relationships>
</file>

<file path=ppt/slides/_rels/slide10.xml.rels><?xml version="1.0" encoding="UTF-8" standalone="yes"?>
<Relationships xmlns="http://schemas.openxmlformats.org/package/2006/relationships"><Relationship Id="rId3" Type="http://schemas.openxmlformats.org/officeDocument/2006/relationships/hyperlink" Target="https://www.who.int/publications/i/item/who-wer9316" TargetMode="External"/><Relationship Id="rId2" Type="http://schemas.openxmlformats.org/officeDocument/2006/relationships/notesSlide" Target="../notesSlides/notesSlide5.xml"/><Relationship Id="rId1" Type="http://schemas.openxmlformats.org/officeDocument/2006/relationships/slideLayout" Target="../slideLayouts/slideLayout27.xml"/><Relationship Id="rId4" Type="http://schemas.openxmlformats.org/officeDocument/2006/relationships/image" Target="../media/image80.jpeg"/></Relationships>
</file>

<file path=ppt/slides/_rels/slide11.xml.rels><?xml version="1.0" encoding="UTF-8" standalone="yes"?>
<Relationships xmlns="http://schemas.openxmlformats.org/package/2006/relationships"><Relationship Id="rId3" Type="http://schemas.openxmlformats.org/officeDocument/2006/relationships/hyperlink" Target="https://www.who.int/publications/i/item/who-wer9316" TargetMode="External"/><Relationship Id="rId2" Type="http://schemas.openxmlformats.org/officeDocument/2006/relationships/notesSlide" Target="../notesSlides/notesSlide6.xml"/><Relationship Id="rId1" Type="http://schemas.openxmlformats.org/officeDocument/2006/relationships/slideLayout" Target="../slideLayouts/slideLayout16.xml"/><Relationship Id="rId5" Type="http://schemas.openxmlformats.org/officeDocument/2006/relationships/image" Target="../media/image58.jpeg"/><Relationship Id="rId4" Type="http://schemas.openxmlformats.org/officeDocument/2006/relationships/image" Target="../media/image81.png"/></Relationships>
</file>

<file path=ppt/slides/_rels/slide12.xml.rels><?xml version="1.0" encoding="UTF-8" standalone="yes"?>
<Relationships xmlns="http://schemas.openxmlformats.org/package/2006/relationships"><Relationship Id="rId8" Type="http://schemas.openxmlformats.org/officeDocument/2006/relationships/image" Target="../media/image86.png"/><Relationship Id="rId3" Type="http://schemas.openxmlformats.org/officeDocument/2006/relationships/hyperlink" Target="https://www.who.int/publications/i/item/who-wer9316" TargetMode="External"/><Relationship Id="rId7" Type="http://schemas.openxmlformats.org/officeDocument/2006/relationships/image" Target="../media/image85.svg"/><Relationship Id="rId2" Type="http://schemas.openxmlformats.org/officeDocument/2006/relationships/notesSlide" Target="../notesSlides/notesSlide7.xml"/><Relationship Id="rId1" Type="http://schemas.openxmlformats.org/officeDocument/2006/relationships/slideLayout" Target="../slideLayouts/slideLayout16.xml"/><Relationship Id="rId6" Type="http://schemas.openxmlformats.org/officeDocument/2006/relationships/image" Target="../media/image84.png"/><Relationship Id="rId5" Type="http://schemas.openxmlformats.org/officeDocument/2006/relationships/image" Target="../media/image83.svg"/><Relationship Id="rId10" Type="http://schemas.openxmlformats.org/officeDocument/2006/relationships/image" Target="../media/image58.jpeg"/><Relationship Id="rId4" Type="http://schemas.openxmlformats.org/officeDocument/2006/relationships/image" Target="../media/image82.png"/><Relationship Id="rId9" Type="http://schemas.openxmlformats.org/officeDocument/2006/relationships/image" Target="../media/image87.svg"/></Relationships>
</file>

<file path=ppt/slides/_rels/slide13.xml.rels><?xml version="1.0" encoding="UTF-8" standalone="yes"?>
<Relationships xmlns="http://schemas.openxmlformats.org/package/2006/relationships"><Relationship Id="rId8" Type="http://schemas.openxmlformats.org/officeDocument/2006/relationships/image" Target="../media/image94.svg"/><Relationship Id="rId13" Type="http://schemas.openxmlformats.org/officeDocument/2006/relationships/image" Target="../media/image99.png"/><Relationship Id="rId3" Type="http://schemas.openxmlformats.org/officeDocument/2006/relationships/image" Target="../media/image89.png"/><Relationship Id="rId7" Type="http://schemas.openxmlformats.org/officeDocument/2006/relationships/image" Target="../media/image93.png"/><Relationship Id="rId12" Type="http://schemas.openxmlformats.org/officeDocument/2006/relationships/image" Target="../media/image98.svg"/><Relationship Id="rId2" Type="http://schemas.openxmlformats.org/officeDocument/2006/relationships/image" Target="../media/image88.png"/><Relationship Id="rId16" Type="http://schemas.openxmlformats.org/officeDocument/2006/relationships/image" Target="../media/image58.jpeg"/><Relationship Id="rId1" Type="http://schemas.openxmlformats.org/officeDocument/2006/relationships/slideLayout" Target="../slideLayouts/slideLayout17.xml"/><Relationship Id="rId6" Type="http://schemas.openxmlformats.org/officeDocument/2006/relationships/image" Target="../media/image92.svg"/><Relationship Id="rId11" Type="http://schemas.openxmlformats.org/officeDocument/2006/relationships/image" Target="../media/image97.png"/><Relationship Id="rId5" Type="http://schemas.openxmlformats.org/officeDocument/2006/relationships/image" Target="../media/image91.png"/><Relationship Id="rId15" Type="http://schemas.openxmlformats.org/officeDocument/2006/relationships/hyperlink" Target="https://www.who.int/publications/i/item/9789240052499" TargetMode="External"/><Relationship Id="rId10" Type="http://schemas.openxmlformats.org/officeDocument/2006/relationships/image" Target="../media/image96.svg"/><Relationship Id="rId4" Type="http://schemas.openxmlformats.org/officeDocument/2006/relationships/image" Target="../media/image90.svg"/><Relationship Id="rId9" Type="http://schemas.openxmlformats.org/officeDocument/2006/relationships/image" Target="../media/image95.png"/><Relationship Id="rId14" Type="http://schemas.openxmlformats.org/officeDocument/2006/relationships/image" Target="../media/image100.svg"/></Relationships>
</file>

<file path=ppt/slides/_rels/slide14.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image" Target="../media/image57.jpeg"/><Relationship Id="rId1"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2" Type="http://schemas.openxmlformats.org/officeDocument/2006/relationships/image" Target="../media/image101.jpg"/><Relationship Id="rId1" Type="http://schemas.openxmlformats.org/officeDocument/2006/relationships/slideLayout" Target="../slideLayouts/slideLayout257.xml"/></Relationships>
</file>

<file path=ppt/slides/_rels/slide16.xml.rels><?xml version="1.0" encoding="UTF-8" standalone="yes"?>
<Relationships xmlns="http://schemas.openxmlformats.org/package/2006/relationships"><Relationship Id="rId3" Type="http://schemas.openxmlformats.org/officeDocument/2006/relationships/image" Target="../media/image103.jpg"/><Relationship Id="rId2" Type="http://schemas.openxmlformats.org/officeDocument/2006/relationships/image" Target="../media/image102.gif"/><Relationship Id="rId1" Type="http://schemas.openxmlformats.org/officeDocument/2006/relationships/slideLayout" Target="../slideLayouts/slideLayout26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58.xml"/></Relationships>
</file>

<file path=ppt/slides/_rels/slide18.xml.rels><?xml version="1.0" encoding="UTF-8" standalone="yes"?>
<Relationships xmlns="http://schemas.openxmlformats.org/package/2006/relationships"><Relationship Id="rId2" Type="http://schemas.openxmlformats.org/officeDocument/2006/relationships/image" Target="../media/image104.jpg"/><Relationship Id="rId1" Type="http://schemas.openxmlformats.org/officeDocument/2006/relationships/slideLayout" Target="../slideLayouts/slideLayout260.xml"/></Relationships>
</file>

<file path=ppt/slides/_rels/slide19.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260.xml"/><Relationship Id="rId4" Type="http://schemas.openxmlformats.org/officeDocument/2006/relationships/image" Target="../media/image101.jpg"/></Relationships>
</file>

<file path=ppt/slides/_rels/slide2.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xml"/><Relationship Id="rId1" Type="http://schemas.openxmlformats.org/officeDocument/2006/relationships/slideLayout" Target="../slideLayouts/slideLayout21.xml"/><Relationship Id="rId5" Type="http://schemas.openxmlformats.org/officeDocument/2006/relationships/image" Target="../media/image60.png"/><Relationship Id="rId4" Type="http://schemas.openxmlformats.org/officeDocument/2006/relationships/image" Target="../media/image58.jpeg"/></Relationships>
</file>

<file path=ppt/slides/_rels/slide20.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105.jpeg"/><Relationship Id="rId1" Type="http://schemas.openxmlformats.org/officeDocument/2006/relationships/slideLayout" Target="../slideLayouts/slideLayout257.xml"/><Relationship Id="rId4" Type="http://schemas.openxmlformats.org/officeDocument/2006/relationships/image" Target="../media/image101.jpg"/></Relationships>
</file>

<file path=ppt/slides/_rels/slide21.xml.rels><?xml version="1.0" encoding="UTF-8" standalone="yes"?>
<Relationships xmlns="http://schemas.openxmlformats.org/package/2006/relationships"><Relationship Id="rId3" Type="http://schemas.openxmlformats.org/officeDocument/2006/relationships/image" Target="../media/image107.png"/><Relationship Id="rId7" Type="http://schemas.openxmlformats.org/officeDocument/2006/relationships/image" Target="../media/image111.png"/><Relationship Id="rId2" Type="http://schemas.openxmlformats.org/officeDocument/2006/relationships/notesSlide" Target="../notesSlides/notesSlide8.xml"/><Relationship Id="rId1" Type="http://schemas.openxmlformats.org/officeDocument/2006/relationships/slideLayout" Target="../slideLayouts/slideLayout258.xml"/><Relationship Id="rId6" Type="http://schemas.openxmlformats.org/officeDocument/2006/relationships/image" Target="../media/image110.png"/><Relationship Id="rId5" Type="http://schemas.openxmlformats.org/officeDocument/2006/relationships/image" Target="../media/image109.png"/><Relationship Id="rId4" Type="http://schemas.openxmlformats.org/officeDocument/2006/relationships/image" Target="../media/image108.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68.xml"/></Relationships>
</file>

<file path=ppt/slides/_rels/slide23.xml.rels><?xml version="1.0" encoding="UTF-8" standalone="yes"?>
<Relationships xmlns="http://schemas.openxmlformats.org/package/2006/relationships"><Relationship Id="rId3" Type="http://schemas.openxmlformats.org/officeDocument/2006/relationships/image" Target="../media/image113.jpg"/><Relationship Id="rId2" Type="http://schemas.openxmlformats.org/officeDocument/2006/relationships/image" Target="../media/image112.jpg"/><Relationship Id="rId1" Type="http://schemas.openxmlformats.org/officeDocument/2006/relationships/slideLayout" Target="../slideLayouts/slideLayout260.xml"/></Relationships>
</file>

<file path=ppt/slides/_rels/slide24.xml.rels><?xml version="1.0" encoding="UTF-8" standalone="yes"?>
<Relationships xmlns="http://schemas.openxmlformats.org/package/2006/relationships"><Relationship Id="rId3" Type="http://schemas.openxmlformats.org/officeDocument/2006/relationships/image" Target="../media/image112.jpg"/><Relationship Id="rId2" Type="http://schemas.openxmlformats.org/officeDocument/2006/relationships/image" Target="../media/image113.jpg"/><Relationship Id="rId1" Type="http://schemas.openxmlformats.org/officeDocument/2006/relationships/slideLayout" Target="../slideLayouts/slideLayout260.xml"/></Relationships>
</file>

<file path=ppt/slides/_rels/slide25.xml.rels><?xml version="1.0" encoding="UTF-8" standalone="yes"?>
<Relationships xmlns="http://schemas.openxmlformats.org/package/2006/relationships"><Relationship Id="rId3" Type="http://schemas.openxmlformats.org/officeDocument/2006/relationships/image" Target="../media/image114.jpeg"/><Relationship Id="rId2" Type="http://schemas.openxmlformats.org/officeDocument/2006/relationships/notesSlide" Target="../notesSlides/notesSlide9.xml"/><Relationship Id="rId1" Type="http://schemas.openxmlformats.org/officeDocument/2006/relationships/slideLayout" Target="../slideLayouts/slideLayout258.xml"/></Relationships>
</file>

<file path=ppt/slides/_rels/slide26.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image" Target="../media/image115.JPG"/><Relationship Id="rId1" Type="http://schemas.openxmlformats.org/officeDocument/2006/relationships/slideLayout" Target="../slideLayouts/slideLayout260.xml"/></Relationships>
</file>

<file path=ppt/slides/_rels/slide27.xml.rels><?xml version="1.0" encoding="UTF-8" standalone="yes"?>
<Relationships xmlns="http://schemas.openxmlformats.org/package/2006/relationships"><Relationship Id="rId3" Type="http://schemas.openxmlformats.org/officeDocument/2006/relationships/image" Target="../media/image114.jpeg"/><Relationship Id="rId2" Type="http://schemas.openxmlformats.org/officeDocument/2006/relationships/notesSlide" Target="../notesSlides/notesSlide10.xml"/><Relationship Id="rId1" Type="http://schemas.openxmlformats.org/officeDocument/2006/relationships/slideLayout" Target="../slideLayouts/slideLayout258.xml"/><Relationship Id="rId6" Type="http://schemas.openxmlformats.org/officeDocument/2006/relationships/image" Target="../media/image119.png"/><Relationship Id="rId5" Type="http://schemas.openxmlformats.org/officeDocument/2006/relationships/image" Target="../media/image118.png"/><Relationship Id="rId4" Type="http://schemas.openxmlformats.org/officeDocument/2006/relationships/image" Target="../media/image117.jpeg"/></Relationships>
</file>

<file path=ppt/slides/_rels/slide28.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11.xml"/><Relationship Id="rId1" Type="http://schemas.openxmlformats.org/officeDocument/2006/relationships/slideLayout" Target="../slideLayouts/slideLayout258.xml"/><Relationship Id="rId6" Type="http://schemas.openxmlformats.org/officeDocument/2006/relationships/image" Target="../media/image122.png"/><Relationship Id="rId5" Type="http://schemas.openxmlformats.org/officeDocument/2006/relationships/image" Target="../media/image121.png"/><Relationship Id="rId4" Type="http://schemas.openxmlformats.org/officeDocument/2006/relationships/image" Target="../media/image114.jpeg"/></Relationships>
</file>

<file path=ppt/slides/_rels/slide29.xml.rels><?xml version="1.0" encoding="UTF-8" standalone="yes"?>
<Relationships xmlns="http://schemas.openxmlformats.org/package/2006/relationships"><Relationship Id="rId3" Type="http://schemas.openxmlformats.org/officeDocument/2006/relationships/image" Target="../media/image114.jpeg"/><Relationship Id="rId2" Type="http://schemas.openxmlformats.org/officeDocument/2006/relationships/notesSlide" Target="../notesSlides/notesSlide12.xml"/><Relationship Id="rId1" Type="http://schemas.openxmlformats.org/officeDocument/2006/relationships/slideLayout" Target="../slideLayouts/slideLayout258.xml"/></Relationships>
</file>

<file path=ppt/slides/_rels/slide3.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image" Target="../media/image61.png"/><Relationship Id="rId1" Type="http://schemas.openxmlformats.org/officeDocument/2006/relationships/slideLayout" Target="../slideLayouts/slideLayout17.xml"/></Relationships>
</file>

<file path=ppt/slides/_rels/slide30.xml.rels><?xml version="1.0" encoding="UTF-8" standalone="yes"?>
<Relationships xmlns="http://schemas.openxmlformats.org/package/2006/relationships"><Relationship Id="rId3" Type="http://schemas.openxmlformats.org/officeDocument/2006/relationships/image" Target="../media/image114.jpeg"/><Relationship Id="rId7" Type="http://schemas.openxmlformats.org/officeDocument/2006/relationships/comments" Target="../comments/comment1.xml"/><Relationship Id="rId2" Type="http://schemas.openxmlformats.org/officeDocument/2006/relationships/notesSlide" Target="../notesSlides/notesSlide13.xml"/><Relationship Id="rId1" Type="http://schemas.openxmlformats.org/officeDocument/2006/relationships/slideLayout" Target="../slideLayouts/slideLayout258.xml"/><Relationship Id="rId6" Type="http://schemas.openxmlformats.org/officeDocument/2006/relationships/image" Target="../media/image124.png"/><Relationship Id="rId5" Type="http://schemas.openxmlformats.org/officeDocument/2006/relationships/image" Target="../media/image123.png"/><Relationship Id="rId4" Type="http://schemas.openxmlformats.org/officeDocument/2006/relationships/image" Target="../media/image109.png"/></Relationships>
</file>

<file path=ppt/slides/_rels/slide31.xml.rels><?xml version="1.0" encoding="UTF-8" standalone="yes"?>
<Relationships xmlns="http://schemas.openxmlformats.org/package/2006/relationships"><Relationship Id="rId8" Type="http://schemas.openxmlformats.org/officeDocument/2006/relationships/image" Target="../media/image129.png"/><Relationship Id="rId3" Type="http://schemas.openxmlformats.org/officeDocument/2006/relationships/image" Target="../media/image114.jpeg"/><Relationship Id="rId7" Type="http://schemas.openxmlformats.org/officeDocument/2006/relationships/image" Target="../media/image128.png"/><Relationship Id="rId2" Type="http://schemas.openxmlformats.org/officeDocument/2006/relationships/notesSlide" Target="../notesSlides/notesSlide14.xml"/><Relationship Id="rId1" Type="http://schemas.openxmlformats.org/officeDocument/2006/relationships/slideLayout" Target="../slideLayouts/slideLayout258.xml"/><Relationship Id="rId6" Type="http://schemas.openxmlformats.org/officeDocument/2006/relationships/image" Target="../media/image127.png"/><Relationship Id="rId5" Type="http://schemas.openxmlformats.org/officeDocument/2006/relationships/image" Target="../media/image126.png"/><Relationship Id="rId4" Type="http://schemas.openxmlformats.org/officeDocument/2006/relationships/image" Target="../media/image125.png"/><Relationship Id="rId9" Type="http://schemas.openxmlformats.org/officeDocument/2006/relationships/image" Target="../media/image130.png"/></Relationships>
</file>

<file path=ppt/slides/_rels/slide32.xml.rels><?xml version="1.0" encoding="UTF-8" standalone="yes"?>
<Relationships xmlns="http://schemas.openxmlformats.org/package/2006/relationships"><Relationship Id="rId3" Type="http://schemas.openxmlformats.org/officeDocument/2006/relationships/image" Target="../media/image132.jpg"/><Relationship Id="rId2" Type="http://schemas.openxmlformats.org/officeDocument/2006/relationships/image" Target="../media/image131.jpg"/><Relationship Id="rId1" Type="http://schemas.openxmlformats.org/officeDocument/2006/relationships/slideLayout" Target="../slideLayouts/slideLayout258.xml"/><Relationship Id="rId6" Type="http://schemas.openxmlformats.org/officeDocument/2006/relationships/image" Target="../media/image101.jpg"/><Relationship Id="rId5" Type="http://schemas.openxmlformats.org/officeDocument/2006/relationships/image" Target="../media/image134.jpeg"/><Relationship Id="rId4" Type="http://schemas.openxmlformats.org/officeDocument/2006/relationships/image" Target="../media/image133.jpg"/></Relationships>
</file>

<file path=ppt/slides/_rels/slide33.xml.rels><?xml version="1.0" encoding="UTF-8" standalone="yes"?>
<Relationships xmlns="http://schemas.openxmlformats.org/package/2006/relationships"><Relationship Id="rId3" Type="http://schemas.openxmlformats.org/officeDocument/2006/relationships/image" Target="../media/image135.jpeg"/><Relationship Id="rId2" Type="http://schemas.openxmlformats.org/officeDocument/2006/relationships/notesSlide" Target="../notesSlides/notesSlide15.xml"/><Relationship Id="rId1" Type="http://schemas.openxmlformats.org/officeDocument/2006/relationships/slideLayout" Target="../slideLayouts/slideLayout258.xml"/><Relationship Id="rId6" Type="http://schemas.openxmlformats.org/officeDocument/2006/relationships/image" Target="../media/image101.jpg"/><Relationship Id="rId5" Type="http://schemas.openxmlformats.org/officeDocument/2006/relationships/image" Target="../media/image137.png"/><Relationship Id="rId4" Type="http://schemas.openxmlformats.org/officeDocument/2006/relationships/image" Target="../media/image136.jpeg"/></Relationships>
</file>

<file path=ppt/slides/_rels/slide34.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image" Target="../media/image138.png"/><Relationship Id="rId1" Type="http://schemas.openxmlformats.org/officeDocument/2006/relationships/slideLayout" Target="../slideLayouts/slideLayout265.xml"/><Relationship Id="rId4" Type="http://schemas.openxmlformats.org/officeDocument/2006/relationships/image" Target="../media/image101.jpg"/></Relationships>
</file>

<file path=ppt/slides/_rels/slide35.xml.rels><?xml version="1.0" encoding="UTF-8" standalone="yes"?>
<Relationships xmlns="http://schemas.openxmlformats.org/package/2006/relationships"><Relationship Id="rId3" Type="http://schemas.openxmlformats.org/officeDocument/2006/relationships/image" Target="../media/image101.jpg"/><Relationship Id="rId2" Type="http://schemas.openxmlformats.org/officeDocument/2006/relationships/image" Target="../media/image140.jpg"/><Relationship Id="rId1" Type="http://schemas.openxmlformats.org/officeDocument/2006/relationships/slideLayout" Target="../slideLayouts/slideLayout260.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58.xml"/></Relationships>
</file>

<file path=ppt/slides/_rels/slide37.xml.rels><?xml version="1.0" encoding="UTF-8" standalone="yes"?>
<Relationships xmlns="http://schemas.openxmlformats.org/package/2006/relationships"><Relationship Id="rId8" Type="http://schemas.openxmlformats.org/officeDocument/2006/relationships/image" Target="../media/image146.jpg"/><Relationship Id="rId3" Type="http://schemas.openxmlformats.org/officeDocument/2006/relationships/image" Target="../media/image142.jpeg"/><Relationship Id="rId7" Type="http://schemas.openxmlformats.org/officeDocument/2006/relationships/image" Target="../media/image101.jpg"/><Relationship Id="rId2" Type="http://schemas.openxmlformats.org/officeDocument/2006/relationships/image" Target="../media/image141.jpg"/><Relationship Id="rId1" Type="http://schemas.openxmlformats.org/officeDocument/2006/relationships/slideLayout" Target="../slideLayouts/slideLayout258.xml"/><Relationship Id="rId6" Type="http://schemas.openxmlformats.org/officeDocument/2006/relationships/image" Target="../media/image145.JPG"/><Relationship Id="rId5" Type="http://schemas.openxmlformats.org/officeDocument/2006/relationships/image" Target="../media/image144.jpg"/><Relationship Id="rId4" Type="http://schemas.openxmlformats.org/officeDocument/2006/relationships/image" Target="../media/image143.jpeg"/></Relationships>
</file>

<file path=ppt/slides/_rels/slide38.xml.rels><?xml version="1.0" encoding="UTF-8" standalone="yes"?>
<Relationships xmlns="http://schemas.openxmlformats.org/package/2006/relationships"><Relationship Id="rId3" Type="http://schemas.openxmlformats.org/officeDocument/2006/relationships/image" Target="../media/image148.jpg"/><Relationship Id="rId2" Type="http://schemas.openxmlformats.org/officeDocument/2006/relationships/image" Target="../media/image147.png"/><Relationship Id="rId1" Type="http://schemas.openxmlformats.org/officeDocument/2006/relationships/slideLayout" Target="../slideLayouts/slideLayout257.xml"/><Relationship Id="rId4" Type="http://schemas.openxmlformats.org/officeDocument/2006/relationships/image" Target="../media/image101.jp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58.xml"/></Relationships>
</file>

<file path=ppt/slides/_rels/slide4.xml.rels><?xml version="1.0" encoding="UTF-8" standalone="yes"?>
<Relationships xmlns="http://schemas.openxmlformats.org/package/2006/relationships"><Relationship Id="rId3" Type="http://schemas.openxmlformats.org/officeDocument/2006/relationships/image" Target="../media/image63.svg"/><Relationship Id="rId2" Type="http://schemas.openxmlformats.org/officeDocument/2006/relationships/image" Target="../media/image62.png"/><Relationship Id="rId1" Type="http://schemas.openxmlformats.org/officeDocument/2006/relationships/slideLayout" Target="../slideLayouts/slideLayout17.xml"/><Relationship Id="rId6" Type="http://schemas.openxmlformats.org/officeDocument/2006/relationships/image" Target="../media/image61.png"/><Relationship Id="rId5" Type="http://schemas.openxmlformats.org/officeDocument/2006/relationships/image" Target="../media/image65.svg"/><Relationship Id="rId4" Type="http://schemas.openxmlformats.org/officeDocument/2006/relationships/image" Target="../media/image64.png"/></Relationships>
</file>

<file path=ppt/slides/_rels/slide40.xml.rels><?xml version="1.0" encoding="UTF-8" standalone="yes"?>
<Relationships xmlns="http://schemas.openxmlformats.org/package/2006/relationships"><Relationship Id="rId2" Type="http://schemas.openxmlformats.org/officeDocument/2006/relationships/image" Target="../media/image149.jpg"/><Relationship Id="rId1" Type="http://schemas.openxmlformats.org/officeDocument/2006/relationships/slideLayout" Target="../slideLayouts/slideLayout268.xml"/></Relationships>
</file>

<file path=ppt/slides/_rels/slide41.xml.rels><?xml version="1.0" encoding="UTF-8" standalone="yes"?>
<Relationships xmlns="http://schemas.openxmlformats.org/package/2006/relationships"><Relationship Id="rId3" Type="http://schemas.openxmlformats.org/officeDocument/2006/relationships/image" Target="../media/image101.jpg"/><Relationship Id="rId2" Type="http://schemas.openxmlformats.org/officeDocument/2006/relationships/notesSlide" Target="../notesSlides/notesSlide16.xml"/><Relationship Id="rId1" Type="http://schemas.openxmlformats.org/officeDocument/2006/relationships/slideLayout" Target="../slideLayouts/slideLayout258.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69.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92.xml"/></Relationships>
</file>

<file path=ppt/slides/_rels/slide44.xml.rels><?xml version="1.0" encoding="UTF-8" standalone="yes"?>
<Relationships xmlns="http://schemas.openxmlformats.org/package/2006/relationships"><Relationship Id="rId8" Type="http://schemas.openxmlformats.org/officeDocument/2006/relationships/image" Target="../media/image152.png"/><Relationship Id="rId3" Type="http://schemas.openxmlformats.org/officeDocument/2006/relationships/notesSlide" Target="../notesSlides/notesSlide19.xml"/><Relationship Id="rId7" Type="http://schemas.openxmlformats.org/officeDocument/2006/relationships/image" Target="../media/image151.emf"/><Relationship Id="rId2" Type="http://schemas.openxmlformats.org/officeDocument/2006/relationships/slideLayout" Target="../slideLayouts/slideLayout309.xml"/><Relationship Id="rId1" Type="http://schemas.openxmlformats.org/officeDocument/2006/relationships/tags" Target="../tags/tag12.xml"/><Relationship Id="rId6" Type="http://schemas.openxmlformats.org/officeDocument/2006/relationships/image" Target="../media/image150.png"/><Relationship Id="rId5" Type="http://schemas.openxmlformats.org/officeDocument/2006/relationships/image" Target="../media/image49.emf"/><Relationship Id="rId10" Type="http://schemas.openxmlformats.org/officeDocument/2006/relationships/image" Target="../media/image154.png"/><Relationship Id="rId4" Type="http://schemas.openxmlformats.org/officeDocument/2006/relationships/oleObject" Target="../embeddings/oleObject12.bin"/><Relationship Id="rId9" Type="http://schemas.openxmlformats.org/officeDocument/2006/relationships/image" Target="../media/image153.png"/></Relationships>
</file>

<file path=ppt/slides/_rels/slide45.xml.rels><?xml version="1.0" encoding="UTF-8" standalone="yes"?>
<Relationships xmlns="http://schemas.openxmlformats.org/package/2006/relationships"><Relationship Id="rId8" Type="http://schemas.openxmlformats.org/officeDocument/2006/relationships/image" Target="../media/image158.png"/><Relationship Id="rId13" Type="http://schemas.openxmlformats.org/officeDocument/2006/relationships/image" Target="../media/image163.svg"/><Relationship Id="rId3" Type="http://schemas.openxmlformats.org/officeDocument/2006/relationships/notesSlide" Target="../notesSlides/notesSlide20.xml"/><Relationship Id="rId7" Type="http://schemas.openxmlformats.org/officeDocument/2006/relationships/image" Target="../media/image157.svg"/><Relationship Id="rId12" Type="http://schemas.openxmlformats.org/officeDocument/2006/relationships/image" Target="../media/image162.png"/><Relationship Id="rId2" Type="http://schemas.openxmlformats.org/officeDocument/2006/relationships/slideLayout" Target="../slideLayouts/slideLayout314.xml"/><Relationship Id="rId1" Type="http://schemas.openxmlformats.org/officeDocument/2006/relationships/tags" Target="../tags/tag13.xml"/><Relationship Id="rId6" Type="http://schemas.openxmlformats.org/officeDocument/2006/relationships/image" Target="../media/image156.png"/><Relationship Id="rId11" Type="http://schemas.openxmlformats.org/officeDocument/2006/relationships/image" Target="../media/image161.svg"/><Relationship Id="rId5" Type="http://schemas.openxmlformats.org/officeDocument/2006/relationships/image" Target="../media/image155.emf"/><Relationship Id="rId10" Type="http://schemas.openxmlformats.org/officeDocument/2006/relationships/image" Target="../media/image160.png"/><Relationship Id="rId4" Type="http://schemas.openxmlformats.org/officeDocument/2006/relationships/oleObject" Target="../embeddings/oleObject13.bin"/><Relationship Id="rId9" Type="http://schemas.openxmlformats.org/officeDocument/2006/relationships/image" Target="../media/image159.svg"/></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354.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155.emf"/><Relationship Id="rId5" Type="http://schemas.openxmlformats.org/officeDocument/2006/relationships/oleObject" Target="../embeddings/oleObject14.bin"/><Relationship Id="rId4" Type="http://schemas.openxmlformats.org/officeDocument/2006/relationships/notesSlide" Target="../notesSlides/notesSlide21.xml"/></Relationships>
</file>

<file path=ppt/slides/_rels/slide47.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notesSlide" Target="../notesSlides/notesSlide22.xml"/><Relationship Id="rId1" Type="http://schemas.openxmlformats.org/officeDocument/2006/relationships/slideLayout" Target="../slideLayouts/slideLayout364.xml"/><Relationship Id="rId4" Type="http://schemas.openxmlformats.org/officeDocument/2006/relationships/hyperlink" Target="https://www.gavi.org/types-support/sustainability/eligibility" TargetMode="Externa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92.xml"/></Relationships>
</file>

<file path=ppt/slides/_rels/slide49.xml.rels><?xml version="1.0" encoding="UTF-8" standalone="yes"?>
<Relationships xmlns="http://schemas.openxmlformats.org/package/2006/relationships"><Relationship Id="rId8" Type="http://schemas.openxmlformats.org/officeDocument/2006/relationships/image" Target="../media/image166.png"/><Relationship Id="rId13" Type="http://schemas.openxmlformats.org/officeDocument/2006/relationships/hyperlink" Target="https://www.gavi.org/news/document-library/gavi-vaccine-funding-guidelines" TargetMode="External"/><Relationship Id="rId18" Type="http://schemas.openxmlformats.org/officeDocument/2006/relationships/hyperlink" Target="https://www.gavi.org/fr/actualites/librarie-de-documents/directives-de-financement-du-programme-gavi" TargetMode="External"/><Relationship Id="rId3" Type="http://schemas.openxmlformats.org/officeDocument/2006/relationships/notesSlide" Target="../notesSlides/notesSlide23.xml"/><Relationship Id="rId7" Type="http://schemas.openxmlformats.org/officeDocument/2006/relationships/image" Target="../media/image165.png"/><Relationship Id="rId12" Type="http://schemas.openxmlformats.org/officeDocument/2006/relationships/hyperlink" Target="https://www.gavi.org/sites/default/files/support/Gavi_Programme_Funding_Guidelines.pdf" TargetMode="External"/><Relationship Id="rId17" Type="http://schemas.openxmlformats.org/officeDocument/2006/relationships/hyperlink" Target="https://www.gavi.org/fr/actualites/librarie-de-documents/guide-deligibilite-budgetaire-de-gavi" TargetMode="External"/><Relationship Id="rId2" Type="http://schemas.openxmlformats.org/officeDocument/2006/relationships/slideLayout" Target="../slideLayouts/slideLayout308.xml"/><Relationship Id="rId16" Type="http://schemas.openxmlformats.org/officeDocument/2006/relationships/hyperlink" Target="https://www.gavi.org/fr/actualites/librarie-de-documents/directives-pour-le-processus-de-demande-de-gavi" TargetMode="External"/><Relationship Id="rId1" Type="http://schemas.openxmlformats.org/officeDocument/2006/relationships/tags" Target="../tags/tag16.xml"/><Relationship Id="rId6" Type="http://schemas.openxmlformats.org/officeDocument/2006/relationships/hyperlink" Target="https://www.gavi.org/our-support/guidelines" TargetMode="External"/><Relationship Id="rId11" Type="http://schemas.openxmlformats.org/officeDocument/2006/relationships/hyperlink" Target="https://www.gavi.org/news/document-library/gavi-application-process-guidelines" TargetMode="External"/><Relationship Id="rId5" Type="http://schemas.openxmlformats.org/officeDocument/2006/relationships/image" Target="../media/image39.emf"/><Relationship Id="rId15" Type="http://schemas.openxmlformats.org/officeDocument/2006/relationships/image" Target="../media/image169.png"/><Relationship Id="rId10" Type="http://schemas.openxmlformats.org/officeDocument/2006/relationships/image" Target="../media/image168.png"/><Relationship Id="rId19" Type="http://schemas.openxmlformats.org/officeDocument/2006/relationships/hyperlink" Target="https://www.gavi.org/fr/actualites/librarie-de-documents/directives-de-gavi-pour-le-financement-du-soutien-aux-vaccins" TargetMode="External"/><Relationship Id="rId4" Type="http://schemas.openxmlformats.org/officeDocument/2006/relationships/oleObject" Target="../embeddings/oleObject15.bin"/><Relationship Id="rId9" Type="http://schemas.openxmlformats.org/officeDocument/2006/relationships/image" Target="../media/image167.png"/><Relationship Id="rId14" Type="http://schemas.openxmlformats.org/officeDocument/2006/relationships/hyperlink" Target="https://www.gavi.org/news/document-library/gavi-budget-eligibility-guide"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58.jpeg"/><Relationship Id="rId7" Type="http://schemas.openxmlformats.org/officeDocument/2006/relationships/hyperlink" Target="https://www.who.int/publications/i/item/9789241513838" TargetMode="External"/><Relationship Id="rId2" Type="http://schemas.openxmlformats.org/officeDocument/2006/relationships/notesSlide" Target="../notesSlides/notesSlide2.xml"/><Relationship Id="rId1" Type="http://schemas.openxmlformats.org/officeDocument/2006/relationships/slideLayout" Target="../slideLayouts/slideLayout21.xml"/><Relationship Id="rId6" Type="http://schemas.openxmlformats.org/officeDocument/2006/relationships/image" Target="../media/image68.jpeg"/><Relationship Id="rId5" Type="http://schemas.openxmlformats.org/officeDocument/2006/relationships/image" Target="../media/image67.png"/><Relationship Id="rId4" Type="http://schemas.openxmlformats.org/officeDocument/2006/relationships/image" Target="../media/image66.png"/></Relationships>
</file>

<file path=ppt/slides/_rels/slide50.xml.rels><?xml version="1.0" encoding="UTF-8" standalone="yes"?>
<Relationships xmlns="http://schemas.openxmlformats.org/package/2006/relationships"><Relationship Id="rId3" Type="http://schemas.openxmlformats.org/officeDocument/2006/relationships/image" Target="../media/image171.png"/><Relationship Id="rId7" Type="http://schemas.openxmlformats.org/officeDocument/2006/relationships/image" Target="../media/image175.svg"/><Relationship Id="rId2" Type="http://schemas.openxmlformats.org/officeDocument/2006/relationships/image" Target="../media/image170.png"/><Relationship Id="rId1" Type="http://schemas.openxmlformats.org/officeDocument/2006/relationships/slideLayout" Target="../slideLayouts/slideLayout308.xml"/><Relationship Id="rId6" Type="http://schemas.openxmlformats.org/officeDocument/2006/relationships/image" Target="../media/image174.png"/><Relationship Id="rId5" Type="http://schemas.openxmlformats.org/officeDocument/2006/relationships/image" Target="../media/image173.png"/><Relationship Id="rId4" Type="http://schemas.openxmlformats.org/officeDocument/2006/relationships/image" Target="../media/image172.png"/></Relationships>
</file>

<file path=ppt/slides/_rels/slide51.xml.rels><?xml version="1.0" encoding="UTF-8" standalone="yes"?>
<Relationships xmlns="http://schemas.openxmlformats.org/package/2006/relationships"><Relationship Id="rId2" Type="http://schemas.openxmlformats.org/officeDocument/2006/relationships/image" Target="../media/image176.emf"/><Relationship Id="rId1" Type="http://schemas.openxmlformats.org/officeDocument/2006/relationships/slideLayout" Target="../slideLayouts/slideLayout42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92.xml"/></Relationships>
</file>

<file path=ppt/slides/_rels/slide53.xml.rels><?xml version="1.0" encoding="UTF-8" standalone="yes"?>
<Relationships xmlns="http://schemas.openxmlformats.org/package/2006/relationships"><Relationship Id="rId3" Type="http://schemas.openxmlformats.org/officeDocument/2006/relationships/image" Target="../media/image177.png"/><Relationship Id="rId2" Type="http://schemas.openxmlformats.org/officeDocument/2006/relationships/notesSlide" Target="../notesSlides/notesSlide24.xml"/><Relationship Id="rId1" Type="http://schemas.openxmlformats.org/officeDocument/2006/relationships/slideLayout" Target="../slideLayouts/slideLayout432.xml"/></Relationships>
</file>

<file path=ppt/slides/_rels/slide54.xml.rels><?xml version="1.0" encoding="UTF-8" standalone="yes"?>
<Relationships xmlns="http://schemas.openxmlformats.org/package/2006/relationships"><Relationship Id="rId3" Type="http://schemas.openxmlformats.org/officeDocument/2006/relationships/image" Target="../media/image179.svg"/><Relationship Id="rId2" Type="http://schemas.openxmlformats.org/officeDocument/2006/relationships/image" Target="../media/image178.png"/><Relationship Id="rId1" Type="http://schemas.openxmlformats.org/officeDocument/2006/relationships/slideLayout" Target="../slideLayouts/slideLayout288.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88.xml"/></Relationships>
</file>

<file path=ppt/slides/_rels/slide56.xml.rels><?xml version="1.0" encoding="UTF-8" standalone="yes"?>
<Relationships xmlns="http://schemas.openxmlformats.org/package/2006/relationships"><Relationship Id="rId2" Type="http://schemas.openxmlformats.org/officeDocument/2006/relationships/hyperlink" Target="https://www.unitedagainstrabies.org/uar-best-practice/minimum-data-elements/" TargetMode="External"/><Relationship Id="rId1" Type="http://schemas.openxmlformats.org/officeDocument/2006/relationships/slideLayout" Target="../slideLayouts/slideLayout288.xml"/></Relationships>
</file>

<file path=ppt/slides/_rels/slide57.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50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58.xml.rels><?xml version="1.0" encoding="UTF-8" standalone="yes"?>
<Relationships xmlns="http://schemas.openxmlformats.org/package/2006/relationships"><Relationship Id="rId2" Type="http://schemas.openxmlformats.org/officeDocument/2006/relationships/hyperlink" Target="https://www.dropbox.com/sh/8n1582v3h87shsn/AADpxANn8uM2IYKjBVAaMzuna?dl=0" TargetMode="External"/><Relationship Id="rId1" Type="http://schemas.openxmlformats.org/officeDocument/2006/relationships/slideLayout" Target="../slideLayouts/slideLayout402.xml"/></Relationships>
</file>

<file path=ppt/slides/_rels/slide6.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png"/><Relationship Id="rId1" Type="http://schemas.openxmlformats.org/officeDocument/2006/relationships/slideLayout" Target="../slideLayouts/slideLayout17.xml"/><Relationship Id="rId5" Type="http://schemas.openxmlformats.org/officeDocument/2006/relationships/image" Target="../media/image58.jpeg"/><Relationship Id="rId4" Type="http://schemas.openxmlformats.org/officeDocument/2006/relationships/hyperlink" Target="https://www.thelancet.com/journals/laninf/article/PIIS1473-3099(18)30512-7/fulltext" TargetMode="External"/></Relationships>
</file>

<file path=ppt/slides/_rels/slide7.xml.rels><?xml version="1.0" encoding="UTF-8" standalone="yes"?>
<Relationships xmlns="http://schemas.openxmlformats.org/package/2006/relationships"><Relationship Id="rId8" Type="http://schemas.openxmlformats.org/officeDocument/2006/relationships/image" Target="../media/image73.png"/><Relationship Id="rId3" Type="http://schemas.openxmlformats.org/officeDocument/2006/relationships/hyperlink" Target="https://www.who.int/publications/i/item/WHO-TRS-1012" TargetMode="External"/><Relationship Id="rId7" Type="http://schemas.openxmlformats.org/officeDocument/2006/relationships/image" Target="../media/image58.jpeg"/><Relationship Id="rId2" Type="http://schemas.openxmlformats.org/officeDocument/2006/relationships/notesSlide" Target="../notesSlides/notesSlide3.xml"/><Relationship Id="rId1" Type="http://schemas.openxmlformats.org/officeDocument/2006/relationships/slideLayout" Target="../slideLayouts/slideLayout20.xml"/><Relationship Id="rId6" Type="http://schemas.openxmlformats.org/officeDocument/2006/relationships/image" Target="../media/image72.emf"/><Relationship Id="rId5" Type="http://schemas.openxmlformats.org/officeDocument/2006/relationships/image" Target="../media/image71.png"/><Relationship Id="rId10" Type="http://schemas.openxmlformats.org/officeDocument/2006/relationships/image" Target="../media/image75.svg"/><Relationship Id="rId4" Type="http://schemas.openxmlformats.org/officeDocument/2006/relationships/hyperlink" Target="https://worldhealthorg.sharepoint.com/sites/NZDsandOH/Shared%20Documents/Forms/AllItems.aspx?id=%2Fsites%2FNZDsandOH%2FShared%20Documents%2FGeneral%2FRabies%2FRabies%20%2D%20Resources%20and%20Communication%20material%2FWHO%20Rabies%20Resources%2FRabies%20vaccines%20WHO%20position%20paper%20%E2%80%93%20April%202018%2Epdf&amp;parent=%2Fsites%2FNZDsandOH%2FShared%20Documents%2FGeneral%2FRabies%2FRabies%20%2D%20Resources%20and%20Communication%20material%2FWHO%20Rabies%20Resources" TargetMode="External"/><Relationship Id="rId9" Type="http://schemas.openxmlformats.org/officeDocument/2006/relationships/image" Target="../media/image74.png"/></Relationships>
</file>

<file path=ppt/slides/_rels/slide8.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6.emf"/><Relationship Id="rId1" Type="http://schemas.openxmlformats.org/officeDocument/2006/relationships/slideLayout" Target="../slideLayouts/slideLayout17.xml"/><Relationship Id="rId4" Type="http://schemas.openxmlformats.org/officeDocument/2006/relationships/image" Target="../media/image58.jpeg"/></Relationships>
</file>

<file path=ppt/slides/_rels/slide9.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4.xml"/><Relationship Id="rId1" Type="http://schemas.openxmlformats.org/officeDocument/2006/relationships/slideLayout" Target="../slideLayouts/slideLayout16.xml"/><Relationship Id="rId6" Type="http://schemas.openxmlformats.org/officeDocument/2006/relationships/image" Target="../media/image58.jpeg"/><Relationship Id="rId5" Type="http://schemas.openxmlformats.org/officeDocument/2006/relationships/hyperlink" Target="https://www.who.int/publications/i/item/WHO-IVB-14.07" TargetMode="External"/><Relationship Id="rId4" Type="http://schemas.openxmlformats.org/officeDocument/2006/relationships/image" Target="../media/image7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C1B283-7933-A70C-5A08-CFC2BF2B9745}"/>
              </a:ext>
            </a:extLst>
          </p:cNvPr>
          <p:cNvSpPr>
            <a:spLocks noGrp="1"/>
          </p:cNvSpPr>
          <p:nvPr>
            <p:ph type="ctrTitle"/>
          </p:nvPr>
        </p:nvSpPr>
        <p:spPr>
          <a:xfrm>
            <a:off x="206735" y="5146653"/>
            <a:ext cx="11489634" cy="739880"/>
          </a:xfrm>
        </p:spPr>
        <p:txBody>
          <a:bodyPr anchor="b">
            <a:normAutofit fontScale="90000"/>
          </a:bodyPr>
          <a:lstStyle/>
          <a:p>
            <a:r>
              <a:rPr lang="en-US" sz="2800" b="1" dirty="0">
                <a:solidFill>
                  <a:srgbClr val="0087CB"/>
                </a:solidFill>
              </a:rPr>
              <a:t>GNN webinar, 6 May 2024</a:t>
            </a:r>
            <a:br>
              <a:rPr lang="en-US" sz="4000" b="1" dirty="0">
                <a:solidFill>
                  <a:srgbClr val="0087CB"/>
                </a:solidFill>
              </a:rPr>
            </a:br>
            <a:r>
              <a:rPr lang="en-US" sz="3600" b="1" dirty="0"/>
              <a:t>Reaching zero human deaths from dog-mediated rabies by 2030</a:t>
            </a:r>
            <a:endParaRPr lang="en-US" sz="3600" dirty="0">
              <a:solidFill>
                <a:schemeClr val="tx1">
                  <a:lumMod val="85000"/>
                  <a:lumOff val="15000"/>
                </a:schemeClr>
              </a:solidFill>
            </a:endParaRPr>
          </a:p>
        </p:txBody>
      </p:sp>
      <p:sp>
        <p:nvSpPr>
          <p:cNvPr id="3" name="Subtitle 2">
            <a:extLst>
              <a:ext uri="{FF2B5EF4-FFF2-40B4-BE49-F238E27FC236}">
                <a16:creationId xmlns:a16="http://schemas.microsoft.com/office/drawing/2014/main" id="{2AD0D585-FE63-474D-9E88-4DDF1F8F9491}"/>
              </a:ext>
            </a:extLst>
          </p:cNvPr>
          <p:cNvSpPr>
            <a:spLocks noGrp="1"/>
          </p:cNvSpPr>
          <p:nvPr>
            <p:ph type="subTitle" idx="1"/>
          </p:nvPr>
        </p:nvSpPr>
        <p:spPr>
          <a:xfrm>
            <a:off x="2426447" y="6019391"/>
            <a:ext cx="7315199" cy="365125"/>
          </a:xfrm>
        </p:spPr>
        <p:txBody>
          <a:bodyPr anchor="t">
            <a:normAutofit fontScale="92500"/>
          </a:bodyPr>
          <a:lstStyle/>
          <a:p>
            <a:r>
              <a:rPr lang="en-US" sz="1600" dirty="0">
                <a:solidFill>
                  <a:schemeClr val="tx1">
                    <a:lumMod val="85000"/>
                    <a:lumOff val="15000"/>
                  </a:schemeClr>
                </a:solidFill>
              </a:rPr>
              <a:t>Dr Bernadette </a:t>
            </a:r>
            <a:r>
              <a:rPr lang="en-US" sz="1600" dirty="0" err="1">
                <a:solidFill>
                  <a:schemeClr val="tx1">
                    <a:lumMod val="85000"/>
                    <a:lumOff val="15000"/>
                  </a:schemeClr>
                </a:solidFill>
              </a:rPr>
              <a:t>Abela,</a:t>
            </a:r>
            <a:r>
              <a:rPr lang="en-US" sz="1600" dirty="0">
                <a:solidFill>
                  <a:schemeClr val="tx1">
                    <a:lumMod val="85000"/>
                    <a:lumOff val="15000"/>
                  </a:schemeClr>
                </a:solidFill>
              </a:rPr>
              <a:t> Global </a:t>
            </a:r>
            <a:r>
              <a:rPr lang="en-US" sz="1600" dirty="0" err="1">
                <a:solidFill>
                  <a:schemeClr val="tx1">
                    <a:lumMod val="85000"/>
                    <a:lumOff val="15000"/>
                  </a:schemeClr>
                </a:solidFill>
              </a:rPr>
              <a:t>Programme</a:t>
            </a:r>
            <a:r>
              <a:rPr lang="en-US" sz="1600" dirty="0">
                <a:solidFill>
                  <a:schemeClr val="tx1">
                    <a:lumMod val="85000"/>
                    <a:lumOff val="15000"/>
                  </a:schemeClr>
                </a:solidFill>
              </a:rPr>
              <a:t> for Neglected Tropical Diseases, abelab@who.int </a:t>
            </a:r>
          </a:p>
          <a:p>
            <a:endParaRPr lang="en-US" sz="1600" dirty="0">
              <a:solidFill>
                <a:schemeClr val="tx1">
                  <a:lumMod val="85000"/>
                  <a:lumOff val="15000"/>
                </a:schemeClr>
              </a:solidFill>
            </a:endParaRPr>
          </a:p>
        </p:txBody>
      </p:sp>
      <p:pic>
        <p:nvPicPr>
          <p:cNvPr id="4" name="Picture 3" descr="A group of children playing outside&#10;&#10;Description automatically generated">
            <a:extLst>
              <a:ext uri="{FF2B5EF4-FFF2-40B4-BE49-F238E27FC236}">
                <a16:creationId xmlns:a16="http://schemas.microsoft.com/office/drawing/2014/main" id="{C20FF2D4-C60D-7BD4-C22F-6118300A5BB0}"/>
              </a:ext>
            </a:extLst>
          </p:cNvPr>
          <p:cNvPicPr>
            <a:picLocks noChangeAspect="1"/>
          </p:cNvPicPr>
          <p:nvPr/>
        </p:nvPicPr>
        <p:blipFill rotWithShape="1">
          <a:blip r:embed="rId2">
            <a:extLst>
              <a:ext uri="{28A0092B-C50C-407E-A947-70E740481C1C}">
                <a14:useLocalDpi xmlns:a14="http://schemas.microsoft.com/office/drawing/2010/main" val="0"/>
              </a:ext>
            </a:extLst>
          </a:blip>
          <a:srcRect t="18138" b="9529"/>
          <a:stretch/>
        </p:blipFill>
        <p:spPr>
          <a:xfrm>
            <a:off x="20" y="10"/>
            <a:ext cx="12191979" cy="5886523"/>
          </a:xfrm>
          <a:custGeom>
            <a:avLst/>
            <a:gdLst/>
            <a:ahLst/>
            <a:cxnLst/>
            <a:rect l="l" t="t" r="r" b="b"/>
            <a:pathLst>
              <a:path w="12191999" h="5886533">
                <a:moveTo>
                  <a:pt x="4721173" y="4907914"/>
                </a:moveTo>
                <a:lnTo>
                  <a:pt x="4722109" y="4908125"/>
                </a:lnTo>
                <a:cubicBezTo>
                  <a:pt x="4721143" y="4908767"/>
                  <a:pt x="4718263" y="4909373"/>
                  <a:pt x="4717199" y="4909396"/>
                </a:cubicBezTo>
                <a:close/>
                <a:moveTo>
                  <a:pt x="0" y="0"/>
                </a:moveTo>
                <a:lnTo>
                  <a:pt x="12191999" y="0"/>
                </a:lnTo>
                <a:lnTo>
                  <a:pt x="12191999" y="5751311"/>
                </a:lnTo>
                <a:lnTo>
                  <a:pt x="12140860" y="5770509"/>
                </a:lnTo>
                <a:cubicBezTo>
                  <a:pt x="12126656" y="5772723"/>
                  <a:pt x="12093589" y="5827925"/>
                  <a:pt x="12080161" y="5826358"/>
                </a:cubicBezTo>
                <a:cubicBezTo>
                  <a:pt x="11978188" y="5850511"/>
                  <a:pt x="11967361" y="5873564"/>
                  <a:pt x="11917885" y="5861578"/>
                </a:cubicBezTo>
                <a:cubicBezTo>
                  <a:pt x="11872779" y="5859863"/>
                  <a:pt x="11928861" y="5896778"/>
                  <a:pt x="11894610" y="5883738"/>
                </a:cubicBezTo>
                <a:cubicBezTo>
                  <a:pt x="11860359" y="5870698"/>
                  <a:pt x="11736091" y="5807232"/>
                  <a:pt x="11712379" y="5783337"/>
                </a:cubicBezTo>
                <a:cubicBezTo>
                  <a:pt x="11688667" y="5759442"/>
                  <a:pt x="11627912" y="5782933"/>
                  <a:pt x="11585366" y="5740371"/>
                </a:cubicBezTo>
                <a:lnTo>
                  <a:pt x="11516470" y="5663679"/>
                </a:lnTo>
                <a:cubicBezTo>
                  <a:pt x="11468274" y="5661847"/>
                  <a:pt x="11507335" y="5626593"/>
                  <a:pt x="11462692" y="5610127"/>
                </a:cubicBezTo>
                <a:cubicBezTo>
                  <a:pt x="11417567" y="5608500"/>
                  <a:pt x="11408021" y="5556613"/>
                  <a:pt x="11369712" y="5548654"/>
                </a:cubicBezTo>
                <a:cubicBezTo>
                  <a:pt x="11354317" y="5554704"/>
                  <a:pt x="11288328" y="5499810"/>
                  <a:pt x="11273969" y="5488986"/>
                </a:cubicBezTo>
                <a:cubicBezTo>
                  <a:pt x="11231913" y="5490378"/>
                  <a:pt x="11221973" y="5480544"/>
                  <a:pt x="11195084" y="5467967"/>
                </a:cubicBezTo>
                <a:cubicBezTo>
                  <a:pt x="11164086" y="5497749"/>
                  <a:pt x="11171649" y="5471790"/>
                  <a:pt x="11143408" y="5468614"/>
                </a:cubicBezTo>
                <a:cubicBezTo>
                  <a:pt x="11125906" y="5464975"/>
                  <a:pt x="11102603" y="5460835"/>
                  <a:pt x="11085935" y="5459365"/>
                </a:cubicBezTo>
                <a:cubicBezTo>
                  <a:pt x="11057493" y="5459661"/>
                  <a:pt x="11029906" y="5441496"/>
                  <a:pt x="11030953" y="5456484"/>
                </a:cubicBezTo>
                <a:cubicBezTo>
                  <a:pt x="11007784" y="5459001"/>
                  <a:pt x="10982005" y="5463178"/>
                  <a:pt x="10951060" y="5461240"/>
                </a:cubicBezTo>
                <a:cubicBezTo>
                  <a:pt x="10885365" y="5424406"/>
                  <a:pt x="10915288" y="5460968"/>
                  <a:pt x="10857721" y="5448157"/>
                </a:cubicBezTo>
                <a:cubicBezTo>
                  <a:pt x="10806646" y="5435790"/>
                  <a:pt x="10707075" y="5402712"/>
                  <a:pt x="10644616" y="5387039"/>
                </a:cubicBezTo>
                <a:cubicBezTo>
                  <a:pt x="10616446" y="5382224"/>
                  <a:pt x="10558603" y="5371613"/>
                  <a:pt x="10519277" y="5366793"/>
                </a:cubicBezTo>
                <a:cubicBezTo>
                  <a:pt x="10495461" y="5368312"/>
                  <a:pt x="10473830" y="5354868"/>
                  <a:pt x="10445981" y="5364735"/>
                </a:cubicBezTo>
                <a:cubicBezTo>
                  <a:pt x="10436536" y="5368773"/>
                  <a:pt x="10409281" y="5367966"/>
                  <a:pt x="10383865" y="5360888"/>
                </a:cubicBezTo>
                <a:cubicBezTo>
                  <a:pt x="10374827" y="5369095"/>
                  <a:pt x="10347864" y="5360432"/>
                  <a:pt x="10336852" y="5360277"/>
                </a:cubicBezTo>
                <a:cubicBezTo>
                  <a:pt x="10323586" y="5366987"/>
                  <a:pt x="10274741" y="5357921"/>
                  <a:pt x="10261098" y="5350526"/>
                </a:cubicBezTo>
                <a:lnTo>
                  <a:pt x="10126497" y="5339011"/>
                </a:lnTo>
                <a:lnTo>
                  <a:pt x="10082166" y="5336916"/>
                </a:lnTo>
                <a:cubicBezTo>
                  <a:pt x="10074567" y="5338985"/>
                  <a:pt x="10046860" y="5337657"/>
                  <a:pt x="10039237" y="5338580"/>
                </a:cubicBezTo>
                <a:cubicBezTo>
                  <a:pt x="9998458" y="5328479"/>
                  <a:pt x="9984394" y="5327989"/>
                  <a:pt x="9960016" y="5323065"/>
                </a:cubicBezTo>
                <a:cubicBezTo>
                  <a:pt x="9918980" y="5322923"/>
                  <a:pt x="9888741" y="5326122"/>
                  <a:pt x="9847789" y="5316297"/>
                </a:cubicBezTo>
                <a:lnTo>
                  <a:pt x="9728306" y="5296090"/>
                </a:lnTo>
                <a:cubicBezTo>
                  <a:pt x="9675056" y="5305676"/>
                  <a:pt x="9602035" y="5297282"/>
                  <a:pt x="9584504" y="5284670"/>
                </a:cubicBezTo>
                <a:cubicBezTo>
                  <a:pt x="9518952" y="5270394"/>
                  <a:pt x="9415429" y="5244268"/>
                  <a:pt x="9343049" y="5238968"/>
                </a:cubicBezTo>
                <a:lnTo>
                  <a:pt x="9231367" y="5187063"/>
                </a:lnTo>
                <a:lnTo>
                  <a:pt x="9194807" y="5176984"/>
                </a:lnTo>
                <a:lnTo>
                  <a:pt x="9189243" y="5167745"/>
                </a:lnTo>
                <a:lnTo>
                  <a:pt x="9151229" y="5156543"/>
                </a:lnTo>
                <a:lnTo>
                  <a:pt x="9150207" y="5157608"/>
                </a:lnTo>
                <a:cubicBezTo>
                  <a:pt x="9147045" y="5159739"/>
                  <a:pt x="9143081" y="5160831"/>
                  <a:pt x="9137315" y="5159777"/>
                </a:cubicBezTo>
                <a:cubicBezTo>
                  <a:pt x="9138862" y="5179261"/>
                  <a:pt x="9130952" y="5165972"/>
                  <a:pt x="9113809" y="5161143"/>
                </a:cubicBezTo>
                <a:cubicBezTo>
                  <a:pt x="9112388" y="5190326"/>
                  <a:pt x="9068114" y="5155892"/>
                  <a:pt x="9053450" y="5169457"/>
                </a:cubicBezTo>
                <a:lnTo>
                  <a:pt x="9005483" y="5166172"/>
                </a:lnTo>
                <a:lnTo>
                  <a:pt x="9005198" y="5166412"/>
                </a:lnTo>
                <a:cubicBezTo>
                  <a:pt x="9003143" y="5166632"/>
                  <a:pt x="9000324" y="5166304"/>
                  <a:pt x="8996229" y="5165201"/>
                </a:cubicBezTo>
                <a:lnTo>
                  <a:pt x="8990391" y="5163140"/>
                </a:lnTo>
                <a:lnTo>
                  <a:pt x="8974334" y="5159914"/>
                </a:lnTo>
                <a:lnTo>
                  <a:pt x="8968008" y="5160614"/>
                </a:lnTo>
                <a:lnTo>
                  <a:pt x="8963045" y="5162839"/>
                </a:lnTo>
                <a:cubicBezTo>
                  <a:pt x="8954690" y="5154888"/>
                  <a:pt x="8955517" y="5145940"/>
                  <a:pt x="8928985" y="5166027"/>
                </a:cubicBezTo>
                <a:cubicBezTo>
                  <a:pt x="8898031" y="5165007"/>
                  <a:pt x="8789300" y="5150352"/>
                  <a:pt x="8752441" y="5146795"/>
                </a:cubicBezTo>
                <a:cubicBezTo>
                  <a:pt x="8719819" y="5136075"/>
                  <a:pt x="8748194" y="5149736"/>
                  <a:pt x="8707844" y="5144694"/>
                </a:cubicBezTo>
                <a:cubicBezTo>
                  <a:pt x="8671606" y="5125159"/>
                  <a:pt x="8639142" y="5141599"/>
                  <a:pt x="8596068" y="5136122"/>
                </a:cubicBezTo>
                <a:lnTo>
                  <a:pt x="8525227" y="5150964"/>
                </a:lnTo>
                <a:lnTo>
                  <a:pt x="8510980" y="5145049"/>
                </a:lnTo>
                <a:lnTo>
                  <a:pt x="8506164" y="5142048"/>
                </a:lnTo>
                <a:cubicBezTo>
                  <a:pt x="8502646" y="5140271"/>
                  <a:pt x="8500045" y="5139460"/>
                  <a:pt x="8497965" y="5139310"/>
                </a:cubicBezTo>
                <a:lnTo>
                  <a:pt x="8497591" y="5139489"/>
                </a:lnTo>
                <a:lnTo>
                  <a:pt x="8490246" y="5136439"/>
                </a:lnTo>
                <a:lnTo>
                  <a:pt x="8367179" y="5122397"/>
                </a:lnTo>
                <a:cubicBezTo>
                  <a:pt x="8362021" y="5120372"/>
                  <a:pt x="8357730" y="5120720"/>
                  <a:pt x="8353796" y="5122203"/>
                </a:cubicBezTo>
                <a:lnTo>
                  <a:pt x="8352369" y="5123043"/>
                </a:lnTo>
                <a:lnTo>
                  <a:pt x="8320101" y="5105625"/>
                </a:lnTo>
                <a:lnTo>
                  <a:pt x="8314429" y="5105299"/>
                </a:lnTo>
                <a:lnTo>
                  <a:pt x="8295170" y="5091404"/>
                </a:lnTo>
                <a:lnTo>
                  <a:pt x="8284273" y="5085581"/>
                </a:lnTo>
                <a:lnTo>
                  <a:pt x="8283146" y="5081138"/>
                </a:lnTo>
                <a:cubicBezTo>
                  <a:pt x="8280842" y="5077893"/>
                  <a:pt x="8276148" y="5075245"/>
                  <a:pt x="8266072" y="5073963"/>
                </a:cubicBezTo>
                <a:lnTo>
                  <a:pt x="8263373" y="5074193"/>
                </a:lnTo>
                <a:lnTo>
                  <a:pt x="8252030" y="5064350"/>
                </a:lnTo>
                <a:cubicBezTo>
                  <a:pt x="8248856" y="5060500"/>
                  <a:pt x="8246644" y="5056218"/>
                  <a:pt x="8245831" y="5051358"/>
                </a:cubicBezTo>
                <a:cubicBezTo>
                  <a:pt x="8181824" y="5054265"/>
                  <a:pt x="8147127" y="5020143"/>
                  <a:pt x="8090268" y="5005197"/>
                </a:cubicBezTo>
                <a:cubicBezTo>
                  <a:pt x="8025464" y="4982055"/>
                  <a:pt x="7967067" y="4960819"/>
                  <a:pt x="7905404" y="4963224"/>
                </a:cubicBezTo>
                <a:cubicBezTo>
                  <a:pt x="7835116" y="4948312"/>
                  <a:pt x="7780962" y="4946081"/>
                  <a:pt x="7718741" y="4937509"/>
                </a:cubicBezTo>
                <a:lnTo>
                  <a:pt x="7614343" y="4940980"/>
                </a:lnTo>
                <a:lnTo>
                  <a:pt x="7527539" y="4935152"/>
                </a:lnTo>
                <a:lnTo>
                  <a:pt x="7519567" y="4932599"/>
                </a:lnTo>
                <a:cubicBezTo>
                  <a:pt x="7513989" y="4931260"/>
                  <a:pt x="7510169" y="4930910"/>
                  <a:pt x="7507408" y="4931264"/>
                </a:cubicBezTo>
                <a:lnTo>
                  <a:pt x="7507036" y="4931591"/>
                </a:lnTo>
                <a:lnTo>
                  <a:pt x="7495791" y="4929639"/>
                </a:lnTo>
                <a:cubicBezTo>
                  <a:pt x="7476982" y="4925521"/>
                  <a:pt x="7422524" y="4942937"/>
                  <a:pt x="7405387" y="4937744"/>
                </a:cubicBezTo>
                <a:cubicBezTo>
                  <a:pt x="7374785" y="4940694"/>
                  <a:pt x="7333986" y="4941799"/>
                  <a:pt x="7312176" y="4947339"/>
                </a:cubicBezTo>
                <a:lnTo>
                  <a:pt x="7310849" y="4948781"/>
                </a:lnTo>
                <a:lnTo>
                  <a:pt x="7218556" y="4923532"/>
                </a:lnTo>
                <a:lnTo>
                  <a:pt x="7201098" y="4918982"/>
                </a:lnTo>
                <a:lnTo>
                  <a:pt x="7197000" y="4913624"/>
                </a:lnTo>
                <a:cubicBezTo>
                  <a:pt x="7192108" y="4910101"/>
                  <a:pt x="7184502" y="4907962"/>
                  <a:pt x="7170804" y="4908976"/>
                </a:cubicBezTo>
                <a:lnTo>
                  <a:pt x="7096984" y="4896748"/>
                </a:lnTo>
                <a:cubicBezTo>
                  <a:pt x="7061144" y="4895770"/>
                  <a:pt x="7050185" y="4894793"/>
                  <a:pt x="7018492" y="4897122"/>
                </a:cubicBezTo>
                <a:cubicBezTo>
                  <a:pt x="6937524" y="4886184"/>
                  <a:pt x="6943641" y="4862018"/>
                  <a:pt x="6904142" y="4867616"/>
                </a:cubicBezTo>
                <a:cubicBezTo>
                  <a:pt x="6871918" y="4872824"/>
                  <a:pt x="6787985" y="4853750"/>
                  <a:pt x="6708218" y="4839661"/>
                </a:cubicBezTo>
                <a:cubicBezTo>
                  <a:pt x="6649102" y="4830206"/>
                  <a:pt x="6628102" y="4816105"/>
                  <a:pt x="6549451" y="4810885"/>
                </a:cubicBezTo>
                <a:cubicBezTo>
                  <a:pt x="6472150" y="4766795"/>
                  <a:pt x="6409692" y="4790518"/>
                  <a:pt x="6317556" y="4764085"/>
                </a:cubicBezTo>
                <a:cubicBezTo>
                  <a:pt x="6297547" y="4748563"/>
                  <a:pt x="6209288" y="4765756"/>
                  <a:pt x="6168670" y="4761998"/>
                </a:cubicBezTo>
                <a:cubicBezTo>
                  <a:pt x="6128052" y="4758240"/>
                  <a:pt x="6090536" y="4744692"/>
                  <a:pt x="6073844" y="4741536"/>
                </a:cubicBezTo>
                <a:lnTo>
                  <a:pt x="6068526" y="4743073"/>
                </a:lnTo>
                <a:lnTo>
                  <a:pt x="6048634" y="4742390"/>
                </a:lnTo>
                <a:lnTo>
                  <a:pt x="6041279" y="4750739"/>
                </a:lnTo>
                <a:lnTo>
                  <a:pt x="6010088" y="4755832"/>
                </a:lnTo>
                <a:cubicBezTo>
                  <a:pt x="5998677" y="4756419"/>
                  <a:pt x="5970124" y="4755506"/>
                  <a:pt x="5957373" y="4752188"/>
                </a:cubicBezTo>
                <a:lnTo>
                  <a:pt x="5758915" y="4736496"/>
                </a:lnTo>
                <a:lnTo>
                  <a:pt x="5626957" y="4735473"/>
                </a:lnTo>
                <a:lnTo>
                  <a:pt x="5470902" y="4749493"/>
                </a:lnTo>
                <a:cubicBezTo>
                  <a:pt x="5478131" y="4762521"/>
                  <a:pt x="5439006" y="4748455"/>
                  <a:pt x="5432757" y="4760746"/>
                </a:cubicBezTo>
                <a:cubicBezTo>
                  <a:pt x="5429365" y="4770778"/>
                  <a:pt x="5391824" y="4775462"/>
                  <a:pt x="5381664" y="4778448"/>
                </a:cubicBezTo>
                <a:lnTo>
                  <a:pt x="5261760" y="4798865"/>
                </a:lnTo>
                <a:cubicBezTo>
                  <a:pt x="5251595" y="4799049"/>
                  <a:pt x="5230547" y="4807359"/>
                  <a:pt x="5222959" y="4809989"/>
                </a:cubicBezTo>
                <a:lnTo>
                  <a:pt x="5174657" y="4812979"/>
                </a:lnTo>
                <a:lnTo>
                  <a:pt x="5156551" y="4820202"/>
                </a:lnTo>
                <a:lnTo>
                  <a:pt x="5142595" y="4823602"/>
                </a:lnTo>
                <a:lnTo>
                  <a:pt x="5139593" y="4825703"/>
                </a:lnTo>
                <a:cubicBezTo>
                  <a:pt x="5133873" y="4829743"/>
                  <a:pt x="5128076" y="4833554"/>
                  <a:pt x="5121656" y="4836556"/>
                </a:cubicBezTo>
                <a:cubicBezTo>
                  <a:pt x="5108317" y="4807937"/>
                  <a:pt x="5064853" y="4857373"/>
                  <a:pt x="5065787" y="4829985"/>
                </a:cubicBezTo>
                <a:cubicBezTo>
                  <a:pt x="5028193" y="4841501"/>
                  <a:pt x="5038944" y="4812412"/>
                  <a:pt x="5011510" y="4846366"/>
                </a:cubicBezTo>
                <a:cubicBezTo>
                  <a:pt x="4937023" y="4845983"/>
                  <a:pt x="4916353" y="4832976"/>
                  <a:pt x="4840437" y="4870383"/>
                </a:cubicBezTo>
                <a:cubicBezTo>
                  <a:pt x="4806739" y="4887025"/>
                  <a:pt x="4784106" y="4898171"/>
                  <a:pt x="4762444" y="4898151"/>
                </a:cubicBezTo>
                <a:cubicBezTo>
                  <a:pt x="4741323" y="4902652"/>
                  <a:pt x="4729481" y="4905474"/>
                  <a:pt x="4723182" y="4907166"/>
                </a:cubicBezTo>
                <a:lnTo>
                  <a:pt x="4721173" y="4907914"/>
                </a:lnTo>
                <a:lnTo>
                  <a:pt x="4715524" y="4906639"/>
                </a:lnTo>
                <a:cubicBezTo>
                  <a:pt x="4680148" y="4913595"/>
                  <a:pt x="4524744" y="4914403"/>
                  <a:pt x="4515810" y="4916541"/>
                </a:cubicBezTo>
                <a:cubicBezTo>
                  <a:pt x="4457819" y="4929653"/>
                  <a:pt x="4462659" y="4930394"/>
                  <a:pt x="4428539" y="4927192"/>
                </a:cubicBezTo>
                <a:cubicBezTo>
                  <a:pt x="4423303" y="4923821"/>
                  <a:pt x="4368974" y="4930115"/>
                  <a:pt x="4362872" y="4928538"/>
                </a:cubicBezTo>
                <a:lnTo>
                  <a:pt x="4316962" y="4921923"/>
                </a:lnTo>
                <a:lnTo>
                  <a:pt x="4315106" y="4923264"/>
                </a:lnTo>
                <a:cubicBezTo>
                  <a:pt x="4306123" y="4926635"/>
                  <a:pt x="4299993" y="4926634"/>
                  <a:pt x="4295140" y="4925143"/>
                </a:cubicBezTo>
                <a:lnTo>
                  <a:pt x="4290059" y="4922226"/>
                </a:lnTo>
                <a:lnTo>
                  <a:pt x="4276138" y="4922472"/>
                </a:lnTo>
                <a:lnTo>
                  <a:pt x="4248113" y="4920148"/>
                </a:lnTo>
                <a:lnTo>
                  <a:pt x="4202046" y="4922943"/>
                </a:lnTo>
                <a:cubicBezTo>
                  <a:pt x="4201945" y="4923363"/>
                  <a:pt x="4201842" y="4923782"/>
                  <a:pt x="4201741" y="4924202"/>
                </a:cubicBezTo>
                <a:cubicBezTo>
                  <a:pt x="4200116" y="4927039"/>
                  <a:pt x="4197140" y="4929158"/>
                  <a:pt x="4191245" y="4929836"/>
                </a:cubicBezTo>
                <a:cubicBezTo>
                  <a:pt x="4204212" y="4947125"/>
                  <a:pt x="4161274" y="4945230"/>
                  <a:pt x="4142742" y="4945701"/>
                </a:cubicBezTo>
                <a:cubicBezTo>
                  <a:pt x="4124717" y="4952767"/>
                  <a:pt x="4099099" y="4966347"/>
                  <a:pt x="4083094" y="4972234"/>
                </a:cubicBezTo>
                <a:lnTo>
                  <a:pt x="4074543" y="4973069"/>
                </a:lnTo>
                <a:cubicBezTo>
                  <a:pt x="4074504" y="4973170"/>
                  <a:pt x="4074463" y="4973269"/>
                  <a:pt x="4074424" y="4973368"/>
                </a:cubicBezTo>
                <a:cubicBezTo>
                  <a:pt x="4072678" y="4974152"/>
                  <a:pt x="4069906" y="4974653"/>
                  <a:pt x="4065507" y="4974812"/>
                </a:cubicBezTo>
                <a:lnTo>
                  <a:pt x="4058951" y="4974594"/>
                </a:lnTo>
                <a:lnTo>
                  <a:pt x="4042361" y="4976215"/>
                </a:lnTo>
                <a:lnTo>
                  <a:pt x="4036993" y="4978649"/>
                </a:lnTo>
                <a:lnTo>
                  <a:pt x="4035360" y="4982316"/>
                </a:lnTo>
                <a:lnTo>
                  <a:pt x="4033775" y="4982081"/>
                </a:lnTo>
                <a:cubicBezTo>
                  <a:pt x="4021424" y="4977217"/>
                  <a:pt x="4016874" y="4968841"/>
                  <a:pt x="4004535" y="4994649"/>
                </a:cubicBezTo>
                <a:cubicBezTo>
                  <a:pt x="3976667" y="4987584"/>
                  <a:pt x="3972977" y="5002913"/>
                  <a:pt x="3936843" y="5012106"/>
                </a:cubicBezTo>
                <a:cubicBezTo>
                  <a:pt x="3920506" y="5004382"/>
                  <a:pt x="3908535" y="5009071"/>
                  <a:pt x="3897272" y="5017761"/>
                </a:cubicBezTo>
                <a:cubicBezTo>
                  <a:pt x="3861092" y="5017265"/>
                  <a:pt x="3829628" y="5031135"/>
                  <a:pt x="3789757" y="5037999"/>
                </a:cubicBezTo>
                <a:cubicBezTo>
                  <a:pt x="3741007" y="5052705"/>
                  <a:pt x="3725129" y="5054682"/>
                  <a:pt x="3682510" y="5061922"/>
                </a:cubicBezTo>
                <a:lnTo>
                  <a:pt x="3610032" y="5094193"/>
                </a:lnTo>
                <a:lnTo>
                  <a:pt x="3603852" y="5092831"/>
                </a:lnTo>
                <a:cubicBezTo>
                  <a:pt x="3599580" y="5092212"/>
                  <a:pt x="3596726" y="5092212"/>
                  <a:pt x="3594733" y="5092667"/>
                </a:cubicBezTo>
                <a:lnTo>
                  <a:pt x="3594498" y="5092936"/>
                </a:lnTo>
                <a:lnTo>
                  <a:pt x="3585975" y="5092246"/>
                </a:lnTo>
                <a:cubicBezTo>
                  <a:pt x="3571623" y="5090455"/>
                  <a:pt x="3549389" y="5104654"/>
                  <a:pt x="3536132" y="5101945"/>
                </a:cubicBezTo>
                <a:cubicBezTo>
                  <a:pt x="3513940" y="5106241"/>
                  <a:pt x="3488622" y="5099976"/>
                  <a:pt x="3473220" y="5105606"/>
                </a:cubicBezTo>
                <a:lnTo>
                  <a:pt x="3400725" y="5117654"/>
                </a:lnTo>
                <a:lnTo>
                  <a:pt x="3375935" y="5106247"/>
                </a:lnTo>
                <a:lnTo>
                  <a:pt x="3348219" y="5109860"/>
                </a:lnTo>
                <a:cubicBezTo>
                  <a:pt x="3337206" y="5110533"/>
                  <a:pt x="3327054" y="5111295"/>
                  <a:pt x="3319639" y="5114795"/>
                </a:cubicBezTo>
                <a:lnTo>
                  <a:pt x="3248529" y="5133347"/>
                </a:lnTo>
                <a:lnTo>
                  <a:pt x="3210308" y="5119794"/>
                </a:lnTo>
                <a:cubicBezTo>
                  <a:pt x="3206088" y="5117870"/>
                  <a:pt x="3200152" y="5117326"/>
                  <a:pt x="3190375" y="5119915"/>
                </a:cubicBezTo>
                <a:lnTo>
                  <a:pt x="3188145" y="5121096"/>
                </a:lnTo>
                <a:cubicBezTo>
                  <a:pt x="3182625" y="5119116"/>
                  <a:pt x="3141856" y="5121682"/>
                  <a:pt x="3108596" y="5122416"/>
                </a:cubicBezTo>
                <a:cubicBezTo>
                  <a:pt x="3055968" y="5124842"/>
                  <a:pt x="3048940" y="5117475"/>
                  <a:pt x="2988584" y="5125502"/>
                </a:cubicBezTo>
                <a:cubicBezTo>
                  <a:pt x="2928853" y="5129690"/>
                  <a:pt x="2917951" y="5124649"/>
                  <a:pt x="2876540" y="5133019"/>
                </a:cubicBezTo>
                <a:lnTo>
                  <a:pt x="2626864" y="5133771"/>
                </a:lnTo>
                <a:cubicBezTo>
                  <a:pt x="2562348" y="5111858"/>
                  <a:pt x="2563422" y="5142456"/>
                  <a:pt x="2491422" y="5135486"/>
                </a:cubicBezTo>
                <a:cubicBezTo>
                  <a:pt x="2433091" y="5200962"/>
                  <a:pt x="2455709" y="5160483"/>
                  <a:pt x="2415617" y="5168715"/>
                </a:cubicBezTo>
                <a:lnTo>
                  <a:pt x="2290098" y="5166151"/>
                </a:lnTo>
                <a:cubicBezTo>
                  <a:pt x="2257057" y="5152522"/>
                  <a:pt x="2202458" y="5187690"/>
                  <a:pt x="2161714" y="5169302"/>
                </a:cubicBezTo>
                <a:cubicBezTo>
                  <a:pt x="2122714" y="5172302"/>
                  <a:pt x="2080450" y="5180350"/>
                  <a:pt x="2056089" y="5184144"/>
                </a:cubicBezTo>
                <a:cubicBezTo>
                  <a:pt x="2019828" y="5191108"/>
                  <a:pt x="1978839" y="5203797"/>
                  <a:pt x="1944153" y="5211084"/>
                </a:cubicBezTo>
                <a:cubicBezTo>
                  <a:pt x="1925867" y="5199079"/>
                  <a:pt x="1896027" y="5224183"/>
                  <a:pt x="1847968" y="5227868"/>
                </a:cubicBezTo>
                <a:cubicBezTo>
                  <a:pt x="1827977" y="5213971"/>
                  <a:pt x="1815570" y="5230544"/>
                  <a:pt x="1777083" y="5212267"/>
                </a:cubicBezTo>
                <a:cubicBezTo>
                  <a:pt x="1775439" y="5214216"/>
                  <a:pt x="1773397" y="5216035"/>
                  <a:pt x="1771025" y="5217668"/>
                </a:cubicBezTo>
                <a:cubicBezTo>
                  <a:pt x="1757251" y="5227146"/>
                  <a:pt x="1735528" y="5228402"/>
                  <a:pt x="1722509" y="5220470"/>
                </a:cubicBezTo>
                <a:cubicBezTo>
                  <a:pt x="1691779" y="5208440"/>
                  <a:pt x="1662321" y="5203305"/>
                  <a:pt x="1633941" y="5200774"/>
                </a:cubicBezTo>
                <a:lnTo>
                  <a:pt x="1586145" y="5210184"/>
                </a:lnTo>
                <a:cubicBezTo>
                  <a:pt x="1567948" y="5215416"/>
                  <a:pt x="1545900" y="5226363"/>
                  <a:pt x="1524748" y="5232173"/>
                </a:cubicBezTo>
                <a:cubicBezTo>
                  <a:pt x="1502586" y="5235395"/>
                  <a:pt x="1478013" y="5230993"/>
                  <a:pt x="1459242" y="5245044"/>
                </a:cubicBezTo>
                <a:cubicBezTo>
                  <a:pt x="1421474" y="5260197"/>
                  <a:pt x="1374524" y="5244220"/>
                  <a:pt x="1349457" y="5280705"/>
                </a:cubicBezTo>
                <a:cubicBezTo>
                  <a:pt x="1273276" y="5302389"/>
                  <a:pt x="1121512" y="5336260"/>
                  <a:pt x="1009212" y="5361227"/>
                </a:cubicBezTo>
                <a:cubicBezTo>
                  <a:pt x="939016" y="5373529"/>
                  <a:pt x="866895" y="5370149"/>
                  <a:pt x="808572" y="5377024"/>
                </a:cubicBezTo>
                <a:cubicBezTo>
                  <a:pt x="802823" y="5374184"/>
                  <a:pt x="726016" y="5397963"/>
                  <a:pt x="719549" y="5396991"/>
                </a:cubicBezTo>
                <a:lnTo>
                  <a:pt x="698795" y="5397657"/>
                </a:lnTo>
                <a:cubicBezTo>
                  <a:pt x="689833" y="5401894"/>
                  <a:pt x="683492" y="5402495"/>
                  <a:pt x="678327" y="5401487"/>
                </a:cubicBezTo>
                <a:lnTo>
                  <a:pt x="672784" y="5399085"/>
                </a:lnTo>
                <a:lnTo>
                  <a:pt x="658406" y="5400696"/>
                </a:lnTo>
                <a:lnTo>
                  <a:pt x="629185" y="5401132"/>
                </a:lnTo>
                <a:lnTo>
                  <a:pt x="624558" y="5403782"/>
                </a:lnTo>
                <a:lnTo>
                  <a:pt x="581798" y="5408438"/>
                </a:lnTo>
                <a:cubicBezTo>
                  <a:pt x="581736" y="5408865"/>
                  <a:pt x="581671" y="5409294"/>
                  <a:pt x="581608" y="5409722"/>
                </a:cubicBezTo>
                <a:cubicBezTo>
                  <a:pt x="580204" y="5412704"/>
                  <a:pt x="577331" y="5415106"/>
                  <a:pt x="571299" y="5416358"/>
                </a:cubicBezTo>
                <a:cubicBezTo>
                  <a:pt x="551623" y="5426267"/>
                  <a:pt x="484499" y="5459654"/>
                  <a:pt x="463549" y="5469173"/>
                </a:cubicBezTo>
                <a:cubicBezTo>
                  <a:pt x="453136" y="5470720"/>
                  <a:pt x="449731" y="5472678"/>
                  <a:pt x="445606" y="5473465"/>
                </a:cubicBezTo>
                <a:lnTo>
                  <a:pt x="438799" y="5473893"/>
                </a:lnTo>
                <a:cubicBezTo>
                  <a:pt x="417222" y="5482183"/>
                  <a:pt x="343312" y="5513407"/>
                  <a:pt x="316138" y="5523213"/>
                </a:cubicBezTo>
                <a:cubicBezTo>
                  <a:pt x="298481" y="5517132"/>
                  <a:pt x="286556" y="5522972"/>
                  <a:pt x="275748" y="5532726"/>
                </a:cubicBezTo>
                <a:cubicBezTo>
                  <a:pt x="238274" y="5535784"/>
                  <a:pt x="207076" y="5552679"/>
                  <a:pt x="166496" y="5563424"/>
                </a:cubicBezTo>
                <a:lnTo>
                  <a:pt x="0" y="5629888"/>
                </a:lnTo>
                <a:close/>
              </a:path>
            </a:pathLst>
          </a:custGeom>
        </p:spPr>
      </p:pic>
      <p:pic>
        <p:nvPicPr>
          <p:cNvPr id="5" name="Picture 4">
            <a:extLst>
              <a:ext uri="{FF2B5EF4-FFF2-40B4-BE49-F238E27FC236}">
                <a16:creationId xmlns:a16="http://schemas.microsoft.com/office/drawing/2014/main" id="{65978D7D-2612-9FB9-6D3E-B6DA97EC141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169718" y="6092587"/>
            <a:ext cx="1852286" cy="583857"/>
          </a:xfrm>
          <a:prstGeom prst="rect">
            <a:avLst/>
          </a:prstGeom>
        </p:spPr>
      </p:pic>
    </p:spTree>
    <p:extLst>
      <p:ext uri="{BB962C8B-B14F-4D97-AF65-F5344CB8AC3E}">
        <p14:creationId xmlns:p14="http://schemas.microsoft.com/office/powerpoint/2010/main" val="129495065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371"/>
        <p:cNvGrpSpPr/>
        <p:nvPr/>
      </p:nvGrpSpPr>
      <p:grpSpPr>
        <a:xfrm>
          <a:off x="0" y="0"/>
          <a:ext cx="0" cy="0"/>
          <a:chOff x="0" y="0"/>
          <a:chExt cx="0" cy="0"/>
        </a:xfrm>
      </p:grpSpPr>
      <p:sp>
        <p:nvSpPr>
          <p:cNvPr id="3" name="TextBox 2">
            <a:extLst>
              <a:ext uri="{FF2B5EF4-FFF2-40B4-BE49-F238E27FC236}">
                <a16:creationId xmlns:a16="http://schemas.microsoft.com/office/drawing/2014/main" id="{FCFE58C3-F061-1AE5-C667-F7C62B290771}"/>
              </a:ext>
            </a:extLst>
          </p:cNvPr>
          <p:cNvSpPr txBox="1"/>
          <p:nvPr/>
        </p:nvSpPr>
        <p:spPr>
          <a:xfrm>
            <a:off x="199891" y="484472"/>
            <a:ext cx="11839698" cy="461665"/>
          </a:xfrm>
          <a:prstGeom prst="rect">
            <a:avLst/>
          </a:prstGeom>
        </p:spPr>
        <p:txBody>
          <a:bodyPr vert="horz" lIns="91440" tIns="45720" rIns="91440" bIns="45720" rtlCol="0" anchor="ctr">
            <a:noAutofit/>
          </a:bodyPr>
          <a:lstStyle>
            <a:lvl1pPr>
              <a:lnSpc>
                <a:spcPct val="90000"/>
              </a:lnSpc>
              <a:spcBef>
                <a:spcPct val="0"/>
              </a:spcBef>
              <a:buNone/>
              <a:defRPr sz="4000">
                <a:latin typeface="+mj-lt"/>
                <a:ea typeface="+mj-ea"/>
                <a:cs typeface="+mj-cs"/>
              </a:defRPr>
            </a:lvl1pPr>
          </a:lstStyle>
          <a:p>
            <a:r>
              <a:rPr lang="en-US" sz="3800"/>
              <a:t>One-week Institut Pasteur Cambodia (IPC) Regimen - </a:t>
            </a:r>
          </a:p>
          <a:p>
            <a:r>
              <a:rPr lang="en-US" sz="3800"/>
              <a:t>2-sites ID recommended for PEP</a:t>
            </a:r>
            <a:endParaRPr lang="en-GB" sz="3800"/>
          </a:p>
        </p:txBody>
      </p:sp>
      <p:sp>
        <p:nvSpPr>
          <p:cNvPr id="6" name="TextBox 5">
            <a:extLst>
              <a:ext uri="{FF2B5EF4-FFF2-40B4-BE49-F238E27FC236}">
                <a16:creationId xmlns:a16="http://schemas.microsoft.com/office/drawing/2014/main" id="{5A559D92-F9A5-0C29-8B29-7B25039C82D2}"/>
              </a:ext>
            </a:extLst>
          </p:cNvPr>
          <p:cNvSpPr txBox="1"/>
          <p:nvPr/>
        </p:nvSpPr>
        <p:spPr>
          <a:xfrm>
            <a:off x="5960643" y="6457709"/>
            <a:ext cx="6096000" cy="276999"/>
          </a:xfrm>
          <a:prstGeom prst="rect">
            <a:avLst/>
          </a:prstGeom>
          <a:noFill/>
        </p:spPr>
        <p:txBody>
          <a:bodyPr wrap="square">
            <a:spAutoFit/>
          </a:bodyPr>
          <a:lstStyle/>
          <a:p>
            <a:pPr algn="r"/>
            <a:r>
              <a:rPr lang="en-US" sz="1200">
                <a:latin typeface="Arial" panose="020B0604020202020204" pitchFamily="34" charset="0"/>
                <a:cs typeface="Arial" panose="020B0604020202020204" pitchFamily="34" charset="0"/>
                <a:hlinkClick r:id="rId3"/>
              </a:rPr>
              <a:t>WHO position paper</a:t>
            </a:r>
            <a:endParaRPr lang="en-US" sz="1200">
              <a:latin typeface="Arial" panose="020B0604020202020204" pitchFamily="34" charset="0"/>
              <a:cs typeface="Arial" panose="020B0604020202020204" pitchFamily="34" charset="0"/>
            </a:endParaRPr>
          </a:p>
        </p:txBody>
      </p:sp>
      <p:grpSp>
        <p:nvGrpSpPr>
          <p:cNvPr id="8" name="Group 7">
            <a:extLst>
              <a:ext uri="{FF2B5EF4-FFF2-40B4-BE49-F238E27FC236}">
                <a16:creationId xmlns:a16="http://schemas.microsoft.com/office/drawing/2014/main" id="{702397FE-03D0-495D-C843-7BFBDFF49D50}"/>
              </a:ext>
            </a:extLst>
          </p:cNvPr>
          <p:cNvGrpSpPr/>
          <p:nvPr/>
        </p:nvGrpSpPr>
        <p:grpSpPr>
          <a:xfrm>
            <a:off x="299803" y="1227622"/>
            <a:ext cx="11251919" cy="4871174"/>
            <a:chOff x="352302" y="1149802"/>
            <a:chExt cx="11134779" cy="5141938"/>
          </a:xfrm>
        </p:grpSpPr>
        <p:sp>
          <p:nvSpPr>
            <p:cNvPr id="372" name="Google Shape;372;p15"/>
            <p:cNvSpPr/>
            <p:nvPr/>
          </p:nvSpPr>
          <p:spPr>
            <a:xfrm>
              <a:off x="5876011" y="1149802"/>
              <a:ext cx="1683679" cy="580855"/>
            </a:xfrm>
            <a:prstGeom prst="rect">
              <a:avLst/>
            </a:prstGeom>
            <a:solidFill>
              <a:srgbClr val="BBD6EE"/>
            </a:solidFill>
            <a:ln w="12700" cap="flat" cmpd="sng">
              <a:solidFill>
                <a:srgbClr val="BBD6EE"/>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73" name="Google Shape;373;p15"/>
            <p:cNvSpPr/>
            <p:nvPr/>
          </p:nvSpPr>
          <p:spPr>
            <a:xfrm>
              <a:off x="778004" y="2187273"/>
              <a:ext cx="10709077" cy="2073205"/>
            </a:xfrm>
            <a:prstGeom prst="rect">
              <a:avLst/>
            </a:prstGeom>
            <a:solidFill>
              <a:srgbClr val="F2F2F2"/>
            </a:solidFill>
            <a:ln w="12700" cap="flat" cmpd="sng">
              <a:solidFill>
                <a:srgbClr val="F2F2F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374" name="Google Shape;374;p15"/>
            <p:cNvSpPr/>
            <p:nvPr/>
          </p:nvSpPr>
          <p:spPr>
            <a:xfrm>
              <a:off x="978194" y="2755991"/>
              <a:ext cx="10302949" cy="405568"/>
            </a:xfrm>
            <a:prstGeom prst="rect">
              <a:avLst/>
            </a:prstGeom>
            <a:solidFill>
              <a:srgbClr val="D8D8D8"/>
            </a:solidFill>
            <a:ln w="12700" cap="flat" cmpd="sng">
              <a:solidFill>
                <a:srgbClr val="ED7D31"/>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cxnSp>
          <p:nvCxnSpPr>
            <p:cNvPr id="375" name="Google Shape;375;p15"/>
            <p:cNvCxnSpPr/>
            <p:nvPr/>
          </p:nvCxnSpPr>
          <p:spPr>
            <a:xfrm>
              <a:off x="9100083" y="1710604"/>
              <a:ext cx="0" cy="2133130"/>
            </a:xfrm>
            <a:prstGeom prst="straightConnector1">
              <a:avLst/>
            </a:prstGeom>
            <a:noFill/>
            <a:ln w="19050" cap="flat" cmpd="sng">
              <a:solidFill>
                <a:srgbClr val="BFBFBF"/>
              </a:solidFill>
              <a:prstDash val="solid"/>
              <a:miter lim="800000"/>
              <a:headEnd type="none" w="sm" len="sm"/>
              <a:tailEnd type="none" w="sm" len="sm"/>
            </a:ln>
          </p:spPr>
        </p:cxnSp>
        <p:sp>
          <p:nvSpPr>
            <p:cNvPr id="376" name="Google Shape;376;p15"/>
            <p:cNvSpPr/>
            <p:nvPr/>
          </p:nvSpPr>
          <p:spPr>
            <a:xfrm>
              <a:off x="767627" y="4400145"/>
              <a:ext cx="10709077" cy="1869812"/>
            </a:xfrm>
            <a:prstGeom prst="rect">
              <a:avLst/>
            </a:prstGeom>
            <a:solidFill>
              <a:srgbClr val="F2F2F2"/>
            </a:solidFill>
            <a:ln w="12700" cap="flat" cmpd="sng">
              <a:solidFill>
                <a:srgbClr val="F2F2F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cxnSp>
          <p:nvCxnSpPr>
            <p:cNvPr id="377" name="Google Shape;377;p15"/>
            <p:cNvCxnSpPr/>
            <p:nvPr/>
          </p:nvCxnSpPr>
          <p:spPr>
            <a:xfrm>
              <a:off x="10814022" y="1710604"/>
              <a:ext cx="0" cy="2133130"/>
            </a:xfrm>
            <a:prstGeom prst="straightConnector1">
              <a:avLst/>
            </a:prstGeom>
            <a:noFill/>
            <a:ln w="19050" cap="flat" cmpd="sng">
              <a:solidFill>
                <a:srgbClr val="BFBFBF"/>
              </a:solidFill>
              <a:prstDash val="solid"/>
              <a:miter lim="800000"/>
              <a:headEnd type="none" w="sm" len="sm"/>
              <a:tailEnd type="none" w="sm" len="sm"/>
            </a:ln>
          </p:spPr>
        </p:cxnSp>
        <p:cxnSp>
          <p:nvCxnSpPr>
            <p:cNvPr id="378" name="Google Shape;378;p15"/>
            <p:cNvCxnSpPr/>
            <p:nvPr/>
          </p:nvCxnSpPr>
          <p:spPr>
            <a:xfrm>
              <a:off x="7458338" y="2135914"/>
              <a:ext cx="12978" cy="2133130"/>
            </a:xfrm>
            <a:prstGeom prst="straightConnector1">
              <a:avLst/>
            </a:prstGeom>
            <a:noFill/>
            <a:ln w="19050" cap="flat" cmpd="sng">
              <a:solidFill>
                <a:srgbClr val="BFBFBF"/>
              </a:solidFill>
              <a:prstDash val="solid"/>
              <a:miter lim="800000"/>
              <a:headEnd type="none" w="sm" len="sm"/>
              <a:tailEnd type="none" w="sm" len="sm"/>
            </a:ln>
          </p:spPr>
        </p:cxnSp>
        <p:cxnSp>
          <p:nvCxnSpPr>
            <p:cNvPr id="379" name="Google Shape;379;p15"/>
            <p:cNvCxnSpPr>
              <a:cxnSpLocks/>
            </p:cNvCxnSpPr>
            <p:nvPr/>
          </p:nvCxnSpPr>
          <p:spPr>
            <a:xfrm>
              <a:off x="6673183" y="2135914"/>
              <a:ext cx="0" cy="2133415"/>
            </a:xfrm>
            <a:prstGeom prst="straightConnector1">
              <a:avLst/>
            </a:prstGeom>
            <a:noFill/>
            <a:ln w="19050" cap="flat" cmpd="sng">
              <a:solidFill>
                <a:srgbClr val="BFBFBF"/>
              </a:solidFill>
              <a:prstDash val="solid"/>
              <a:miter lim="800000"/>
              <a:headEnd type="none" w="sm" len="sm"/>
              <a:tailEnd type="none" w="sm" len="sm"/>
            </a:ln>
          </p:spPr>
        </p:cxnSp>
        <p:cxnSp>
          <p:nvCxnSpPr>
            <p:cNvPr id="380" name="Google Shape;380;p15"/>
            <p:cNvCxnSpPr>
              <a:cxnSpLocks/>
            </p:cNvCxnSpPr>
            <p:nvPr/>
          </p:nvCxnSpPr>
          <p:spPr>
            <a:xfrm flipH="1">
              <a:off x="5869522" y="2135914"/>
              <a:ext cx="13873" cy="2133415"/>
            </a:xfrm>
            <a:prstGeom prst="straightConnector1">
              <a:avLst/>
            </a:prstGeom>
            <a:noFill/>
            <a:ln w="19050" cap="flat" cmpd="sng">
              <a:solidFill>
                <a:srgbClr val="BFBFBF"/>
              </a:solidFill>
              <a:prstDash val="solid"/>
              <a:miter lim="800000"/>
              <a:headEnd type="none" w="sm" len="sm"/>
              <a:tailEnd type="none" w="sm" len="sm"/>
            </a:ln>
          </p:spPr>
        </p:cxnSp>
        <p:sp>
          <p:nvSpPr>
            <p:cNvPr id="381" name="Google Shape;381;p15"/>
            <p:cNvSpPr txBox="1"/>
            <p:nvPr/>
          </p:nvSpPr>
          <p:spPr>
            <a:xfrm>
              <a:off x="770964" y="4445208"/>
              <a:ext cx="3736726" cy="40011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GB" sz="2000">
                  <a:solidFill>
                    <a:srgbClr val="1E7FB8"/>
                  </a:solidFill>
                  <a:latin typeface="Arial"/>
                  <a:ea typeface="Arial"/>
                  <a:cs typeface="Arial"/>
                  <a:sym typeface="Arial"/>
                </a:rPr>
                <a:t>Previously vaccinated patients</a:t>
              </a:r>
              <a:endParaRPr/>
            </a:p>
          </p:txBody>
        </p:sp>
        <p:sp>
          <p:nvSpPr>
            <p:cNvPr id="382" name="Google Shape;382;p15"/>
            <p:cNvSpPr txBox="1"/>
            <p:nvPr/>
          </p:nvSpPr>
          <p:spPr>
            <a:xfrm>
              <a:off x="748002" y="2194337"/>
              <a:ext cx="3481015" cy="40011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2000"/>
                <a:buFont typeface="Arial"/>
                <a:buNone/>
              </a:pPr>
              <a:r>
                <a:rPr lang="en-GB" sz="2000">
                  <a:solidFill>
                    <a:srgbClr val="1E7FB8"/>
                  </a:solidFill>
                  <a:latin typeface="Arial"/>
                  <a:ea typeface="Arial"/>
                  <a:cs typeface="Arial"/>
                  <a:sym typeface="Arial"/>
                </a:rPr>
                <a:t>Never vaccinated patients</a:t>
              </a:r>
              <a:endParaRPr/>
            </a:p>
          </p:txBody>
        </p:sp>
        <p:sp>
          <p:nvSpPr>
            <p:cNvPr id="385" name="Google Shape;385;p15"/>
            <p:cNvSpPr txBox="1"/>
            <p:nvPr/>
          </p:nvSpPr>
          <p:spPr>
            <a:xfrm>
              <a:off x="2759413" y="2751594"/>
              <a:ext cx="2704658" cy="410351"/>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1800">
                  <a:solidFill>
                    <a:srgbClr val="222A35"/>
                  </a:solidFill>
                  <a:latin typeface="Arial"/>
                  <a:ea typeface="Arial"/>
                  <a:cs typeface="Arial"/>
                  <a:sym typeface="Arial"/>
                </a:rPr>
                <a:t>IPC regimen: 2-sites ID</a:t>
              </a:r>
              <a:endParaRPr/>
            </a:p>
          </p:txBody>
        </p:sp>
        <p:sp>
          <p:nvSpPr>
            <p:cNvPr id="386" name="Google Shape;386;p15"/>
            <p:cNvSpPr txBox="1"/>
            <p:nvPr/>
          </p:nvSpPr>
          <p:spPr>
            <a:xfrm>
              <a:off x="2522226" y="3278330"/>
              <a:ext cx="2881913" cy="410351"/>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1800">
                  <a:solidFill>
                    <a:srgbClr val="222A35"/>
                  </a:solidFill>
                  <a:latin typeface="Arial"/>
                  <a:ea typeface="Arial"/>
                  <a:cs typeface="Arial"/>
                  <a:sym typeface="Arial"/>
                </a:rPr>
                <a:t>Essen regimen : 1-site IM</a:t>
              </a:r>
              <a:endParaRPr/>
            </a:p>
          </p:txBody>
        </p:sp>
        <p:sp>
          <p:nvSpPr>
            <p:cNvPr id="387" name="Google Shape;387;p15"/>
            <p:cNvSpPr txBox="1"/>
            <p:nvPr/>
          </p:nvSpPr>
          <p:spPr>
            <a:xfrm>
              <a:off x="1645217" y="3805452"/>
              <a:ext cx="3946473" cy="410351"/>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1800">
                  <a:solidFill>
                    <a:srgbClr val="222A35"/>
                  </a:solidFill>
                </a:rPr>
                <a:t>Zagreb</a:t>
              </a:r>
              <a:r>
                <a:rPr lang="en-GB" sz="1800">
                  <a:solidFill>
                    <a:srgbClr val="222A35"/>
                  </a:solidFill>
                  <a:latin typeface="Arial"/>
                  <a:ea typeface="Arial"/>
                  <a:cs typeface="Arial"/>
                  <a:sym typeface="Arial"/>
                </a:rPr>
                <a:t> regimen: 2-sites </a:t>
              </a:r>
              <a:r>
                <a:rPr lang="it-IT" sz="1800">
                  <a:solidFill>
                    <a:srgbClr val="222A35"/>
                  </a:solidFill>
                  <a:latin typeface="Arial"/>
                  <a:ea typeface="Arial"/>
                  <a:cs typeface="Arial"/>
                  <a:sym typeface="Arial"/>
                </a:rPr>
                <a:t>&amp; 1-site</a:t>
              </a:r>
              <a:r>
                <a:rPr lang="en-GB" sz="1800">
                  <a:solidFill>
                    <a:srgbClr val="222A35"/>
                  </a:solidFill>
                  <a:latin typeface="Arial"/>
                  <a:ea typeface="Arial"/>
                  <a:cs typeface="Arial"/>
                  <a:sym typeface="Arial"/>
                </a:rPr>
                <a:t> IM</a:t>
              </a:r>
              <a:endParaRPr/>
            </a:p>
          </p:txBody>
        </p:sp>
        <p:cxnSp>
          <p:nvCxnSpPr>
            <p:cNvPr id="388" name="Google Shape;388;p15"/>
            <p:cNvCxnSpPr/>
            <p:nvPr/>
          </p:nvCxnSpPr>
          <p:spPr>
            <a:xfrm flipH="1">
              <a:off x="5876282" y="1797647"/>
              <a:ext cx="4937740" cy="3644"/>
            </a:xfrm>
            <a:prstGeom prst="straightConnector1">
              <a:avLst/>
            </a:prstGeom>
            <a:noFill/>
            <a:ln w="38100" cap="flat" cmpd="sng">
              <a:solidFill>
                <a:srgbClr val="BFBFBF"/>
              </a:solidFill>
              <a:prstDash val="solid"/>
              <a:miter lim="800000"/>
              <a:headEnd type="none" w="sm" len="sm"/>
              <a:tailEnd type="none" w="sm" len="sm"/>
            </a:ln>
          </p:spPr>
        </p:cxnSp>
        <p:cxnSp>
          <p:nvCxnSpPr>
            <p:cNvPr id="389" name="Google Shape;389;p15"/>
            <p:cNvCxnSpPr/>
            <p:nvPr/>
          </p:nvCxnSpPr>
          <p:spPr>
            <a:xfrm>
              <a:off x="10937495" y="1797645"/>
              <a:ext cx="517410" cy="4926"/>
            </a:xfrm>
            <a:prstGeom prst="straightConnector1">
              <a:avLst/>
            </a:prstGeom>
            <a:noFill/>
            <a:ln w="38100" cap="flat" cmpd="sng">
              <a:solidFill>
                <a:srgbClr val="BFBFBF"/>
              </a:solidFill>
              <a:prstDash val="dash"/>
              <a:miter lim="800000"/>
              <a:headEnd type="none" w="sm" len="sm"/>
              <a:tailEnd type="triangle" w="med" len="med"/>
            </a:ln>
          </p:spPr>
        </p:cxnSp>
        <p:sp>
          <p:nvSpPr>
            <p:cNvPr id="390" name="Google Shape;390;p15"/>
            <p:cNvSpPr txBox="1"/>
            <p:nvPr/>
          </p:nvSpPr>
          <p:spPr>
            <a:xfrm>
              <a:off x="6364209" y="1818438"/>
              <a:ext cx="631550" cy="389818"/>
            </a:xfrm>
            <a:prstGeom prst="rect">
              <a:avLst/>
            </a:prstGeom>
            <a:solidFill>
              <a:schemeClr val="lt1"/>
            </a:solid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800"/>
                <a:buFont typeface="Arial"/>
                <a:buNone/>
              </a:pPr>
              <a:r>
                <a:rPr lang="en-GB" sz="1800" b="1" i="0" u="none" strike="noStrike" cap="none">
                  <a:latin typeface="Arial"/>
                  <a:ea typeface="Arial"/>
                  <a:cs typeface="Arial"/>
                  <a:sym typeface="Arial"/>
                </a:rPr>
                <a:t>3</a:t>
              </a:r>
              <a:endParaRPr sz="2800" b="1" i="0" u="none" strike="noStrike" cap="none">
                <a:latin typeface="Arial"/>
                <a:ea typeface="Arial"/>
                <a:cs typeface="Arial"/>
                <a:sym typeface="Arial"/>
              </a:endParaRPr>
            </a:p>
          </p:txBody>
        </p:sp>
        <p:sp>
          <p:nvSpPr>
            <p:cNvPr id="391" name="Google Shape;391;p15"/>
            <p:cNvSpPr txBox="1"/>
            <p:nvPr/>
          </p:nvSpPr>
          <p:spPr>
            <a:xfrm>
              <a:off x="7141823" y="1817769"/>
              <a:ext cx="639159" cy="389818"/>
            </a:xfrm>
            <a:prstGeom prst="rect">
              <a:avLst/>
            </a:prstGeom>
            <a:solidFill>
              <a:schemeClr val="lt1"/>
            </a:solid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800"/>
                <a:buFont typeface="Arial"/>
                <a:buNone/>
              </a:pPr>
              <a:r>
                <a:rPr lang="en-GB" sz="1800" b="1" i="0" u="none" strike="noStrike" cap="none">
                  <a:latin typeface="Arial"/>
                  <a:ea typeface="Arial"/>
                  <a:cs typeface="Arial"/>
                  <a:sym typeface="Arial"/>
                </a:rPr>
                <a:t>7</a:t>
              </a:r>
              <a:endParaRPr sz="2800" b="1" i="0" u="none" strike="noStrike" cap="none">
                <a:latin typeface="Arial"/>
                <a:ea typeface="Arial"/>
                <a:cs typeface="Arial"/>
                <a:sym typeface="Arial"/>
              </a:endParaRPr>
            </a:p>
          </p:txBody>
        </p:sp>
        <p:sp>
          <p:nvSpPr>
            <p:cNvPr id="392" name="Google Shape;392;p15"/>
            <p:cNvSpPr txBox="1"/>
            <p:nvPr/>
          </p:nvSpPr>
          <p:spPr>
            <a:xfrm>
              <a:off x="8687295" y="1809042"/>
              <a:ext cx="825576" cy="389818"/>
            </a:xfrm>
            <a:prstGeom prst="rect">
              <a:avLst/>
            </a:prstGeom>
            <a:solidFill>
              <a:schemeClr val="lt1"/>
            </a:solid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800"/>
                <a:buFont typeface="Arial"/>
                <a:buNone/>
              </a:pPr>
              <a:r>
                <a:rPr lang="en-GB" sz="1800" b="1" i="0" u="none" strike="noStrike" cap="none">
                  <a:latin typeface="Arial"/>
                  <a:ea typeface="Arial"/>
                  <a:cs typeface="Arial"/>
                  <a:sym typeface="Arial"/>
                </a:rPr>
                <a:t>14</a:t>
              </a:r>
              <a:endParaRPr/>
            </a:p>
          </p:txBody>
        </p:sp>
        <p:sp>
          <p:nvSpPr>
            <p:cNvPr id="393" name="Google Shape;393;p15"/>
            <p:cNvSpPr txBox="1"/>
            <p:nvPr/>
          </p:nvSpPr>
          <p:spPr>
            <a:xfrm>
              <a:off x="10418983" y="1818438"/>
              <a:ext cx="774842" cy="389818"/>
            </a:xfrm>
            <a:prstGeom prst="rect">
              <a:avLst/>
            </a:prstGeom>
            <a:solidFill>
              <a:schemeClr val="lt1"/>
            </a:solid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800"/>
                <a:buFont typeface="Arial"/>
                <a:buNone/>
              </a:pPr>
              <a:r>
                <a:rPr lang="en-GB" sz="1800" b="1" i="0" u="none" strike="noStrike" cap="none">
                  <a:latin typeface="Arial"/>
                  <a:ea typeface="Arial"/>
                  <a:cs typeface="Arial"/>
                  <a:sym typeface="Arial"/>
                </a:rPr>
                <a:t>21</a:t>
              </a:r>
              <a:endParaRPr sz="2800" b="1" i="0" u="none" strike="noStrike" cap="none">
                <a:latin typeface="Arial"/>
                <a:ea typeface="Arial"/>
                <a:cs typeface="Arial"/>
                <a:sym typeface="Arial"/>
              </a:endParaRPr>
            </a:p>
          </p:txBody>
        </p:sp>
        <p:sp>
          <p:nvSpPr>
            <p:cNvPr id="394" name="Google Shape;394;p15"/>
            <p:cNvSpPr txBox="1"/>
            <p:nvPr/>
          </p:nvSpPr>
          <p:spPr>
            <a:xfrm>
              <a:off x="5531279" y="1819675"/>
              <a:ext cx="704232" cy="389818"/>
            </a:xfrm>
            <a:prstGeom prst="rect">
              <a:avLst/>
            </a:prstGeom>
            <a:solidFill>
              <a:schemeClr val="lt1"/>
            </a:solid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800"/>
                <a:buFont typeface="Arial"/>
                <a:buNone/>
              </a:pPr>
              <a:r>
                <a:rPr lang="en-GB" sz="1800" b="1" i="0" u="none" strike="noStrike" cap="none">
                  <a:latin typeface="Arial"/>
                  <a:ea typeface="Arial"/>
                  <a:cs typeface="Arial"/>
                  <a:sym typeface="Arial"/>
                </a:rPr>
                <a:t>0</a:t>
              </a:r>
              <a:endParaRPr sz="2800" b="1" i="0" u="none" strike="noStrike" cap="none">
                <a:latin typeface="Arial"/>
                <a:ea typeface="Arial"/>
                <a:cs typeface="Arial"/>
                <a:sym typeface="Arial"/>
              </a:endParaRPr>
            </a:p>
          </p:txBody>
        </p:sp>
        <p:sp>
          <p:nvSpPr>
            <p:cNvPr id="395" name="Google Shape;395;p15"/>
            <p:cNvSpPr txBox="1"/>
            <p:nvPr/>
          </p:nvSpPr>
          <p:spPr>
            <a:xfrm>
              <a:off x="4130180" y="4768115"/>
              <a:ext cx="1353891" cy="410351"/>
            </a:xfrm>
            <a:prstGeom prst="rect">
              <a:avLst/>
            </a:prstGeom>
            <a:no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GB" sz="1800">
                  <a:solidFill>
                    <a:srgbClr val="222A35"/>
                  </a:solidFill>
                  <a:latin typeface="Arial"/>
                  <a:ea typeface="Arial"/>
                  <a:cs typeface="Arial"/>
                  <a:sym typeface="Arial"/>
                </a:rPr>
                <a:t>1-site ID</a:t>
              </a:r>
              <a:endParaRPr/>
            </a:p>
          </p:txBody>
        </p:sp>
        <p:sp>
          <p:nvSpPr>
            <p:cNvPr id="396" name="Google Shape;396;p15"/>
            <p:cNvSpPr txBox="1"/>
            <p:nvPr/>
          </p:nvSpPr>
          <p:spPr>
            <a:xfrm>
              <a:off x="4106786" y="5299884"/>
              <a:ext cx="1279791" cy="410351"/>
            </a:xfrm>
            <a:prstGeom prst="rect">
              <a:avLst/>
            </a:prstGeom>
            <a:no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GB" sz="1800">
                  <a:solidFill>
                    <a:srgbClr val="222A35"/>
                  </a:solidFill>
                  <a:latin typeface="Arial"/>
                  <a:ea typeface="Arial"/>
                  <a:cs typeface="Arial"/>
                  <a:sym typeface="Arial"/>
                </a:rPr>
                <a:t>4-sites ID</a:t>
              </a:r>
              <a:endParaRPr sz="2000">
                <a:solidFill>
                  <a:srgbClr val="222A35"/>
                </a:solidFill>
                <a:latin typeface="Arial"/>
                <a:ea typeface="Arial"/>
                <a:cs typeface="Arial"/>
                <a:sym typeface="Arial"/>
              </a:endParaRPr>
            </a:p>
          </p:txBody>
        </p:sp>
        <p:sp>
          <p:nvSpPr>
            <p:cNvPr id="397" name="Google Shape;397;p15"/>
            <p:cNvSpPr txBox="1"/>
            <p:nvPr/>
          </p:nvSpPr>
          <p:spPr>
            <a:xfrm>
              <a:off x="4172260" y="5831653"/>
              <a:ext cx="1204583" cy="410351"/>
            </a:xfrm>
            <a:prstGeom prst="rect">
              <a:avLst/>
            </a:prstGeom>
            <a:no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GB" sz="1800">
                  <a:solidFill>
                    <a:srgbClr val="222A35"/>
                  </a:solidFill>
                  <a:latin typeface="Arial"/>
                  <a:ea typeface="Arial"/>
                  <a:cs typeface="Arial"/>
                  <a:sym typeface="Arial"/>
                </a:rPr>
                <a:t>1-site IM</a:t>
              </a:r>
              <a:endParaRPr/>
            </a:p>
          </p:txBody>
        </p:sp>
        <p:pic>
          <p:nvPicPr>
            <p:cNvPr id="399" name="Google Shape;399;p15"/>
            <p:cNvPicPr preferRelativeResize="0"/>
            <p:nvPr/>
          </p:nvPicPr>
          <p:blipFill rotWithShape="1">
            <a:blip r:embed="rId4">
              <a:alphaModFix/>
            </a:blip>
            <a:srcRect l="44722" t="1367" r="43434" b="84248"/>
            <a:stretch/>
          </p:blipFill>
          <p:spPr>
            <a:xfrm flipH="1">
              <a:off x="4841585" y="1457079"/>
              <a:ext cx="832930" cy="658408"/>
            </a:xfrm>
            <a:prstGeom prst="rect">
              <a:avLst/>
            </a:prstGeom>
            <a:noFill/>
            <a:ln>
              <a:noFill/>
            </a:ln>
          </p:spPr>
        </p:pic>
        <p:sp>
          <p:nvSpPr>
            <p:cNvPr id="400" name="Google Shape;400;p15"/>
            <p:cNvSpPr/>
            <p:nvPr/>
          </p:nvSpPr>
          <p:spPr>
            <a:xfrm>
              <a:off x="5657495" y="2879856"/>
              <a:ext cx="172763" cy="168492"/>
            </a:xfrm>
            <a:prstGeom prst="ellipse">
              <a:avLst/>
            </a:prstGeom>
            <a:solidFill>
              <a:srgbClr val="1E7FB8"/>
            </a:solidFill>
            <a:ln w="12700" cap="flat" cmpd="sng">
              <a:solidFill>
                <a:srgbClr val="1E7FB8"/>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01" name="Google Shape;401;p15"/>
            <p:cNvSpPr/>
            <p:nvPr/>
          </p:nvSpPr>
          <p:spPr>
            <a:xfrm>
              <a:off x="5914075" y="2878637"/>
              <a:ext cx="172763" cy="168492"/>
            </a:xfrm>
            <a:prstGeom prst="ellipse">
              <a:avLst/>
            </a:prstGeom>
            <a:solidFill>
              <a:srgbClr val="1E7FB8"/>
            </a:solidFill>
            <a:ln w="12700" cap="flat" cmpd="sng">
              <a:solidFill>
                <a:srgbClr val="1E7FB8"/>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02" name="Google Shape;402;p15"/>
            <p:cNvSpPr/>
            <p:nvPr/>
          </p:nvSpPr>
          <p:spPr>
            <a:xfrm>
              <a:off x="6452877" y="2879856"/>
              <a:ext cx="172763" cy="168492"/>
            </a:xfrm>
            <a:prstGeom prst="ellipse">
              <a:avLst/>
            </a:prstGeom>
            <a:solidFill>
              <a:srgbClr val="1E7FB8"/>
            </a:solidFill>
            <a:ln w="12700" cap="flat" cmpd="sng">
              <a:solidFill>
                <a:srgbClr val="1E7FB8"/>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03" name="Google Shape;403;p15"/>
            <p:cNvSpPr/>
            <p:nvPr/>
          </p:nvSpPr>
          <p:spPr>
            <a:xfrm>
              <a:off x="6712988" y="2878637"/>
              <a:ext cx="172763" cy="168492"/>
            </a:xfrm>
            <a:prstGeom prst="ellipse">
              <a:avLst/>
            </a:prstGeom>
            <a:solidFill>
              <a:srgbClr val="1E7FB8"/>
            </a:solidFill>
            <a:ln w="12700" cap="flat" cmpd="sng">
              <a:solidFill>
                <a:srgbClr val="1E7FB8"/>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04" name="Google Shape;404;p15"/>
            <p:cNvSpPr/>
            <p:nvPr/>
          </p:nvSpPr>
          <p:spPr>
            <a:xfrm>
              <a:off x="7242085" y="2876413"/>
              <a:ext cx="172763" cy="168492"/>
            </a:xfrm>
            <a:prstGeom prst="ellipse">
              <a:avLst/>
            </a:prstGeom>
            <a:solidFill>
              <a:srgbClr val="1E7FB8"/>
            </a:solidFill>
            <a:ln w="12700" cap="flat" cmpd="sng">
              <a:solidFill>
                <a:srgbClr val="1E7FB8"/>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05" name="Google Shape;405;p15"/>
            <p:cNvSpPr/>
            <p:nvPr/>
          </p:nvSpPr>
          <p:spPr>
            <a:xfrm>
              <a:off x="7502196" y="2875194"/>
              <a:ext cx="172763" cy="168492"/>
            </a:xfrm>
            <a:prstGeom prst="ellipse">
              <a:avLst/>
            </a:prstGeom>
            <a:solidFill>
              <a:srgbClr val="1E7FB8"/>
            </a:solidFill>
            <a:ln w="12700" cap="flat" cmpd="sng">
              <a:solidFill>
                <a:srgbClr val="1E7FB8"/>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06" name="Google Shape;406;p15"/>
            <p:cNvSpPr/>
            <p:nvPr/>
          </p:nvSpPr>
          <p:spPr>
            <a:xfrm>
              <a:off x="5789630" y="3402323"/>
              <a:ext cx="172763" cy="168492"/>
            </a:xfrm>
            <a:prstGeom prst="ellipse">
              <a:avLst/>
            </a:prstGeom>
            <a:solidFill>
              <a:srgbClr val="1E7FB8"/>
            </a:solidFill>
            <a:ln w="12700" cap="flat" cmpd="sng">
              <a:solidFill>
                <a:srgbClr val="1E7FB8"/>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07" name="Google Shape;407;p15"/>
            <p:cNvSpPr/>
            <p:nvPr/>
          </p:nvSpPr>
          <p:spPr>
            <a:xfrm>
              <a:off x="6577055" y="3402323"/>
              <a:ext cx="172763" cy="168492"/>
            </a:xfrm>
            <a:prstGeom prst="ellipse">
              <a:avLst/>
            </a:prstGeom>
            <a:solidFill>
              <a:srgbClr val="1E7FB8"/>
            </a:solidFill>
            <a:ln w="12700" cap="flat" cmpd="sng">
              <a:solidFill>
                <a:srgbClr val="1E7FB8"/>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08" name="Google Shape;408;p15"/>
            <p:cNvSpPr/>
            <p:nvPr/>
          </p:nvSpPr>
          <p:spPr>
            <a:xfrm>
              <a:off x="7381705" y="3415180"/>
              <a:ext cx="172763" cy="168492"/>
            </a:xfrm>
            <a:prstGeom prst="ellipse">
              <a:avLst/>
            </a:prstGeom>
            <a:solidFill>
              <a:srgbClr val="1E7FB8"/>
            </a:solidFill>
            <a:ln w="12700" cap="flat" cmpd="sng">
              <a:solidFill>
                <a:srgbClr val="1E7FB8"/>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09" name="Google Shape;409;p15"/>
            <p:cNvSpPr/>
            <p:nvPr/>
          </p:nvSpPr>
          <p:spPr>
            <a:xfrm>
              <a:off x="9012491" y="3399260"/>
              <a:ext cx="172763" cy="168492"/>
            </a:xfrm>
            <a:prstGeom prst="ellipse">
              <a:avLst/>
            </a:prstGeom>
            <a:solidFill>
              <a:srgbClr val="1E7FB8"/>
            </a:solidFill>
            <a:ln w="12700" cap="flat" cmpd="sng">
              <a:solidFill>
                <a:srgbClr val="1E7FB8"/>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10" name="Google Shape;410;p15"/>
            <p:cNvSpPr/>
            <p:nvPr/>
          </p:nvSpPr>
          <p:spPr>
            <a:xfrm>
              <a:off x="5653577" y="3919196"/>
              <a:ext cx="172763" cy="168492"/>
            </a:xfrm>
            <a:prstGeom prst="ellipse">
              <a:avLst/>
            </a:prstGeom>
            <a:solidFill>
              <a:srgbClr val="1E7FB8"/>
            </a:solidFill>
            <a:ln w="12700" cap="flat" cmpd="sng">
              <a:solidFill>
                <a:srgbClr val="1E7FB8"/>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11" name="Google Shape;411;p15"/>
            <p:cNvSpPr/>
            <p:nvPr/>
          </p:nvSpPr>
          <p:spPr>
            <a:xfrm>
              <a:off x="5913688" y="3917977"/>
              <a:ext cx="172763" cy="168492"/>
            </a:xfrm>
            <a:prstGeom prst="ellipse">
              <a:avLst/>
            </a:prstGeom>
            <a:solidFill>
              <a:srgbClr val="1E7FB8"/>
            </a:solidFill>
            <a:ln w="12700" cap="flat" cmpd="sng">
              <a:solidFill>
                <a:srgbClr val="1E7FB8"/>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12" name="Google Shape;412;p15"/>
            <p:cNvSpPr/>
            <p:nvPr/>
          </p:nvSpPr>
          <p:spPr>
            <a:xfrm>
              <a:off x="7381704" y="3926382"/>
              <a:ext cx="172763" cy="168492"/>
            </a:xfrm>
            <a:prstGeom prst="ellipse">
              <a:avLst/>
            </a:prstGeom>
            <a:solidFill>
              <a:srgbClr val="1E7FB8"/>
            </a:solidFill>
            <a:ln w="12700" cap="flat" cmpd="sng">
              <a:solidFill>
                <a:srgbClr val="1E7FB8"/>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13" name="Google Shape;413;p15"/>
            <p:cNvSpPr/>
            <p:nvPr/>
          </p:nvSpPr>
          <p:spPr>
            <a:xfrm>
              <a:off x="10732758" y="3926382"/>
              <a:ext cx="172763" cy="168492"/>
            </a:xfrm>
            <a:prstGeom prst="ellipse">
              <a:avLst/>
            </a:prstGeom>
            <a:solidFill>
              <a:srgbClr val="1E7FB8"/>
            </a:solidFill>
            <a:ln w="12700" cap="flat" cmpd="sng">
              <a:solidFill>
                <a:srgbClr val="1E7FB8"/>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18" name="Google Shape;418;p15"/>
            <p:cNvSpPr/>
            <p:nvPr/>
          </p:nvSpPr>
          <p:spPr>
            <a:xfrm>
              <a:off x="5670211" y="5313560"/>
              <a:ext cx="172763" cy="168492"/>
            </a:xfrm>
            <a:prstGeom prst="ellipse">
              <a:avLst/>
            </a:prstGeom>
            <a:solidFill>
              <a:srgbClr val="1E7FB8"/>
            </a:solidFill>
            <a:ln w="12700" cap="flat" cmpd="sng">
              <a:solidFill>
                <a:srgbClr val="1E7FB8"/>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19" name="Google Shape;419;p15"/>
            <p:cNvSpPr/>
            <p:nvPr/>
          </p:nvSpPr>
          <p:spPr>
            <a:xfrm>
              <a:off x="5933090" y="5312341"/>
              <a:ext cx="172763" cy="168492"/>
            </a:xfrm>
            <a:prstGeom prst="ellipse">
              <a:avLst/>
            </a:prstGeom>
            <a:solidFill>
              <a:srgbClr val="1E7FB8"/>
            </a:solidFill>
            <a:ln w="12700" cap="flat" cmpd="sng">
              <a:solidFill>
                <a:srgbClr val="1E7FB8"/>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20" name="Google Shape;420;p15"/>
            <p:cNvSpPr/>
            <p:nvPr/>
          </p:nvSpPr>
          <p:spPr>
            <a:xfrm>
              <a:off x="5663089" y="5548867"/>
              <a:ext cx="172763" cy="168492"/>
            </a:xfrm>
            <a:prstGeom prst="ellipse">
              <a:avLst/>
            </a:prstGeom>
            <a:solidFill>
              <a:srgbClr val="1E7FB8"/>
            </a:solidFill>
            <a:ln w="12700" cap="flat" cmpd="sng">
              <a:solidFill>
                <a:srgbClr val="1E7FB8"/>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21" name="Google Shape;421;p15"/>
            <p:cNvSpPr/>
            <p:nvPr/>
          </p:nvSpPr>
          <p:spPr>
            <a:xfrm>
              <a:off x="5925968" y="5547648"/>
              <a:ext cx="172763" cy="168492"/>
            </a:xfrm>
            <a:prstGeom prst="ellipse">
              <a:avLst/>
            </a:prstGeom>
            <a:solidFill>
              <a:srgbClr val="1E7FB8"/>
            </a:solidFill>
            <a:ln w="12700" cap="flat" cmpd="sng">
              <a:solidFill>
                <a:srgbClr val="1E7FB8"/>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26" name="Google Shape;426;p15"/>
            <p:cNvSpPr/>
            <p:nvPr/>
          </p:nvSpPr>
          <p:spPr>
            <a:xfrm>
              <a:off x="5711206" y="1171635"/>
              <a:ext cx="329609" cy="276059"/>
            </a:xfrm>
            <a:prstGeom prst="star5">
              <a:avLst>
                <a:gd name="adj" fmla="val 19098"/>
                <a:gd name="hf" fmla="val 105146"/>
                <a:gd name="vf" fmla="val 110557"/>
              </a:avLst>
            </a:prstGeom>
            <a:solidFill>
              <a:srgbClr val="1E7FB8"/>
            </a:solidFill>
            <a:ln w="12700" cap="flat" cmpd="sng">
              <a:solidFill>
                <a:srgbClr val="1E7FB8"/>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27" name="Google Shape;427;p15"/>
            <p:cNvSpPr txBox="1"/>
            <p:nvPr/>
          </p:nvSpPr>
          <p:spPr>
            <a:xfrm flipH="1">
              <a:off x="5905239" y="1260901"/>
              <a:ext cx="1717594" cy="410351"/>
            </a:xfrm>
            <a:prstGeom prst="rect">
              <a:avLst/>
            </a:prstGeom>
            <a:no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GB" sz="1700">
                  <a:solidFill>
                    <a:srgbClr val="222A35"/>
                  </a:solidFill>
                  <a:latin typeface="Arial"/>
                  <a:ea typeface="Arial"/>
                  <a:cs typeface="Arial"/>
                  <a:sym typeface="Arial"/>
                </a:rPr>
                <a:t>RIG for severe exposure</a:t>
              </a:r>
              <a:endParaRPr sz="1700"/>
            </a:p>
          </p:txBody>
        </p:sp>
        <p:sp>
          <p:nvSpPr>
            <p:cNvPr id="429" name="Google Shape;429;p15"/>
            <p:cNvSpPr txBox="1"/>
            <p:nvPr/>
          </p:nvSpPr>
          <p:spPr>
            <a:xfrm>
              <a:off x="7853825" y="2751594"/>
              <a:ext cx="3415800" cy="406062"/>
            </a:xfrm>
            <a:prstGeom prst="rect">
              <a:avLst/>
            </a:prstGeom>
            <a:solidFill>
              <a:srgbClr val="D8D8D8"/>
            </a:solid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GB" sz="1900" b="1">
                  <a:latin typeface="Arial"/>
                  <a:ea typeface="Arial"/>
                  <a:cs typeface="Arial"/>
                  <a:sym typeface="Arial"/>
                </a:rPr>
                <a:t>Shorter and recommended</a:t>
              </a:r>
              <a:endParaRPr sz="1900"/>
            </a:p>
          </p:txBody>
        </p:sp>
        <p:cxnSp>
          <p:nvCxnSpPr>
            <p:cNvPr id="2" name="Google Shape;380;p15">
              <a:extLst>
                <a:ext uri="{FF2B5EF4-FFF2-40B4-BE49-F238E27FC236}">
                  <a16:creationId xmlns:a16="http://schemas.microsoft.com/office/drawing/2014/main" id="{79F3E708-B660-64FA-9C5C-8BBE95B2BE95}"/>
                </a:ext>
              </a:extLst>
            </p:cNvPr>
            <p:cNvCxnSpPr>
              <a:cxnSpLocks/>
            </p:cNvCxnSpPr>
            <p:nvPr/>
          </p:nvCxnSpPr>
          <p:spPr>
            <a:xfrm flipH="1">
              <a:off x="5879638" y="4421928"/>
              <a:ext cx="3757" cy="1869812"/>
            </a:xfrm>
            <a:prstGeom prst="straightConnector1">
              <a:avLst/>
            </a:prstGeom>
            <a:noFill/>
            <a:ln w="19050" cap="flat" cmpd="sng">
              <a:solidFill>
                <a:srgbClr val="BFBFBF"/>
              </a:solidFill>
              <a:prstDash val="solid"/>
              <a:miter lim="800000"/>
              <a:headEnd type="none" w="sm" len="sm"/>
              <a:tailEnd type="none" w="sm" len="sm"/>
            </a:ln>
          </p:spPr>
        </p:cxnSp>
        <p:sp>
          <p:nvSpPr>
            <p:cNvPr id="414" name="Google Shape;414;p15"/>
            <p:cNvSpPr/>
            <p:nvPr/>
          </p:nvSpPr>
          <p:spPr>
            <a:xfrm>
              <a:off x="5799153" y="4892793"/>
              <a:ext cx="172763" cy="168492"/>
            </a:xfrm>
            <a:prstGeom prst="ellipse">
              <a:avLst/>
            </a:prstGeom>
            <a:solidFill>
              <a:srgbClr val="1E7FB8"/>
            </a:solidFill>
            <a:ln w="12700" cap="flat" cmpd="sng">
              <a:solidFill>
                <a:srgbClr val="1E7FB8"/>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22" name="Google Shape;422;p15"/>
            <p:cNvSpPr/>
            <p:nvPr/>
          </p:nvSpPr>
          <p:spPr>
            <a:xfrm>
              <a:off x="5791183" y="5968423"/>
              <a:ext cx="172763" cy="168492"/>
            </a:xfrm>
            <a:prstGeom prst="ellipse">
              <a:avLst/>
            </a:prstGeom>
            <a:solidFill>
              <a:srgbClr val="1E7FB8"/>
            </a:solidFill>
            <a:ln w="12700" cap="flat" cmpd="sng">
              <a:solidFill>
                <a:srgbClr val="1E7FB8"/>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cxnSp>
          <p:nvCxnSpPr>
            <p:cNvPr id="14" name="Google Shape;380;p15">
              <a:extLst>
                <a:ext uri="{FF2B5EF4-FFF2-40B4-BE49-F238E27FC236}">
                  <a16:creationId xmlns:a16="http://schemas.microsoft.com/office/drawing/2014/main" id="{E4B85AA1-20AC-8346-1EBD-A96FF0BAAEA9}"/>
                </a:ext>
              </a:extLst>
            </p:cNvPr>
            <p:cNvCxnSpPr>
              <a:cxnSpLocks/>
            </p:cNvCxnSpPr>
            <p:nvPr/>
          </p:nvCxnSpPr>
          <p:spPr>
            <a:xfrm flipH="1">
              <a:off x="6671774" y="4413617"/>
              <a:ext cx="3757" cy="1869812"/>
            </a:xfrm>
            <a:prstGeom prst="straightConnector1">
              <a:avLst/>
            </a:prstGeom>
            <a:noFill/>
            <a:ln w="19050" cap="flat" cmpd="sng">
              <a:solidFill>
                <a:srgbClr val="BFBFBF"/>
              </a:solidFill>
              <a:prstDash val="solid"/>
              <a:miter lim="800000"/>
              <a:headEnd type="none" w="sm" len="sm"/>
              <a:tailEnd type="none" w="sm" len="sm"/>
            </a:ln>
          </p:spPr>
        </p:cxnSp>
        <p:sp>
          <p:nvSpPr>
            <p:cNvPr id="416" name="Google Shape;416;p15"/>
            <p:cNvSpPr/>
            <p:nvPr/>
          </p:nvSpPr>
          <p:spPr>
            <a:xfrm>
              <a:off x="6590201" y="4892793"/>
              <a:ext cx="172763" cy="168492"/>
            </a:xfrm>
            <a:prstGeom prst="ellipse">
              <a:avLst/>
            </a:prstGeom>
            <a:solidFill>
              <a:srgbClr val="1E7FB8"/>
            </a:solidFill>
            <a:ln w="12700" cap="flat" cmpd="sng">
              <a:solidFill>
                <a:srgbClr val="1E7FB8"/>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23" name="Google Shape;423;p15"/>
            <p:cNvSpPr/>
            <p:nvPr/>
          </p:nvSpPr>
          <p:spPr>
            <a:xfrm>
              <a:off x="6585393" y="5968423"/>
              <a:ext cx="172763" cy="168492"/>
            </a:xfrm>
            <a:prstGeom prst="ellipse">
              <a:avLst/>
            </a:prstGeom>
            <a:solidFill>
              <a:srgbClr val="1E7FB8"/>
            </a:solidFill>
            <a:ln w="12700" cap="flat" cmpd="sng">
              <a:solidFill>
                <a:srgbClr val="1E7FB8"/>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4" name="Google Shape;382;p15">
              <a:extLst>
                <a:ext uri="{FF2B5EF4-FFF2-40B4-BE49-F238E27FC236}">
                  <a16:creationId xmlns:a16="http://schemas.microsoft.com/office/drawing/2014/main" id="{C64026B9-337E-5510-E752-21D29713D9DA}"/>
                </a:ext>
              </a:extLst>
            </p:cNvPr>
            <p:cNvSpPr txBox="1"/>
            <p:nvPr/>
          </p:nvSpPr>
          <p:spPr>
            <a:xfrm rot="16200000">
              <a:off x="128177" y="4067859"/>
              <a:ext cx="832930" cy="38468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2000"/>
                <a:buFont typeface="Arial"/>
                <a:buNone/>
              </a:pPr>
              <a:r>
                <a:rPr lang="en-GB" sz="1900" b="1">
                  <a:solidFill>
                    <a:srgbClr val="ED7D31"/>
                  </a:solidFill>
                  <a:latin typeface="Arial"/>
                  <a:cs typeface="Arial"/>
                  <a:sym typeface="Arial"/>
                </a:rPr>
                <a:t>PEP</a:t>
              </a:r>
              <a:endParaRPr sz="1900" b="1">
                <a:solidFill>
                  <a:srgbClr val="ED7D31"/>
                </a:solidFill>
                <a:latin typeface="Arial"/>
                <a:cs typeface="Arial"/>
              </a:endParaRPr>
            </a:p>
          </p:txBody>
        </p:sp>
      </p:grpSp>
      <p:sp>
        <p:nvSpPr>
          <p:cNvPr id="5" name="TextBox 4">
            <a:extLst>
              <a:ext uri="{FF2B5EF4-FFF2-40B4-BE49-F238E27FC236}">
                <a16:creationId xmlns:a16="http://schemas.microsoft.com/office/drawing/2014/main" id="{468A53A5-2C0A-71D8-B3DF-E3CA178E10D1}"/>
              </a:ext>
            </a:extLst>
          </p:cNvPr>
          <p:cNvSpPr txBox="1"/>
          <p:nvPr/>
        </p:nvSpPr>
        <p:spPr>
          <a:xfrm>
            <a:off x="7721682" y="5395318"/>
            <a:ext cx="3862423" cy="646331"/>
          </a:xfrm>
          <a:prstGeom prst="rect">
            <a:avLst/>
          </a:prstGeom>
          <a:noFill/>
        </p:spPr>
        <p:txBody>
          <a:bodyPr wrap="square" rtlCol="0">
            <a:spAutoFit/>
          </a:bodyPr>
          <a:lstStyle/>
          <a:p>
            <a:pPr rtl="0">
              <a:spcBef>
                <a:spcPts val="0"/>
              </a:spcBef>
              <a:spcAft>
                <a:spcPts val="0"/>
              </a:spcAft>
            </a:pPr>
            <a:r>
              <a:rPr lang="en-US" b="0" i="1" u="none" strike="noStrike">
                <a:solidFill>
                  <a:srgbClr val="1E7FB8"/>
                </a:solidFill>
                <a:effectLst/>
              </a:rPr>
              <a:t>No PEP is necessary if complete PEP </a:t>
            </a:r>
          </a:p>
          <a:p>
            <a:pPr rtl="0">
              <a:spcBef>
                <a:spcPts val="0"/>
              </a:spcBef>
              <a:spcAft>
                <a:spcPts val="0"/>
              </a:spcAft>
            </a:pPr>
            <a:r>
              <a:rPr lang="en-US" b="0" i="1" u="none" strike="noStrike">
                <a:solidFill>
                  <a:srgbClr val="1E7FB8"/>
                </a:solidFill>
                <a:effectLst/>
              </a:rPr>
              <a:t>has been received in the past 3 months</a:t>
            </a:r>
            <a:endParaRPr lang="en-GB"/>
          </a:p>
        </p:txBody>
      </p:sp>
      <p:sp>
        <p:nvSpPr>
          <p:cNvPr id="7" name="TextBox 6">
            <a:extLst>
              <a:ext uri="{FF2B5EF4-FFF2-40B4-BE49-F238E27FC236}">
                <a16:creationId xmlns:a16="http://schemas.microsoft.com/office/drawing/2014/main" id="{4979D364-E821-AF80-EF12-CC6C60FBB6B9}"/>
              </a:ext>
            </a:extLst>
          </p:cNvPr>
          <p:cNvSpPr txBox="1"/>
          <p:nvPr/>
        </p:nvSpPr>
        <p:spPr>
          <a:xfrm>
            <a:off x="824946" y="6303268"/>
            <a:ext cx="10415821" cy="369332"/>
          </a:xfrm>
          <a:prstGeom prst="rect">
            <a:avLst/>
          </a:prstGeom>
          <a:noFill/>
        </p:spPr>
        <p:txBody>
          <a:bodyPr wrap="square" rtlCol="0">
            <a:spAutoFit/>
          </a:bodyPr>
          <a:lstStyle/>
          <a:p>
            <a:pPr algn="ctr" rtl="0">
              <a:spcBef>
                <a:spcPts val="0"/>
              </a:spcBef>
              <a:spcAft>
                <a:spcPts val="0"/>
              </a:spcAft>
            </a:pPr>
            <a:r>
              <a:rPr lang="en-US" sz="1800" b="1" i="0" u="none" strike="noStrike">
                <a:effectLst/>
                <a:latin typeface="Arial" panose="020B0604020202020204" pitchFamily="34" charset="0"/>
                <a:cs typeface="Arial" panose="020B0604020202020204" pitchFamily="34" charset="0"/>
              </a:rPr>
              <a:t>! Start PEP as soon as possible after exposure, but it is never too late to do it !</a:t>
            </a:r>
            <a:endParaRPr lang="en-GB" b="1">
              <a:latin typeface="Arial" panose="020B0604020202020204" pitchFamily="34" charset="0"/>
              <a:cs typeface="Arial" panose="020B0604020202020204" pitchFamily="34" charset="0"/>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314"/>
        <p:cNvGrpSpPr/>
        <p:nvPr/>
      </p:nvGrpSpPr>
      <p:grpSpPr>
        <a:xfrm>
          <a:off x="0" y="0"/>
          <a:ext cx="0" cy="0"/>
          <a:chOff x="0" y="0"/>
          <a:chExt cx="0" cy="0"/>
        </a:xfrm>
      </p:grpSpPr>
      <p:sp>
        <p:nvSpPr>
          <p:cNvPr id="317" name="Google Shape;317;p11"/>
          <p:cNvSpPr txBox="1"/>
          <p:nvPr/>
        </p:nvSpPr>
        <p:spPr>
          <a:xfrm>
            <a:off x="6874814" y="1594255"/>
            <a:ext cx="3825004" cy="410351"/>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2800">
                <a:solidFill>
                  <a:srgbClr val="FFFFFF"/>
                </a:solidFill>
                <a:latin typeface="Arial"/>
                <a:ea typeface="Arial"/>
                <a:cs typeface="Arial"/>
                <a:sym typeface="Arial"/>
              </a:rPr>
              <a:t>Monoclonal antibodies</a:t>
            </a:r>
            <a:endParaRPr/>
          </a:p>
        </p:txBody>
      </p:sp>
      <p:sp>
        <p:nvSpPr>
          <p:cNvPr id="2" name="TextBox 1">
            <a:extLst>
              <a:ext uri="{FF2B5EF4-FFF2-40B4-BE49-F238E27FC236}">
                <a16:creationId xmlns:a16="http://schemas.microsoft.com/office/drawing/2014/main" id="{A6C331A1-560B-BF03-E52B-78D077EB7C60}"/>
              </a:ext>
            </a:extLst>
          </p:cNvPr>
          <p:cNvSpPr txBox="1"/>
          <p:nvPr/>
        </p:nvSpPr>
        <p:spPr>
          <a:xfrm>
            <a:off x="136712" y="174347"/>
            <a:ext cx="11493226" cy="857627"/>
          </a:xfrm>
          <a:prstGeom prst="rect">
            <a:avLst/>
          </a:prstGeom>
        </p:spPr>
        <p:txBody>
          <a:bodyPr vert="horz" lIns="91440" tIns="45720" rIns="91440" bIns="45720" rtlCol="0" anchor="ctr">
            <a:noAutofit/>
          </a:bodyPr>
          <a:lstStyle>
            <a:lvl1pPr>
              <a:lnSpc>
                <a:spcPct val="90000"/>
              </a:lnSpc>
              <a:spcBef>
                <a:spcPct val="0"/>
              </a:spcBef>
              <a:buNone/>
              <a:defRPr sz="4000">
                <a:latin typeface="+mj-lt"/>
                <a:ea typeface="+mj-ea"/>
                <a:cs typeface="+mj-cs"/>
              </a:defRPr>
            </a:lvl1pPr>
          </a:lstStyle>
          <a:p>
            <a:r>
              <a:rPr lang="en-GB" sz="3800">
                <a:sym typeface="Arial"/>
              </a:rPr>
              <a:t>Rabies immunoglobulin stops the virus at the wound site</a:t>
            </a:r>
            <a:endParaRPr lang="en-GB" sz="3800"/>
          </a:p>
        </p:txBody>
      </p:sp>
      <p:sp>
        <p:nvSpPr>
          <p:cNvPr id="3" name="TextBox 2">
            <a:extLst>
              <a:ext uri="{FF2B5EF4-FFF2-40B4-BE49-F238E27FC236}">
                <a16:creationId xmlns:a16="http://schemas.microsoft.com/office/drawing/2014/main" id="{88837576-C2DF-08D7-32C5-97C58912D3CC}"/>
              </a:ext>
            </a:extLst>
          </p:cNvPr>
          <p:cNvSpPr txBox="1"/>
          <p:nvPr/>
        </p:nvSpPr>
        <p:spPr>
          <a:xfrm>
            <a:off x="5960643" y="6457709"/>
            <a:ext cx="6096000" cy="276999"/>
          </a:xfrm>
          <a:prstGeom prst="rect">
            <a:avLst/>
          </a:prstGeom>
          <a:noFill/>
        </p:spPr>
        <p:txBody>
          <a:bodyPr wrap="square">
            <a:spAutoFit/>
          </a:bodyPr>
          <a:lstStyle/>
          <a:p>
            <a:pPr algn="r"/>
            <a:r>
              <a:rPr lang="en-US" sz="1200">
                <a:latin typeface="Arial" panose="020B0604020202020204" pitchFamily="34" charset="0"/>
                <a:cs typeface="Arial" panose="020B0604020202020204" pitchFamily="34" charset="0"/>
                <a:hlinkClick r:id="rId3"/>
              </a:rPr>
              <a:t>WHO position paper</a:t>
            </a:r>
            <a:endParaRPr lang="en-US" sz="1200">
              <a:latin typeface="Arial" panose="020B0604020202020204" pitchFamily="34" charset="0"/>
              <a:cs typeface="Arial" panose="020B0604020202020204" pitchFamily="34" charset="0"/>
            </a:endParaRPr>
          </a:p>
        </p:txBody>
      </p:sp>
      <p:sp>
        <p:nvSpPr>
          <p:cNvPr id="7" name="Google Shape;349;p13">
            <a:extLst>
              <a:ext uri="{FF2B5EF4-FFF2-40B4-BE49-F238E27FC236}">
                <a16:creationId xmlns:a16="http://schemas.microsoft.com/office/drawing/2014/main" id="{AEC8656C-E3BF-7D1D-6351-44F3C39B5F4B}"/>
              </a:ext>
            </a:extLst>
          </p:cNvPr>
          <p:cNvSpPr txBox="1"/>
          <p:nvPr/>
        </p:nvSpPr>
        <p:spPr>
          <a:xfrm>
            <a:off x="601748" y="1093948"/>
            <a:ext cx="6910040" cy="5190484"/>
          </a:xfrm>
          <a:prstGeom prst="rect">
            <a:avLst/>
          </a:prstGeom>
          <a:noFill/>
          <a:ln>
            <a:noFill/>
          </a:ln>
        </p:spPr>
        <p:txBody>
          <a:bodyPr spcFirstLastPara="1" wrap="square" lIns="91425" tIns="45700" rIns="91425" bIns="45700" anchor="t" anchorCtr="0">
            <a:noAutofit/>
          </a:bodyPr>
          <a:lstStyle/>
          <a:p>
            <a:pPr marR="0" lvl="0" algn="l" rtl="0">
              <a:lnSpc>
                <a:spcPct val="90000"/>
              </a:lnSpc>
              <a:spcBef>
                <a:spcPts val="1200"/>
              </a:spcBef>
              <a:spcAft>
                <a:spcPts val="0"/>
              </a:spcAft>
              <a:buClr>
                <a:srgbClr val="222A35"/>
              </a:buClr>
              <a:buSzPts val="2000"/>
            </a:pPr>
            <a:r>
              <a:rPr lang="en-GB" sz="2000">
                <a:latin typeface="Arial"/>
                <a:ea typeface="Arial"/>
                <a:cs typeface="Arial"/>
                <a:sym typeface="Arial"/>
              </a:rPr>
              <a:t>Rabies immunoglobulin (RIG) is:</a:t>
            </a:r>
            <a:endParaRPr lang="en-GB">
              <a:sym typeface="Arial"/>
            </a:endParaRPr>
          </a:p>
          <a:p>
            <a:pPr marL="342900" marR="0" lvl="0" indent="-342900" algn="l" rtl="0">
              <a:lnSpc>
                <a:spcPct val="90000"/>
              </a:lnSpc>
              <a:spcBef>
                <a:spcPts val="1200"/>
              </a:spcBef>
              <a:spcAft>
                <a:spcPts val="0"/>
              </a:spcAft>
              <a:buClr>
                <a:srgbClr val="222A35"/>
              </a:buClr>
              <a:buSzPts val="2000"/>
              <a:buFont typeface="Arial" panose="020B0604020202020204" pitchFamily="34" charset="0"/>
              <a:buChar char="•"/>
            </a:pPr>
            <a:r>
              <a:rPr lang="en-GB" sz="1400">
                <a:latin typeface="Arial"/>
                <a:ea typeface="Arial"/>
                <a:cs typeface="Arial"/>
                <a:sym typeface="Arial"/>
              </a:rPr>
              <a:t>recommended for </a:t>
            </a:r>
            <a:r>
              <a:rPr lang="en-GB" sz="1400" b="1">
                <a:latin typeface="Arial"/>
                <a:ea typeface="Arial"/>
                <a:cs typeface="Arial"/>
                <a:sym typeface="Arial"/>
              </a:rPr>
              <a:t>severe</a:t>
            </a:r>
            <a:r>
              <a:rPr lang="en-GB" sz="1400">
                <a:latin typeface="Arial"/>
                <a:ea typeface="Arial"/>
                <a:cs typeface="Arial"/>
                <a:sym typeface="Arial"/>
              </a:rPr>
              <a:t> exposure (Category III) </a:t>
            </a:r>
          </a:p>
          <a:p>
            <a:pPr marL="342900" marR="0" lvl="0" indent="-342900" algn="l" rtl="0">
              <a:lnSpc>
                <a:spcPct val="90000"/>
              </a:lnSpc>
              <a:spcBef>
                <a:spcPts val="1200"/>
              </a:spcBef>
              <a:spcAft>
                <a:spcPts val="0"/>
              </a:spcAft>
              <a:buClr>
                <a:srgbClr val="222A35"/>
              </a:buClr>
              <a:buSzPts val="2000"/>
              <a:buFont typeface="Arial" panose="020B0604020202020204" pitchFamily="34" charset="0"/>
              <a:buChar char="•"/>
            </a:pPr>
            <a:r>
              <a:rPr lang="en-GB" sz="1400" b="1">
                <a:latin typeface="Arial"/>
                <a:ea typeface="Arial"/>
                <a:cs typeface="Arial"/>
                <a:sym typeface="Arial"/>
              </a:rPr>
              <a:t>not recommended </a:t>
            </a:r>
            <a:r>
              <a:rPr lang="en-GB" sz="1400">
                <a:latin typeface="Arial"/>
                <a:ea typeface="Arial"/>
                <a:cs typeface="Arial"/>
                <a:sym typeface="Arial"/>
              </a:rPr>
              <a:t>if you have </a:t>
            </a:r>
            <a:r>
              <a:rPr lang="en-GB" sz="1400" b="1">
                <a:latin typeface="Arial"/>
                <a:ea typeface="Arial"/>
                <a:cs typeface="Arial"/>
                <a:sym typeface="Arial"/>
              </a:rPr>
              <a:t>ever received rabies vaccine </a:t>
            </a:r>
          </a:p>
          <a:p>
            <a:pPr marL="342900" marR="0" lvl="0" indent="-342900" algn="l" rtl="0">
              <a:lnSpc>
                <a:spcPct val="90000"/>
              </a:lnSpc>
              <a:spcBef>
                <a:spcPts val="1200"/>
              </a:spcBef>
              <a:spcAft>
                <a:spcPts val="0"/>
              </a:spcAft>
              <a:buClr>
                <a:srgbClr val="222A35"/>
              </a:buClr>
              <a:buSzPts val="2000"/>
              <a:buFont typeface="Arial" panose="020B0604020202020204" pitchFamily="34" charset="0"/>
              <a:buChar char="•"/>
            </a:pPr>
            <a:r>
              <a:rPr lang="en-GB" sz="1400" b="1">
                <a:latin typeface="Arial"/>
                <a:ea typeface="Arial"/>
                <a:cs typeface="Arial"/>
                <a:sym typeface="Arial"/>
              </a:rPr>
              <a:t>not recommended </a:t>
            </a:r>
            <a:r>
              <a:rPr lang="en-GB" sz="1400">
                <a:latin typeface="Arial"/>
                <a:ea typeface="Arial"/>
                <a:cs typeface="Arial"/>
                <a:sym typeface="Arial"/>
              </a:rPr>
              <a:t>if you have received your </a:t>
            </a:r>
            <a:r>
              <a:rPr lang="en-GB" sz="1400" b="1">
                <a:latin typeface="Arial"/>
                <a:ea typeface="Arial"/>
                <a:cs typeface="Arial"/>
                <a:sym typeface="Arial"/>
              </a:rPr>
              <a:t>first PEP dose &gt;7 days ago </a:t>
            </a:r>
          </a:p>
          <a:p>
            <a:pPr marR="0" lvl="0" algn="l" rtl="0">
              <a:lnSpc>
                <a:spcPct val="90000"/>
              </a:lnSpc>
              <a:spcBef>
                <a:spcPts val="1200"/>
              </a:spcBef>
              <a:spcAft>
                <a:spcPts val="0"/>
              </a:spcAft>
              <a:buClr>
                <a:srgbClr val="222A35"/>
              </a:buClr>
              <a:buSzPts val="2000"/>
            </a:pPr>
            <a:r>
              <a:rPr lang="en-GB" sz="2000">
                <a:latin typeface="Arial"/>
                <a:ea typeface="Arial"/>
                <a:cs typeface="Arial"/>
                <a:sym typeface="Arial"/>
              </a:rPr>
              <a:t>RIG:</a:t>
            </a:r>
          </a:p>
          <a:p>
            <a:pPr marL="342900" indent="-342900">
              <a:lnSpc>
                <a:spcPct val="90000"/>
              </a:lnSpc>
              <a:spcBef>
                <a:spcPts val="1200"/>
              </a:spcBef>
              <a:buClr>
                <a:srgbClr val="222A35"/>
              </a:buClr>
              <a:buSzPts val="2000"/>
              <a:buFont typeface="Arial" panose="020B0604020202020204" pitchFamily="34" charset="0"/>
              <a:buChar char="•"/>
            </a:pPr>
            <a:r>
              <a:rPr lang="en-GB" sz="1400">
                <a:latin typeface="Arial"/>
                <a:ea typeface="Arial"/>
                <a:cs typeface="Arial"/>
                <a:sym typeface="Arial"/>
              </a:rPr>
              <a:t>provides </a:t>
            </a:r>
            <a:r>
              <a:rPr lang="en-GB" sz="1400" b="1">
                <a:latin typeface="Arial"/>
                <a:ea typeface="Arial"/>
                <a:cs typeface="Arial"/>
                <a:sym typeface="Arial"/>
              </a:rPr>
              <a:t>fast protection </a:t>
            </a:r>
            <a:r>
              <a:rPr lang="en-GB" sz="1400">
                <a:latin typeface="Arial"/>
                <a:ea typeface="Arial"/>
                <a:cs typeface="Arial"/>
                <a:sym typeface="Arial"/>
              </a:rPr>
              <a:t>while the immune system responds to the vaccine</a:t>
            </a:r>
          </a:p>
          <a:p>
            <a:pPr marL="342900" indent="-342900">
              <a:lnSpc>
                <a:spcPct val="90000"/>
              </a:lnSpc>
              <a:spcBef>
                <a:spcPts val="1200"/>
              </a:spcBef>
              <a:buClr>
                <a:srgbClr val="222A35"/>
              </a:buClr>
              <a:buSzPts val="2000"/>
              <a:buFont typeface="Arial" panose="020B0604020202020204" pitchFamily="34" charset="0"/>
              <a:buChar char="•"/>
            </a:pPr>
            <a:r>
              <a:rPr lang="en-GB" sz="1400">
                <a:latin typeface="Arial"/>
                <a:ea typeface="Arial"/>
                <a:cs typeface="Arial"/>
                <a:sym typeface="Arial"/>
              </a:rPr>
              <a:t>must be administered </a:t>
            </a:r>
            <a:r>
              <a:rPr lang="en-GB" sz="1400" b="1">
                <a:latin typeface="Arial"/>
                <a:ea typeface="Arial"/>
                <a:cs typeface="Arial"/>
                <a:sym typeface="Arial"/>
              </a:rPr>
              <a:t>deep in and around all wounds</a:t>
            </a:r>
          </a:p>
          <a:p>
            <a:pPr marL="342900" indent="-342900">
              <a:lnSpc>
                <a:spcPct val="90000"/>
              </a:lnSpc>
              <a:spcBef>
                <a:spcPts val="1200"/>
              </a:spcBef>
              <a:buClr>
                <a:srgbClr val="222A35"/>
              </a:buClr>
              <a:buSzPts val="2000"/>
              <a:buFont typeface="Arial" panose="020B0604020202020204" pitchFamily="34" charset="0"/>
              <a:buChar char="•"/>
            </a:pPr>
            <a:r>
              <a:rPr lang="en-GB" sz="1400">
                <a:latin typeface="Arial"/>
                <a:ea typeface="Arial"/>
                <a:cs typeface="Arial"/>
                <a:sym typeface="Arial"/>
              </a:rPr>
              <a:t>can be </a:t>
            </a:r>
            <a:r>
              <a:rPr lang="en-GB" sz="1400" b="1">
                <a:latin typeface="Arial"/>
                <a:ea typeface="Arial"/>
                <a:cs typeface="Arial"/>
                <a:sym typeface="Arial"/>
              </a:rPr>
              <a:t>diluted</a:t>
            </a:r>
            <a:r>
              <a:rPr lang="en-GB" sz="1400">
                <a:latin typeface="Arial"/>
                <a:ea typeface="Arial"/>
                <a:cs typeface="Arial"/>
                <a:sym typeface="Arial"/>
              </a:rPr>
              <a:t> for large and multiple wounds when requirement exceeds the maximum recommended dose</a:t>
            </a:r>
          </a:p>
          <a:p>
            <a:pPr marL="342900" indent="-342900">
              <a:lnSpc>
                <a:spcPct val="90000"/>
              </a:lnSpc>
              <a:spcBef>
                <a:spcPts val="1200"/>
              </a:spcBef>
              <a:buClr>
                <a:srgbClr val="222A35"/>
              </a:buClr>
              <a:buSzPts val="2000"/>
              <a:buFont typeface="Arial" panose="020B0604020202020204" pitchFamily="34" charset="0"/>
              <a:buChar char="•"/>
            </a:pPr>
            <a:r>
              <a:rPr lang="en-US" sz="1400">
                <a:latin typeface="Arial"/>
                <a:ea typeface="Arial"/>
                <a:cs typeface="Arial"/>
                <a:sym typeface="Arial"/>
              </a:rPr>
              <a:t>consists of </a:t>
            </a:r>
            <a:r>
              <a:rPr lang="en-US" sz="1400" b="1">
                <a:latin typeface="Arial"/>
                <a:ea typeface="Arial"/>
                <a:cs typeface="Arial"/>
                <a:sym typeface="Arial"/>
              </a:rPr>
              <a:t>human</a:t>
            </a:r>
            <a:r>
              <a:rPr lang="en-US" sz="1400">
                <a:latin typeface="Arial"/>
                <a:ea typeface="Arial"/>
                <a:cs typeface="Arial"/>
                <a:sym typeface="Arial"/>
              </a:rPr>
              <a:t> (</a:t>
            </a:r>
            <a:r>
              <a:rPr lang="en-US" sz="1400" err="1">
                <a:latin typeface="Arial"/>
                <a:ea typeface="Arial"/>
                <a:cs typeface="Arial"/>
                <a:sym typeface="Arial"/>
              </a:rPr>
              <a:t>hRIG</a:t>
            </a:r>
            <a:r>
              <a:rPr lang="en-US" sz="1400">
                <a:latin typeface="Arial"/>
                <a:ea typeface="Arial"/>
                <a:cs typeface="Arial"/>
                <a:sym typeface="Arial"/>
              </a:rPr>
              <a:t>) or </a:t>
            </a:r>
            <a:r>
              <a:rPr lang="en-US" sz="1400" b="1">
                <a:latin typeface="Arial"/>
                <a:ea typeface="Arial"/>
                <a:cs typeface="Arial"/>
                <a:sym typeface="Arial"/>
              </a:rPr>
              <a:t>equine</a:t>
            </a:r>
            <a:r>
              <a:rPr lang="en-US" sz="1400">
                <a:latin typeface="Arial"/>
                <a:ea typeface="Arial"/>
                <a:cs typeface="Arial"/>
                <a:sym typeface="Arial"/>
              </a:rPr>
              <a:t> (</a:t>
            </a:r>
            <a:r>
              <a:rPr lang="en-US" sz="1400" err="1">
                <a:latin typeface="Arial"/>
                <a:ea typeface="Arial"/>
                <a:cs typeface="Arial"/>
                <a:sym typeface="Arial"/>
              </a:rPr>
              <a:t>eRIG</a:t>
            </a:r>
            <a:r>
              <a:rPr lang="en-US" sz="1400">
                <a:latin typeface="Arial"/>
                <a:ea typeface="Arial"/>
                <a:cs typeface="Arial"/>
                <a:sym typeface="Arial"/>
              </a:rPr>
              <a:t>) rabies antibodies – both effective</a:t>
            </a:r>
          </a:p>
          <a:p>
            <a:pPr marL="342900" lvl="0" indent="-342900">
              <a:lnSpc>
                <a:spcPct val="90000"/>
              </a:lnSpc>
              <a:spcBef>
                <a:spcPts val="1200"/>
              </a:spcBef>
              <a:buClr>
                <a:srgbClr val="222A35"/>
              </a:buClr>
              <a:buSzPts val="2000"/>
              <a:buFont typeface="Arial" panose="020B0604020202020204" pitchFamily="34" charset="0"/>
              <a:buChar char="•"/>
            </a:pPr>
            <a:r>
              <a:rPr lang="en-US" sz="1400">
                <a:latin typeface="Arial"/>
                <a:ea typeface="Arial"/>
                <a:cs typeface="Arial"/>
                <a:sym typeface="Arial"/>
              </a:rPr>
              <a:t>is administered, not exceeding the maximum dose, </a:t>
            </a:r>
            <a:r>
              <a:rPr lang="en-US" sz="1400" b="1">
                <a:latin typeface="Arial"/>
                <a:ea typeface="Arial"/>
                <a:cs typeface="Arial"/>
                <a:sym typeface="Arial"/>
              </a:rPr>
              <a:t>calculated by body weight</a:t>
            </a:r>
            <a:r>
              <a:rPr lang="en-US" sz="1400">
                <a:latin typeface="Arial"/>
                <a:ea typeface="Arial"/>
                <a:cs typeface="Arial"/>
                <a:sym typeface="Arial"/>
              </a:rPr>
              <a:t>: </a:t>
            </a:r>
            <a:r>
              <a:rPr lang="en-US" sz="1400">
                <a:latin typeface="Arial"/>
                <a:cs typeface="Arial"/>
                <a:sym typeface="Arial"/>
              </a:rPr>
              <a:t>(</a:t>
            </a:r>
            <a:r>
              <a:rPr lang="en-US" sz="1400" i="1" err="1">
                <a:latin typeface="Arial"/>
                <a:cs typeface="Arial"/>
                <a:sym typeface="Arial"/>
              </a:rPr>
              <a:t>hRIG</a:t>
            </a:r>
            <a:r>
              <a:rPr lang="en-US" sz="1400" i="1">
                <a:latin typeface="Arial"/>
                <a:cs typeface="Arial"/>
                <a:sym typeface="Arial"/>
              </a:rPr>
              <a:t>: 20 IU/kg  and </a:t>
            </a:r>
            <a:r>
              <a:rPr lang="en-US" sz="1400" i="1" err="1">
                <a:latin typeface="Arial"/>
                <a:cs typeface="Arial"/>
                <a:sym typeface="Arial"/>
              </a:rPr>
              <a:t>eRIG</a:t>
            </a:r>
            <a:r>
              <a:rPr lang="en-US" sz="1400" i="1">
                <a:latin typeface="Arial"/>
                <a:cs typeface="Arial"/>
                <a:sym typeface="Arial"/>
              </a:rPr>
              <a:t>: 40 IU/kg</a:t>
            </a:r>
            <a:r>
              <a:rPr lang="en-US" sz="1400">
                <a:latin typeface="Arial"/>
                <a:cs typeface="Arial"/>
                <a:sym typeface="Arial"/>
              </a:rPr>
              <a:t>)</a:t>
            </a:r>
            <a:endParaRPr lang="en-GB" sz="1400">
              <a:sym typeface="Arial"/>
            </a:endParaRPr>
          </a:p>
          <a:p>
            <a:pPr marL="342900" indent="-342900">
              <a:lnSpc>
                <a:spcPct val="90000"/>
              </a:lnSpc>
              <a:spcBef>
                <a:spcPts val="1200"/>
              </a:spcBef>
              <a:spcAft>
                <a:spcPts val="1200"/>
              </a:spcAft>
              <a:buClr>
                <a:srgbClr val="222A35"/>
              </a:buClr>
              <a:buSzPts val="2000"/>
              <a:buFont typeface="Arial" panose="020B0604020202020204" pitchFamily="34" charset="0"/>
              <a:buChar char="•"/>
            </a:pPr>
            <a:r>
              <a:rPr lang="en-US" sz="1400">
                <a:latin typeface="Arial"/>
                <a:cs typeface="Arial"/>
                <a:sym typeface="Arial"/>
              </a:rPr>
              <a:t>Monoclonal antibody products are also available </a:t>
            </a:r>
            <a:endParaRPr lang="en-GB" sz="800">
              <a:latin typeface="Arial"/>
              <a:cs typeface="Arial"/>
              <a:sym typeface="Arial"/>
            </a:endParaRPr>
          </a:p>
          <a:p>
            <a:pPr marR="0" lvl="0" algn="l" rtl="0">
              <a:lnSpc>
                <a:spcPct val="90000"/>
              </a:lnSpc>
              <a:spcBef>
                <a:spcPts val="1200"/>
              </a:spcBef>
              <a:spcAft>
                <a:spcPts val="0"/>
              </a:spcAft>
              <a:buClr>
                <a:srgbClr val="222A35"/>
              </a:buClr>
              <a:buSzPts val="2000"/>
            </a:pPr>
            <a:r>
              <a:rPr lang="en-GB" sz="1600" b="1">
                <a:latin typeface="Arial"/>
                <a:cs typeface="Arial"/>
                <a:sym typeface="Arial"/>
              </a:rPr>
              <a:t>RIG is often in short supply because of insufficient demand and supply forecasting, so its prioritization is essential </a:t>
            </a:r>
          </a:p>
        </p:txBody>
      </p:sp>
      <p:pic>
        <p:nvPicPr>
          <p:cNvPr id="3074" name="Picture 2">
            <a:extLst>
              <a:ext uri="{FF2B5EF4-FFF2-40B4-BE49-F238E27FC236}">
                <a16:creationId xmlns:a16="http://schemas.microsoft.com/office/drawing/2014/main" id="{1531A5A8-27ED-267E-82EE-2A48D9CAA52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381327" y="1140024"/>
            <a:ext cx="2852470" cy="5098333"/>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a:extLst>
              <a:ext uri="{FF2B5EF4-FFF2-40B4-BE49-F238E27FC236}">
                <a16:creationId xmlns:a16="http://schemas.microsoft.com/office/drawing/2014/main" id="{F34D3969-CDF2-DC26-8710-8EAA9333D26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52689" y="6288609"/>
            <a:ext cx="1588170" cy="500605"/>
          </a:xfrm>
          <a:prstGeom prst="rect">
            <a:avLst/>
          </a:prstGeom>
        </p:spPr>
      </p:pic>
    </p:spTree>
    <p:extLst>
      <p:ext uri="{BB962C8B-B14F-4D97-AF65-F5344CB8AC3E}">
        <p14:creationId xmlns:p14="http://schemas.microsoft.com/office/powerpoint/2010/main" val="403153331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314"/>
        <p:cNvGrpSpPr/>
        <p:nvPr/>
      </p:nvGrpSpPr>
      <p:grpSpPr>
        <a:xfrm>
          <a:off x="0" y="0"/>
          <a:ext cx="0" cy="0"/>
          <a:chOff x="0" y="0"/>
          <a:chExt cx="0" cy="0"/>
        </a:xfrm>
      </p:grpSpPr>
      <p:sp>
        <p:nvSpPr>
          <p:cNvPr id="317" name="Google Shape;317;p11"/>
          <p:cNvSpPr txBox="1"/>
          <p:nvPr/>
        </p:nvSpPr>
        <p:spPr>
          <a:xfrm>
            <a:off x="6874814" y="1594255"/>
            <a:ext cx="3825004" cy="410351"/>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r>
              <a:rPr lang="en-GB" sz="2800">
                <a:solidFill>
                  <a:srgbClr val="FFFFFF"/>
                </a:solidFill>
                <a:latin typeface="Arial"/>
                <a:ea typeface="Arial"/>
                <a:cs typeface="Arial"/>
                <a:sym typeface="Arial"/>
              </a:rPr>
              <a:t>Monoclonal antibodies</a:t>
            </a:r>
            <a:endParaRPr/>
          </a:p>
        </p:txBody>
      </p:sp>
      <p:sp>
        <p:nvSpPr>
          <p:cNvPr id="2" name="TextBox 1">
            <a:extLst>
              <a:ext uri="{FF2B5EF4-FFF2-40B4-BE49-F238E27FC236}">
                <a16:creationId xmlns:a16="http://schemas.microsoft.com/office/drawing/2014/main" id="{A6C331A1-560B-BF03-E52B-78D077EB7C60}"/>
              </a:ext>
            </a:extLst>
          </p:cNvPr>
          <p:cNvSpPr txBox="1"/>
          <p:nvPr/>
        </p:nvSpPr>
        <p:spPr>
          <a:xfrm>
            <a:off x="184936" y="510494"/>
            <a:ext cx="11493226" cy="461665"/>
          </a:xfrm>
          <a:prstGeom prst="rect">
            <a:avLst/>
          </a:prstGeom>
        </p:spPr>
        <p:txBody>
          <a:bodyPr vert="horz" lIns="91440" tIns="45720" rIns="91440" bIns="45720" rtlCol="0" anchor="ctr">
            <a:noAutofit/>
          </a:bodyPr>
          <a:lstStyle>
            <a:lvl1pPr>
              <a:lnSpc>
                <a:spcPct val="90000"/>
              </a:lnSpc>
              <a:spcBef>
                <a:spcPct val="0"/>
              </a:spcBef>
              <a:buNone/>
              <a:defRPr sz="4000">
                <a:latin typeface="+mj-lt"/>
                <a:ea typeface="+mj-ea"/>
                <a:cs typeface="+mj-cs"/>
              </a:defRPr>
            </a:lvl1pPr>
          </a:lstStyle>
          <a:p>
            <a:r>
              <a:rPr lang="it-IT"/>
              <a:t>Pre-exposure prophlaxsis (PrEP) shortens, but does not replace, the post-exposure vaccine</a:t>
            </a:r>
            <a:endParaRPr lang="en-GB"/>
          </a:p>
        </p:txBody>
      </p:sp>
      <p:sp>
        <p:nvSpPr>
          <p:cNvPr id="3" name="TextBox 2">
            <a:extLst>
              <a:ext uri="{FF2B5EF4-FFF2-40B4-BE49-F238E27FC236}">
                <a16:creationId xmlns:a16="http://schemas.microsoft.com/office/drawing/2014/main" id="{56E1C16D-D4B2-9B87-2D7A-DCC3305222C6}"/>
              </a:ext>
            </a:extLst>
          </p:cNvPr>
          <p:cNvSpPr txBox="1"/>
          <p:nvPr/>
        </p:nvSpPr>
        <p:spPr>
          <a:xfrm>
            <a:off x="5960643" y="6457709"/>
            <a:ext cx="6096000" cy="276999"/>
          </a:xfrm>
          <a:prstGeom prst="rect">
            <a:avLst/>
          </a:prstGeom>
          <a:noFill/>
        </p:spPr>
        <p:txBody>
          <a:bodyPr wrap="square">
            <a:spAutoFit/>
          </a:bodyPr>
          <a:lstStyle/>
          <a:p>
            <a:pPr algn="r"/>
            <a:r>
              <a:rPr lang="en-US" sz="1200">
                <a:latin typeface="Arial" panose="020B0604020202020204" pitchFamily="34" charset="0"/>
                <a:cs typeface="Arial" panose="020B0604020202020204" pitchFamily="34" charset="0"/>
                <a:hlinkClick r:id="rId3"/>
              </a:rPr>
              <a:t>WHO position paper</a:t>
            </a:r>
            <a:endParaRPr lang="en-US" sz="1200">
              <a:latin typeface="Arial" panose="020B0604020202020204" pitchFamily="34" charset="0"/>
              <a:cs typeface="Arial" panose="020B0604020202020204" pitchFamily="34" charset="0"/>
            </a:endParaRPr>
          </a:p>
        </p:txBody>
      </p:sp>
      <p:grpSp>
        <p:nvGrpSpPr>
          <p:cNvPr id="4" name="Group 3">
            <a:extLst>
              <a:ext uri="{FF2B5EF4-FFF2-40B4-BE49-F238E27FC236}">
                <a16:creationId xmlns:a16="http://schemas.microsoft.com/office/drawing/2014/main" id="{DE246780-1077-533B-2F1A-08E8ED51690F}"/>
              </a:ext>
            </a:extLst>
          </p:cNvPr>
          <p:cNvGrpSpPr/>
          <p:nvPr/>
        </p:nvGrpSpPr>
        <p:grpSpPr>
          <a:xfrm>
            <a:off x="358996" y="4159459"/>
            <a:ext cx="11145106" cy="2028394"/>
            <a:chOff x="352303" y="1865430"/>
            <a:chExt cx="11098235" cy="2519525"/>
          </a:xfrm>
        </p:grpSpPr>
        <p:sp>
          <p:nvSpPr>
            <p:cNvPr id="8" name="Google Shape;376;p15">
              <a:extLst>
                <a:ext uri="{FF2B5EF4-FFF2-40B4-BE49-F238E27FC236}">
                  <a16:creationId xmlns:a16="http://schemas.microsoft.com/office/drawing/2014/main" id="{E3AEAB50-7403-6CC3-B115-25E01060DCC7}"/>
                </a:ext>
              </a:extLst>
            </p:cNvPr>
            <p:cNvSpPr/>
            <p:nvPr/>
          </p:nvSpPr>
          <p:spPr>
            <a:xfrm>
              <a:off x="741461" y="2494094"/>
              <a:ext cx="10709077" cy="1869812"/>
            </a:xfrm>
            <a:prstGeom prst="rect">
              <a:avLst/>
            </a:prstGeom>
            <a:solidFill>
              <a:srgbClr val="F2F2F2"/>
            </a:solidFill>
            <a:ln w="12700" cap="flat" cmpd="sng">
              <a:solidFill>
                <a:srgbClr val="F2F2F2"/>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9" name="Google Shape;395;p15">
              <a:extLst>
                <a:ext uri="{FF2B5EF4-FFF2-40B4-BE49-F238E27FC236}">
                  <a16:creationId xmlns:a16="http://schemas.microsoft.com/office/drawing/2014/main" id="{5742BBFC-38C6-C55D-3323-AB5622A12D68}"/>
                </a:ext>
              </a:extLst>
            </p:cNvPr>
            <p:cNvSpPr txBox="1"/>
            <p:nvPr/>
          </p:nvSpPr>
          <p:spPr>
            <a:xfrm>
              <a:off x="4095710" y="2831876"/>
              <a:ext cx="1353891" cy="410351"/>
            </a:xfrm>
            <a:prstGeom prst="rect">
              <a:avLst/>
            </a:prstGeom>
            <a:no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GB" sz="1800">
                  <a:solidFill>
                    <a:srgbClr val="222A35"/>
                  </a:solidFill>
                  <a:latin typeface="Arial"/>
                  <a:ea typeface="Arial"/>
                  <a:cs typeface="Arial"/>
                  <a:sym typeface="Arial"/>
                </a:rPr>
                <a:t>2-site ID</a:t>
              </a:r>
              <a:endParaRPr/>
            </a:p>
          </p:txBody>
        </p:sp>
        <p:sp>
          <p:nvSpPr>
            <p:cNvPr id="11" name="Google Shape;397;p15">
              <a:extLst>
                <a:ext uri="{FF2B5EF4-FFF2-40B4-BE49-F238E27FC236}">
                  <a16:creationId xmlns:a16="http://schemas.microsoft.com/office/drawing/2014/main" id="{266B01E2-F01C-2CC0-D98D-0359A2EFD278}"/>
                </a:ext>
              </a:extLst>
            </p:cNvPr>
            <p:cNvSpPr txBox="1"/>
            <p:nvPr/>
          </p:nvSpPr>
          <p:spPr>
            <a:xfrm>
              <a:off x="4137790" y="3612076"/>
              <a:ext cx="1204583" cy="410351"/>
            </a:xfrm>
            <a:prstGeom prst="rect">
              <a:avLst/>
            </a:prstGeom>
            <a:no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GB" sz="1800">
                  <a:solidFill>
                    <a:srgbClr val="222A35"/>
                  </a:solidFill>
                  <a:latin typeface="Arial"/>
                  <a:ea typeface="Arial"/>
                  <a:cs typeface="Arial"/>
                  <a:sym typeface="Arial"/>
                </a:rPr>
                <a:t>1-site IM</a:t>
              </a:r>
              <a:endParaRPr/>
            </a:p>
          </p:txBody>
        </p:sp>
        <p:cxnSp>
          <p:nvCxnSpPr>
            <p:cNvPr id="12" name="Google Shape;380;p15">
              <a:extLst>
                <a:ext uri="{FF2B5EF4-FFF2-40B4-BE49-F238E27FC236}">
                  <a16:creationId xmlns:a16="http://schemas.microsoft.com/office/drawing/2014/main" id="{1F6B6AD1-2DC8-E98D-5AA7-030C05BE8ED8}"/>
                </a:ext>
              </a:extLst>
            </p:cNvPr>
            <p:cNvCxnSpPr>
              <a:cxnSpLocks/>
              <a:stCxn id="21" idx="2"/>
            </p:cNvCxnSpPr>
            <p:nvPr/>
          </p:nvCxnSpPr>
          <p:spPr>
            <a:xfrm flipH="1">
              <a:off x="5845168" y="2361981"/>
              <a:ext cx="25348" cy="1993520"/>
            </a:xfrm>
            <a:prstGeom prst="straightConnector1">
              <a:avLst/>
            </a:prstGeom>
            <a:noFill/>
            <a:ln w="19050" cap="flat" cmpd="sng">
              <a:solidFill>
                <a:srgbClr val="BFBFBF"/>
              </a:solidFill>
              <a:prstDash val="solid"/>
              <a:miter lim="800000"/>
              <a:headEnd type="none" w="sm" len="sm"/>
              <a:tailEnd type="none" w="sm" len="sm"/>
            </a:ln>
          </p:spPr>
        </p:cxnSp>
        <p:sp>
          <p:nvSpPr>
            <p:cNvPr id="15" name="Google Shape;416;p15">
              <a:extLst>
                <a:ext uri="{FF2B5EF4-FFF2-40B4-BE49-F238E27FC236}">
                  <a16:creationId xmlns:a16="http://schemas.microsoft.com/office/drawing/2014/main" id="{B91C09A2-12B4-A8EF-0DF3-C465FE31E5A9}"/>
                </a:ext>
              </a:extLst>
            </p:cNvPr>
            <p:cNvSpPr/>
            <p:nvPr/>
          </p:nvSpPr>
          <p:spPr>
            <a:xfrm>
              <a:off x="5758786" y="3738286"/>
              <a:ext cx="172763" cy="168492"/>
            </a:xfrm>
            <a:prstGeom prst="ellipse">
              <a:avLst/>
            </a:prstGeom>
            <a:solidFill>
              <a:srgbClr val="1E7FB8"/>
            </a:solidFill>
            <a:ln w="12700" cap="flat" cmpd="sng">
              <a:solidFill>
                <a:srgbClr val="1E7FB8"/>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cxnSp>
          <p:nvCxnSpPr>
            <p:cNvPr id="16" name="Google Shape;378;p15">
              <a:extLst>
                <a:ext uri="{FF2B5EF4-FFF2-40B4-BE49-F238E27FC236}">
                  <a16:creationId xmlns:a16="http://schemas.microsoft.com/office/drawing/2014/main" id="{8B33F78D-4F80-EEB7-58DC-F8776873D3B7}"/>
                </a:ext>
              </a:extLst>
            </p:cNvPr>
            <p:cNvCxnSpPr>
              <a:cxnSpLocks/>
              <a:stCxn id="20" idx="2"/>
            </p:cNvCxnSpPr>
            <p:nvPr/>
          </p:nvCxnSpPr>
          <p:spPr>
            <a:xfrm>
              <a:off x="7448524" y="2360074"/>
              <a:ext cx="9913" cy="2024881"/>
            </a:xfrm>
            <a:prstGeom prst="straightConnector1">
              <a:avLst/>
            </a:prstGeom>
            <a:noFill/>
            <a:ln w="19050" cap="flat" cmpd="sng">
              <a:solidFill>
                <a:srgbClr val="BFBFBF"/>
              </a:solidFill>
              <a:prstDash val="solid"/>
              <a:miter lim="800000"/>
              <a:headEnd type="none" w="sm" len="sm"/>
              <a:tailEnd type="none" w="sm" len="sm"/>
            </a:ln>
          </p:spPr>
        </p:cxnSp>
        <p:cxnSp>
          <p:nvCxnSpPr>
            <p:cNvPr id="17" name="Google Shape;388;p15">
              <a:extLst>
                <a:ext uri="{FF2B5EF4-FFF2-40B4-BE49-F238E27FC236}">
                  <a16:creationId xmlns:a16="http://schemas.microsoft.com/office/drawing/2014/main" id="{18036BD0-326F-D9F9-94E0-76F87B172A19}"/>
                </a:ext>
              </a:extLst>
            </p:cNvPr>
            <p:cNvCxnSpPr/>
            <p:nvPr/>
          </p:nvCxnSpPr>
          <p:spPr>
            <a:xfrm flipH="1">
              <a:off x="5863403" y="1865432"/>
              <a:ext cx="4937740" cy="3644"/>
            </a:xfrm>
            <a:prstGeom prst="straightConnector1">
              <a:avLst/>
            </a:prstGeom>
            <a:noFill/>
            <a:ln w="38100" cap="flat" cmpd="sng">
              <a:solidFill>
                <a:srgbClr val="BFBFBF"/>
              </a:solidFill>
              <a:prstDash val="solid"/>
              <a:miter lim="800000"/>
              <a:headEnd type="none" w="sm" len="sm"/>
              <a:tailEnd type="none" w="sm" len="sm"/>
            </a:ln>
          </p:spPr>
        </p:cxnSp>
        <p:cxnSp>
          <p:nvCxnSpPr>
            <p:cNvPr id="18" name="Google Shape;389;p15">
              <a:extLst>
                <a:ext uri="{FF2B5EF4-FFF2-40B4-BE49-F238E27FC236}">
                  <a16:creationId xmlns:a16="http://schemas.microsoft.com/office/drawing/2014/main" id="{BE386927-EF77-CD3A-1A5F-CCB6599AFB0C}"/>
                </a:ext>
              </a:extLst>
            </p:cNvPr>
            <p:cNvCxnSpPr/>
            <p:nvPr/>
          </p:nvCxnSpPr>
          <p:spPr>
            <a:xfrm>
              <a:off x="10924616" y="1865430"/>
              <a:ext cx="517410" cy="4926"/>
            </a:xfrm>
            <a:prstGeom prst="straightConnector1">
              <a:avLst/>
            </a:prstGeom>
            <a:noFill/>
            <a:ln w="38100" cap="flat" cmpd="sng">
              <a:solidFill>
                <a:srgbClr val="BFBFBF"/>
              </a:solidFill>
              <a:prstDash val="dash"/>
              <a:miter lim="800000"/>
              <a:headEnd type="none" w="sm" len="sm"/>
              <a:tailEnd type="triangle" w="med" len="med"/>
            </a:ln>
          </p:spPr>
        </p:cxnSp>
        <p:sp>
          <p:nvSpPr>
            <p:cNvPr id="20" name="Google Shape;391;p15">
              <a:extLst>
                <a:ext uri="{FF2B5EF4-FFF2-40B4-BE49-F238E27FC236}">
                  <a16:creationId xmlns:a16="http://schemas.microsoft.com/office/drawing/2014/main" id="{A674734A-734C-021B-E824-E110A85FBA4D}"/>
                </a:ext>
              </a:extLst>
            </p:cNvPr>
            <p:cNvSpPr txBox="1"/>
            <p:nvPr/>
          </p:nvSpPr>
          <p:spPr>
            <a:xfrm>
              <a:off x="7128944" y="1901367"/>
              <a:ext cx="639159" cy="458707"/>
            </a:xfrm>
            <a:prstGeom prst="rect">
              <a:avLst/>
            </a:prstGeom>
            <a:solidFill>
              <a:schemeClr val="lt1"/>
            </a:solid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800"/>
                <a:buFont typeface="Arial"/>
                <a:buNone/>
              </a:pPr>
              <a:r>
                <a:rPr lang="en-GB" sz="1800" b="1" i="0" u="none" strike="noStrike" cap="none">
                  <a:latin typeface="Arial"/>
                  <a:ea typeface="Arial"/>
                  <a:cs typeface="Arial"/>
                  <a:sym typeface="Arial"/>
                </a:rPr>
                <a:t>7</a:t>
              </a:r>
              <a:endParaRPr sz="2800" b="1" i="0" u="none" strike="noStrike" cap="none">
                <a:latin typeface="Arial"/>
                <a:ea typeface="Arial"/>
                <a:cs typeface="Arial"/>
                <a:sym typeface="Arial"/>
              </a:endParaRPr>
            </a:p>
          </p:txBody>
        </p:sp>
        <p:sp>
          <p:nvSpPr>
            <p:cNvPr id="21" name="Google Shape;394;p15">
              <a:extLst>
                <a:ext uri="{FF2B5EF4-FFF2-40B4-BE49-F238E27FC236}">
                  <a16:creationId xmlns:a16="http://schemas.microsoft.com/office/drawing/2014/main" id="{9D47D7D1-4441-4F90-FE48-F0CE176BB7A2}"/>
                </a:ext>
              </a:extLst>
            </p:cNvPr>
            <p:cNvSpPr txBox="1"/>
            <p:nvPr/>
          </p:nvSpPr>
          <p:spPr>
            <a:xfrm>
              <a:off x="5518400" y="1903274"/>
              <a:ext cx="704232" cy="458707"/>
            </a:xfrm>
            <a:prstGeom prst="rect">
              <a:avLst/>
            </a:prstGeom>
            <a:solidFill>
              <a:schemeClr val="lt1"/>
            </a:solid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800"/>
                <a:buFont typeface="Arial"/>
                <a:buNone/>
              </a:pPr>
              <a:r>
                <a:rPr lang="en-GB" sz="1800" b="1" i="0" u="none" strike="noStrike" cap="none">
                  <a:latin typeface="Arial"/>
                  <a:ea typeface="Arial"/>
                  <a:cs typeface="Arial"/>
                  <a:sym typeface="Arial"/>
                </a:rPr>
                <a:t>0</a:t>
              </a:r>
              <a:endParaRPr sz="2800" b="1" i="0" u="none" strike="noStrike" cap="none">
                <a:latin typeface="Arial"/>
                <a:ea typeface="Arial"/>
                <a:cs typeface="Arial"/>
                <a:sym typeface="Arial"/>
              </a:endParaRPr>
            </a:p>
          </p:txBody>
        </p:sp>
        <p:sp>
          <p:nvSpPr>
            <p:cNvPr id="25" name="Google Shape;400;p15">
              <a:extLst>
                <a:ext uri="{FF2B5EF4-FFF2-40B4-BE49-F238E27FC236}">
                  <a16:creationId xmlns:a16="http://schemas.microsoft.com/office/drawing/2014/main" id="{595C8B55-A9E4-E976-553D-9E8BBBA67A96}"/>
                </a:ext>
              </a:extLst>
            </p:cNvPr>
            <p:cNvSpPr/>
            <p:nvPr/>
          </p:nvSpPr>
          <p:spPr>
            <a:xfrm>
              <a:off x="5644616" y="2944251"/>
              <a:ext cx="172763" cy="168492"/>
            </a:xfrm>
            <a:prstGeom prst="ellipse">
              <a:avLst/>
            </a:prstGeom>
            <a:solidFill>
              <a:srgbClr val="1E7FB8"/>
            </a:solidFill>
            <a:ln w="12700" cap="flat" cmpd="sng">
              <a:solidFill>
                <a:srgbClr val="1E7FB8"/>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6" name="Google Shape;401;p15">
              <a:extLst>
                <a:ext uri="{FF2B5EF4-FFF2-40B4-BE49-F238E27FC236}">
                  <a16:creationId xmlns:a16="http://schemas.microsoft.com/office/drawing/2014/main" id="{1F6EF9C1-0C71-C588-6E4D-E33E3AFE9420}"/>
                </a:ext>
              </a:extLst>
            </p:cNvPr>
            <p:cNvSpPr/>
            <p:nvPr/>
          </p:nvSpPr>
          <p:spPr>
            <a:xfrm>
              <a:off x="5901196" y="2943032"/>
              <a:ext cx="172763" cy="168492"/>
            </a:xfrm>
            <a:prstGeom prst="ellipse">
              <a:avLst/>
            </a:prstGeom>
            <a:solidFill>
              <a:srgbClr val="1E7FB8"/>
            </a:solidFill>
            <a:ln w="12700" cap="flat" cmpd="sng">
              <a:solidFill>
                <a:srgbClr val="1E7FB8"/>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7" name="Google Shape;400;p15">
              <a:extLst>
                <a:ext uri="{FF2B5EF4-FFF2-40B4-BE49-F238E27FC236}">
                  <a16:creationId xmlns:a16="http://schemas.microsoft.com/office/drawing/2014/main" id="{10032EF5-F8E0-6EC6-0E11-9C9EA2C53A50}"/>
                </a:ext>
              </a:extLst>
            </p:cNvPr>
            <p:cNvSpPr/>
            <p:nvPr/>
          </p:nvSpPr>
          <p:spPr>
            <a:xfrm>
              <a:off x="7233893" y="2933434"/>
              <a:ext cx="172763" cy="168492"/>
            </a:xfrm>
            <a:prstGeom prst="ellipse">
              <a:avLst/>
            </a:prstGeom>
            <a:solidFill>
              <a:srgbClr val="1E7FB8"/>
            </a:solidFill>
            <a:ln w="12700" cap="flat" cmpd="sng">
              <a:solidFill>
                <a:srgbClr val="1E7FB8"/>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8" name="Google Shape;401;p15">
              <a:extLst>
                <a:ext uri="{FF2B5EF4-FFF2-40B4-BE49-F238E27FC236}">
                  <a16:creationId xmlns:a16="http://schemas.microsoft.com/office/drawing/2014/main" id="{EEF70896-BAC3-0CF5-66C9-EDECCE0B0B59}"/>
                </a:ext>
              </a:extLst>
            </p:cNvPr>
            <p:cNvSpPr/>
            <p:nvPr/>
          </p:nvSpPr>
          <p:spPr>
            <a:xfrm>
              <a:off x="7490473" y="2932215"/>
              <a:ext cx="172763" cy="168492"/>
            </a:xfrm>
            <a:prstGeom prst="ellipse">
              <a:avLst/>
            </a:prstGeom>
            <a:solidFill>
              <a:srgbClr val="1E7FB8"/>
            </a:solidFill>
            <a:ln w="12700" cap="flat" cmpd="sng">
              <a:solidFill>
                <a:srgbClr val="1E7FB8"/>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9" name="Google Shape;416;p15">
              <a:extLst>
                <a:ext uri="{FF2B5EF4-FFF2-40B4-BE49-F238E27FC236}">
                  <a16:creationId xmlns:a16="http://schemas.microsoft.com/office/drawing/2014/main" id="{53B4C4C2-DECA-7C4B-49B4-89D3C935E33F}"/>
                </a:ext>
              </a:extLst>
            </p:cNvPr>
            <p:cNvSpPr/>
            <p:nvPr/>
          </p:nvSpPr>
          <p:spPr>
            <a:xfrm>
              <a:off x="7372860" y="3720126"/>
              <a:ext cx="172763" cy="168492"/>
            </a:xfrm>
            <a:prstGeom prst="ellipse">
              <a:avLst/>
            </a:prstGeom>
            <a:solidFill>
              <a:srgbClr val="1E7FB8"/>
            </a:solidFill>
            <a:ln w="12700" cap="flat" cmpd="sng">
              <a:solidFill>
                <a:srgbClr val="1E7FB8"/>
              </a:solidFill>
              <a:prstDash val="solid"/>
              <a:miter lim="800000"/>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288" name="Google Shape;382;p15">
              <a:extLst>
                <a:ext uri="{FF2B5EF4-FFF2-40B4-BE49-F238E27FC236}">
                  <a16:creationId xmlns:a16="http://schemas.microsoft.com/office/drawing/2014/main" id="{A975A923-7C49-EF78-AD9A-B08A92CA4A6B}"/>
                </a:ext>
              </a:extLst>
            </p:cNvPr>
            <p:cNvSpPr txBox="1"/>
            <p:nvPr/>
          </p:nvSpPr>
          <p:spPr>
            <a:xfrm rot="16200000">
              <a:off x="40811" y="3143367"/>
              <a:ext cx="1007663" cy="384680"/>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Clr>
                  <a:srgbClr val="000000"/>
                </a:buClr>
                <a:buSzPts val="2000"/>
                <a:buFont typeface="Arial"/>
                <a:buNone/>
              </a:pPr>
              <a:r>
                <a:rPr lang="en-GB" sz="1900" b="1" err="1">
                  <a:latin typeface="Arial"/>
                  <a:cs typeface="Arial"/>
                  <a:sym typeface="Arial"/>
                </a:rPr>
                <a:t>PrEP</a:t>
              </a:r>
              <a:endParaRPr sz="1900" b="1">
                <a:latin typeface="Arial"/>
                <a:cs typeface="Arial"/>
              </a:endParaRPr>
            </a:p>
          </p:txBody>
        </p:sp>
      </p:grpSp>
      <p:grpSp>
        <p:nvGrpSpPr>
          <p:cNvPr id="51" name="Group 50">
            <a:extLst>
              <a:ext uri="{FF2B5EF4-FFF2-40B4-BE49-F238E27FC236}">
                <a16:creationId xmlns:a16="http://schemas.microsoft.com/office/drawing/2014/main" id="{CB5D12BB-F1F6-BF41-BB62-EC59A36B04F3}"/>
              </a:ext>
            </a:extLst>
          </p:cNvPr>
          <p:cNvGrpSpPr/>
          <p:nvPr/>
        </p:nvGrpSpPr>
        <p:grpSpPr>
          <a:xfrm>
            <a:off x="653207" y="1704390"/>
            <a:ext cx="9327960" cy="2237361"/>
            <a:chOff x="1424954" y="1509350"/>
            <a:chExt cx="9327960" cy="2237361"/>
          </a:xfrm>
        </p:grpSpPr>
        <p:sp>
          <p:nvSpPr>
            <p:cNvPr id="5" name="TextBox 4">
              <a:extLst>
                <a:ext uri="{FF2B5EF4-FFF2-40B4-BE49-F238E27FC236}">
                  <a16:creationId xmlns:a16="http://schemas.microsoft.com/office/drawing/2014/main" id="{231FFC30-83E6-2B8A-23E1-110E30BAAF8C}"/>
                </a:ext>
              </a:extLst>
            </p:cNvPr>
            <p:cNvSpPr txBox="1"/>
            <p:nvPr/>
          </p:nvSpPr>
          <p:spPr>
            <a:xfrm>
              <a:off x="1424954" y="1509350"/>
              <a:ext cx="9327960" cy="2185214"/>
            </a:xfrm>
            <a:prstGeom prst="rect">
              <a:avLst/>
            </a:prstGeom>
            <a:noFill/>
          </p:spPr>
          <p:txBody>
            <a:bodyPr wrap="square" rtlCol="0">
              <a:spAutoFit/>
            </a:bodyPr>
            <a:lstStyle/>
            <a:p>
              <a:r>
                <a:rPr lang="en-US" sz="2400" b="1" err="1"/>
                <a:t>PrEP</a:t>
              </a:r>
              <a:r>
                <a:rPr lang="en-US" sz="2400"/>
                <a:t> is recommended for at </a:t>
              </a:r>
              <a:r>
                <a:rPr lang="en-US" sz="2400" b="1"/>
                <a:t>high-risk individuals</a:t>
              </a:r>
              <a:r>
                <a:rPr lang="en-US" sz="2400"/>
                <a:t>:</a:t>
              </a:r>
            </a:p>
            <a:p>
              <a:endParaRPr lang="en-US"/>
            </a:p>
            <a:p>
              <a:r>
                <a:rPr lang="en-US">
                  <a:solidFill>
                    <a:schemeClr val="accent1"/>
                  </a:solidFill>
                </a:rPr>
                <a:t>            </a:t>
              </a:r>
              <a:r>
                <a:rPr lang="en-US" b="1"/>
                <a:t>communities</a:t>
              </a:r>
              <a:r>
                <a:rPr lang="en-US"/>
                <a:t> in remote, highly endemic settings with limited access to proper PEP </a:t>
              </a:r>
            </a:p>
            <a:p>
              <a:endParaRPr lang="en-US" sz="2000"/>
            </a:p>
            <a:p>
              <a:r>
                <a:rPr lang="en-US">
                  <a:solidFill>
                    <a:schemeClr val="accent1"/>
                  </a:solidFill>
                </a:rPr>
                <a:t>            </a:t>
              </a:r>
              <a:r>
                <a:rPr lang="en-US" b="1" err="1"/>
                <a:t>travellers</a:t>
              </a:r>
              <a:r>
                <a:rPr lang="en-US"/>
                <a:t> to remote, highly endemic settings with limited access to proper PEP </a:t>
              </a:r>
            </a:p>
            <a:p>
              <a:endParaRPr lang="en-US" sz="2000"/>
            </a:p>
            <a:p>
              <a:r>
                <a:rPr lang="en-US">
                  <a:solidFill>
                    <a:schemeClr val="accent1"/>
                  </a:solidFill>
                </a:rPr>
                <a:t>            </a:t>
              </a:r>
              <a:r>
                <a:rPr lang="en-US" b="1"/>
                <a:t>individuals at occupational risk </a:t>
              </a:r>
              <a:r>
                <a:rPr lang="en-US"/>
                <a:t>e.g., laboratory staff, veterinarians,  </a:t>
              </a:r>
              <a:endParaRPr lang="en-GB"/>
            </a:p>
          </p:txBody>
        </p:sp>
        <p:pic>
          <p:nvPicPr>
            <p:cNvPr id="46" name="Graphic 45" descr="Travel with solid fill">
              <a:extLst>
                <a:ext uri="{FF2B5EF4-FFF2-40B4-BE49-F238E27FC236}">
                  <a16:creationId xmlns:a16="http://schemas.microsoft.com/office/drawing/2014/main" id="{EBF7EFFC-C5F1-6530-5CC3-61D74CC630A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492182" y="2579513"/>
              <a:ext cx="577682" cy="577682"/>
            </a:xfrm>
            <a:prstGeom prst="rect">
              <a:avLst/>
            </a:prstGeom>
          </p:spPr>
        </p:pic>
        <p:pic>
          <p:nvPicPr>
            <p:cNvPr id="48" name="Graphic 47" descr="Route (Two Pins With A Path) with solid fill">
              <a:extLst>
                <a:ext uri="{FF2B5EF4-FFF2-40B4-BE49-F238E27FC236}">
                  <a16:creationId xmlns:a16="http://schemas.microsoft.com/office/drawing/2014/main" id="{010AB10A-9C62-60EA-60E8-0F8C1FC03F7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492182" y="1977636"/>
              <a:ext cx="577682" cy="577682"/>
            </a:xfrm>
            <a:prstGeom prst="rect">
              <a:avLst/>
            </a:prstGeom>
          </p:spPr>
        </p:pic>
        <p:pic>
          <p:nvPicPr>
            <p:cNvPr id="50" name="Graphic 49" descr="Veterinarian female with solid fill">
              <a:extLst>
                <a:ext uri="{FF2B5EF4-FFF2-40B4-BE49-F238E27FC236}">
                  <a16:creationId xmlns:a16="http://schemas.microsoft.com/office/drawing/2014/main" id="{11248CC7-607B-FD15-38C2-B23942F6375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492182" y="3169029"/>
              <a:ext cx="577682" cy="577682"/>
            </a:xfrm>
            <a:prstGeom prst="rect">
              <a:avLst/>
            </a:prstGeom>
          </p:spPr>
        </p:pic>
      </p:grpSp>
      <p:sp>
        <p:nvSpPr>
          <p:cNvPr id="53" name="TextBox 52">
            <a:extLst>
              <a:ext uri="{FF2B5EF4-FFF2-40B4-BE49-F238E27FC236}">
                <a16:creationId xmlns:a16="http://schemas.microsoft.com/office/drawing/2014/main" id="{7A9EF144-6F7B-DFA6-03BB-7247DF9365F8}"/>
              </a:ext>
            </a:extLst>
          </p:cNvPr>
          <p:cNvSpPr txBox="1"/>
          <p:nvPr/>
        </p:nvSpPr>
        <p:spPr>
          <a:xfrm>
            <a:off x="976976" y="5034961"/>
            <a:ext cx="2829891" cy="646331"/>
          </a:xfrm>
          <a:prstGeom prst="rect">
            <a:avLst/>
          </a:prstGeom>
          <a:solidFill>
            <a:schemeClr val="bg1"/>
          </a:solidFill>
          <a:ln>
            <a:solidFill>
              <a:schemeClr val="tx1"/>
            </a:solidFill>
          </a:ln>
        </p:spPr>
        <p:txBody>
          <a:bodyPr wrap="square" rtlCol="0">
            <a:spAutoFit/>
          </a:bodyPr>
          <a:lstStyle/>
          <a:p>
            <a:r>
              <a:rPr lang="en-US" err="1"/>
              <a:t>PrEP</a:t>
            </a:r>
            <a:r>
              <a:rPr lang="en-US"/>
              <a:t> consists of vaccination on Day 0 and Day 7</a:t>
            </a:r>
            <a:endParaRPr lang="en-GB"/>
          </a:p>
        </p:txBody>
      </p:sp>
      <p:pic>
        <p:nvPicPr>
          <p:cNvPr id="6" name="Picture 5">
            <a:extLst>
              <a:ext uri="{FF2B5EF4-FFF2-40B4-BE49-F238E27FC236}">
                <a16:creationId xmlns:a16="http://schemas.microsoft.com/office/drawing/2014/main" id="{02B5E139-9F6D-2E17-0E13-21DB0FD8F238}"/>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52689" y="6288609"/>
            <a:ext cx="1588170" cy="500605"/>
          </a:xfrm>
          <a:prstGeom prst="rect">
            <a:avLst/>
          </a:prstGeom>
        </p:spPr>
      </p:pic>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9D2D7798-4081-93BB-CE4B-C062B0AA319E}"/>
              </a:ext>
            </a:extLst>
          </p:cNvPr>
          <p:cNvSpPr txBox="1"/>
          <p:nvPr/>
        </p:nvSpPr>
        <p:spPr>
          <a:xfrm>
            <a:off x="222911" y="180185"/>
            <a:ext cx="11357869" cy="1200329"/>
          </a:xfrm>
          <a:prstGeom prst="rect">
            <a:avLst/>
          </a:prstGeom>
        </p:spPr>
        <p:txBody>
          <a:bodyPr vert="horz" lIns="91440" tIns="45720" rIns="91440" bIns="45720" rtlCol="0" anchor="ctr">
            <a:normAutofit/>
          </a:bodyPr>
          <a:lstStyle>
            <a:lvl1pPr>
              <a:lnSpc>
                <a:spcPct val="90000"/>
              </a:lnSpc>
              <a:spcBef>
                <a:spcPct val="0"/>
              </a:spcBef>
              <a:buNone/>
              <a:defRPr sz="4000">
                <a:latin typeface="+mj-lt"/>
                <a:ea typeface="+mj-ea"/>
                <a:cs typeface="+mj-cs"/>
              </a:defRPr>
            </a:lvl1pPr>
          </a:lstStyle>
          <a:p>
            <a:r>
              <a:rPr lang="en-US"/>
              <a:t>Guidance is available for countries to roll out rabies vaccination </a:t>
            </a:r>
            <a:r>
              <a:rPr lang="en-US" err="1"/>
              <a:t>programmes</a:t>
            </a:r>
            <a:endParaRPr lang="en-GB"/>
          </a:p>
        </p:txBody>
      </p:sp>
      <p:pic>
        <p:nvPicPr>
          <p:cNvPr id="2" name="Picture 1">
            <a:extLst>
              <a:ext uri="{FF2B5EF4-FFF2-40B4-BE49-F238E27FC236}">
                <a16:creationId xmlns:a16="http://schemas.microsoft.com/office/drawing/2014/main" id="{0FDDEDF8-6555-1AF9-7C21-DB07845417EF}"/>
              </a:ext>
            </a:extLst>
          </p:cNvPr>
          <p:cNvPicPr>
            <a:picLocks noChangeAspect="1"/>
          </p:cNvPicPr>
          <p:nvPr/>
        </p:nvPicPr>
        <p:blipFill rotWithShape="1">
          <a:blip r:embed="rId2"/>
          <a:srcRect l="1970" t="2190" r="868" b="1553"/>
          <a:stretch/>
        </p:blipFill>
        <p:spPr>
          <a:xfrm>
            <a:off x="815203" y="1449425"/>
            <a:ext cx="1260152" cy="1760837"/>
          </a:xfrm>
          <a:prstGeom prst="rect">
            <a:avLst/>
          </a:prstGeom>
          <a:ln>
            <a:noFill/>
          </a:ln>
          <a:effectLst>
            <a:outerShdw blurRad="63500" sx="105000" sy="105000" algn="ctr" rotWithShape="0">
              <a:prstClr val="black">
                <a:alpha val="20000"/>
              </a:prstClr>
            </a:outerShdw>
          </a:effectLst>
        </p:spPr>
      </p:pic>
      <p:grpSp>
        <p:nvGrpSpPr>
          <p:cNvPr id="41" name="Group 40">
            <a:extLst>
              <a:ext uri="{FF2B5EF4-FFF2-40B4-BE49-F238E27FC236}">
                <a16:creationId xmlns:a16="http://schemas.microsoft.com/office/drawing/2014/main" id="{2A5F2416-3289-8277-E95D-3C63DCDA51CE}"/>
              </a:ext>
            </a:extLst>
          </p:cNvPr>
          <p:cNvGrpSpPr/>
          <p:nvPr/>
        </p:nvGrpSpPr>
        <p:grpSpPr>
          <a:xfrm>
            <a:off x="1006183" y="3218778"/>
            <a:ext cx="1601196" cy="3140957"/>
            <a:chOff x="345161" y="2549698"/>
            <a:chExt cx="1601196" cy="3282970"/>
          </a:xfrm>
        </p:grpSpPr>
        <p:sp>
          <p:nvSpPr>
            <p:cNvPr id="4" name="Oval 3">
              <a:extLst>
                <a:ext uri="{FF2B5EF4-FFF2-40B4-BE49-F238E27FC236}">
                  <a16:creationId xmlns:a16="http://schemas.microsoft.com/office/drawing/2014/main" id="{D497A8C7-D217-8B0B-F762-5F8C9D948428}"/>
                </a:ext>
              </a:extLst>
            </p:cNvPr>
            <p:cNvSpPr/>
            <p:nvPr/>
          </p:nvSpPr>
          <p:spPr>
            <a:xfrm>
              <a:off x="816341" y="2549698"/>
              <a:ext cx="630424" cy="619183"/>
            </a:xfrm>
            <a:prstGeom prst="ellipse">
              <a:avLst/>
            </a:prstGeom>
            <a:solidFill>
              <a:srgbClr val="ED7D31"/>
            </a:solidFill>
            <a:ln w="5508" cap="flat">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latin typeface="Arial" panose="020B0604020202020204" pitchFamily="34" charset="0"/>
                  <a:cs typeface="Arial" panose="020B0604020202020204" pitchFamily="34" charset="0"/>
                </a:rPr>
                <a:t>1</a:t>
              </a:r>
            </a:p>
          </p:txBody>
        </p:sp>
        <p:sp>
          <p:nvSpPr>
            <p:cNvPr id="14" name="Rectangle 13">
              <a:extLst>
                <a:ext uri="{FF2B5EF4-FFF2-40B4-BE49-F238E27FC236}">
                  <a16:creationId xmlns:a16="http://schemas.microsoft.com/office/drawing/2014/main" id="{D1A6A45C-B8CD-4F21-86C5-CF2B0DD473E9}"/>
                </a:ext>
              </a:extLst>
            </p:cNvPr>
            <p:cNvSpPr/>
            <p:nvPr/>
          </p:nvSpPr>
          <p:spPr>
            <a:xfrm>
              <a:off x="345161" y="3169394"/>
              <a:ext cx="1601196" cy="2663274"/>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lumMod val="50000"/>
                  </a:schemeClr>
                </a:solidFill>
              </a:endParaRPr>
            </a:p>
          </p:txBody>
        </p:sp>
        <p:sp>
          <p:nvSpPr>
            <p:cNvPr id="20" name="TextBox 19">
              <a:extLst>
                <a:ext uri="{FF2B5EF4-FFF2-40B4-BE49-F238E27FC236}">
                  <a16:creationId xmlns:a16="http://schemas.microsoft.com/office/drawing/2014/main" id="{59965F2B-CEC3-6082-B7A8-77AC001FC996}"/>
                </a:ext>
              </a:extLst>
            </p:cNvPr>
            <p:cNvSpPr txBox="1"/>
            <p:nvPr/>
          </p:nvSpPr>
          <p:spPr>
            <a:xfrm>
              <a:off x="440632" y="3372594"/>
              <a:ext cx="1294567" cy="646331"/>
            </a:xfrm>
            <a:prstGeom prst="rect">
              <a:avLst/>
            </a:prstGeom>
            <a:noFill/>
          </p:spPr>
          <p:txBody>
            <a:bodyPr wrap="square">
              <a:spAutoFit/>
            </a:bodyPr>
            <a:lstStyle/>
            <a:p>
              <a:pPr marL="108000" lvl="1" algn="ctr">
                <a:spcAft>
                  <a:spcPts val="200"/>
                </a:spcAft>
                <a:buClr>
                  <a:schemeClr val="accent1"/>
                </a:buClr>
                <a:buSzPct val="100000"/>
              </a:pPr>
              <a:r>
                <a:rPr lang="en-GB">
                  <a:solidFill>
                    <a:schemeClr val="tx2">
                      <a:lumMod val="50000"/>
                    </a:schemeClr>
                  </a:solidFill>
                  <a:latin typeface="Arial" panose="020B0604020202020204" pitchFamily="34" charset="0"/>
                  <a:cs typeface="Arial" panose="020B0604020202020204" pitchFamily="34" charset="0"/>
                </a:rPr>
                <a:t>Decision-making</a:t>
              </a:r>
            </a:p>
          </p:txBody>
        </p:sp>
        <p:pic>
          <p:nvPicPr>
            <p:cNvPr id="30" name="Graphic 29" descr="Group brainstorm">
              <a:extLst>
                <a:ext uri="{FF2B5EF4-FFF2-40B4-BE49-F238E27FC236}">
                  <a16:creationId xmlns:a16="http://schemas.microsoft.com/office/drawing/2014/main" id="{82EF3E62-10E8-DEBB-B511-5BA10E47919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26243" y="4647668"/>
              <a:ext cx="914400" cy="914400"/>
            </a:xfrm>
            <a:prstGeom prst="rect">
              <a:avLst/>
            </a:prstGeom>
          </p:spPr>
        </p:pic>
      </p:grpSp>
      <p:grpSp>
        <p:nvGrpSpPr>
          <p:cNvPr id="40" name="Group 39">
            <a:extLst>
              <a:ext uri="{FF2B5EF4-FFF2-40B4-BE49-F238E27FC236}">
                <a16:creationId xmlns:a16="http://schemas.microsoft.com/office/drawing/2014/main" id="{9803EBB1-31B7-D5B9-2E8F-A3378749EAF4}"/>
              </a:ext>
            </a:extLst>
          </p:cNvPr>
          <p:cNvGrpSpPr/>
          <p:nvPr/>
        </p:nvGrpSpPr>
        <p:grpSpPr>
          <a:xfrm>
            <a:off x="2668384" y="3218868"/>
            <a:ext cx="1674591" cy="3142917"/>
            <a:chOff x="2250463" y="2238125"/>
            <a:chExt cx="1674591" cy="3285019"/>
          </a:xfrm>
        </p:grpSpPr>
        <p:sp>
          <p:nvSpPr>
            <p:cNvPr id="6" name="Oval 5">
              <a:extLst>
                <a:ext uri="{FF2B5EF4-FFF2-40B4-BE49-F238E27FC236}">
                  <a16:creationId xmlns:a16="http://schemas.microsoft.com/office/drawing/2014/main" id="{4BBB16E3-DD4F-C8DF-D529-4137C9F97738}"/>
                </a:ext>
              </a:extLst>
            </p:cNvPr>
            <p:cNvSpPr/>
            <p:nvPr/>
          </p:nvSpPr>
          <p:spPr>
            <a:xfrm>
              <a:off x="2795038" y="2238125"/>
              <a:ext cx="630424" cy="619183"/>
            </a:xfrm>
            <a:prstGeom prst="ellipse">
              <a:avLst/>
            </a:prstGeom>
            <a:solidFill>
              <a:srgbClr val="ED7D31"/>
            </a:solidFill>
            <a:ln w="5508" cap="flat">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latin typeface="Arial" panose="020B0604020202020204" pitchFamily="34" charset="0"/>
                  <a:cs typeface="Arial" panose="020B0604020202020204" pitchFamily="34" charset="0"/>
                </a:rPr>
                <a:t>2</a:t>
              </a:r>
            </a:p>
          </p:txBody>
        </p:sp>
        <p:sp>
          <p:nvSpPr>
            <p:cNvPr id="15" name="Rectangle 14">
              <a:extLst>
                <a:ext uri="{FF2B5EF4-FFF2-40B4-BE49-F238E27FC236}">
                  <a16:creationId xmlns:a16="http://schemas.microsoft.com/office/drawing/2014/main" id="{0FD4DAB1-9557-354E-337E-C14C9FA1E01D}"/>
                </a:ext>
              </a:extLst>
            </p:cNvPr>
            <p:cNvSpPr/>
            <p:nvPr/>
          </p:nvSpPr>
          <p:spPr>
            <a:xfrm>
              <a:off x="2323858" y="2859870"/>
              <a:ext cx="1601196" cy="2663274"/>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lumMod val="50000"/>
                  </a:schemeClr>
                </a:solidFill>
              </a:endParaRPr>
            </a:p>
          </p:txBody>
        </p:sp>
        <p:sp>
          <p:nvSpPr>
            <p:cNvPr id="21" name="TextBox 20">
              <a:extLst>
                <a:ext uri="{FF2B5EF4-FFF2-40B4-BE49-F238E27FC236}">
                  <a16:creationId xmlns:a16="http://schemas.microsoft.com/office/drawing/2014/main" id="{D26A42E5-9CC9-2854-EB9F-0F589620563D}"/>
                </a:ext>
              </a:extLst>
            </p:cNvPr>
            <p:cNvSpPr txBox="1"/>
            <p:nvPr/>
          </p:nvSpPr>
          <p:spPr>
            <a:xfrm>
              <a:off x="2250463" y="3059988"/>
              <a:ext cx="1651376" cy="646331"/>
            </a:xfrm>
            <a:prstGeom prst="rect">
              <a:avLst/>
            </a:prstGeom>
            <a:noFill/>
          </p:spPr>
          <p:txBody>
            <a:bodyPr wrap="square">
              <a:spAutoFit/>
            </a:bodyPr>
            <a:lstStyle/>
            <a:p>
              <a:pPr marL="108000" lvl="1" algn="ctr">
                <a:spcAft>
                  <a:spcPts val="200"/>
                </a:spcAft>
                <a:buClr>
                  <a:schemeClr val="accent1"/>
                </a:buClr>
                <a:buSzPct val="100000"/>
              </a:pPr>
              <a:r>
                <a:rPr lang="en-GB">
                  <a:solidFill>
                    <a:schemeClr val="tx2">
                      <a:lumMod val="50000"/>
                    </a:schemeClr>
                  </a:solidFill>
                  <a:latin typeface="Arial" panose="020B0604020202020204" pitchFamily="34" charset="0"/>
                  <a:cs typeface="Arial" panose="020B0604020202020204" pitchFamily="34" charset="0"/>
                </a:rPr>
                <a:t>National planning </a:t>
              </a:r>
            </a:p>
          </p:txBody>
        </p:sp>
        <p:pic>
          <p:nvPicPr>
            <p:cNvPr id="31" name="Graphic 30" descr="Playbook">
              <a:extLst>
                <a:ext uri="{FF2B5EF4-FFF2-40B4-BE49-F238E27FC236}">
                  <a16:creationId xmlns:a16="http://schemas.microsoft.com/office/drawing/2014/main" id="{84F9A250-8E75-446C-6B8A-29460AB1147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634697" y="4336852"/>
              <a:ext cx="914400" cy="914400"/>
            </a:xfrm>
            <a:prstGeom prst="rect">
              <a:avLst/>
            </a:prstGeom>
          </p:spPr>
        </p:pic>
      </p:grpSp>
      <p:grpSp>
        <p:nvGrpSpPr>
          <p:cNvPr id="39" name="Group 38">
            <a:extLst>
              <a:ext uri="{FF2B5EF4-FFF2-40B4-BE49-F238E27FC236}">
                <a16:creationId xmlns:a16="http://schemas.microsoft.com/office/drawing/2014/main" id="{C47858DF-EEDF-5151-120B-FB0F8F6A717A}"/>
              </a:ext>
            </a:extLst>
          </p:cNvPr>
          <p:cNvGrpSpPr/>
          <p:nvPr/>
        </p:nvGrpSpPr>
        <p:grpSpPr>
          <a:xfrm>
            <a:off x="4307458" y="3223559"/>
            <a:ext cx="1753230" cy="3138226"/>
            <a:chOff x="4172864" y="1914885"/>
            <a:chExt cx="1753230" cy="3280116"/>
          </a:xfrm>
        </p:grpSpPr>
        <p:sp>
          <p:nvSpPr>
            <p:cNvPr id="16" name="Rectangle 15">
              <a:extLst>
                <a:ext uri="{FF2B5EF4-FFF2-40B4-BE49-F238E27FC236}">
                  <a16:creationId xmlns:a16="http://schemas.microsoft.com/office/drawing/2014/main" id="{6655D4E7-40E7-1D6F-E35D-24753D1F2BCF}"/>
                </a:ext>
              </a:extLst>
            </p:cNvPr>
            <p:cNvSpPr/>
            <p:nvPr/>
          </p:nvSpPr>
          <p:spPr>
            <a:xfrm>
              <a:off x="4302555" y="2531727"/>
              <a:ext cx="1601196" cy="2663274"/>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lumMod val="50000"/>
                  </a:schemeClr>
                </a:solidFill>
              </a:endParaRPr>
            </a:p>
          </p:txBody>
        </p:sp>
        <p:sp>
          <p:nvSpPr>
            <p:cNvPr id="22" name="TextBox 21">
              <a:extLst>
                <a:ext uri="{FF2B5EF4-FFF2-40B4-BE49-F238E27FC236}">
                  <a16:creationId xmlns:a16="http://schemas.microsoft.com/office/drawing/2014/main" id="{F40B8167-DC3A-D03B-4135-28AD85DE3CF2}"/>
                </a:ext>
              </a:extLst>
            </p:cNvPr>
            <p:cNvSpPr txBox="1"/>
            <p:nvPr/>
          </p:nvSpPr>
          <p:spPr>
            <a:xfrm>
              <a:off x="4172864" y="2680563"/>
              <a:ext cx="1753230" cy="1200329"/>
            </a:xfrm>
            <a:prstGeom prst="rect">
              <a:avLst/>
            </a:prstGeom>
            <a:noFill/>
          </p:spPr>
          <p:txBody>
            <a:bodyPr wrap="square">
              <a:spAutoFit/>
            </a:bodyPr>
            <a:lstStyle/>
            <a:p>
              <a:pPr marL="108000" lvl="1" algn="ctr">
                <a:spcAft>
                  <a:spcPts val="200"/>
                </a:spcAft>
                <a:buClr>
                  <a:schemeClr val="accent1"/>
                </a:buClr>
                <a:buSzPct val="100000"/>
              </a:pPr>
              <a:r>
                <a:rPr lang="en-GB">
                  <a:solidFill>
                    <a:schemeClr val="tx2">
                      <a:lumMod val="50000"/>
                    </a:schemeClr>
                  </a:solidFill>
                  <a:latin typeface="Arial" panose="020B0604020202020204" pitchFamily="34" charset="0"/>
                  <a:cs typeface="Arial" panose="020B0604020202020204" pitchFamily="34" charset="0"/>
                </a:rPr>
                <a:t>Microplanning at selected health facilities</a:t>
              </a:r>
            </a:p>
          </p:txBody>
        </p:sp>
        <p:sp>
          <p:nvSpPr>
            <p:cNvPr id="26" name="Oval 25">
              <a:extLst>
                <a:ext uri="{FF2B5EF4-FFF2-40B4-BE49-F238E27FC236}">
                  <a16:creationId xmlns:a16="http://schemas.microsoft.com/office/drawing/2014/main" id="{AF02D424-BADD-0D35-DDC0-232C0CBC6751}"/>
                </a:ext>
              </a:extLst>
            </p:cNvPr>
            <p:cNvSpPr/>
            <p:nvPr/>
          </p:nvSpPr>
          <p:spPr>
            <a:xfrm>
              <a:off x="4776923" y="1914885"/>
              <a:ext cx="630424" cy="619183"/>
            </a:xfrm>
            <a:prstGeom prst="ellipse">
              <a:avLst/>
            </a:prstGeom>
            <a:solidFill>
              <a:srgbClr val="ED7D31"/>
            </a:solidFill>
            <a:ln w="5508" cap="flat">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latin typeface="Arial" panose="020B0604020202020204" pitchFamily="34" charset="0"/>
                  <a:cs typeface="Arial" panose="020B0604020202020204" pitchFamily="34" charset="0"/>
                </a:rPr>
                <a:t>3</a:t>
              </a:r>
            </a:p>
          </p:txBody>
        </p:sp>
        <p:pic>
          <p:nvPicPr>
            <p:cNvPr id="32" name="Graphic 31" descr="Hospital">
              <a:extLst>
                <a:ext uri="{FF2B5EF4-FFF2-40B4-BE49-F238E27FC236}">
                  <a16:creationId xmlns:a16="http://schemas.microsoft.com/office/drawing/2014/main" id="{9CBB75AA-426B-CA8D-F1C9-F0B5D8EAD8D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653495" y="4017147"/>
              <a:ext cx="914400" cy="914400"/>
            </a:xfrm>
            <a:prstGeom prst="rect">
              <a:avLst/>
            </a:prstGeom>
          </p:spPr>
        </p:pic>
      </p:grpSp>
      <p:grpSp>
        <p:nvGrpSpPr>
          <p:cNvPr id="36" name="Group 35">
            <a:extLst>
              <a:ext uri="{FF2B5EF4-FFF2-40B4-BE49-F238E27FC236}">
                <a16:creationId xmlns:a16="http://schemas.microsoft.com/office/drawing/2014/main" id="{033F4F70-D71C-2DC8-A95D-1914B2DF32D5}"/>
              </a:ext>
            </a:extLst>
          </p:cNvPr>
          <p:cNvGrpSpPr/>
          <p:nvPr/>
        </p:nvGrpSpPr>
        <p:grpSpPr>
          <a:xfrm>
            <a:off x="7608597" y="3224143"/>
            <a:ext cx="2083899" cy="3151167"/>
            <a:chOff x="7989930" y="1166064"/>
            <a:chExt cx="2083899" cy="3293642"/>
          </a:xfrm>
        </p:grpSpPr>
        <p:sp>
          <p:nvSpPr>
            <p:cNvPr id="18" name="Rectangle 17">
              <a:extLst>
                <a:ext uri="{FF2B5EF4-FFF2-40B4-BE49-F238E27FC236}">
                  <a16:creationId xmlns:a16="http://schemas.microsoft.com/office/drawing/2014/main" id="{1B19927F-02F3-498D-245F-99CFA40654F5}"/>
                </a:ext>
              </a:extLst>
            </p:cNvPr>
            <p:cNvSpPr/>
            <p:nvPr/>
          </p:nvSpPr>
          <p:spPr>
            <a:xfrm>
              <a:off x="8282617" y="1796432"/>
              <a:ext cx="1601196" cy="2663274"/>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lumMod val="50000"/>
                  </a:schemeClr>
                </a:solidFill>
              </a:endParaRPr>
            </a:p>
          </p:txBody>
        </p:sp>
        <p:sp>
          <p:nvSpPr>
            <p:cNvPr id="24" name="TextBox 23">
              <a:extLst>
                <a:ext uri="{FF2B5EF4-FFF2-40B4-BE49-F238E27FC236}">
                  <a16:creationId xmlns:a16="http://schemas.microsoft.com/office/drawing/2014/main" id="{9B0CCBA7-E9ED-1574-3836-D894B9AE0BFD}"/>
                </a:ext>
              </a:extLst>
            </p:cNvPr>
            <p:cNvSpPr txBox="1"/>
            <p:nvPr/>
          </p:nvSpPr>
          <p:spPr>
            <a:xfrm>
              <a:off x="7989930" y="1928533"/>
              <a:ext cx="2083899" cy="1225977"/>
            </a:xfrm>
            <a:prstGeom prst="rect">
              <a:avLst/>
            </a:prstGeom>
            <a:noFill/>
          </p:spPr>
          <p:txBody>
            <a:bodyPr wrap="square">
              <a:spAutoFit/>
            </a:bodyPr>
            <a:lstStyle/>
            <a:p>
              <a:pPr marL="108000" lvl="1" algn="ctr">
                <a:spcAft>
                  <a:spcPts val="200"/>
                </a:spcAft>
                <a:buClr>
                  <a:schemeClr val="accent1"/>
                </a:buClr>
                <a:buSzPct val="100000"/>
              </a:pPr>
              <a:r>
                <a:rPr lang="en-GB">
                  <a:solidFill>
                    <a:schemeClr val="tx2">
                      <a:lumMod val="50000"/>
                    </a:schemeClr>
                  </a:solidFill>
                  <a:latin typeface="Arial" panose="020B0604020202020204" pitchFamily="34" charset="0"/>
                  <a:cs typeface="Arial" panose="020B0604020202020204" pitchFamily="34" charset="0"/>
                </a:rPr>
                <a:t>Communication and </a:t>
              </a:r>
            </a:p>
            <a:p>
              <a:pPr marL="108000" lvl="1" algn="ctr">
                <a:spcAft>
                  <a:spcPts val="200"/>
                </a:spcAft>
                <a:buClr>
                  <a:schemeClr val="accent1"/>
                </a:buClr>
                <a:buSzPct val="100000"/>
              </a:pPr>
              <a:r>
                <a:rPr lang="en-GB">
                  <a:solidFill>
                    <a:schemeClr val="tx2">
                      <a:lumMod val="50000"/>
                    </a:schemeClr>
                  </a:solidFill>
                  <a:latin typeface="Arial" panose="020B0604020202020204" pitchFamily="34" charset="0"/>
                  <a:cs typeface="Arial" panose="020B0604020202020204" pitchFamily="34" charset="0"/>
                </a:rPr>
                <a:t>social mobilisation</a:t>
              </a:r>
            </a:p>
          </p:txBody>
        </p:sp>
        <p:sp>
          <p:nvSpPr>
            <p:cNvPr id="28" name="Oval 27">
              <a:extLst>
                <a:ext uri="{FF2B5EF4-FFF2-40B4-BE49-F238E27FC236}">
                  <a16:creationId xmlns:a16="http://schemas.microsoft.com/office/drawing/2014/main" id="{42D139B4-6F83-D81D-F616-60BD1C6C0E72}"/>
                </a:ext>
              </a:extLst>
            </p:cNvPr>
            <p:cNvSpPr/>
            <p:nvPr/>
          </p:nvSpPr>
          <p:spPr>
            <a:xfrm>
              <a:off x="8767445" y="1166064"/>
              <a:ext cx="630424" cy="619183"/>
            </a:xfrm>
            <a:prstGeom prst="ellipse">
              <a:avLst/>
            </a:prstGeom>
            <a:solidFill>
              <a:srgbClr val="ED7D31"/>
            </a:solidFill>
            <a:ln w="5508" cap="flat">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latin typeface="Arial" panose="020B0604020202020204" pitchFamily="34" charset="0"/>
                  <a:cs typeface="Arial" panose="020B0604020202020204" pitchFamily="34" charset="0"/>
                </a:rPr>
                <a:t>5</a:t>
              </a:r>
            </a:p>
          </p:txBody>
        </p:sp>
        <p:pic>
          <p:nvPicPr>
            <p:cNvPr id="33" name="Graphic 32" descr="Marketing">
              <a:extLst>
                <a:ext uri="{FF2B5EF4-FFF2-40B4-BE49-F238E27FC236}">
                  <a16:creationId xmlns:a16="http://schemas.microsoft.com/office/drawing/2014/main" id="{5FAAF352-7864-7DD0-D885-63936800A87B}"/>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734732" y="3329334"/>
              <a:ext cx="914400" cy="914400"/>
            </a:xfrm>
            <a:prstGeom prst="rect">
              <a:avLst/>
            </a:prstGeom>
          </p:spPr>
        </p:pic>
      </p:grpSp>
      <p:grpSp>
        <p:nvGrpSpPr>
          <p:cNvPr id="38" name="Group 37">
            <a:extLst>
              <a:ext uri="{FF2B5EF4-FFF2-40B4-BE49-F238E27FC236}">
                <a16:creationId xmlns:a16="http://schemas.microsoft.com/office/drawing/2014/main" id="{3B5D1DE6-7FA1-E234-8704-173243A038EA}"/>
              </a:ext>
            </a:extLst>
          </p:cNvPr>
          <p:cNvGrpSpPr/>
          <p:nvPr/>
        </p:nvGrpSpPr>
        <p:grpSpPr>
          <a:xfrm>
            <a:off x="6182252" y="3224249"/>
            <a:ext cx="1601196" cy="3153525"/>
            <a:chOff x="6285762" y="1547577"/>
            <a:chExt cx="1601196" cy="3296106"/>
          </a:xfrm>
        </p:grpSpPr>
        <p:sp>
          <p:nvSpPr>
            <p:cNvPr id="17" name="Rectangle 16">
              <a:extLst>
                <a:ext uri="{FF2B5EF4-FFF2-40B4-BE49-F238E27FC236}">
                  <a16:creationId xmlns:a16="http://schemas.microsoft.com/office/drawing/2014/main" id="{F8F2F9AD-5C68-B920-658C-458C60A744F9}"/>
                </a:ext>
              </a:extLst>
            </p:cNvPr>
            <p:cNvSpPr/>
            <p:nvPr/>
          </p:nvSpPr>
          <p:spPr>
            <a:xfrm>
              <a:off x="6285762" y="2180409"/>
              <a:ext cx="1601196" cy="2663274"/>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lumMod val="50000"/>
                  </a:schemeClr>
                </a:solidFill>
              </a:endParaRPr>
            </a:p>
          </p:txBody>
        </p:sp>
        <p:sp>
          <p:nvSpPr>
            <p:cNvPr id="23" name="TextBox 22">
              <a:extLst>
                <a:ext uri="{FF2B5EF4-FFF2-40B4-BE49-F238E27FC236}">
                  <a16:creationId xmlns:a16="http://schemas.microsoft.com/office/drawing/2014/main" id="{54936D30-A135-9819-4465-1B36C8DE363B}"/>
                </a:ext>
              </a:extLst>
            </p:cNvPr>
            <p:cNvSpPr txBox="1"/>
            <p:nvPr/>
          </p:nvSpPr>
          <p:spPr>
            <a:xfrm>
              <a:off x="6327946" y="2325789"/>
              <a:ext cx="1427303" cy="1200329"/>
            </a:xfrm>
            <a:prstGeom prst="rect">
              <a:avLst/>
            </a:prstGeom>
            <a:noFill/>
          </p:spPr>
          <p:txBody>
            <a:bodyPr wrap="square">
              <a:spAutoFit/>
            </a:bodyPr>
            <a:lstStyle/>
            <a:p>
              <a:pPr marL="108000" lvl="1" algn="ctr">
                <a:spcAft>
                  <a:spcPts val="200"/>
                </a:spcAft>
                <a:buClr>
                  <a:schemeClr val="accent1"/>
                </a:buClr>
                <a:buSzPct val="100000"/>
              </a:pPr>
              <a:r>
                <a:rPr lang="en-GB">
                  <a:solidFill>
                    <a:schemeClr val="tx2">
                      <a:lumMod val="50000"/>
                    </a:schemeClr>
                  </a:solidFill>
                  <a:latin typeface="Arial" panose="020B0604020202020204" pitchFamily="34" charset="0"/>
                  <a:cs typeface="Arial" panose="020B0604020202020204" pitchFamily="34" charset="0"/>
                </a:rPr>
                <a:t>Training and service delivery</a:t>
              </a:r>
            </a:p>
          </p:txBody>
        </p:sp>
        <p:sp>
          <p:nvSpPr>
            <p:cNvPr id="27" name="Oval 26">
              <a:extLst>
                <a:ext uri="{FF2B5EF4-FFF2-40B4-BE49-F238E27FC236}">
                  <a16:creationId xmlns:a16="http://schemas.microsoft.com/office/drawing/2014/main" id="{89C8E8E8-E8A5-0056-9A97-D0A3ED5A376D}"/>
                </a:ext>
              </a:extLst>
            </p:cNvPr>
            <p:cNvSpPr/>
            <p:nvPr/>
          </p:nvSpPr>
          <p:spPr>
            <a:xfrm>
              <a:off x="6750256" y="1547577"/>
              <a:ext cx="630424" cy="619183"/>
            </a:xfrm>
            <a:prstGeom prst="ellipse">
              <a:avLst/>
            </a:prstGeom>
            <a:solidFill>
              <a:srgbClr val="ED7D31"/>
            </a:solidFill>
            <a:ln w="5508" cap="flat">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latin typeface="Arial" panose="020B0604020202020204" pitchFamily="34" charset="0"/>
                  <a:cs typeface="Arial" panose="020B0604020202020204" pitchFamily="34" charset="0"/>
                </a:rPr>
                <a:t>4</a:t>
              </a:r>
            </a:p>
          </p:txBody>
        </p:sp>
        <p:pic>
          <p:nvPicPr>
            <p:cNvPr id="34" name="Graphic 33" descr="Teacher">
              <a:extLst>
                <a:ext uri="{FF2B5EF4-FFF2-40B4-BE49-F238E27FC236}">
                  <a16:creationId xmlns:a16="http://schemas.microsoft.com/office/drawing/2014/main" id="{23B8B7A3-6402-D3CF-4A48-640B1AE517B0}"/>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653267" y="3733268"/>
              <a:ext cx="914400" cy="914400"/>
            </a:xfrm>
            <a:prstGeom prst="rect">
              <a:avLst/>
            </a:prstGeom>
          </p:spPr>
        </p:pic>
      </p:grpSp>
      <p:grpSp>
        <p:nvGrpSpPr>
          <p:cNvPr id="37" name="Group 36">
            <a:extLst>
              <a:ext uri="{FF2B5EF4-FFF2-40B4-BE49-F238E27FC236}">
                <a16:creationId xmlns:a16="http://schemas.microsoft.com/office/drawing/2014/main" id="{F0E57E08-F61D-A8D4-45BB-1902123B5CD1}"/>
              </a:ext>
            </a:extLst>
          </p:cNvPr>
          <p:cNvGrpSpPr/>
          <p:nvPr/>
        </p:nvGrpSpPr>
        <p:grpSpPr>
          <a:xfrm>
            <a:off x="9413550" y="3234004"/>
            <a:ext cx="1893627" cy="3140467"/>
            <a:chOff x="10055627" y="795630"/>
            <a:chExt cx="1893627" cy="3282458"/>
          </a:xfrm>
        </p:grpSpPr>
        <p:sp>
          <p:nvSpPr>
            <p:cNvPr id="19" name="Rectangle 18">
              <a:extLst>
                <a:ext uri="{FF2B5EF4-FFF2-40B4-BE49-F238E27FC236}">
                  <a16:creationId xmlns:a16="http://schemas.microsoft.com/office/drawing/2014/main" id="{C125E07E-BF67-2EEA-6A28-951A9666C117}"/>
                </a:ext>
              </a:extLst>
            </p:cNvPr>
            <p:cNvSpPr/>
            <p:nvPr/>
          </p:nvSpPr>
          <p:spPr>
            <a:xfrm>
              <a:off x="10274054" y="1414814"/>
              <a:ext cx="1601196" cy="2663274"/>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lumMod val="50000"/>
                  </a:schemeClr>
                </a:solidFill>
              </a:endParaRPr>
            </a:p>
          </p:txBody>
        </p:sp>
        <p:sp>
          <p:nvSpPr>
            <p:cNvPr id="25" name="TextBox 24">
              <a:extLst>
                <a:ext uri="{FF2B5EF4-FFF2-40B4-BE49-F238E27FC236}">
                  <a16:creationId xmlns:a16="http://schemas.microsoft.com/office/drawing/2014/main" id="{4BBE0F9E-D428-A821-B683-53E4D93FC97F}"/>
                </a:ext>
              </a:extLst>
            </p:cNvPr>
            <p:cNvSpPr txBox="1"/>
            <p:nvPr/>
          </p:nvSpPr>
          <p:spPr>
            <a:xfrm>
              <a:off x="10055627" y="1553460"/>
              <a:ext cx="1893627" cy="974626"/>
            </a:xfrm>
            <a:prstGeom prst="rect">
              <a:avLst/>
            </a:prstGeom>
            <a:noFill/>
          </p:spPr>
          <p:txBody>
            <a:bodyPr wrap="square">
              <a:spAutoFit/>
            </a:bodyPr>
            <a:lstStyle/>
            <a:p>
              <a:pPr marL="108000" lvl="1" algn="ctr">
                <a:spcAft>
                  <a:spcPts val="200"/>
                </a:spcAft>
                <a:buClr>
                  <a:schemeClr val="accent1"/>
                </a:buClr>
                <a:buSzPct val="100000"/>
              </a:pPr>
              <a:r>
                <a:rPr lang="en-GB">
                  <a:solidFill>
                    <a:schemeClr val="tx2">
                      <a:lumMod val="50000"/>
                    </a:schemeClr>
                  </a:solidFill>
                  <a:latin typeface="Arial" panose="020B0604020202020204" pitchFamily="34" charset="0"/>
                  <a:cs typeface="Arial" panose="020B0604020202020204" pitchFamily="34" charset="0"/>
                </a:rPr>
                <a:t>Monitoring </a:t>
              </a:r>
            </a:p>
            <a:p>
              <a:pPr marL="108000" lvl="1" algn="ctr">
                <a:spcAft>
                  <a:spcPts val="200"/>
                </a:spcAft>
                <a:buClr>
                  <a:schemeClr val="accent1"/>
                </a:buClr>
                <a:buSzPct val="100000"/>
              </a:pPr>
              <a:r>
                <a:rPr lang="en-GB">
                  <a:solidFill>
                    <a:schemeClr val="tx2">
                      <a:lumMod val="50000"/>
                    </a:schemeClr>
                  </a:solidFill>
                  <a:latin typeface="Arial" panose="020B0604020202020204" pitchFamily="34" charset="0"/>
                  <a:cs typeface="Arial" panose="020B0604020202020204" pitchFamily="34" charset="0"/>
                </a:rPr>
                <a:t>and </a:t>
              </a:r>
            </a:p>
            <a:p>
              <a:pPr marL="108000" lvl="1" algn="ctr">
                <a:spcAft>
                  <a:spcPts val="200"/>
                </a:spcAft>
                <a:buClr>
                  <a:schemeClr val="accent1"/>
                </a:buClr>
                <a:buSzPct val="100000"/>
              </a:pPr>
              <a:r>
                <a:rPr lang="en-GB">
                  <a:solidFill>
                    <a:schemeClr val="tx2">
                      <a:lumMod val="50000"/>
                    </a:schemeClr>
                  </a:solidFill>
                  <a:latin typeface="Arial" panose="020B0604020202020204" pitchFamily="34" charset="0"/>
                  <a:cs typeface="Arial" panose="020B0604020202020204" pitchFamily="34" charset="0"/>
                </a:rPr>
                <a:t>evaluation</a:t>
              </a:r>
            </a:p>
          </p:txBody>
        </p:sp>
        <p:sp>
          <p:nvSpPr>
            <p:cNvPr id="29" name="Oval 28">
              <a:extLst>
                <a:ext uri="{FF2B5EF4-FFF2-40B4-BE49-F238E27FC236}">
                  <a16:creationId xmlns:a16="http://schemas.microsoft.com/office/drawing/2014/main" id="{A454E451-09BB-7F0D-83BE-7B829227B24A}"/>
                </a:ext>
              </a:extLst>
            </p:cNvPr>
            <p:cNvSpPr/>
            <p:nvPr/>
          </p:nvSpPr>
          <p:spPr>
            <a:xfrm>
              <a:off x="10745234" y="795630"/>
              <a:ext cx="630424" cy="619183"/>
            </a:xfrm>
            <a:prstGeom prst="ellipse">
              <a:avLst/>
            </a:prstGeom>
            <a:solidFill>
              <a:srgbClr val="ED7D31"/>
            </a:solidFill>
            <a:ln w="5508" cap="flat">
              <a:noFill/>
              <a:prstDash val="solid"/>
              <a:miter/>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a:latin typeface="Arial" panose="020B0604020202020204" pitchFamily="34" charset="0"/>
                  <a:cs typeface="Arial" panose="020B0604020202020204" pitchFamily="34" charset="0"/>
                </a:rPr>
                <a:t>6</a:t>
              </a:r>
            </a:p>
          </p:txBody>
        </p:sp>
        <p:pic>
          <p:nvPicPr>
            <p:cNvPr id="35" name="Graphic 34" descr="Research">
              <a:extLst>
                <a:ext uri="{FF2B5EF4-FFF2-40B4-BE49-F238E27FC236}">
                  <a16:creationId xmlns:a16="http://schemas.microsoft.com/office/drawing/2014/main" id="{0DEC2DCF-7C3F-AE5F-E97D-6017107FD509}"/>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0601551" y="2925954"/>
              <a:ext cx="914400" cy="914400"/>
            </a:xfrm>
            <a:prstGeom prst="rect">
              <a:avLst/>
            </a:prstGeom>
          </p:spPr>
        </p:pic>
      </p:grpSp>
      <p:sp>
        <p:nvSpPr>
          <p:cNvPr id="42" name="Google Shape;349;p13">
            <a:extLst>
              <a:ext uri="{FF2B5EF4-FFF2-40B4-BE49-F238E27FC236}">
                <a16:creationId xmlns:a16="http://schemas.microsoft.com/office/drawing/2014/main" id="{37398A49-D179-E1C2-EB96-744295810E8D}"/>
              </a:ext>
            </a:extLst>
          </p:cNvPr>
          <p:cNvSpPr txBox="1"/>
          <p:nvPr/>
        </p:nvSpPr>
        <p:spPr>
          <a:xfrm>
            <a:off x="2218665" y="1491672"/>
            <a:ext cx="9158132" cy="1631175"/>
          </a:xfrm>
          <a:prstGeom prst="rect">
            <a:avLst/>
          </a:prstGeom>
          <a:noFill/>
          <a:ln>
            <a:noFill/>
          </a:ln>
        </p:spPr>
        <p:txBody>
          <a:bodyPr spcFirstLastPara="1" wrap="square" lIns="91425" tIns="45700" rIns="91425" bIns="45700" anchor="t" anchorCtr="0">
            <a:spAutoFit/>
          </a:bodyPr>
          <a:lstStyle/>
          <a:p>
            <a:pPr lvl="0"/>
            <a:r>
              <a:rPr lang="en-GB" sz="2000" b="1">
                <a:latin typeface="Arial" panose="020B0604020202020204" pitchFamily="34" charset="0"/>
                <a:cs typeface="Arial" panose="020B0604020202020204" pitchFamily="34" charset="0"/>
              </a:rPr>
              <a:t>To highlight considerations specific to rabies PEP</a:t>
            </a:r>
            <a:r>
              <a:rPr lang="en-GB" sz="2000">
                <a:solidFill>
                  <a:srgbClr val="1E7FB8"/>
                </a:solidFill>
                <a:latin typeface="Arial" panose="020B0604020202020204" pitchFamily="34" charset="0"/>
                <a:cs typeface="Arial" panose="020B0604020202020204" pitchFamily="34" charset="0"/>
              </a:rPr>
              <a:t> </a:t>
            </a:r>
          </a:p>
          <a:p>
            <a:pPr lvl="0"/>
            <a:r>
              <a:rPr lang="en-GB" sz="200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rPr>
              <a:t>that can be integrated into existing systems</a:t>
            </a:r>
            <a:endParaRPr lang="en-GB" sz="2000">
              <a:solidFill>
                <a:srgbClr val="1E7FB8"/>
              </a:solidFill>
              <a:latin typeface="Arial" panose="020B0604020202020204" pitchFamily="34" charset="0"/>
              <a:cs typeface="Arial" panose="020B0604020202020204" pitchFamily="34" charset="0"/>
            </a:endParaRPr>
          </a:p>
          <a:p>
            <a:pPr lvl="0"/>
            <a:endParaRPr lang="en-GB" sz="2000">
              <a:solidFill>
                <a:srgbClr val="1E7FB8"/>
              </a:solidFill>
              <a:latin typeface="Arial" panose="020B0604020202020204" pitchFamily="34" charset="0"/>
              <a:cs typeface="Arial" panose="020B0604020202020204" pitchFamily="34" charset="0"/>
            </a:endParaRPr>
          </a:p>
          <a:p>
            <a:pPr lvl="0"/>
            <a:r>
              <a:rPr lang="en-GB" sz="2000" b="1">
                <a:latin typeface="Arial" panose="020B0604020202020204" pitchFamily="34" charset="0"/>
                <a:cs typeface="Arial" panose="020B0604020202020204" pitchFamily="34" charset="0"/>
              </a:rPr>
              <a:t>To inform policy discussions and operational planning </a:t>
            </a:r>
          </a:p>
          <a:p>
            <a:pPr lvl="0"/>
            <a:r>
              <a:rPr lang="en-GB" sz="200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rPr>
              <a:t>to introduce or expand rabies PEP into a national immunization programme: </a:t>
            </a:r>
          </a:p>
        </p:txBody>
      </p:sp>
      <p:sp>
        <p:nvSpPr>
          <p:cNvPr id="46" name="TextBox 45">
            <a:extLst>
              <a:ext uri="{FF2B5EF4-FFF2-40B4-BE49-F238E27FC236}">
                <a16:creationId xmlns:a16="http://schemas.microsoft.com/office/drawing/2014/main" id="{3EBF67C1-3987-A8C0-9139-F3AA7FFA1962}"/>
              </a:ext>
            </a:extLst>
          </p:cNvPr>
          <p:cNvSpPr txBox="1"/>
          <p:nvPr/>
        </p:nvSpPr>
        <p:spPr>
          <a:xfrm>
            <a:off x="5131558" y="6457709"/>
            <a:ext cx="6925085" cy="276999"/>
          </a:xfrm>
          <a:prstGeom prst="rect">
            <a:avLst/>
          </a:prstGeom>
          <a:noFill/>
        </p:spPr>
        <p:txBody>
          <a:bodyPr wrap="square">
            <a:spAutoFit/>
          </a:bodyPr>
          <a:lstStyle/>
          <a:p>
            <a:pPr algn="r"/>
            <a:r>
              <a:rPr lang="en-US" sz="1200" i="0">
                <a:solidFill>
                  <a:srgbClr val="3C4245"/>
                </a:solidFill>
                <a:effectLst/>
                <a:latin typeface="Arial" panose="020B0604020202020204" pitchFamily="34" charset="0"/>
                <a:cs typeface="Arial" panose="020B0604020202020204" pitchFamily="34" charset="0"/>
                <a:hlinkClick r:id="rId15"/>
              </a:rPr>
              <a:t>Guide to introducing human rabies vaccine into national immunization programmes</a:t>
            </a:r>
            <a:endParaRPr lang="en-US" sz="1200" i="0">
              <a:solidFill>
                <a:srgbClr val="3C4245"/>
              </a:solidFill>
              <a:effectLst/>
              <a:latin typeface="Arial" panose="020B0604020202020204" pitchFamily="34" charset="0"/>
              <a:cs typeface="Arial" panose="020B0604020202020204" pitchFamily="34" charset="0"/>
            </a:endParaRPr>
          </a:p>
        </p:txBody>
      </p:sp>
      <p:pic>
        <p:nvPicPr>
          <p:cNvPr id="3" name="Picture 2">
            <a:extLst>
              <a:ext uri="{FF2B5EF4-FFF2-40B4-BE49-F238E27FC236}">
                <a16:creationId xmlns:a16="http://schemas.microsoft.com/office/drawing/2014/main" id="{62F16EA7-6EA6-EB5E-B9E4-23D0034128F4}"/>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352689" y="6288609"/>
            <a:ext cx="1588170" cy="500605"/>
          </a:xfrm>
          <a:prstGeom prst="rect">
            <a:avLst/>
          </a:prstGeom>
        </p:spPr>
      </p:pic>
    </p:spTree>
    <p:extLst>
      <p:ext uri="{BB962C8B-B14F-4D97-AF65-F5344CB8AC3E}">
        <p14:creationId xmlns:p14="http://schemas.microsoft.com/office/powerpoint/2010/main" val="227724256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C1B283-7933-A70C-5A08-CFC2BF2B9745}"/>
              </a:ext>
            </a:extLst>
          </p:cNvPr>
          <p:cNvSpPr>
            <a:spLocks noGrp="1"/>
          </p:cNvSpPr>
          <p:nvPr>
            <p:ph type="ctrTitle"/>
          </p:nvPr>
        </p:nvSpPr>
        <p:spPr>
          <a:xfrm>
            <a:off x="206735" y="5146653"/>
            <a:ext cx="11489634" cy="739880"/>
          </a:xfrm>
        </p:spPr>
        <p:txBody>
          <a:bodyPr anchor="b">
            <a:normAutofit/>
          </a:bodyPr>
          <a:lstStyle/>
          <a:p>
            <a:r>
              <a:rPr lang="en-US" sz="2800" b="1" dirty="0">
                <a:solidFill>
                  <a:srgbClr val="0087CB"/>
                </a:solidFill>
              </a:rPr>
              <a:t>Thank you!</a:t>
            </a:r>
            <a:endParaRPr lang="en-US" sz="3600" dirty="0">
              <a:solidFill>
                <a:schemeClr val="tx1">
                  <a:lumMod val="85000"/>
                  <a:lumOff val="15000"/>
                </a:schemeClr>
              </a:solidFill>
            </a:endParaRPr>
          </a:p>
        </p:txBody>
      </p:sp>
      <p:sp>
        <p:nvSpPr>
          <p:cNvPr id="3" name="Subtitle 2">
            <a:extLst>
              <a:ext uri="{FF2B5EF4-FFF2-40B4-BE49-F238E27FC236}">
                <a16:creationId xmlns:a16="http://schemas.microsoft.com/office/drawing/2014/main" id="{2AD0D585-FE63-474D-9E88-4DDF1F8F9491}"/>
              </a:ext>
            </a:extLst>
          </p:cNvPr>
          <p:cNvSpPr>
            <a:spLocks noGrp="1"/>
          </p:cNvSpPr>
          <p:nvPr>
            <p:ph type="subTitle" idx="1"/>
          </p:nvPr>
        </p:nvSpPr>
        <p:spPr>
          <a:xfrm>
            <a:off x="2426447" y="6019391"/>
            <a:ext cx="7315199" cy="365125"/>
          </a:xfrm>
        </p:spPr>
        <p:txBody>
          <a:bodyPr anchor="t">
            <a:normAutofit fontScale="92500"/>
          </a:bodyPr>
          <a:lstStyle/>
          <a:p>
            <a:r>
              <a:rPr lang="en-US" sz="1600" dirty="0">
                <a:solidFill>
                  <a:schemeClr val="tx1">
                    <a:lumMod val="85000"/>
                    <a:lumOff val="15000"/>
                  </a:schemeClr>
                </a:solidFill>
              </a:rPr>
              <a:t>Dr Bernadette </a:t>
            </a:r>
            <a:r>
              <a:rPr lang="en-US" sz="1600" dirty="0" err="1">
                <a:solidFill>
                  <a:schemeClr val="tx1">
                    <a:lumMod val="85000"/>
                    <a:lumOff val="15000"/>
                  </a:schemeClr>
                </a:solidFill>
              </a:rPr>
              <a:t>Abela,</a:t>
            </a:r>
            <a:r>
              <a:rPr lang="en-US" sz="1600" dirty="0">
                <a:solidFill>
                  <a:schemeClr val="tx1">
                    <a:lumMod val="85000"/>
                    <a:lumOff val="15000"/>
                  </a:schemeClr>
                </a:solidFill>
              </a:rPr>
              <a:t> Global </a:t>
            </a:r>
            <a:r>
              <a:rPr lang="en-US" sz="1600" dirty="0" err="1">
                <a:solidFill>
                  <a:schemeClr val="tx1">
                    <a:lumMod val="85000"/>
                    <a:lumOff val="15000"/>
                  </a:schemeClr>
                </a:solidFill>
              </a:rPr>
              <a:t>Programme</a:t>
            </a:r>
            <a:r>
              <a:rPr lang="en-US" sz="1600" dirty="0">
                <a:solidFill>
                  <a:schemeClr val="tx1">
                    <a:lumMod val="85000"/>
                    <a:lumOff val="15000"/>
                  </a:schemeClr>
                </a:solidFill>
              </a:rPr>
              <a:t> for Neglected Tropical Diseases, abelab@who.int </a:t>
            </a:r>
          </a:p>
          <a:p>
            <a:endParaRPr lang="en-US" sz="1600" dirty="0">
              <a:solidFill>
                <a:schemeClr val="tx1">
                  <a:lumMod val="85000"/>
                  <a:lumOff val="15000"/>
                </a:schemeClr>
              </a:solidFill>
            </a:endParaRPr>
          </a:p>
        </p:txBody>
      </p:sp>
      <p:pic>
        <p:nvPicPr>
          <p:cNvPr id="4" name="Picture 3" descr="A group of children playing outside&#10;&#10;Description automatically generated">
            <a:extLst>
              <a:ext uri="{FF2B5EF4-FFF2-40B4-BE49-F238E27FC236}">
                <a16:creationId xmlns:a16="http://schemas.microsoft.com/office/drawing/2014/main" id="{C20FF2D4-C60D-7BD4-C22F-6118300A5BB0}"/>
              </a:ext>
            </a:extLst>
          </p:cNvPr>
          <p:cNvPicPr>
            <a:picLocks noChangeAspect="1"/>
          </p:cNvPicPr>
          <p:nvPr/>
        </p:nvPicPr>
        <p:blipFill rotWithShape="1">
          <a:blip r:embed="rId2">
            <a:extLst>
              <a:ext uri="{28A0092B-C50C-407E-A947-70E740481C1C}">
                <a14:useLocalDpi xmlns:a14="http://schemas.microsoft.com/office/drawing/2010/main" val="0"/>
              </a:ext>
            </a:extLst>
          </a:blip>
          <a:srcRect t="18138" b="9529"/>
          <a:stretch/>
        </p:blipFill>
        <p:spPr>
          <a:xfrm>
            <a:off x="20" y="10"/>
            <a:ext cx="12191979" cy="5886523"/>
          </a:xfrm>
          <a:custGeom>
            <a:avLst/>
            <a:gdLst/>
            <a:ahLst/>
            <a:cxnLst/>
            <a:rect l="l" t="t" r="r" b="b"/>
            <a:pathLst>
              <a:path w="12191999" h="5886533">
                <a:moveTo>
                  <a:pt x="4721173" y="4907914"/>
                </a:moveTo>
                <a:lnTo>
                  <a:pt x="4722109" y="4908125"/>
                </a:lnTo>
                <a:cubicBezTo>
                  <a:pt x="4721143" y="4908767"/>
                  <a:pt x="4718263" y="4909373"/>
                  <a:pt x="4717199" y="4909396"/>
                </a:cubicBezTo>
                <a:close/>
                <a:moveTo>
                  <a:pt x="0" y="0"/>
                </a:moveTo>
                <a:lnTo>
                  <a:pt x="12191999" y="0"/>
                </a:lnTo>
                <a:lnTo>
                  <a:pt x="12191999" y="5751311"/>
                </a:lnTo>
                <a:lnTo>
                  <a:pt x="12140860" y="5770509"/>
                </a:lnTo>
                <a:cubicBezTo>
                  <a:pt x="12126656" y="5772723"/>
                  <a:pt x="12093589" y="5827925"/>
                  <a:pt x="12080161" y="5826358"/>
                </a:cubicBezTo>
                <a:cubicBezTo>
                  <a:pt x="11978188" y="5850511"/>
                  <a:pt x="11967361" y="5873564"/>
                  <a:pt x="11917885" y="5861578"/>
                </a:cubicBezTo>
                <a:cubicBezTo>
                  <a:pt x="11872779" y="5859863"/>
                  <a:pt x="11928861" y="5896778"/>
                  <a:pt x="11894610" y="5883738"/>
                </a:cubicBezTo>
                <a:cubicBezTo>
                  <a:pt x="11860359" y="5870698"/>
                  <a:pt x="11736091" y="5807232"/>
                  <a:pt x="11712379" y="5783337"/>
                </a:cubicBezTo>
                <a:cubicBezTo>
                  <a:pt x="11688667" y="5759442"/>
                  <a:pt x="11627912" y="5782933"/>
                  <a:pt x="11585366" y="5740371"/>
                </a:cubicBezTo>
                <a:lnTo>
                  <a:pt x="11516470" y="5663679"/>
                </a:lnTo>
                <a:cubicBezTo>
                  <a:pt x="11468274" y="5661847"/>
                  <a:pt x="11507335" y="5626593"/>
                  <a:pt x="11462692" y="5610127"/>
                </a:cubicBezTo>
                <a:cubicBezTo>
                  <a:pt x="11417567" y="5608500"/>
                  <a:pt x="11408021" y="5556613"/>
                  <a:pt x="11369712" y="5548654"/>
                </a:cubicBezTo>
                <a:cubicBezTo>
                  <a:pt x="11354317" y="5554704"/>
                  <a:pt x="11288328" y="5499810"/>
                  <a:pt x="11273969" y="5488986"/>
                </a:cubicBezTo>
                <a:cubicBezTo>
                  <a:pt x="11231913" y="5490378"/>
                  <a:pt x="11221973" y="5480544"/>
                  <a:pt x="11195084" y="5467967"/>
                </a:cubicBezTo>
                <a:cubicBezTo>
                  <a:pt x="11164086" y="5497749"/>
                  <a:pt x="11171649" y="5471790"/>
                  <a:pt x="11143408" y="5468614"/>
                </a:cubicBezTo>
                <a:cubicBezTo>
                  <a:pt x="11125906" y="5464975"/>
                  <a:pt x="11102603" y="5460835"/>
                  <a:pt x="11085935" y="5459365"/>
                </a:cubicBezTo>
                <a:cubicBezTo>
                  <a:pt x="11057493" y="5459661"/>
                  <a:pt x="11029906" y="5441496"/>
                  <a:pt x="11030953" y="5456484"/>
                </a:cubicBezTo>
                <a:cubicBezTo>
                  <a:pt x="11007784" y="5459001"/>
                  <a:pt x="10982005" y="5463178"/>
                  <a:pt x="10951060" y="5461240"/>
                </a:cubicBezTo>
                <a:cubicBezTo>
                  <a:pt x="10885365" y="5424406"/>
                  <a:pt x="10915288" y="5460968"/>
                  <a:pt x="10857721" y="5448157"/>
                </a:cubicBezTo>
                <a:cubicBezTo>
                  <a:pt x="10806646" y="5435790"/>
                  <a:pt x="10707075" y="5402712"/>
                  <a:pt x="10644616" y="5387039"/>
                </a:cubicBezTo>
                <a:cubicBezTo>
                  <a:pt x="10616446" y="5382224"/>
                  <a:pt x="10558603" y="5371613"/>
                  <a:pt x="10519277" y="5366793"/>
                </a:cubicBezTo>
                <a:cubicBezTo>
                  <a:pt x="10495461" y="5368312"/>
                  <a:pt x="10473830" y="5354868"/>
                  <a:pt x="10445981" y="5364735"/>
                </a:cubicBezTo>
                <a:cubicBezTo>
                  <a:pt x="10436536" y="5368773"/>
                  <a:pt x="10409281" y="5367966"/>
                  <a:pt x="10383865" y="5360888"/>
                </a:cubicBezTo>
                <a:cubicBezTo>
                  <a:pt x="10374827" y="5369095"/>
                  <a:pt x="10347864" y="5360432"/>
                  <a:pt x="10336852" y="5360277"/>
                </a:cubicBezTo>
                <a:cubicBezTo>
                  <a:pt x="10323586" y="5366987"/>
                  <a:pt x="10274741" y="5357921"/>
                  <a:pt x="10261098" y="5350526"/>
                </a:cubicBezTo>
                <a:lnTo>
                  <a:pt x="10126497" y="5339011"/>
                </a:lnTo>
                <a:lnTo>
                  <a:pt x="10082166" y="5336916"/>
                </a:lnTo>
                <a:cubicBezTo>
                  <a:pt x="10074567" y="5338985"/>
                  <a:pt x="10046860" y="5337657"/>
                  <a:pt x="10039237" y="5338580"/>
                </a:cubicBezTo>
                <a:cubicBezTo>
                  <a:pt x="9998458" y="5328479"/>
                  <a:pt x="9984394" y="5327989"/>
                  <a:pt x="9960016" y="5323065"/>
                </a:cubicBezTo>
                <a:cubicBezTo>
                  <a:pt x="9918980" y="5322923"/>
                  <a:pt x="9888741" y="5326122"/>
                  <a:pt x="9847789" y="5316297"/>
                </a:cubicBezTo>
                <a:lnTo>
                  <a:pt x="9728306" y="5296090"/>
                </a:lnTo>
                <a:cubicBezTo>
                  <a:pt x="9675056" y="5305676"/>
                  <a:pt x="9602035" y="5297282"/>
                  <a:pt x="9584504" y="5284670"/>
                </a:cubicBezTo>
                <a:cubicBezTo>
                  <a:pt x="9518952" y="5270394"/>
                  <a:pt x="9415429" y="5244268"/>
                  <a:pt x="9343049" y="5238968"/>
                </a:cubicBezTo>
                <a:lnTo>
                  <a:pt x="9231367" y="5187063"/>
                </a:lnTo>
                <a:lnTo>
                  <a:pt x="9194807" y="5176984"/>
                </a:lnTo>
                <a:lnTo>
                  <a:pt x="9189243" y="5167745"/>
                </a:lnTo>
                <a:lnTo>
                  <a:pt x="9151229" y="5156543"/>
                </a:lnTo>
                <a:lnTo>
                  <a:pt x="9150207" y="5157608"/>
                </a:lnTo>
                <a:cubicBezTo>
                  <a:pt x="9147045" y="5159739"/>
                  <a:pt x="9143081" y="5160831"/>
                  <a:pt x="9137315" y="5159777"/>
                </a:cubicBezTo>
                <a:cubicBezTo>
                  <a:pt x="9138862" y="5179261"/>
                  <a:pt x="9130952" y="5165972"/>
                  <a:pt x="9113809" y="5161143"/>
                </a:cubicBezTo>
                <a:cubicBezTo>
                  <a:pt x="9112388" y="5190326"/>
                  <a:pt x="9068114" y="5155892"/>
                  <a:pt x="9053450" y="5169457"/>
                </a:cubicBezTo>
                <a:lnTo>
                  <a:pt x="9005483" y="5166172"/>
                </a:lnTo>
                <a:lnTo>
                  <a:pt x="9005198" y="5166412"/>
                </a:lnTo>
                <a:cubicBezTo>
                  <a:pt x="9003143" y="5166632"/>
                  <a:pt x="9000324" y="5166304"/>
                  <a:pt x="8996229" y="5165201"/>
                </a:cubicBezTo>
                <a:lnTo>
                  <a:pt x="8990391" y="5163140"/>
                </a:lnTo>
                <a:lnTo>
                  <a:pt x="8974334" y="5159914"/>
                </a:lnTo>
                <a:lnTo>
                  <a:pt x="8968008" y="5160614"/>
                </a:lnTo>
                <a:lnTo>
                  <a:pt x="8963045" y="5162839"/>
                </a:lnTo>
                <a:cubicBezTo>
                  <a:pt x="8954690" y="5154888"/>
                  <a:pt x="8955517" y="5145940"/>
                  <a:pt x="8928985" y="5166027"/>
                </a:cubicBezTo>
                <a:cubicBezTo>
                  <a:pt x="8898031" y="5165007"/>
                  <a:pt x="8789300" y="5150352"/>
                  <a:pt x="8752441" y="5146795"/>
                </a:cubicBezTo>
                <a:cubicBezTo>
                  <a:pt x="8719819" y="5136075"/>
                  <a:pt x="8748194" y="5149736"/>
                  <a:pt x="8707844" y="5144694"/>
                </a:cubicBezTo>
                <a:cubicBezTo>
                  <a:pt x="8671606" y="5125159"/>
                  <a:pt x="8639142" y="5141599"/>
                  <a:pt x="8596068" y="5136122"/>
                </a:cubicBezTo>
                <a:lnTo>
                  <a:pt x="8525227" y="5150964"/>
                </a:lnTo>
                <a:lnTo>
                  <a:pt x="8510980" y="5145049"/>
                </a:lnTo>
                <a:lnTo>
                  <a:pt x="8506164" y="5142048"/>
                </a:lnTo>
                <a:cubicBezTo>
                  <a:pt x="8502646" y="5140271"/>
                  <a:pt x="8500045" y="5139460"/>
                  <a:pt x="8497965" y="5139310"/>
                </a:cubicBezTo>
                <a:lnTo>
                  <a:pt x="8497591" y="5139489"/>
                </a:lnTo>
                <a:lnTo>
                  <a:pt x="8490246" y="5136439"/>
                </a:lnTo>
                <a:lnTo>
                  <a:pt x="8367179" y="5122397"/>
                </a:lnTo>
                <a:cubicBezTo>
                  <a:pt x="8362021" y="5120372"/>
                  <a:pt x="8357730" y="5120720"/>
                  <a:pt x="8353796" y="5122203"/>
                </a:cubicBezTo>
                <a:lnTo>
                  <a:pt x="8352369" y="5123043"/>
                </a:lnTo>
                <a:lnTo>
                  <a:pt x="8320101" y="5105625"/>
                </a:lnTo>
                <a:lnTo>
                  <a:pt x="8314429" y="5105299"/>
                </a:lnTo>
                <a:lnTo>
                  <a:pt x="8295170" y="5091404"/>
                </a:lnTo>
                <a:lnTo>
                  <a:pt x="8284273" y="5085581"/>
                </a:lnTo>
                <a:lnTo>
                  <a:pt x="8283146" y="5081138"/>
                </a:lnTo>
                <a:cubicBezTo>
                  <a:pt x="8280842" y="5077893"/>
                  <a:pt x="8276148" y="5075245"/>
                  <a:pt x="8266072" y="5073963"/>
                </a:cubicBezTo>
                <a:lnTo>
                  <a:pt x="8263373" y="5074193"/>
                </a:lnTo>
                <a:lnTo>
                  <a:pt x="8252030" y="5064350"/>
                </a:lnTo>
                <a:cubicBezTo>
                  <a:pt x="8248856" y="5060500"/>
                  <a:pt x="8246644" y="5056218"/>
                  <a:pt x="8245831" y="5051358"/>
                </a:cubicBezTo>
                <a:cubicBezTo>
                  <a:pt x="8181824" y="5054265"/>
                  <a:pt x="8147127" y="5020143"/>
                  <a:pt x="8090268" y="5005197"/>
                </a:cubicBezTo>
                <a:cubicBezTo>
                  <a:pt x="8025464" y="4982055"/>
                  <a:pt x="7967067" y="4960819"/>
                  <a:pt x="7905404" y="4963224"/>
                </a:cubicBezTo>
                <a:cubicBezTo>
                  <a:pt x="7835116" y="4948312"/>
                  <a:pt x="7780962" y="4946081"/>
                  <a:pt x="7718741" y="4937509"/>
                </a:cubicBezTo>
                <a:lnTo>
                  <a:pt x="7614343" y="4940980"/>
                </a:lnTo>
                <a:lnTo>
                  <a:pt x="7527539" y="4935152"/>
                </a:lnTo>
                <a:lnTo>
                  <a:pt x="7519567" y="4932599"/>
                </a:lnTo>
                <a:cubicBezTo>
                  <a:pt x="7513989" y="4931260"/>
                  <a:pt x="7510169" y="4930910"/>
                  <a:pt x="7507408" y="4931264"/>
                </a:cubicBezTo>
                <a:lnTo>
                  <a:pt x="7507036" y="4931591"/>
                </a:lnTo>
                <a:lnTo>
                  <a:pt x="7495791" y="4929639"/>
                </a:lnTo>
                <a:cubicBezTo>
                  <a:pt x="7476982" y="4925521"/>
                  <a:pt x="7422524" y="4942937"/>
                  <a:pt x="7405387" y="4937744"/>
                </a:cubicBezTo>
                <a:cubicBezTo>
                  <a:pt x="7374785" y="4940694"/>
                  <a:pt x="7333986" y="4941799"/>
                  <a:pt x="7312176" y="4947339"/>
                </a:cubicBezTo>
                <a:lnTo>
                  <a:pt x="7310849" y="4948781"/>
                </a:lnTo>
                <a:lnTo>
                  <a:pt x="7218556" y="4923532"/>
                </a:lnTo>
                <a:lnTo>
                  <a:pt x="7201098" y="4918982"/>
                </a:lnTo>
                <a:lnTo>
                  <a:pt x="7197000" y="4913624"/>
                </a:lnTo>
                <a:cubicBezTo>
                  <a:pt x="7192108" y="4910101"/>
                  <a:pt x="7184502" y="4907962"/>
                  <a:pt x="7170804" y="4908976"/>
                </a:cubicBezTo>
                <a:lnTo>
                  <a:pt x="7096984" y="4896748"/>
                </a:lnTo>
                <a:cubicBezTo>
                  <a:pt x="7061144" y="4895770"/>
                  <a:pt x="7050185" y="4894793"/>
                  <a:pt x="7018492" y="4897122"/>
                </a:cubicBezTo>
                <a:cubicBezTo>
                  <a:pt x="6937524" y="4886184"/>
                  <a:pt x="6943641" y="4862018"/>
                  <a:pt x="6904142" y="4867616"/>
                </a:cubicBezTo>
                <a:cubicBezTo>
                  <a:pt x="6871918" y="4872824"/>
                  <a:pt x="6787985" y="4853750"/>
                  <a:pt x="6708218" y="4839661"/>
                </a:cubicBezTo>
                <a:cubicBezTo>
                  <a:pt x="6649102" y="4830206"/>
                  <a:pt x="6628102" y="4816105"/>
                  <a:pt x="6549451" y="4810885"/>
                </a:cubicBezTo>
                <a:cubicBezTo>
                  <a:pt x="6472150" y="4766795"/>
                  <a:pt x="6409692" y="4790518"/>
                  <a:pt x="6317556" y="4764085"/>
                </a:cubicBezTo>
                <a:cubicBezTo>
                  <a:pt x="6297547" y="4748563"/>
                  <a:pt x="6209288" y="4765756"/>
                  <a:pt x="6168670" y="4761998"/>
                </a:cubicBezTo>
                <a:cubicBezTo>
                  <a:pt x="6128052" y="4758240"/>
                  <a:pt x="6090536" y="4744692"/>
                  <a:pt x="6073844" y="4741536"/>
                </a:cubicBezTo>
                <a:lnTo>
                  <a:pt x="6068526" y="4743073"/>
                </a:lnTo>
                <a:lnTo>
                  <a:pt x="6048634" y="4742390"/>
                </a:lnTo>
                <a:lnTo>
                  <a:pt x="6041279" y="4750739"/>
                </a:lnTo>
                <a:lnTo>
                  <a:pt x="6010088" y="4755832"/>
                </a:lnTo>
                <a:cubicBezTo>
                  <a:pt x="5998677" y="4756419"/>
                  <a:pt x="5970124" y="4755506"/>
                  <a:pt x="5957373" y="4752188"/>
                </a:cubicBezTo>
                <a:lnTo>
                  <a:pt x="5758915" y="4736496"/>
                </a:lnTo>
                <a:lnTo>
                  <a:pt x="5626957" y="4735473"/>
                </a:lnTo>
                <a:lnTo>
                  <a:pt x="5470902" y="4749493"/>
                </a:lnTo>
                <a:cubicBezTo>
                  <a:pt x="5478131" y="4762521"/>
                  <a:pt x="5439006" y="4748455"/>
                  <a:pt x="5432757" y="4760746"/>
                </a:cubicBezTo>
                <a:cubicBezTo>
                  <a:pt x="5429365" y="4770778"/>
                  <a:pt x="5391824" y="4775462"/>
                  <a:pt x="5381664" y="4778448"/>
                </a:cubicBezTo>
                <a:lnTo>
                  <a:pt x="5261760" y="4798865"/>
                </a:lnTo>
                <a:cubicBezTo>
                  <a:pt x="5251595" y="4799049"/>
                  <a:pt x="5230547" y="4807359"/>
                  <a:pt x="5222959" y="4809989"/>
                </a:cubicBezTo>
                <a:lnTo>
                  <a:pt x="5174657" y="4812979"/>
                </a:lnTo>
                <a:lnTo>
                  <a:pt x="5156551" y="4820202"/>
                </a:lnTo>
                <a:lnTo>
                  <a:pt x="5142595" y="4823602"/>
                </a:lnTo>
                <a:lnTo>
                  <a:pt x="5139593" y="4825703"/>
                </a:lnTo>
                <a:cubicBezTo>
                  <a:pt x="5133873" y="4829743"/>
                  <a:pt x="5128076" y="4833554"/>
                  <a:pt x="5121656" y="4836556"/>
                </a:cubicBezTo>
                <a:cubicBezTo>
                  <a:pt x="5108317" y="4807937"/>
                  <a:pt x="5064853" y="4857373"/>
                  <a:pt x="5065787" y="4829985"/>
                </a:cubicBezTo>
                <a:cubicBezTo>
                  <a:pt x="5028193" y="4841501"/>
                  <a:pt x="5038944" y="4812412"/>
                  <a:pt x="5011510" y="4846366"/>
                </a:cubicBezTo>
                <a:cubicBezTo>
                  <a:pt x="4937023" y="4845983"/>
                  <a:pt x="4916353" y="4832976"/>
                  <a:pt x="4840437" y="4870383"/>
                </a:cubicBezTo>
                <a:cubicBezTo>
                  <a:pt x="4806739" y="4887025"/>
                  <a:pt x="4784106" y="4898171"/>
                  <a:pt x="4762444" y="4898151"/>
                </a:cubicBezTo>
                <a:cubicBezTo>
                  <a:pt x="4741323" y="4902652"/>
                  <a:pt x="4729481" y="4905474"/>
                  <a:pt x="4723182" y="4907166"/>
                </a:cubicBezTo>
                <a:lnTo>
                  <a:pt x="4721173" y="4907914"/>
                </a:lnTo>
                <a:lnTo>
                  <a:pt x="4715524" y="4906639"/>
                </a:lnTo>
                <a:cubicBezTo>
                  <a:pt x="4680148" y="4913595"/>
                  <a:pt x="4524744" y="4914403"/>
                  <a:pt x="4515810" y="4916541"/>
                </a:cubicBezTo>
                <a:cubicBezTo>
                  <a:pt x="4457819" y="4929653"/>
                  <a:pt x="4462659" y="4930394"/>
                  <a:pt x="4428539" y="4927192"/>
                </a:cubicBezTo>
                <a:cubicBezTo>
                  <a:pt x="4423303" y="4923821"/>
                  <a:pt x="4368974" y="4930115"/>
                  <a:pt x="4362872" y="4928538"/>
                </a:cubicBezTo>
                <a:lnTo>
                  <a:pt x="4316962" y="4921923"/>
                </a:lnTo>
                <a:lnTo>
                  <a:pt x="4315106" y="4923264"/>
                </a:lnTo>
                <a:cubicBezTo>
                  <a:pt x="4306123" y="4926635"/>
                  <a:pt x="4299993" y="4926634"/>
                  <a:pt x="4295140" y="4925143"/>
                </a:cubicBezTo>
                <a:lnTo>
                  <a:pt x="4290059" y="4922226"/>
                </a:lnTo>
                <a:lnTo>
                  <a:pt x="4276138" y="4922472"/>
                </a:lnTo>
                <a:lnTo>
                  <a:pt x="4248113" y="4920148"/>
                </a:lnTo>
                <a:lnTo>
                  <a:pt x="4202046" y="4922943"/>
                </a:lnTo>
                <a:cubicBezTo>
                  <a:pt x="4201945" y="4923363"/>
                  <a:pt x="4201842" y="4923782"/>
                  <a:pt x="4201741" y="4924202"/>
                </a:cubicBezTo>
                <a:cubicBezTo>
                  <a:pt x="4200116" y="4927039"/>
                  <a:pt x="4197140" y="4929158"/>
                  <a:pt x="4191245" y="4929836"/>
                </a:cubicBezTo>
                <a:cubicBezTo>
                  <a:pt x="4204212" y="4947125"/>
                  <a:pt x="4161274" y="4945230"/>
                  <a:pt x="4142742" y="4945701"/>
                </a:cubicBezTo>
                <a:cubicBezTo>
                  <a:pt x="4124717" y="4952767"/>
                  <a:pt x="4099099" y="4966347"/>
                  <a:pt x="4083094" y="4972234"/>
                </a:cubicBezTo>
                <a:lnTo>
                  <a:pt x="4074543" y="4973069"/>
                </a:lnTo>
                <a:cubicBezTo>
                  <a:pt x="4074504" y="4973170"/>
                  <a:pt x="4074463" y="4973269"/>
                  <a:pt x="4074424" y="4973368"/>
                </a:cubicBezTo>
                <a:cubicBezTo>
                  <a:pt x="4072678" y="4974152"/>
                  <a:pt x="4069906" y="4974653"/>
                  <a:pt x="4065507" y="4974812"/>
                </a:cubicBezTo>
                <a:lnTo>
                  <a:pt x="4058951" y="4974594"/>
                </a:lnTo>
                <a:lnTo>
                  <a:pt x="4042361" y="4976215"/>
                </a:lnTo>
                <a:lnTo>
                  <a:pt x="4036993" y="4978649"/>
                </a:lnTo>
                <a:lnTo>
                  <a:pt x="4035360" y="4982316"/>
                </a:lnTo>
                <a:lnTo>
                  <a:pt x="4033775" y="4982081"/>
                </a:lnTo>
                <a:cubicBezTo>
                  <a:pt x="4021424" y="4977217"/>
                  <a:pt x="4016874" y="4968841"/>
                  <a:pt x="4004535" y="4994649"/>
                </a:cubicBezTo>
                <a:cubicBezTo>
                  <a:pt x="3976667" y="4987584"/>
                  <a:pt x="3972977" y="5002913"/>
                  <a:pt x="3936843" y="5012106"/>
                </a:cubicBezTo>
                <a:cubicBezTo>
                  <a:pt x="3920506" y="5004382"/>
                  <a:pt x="3908535" y="5009071"/>
                  <a:pt x="3897272" y="5017761"/>
                </a:cubicBezTo>
                <a:cubicBezTo>
                  <a:pt x="3861092" y="5017265"/>
                  <a:pt x="3829628" y="5031135"/>
                  <a:pt x="3789757" y="5037999"/>
                </a:cubicBezTo>
                <a:cubicBezTo>
                  <a:pt x="3741007" y="5052705"/>
                  <a:pt x="3725129" y="5054682"/>
                  <a:pt x="3682510" y="5061922"/>
                </a:cubicBezTo>
                <a:lnTo>
                  <a:pt x="3610032" y="5094193"/>
                </a:lnTo>
                <a:lnTo>
                  <a:pt x="3603852" y="5092831"/>
                </a:lnTo>
                <a:cubicBezTo>
                  <a:pt x="3599580" y="5092212"/>
                  <a:pt x="3596726" y="5092212"/>
                  <a:pt x="3594733" y="5092667"/>
                </a:cubicBezTo>
                <a:lnTo>
                  <a:pt x="3594498" y="5092936"/>
                </a:lnTo>
                <a:lnTo>
                  <a:pt x="3585975" y="5092246"/>
                </a:lnTo>
                <a:cubicBezTo>
                  <a:pt x="3571623" y="5090455"/>
                  <a:pt x="3549389" y="5104654"/>
                  <a:pt x="3536132" y="5101945"/>
                </a:cubicBezTo>
                <a:cubicBezTo>
                  <a:pt x="3513940" y="5106241"/>
                  <a:pt x="3488622" y="5099976"/>
                  <a:pt x="3473220" y="5105606"/>
                </a:cubicBezTo>
                <a:lnTo>
                  <a:pt x="3400725" y="5117654"/>
                </a:lnTo>
                <a:lnTo>
                  <a:pt x="3375935" y="5106247"/>
                </a:lnTo>
                <a:lnTo>
                  <a:pt x="3348219" y="5109860"/>
                </a:lnTo>
                <a:cubicBezTo>
                  <a:pt x="3337206" y="5110533"/>
                  <a:pt x="3327054" y="5111295"/>
                  <a:pt x="3319639" y="5114795"/>
                </a:cubicBezTo>
                <a:lnTo>
                  <a:pt x="3248529" y="5133347"/>
                </a:lnTo>
                <a:lnTo>
                  <a:pt x="3210308" y="5119794"/>
                </a:lnTo>
                <a:cubicBezTo>
                  <a:pt x="3206088" y="5117870"/>
                  <a:pt x="3200152" y="5117326"/>
                  <a:pt x="3190375" y="5119915"/>
                </a:cubicBezTo>
                <a:lnTo>
                  <a:pt x="3188145" y="5121096"/>
                </a:lnTo>
                <a:cubicBezTo>
                  <a:pt x="3182625" y="5119116"/>
                  <a:pt x="3141856" y="5121682"/>
                  <a:pt x="3108596" y="5122416"/>
                </a:cubicBezTo>
                <a:cubicBezTo>
                  <a:pt x="3055968" y="5124842"/>
                  <a:pt x="3048940" y="5117475"/>
                  <a:pt x="2988584" y="5125502"/>
                </a:cubicBezTo>
                <a:cubicBezTo>
                  <a:pt x="2928853" y="5129690"/>
                  <a:pt x="2917951" y="5124649"/>
                  <a:pt x="2876540" y="5133019"/>
                </a:cubicBezTo>
                <a:lnTo>
                  <a:pt x="2626864" y="5133771"/>
                </a:lnTo>
                <a:cubicBezTo>
                  <a:pt x="2562348" y="5111858"/>
                  <a:pt x="2563422" y="5142456"/>
                  <a:pt x="2491422" y="5135486"/>
                </a:cubicBezTo>
                <a:cubicBezTo>
                  <a:pt x="2433091" y="5200962"/>
                  <a:pt x="2455709" y="5160483"/>
                  <a:pt x="2415617" y="5168715"/>
                </a:cubicBezTo>
                <a:lnTo>
                  <a:pt x="2290098" y="5166151"/>
                </a:lnTo>
                <a:cubicBezTo>
                  <a:pt x="2257057" y="5152522"/>
                  <a:pt x="2202458" y="5187690"/>
                  <a:pt x="2161714" y="5169302"/>
                </a:cubicBezTo>
                <a:cubicBezTo>
                  <a:pt x="2122714" y="5172302"/>
                  <a:pt x="2080450" y="5180350"/>
                  <a:pt x="2056089" y="5184144"/>
                </a:cubicBezTo>
                <a:cubicBezTo>
                  <a:pt x="2019828" y="5191108"/>
                  <a:pt x="1978839" y="5203797"/>
                  <a:pt x="1944153" y="5211084"/>
                </a:cubicBezTo>
                <a:cubicBezTo>
                  <a:pt x="1925867" y="5199079"/>
                  <a:pt x="1896027" y="5224183"/>
                  <a:pt x="1847968" y="5227868"/>
                </a:cubicBezTo>
                <a:cubicBezTo>
                  <a:pt x="1827977" y="5213971"/>
                  <a:pt x="1815570" y="5230544"/>
                  <a:pt x="1777083" y="5212267"/>
                </a:cubicBezTo>
                <a:cubicBezTo>
                  <a:pt x="1775439" y="5214216"/>
                  <a:pt x="1773397" y="5216035"/>
                  <a:pt x="1771025" y="5217668"/>
                </a:cubicBezTo>
                <a:cubicBezTo>
                  <a:pt x="1757251" y="5227146"/>
                  <a:pt x="1735528" y="5228402"/>
                  <a:pt x="1722509" y="5220470"/>
                </a:cubicBezTo>
                <a:cubicBezTo>
                  <a:pt x="1691779" y="5208440"/>
                  <a:pt x="1662321" y="5203305"/>
                  <a:pt x="1633941" y="5200774"/>
                </a:cubicBezTo>
                <a:lnTo>
                  <a:pt x="1586145" y="5210184"/>
                </a:lnTo>
                <a:cubicBezTo>
                  <a:pt x="1567948" y="5215416"/>
                  <a:pt x="1545900" y="5226363"/>
                  <a:pt x="1524748" y="5232173"/>
                </a:cubicBezTo>
                <a:cubicBezTo>
                  <a:pt x="1502586" y="5235395"/>
                  <a:pt x="1478013" y="5230993"/>
                  <a:pt x="1459242" y="5245044"/>
                </a:cubicBezTo>
                <a:cubicBezTo>
                  <a:pt x="1421474" y="5260197"/>
                  <a:pt x="1374524" y="5244220"/>
                  <a:pt x="1349457" y="5280705"/>
                </a:cubicBezTo>
                <a:cubicBezTo>
                  <a:pt x="1273276" y="5302389"/>
                  <a:pt x="1121512" y="5336260"/>
                  <a:pt x="1009212" y="5361227"/>
                </a:cubicBezTo>
                <a:cubicBezTo>
                  <a:pt x="939016" y="5373529"/>
                  <a:pt x="866895" y="5370149"/>
                  <a:pt x="808572" y="5377024"/>
                </a:cubicBezTo>
                <a:cubicBezTo>
                  <a:pt x="802823" y="5374184"/>
                  <a:pt x="726016" y="5397963"/>
                  <a:pt x="719549" y="5396991"/>
                </a:cubicBezTo>
                <a:lnTo>
                  <a:pt x="698795" y="5397657"/>
                </a:lnTo>
                <a:cubicBezTo>
                  <a:pt x="689833" y="5401894"/>
                  <a:pt x="683492" y="5402495"/>
                  <a:pt x="678327" y="5401487"/>
                </a:cubicBezTo>
                <a:lnTo>
                  <a:pt x="672784" y="5399085"/>
                </a:lnTo>
                <a:lnTo>
                  <a:pt x="658406" y="5400696"/>
                </a:lnTo>
                <a:lnTo>
                  <a:pt x="629185" y="5401132"/>
                </a:lnTo>
                <a:lnTo>
                  <a:pt x="624558" y="5403782"/>
                </a:lnTo>
                <a:lnTo>
                  <a:pt x="581798" y="5408438"/>
                </a:lnTo>
                <a:cubicBezTo>
                  <a:pt x="581736" y="5408865"/>
                  <a:pt x="581671" y="5409294"/>
                  <a:pt x="581608" y="5409722"/>
                </a:cubicBezTo>
                <a:cubicBezTo>
                  <a:pt x="580204" y="5412704"/>
                  <a:pt x="577331" y="5415106"/>
                  <a:pt x="571299" y="5416358"/>
                </a:cubicBezTo>
                <a:cubicBezTo>
                  <a:pt x="551623" y="5426267"/>
                  <a:pt x="484499" y="5459654"/>
                  <a:pt x="463549" y="5469173"/>
                </a:cubicBezTo>
                <a:cubicBezTo>
                  <a:pt x="453136" y="5470720"/>
                  <a:pt x="449731" y="5472678"/>
                  <a:pt x="445606" y="5473465"/>
                </a:cubicBezTo>
                <a:lnTo>
                  <a:pt x="438799" y="5473893"/>
                </a:lnTo>
                <a:cubicBezTo>
                  <a:pt x="417222" y="5482183"/>
                  <a:pt x="343312" y="5513407"/>
                  <a:pt x="316138" y="5523213"/>
                </a:cubicBezTo>
                <a:cubicBezTo>
                  <a:pt x="298481" y="5517132"/>
                  <a:pt x="286556" y="5522972"/>
                  <a:pt x="275748" y="5532726"/>
                </a:cubicBezTo>
                <a:cubicBezTo>
                  <a:pt x="238274" y="5535784"/>
                  <a:pt x="207076" y="5552679"/>
                  <a:pt x="166496" y="5563424"/>
                </a:cubicBezTo>
                <a:lnTo>
                  <a:pt x="0" y="5629888"/>
                </a:lnTo>
                <a:close/>
              </a:path>
            </a:pathLst>
          </a:custGeom>
        </p:spPr>
      </p:pic>
      <p:pic>
        <p:nvPicPr>
          <p:cNvPr id="5" name="Picture 4">
            <a:extLst>
              <a:ext uri="{FF2B5EF4-FFF2-40B4-BE49-F238E27FC236}">
                <a16:creationId xmlns:a16="http://schemas.microsoft.com/office/drawing/2014/main" id="{65978D7D-2612-9FB9-6D3E-B6DA97EC141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169718" y="6092587"/>
            <a:ext cx="1852286" cy="583857"/>
          </a:xfrm>
          <a:prstGeom prst="rect">
            <a:avLst/>
          </a:prstGeom>
        </p:spPr>
      </p:pic>
    </p:spTree>
    <p:extLst>
      <p:ext uri="{BB962C8B-B14F-4D97-AF65-F5344CB8AC3E}">
        <p14:creationId xmlns:p14="http://schemas.microsoft.com/office/powerpoint/2010/main" val="192378092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1AF75C-A477-49D9-5A33-43249AE2791C}"/>
              </a:ext>
            </a:extLst>
          </p:cNvPr>
          <p:cNvSpPr>
            <a:spLocks noGrp="1"/>
          </p:cNvSpPr>
          <p:nvPr>
            <p:ph type="ctrTitle"/>
          </p:nvPr>
        </p:nvSpPr>
        <p:spPr/>
        <p:txBody>
          <a:bodyPr>
            <a:noAutofit/>
          </a:bodyPr>
          <a:lstStyle/>
          <a:p>
            <a:r>
              <a:rPr lang="en-US" sz="2400" dirty="0"/>
              <a:t>SAGE recommendations on rabies</a:t>
            </a:r>
            <a:br>
              <a:rPr lang="en-US" sz="2400" dirty="0"/>
            </a:br>
            <a:br>
              <a:rPr lang="en-US" sz="2400" dirty="0"/>
            </a:br>
            <a:r>
              <a:rPr lang="en-US" sz="2400" dirty="0"/>
              <a:t>immunization from Pakistan’s perspective</a:t>
            </a:r>
            <a:endParaRPr lang="en-PK" sz="2400" dirty="0"/>
          </a:p>
        </p:txBody>
      </p:sp>
      <p:sp>
        <p:nvSpPr>
          <p:cNvPr id="3" name="Subtitle 2">
            <a:extLst>
              <a:ext uri="{FF2B5EF4-FFF2-40B4-BE49-F238E27FC236}">
                <a16:creationId xmlns:a16="http://schemas.microsoft.com/office/drawing/2014/main" id="{8E07AFAE-2C4A-2F8C-553C-00E2B80AF5A7}"/>
              </a:ext>
            </a:extLst>
          </p:cNvPr>
          <p:cNvSpPr>
            <a:spLocks noGrp="1"/>
          </p:cNvSpPr>
          <p:nvPr>
            <p:ph type="subTitle" idx="1"/>
          </p:nvPr>
        </p:nvSpPr>
        <p:spPr/>
        <p:txBody>
          <a:bodyPr>
            <a:normAutofit fontScale="92500" lnSpcReduction="10000"/>
          </a:bodyPr>
          <a:lstStyle/>
          <a:p>
            <a:r>
              <a:rPr lang="en-PK" dirty="0"/>
              <a:t>Naseem S</a:t>
            </a:r>
            <a:r>
              <a:rPr lang="en-US" dirty="0"/>
              <a:t>a</a:t>
            </a:r>
            <a:r>
              <a:rPr lang="en-PK" dirty="0"/>
              <a:t>lahuddin </a:t>
            </a:r>
          </a:p>
          <a:p>
            <a:r>
              <a:rPr lang="en-PK" dirty="0"/>
              <a:t>I</a:t>
            </a:r>
            <a:r>
              <a:rPr lang="en-US" dirty="0" err="1"/>
              <a:t>ndus</a:t>
            </a:r>
            <a:r>
              <a:rPr lang="en-US" dirty="0"/>
              <a:t> Hospital and Health Network, </a:t>
            </a:r>
            <a:r>
              <a:rPr lang="en-PK" dirty="0"/>
              <a:t>K</a:t>
            </a:r>
            <a:r>
              <a:rPr lang="en-US" dirty="0"/>
              <a:t>a</a:t>
            </a:r>
            <a:r>
              <a:rPr lang="en-PK" dirty="0"/>
              <a:t>rachi Pak</a:t>
            </a:r>
            <a:r>
              <a:rPr lang="en-US" dirty="0"/>
              <a:t>istan  </a:t>
            </a:r>
            <a:endParaRPr lang="en-PK" dirty="0"/>
          </a:p>
          <a:p>
            <a:r>
              <a:rPr lang="en-PK" dirty="0"/>
              <a:t> </a:t>
            </a:r>
          </a:p>
        </p:txBody>
      </p:sp>
      <p:pic>
        <p:nvPicPr>
          <p:cNvPr id="4" name="Picture 3">
            <a:extLst>
              <a:ext uri="{FF2B5EF4-FFF2-40B4-BE49-F238E27FC236}">
                <a16:creationId xmlns:a16="http://schemas.microsoft.com/office/drawing/2014/main" id="{6F3779ED-85D5-7832-45A4-B819D1D6950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959872" y="165371"/>
            <a:ext cx="796737" cy="796737"/>
          </a:xfrm>
          <a:prstGeom prst="rect">
            <a:avLst/>
          </a:prstGeom>
        </p:spPr>
      </p:pic>
    </p:spTree>
    <p:extLst>
      <p:ext uri="{BB962C8B-B14F-4D97-AF65-F5344CB8AC3E}">
        <p14:creationId xmlns:p14="http://schemas.microsoft.com/office/powerpoint/2010/main" val="39196185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71E64B4-150A-9984-82F9-8D31C5E16C50}"/>
              </a:ext>
            </a:extLst>
          </p:cNvPr>
          <p:cNvPicPr>
            <a:picLocks noChangeAspect="1"/>
          </p:cNvPicPr>
          <p:nvPr/>
        </p:nvPicPr>
        <p:blipFill>
          <a:blip r:embed="rId2"/>
          <a:stretch>
            <a:fillRect/>
          </a:stretch>
        </p:blipFill>
        <p:spPr>
          <a:xfrm>
            <a:off x="381000" y="2054012"/>
            <a:ext cx="4191000" cy="4321387"/>
          </a:xfrm>
          <a:prstGeom prst="rect">
            <a:avLst/>
          </a:prstGeom>
        </p:spPr>
      </p:pic>
      <p:pic>
        <p:nvPicPr>
          <p:cNvPr id="5" name="Picture 4">
            <a:extLst>
              <a:ext uri="{FF2B5EF4-FFF2-40B4-BE49-F238E27FC236}">
                <a16:creationId xmlns:a16="http://schemas.microsoft.com/office/drawing/2014/main" id="{891EA4F5-FF31-15BF-783A-FCE82BF2EEB9}"/>
              </a:ext>
            </a:extLst>
          </p:cNvPr>
          <p:cNvPicPr>
            <a:picLocks noChangeAspect="1"/>
          </p:cNvPicPr>
          <p:nvPr/>
        </p:nvPicPr>
        <p:blipFill>
          <a:blip r:embed="rId3"/>
          <a:stretch>
            <a:fillRect/>
          </a:stretch>
        </p:blipFill>
        <p:spPr>
          <a:xfrm>
            <a:off x="6920063" y="901210"/>
            <a:ext cx="4642018" cy="5055580"/>
          </a:xfrm>
          <a:prstGeom prst="rect">
            <a:avLst/>
          </a:prstGeom>
        </p:spPr>
      </p:pic>
      <p:sp>
        <p:nvSpPr>
          <p:cNvPr id="9" name="Title 8">
            <a:extLst>
              <a:ext uri="{FF2B5EF4-FFF2-40B4-BE49-F238E27FC236}">
                <a16:creationId xmlns:a16="http://schemas.microsoft.com/office/drawing/2014/main" id="{7CEDD50E-13FF-A893-0358-A3B5475273F8}"/>
              </a:ext>
            </a:extLst>
          </p:cNvPr>
          <p:cNvSpPr>
            <a:spLocks noGrp="1"/>
          </p:cNvSpPr>
          <p:nvPr>
            <p:ph type="title"/>
          </p:nvPr>
        </p:nvSpPr>
        <p:spPr>
          <a:xfrm>
            <a:off x="839788" y="457200"/>
            <a:ext cx="3021919" cy="979714"/>
          </a:xfrm>
        </p:spPr>
        <p:txBody>
          <a:bodyPr>
            <a:normAutofit/>
          </a:bodyPr>
          <a:lstStyle/>
          <a:p>
            <a:r>
              <a:rPr lang="en-US" sz="2400" dirty="0"/>
              <a:t>P</a:t>
            </a:r>
            <a:r>
              <a:rPr lang="en-PK" sz="2400" dirty="0"/>
              <a:t>opulation 240m</a:t>
            </a:r>
          </a:p>
        </p:txBody>
      </p:sp>
      <p:sp>
        <p:nvSpPr>
          <p:cNvPr id="10" name="Content Placeholder 9">
            <a:extLst>
              <a:ext uri="{FF2B5EF4-FFF2-40B4-BE49-F238E27FC236}">
                <a16:creationId xmlns:a16="http://schemas.microsoft.com/office/drawing/2014/main" id="{DC3340E7-7C36-7F64-FB60-BF7EB0505210}"/>
              </a:ext>
            </a:extLst>
          </p:cNvPr>
          <p:cNvSpPr>
            <a:spLocks noGrp="1"/>
          </p:cNvSpPr>
          <p:nvPr>
            <p:ph idx="1"/>
          </p:nvPr>
        </p:nvSpPr>
        <p:spPr>
          <a:xfrm>
            <a:off x="6920062" y="987426"/>
            <a:ext cx="4435325" cy="4523468"/>
          </a:xfrm>
        </p:spPr>
        <p:txBody>
          <a:bodyPr>
            <a:normAutofit/>
          </a:bodyPr>
          <a:lstStyle/>
          <a:p>
            <a:pPr marL="0" indent="0">
              <a:buNone/>
            </a:pPr>
            <a:r>
              <a:rPr lang="en-US" sz="2000" dirty="0">
                <a:solidFill>
                  <a:srgbClr val="202122"/>
                </a:solidFill>
                <a:effectLst/>
                <a:highlight>
                  <a:srgbClr val="FFFFFF"/>
                </a:highlight>
                <a:latin typeface="Arial" panose="020B0604020202020204" pitchFamily="34" charset="0"/>
                <a:ea typeface="Calibri" panose="020F0502020204030204" pitchFamily="34" charset="0"/>
                <a:cs typeface="Arial" panose="020B0604020202020204" pitchFamily="34" charset="0"/>
              </a:rPr>
              <a:t>7 divisions</a:t>
            </a:r>
            <a:r>
              <a:rPr lang="en-US" sz="2000" dirty="0">
                <a:solidFill>
                  <a:srgbClr val="202122"/>
                </a:solidFill>
                <a:highlight>
                  <a:srgbClr val="FFFFFF"/>
                </a:highlight>
                <a:latin typeface="Arial" panose="020B0604020202020204" pitchFamily="34" charset="0"/>
                <a:ea typeface="Calibri" panose="020F0502020204030204" pitchFamily="34" charset="0"/>
                <a:cs typeface="Arial" panose="020B0604020202020204" pitchFamily="34" charset="0"/>
              </a:rPr>
              <a:t>, p</a:t>
            </a:r>
            <a:r>
              <a:rPr lang="en-US" sz="2000" dirty="0">
                <a:solidFill>
                  <a:srgbClr val="202122"/>
                </a:solidFill>
                <a:effectLst/>
                <a:highlight>
                  <a:srgbClr val="FFFFFF"/>
                </a:highlight>
                <a:latin typeface="Arial" panose="020B0604020202020204" pitchFamily="34" charset="0"/>
                <a:ea typeface="Calibri" panose="020F0502020204030204" pitchFamily="34" charset="0"/>
                <a:cs typeface="Arial" panose="020B0604020202020204" pitchFamily="34" charset="0"/>
              </a:rPr>
              <a:t>opulation 55.69m</a:t>
            </a:r>
            <a:endParaRPr lang="en-PK" sz="2000" dirty="0"/>
          </a:p>
        </p:txBody>
      </p:sp>
      <p:sp>
        <p:nvSpPr>
          <p:cNvPr id="11" name="Text Placeholder 10">
            <a:extLst>
              <a:ext uri="{FF2B5EF4-FFF2-40B4-BE49-F238E27FC236}">
                <a16:creationId xmlns:a16="http://schemas.microsoft.com/office/drawing/2014/main" id="{822BABA2-1E13-4B2F-D8D3-BBF9762B08F2}"/>
              </a:ext>
            </a:extLst>
          </p:cNvPr>
          <p:cNvSpPr>
            <a:spLocks noGrp="1"/>
          </p:cNvSpPr>
          <p:nvPr>
            <p:ph type="body" sz="half" idx="2"/>
          </p:nvPr>
        </p:nvSpPr>
        <p:spPr/>
        <p:txBody>
          <a:bodyPr/>
          <a:lstStyle/>
          <a:p>
            <a:endParaRPr lang="en-PK" dirty="0"/>
          </a:p>
        </p:txBody>
      </p:sp>
      <p:sp>
        <p:nvSpPr>
          <p:cNvPr id="13" name="TextBox 12">
            <a:extLst>
              <a:ext uri="{FF2B5EF4-FFF2-40B4-BE49-F238E27FC236}">
                <a16:creationId xmlns:a16="http://schemas.microsoft.com/office/drawing/2014/main" id="{CF1CF337-810C-E2F8-9132-25C4F3100D6A}"/>
              </a:ext>
            </a:extLst>
          </p:cNvPr>
          <p:cNvSpPr txBox="1"/>
          <p:nvPr/>
        </p:nvSpPr>
        <p:spPr>
          <a:xfrm>
            <a:off x="6920061" y="4057485"/>
            <a:ext cx="1106969"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PK" sz="1800" b="0" i="0" u="none" strike="noStrike" kern="1200" cap="none" spc="0" normalizeH="0" baseline="0" noProof="0" dirty="0">
                <a:ln>
                  <a:noFill/>
                </a:ln>
                <a:solidFill>
                  <a:prstClr val="black"/>
                </a:solidFill>
                <a:effectLst/>
                <a:uLnTx/>
                <a:uFillTx/>
                <a:latin typeface="Franklin Gothic Book" panose="020B0503020102020204"/>
                <a:ea typeface="+mn-ea"/>
                <a:cs typeface="+mn-cs"/>
              </a:rPr>
              <a:t>Pop 20 m</a:t>
            </a:r>
          </a:p>
        </p:txBody>
      </p:sp>
    </p:spTree>
    <p:extLst>
      <p:ext uri="{BB962C8B-B14F-4D97-AF65-F5344CB8AC3E}">
        <p14:creationId xmlns:p14="http://schemas.microsoft.com/office/powerpoint/2010/main" val="229677704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4D13E70-998A-558F-613B-A0148A99DA80}"/>
              </a:ext>
            </a:extLst>
          </p:cNvPr>
          <p:cNvSpPr>
            <a:spLocks noGrp="1"/>
          </p:cNvSpPr>
          <p:nvPr>
            <p:ph type="title"/>
          </p:nvPr>
        </p:nvSpPr>
        <p:spPr/>
        <p:txBody>
          <a:bodyPr/>
          <a:lstStyle/>
          <a:p>
            <a:endParaRPr lang="en-PK" dirty="0"/>
          </a:p>
        </p:txBody>
      </p:sp>
      <p:sp>
        <p:nvSpPr>
          <p:cNvPr id="6" name="Content Placeholder 5">
            <a:extLst>
              <a:ext uri="{FF2B5EF4-FFF2-40B4-BE49-F238E27FC236}">
                <a16:creationId xmlns:a16="http://schemas.microsoft.com/office/drawing/2014/main" id="{6C985E8D-462E-2780-78DA-BC4616A94C87}"/>
              </a:ext>
            </a:extLst>
          </p:cNvPr>
          <p:cNvSpPr>
            <a:spLocks noGrp="1"/>
          </p:cNvSpPr>
          <p:nvPr>
            <p:ph idx="1"/>
          </p:nvPr>
        </p:nvSpPr>
        <p:spPr/>
        <p:txBody>
          <a:bodyPr/>
          <a:lstStyle/>
          <a:p>
            <a:endParaRPr lang="en-PK" dirty="0"/>
          </a:p>
          <a:p>
            <a:endParaRPr lang="en-PK" dirty="0"/>
          </a:p>
          <a:p>
            <a:r>
              <a:rPr lang="en-US" sz="2400" dirty="0"/>
              <a:t>Pakistan, </a:t>
            </a:r>
            <a:r>
              <a:rPr lang="en-US" sz="2400" b="1" dirty="0"/>
              <a:t>a low and middle-income country (LMIC)</a:t>
            </a:r>
            <a:r>
              <a:rPr lang="en-US" sz="2400" dirty="0"/>
              <a:t>, faces challenges in providing sustainable health care to its population due to inadequate financing, weak healthcare infrastructure, and insufficient human health resources</a:t>
            </a:r>
            <a:endParaRPr lang="en-PK" sz="2400" dirty="0"/>
          </a:p>
        </p:txBody>
      </p:sp>
    </p:spTree>
    <p:extLst>
      <p:ext uri="{BB962C8B-B14F-4D97-AF65-F5344CB8AC3E}">
        <p14:creationId xmlns:p14="http://schemas.microsoft.com/office/powerpoint/2010/main" val="252017819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F355FA-9449-2886-D25F-B395E9A59255}"/>
              </a:ext>
            </a:extLst>
          </p:cNvPr>
          <p:cNvSpPr>
            <a:spLocks noGrp="1"/>
          </p:cNvSpPr>
          <p:nvPr>
            <p:ph type="title"/>
          </p:nvPr>
        </p:nvSpPr>
        <p:spPr/>
        <p:txBody>
          <a:bodyPr>
            <a:normAutofit/>
          </a:bodyPr>
          <a:lstStyle/>
          <a:p>
            <a:endParaRPr lang="en-PK" sz="2400" dirty="0"/>
          </a:p>
        </p:txBody>
      </p:sp>
      <p:sp>
        <p:nvSpPr>
          <p:cNvPr id="3" name="Content Placeholder 2">
            <a:extLst>
              <a:ext uri="{FF2B5EF4-FFF2-40B4-BE49-F238E27FC236}">
                <a16:creationId xmlns:a16="http://schemas.microsoft.com/office/drawing/2014/main" id="{5F98578B-C2AE-4044-B5C2-4253B0D72710}"/>
              </a:ext>
            </a:extLst>
          </p:cNvPr>
          <p:cNvSpPr>
            <a:spLocks noGrp="1"/>
          </p:cNvSpPr>
          <p:nvPr>
            <p:ph sz="half" idx="1"/>
          </p:nvPr>
        </p:nvSpPr>
        <p:spPr/>
        <p:txBody>
          <a:bodyPr>
            <a:normAutofit fontScale="40000" lnSpcReduction="20000"/>
          </a:bodyPr>
          <a:lstStyle/>
          <a:p>
            <a:pPr marL="0" indent="0">
              <a:buNone/>
            </a:pPr>
            <a:endParaRPr lang="en-PK" dirty="0"/>
          </a:p>
          <a:p>
            <a:pPr marL="0" indent="0">
              <a:lnSpc>
                <a:spcPct val="170000"/>
              </a:lnSpc>
              <a:buNone/>
            </a:pPr>
            <a:r>
              <a:rPr lang="en-US" sz="3400" dirty="0">
                <a:effectLst/>
              </a:rPr>
              <a:t>There are more than 190,200 registered dogs in Pakistan, in addition to at least another 3 million stray dogs. According to a study, more than one million dog-bite cases are reported across Pakistan annually, and around 2,000- 5,000 people die of rabies every year.</a:t>
            </a:r>
          </a:p>
          <a:p>
            <a:pPr marL="0" indent="0">
              <a:lnSpc>
                <a:spcPct val="170000"/>
              </a:lnSpc>
              <a:buNone/>
            </a:pPr>
            <a:r>
              <a:rPr lang="en-US" sz="2300" dirty="0"/>
              <a:t>   </a:t>
            </a:r>
          </a:p>
          <a:p>
            <a:pPr marL="0" indent="0">
              <a:buNone/>
            </a:pPr>
            <a:endParaRPr lang="en-US" sz="1600" dirty="0"/>
          </a:p>
          <a:p>
            <a:pPr marL="0" indent="0">
              <a:buNone/>
            </a:pPr>
            <a:endParaRPr lang="en-US" sz="1600" dirty="0"/>
          </a:p>
          <a:p>
            <a:pPr marL="0" indent="0">
              <a:buNone/>
            </a:pPr>
            <a:endParaRPr lang="en-US" sz="1600" dirty="0"/>
          </a:p>
          <a:p>
            <a:pPr marL="0" indent="0">
              <a:buNone/>
            </a:pPr>
            <a:r>
              <a:rPr lang="en-US" sz="4000" i="1" dirty="0"/>
              <a:t>Dawn 13-May-2023</a:t>
            </a:r>
            <a:endParaRPr lang="en-PK" sz="4000" i="1" dirty="0"/>
          </a:p>
          <a:p>
            <a:pPr marL="0" indent="0">
              <a:buNone/>
            </a:pPr>
            <a:endParaRPr lang="en-PK" dirty="0"/>
          </a:p>
        </p:txBody>
      </p:sp>
      <p:pic>
        <p:nvPicPr>
          <p:cNvPr id="6" name="Content Placeholder 5">
            <a:extLst>
              <a:ext uri="{FF2B5EF4-FFF2-40B4-BE49-F238E27FC236}">
                <a16:creationId xmlns:a16="http://schemas.microsoft.com/office/drawing/2014/main" id="{602FCEAA-1CA0-04F6-C0B8-17A0D1DA512E}"/>
              </a:ext>
            </a:extLst>
          </p:cNvPr>
          <p:cNvPicPr>
            <a:picLocks noGrp="1" noChangeAspect="1"/>
          </p:cNvPicPr>
          <p:nvPr>
            <p:ph sz="half" idx="2"/>
          </p:nvPr>
        </p:nvPicPr>
        <p:blipFill>
          <a:blip r:embed="rId2"/>
          <a:stretch>
            <a:fillRect/>
          </a:stretch>
        </p:blipFill>
        <p:spPr>
          <a:xfrm>
            <a:off x="7827962" y="2850204"/>
            <a:ext cx="2964910" cy="1778946"/>
          </a:xfrm>
        </p:spPr>
      </p:pic>
      <p:sp>
        <p:nvSpPr>
          <p:cNvPr id="7" name="TextBox 6">
            <a:extLst>
              <a:ext uri="{FF2B5EF4-FFF2-40B4-BE49-F238E27FC236}">
                <a16:creationId xmlns:a16="http://schemas.microsoft.com/office/drawing/2014/main" id="{39415761-7021-DB58-4371-B69571A91396}"/>
              </a:ext>
            </a:extLst>
          </p:cNvPr>
          <p:cNvSpPr txBox="1"/>
          <p:nvPr/>
        </p:nvSpPr>
        <p:spPr>
          <a:xfrm>
            <a:off x="6392637" y="1825625"/>
            <a:ext cx="5025566"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PK" sz="1800" b="0" i="0" u="none" strike="noStrike" kern="1200" cap="none" spc="0" normalizeH="0" baseline="0" noProof="0" dirty="0">
                <a:ln>
                  <a:noFill/>
                </a:ln>
                <a:solidFill>
                  <a:prstClr val="black"/>
                </a:solidFill>
                <a:effectLst/>
                <a:uLnTx/>
                <a:uFillTx/>
                <a:latin typeface="Franklin Gothic Book" panose="020B0503020102020204"/>
                <a:ea typeface="+mn-ea"/>
                <a:cs typeface="+mn-cs"/>
              </a:rPr>
              <a:t>Sindh Govt. reported 200,000 bites Jan-Oct 2023</a:t>
            </a:r>
          </a:p>
        </p:txBody>
      </p:sp>
    </p:spTree>
    <p:extLst>
      <p:ext uri="{BB962C8B-B14F-4D97-AF65-F5344CB8AC3E}">
        <p14:creationId xmlns:p14="http://schemas.microsoft.com/office/powerpoint/2010/main" val="291551632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6"/>
            <a:ext cx="10515600" cy="1089206"/>
          </a:xfrm>
        </p:spPr>
        <p:txBody>
          <a:bodyPr>
            <a:normAutofit/>
          </a:bodyPr>
          <a:lstStyle/>
          <a:p>
            <a:r>
              <a:rPr lang="en-US" sz="2400" b="1" dirty="0">
                <a:latin typeface="Century Gothic" panose="020B0502020202020204" pitchFamily="34" charset="0"/>
              </a:rPr>
              <a:t>ANIMAL BITE VICTIMS AT THE INDUS HOSPITAL Karachi </a:t>
            </a:r>
          </a:p>
        </p:txBody>
      </p:sp>
      <p:graphicFrame>
        <p:nvGraphicFramePr>
          <p:cNvPr id="5" name="Content Placeholder 7"/>
          <p:cNvGraphicFramePr>
            <a:graphicFrameLocks noGrp="1"/>
          </p:cNvGraphicFramePr>
          <p:nvPr>
            <p:ph sz="half" idx="1"/>
          </p:nvPr>
        </p:nvGraphicFramePr>
        <p:xfrm>
          <a:off x="373099" y="1454150"/>
          <a:ext cx="8181340" cy="4723130"/>
        </p:xfrm>
        <a:graphic>
          <a:graphicData uri="http://schemas.openxmlformats.org/drawingml/2006/chart">
            <c:chart xmlns:c="http://schemas.openxmlformats.org/drawingml/2006/chart" xmlns:r="http://schemas.openxmlformats.org/officeDocument/2006/relationships" r:id="rId2"/>
          </a:graphicData>
        </a:graphic>
      </p:graphicFrame>
      <p:sp>
        <p:nvSpPr>
          <p:cNvPr id="7" name="Content Placeholder 6"/>
          <p:cNvSpPr>
            <a:spLocks noGrp="1"/>
          </p:cNvSpPr>
          <p:nvPr>
            <p:ph sz="half" idx="2"/>
          </p:nvPr>
        </p:nvSpPr>
        <p:spPr>
          <a:xfrm>
            <a:off x="8573193" y="1429385"/>
            <a:ext cx="3162267" cy="4351338"/>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p>
        </p:txBody>
      </p:sp>
      <p:sp>
        <p:nvSpPr>
          <p:cNvPr id="8" name="TextBox 7"/>
          <p:cNvSpPr txBox="1"/>
          <p:nvPr/>
        </p:nvSpPr>
        <p:spPr>
          <a:xfrm>
            <a:off x="8811491" y="1529544"/>
            <a:ext cx="1331986" cy="1015663"/>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57257D"/>
                </a:solidFill>
                <a:effectLst/>
                <a:uLnTx/>
                <a:uFillTx/>
                <a:latin typeface="Century Gothic" panose="020B0502020202020204" pitchFamily="34" charset="0"/>
                <a:ea typeface="+mn-ea"/>
                <a:cs typeface="+mn-cs"/>
              </a:rPr>
              <a:t>50%</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0000"/>
                </a:solidFill>
                <a:effectLst/>
                <a:uLnTx/>
                <a:uFillTx/>
                <a:latin typeface="Century Gothic" panose="020B0502020202020204" pitchFamily="34" charset="0"/>
                <a:ea typeface="+mn-ea"/>
                <a:cs typeface="+mn-cs"/>
              </a:rPr>
              <a:t>Category II</a:t>
            </a:r>
            <a:r>
              <a:rPr kumimoji="0" lang="en-US" sz="16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Wounds</a:t>
            </a:r>
          </a:p>
        </p:txBody>
      </p:sp>
      <p:sp>
        <p:nvSpPr>
          <p:cNvPr id="9" name="TextBox 8"/>
          <p:cNvSpPr txBox="1"/>
          <p:nvPr/>
        </p:nvSpPr>
        <p:spPr>
          <a:xfrm>
            <a:off x="10224459" y="1529728"/>
            <a:ext cx="1390124" cy="1015663"/>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57257D"/>
                </a:solidFill>
                <a:effectLst/>
                <a:uLnTx/>
                <a:uFillTx/>
                <a:latin typeface="Century Gothic" panose="020B0502020202020204" pitchFamily="34" charset="0"/>
                <a:ea typeface="+mn-ea"/>
                <a:cs typeface="+mn-cs"/>
              </a:rPr>
              <a:t>48%</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0000"/>
                </a:solidFill>
                <a:effectLst/>
                <a:uLnTx/>
                <a:uFillTx/>
                <a:latin typeface="Century Gothic" panose="020B0502020202020204" pitchFamily="34" charset="0"/>
                <a:ea typeface="+mn-ea"/>
                <a:cs typeface="+mn-cs"/>
              </a:rPr>
              <a:t>Category III</a:t>
            </a:r>
            <a:r>
              <a:rPr kumimoji="0" lang="en-US" sz="16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lumMod val="65000"/>
                    <a:lumOff val="35000"/>
                  </a:prstClr>
                </a:solidFill>
                <a:effectLst/>
                <a:uLnTx/>
                <a:uFillTx/>
                <a:latin typeface="Century Gothic" panose="020B0502020202020204" pitchFamily="34" charset="0"/>
                <a:ea typeface="+mn-ea"/>
                <a:cs typeface="+mn-cs"/>
              </a:rPr>
              <a:t>Wounds</a:t>
            </a:r>
          </a:p>
        </p:txBody>
      </p:sp>
      <p:graphicFrame>
        <p:nvGraphicFramePr>
          <p:cNvPr id="10" name="Chart 9"/>
          <p:cNvGraphicFramePr/>
          <p:nvPr/>
        </p:nvGraphicFramePr>
        <p:xfrm>
          <a:off x="8612316" y="2589206"/>
          <a:ext cx="3340616" cy="3278771"/>
        </p:xfrm>
        <a:graphic>
          <a:graphicData uri="http://schemas.openxmlformats.org/drawingml/2006/chart">
            <c:chart xmlns:c="http://schemas.openxmlformats.org/drawingml/2006/chart" xmlns:r="http://schemas.openxmlformats.org/officeDocument/2006/relationships" r:id="rId3"/>
          </a:graphicData>
        </a:graphic>
      </p:graphicFrame>
      <p:cxnSp>
        <p:nvCxnSpPr>
          <p:cNvPr id="11" name="Straight Connector 10"/>
          <p:cNvCxnSpPr/>
          <p:nvPr/>
        </p:nvCxnSpPr>
        <p:spPr>
          <a:xfrm>
            <a:off x="10154354" y="1507396"/>
            <a:ext cx="0" cy="1015663"/>
          </a:xfrm>
          <a:prstGeom prst="line">
            <a:avLst/>
          </a:prstGeom>
          <a:ln w="28575">
            <a:solidFill>
              <a:srgbClr val="57257D"/>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1431639" y="2273066"/>
            <a:ext cx="4362573" cy="706755"/>
          </a:xfrm>
          <a:prstGeom prst="rect">
            <a:avLst/>
          </a:prstGeom>
          <a:solidFill>
            <a:schemeClr val="bg1"/>
          </a:solid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Franklin Gothic Book" panose="020B0503020102020204"/>
                <a:ea typeface="+mn-ea"/>
                <a:cs typeface="+mn-cs"/>
              </a:rPr>
              <a:t>From 2009 to 2023 over 75,000 patients treated by IHHN</a:t>
            </a:r>
          </a:p>
        </p:txBody>
      </p:sp>
      <p:pic>
        <p:nvPicPr>
          <p:cNvPr id="3" name="Picture 2">
            <a:extLst>
              <a:ext uri="{FF2B5EF4-FFF2-40B4-BE49-F238E27FC236}">
                <a16:creationId xmlns:a16="http://schemas.microsoft.com/office/drawing/2014/main" id="{238087D3-13D6-AB0B-9230-B32C5074021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439528" y="66346"/>
            <a:ext cx="923677" cy="923677"/>
          </a:xfrm>
          <a:prstGeom prst="rect">
            <a:avLst/>
          </a:prstGeom>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4">
            <a:extLst>
              <a:ext uri="{FF2B5EF4-FFF2-40B4-BE49-F238E27FC236}">
                <a16:creationId xmlns:a16="http://schemas.microsoft.com/office/drawing/2014/main" id="{DC7504B7-7150-4AF7-BAF7-E870A8279352}"/>
              </a:ext>
            </a:extLst>
          </p:cNvPr>
          <p:cNvSpPr>
            <a:spLocks noGrp="1"/>
          </p:cNvSpPr>
          <p:nvPr>
            <p:ph type="title"/>
          </p:nvPr>
        </p:nvSpPr>
        <p:spPr>
          <a:xfrm>
            <a:off x="258058" y="253430"/>
            <a:ext cx="10487605" cy="990600"/>
          </a:xfrm>
        </p:spPr>
        <p:txBody>
          <a:bodyPr>
            <a:normAutofit/>
          </a:bodyPr>
          <a:lstStyle/>
          <a:p>
            <a:r>
              <a:rPr lang="en-GB" sz="4000" dirty="0"/>
              <a:t>Rabies is a neglected, vaccine-preventable disease</a:t>
            </a:r>
            <a:br>
              <a:rPr lang="en-GB" sz="2800" dirty="0"/>
            </a:br>
            <a:r>
              <a:rPr lang="en-GB" sz="2000" dirty="0"/>
              <a:t>An indicator for impact on inequity and One Health </a:t>
            </a:r>
          </a:p>
        </p:txBody>
      </p:sp>
      <p:grpSp>
        <p:nvGrpSpPr>
          <p:cNvPr id="2" name="Group 1">
            <a:extLst>
              <a:ext uri="{FF2B5EF4-FFF2-40B4-BE49-F238E27FC236}">
                <a16:creationId xmlns:a16="http://schemas.microsoft.com/office/drawing/2014/main" id="{4946061C-120E-BAE5-FE18-1C31F102A619}"/>
              </a:ext>
            </a:extLst>
          </p:cNvPr>
          <p:cNvGrpSpPr/>
          <p:nvPr/>
        </p:nvGrpSpPr>
        <p:grpSpPr>
          <a:xfrm>
            <a:off x="9471983" y="1267329"/>
            <a:ext cx="2216046" cy="4931455"/>
            <a:chOff x="8469270" y="1387719"/>
            <a:chExt cx="2216046" cy="4931455"/>
          </a:xfrm>
        </p:grpSpPr>
        <p:cxnSp>
          <p:nvCxnSpPr>
            <p:cNvPr id="19" name="Straight Connector 18">
              <a:extLst>
                <a:ext uri="{FF2B5EF4-FFF2-40B4-BE49-F238E27FC236}">
                  <a16:creationId xmlns:a16="http://schemas.microsoft.com/office/drawing/2014/main" id="{7DB99D97-99BD-4D1E-BF5F-D9B1ADA147C1}"/>
                </a:ext>
              </a:extLst>
            </p:cNvPr>
            <p:cNvCxnSpPr/>
            <p:nvPr/>
          </p:nvCxnSpPr>
          <p:spPr>
            <a:xfrm>
              <a:off x="8469270" y="1387719"/>
              <a:ext cx="0" cy="4931455"/>
            </a:xfrm>
            <a:prstGeom prst="line">
              <a:avLst/>
            </a:prstGeom>
            <a:ln w="25400">
              <a:solidFill>
                <a:schemeClr val="accent3">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F2F17A2B-BB85-4148-9810-4030D54A41DA}"/>
                </a:ext>
              </a:extLst>
            </p:cNvPr>
            <p:cNvSpPr/>
            <p:nvPr/>
          </p:nvSpPr>
          <p:spPr>
            <a:xfrm>
              <a:off x="8635729" y="1558473"/>
              <a:ext cx="2049586" cy="2158995"/>
            </a:xfrm>
            <a:prstGeom prst="rect">
              <a:avLst/>
            </a:prstGeom>
            <a:solidFill>
              <a:schemeClr val="accent5">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a:solidFill>
                    <a:prstClr val="white"/>
                  </a:solidFill>
                  <a:latin typeface="Arial"/>
                </a:rPr>
                <a:t>Our Goal:</a:t>
              </a:r>
            </a:p>
            <a:p>
              <a:pPr algn="ctr"/>
              <a:r>
                <a:rPr lang="en-GB" sz="2400" b="1" i="1">
                  <a:solidFill>
                    <a:prstClr val="white"/>
                  </a:solidFill>
                  <a:latin typeface="Arial"/>
                </a:rPr>
                <a:t>Zero by 30</a:t>
              </a:r>
            </a:p>
          </p:txBody>
        </p:sp>
        <p:pic>
          <p:nvPicPr>
            <p:cNvPr id="21" name="Picture 4">
              <a:extLst>
                <a:ext uri="{FF2B5EF4-FFF2-40B4-BE49-F238E27FC236}">
                  <a16:creationId xmlns:a16="http://schemas.microsoft.com/office/drawing/2014/main" id="{30FC856E-332C-4F32-B506-1E7F355172E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635730" y="4200450"/>
              <a:ext cx="2049586" cy="204958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2" name="Striped Right Arrow 2">
              <a:extLst>
                <a:ext uri="{FF2B5EF4-FFF2-40B4-BE49-F238E27FC236}">
                  <a16:creationId xmlns:a16="http://schemas.microsoft.com/office/drawing/2014/main" id="{986CDFC2-53AD-4CB7-98CE-B8F9DD9C740B}"/>
                </a:ext>
              </a:extLst>
            </p:cNvPr>
            <p:cNvSpPr/>
            <p:nvPr/>
          </p:nvSpPr>
          <p:spPr>
            <a:xfrm rot="5400000">
              <a:off x="9185376" y="3532203"/>
              <a:ext cx="950297" cy="564229"/>
            </a:xfrm>
            <a:prstGeom prst="stripedRightArrow">
              <a:avLst/>
            </a:prstGeom>
            <a:ln w="3175"/>
          </p:spPr>
          <p:style>
            <a:lnRef idx="2">
              <a:schemeClr val="accent1"/>
            </a:lnRef>
            <a:fillRef idx="1">
              <a:schemeClr val="lt1"/>
            </a:fillRef>
            <a:effectRef idx="0">
              <a:schemeClr val="accent1"/>
            </a:effectRef>
            <a:fontRef idx="minor">
              <a:schemeClr val="dk1"/>
            </a:fontRef>
          </p:style>
          <p:txBody>
            <a:bodyPr rtlCol="0" anchor="ctr"/>
            <a:lstStyle/>
            <a:p>
              <a:pPr algn="ctr"/>
              <a:endParaRPr lang="en-GB">
                <a:solidFill>
                  <a:prstClr val="black"/>
                </a:solidFill>
                <a:latin typeface="Arial"/>
              </a:endParaRPr>
            </a:p>
          </p:txBody>
        </p:sp>
      </p:grpSp>
      <p:sp>
        <p:nvSpPr>
          <p:cNvPr id="23" name="Content Placeholder 15">
            <a:extLst>
              <a:ext uri="{FF2B5EF4-FFF2-40B4-BE49-F238E27FC236}">
                <a16:creationId xmlns:a16="http://schemas.microsoft.com/office/drawing/2014/main" id="{E2B02A45-D449-46F8-88F4-C0009F6A16B2}"/>
              </a:ext>
            </a:extLst>
          </p:cNvPr>
          <p:cNvSpPr txBox="1">
            <a:spLocks/>
          </p:cNvSpPr>
          <p:nvPr/>
        </p:nvSpPr>
        <p:spPr>
          <a:xfrm>
            <a:off x="1939313" y="5423820"/>
            <a:ext cx="7532668" cy="1180750"/>
          </a:xfrm>
          <a:prstGeom prst="rect">
            <a:avLst/>
          </a:prstGeom>
          <a:ln w="19050">
            <a:solidFill>
              <a:schemeClr val="bg1"/>
            </a:solidFill>
          </a:ln>
        </p:spPr>
        <p:txBody>
          <a:bodyPr>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Bef>
                <a:spcPts val="0"/>
              </a:spcBef>
            </a:pPr>
            <a:r>
              <a:rPr lang="en-US" sz="2000" dirty="0">
                <a:latin typeface="+mj-lt"/>
                <a:ea typeface="+mj-ea"/>
                <a:cs typeface="+mj-cs"/>
              </a:rPr>
              <a:t>Rabies burden is highest in Asia (63%) and Africa (36%). </a:t>
            </a:r>
          </a:p>
          <a:p>
            <a:pPr>
              <a:spcBef>
                <a:spcPts val="0"/>
              </a:spcBef>
            </a:pPr>
            <a:r>
              <a:rPr lang="en-US" sz="2000" dirty="0">
                <a:latin typeface="+mj-lt"/>
                <a:ea typeface="+mj-ea"/>
                <a:cs typeface="+mj-cs"/>
              </a:rPr>
              <a:t>Children are often victims.</a:t>
            </a:r>
          </a:p>
          <a:p>
            <a:pPr>
              <a:spcBef>
                <a:spcPts val="0"/>
              </a:spcBef>
            </a:pPr>
            <a:r>
              <a:rPr lang="en-US" sz="2000" dirty="0">
                <a:latin typeface="+mj-lt"/>
                <a:ea typeface="+mj-ea"/>
                <a:cs typeface="+mj-cs"/>
              </a:rPr>
              <a:t>Surveillance is often inadequate, capturing insufficient data.</a:t>
            </a:r>
          </a:p>
          <a:p>
            <a:pPr>
              <a:spcBef>
                <a:spcPts val="0"/>
              </a:spcBef>
            </a:pPr>
            <a:r>
              <a:rPr lang="en-US" sz="2000" dirty="0">
                <a:latin typeface="+mj-lt"/>
                <a:ea typeface="+mj-ea"/>
                <a:cs typeface="+mj-cs"/>
              </a:rPr>
              <a:t>Human rabies deaths are often underreported, particularly in Africa. </a:t>
            </a:r>
          </a:p>
        </p:txBody>
      </p:sp>
      <p:pic>
        <p:nvPicPr>
          <p:cNvPr id="24" name="Picture 23">
            <a:extLst>
              <a:ext uri="{FF2B5EF4-FFF2-40B4-BE49-F238E27FC236}">
                <a16:creationId xmlns:a16="http://schemas.microsoft.com/office/drawing/2014/main" id="{BF5473FF-1362-411C-8591-B9DA857C356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4684" y="6222083"/>
            <a:ext cx="1588170" cy="500605"/>
          </a:xfrm>
          <a:prstGeom prst="rect">
            <a:avLst/>
          </a:prstGeom>
        </p:spPr>
      </p:pic>
      <p:pic>
        <p:nvPicPr>
          <p:cNvPr id="5" name="Picture 4" descr="A map of the world&#10;&#10;Description automatically generated">
            <a:extLst>
              <a:ext uri="{FF2B5EF4-FFF2-40B4-BE49-F238E27FC236}">
                <a16:creationId xmlns:a16="http://schemas.microsoft.com/office/drawing/2014/main" id="{9A8E3DCF-27F5-C9F6-3EFD-8CD9561A95E4}"/>
              </a:ext>
            </a:extLst>
          </p:cNvPr>
          <p:cNvPicPr>
            <a:picLocks noChangeAspect="1"/>
          </p:cNvPicPr>
          <p:nvPr/>
        </p:nvPicPr>
        <p:blipFill rotWithShape="1">
          <a:blip r:embed="rId5">
            <a:extLst>
              <a:ext uri="{28A0092B-C50C-407E-A947-70E740481C1C}">
                <a14:useLocalDpi xmlns:a14="http://schemas.microsoft.com/office/drawing/2010/main" val="0"/>
              </a:ext>
            </a:extLst>
          </a:blip>
          <a:srcRect b="11756"/>
          <a:stretch/>
        </p:blipFill>
        <p:spPr>
          <a:xfrm>
            <a:off x="1853305" y="1169702"/>
            <a:ext cx="6876001" cy="4316674"/>
          </a:xfrm>
          <a:prstGeom prst="rect">
            <a:avLst/>
          </a:prstGeom>
        </p:spPr>
      </p:pic>
    </p:spTree>
    <p:extLst>
      <p:ext uri="{BB962C8B-B14F-4D97-AF65-F5344CB8AC3E}">
        <p14:creationId xmlns:p14="http://schemas.microsoft.com/office/powerpoint/2010/main" val="267043070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1" y="6537968"/>
            <a:ext cx="12192001" cy="45719"/>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SG" sz="1800"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sp>
        <p:nvSpPr>
          <p:cNvPr id="7" name="Rectangle 6"/>
          <p:cNvSpPr/>
          <p:nvPr/>
        </p:nvSpPr>
        <p:spPr>
          <a:xfrm>
            <a:off x="0" y="6642468"/>
            <a:ext cx="12192001" cy="45719"/>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SG" sz="1800"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grpSp>
        <p:nvGrpSpPr>
          <p:cNvPr id="9" name="Group 8"/>
          <p:cNvGrpSpPr/>
          <p:nvPr/>
        </p:nvGrpSpPr>
        <p:grpSpPr>
          <a:xfrm>
            <a:off x="11068594" y="6087290"/>
            <a:ext cx="827315" cy="770709"/>
            <a:chOff x="11068594" y="6087290"/>
            <a:chExt cx="827315" cy="770709"/>
          </a:xfrm>
        </p:grpSpPr>
        <p:sp>
          <p:nvSpPr>
            <p:cNvPr id="8" name="Rectangle 7"/>
            <p:cNvSpPr/>
            <p:nvPr/>
          </p:nvSpPr>
          <p:spPr>
            <a:xfrm>
              <a:off x="11068594" y="6087290"/>
              <a:ext cx="827315" cy="7707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SG" sz="1800"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155701" y="6165667"/>
              <a:ext cx="653101" cy="566059"/>
            </a:xfrm>
            <a:prstGeom prst="rect">
              <a:avLst/>
            </a:prstGeom>
          </p:spPr>
        </p:pic>
      </p:grpSp>
      <p:sp>
        <p:nvSpPr>
          <p:cNvPr id="10" name="TextBox 9"/>
          <p:cNvSpPr txBox="1"/>
          <p:nvPr/>
        </p:nvSpPr>
        <p:spPr>
          <a:xfrm>
            <a:off x="438150" y="390525"/>
            <a:ext cx="5011693" cy="400110"/>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Franklin Gothic Book" panose="020B0503020102020204"/>
                <a:ea typeface="+mn-ea"/>
                <a:cs typeface="+mn-cs"/>
              </a:rPr>
              <a:t>RABIES DEATHS AT IHHN, JPMC </a:t>
            </a:r>
            <a:r>
              <a:rPr kumimoji="0" lang="en-US" sz="2000" b="0" i="0" u="none" strike="noStrike" kern="1200" cap="none" spc="0" normalizeH="0" baseline="0" noProof="0" dirty="0">
                <a:ln>
                  <a:noFill/>
                </a:ln>
                <a:solidFill>
                  <a:prstClr val="black"/>
                </a:solidFill>
                <a:effectLst/>
                <a:uLnTx/>
                <a:uFillTx/>
                <a:latin typeface="Franklin Gothic Book" panose="020B0503020102020204"/>
                <a:ea typeface="+mn-ea"/>
                <a:cs typeface="+mn-cs"/>
              </a:rPr>
              <a:t>2009-2012</a:t>
            </a:r>
            <a:endParaRPr kumimoji="0" lang="en-SG" sz="2000" b="1"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pic>
        <p:nvPicPr>
          <p:cNvPr id="22" name="Picture 2">
            <a:extLst>
              <a:ext uri="{FF2B5EF4-FFF2-40B4-BE49-F238E27FC236}">
                <a16:creationId xmlns:a16="http://schemas.microsoft.com/office/drawing/2014/main" id="{1C4BB314-A4F8-4E68-9A84-2BB80C7D5829}"/>
              </a:ext>
            </a:extLst>
          </p:cNvPr>
          <p:cNvPicPr>
            <a:picLocks noChangeAspect="1" noChangeArrowheads="1"/>
          </p:cNvPicPr>
          <p:nvPr/>
        </p:nvPicPr>
        <p:blipFill rotWithShape="1">
          <a:blip r:embed="rId3" cstate="print"/>
          <a:srcRect t="7839"/>
          <a:stretch/>
        </p:blipFill>
        <p:spPr bwMode="auto">
          <a:xfrm>
            <a:off x="516101" y="1593823"/>
            <a:ext cx="9447184" cy="4629805"/>
          </a:xfrm>
          <a:prstGeom prst="rect">
            <a:avLst/>
          </a:prstGeom>
          <a:noFill/>
          <a:ln w="9525">
            <a:noFill/>
            <a:miter lim="800000"/>
            <a:headEnd/>
            <a:tailEnd/>
          </a:ln>
        </p:spPr>
      </p:pic>
      <p:sp>
        <p:nvSpPr>
          <p:cNvPr id="12" name="TextBox 11">
            <a:extLst>
              <a:ext uri="{FF2B5EF4-FFF2-40B4-BE49-F238E27FC236}">
                <a16:creationId xmlns:a16="http://schemas.microsoft.com/office/drawing/2014/main" id="{458729E9-A391-B540-9008-51510642D213}"/>
              </a:ext>
            </a:extLst>
          </p:cNvPr>
          <p:cNvSpPr txBox="1"/>
          <p:nvPr/>
        </p:nvSpPr>
        <p:spPr>
          <a:xfrm>
            <a:off x="8178058" y="270384"/>
            <a:ext cx="1636657" cy="1231106"/>
          </a:xfrm>
          <a:prstGeom prst="rect">
            <a:avLst/>
          </a:prstGeom>
          <a:solidFill>
            <a:srgbClr val="0070C0"/>
          </a:solidFill>
          <a:ln>
            <a:noFill/>
          </a:ln>
        </p:spPr>
        <p:style>
          <a:lnRef idx="2">
            <a:schemeClr val="accent2"/>
          </a:lnRef>
          <a:fillRef idx="1">
            <a:schemeClr val="lt1"/>
          </a:fillRef>
          <a:effectRef idx="0">
            <a:schemeClr val="accent2"/>
          </a:effectRef>
          <a:fontRef idx="minor">
            <a:schemeClr val="dk1"/>
          </a:fontRef>
        </p:style>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1" i="0" u="sng" strike="noStrike" kern="1200" cap="none" spc="0" normalizeH="0" baseline="0" noProof="0" dirty="0">
                <a:ln>
                  <a:noFill/>
                </a:ln>
                <a:solidFill>
                  <a:prstClr val="white"/>
                </a:solidFill>
                <a:effectLst/>
                <a:uLnTx/>
                <a:uFillTx/>
                <a:latin typeface="Franklin Gothic Book" panose="020B0503020102020204"/>
                <a:ea typeface="+mn-ea"/>
                <a:cs typeface="+mn-cs"/>
              </a:rPr>
              <a:t>Totals</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Franklin Gothic Book" panose="020B0503020102020204"/>
                <a:ea typeface="+mn-ea"/>
                <a:cs typeface="+mn-cs"/>
              </a:rPr>
              <a:t>JPMC </a:t>
            </a:r>
            <a:r>
              <a:rPr kumimoji="0" lang="en-US" sz="1800" b="0" i="0" u="none" strike="noStrike" kern="1200" cap="none" spc="0" normalizeH="0" baseline="0" noProof="0" dirty="0">
                <a:ln>
                  <a:noFill/>
                </a:ln>
                <a:solidFill>
                  <a:prstClr val="white"/>
                </a:solidFill>
                <a:effectLst/>
                <a:uLnTx/>
                <a:uFillTx/>
                <a:latin typeface="Franklin Gothic Book" panose="020B0503020102020204"/>
                <a:ea typeface="+mn-ea"/>
                <a:cs typeface="+mn-cs"/>
              </a:rPr>
              <a:t>88</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Franklin Gothic Book" panose="020B0503020102020204"/>
                <a:ea typeface="+mn-ea"/>
                <a:cs typeface="+mn-cs"/>
              </a:rPr>
              <a:t>TIH </a:t>
            </a:r>
            <a:r>
              <a:rPr kumimoji="0" lang="en-US" sz="1800" b="0" i="0" u="none" strike="noStrike" kern="1200" cap="none" spc="0" normalizeH="0" baseline="0" noProof="0" dirty="0">
                <a:ln>
                  <a:noFill/>
                </a:ln>
                <a:solidFill>
                  <a:prstClr val="white"/>
                </a:solidFill>
                <a:effectLst/>
                <a:uLnTx/>
                <a:uFillTx/>
                <a:latin typeface="Franklin Gothic Book" panose="020B0503020102020204"/>
                <a:ea typeface="+mn-ea"/>
                <a:cs typeface="+mn-cs"/>
              </a:rPr>
              <a:t>60</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Franklin Gothic Book" panose="020B0503020102020204"/>
                <a:ea typeface="+mn-ea"/>
                <a:cs typeface="+mn-cs"/>
              </a:rPr>
              <a:t>Total </a:t>
            </a:r>
            <a:r>
              <a:rPr kumimoji="0" lang="en-US" sz="1800" b="0" i="0" u="none" strike="noStrike" kern="1200" cap="none" spc="0" normalizeH="0" baseline="0" noProof="0" dirty="0">
                <a:ln>
                  <a:noFill/>
                </a:ln>
                <a:solidFill>
                  <a:prstClr val="white"/>
                </a:solidFill>
                <a:effectLst/>
                <a:uLnTx/>
                <a:uFillTx/>
                <a:latin typeface="Franklin Gothic Book" panose="020B0503020102020204"/>
                <a:ea typeface="+mn-ea"/>
                <a:cs typeface="+mn-cs"/>
              </a:rPr>
              <a:t>148</a:t>
            </a:r>
          </a:p>
        </p:txBody>
      </p:sp>
      <p:pic>
        <p:nvPicPr>
          <p:cNvPr id="3" name="Picture 2">
            <a:extLst>
              <a:ext uri="{FF2B5EF4-FFF2-40B4-BE49-F238E27FC236}">
                <a16:creationId xmlns:a16="http://schemas.microsoft.com/office/drawing/2014/main" id="{FE554448-2E23-8F6F-FD14-FFF664EC9A2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868474" y="165371"/>
            <a:ext cx="888136" cy="888136"/>
          </a:xfrm>
          <a:prstGeom prst="rect">
            <a:avLst/>
          </a:prstGeom>
        </p:spPr>
      </p:pic>
    </p:spTree>
    <p:extLst>
      <p:ext uri="{BB962C8B-B14F-4D97-AF65-F5344CB8AC3E}">
        <p14:creationId xmlns:p14="http://schemas.microsoft.com/office/powerpoint/2010/main" val="423772016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896840" y="241013"/>
            <a:ext cx="10027321" cy="52322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Challenges for PEP in LMICs</a:t>
            </a:r>
          </a:p>
        </p:txBody>
      </p:sp>
      <p:cxnSp>
        <p:nvCxnSpPr>
          <p:cNvPr id="16" name="Straight Connector 15"/>
          <p:cNvCxnSpPr/>
          <p:nvPr/>
        </p:nvCxnSpPr>
        <p:spPr>
          <a:xfrm>
            <a:off x="389554" y="828968"/>
            <a:ext cx="11412893" cy="0"/>
          </a:xfrm>
          <a:prstGeom prst="line">
            <a:avLst/>
          </a:prstGeom>
          <a:ln w="1905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grpSp>
        <p:nvGrpSpPr>
          <p:cNvPr id="7" name="Group 6"/>
          <p:cNvGrpSpPr/>
          <p:nvPr/>
        </p:nvGrpSpPr>
        <p:grpSpPr>
          <a:xfrm>
            <a:off x="3238777" y="1778868"/>
            <a:ext cx="1041488" cy="1041488"/>
            <a:chOff x="5510489" y="1273028"/>
            <a:chExt cx="1041488" cy="1041488"/>
          </a:xfrm>
        </p:grpSpPr>
        <p:sp>
          <p:nvSpPr>
            <p:cNvPr id="26" name="Oval 25"/>
            <p:cNvSpPr/>
            <p:nvPr/>
          </p:nvSpPr>
          <p:spPr>
            <a:xfrm>
              <a:off x="5510489" y="1273028"/>
              <a:ext cx="1041488" cy="1041488"/>
            </a:xfrm>
            <a:prstGeom prst="ellipse">
              <a:avLst/>
            </a:prstGeom>
            <a:solidFill>
              <a:srgbClr val="1E47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744119" y="1487453"/>
              <a:ext cx="617522" cy="617522"/>
            </a:xfrm>
            <a:prstGeom prst="rect">
              <a:avLst/>
            </a:prstGeom>
          </p:spPr>
        </p:pic>
      </p:grpSp>
      <p:grpSp>
        <p:nvGrpSpPr>
          <p:cNvPr id="2" name="Group 1"/>
          <p:cNvGrpSpPr/>
          <p:nvPr/>
        </p:nvGrpSpPr>
        <p:grpSpPr>
          <a:xfrm>
            <a:off x="896841" y="1778868"/>
            <a:ext cx="1041488" cy="1041488"/>
            <a:chOff x="1703238" y="1273028"/>
            <a:chExt cx="1041488" cy="1041488"/>
          </a:xfrm>
        </p:grpSpPr>
        <p:sp>
          <p:nvSpPr>
            <p:cNvPr id="6" name="Oval 5"/>
            <p:cNvSpPr/>
            <p:nvPr/>
          </p:nvSpPr>
          <p:spPr>
            <a:xfrm>
              <a:off x="1703238" y="1273028"/>
              <a:ext cx="1041488" cy="1041488"/>
            </a:xfrm>
            <a:prstGeom prst="ellipse">
              <a:avLst/>
            </a:prstGeom>
            <a:solidFill>
              <a:srgbClr val="1E47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pic>
          <p:nvPicPr>
            <p:cNvPr id="27" name="Picture 2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951760" y="1487453"/>
              <a:ext cx="559414" cy="559414"/>
            </a:xfrm>
            <a:prstGeom prst="rect">
              <a:avLst/>
            </a:prstGeom>
          </p:spPr>
        </p:pic>
      </p:grpSp>
      <p:grpSp>
        <p:nvGrpSpPr>
          <p:cNvPr id="10" name="Group 9"/>
          <p:cNvGrpSpPr/>
          <p:nvPr/>
        </p:nvGrpSpPr>
        <p:grpSpPr>
          <a:xfrm>
            <a:off x="10253672" y="1778868"/>
            <a:ext cx="1041488" cy="1041488"/>
            <a:chOff x="7417041" y="3941064"/>
            <a:chExt cx="1041488" cy="1041488"/>
          </a:xfrm>
        </p:grpSpPr>
        <p:sp>
          <p:nvSpPr>
            <p:cNvPr id="22" name="Oval 21"/>
            <p:cNvSpPr/>
            <p:nvPr/>
          </p:nvSpPr>
          <p:spPr>
            <a:xfrm>
              <a:off x="7417041" y="3941064"/>
              <a:ext cx="1041488" cy="1041488"/>
            </a:xfrm>
            <a:prstGeom prst="ellipse">
              <a:avLst/>
            </a:prstGeom>
            <a:solidFill>
              <a:srgbClr val="1E47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pic>
          <p:nvPicPr>
            <p:cNvPr id="28" name="Picture 2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644929" y="4173104"/>
              <a:ext cx="568625" cy="568625"/>
            </a:xfrm>
            <a:prstGeom prst="rect">
              <a:avLst/>
            </a:prstGeom>
          </p:spPr>
        </p:pic>
      </p:grpSp>
      <p:grpSp>
        <p:nvGrpSpPr>
          <p:cNvPr id="11" name="Group 10"/>
          <p:cNvGrpSpPr/>
          <p:nvPr/>
        </p:nvGrpSpPr>
        <p:grpSpPr>
          <a:xfrm>
            <a:off x="7917193" y="1778868"/>
            <a:ext cx="1041488" cy="1041488"/>
            <a:chOff x="3606863" y="3936673"/>
            <a:chExt cx="1041488" cy="1041488"/>
          </a:xfrm>
        </p:grpSpPr>
        <p:sp>
          <p:nvSpPr>
            <p:cNvPr id="23" name="Oval 22"/>
            <p:cNvSpPr/>
            <p:nvPr/>
          </p:nvSpPr>
          <p:spPr>
            <a:xfrm>
              <a:off x="3606863" y="3936673"/>
              <a:ext cx="1041488" cy="1041488"/>
            </a:xfrm>
            <a:prstGeom prst="ellipse">
              <a:avLst/>
            </a:prstGeom>
            <a:solidFill>
              <a:srgbClr val="1E47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pic>
          <p:nvPicPr>
            <p:cNvPr id="29" name="Picture 2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826202" y="4172460"/>
              <a:ext cx="569269" cy="569269"/>
            </a:xfrm>
            <a:prstGeom prst="rect">
              <a:avLst/>
            </a:prstGeom>
          </p:spPr>
        </p:pic>
      </p:grpSp>
      <p:grpSp>
        <p:nvGrpSpPr>
          <p:cNvPr id="8" name="Group 7"/>
          <p:cNvGrpSpPr/>
          <p:nvPr/>
        </p:nvGrpSpPr>
        <p:grpSpPr>
          <a:xfrm>
            <a:off x="5580714" y="1778868"/>
            <a:ext cx="1041488" cy="1041488"/>
            <a:chOff x="9323593" y="1273028"/>
            <a:chExt cx="1041488" cy="1041488"/>
          </a:xfrm>
        </p:grpSpPr>
        <p:sp>
          <p:nvSpPr>
            <p:cNvPr id="25" name="Oval 24"/>
            <p:cNvSpPr/>
            <p:nvPr/>
          </p:nvSpPr>
          <p:spPr>
            <a:xfrm>
              <a:off x="9323593" y="1273028"/>
              <a:ext cx="1041488" cy="1041488"/>
            </a:xfrm>
            <a:prstGeom prst="ellipse">
              <a:avLst/>
            </a:prstGeom>
            <a:solidFill>
              <a:srgbClr val="1E47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pic>
          <p:nvPicPr>
            <p:cNvPr id="30" name="Picture 2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543446" y="1463561"/>
              <a:ext cx="621958" cy="621958"/>
            </a:xfrm>
            <a:prstGeom prst="rect">
              <a:avLst/>
            </a:prstGeom>
          </p:spPr>
        </p:pic>
      </p:grpSp>
      <p:sp>
        <p:nvSpPr>
          <p:cNvPr id="31" name="TextBox 30"/>
          <p:cNvSpPr txBox="1"/>
          <p:nvPr/>
        </p:nvSpPr>
        <p:spPr>
          <a:xfrm>
            <a:off x="451411" y="3521166"/>
            <a:ext cx="1932348" cy="1015663"/>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180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Lack of community awareness</a:t>
            </a:r>
          </a:p>
        </p:txBody>
      </p:sp>
      <p:sp>
        <p:nvSpPr>
          <p:cNvPr id="32" name="TextBox 31"/>
          <p:cNvSpPr txBox="1"/>
          <p:nvPr/>
        </p:nvSpPr>
        <p:spPr>
          <a:xfrm>
            <a:off x="2580472" y="3427382"/>
            <a:ext cx="2358098" cy="1631216"/>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Poor knowledge, attitudes and practices amongst doctors and paramedics</a:t>
            </a:r>
          </a:p>
        </p:txBody>
      </p:sp>
      <p:sp>
        <p:nvSpPr>
          <p:cNvPr id="33" name="TextBox 32"/>
          <p:cNvSpPr txBox="1"/>
          <p:nvPr/>
        </p:nvSpPr>
        <p:spPr>
          <a:xfrm>
            <a:off x="5135284" y="3380491"/>
            <a:ext cx="1844000" cy="1754326"/>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180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Inadequate understanding of cell culture vaccines and RIG applications</a:t>
            </a:r>
          </a:p>
        </p:txBody>
      </p:sp>
      <p:sp>
        <p:nvSpPr>
          <p:cNvPr id="35" name="Rectangle 34"/>
          <p:cNvSpPr/>
          <p:nvPr/>
        </p:nvSpPr>
        <p:spPr>
          <a:xfrm>
            <a:off x="9964614" y="3521167"/>
            <a:ext cx="1629509" cy="1077218"/>
          </a:xfrm>
          <a:prstGeom prst="rect">
            <a:avLst/>
          </a:prstGeom>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PEP considered to be unaffordable </a:t>
            </a:r>
          </a:p>
        </p:txBody>
      </p:sp>
      <p:grpSp>
        <p:nvGrpSpPr>
          <p:cNvPr id="36" name="Group 35"/>
          <p:cNvGrpSpPr/>
          <p:nvPr/>
        </p:nvGrpSpPr>
        <p:grpSpPr>
          <a:xfrm>
            <a:off x="1349491" y="2719833"/>
            <a:ext cx="136187" cy="655417"/>
            <a:chOff x="3250659" y="2556626"/>
            <a:chExt cx="136187" cy="655417"/>
          </a:xfrm>
        </p:grpSpPr>
        <p:cxnSp>
          <p:nvCxnSpPr>
            <p:cNvPr id="37" name="Straight Connector 36"/>
            <p:cNvCxnSpPr/>
            <p:nvPr/>
          </p:nvCxnSpPr>
          <p:spPr>
            <a:xfrm flipH="1">
              <a:off x="3318753" y="2556626"/>
              <a:ext cx="3245" cy="548640"/>
            </a:xfrm>
            <a:prstGeom prst="line">
              <a:avLst/>
            </a:prstGeom>
            <a:ln w="28575">
              <a:solidFill>
                <a:srgbClr val="1E479C"/>
              </a:solidFill>
            </a:ln>
          </p:spPr>
          <p:style>
            <a:lnRef idx="1">
              <a:schemeClr val="accent1"/>
            </a:lnRef>
            <a:fillRef idx="0">
              <a:schemeClr val="accent1"/>
            </a:fillRef>
            <a:effectRef idx="0">
              <a:schemeClr val="accent1"/>
            </a:effectRef>
            <a:fontRef idx="minor">
              <a:schemeClr val="tx1"/>
            </a:fontRef>
          </p:style>
        </p:cxnSp>
        <p:sp>
          <p:nvSpPr>
            <p:cNvPr id="38" name="Oval 37"/>
            <p:cNvSpPr/>
            <p:nvPr/>
          </p:nvSpPr>
          <p:spPr>
            <a:xfrm>
              <a:off x="3250659" y="3075856"/>
              <a:ext cx="136187" cy="136187"/>
            </a:xfrm>
            <a:prstGeom prst="ellipse">
              <a:avLst/>
            </a:prstGeom>
            <a:solidFill>
              <a:srgbClr val="1E479C"/>
            </a:solidFill>
            <a:ln>
              <a:solidFill>
                <a:srgbClr val="1E479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grpSp>
      <p:grpSp>
        <p:nvGrpSpPr>
          <p:cNvPr id="39" name="Group 38"/>
          <p:cNvGrpSpPr/>
          <p:nvPr/>
        </p:nvGrpSpPr>
        <p:grpSpPr>
          <a:xfrm>
            <a:off x="3691427" y="2719833"/>
            <a:ext cx="136187" cy="655417"/>
            <a:chOff x="3250659" y="2556626"/>
            <a:chExt cx="136187" cy="655417"/>
          </a:xfrm>
        </p:grpSpPr>
        <p:cxnSp>
          <p:nvCxnSpPr>
            <p:cNvPr id="40" name="Straight Connector 39"/>
            <p:cNvCxnSpPr/>
            <p:nvPr/>
          </p:nvCxnSpPr>
          <p:spPr>
            <a:xfrm flipH="1">
              <a:off x="3318753" y="2556626"/>
              <a:ext cx="3245" cy="548640"/>
            </a:xfrm>
            <a:prstGeom prst="line">
              <a:avLst/>
            </a:prstGeom>
            <a:ln w="28575">
              <a:solidFill>
                <a:srgbClr val="1E479C"/>
              </a:solidFill>
            </a:ln>
          </p:spPr>
          <p:style>
            <a:lnRef idx="1">
              <a:schemeClr val="accent1"/>
            </a:lnRef>
            <a:fillRef idx="0">
              <a:schemeClr val="accent1"/>
            </a:fillRef>
            <a:effectRef idx="0">
              <a:schemeClr val="accent1"/>
            </a:effectRef>
            <a:fontRef idx="minor">
              <a:schemeClr val="tx1"/>
            </a:fontRef>
          </p:style>
        </p:cxnSp>
        <p:sp>
          <p:nvSpPr>
            <p:cNvPr id="41" name="Oval 40"/>
            <p:cNvSpPr/>
            <p:nvPr/>
          </p:nvSpPr>
          <p:spPr>
            <a:xfrm>
              <a:off x="3250659" y="3075856"/>
              <a:ext cx="136187" cy="136187"/>
            </a:xfrm>
            <a:prstGeom prst="ellipse">
              <a:avLst/>
            </a:prstGeom>
            <a:solidFill>
              <a:srgbClr val="1E479C"/>
            </a:solidFill>
            <a:ln>
              <a:solidFill>
                <a:srgbClr val="1E479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grpSp>
      <p:grpSp>
        <p:nvGrpSpPr>
          <p:cNvPr id="42" name="Group 41"/>
          <p:cNvGrpSpPr/>
          <p:nvPr/>
        </p:nvGrpSpPr>
        <p:grpSpPr>
          <a:xfrm>
            <a:off x="6041558" y="2719833"/>
            <a:ext cx="136187" cy="655417"/>
            <a:chOff x="3250659" y="2556626"/>
            <a:chExt cx="136187" cy="655417"/>
          </a:xfrm>
        </p:grpSpPr>
        <p:cxnSp>
          <p:nvCxnSpPr>
            <p:cNvPr id="43" name="Straight Connector 42"/>
            <p:cNvCxnSpPr/>
            <p:nvPr/>
          </p:nvCxnSpPr>
          <p:spPr>
            <a:xfrm flipH="1">
              <a:off x="3318753" y="2556626"/>
              <a:ext cx="3245" cy="548640"/>
            </a:xfrm>
            <a:prstGeom prst="line">
              <a:avLst/>
            </a:prstGeom>
            <a:ln w="28575">
              <a:solidFill>
                <a:srgbClr val="1E479C"/>
              </a:solidFill>
            </a:ln>
          </p:spPr>
          <p:style>
            <a:lnRef idx="1">
              <a:schemeClr val="accent1"/>
            </a:lnRef>
            <a:fillRef idx="0">
              <a:schemeClr val="accent1"/>
            </a:fillRef>
            <a:effectRef idx="0">
              <a:schemeClr val="accent1"/>
            </a:effectRef>
            <a:fontRef idx="minor">
              <a:schemeClr val="tx1"/>
            </a:fontRef>
          </p:style>
        </p:cxnSp>
        <p:sp>
          <p:nvSpPr>
            <p:cNvPr id="44" name="Oval 43"/>
            <p:cNvSpPr/>
            <p:nvPr/>
          </p:nvSpPr>
          <p:spPr>
            <a:xfrm>
              <a:off x="3250659" y="3075856"/>
              <a:ext cx="136187" cy="136187"/>
            </a:xfrm>
            <a:prstGeom prst="ellipse">
              <a:avLst/>
            </a:prstGeom>
            <a:solidFill>
              <a:srgbClr val="1E479C"/>
            </a:solidFill>
            <a:ln>
              <a:solidFill>
                <a:srgbClr val="1E479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grpSp>
      <p:grpSp>
        <p:nvGrpSpPr>
          <p:cNvPr id="45" name="Group 44"/>
          <p:cNvGrpSpPr/>
          <p:nvPr/>
        </p:nvGrpSpPr>
        <p:grpSpPr>
          <a:xfrm>
            <a:off x="8353072" y="2719833"/>
            <a:ext cx="136187" cy="655417"/>
            <a:chOff x="3250659" y="2556626"/>
            <a:chExt cx="136187" cy="655417"/>
          </a:xfrm>
        </p:grpSpPr>
        <p:cxnSp>
          <p:nvCxnSpPr>
            <p:cNvPr id="46" name="Straight Connector 45"/>
            <p:cNvCxnSpPr/>
            <p:nvPr/>
          </p:nvCxnSpPr>
          <p:spPr>
            <a:xfrm flipH="1">
              <a:off x="3318753" y="2556626"/>
              <a:ext cx="3245" cy="548640"/>
            </a:xfrm>
            <a:prstGeom prst="line">
              <a:avLst/>
            </a:prstGeom>
            <a:ln w="28575">
              <a:solidFill>
                <a:srgbClr val="1E479C"/>
              </a:solidFill>
            </a:ln>
          </p:spPr>
          <p:style>
            <a:lnRef idx="1">
              <a:schemeClr val="accent1"/>
            </a:lnRef>
            <a:fillRef idx="0">
              <a:schemeClr val="accent1"/>
            </a:fillRef>
            <a:effectRef idx="0">
              <a:schemeClr val="accent1"/>
            </a:effectRef>
            <a:fontRef idx="minor">
              <a:schemeClr val="tx1"/>
            </a:fontRef>
          </p:style>
        </p:cxnSp>
        <p:sp>
          <p:nvSpPr>
            <p:cNvPr id="47" name="Oval 46"/>
            <p:cNvSpPr/>
            <p:nvPr/>
          </p:nvSpPr>
          <p:spPr>
            <a:xfrm>
              <a:off x="3250659" y="3075856"/>
              <a:ext cx="136187" cy="136187"/>
            </a:xfrm>
            <a:prstGeom prst="ellipse">
              <a:avLst/>
            </a:prstGeom>
            <a:solidFill>
              <a:srgbClr val="1E479C"/>
            </a:solidFill>
            <a:ln>
              <a:solidFill>
                <a:srgbClr val="1E479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grpSp>
      <p:grpSp>
        <p:nvGrpSpPr>
          <p:cNvPr id="48" name="Group 47"/>
          <p:cNvGrpSpPr/>
          <p:nvPr/>
        </p:nvGrpSpPr>
        <p:grpSpPr>
          <a:xfrm>
            <a:off x="10706322" y="2719833"/>
            <a:ext cx="136187" cy="655417"/>
            <a:chOff x="3250659" y="2556626"/>
            <a:chExt cx="136187" cy="655417"/>
          </a:xfrm>
        </p:grpSpPr>
        <p:cxnSp>
          <p:nvCxnSpPr>
            <p:cNvPr id="49" name="Straight Connector 48"/>
            <p:cNvCxnSpPr/>
            <p:nvPr/>
          </p:nvCxnSpPr>
          <p:spPr>
            <a:xfrm flipH="1">
              <a:off x="3318753" y="2556626"/>
              <a:ext cx="3245" cy="548640"/>
            </a:xfrm>
            <a:prstGeom prst="line">
              <a:avLst/>
            </a:prstGeom>
            <a:ln w="28575">
              <a:solidFill>
                <a:srgbClr val="1E479C"/>
              </a:solidFill>
            </a:ln>
          </p:spPr>
          <p:style>
            <a:lnRef idx="1">
              <a:schemeClr val="accent1"/>
            </a:lnRef>
            <a:fillRef idx="0">
              <a:schemeClr val="accent1"/>
            </a:fillRef>
            <a:effectRef idx="0">
              <a:schemeClr val="accent1"/>
            </a:effectRef>
            <a:fontRef idx="minor">
              <a:schemeClr val="tx1"/>
            </a:fontRef>
          </p:style>
        </p:cxnSp>
        <p:sp>
          <p:nvSpPr>
            <p:cNvPr id="50" name="Oval 49"/>
            <p:cNvSpPr/>
            <p:nvPr/>
          </p:nvSpPr>
          <p:spPr>
            <a:xfrm>
              <a:off x="3250659" y="3075856"/>
              <a:ext cx="136187" cy="136187"/>
            </a:xfrm>
            <a:prstGeom prst="ellipse">
              <a:avLst/>
            </a:prstGeom>
            <a:solidFill>
              <a:srgbClr val="1E479C"/>
            </a:solidFill>
            <a:ln>
              <a:solidFill>
                <a:srgbClr val="1E479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grpSp>
      <p:sp>
        <p:nvSpPr>
          <p:cNvPr id="9" name="TextBox 8">
            <a:extLst>
              <a:ext uri="{FF2B5EF4-FFF2-40B4-BE49-F238E27FC236}">
                <a16:creationId xmlns:a16="http://schemas.microsoft.com/office/drawing/2014/main" id="{FD4B7DD8-0FDB-5F61-AE5D-4B1F4884CB3B}"/>
              </a:ext>
            </a:extLst>
          </p:cNvPr>
          <p:cNvSpPr txBox="1"/>
          <p:nvPr/>
        </p:nvSpPr>
        <p:spPr>
          <a:xfrm>
            <a:off x="7444154" y="3429272"/>
            <a:ext cx="2167374" cy="64632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PK" sz="1800" b="0" i="0" u="none" strike="noStrike" kern="1200" cap="none" spc="0" normalizeH="0" baseline="0" noProof="0" dirty="0">
                <a:ln>
                  <a:noFill/>
                </a:ln>
                <a:solidFill>
                  <a:prstClr val="black"/>
                </a:solidFill>
                <a:effectLst/>
                <a:uLnTx/>
                <a:uFillTx/>
                <a:latin typeface="Franklin Gothic Book" panose="020B0503020102020204"/>
                <a:ea typeface="+mn-ea"/>
                <a:cs typeface="+mn-cs"/>
              </a:rPr>
              <a:t>Frequent outages of CCEEV and RIG</a:t>
            </a:r>
          </a:p>
        </p:txBody>
      </p:sp>
    </p:spTree>
    <p:extLst>
      <p:ext uri="{BB962C8B-B14F-4D97-AF65-F5344CB8AC3E}">
        <p14:creationId xmlns:p14="http://schemas.microsoft.com/office/powerpoint/2010/main" val="82241467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AA9ABAD9-0209-0941-A501-739ADC6FC195}"/>
              </a:ext>
            </a:extLst>
          </p:cNvPr>
          <p:cNvSpPr/>
          <p:nvPr/>
        </p:nvSpPr>
        <p:spPr>
          <a:xfrm>
            <a:off x="1388378" y="1943100"/>
            <a:ext cx="1270000" cy="1270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white"/>
              </a:solidFill>
              <a:effectLst/>
              <a:uLnTx/>
              <a:uFillTx/>
              <a:latin typeface="Lato Light" panose="020F0502020204030203" pitchFamily="34" charset="0"/>
              <a:ea typeface="+mn-ea"/>
              <a:cs typeface="+mn-cs"/>
            </a:endParaRPr>
          </a:p>
        </p:txBody>
      </p:sp>
      <p:sp>
        <p:nvSpPr>
          <p:cNvPr id="3" name="TextBox 2">
            <a:extLst>
              <a:ext uri="{FF2B5EF4-FFF2-40B4-BE49-F238E27FC236}">
                <a16:creationId xmlns:a16="http://schemas.microsoft.com/office/drawing/2014/main" id="{221C6581-F682-C84C-9D6F-F4E12C41233F}"/>
              </a:ext>
            </a:extLst>
          </p:cNvPr>
          <p:cNvSpPr txBox="1"/>
          <p:nvPr/>
        </p:nvSpPr>
        <p:spPr>
          <a:xfrm>
            <a:off x="1410509" y="1969115"/>
            <a:ext cx="1079771" cy="1154162"/>
          </a:xfrm>
          <a:prstGeom prst="rect">
            <a:avLst/>
          </a:prstGeom>
          <a:noFill/>
        </p:spPr>
        <p:txBody>
          <a:bodyPr wrap="squar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6900" b="1" i="0" u="none" strike="noStrike" kern="1200" cap="none" spc="0" normalizeH="0" baseline="0" noProof="0" dirty="0">
                <a:ln>
                  <a:noFill/>
                </a:ln>
                <a:solidFill>
                  <a:prstClr val="white"/>
                </a:solidFill>
                <a:effectLst/>
                <a:uLnTx/>
                <a:uFillTx/>
                <a:latin typeface="Poppins" pitchFamily="2" charset="77"/>
                <a:ea typeface="+mn-ea"/>
                <a:cs typeface="Poppins" pitchFamily="2" charset="77"/>
              </a:rPr>
              <a:t>A</a:t>
            </a:r>
          </a:p>
        </p:txBody>
      </p:sp>
      <p:sp>
        <p:nvSpPr>
          <p:cNvPr id="6" name="Oval 5">
            <a:extLst>
              <a:ext uri="{FF2B5EF4-FFF2-40B4-BE49-F238E27FC236}">
                <a16:creationId xmlns:a16="http://schemas.microsoft.com/office/drawing/2014/main" id="{C053377A-65D8-914E-B3F5-6F2E43D25CD3}"/>
              </a:ext>
            </a:extLst>
          </p:cNvPr>
          <p:cNvSpPr/>
          <p:nvPr/>
        </p:nvSpPr>
        <p:spPr>
          <a:xfrm>
            <a:off x="3424689" y="1943100"/>
            <a:ext cx="1270000" cy="127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white"/>
              </a:solidFill>
              <a:effectLst/>
              <a:uLnTx/>
              <a:uFillTx/>
              <a:latin typeface="Lato Light" panose="020F0502020204030203" pitchFamily="34" charset="0"/>
              <a:ea typeface="+mn-ea"/>
              <a:cs typeface="+mn-cs"/>
            </a:endParaRPr>
          </a:p>
        </p:txBody>
      </p:sp>
      <p:sp>
        <p:nvSpPr>
          <p:cNvPr id="7" name="TextBox 6">
            <a:extLst>
              <a:ext uri="{FF2B5EF4-FFF2-40B4-BE49-F238E27FC236}">
                <a16:creationId xmlns:a16="http://schemas.microsoft.com/office/drawing/2014/main" id="{2FF83914-6AA0-2A46-B734-23799264CC97}"/>
              </a:ext>
            </a:extLst>
          </p:cNvPr>
          <p:cNvSpPr txBox="1"/>
          <p:nvPr/>
        </p:nvSpPr>
        <p:spPr>
          <a:xfrm>
            <a:off x="3785415" y="2209492"/>
            <a:ext cx="548547" cy="830997"/>
          </a:xfrm>
          <a:prstGeom prst="rect">
            <a:avLst/>
          </a:prstGeom>
          <a:noFill/>
        </p:spPr>
        <p:txBody>
          <a:bodyPr wrap="non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prstClr val="white"/>
                </a:solidFill>
                <a:effectLst/>
                <a:uLnTx/>
                <a:uFillTx/>
                <a:latin typeface="Poppins" pitchFamily="2" charset="77"/>
                <a:ea typeface="+mn-ea"/>
                <a:cs typeface="Poppins" pitchFamily="2" charset="77"/>
              </a:rPr>
              <a:t>T</a:t>
            </a:r>
            <a:endParaRPr kumimoji="0" lang="en-US" sz="6900" b="1" i="0" u="none" strike="noStrike" kern="1200" cap="none" spc="0" normalizeH="0" baseline="0" noProof="0" dirty="0">
              <a:ln>
                <a:noFill/>
              </a:ln>
              <a:solidFill>
                <a:prstClr val="white"/>
              </a:solidFill>
              <a:effectLst/>
              <a:uLnTx/>
              <a:uFillTx/>
              <a:latin typeface="Poppins" pitchFamily="2" charset="77"/>
              <a:ea typeface="+mn-ea"/>
              <a:cs typeface="Poppins" pitchFamily="2" charset="77"/>
            </a:endParaRPr>
          </a:p>
        </p:txBody>
      </p:sp>
      <p:sp>
        <p:nvSpPr>
          <p:cNvPr id="9" name="Oval 8">
            <a:extLst>
              <a:ext uri="{FF2B5EF4-FFF2-40B4-BE49-F238E27FC236}">
                <a16:creationId xmlns:a16="http://schemas.microsoft.com/office/drawing/2014/main" id="{FFDF1DBE-D5AC-1A47-9E58-1CDDBDF570BE}"/>
              </a:ext>
            </a:extLst>
          </p:cNvPr>
          <p:cNvSpPr/>
          <p:nvPr/>
        </p:nvSpPr>
        <p:spPr>
          <a:xfrm>
            <a:off x="5461000" y="1943100"/>
            <a:ext cx="1270000" cy="127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white"/>
              </a:solidFill>
              <a:effectLst/>
              <a:uLnTx/>
              <a:uFillTx/>
              <a:latin typeface="Lato Light" panose="020F0502020204030203" pitchFamily="34" charset="0"/>
              <a:ea typeface="+mn-ea"/>
              <a:cs typeface="+mn-cs"/>
            </a:endParaRPr>
          </a:p>
        </p:txBody>
      </p:sp>
      <p:sp>
        <p:nvSpPr>
          <p:cNvPr id="10" name="TextBox 9">
            <a:extLst>
              <a:ext uri="{FF2B5EF4-FFF2-40B4-BE49-F238E27FC236}">
                <a16:creationId xmlns:a16="http://schemas.microsoft.com/office/drawing/2014/main" id="{39268901-49C8-0B4A-8E04-2718EE3378B8}"/>
              </a:ext>
            </a:extLst>
          </p:cNvPr>
          <p:cNvSpPr txBox="1"/>
          <p:nvPr/>
        </p:nvSpPr>
        <p:spPr>
          <a:xfrm>
            <a:off x="5695089" y="2047911"/>
            <a:ext cx="801823" cy="1154162"/>
          </a:xfrm>
          <a:prstGeom prst="rect">
            <a:avLst/>
          </a:prstGeom>
          <a:noFill/>
        </p:spPr>
        <p:txBody>
          <a:bodyPr wrap="non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6900" b="1" i="0" u="none" strike="noStrike" kern="1200" cap="none" spc="0" normalizeH="0" baseline="0" noProof="0" dirty="0">
                <a:ln>
                  <a:noFill/>
                </a:ln>
                <a:solidFill>
                  <a:prstClr val="white"/>
                </a:solidFill>
                <a:effectLst/>
                <a:uLnTx/>
                <a:uFillTx/>
                <a:latin typeface="Poppins" pitchFamily="2" charset="77"/>
                <a:ea typeface="+mn-ea"/>
                <a:cs typeface="Poppins" pitchFamily="2" charset="77"/>
              </a:rPr>
              <a:t>K</a:t>
            </a:r>
          </a:p>
        </p:txBody>
      </p:sp>
      <p:sp>
        <p:nvSpPr>
          <p:cNvPr id="12" name="Oval 11">
            <a:extLst>
              <a:ext uri="{FF2B5EF4-FFF2-40B4-BE49-F238E27FC236}">
                <a16:creationId xmlns:a16="http://schemas.microsoft.com/office/drawing/2014/main" id="{FC015D9B-F52B-A644-83FB-82581E092745}"/>
              </a:ext>
            </a:extLst>
          </p:cNvPr>
          <p:cNvSpPr/>
          <p:nvPr/>
        </p:nvSpPr>
        <p:spPr>
          <a:xfrm>
            <a:off x="7497311" y="1943100"/>
            <a:ext cx="1270000" cy="1270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white"/>
              </a:solidFill>
              <a:effectLst/>
              <a:uLnTx/>
              <a:uFillTx/>
              <a:latin typeface="Lato Light" panose="020F0502020204030203" pitchFamily="34" charset="0"/>
              <a:ea typeface="+mn-ea"/>
              <a:cs typeface="+mn-cs"/>
            </a:endParaRPr>
          </a:p>
        </p:txBody>
      </p:sp>
      <p:sp>
        <p:nvSpPr>
          <p:cNvPr id="13" name="TextBox 12">
            <a:extLst>
              <a:ext uri="{FF2B5EF4-FFF2-40B4-BE49-F238E27FC236}">
                <a16:creationId xmlns:a16="http://schemas.microsoft.com/office/drawing/2014/main" id="{1DFD0997-9DFF-6A4D-97C9-46F79AAB3445}"/>
              </a:ext>
            </a:extLst>
          </p:cNvPr>
          <p:cNvSpPr txBox="1"/>
          <p:nvPr/>
        </p:nvSpPr>
        <p:spPr>
          <a:xfrm>
            <a:off x="7587931" y="2047911"/>
            <a:ext cx="1088761" cy="1154162"/>
          </a:xfrm>
          <a:prstGeom prst="rect">
            <a:avLst/>
          </a:prstGeom>
          <a:noFill/>
        </p:spPr>
        <p:txBody>
          <a:bodyPr wrap="non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6900" b="1" i="0" u="none" strike="noStrike" kern="1200" cap="none" spc="0" normalizeH="0" baseline="0" noProof="0" dirty="0">
                <a:ln>
                  <a:noFill/>
                </a:ln>
                <a:solidFill>
                  <a:prstClr val="white"/>
                </a:solidFill>
                <a:effectLst/>
                <a:uLnTx/>
                <a:uFillTx/>
                <a:latin typeface="Poppins" pitchFamily="2" charset="77"/>
                <a:ea typeface="+mn-ea"/>
                <a:cs typeface="Poppins" pitchFamily="2" charset="77"/>
              </a:rPr>
              <a:t>ID</a:t>
            </a:r>
          </a:p>
        </p:txBody>
      </p:sp>
      <p:sp>
        <p:nvSpPr>
          <p:cNvPr id="15" name="Oval 14">
            <a:extLst>
              <a:ext uri="{FF2B5EF4-FFF2-40B4-BE49-F238E27FC236}">
                <a16:creationId xmlns:a16="http://schemas.microsoft.com/office/drawing/2014/main" id="{70DCDCA1-A720-4F4F-87E6-85E9DFFDBA43}"/>
              </a:ext>
            </a:extLst>
          </p:cNvPr>
          <p:cNvSpPr/>
          <p:nvPr/>
        </p:nvSpPr>
        <p:spPr>
          <a:xfrm>
            <a:off x="9533622" y="1943100"/>
            <a:ext cx="1270000" cy="12700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white"/>
              </a:solidFill>
              <a:effectLst/>
              <a:uLnTx/>
              <a:uFillTx/>
              <a:latin typeface="Lato Light" panose="020F0502020204030203" pitchFamily="34" charset="0"/>
              <a:ea typeface="+mn-ea"/>
              <a:cs typeface="+mn-cs"/>
            </a:endParaRPr>
          </a:p>
        </p:txBody>
      </p:sp>
      <p:sp>
        <p:nvSpPr>
          <p:cNvPr id="16" name="TextBox 15">
            <a:extLst>
              <a:ext uri="{FF2B5EF4-FFF2-40B4-BE49-F238E27FC236}">
                <a16:creationId xmlns:a16="http://schemas.microsoft.com/office/drawing/2014/main" id="{52347900-DD9A-1747-9807-025A10A713A1}"/>
              </a:ext>
            </a:extLst>
          </p:cNvPr>
          <p:cNvSpPr txBox="1"/>
          <p:nvPr/>
        </p:nvSpPr>
        <p:spPr>
          <a:xfrm>
            <a:off x="9804581" y="2047911"/>
            <a:ext cx="728084" cy="1154162"/>
          </a:xfrm>
          <a:prstGeom prst="rect">
            <a:avLst/>
          </a:prstGeom>
          <a:noFill/>
        </p:spPr>
        <p:txBody>
          <a:bodyPr wrap="non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6900" b="1" i="0" u="none" strike="noStrike" kern="1200" cap="none" spc="0" normalizeH="0" baseline="0" noProof="0" dirty="0">
                <a:ln>
                  <a:noFill/>
                </a:ln>
                <a:solidFill>
                  <a:prstClr val="white"/>
                </a:solidFill>
                <a:effectLst/>
                <a:uLnTx/>
                <a:uFillTx/>
                <a:latin typeface="Poppins" pitchFamily="2" charset="77"/>
                <a:ea typeface="+mn-ea"/>
                <a:cs typeface="Poppins" pitchFamily="2" charset="77"/>
              </a:rPr>
              <a:t>S</a:t>
            </a:r>
          </a:p>
        </p:txBody>
      </p:sp>
      <p:sp>
        <p:nvSpPr>
          <p:cNvPr id="17" name="TextBox 16">
            <a:extLst>
              <a:ext uri="{FF2B5EF4-FFF2-40B4-BE49-F238E27FC236}">
                <a16:creationId xmlns:a16="http://schemas.microsoft.com/office/drawing/2014/main" id="{E46904D9-9504-034D-BCF4-8E8B9963FF17}"/>
              </a:ext>
            </a:extLst>
          </p:cNvPr>
          <p:cNvSpPr txBox="1"/>
          <p:nvPr/>
        </p:nvSpPr>
        <p:spPr>
          <a:xfrm>
            <a:off x="798206" y="3463885"/>
            <a:ext cx="2450351" cy="369332"/>
          </a:xfrm>
          <a:prstGeom prst="rect">
            <a:avLst/>
          </a:prstGeom>
          <a:noFill/>
        </p:spPr>
        <p:txBody>
          <a:bodyPr wrap="non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Arial" panose="020B0604020202020204" pitchFamily="34" charset="0"/>
                <a:cs typeface="+mn-cs"/>
              </a:rPr>
              <a:t>Awareness/education</a:t>
            </a:r>
            <a:endParaRPr kumimoji="0" lang="en-US" sz="1600" b="1" i="0" u="none" strike="noStrike" kern="1200" cap="none" spc="0" normalizeH="0" baseline="0" noProof="0" dirty="0">
              <a:ln>
                <a:noFill/>
              </a:ln>
              <a:solidFill>
                <a:srgbClr val="191B0E"/>
              </a:solidFill>
              <a:effectLst/>
              <a:uLnTx/>
              <a:uFillTx/>
              <a:latin typeface="Poppins" pitchFamily="2" charset="77"/>
              <a:ea typeface="+mn-ea"/>
              <a:cs typeface="Poppins" pitchFamily="2" charset="77"/>
            </a:endParaRPr>
          </a:p>
        </p:txBody>
      </p:sp>
      <p:sp>
        <p:nvSpPr>
          <p:cNvPr id="18" name="TextBox 17">
            <a:extLst>
              <a:ext uri="{FF2B5EF4-FFF2-40B4-BE49-F238E27FC236}">
                <a16:creationId xmlns:a16="http://schemas.microsoft.com/office/drawing/2014/main" id="{40D9CBC2-8B5E-E34C-B366-91A20850A5DA}"/>
              </a:ext>
            </a:extLst>
          </p:cNvPr>
          <p:cNvSpPr txBox="1"/>
          <p:nvPr/>
        </p:nvSpPr>
        <p:spPr>
          <a:xfrm>
            <a:off x="3094527" y="3479274"/>
            <a:ext cx="1930336" cy="338554"/>
          </a:xfrm>
          <a:prstGeom prst="rect">
            <a:avLst/>
          </a:prstGeom>
          <a:noFill/>
        </p:spPr>
        <p:txBody>
          <a:bodyPr wrap="non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191B0E"/>
                </a:solidFill>
                <a:effectLst/>
                <a:uLnTx/>
                <a:uFillTx/>
                <a:latin typeface="Poppins" pitchFamily="2" charset="77"/>
                <a:ea typeface="+mn-ea"/>
                <a:cs typeface="Poppins" pitchFamily="2" charset="77"/>
              </a:rPr>
              <a:t>Training for  HCP</a:t>
            </a:r>
          </a:p>
        </p:txBody>
      </p:sp>
      <p:sp>
        <p:nvSpPr>
          <p:cNvPr id="19" name="TextBox 18">
            <a:extLst>
              <a:ext uri="{FF2B5EF4-FFF2-40B4-BE49-F238E27FC236}">
                <a16:creationId xmlns:a16="http://schemas.microsoft.com/office/drawing/2014/main" id="{B32C1081-6AE1-4D4F-8B74-A5A46E88F959}"/>
              </a:ext>
            </a:extLst>
          </p:cNvPr>
          <p:cNvSpPr txBox="1"/>
          <p:nvPr/>
        </p:nvSpPr>
        <p:spPr>
          <a:xfrm>
            <a:off x="5353651" y="3479274"/>
            <a:ext cx="1484702" cy="338554"/>
          </a:xfrm>
          <a:prstGeom prst="rect">
            <a:avLst/>
          </a:prstGeom>
          <a:noFill/>
        </p:spPr>
        <p:txBody>
          <a:bodyPr wrap="non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191B0E"/>
                </a:solidFill>
                <a:effectLst/>
                <a:uLnTx/>
                <a:uFillTx/>
                <a:latin typeface="Poppins" pitchFamily="2" charset="77"/>
                <a:ea typeface="+mn-ea"/>
                <a:cs typeface="Poppins" pitchFamily="2" charset="77"/>
              </a:rPr>
              <a:t>KNOWLEDGE</a:t>
            </a:r>
          </a:p>
        </p:txBody>
      </p:sp>
      <p:sp>
        <p:nvSpPr>
          <p:cNvPr id="20" name="TextBox 19">
            <a:extLst>
              <a:ext uri="{FF2B5EF4-FFF2-40B4-BE49-F238E27FC236}">
                <a16:creationId xmlns:a16="http://schemas.microsoft.com/office/drawing/2014/main" id="{00E77C23-E0DE-1546-A766-6A7EAA0EE028}"/>
              </a:ext>
            </a:extLst>
          </p:cNvPr>
          <p:cNvSpPr txBox="1"/>
          <p:nvPr/>
        </p:nvSpPr>
        <p:spPr>
          <a:xfrm>
            <a:off x="7729802" y="3479274"/>
            <a:ext cx="805029" cy="338554"/>
          </a:xfrm>
          <a:prstGeom prst="rect">
            <a:avLst/>
          </a:prstGeom>
          <a:noFill/>
        </p:spPr>
        <p:txBody>
          <a:bodyPr wrap="non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191B0E"/>
                </a:solidFill>
                <a:effectLst/>
                <a:uLnTx/>
                <a:uFillTx/>
                <a:latin typeface="Poppins" pitchFamily="2" charset="77"/>
                <a:ea typeface="+mn-ea"/>
                <a:cs typeface="Poppins" pitchFamily="2" charset="77"/>
              </a:rPr>
              <a:t>ID PEP</a:t>
            </a:r>
          </a:p>
        </p:txBody>
      </p:sp>
      <p:sp>
        <p:nvSpPr>
          <p:cNvPr id="21" name="TextBox 20">
            <a:extLst>
              <a:ext uri="{FF2B5EF4-FFF2-40B4-BE49-F238E27FC236}">
                <a16:creationId xmlns:a16="http://schemas.microsoft.com/office/drawing/2014/main" id="{24279A00-9DA5-1F43-ACC6-85109064C1AE}"/>
              </a:ext>
            </a:extLst>
          </p:cNvPr>
          <p:cNvSpPr txBox="1"/>
          <p:nvPr/>
        </p:nvSpPr>
        <p:spPr>
          <a:xfrm>
            <a:off x="9257161" y="3356164"/>
            <a:ext cx="1822935" cy="584775"/>
          </a:xfrm>
          <a:prstGeom prst="rect">
            <a:avLst/>
          </a:prstGeom>
          <a:noFill/>
        </p:spPr>
        <p:txBody>
          <a:bodyPr wrap="non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191B0E"/>
                </a:solidFill>
                <a:effectLst/>
                <a:uLnTx/>
                <a:uFillTx/>
                <a:latin typeface="Poppins" pitchFamily="2" charset="77"/>
                <a:ea typeface="+mn-ea"/>
                <a:cs typeface="Poppins" pitchFamily="2" charset="77"/>
              </a:rPr>
              <a:t>Vaccine Supply</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191B0E"/>
                </a:solidFill>
                <a:effectLst/>
                <a:uLnTx/>
                <a:uFillTx/>
                <a:latin typeface="Poppins" pitchFamily="2" charset="77"/>
                <a:ea typeface="+mn-ea"/>
                <a:cs typeface="Poppins" pitchFamily="2" charset="77"/>
              </a:rPr>
              <a:t>(Govt)  </a:t>
            </a:r>
          </a:p>
        </p:txBody>
      </p:sp>
      <p:sp>
        <p:nvSpPr>
          <p:cNvPr id="26" name="Right Arrow 25">
            <a:extLst>
              <a:ext uri="{FF2B5EF4-FFF2-40B4-BE49-F238E27FC236}">
                <a16:creationId xmlns:a16="http://schemas.microsoft.com/office/drawing/2014/main" id="{D95F8E14-5408-C249-A91F-C8DD09C5E2DE}"/>
              </a:ext>
            </a:extLst>
          </p:cNvPr>
          <p:cNvSpPr/>
          <p:nvPr/>
        </p:nvSpPr>
        <p:spPr>
          <a:xfrm>
            <a:off x="8907245" y="1345904"/>
            <a:ext cx="2522755" cy="516194"/>
          </a:xfrm>
          <a:prstGeom prst="rightArrow">
            <a:avLst>
              <a:gd name="adj1" fmla="val 50000"/>
              <a:gd name="adj2" fmla="val 62857"/>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white"/>
              </a:solidFill>
              <a:effectLst/>
              <a:uLnTx/>
              <a:uFillTx/>
              <a:latin typeface="Lato Light" panose="020F0502020204030203" pitchFamily="34" charset="0"/>
              <a:ea typeface="+mn-ea"/>
              <a:cs typeface="+mn-cs"/>
            </a:endParaRPr>
          </a:p>
        </p:txBody>
      </p:sp>
      <p:sp>
        <p:nvSpPr>
          <p:cNvPr id="25" name="Right Arrow 24">
            <a:extLst>
              <a:ext uri="{FF2B5EF4-FFF2-40B4-BE49-F238E27FC236}">
                <a16:creationId xmlns:a16="http://schemas.microsoft.com/office/drawing/2014/main" id="{A4BE2AF1-717A-8346-8125-7E2AA45E613A}"/>
              </a:ext>
            </a:extLst>
          </p:cNvPr>
          <p:cNvSpPr/>
          <p:nvPr/>
        </p:nvSpPr>
        <p:spPr>
          <a:xfrm>
            <a:off x="6870934" y="1345904"/>
            <a:ext cx="2522755" cy="516194"/>
          </a:xfrm>
          <a:prstGeom prst="rightArrow">
            <a:avLst>
              <a:gd name="adj1" fmla="val 50000"/>
              <a:gd name="adj2" fmla="val 6285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white"/>
              </a:solidFill>
              <a:effectLst/>
              <a:uLnTx/>
              <a:uFillTx/>
              <a:latin typeface="Lato Light" panose="020F0502020204030203" pitchFamily="34" charset="0"/>
              <a:ea typeface="+mn-ea"/>
              <a:cs typeface="+mn-cs"/>
            </a:endParaRPr>
          </a:p>
        </p:txBody>
      </p:sp>
      <p:sp>
        <p:nvSpPr>
          <p:cNvPr id="24" name="Right Arrow 23">
            <a:extLst>
              <a:ext uri="{FF2B5EF4-FFF2-40B4-BE49-F238E27FC236}">
                <a16:creationId xmlns:a16="http://schemas.microsoft.com/office/drawing/2014/main" id="{C5CFC9C1-FBE0-0F4C-A705-C2FD6591F28E}"/>
              </a:ext>
            </a:extLst>
          </p:cNvPr>
          <p:cNvSpPr/>
          <p:nvPr/>
        </p:nvSpPr>
        <p:spPr>
          <a:xfrm>
            <a:off x="4834623" y="1345904"/>
            <a:ext cx="2522755" cy="516194"/>
          </a:xfrm>
          <a:prstGeom prst="rightArrow">
            <a:avLst>
              <a:gd name="adj1" fmla="val 50000"/>
              <a:gd name="adj2" fmla="val 62857"/>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white"/>
              </a:solidFill>
              <a:effectLst/>
              <a:uLnTx/>
              <a:uFillTx/>
              <a:latin typeface="Lato Light" panose="020F0502020204030203" pitchFamily="34" charset="0"/>
              <a:ea typeface="+mn-ea"/>
              <a:cs typeface="+mn-cs"/>
            </a:endParaRPr>
          </a:p>
        </p:txBody>
      </p:sp>
      <p:sp>
        <p:nvSpPr>
          <p:cNvPr id="23" name="Right Arrow 22">
            <a:extLst>
              <a:ext uri="{FF2B5EF4-FFF2-40B4-BE49-F238E27FC236}">
                <a16:creationId xmlns:a16="http://schemas.microsoft.com/office/drawing/2014/main" id="{76290C3E-76B5-614D-81E7-7184A32C35A7}"/>
              </a:ext>
            </a:extLst>
          </p:cNvPr>
          <p:cNvSpPr/>
          <p:nvPr/>
        </p:nvSpPr>
        <p:spPr>
          <a:xfrm>
            <a:off x="2798312" y="1345904"/>
            <a:ext cx="2522755" cy="516194"/>
          </a:xfrm>
          <a:prstGeom prst="rightArrow">
            <a:avLst>
              <a:gd name="adj1" fmla="val 50000"/>
              <a:gd name="adj2" fmla="val 6285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white"/>
              </a:solidFill>
              <a:effectLst/>
              <a:uLnTx/>
              <a:uFillTx/>
              <a:latin typeface="Lato Light" panose="020F0502020204030203" pitchFamily="34" charset="0"/>
              <a:ea typeface="+mn-ea"/>
              <a:cs typeface="+mn-cs"/>
            </a:endParaRPr>
          </a:p>
        </p:txBody>
      </p:sp>
      <p:sp>
        <p:nvSpPr>
          <p:cNvPr id="22" name="Right Arrow 21">
            <a:extLst>
              <a:ext uri="{FF2B5EF4-FFF2-40B4-BE49-F238E27FC236}">
                <a16:creationId xmlns:a16="http://schemas.microsoft.com/office/drawing/2014/main" id="{5FA66624-D2F1-D448-9F50-248494B1710F}"/>
              </a:ext>
            </a:extLst>
          </p:cNvPr>
          <p:cNvSpPr/>
          <p:nvPr/>
        </p:nvSpPr>
        <p:spPr>
          <a:xfrm>
            <a:off x="762001" y="1345904"/>
            <a:ext cx="2522755" cy="516194"/>
          </a:xfrm>
          <a:prstGeom prst="rightArrow">
            <a:avLst>
              <a:gd name="adj1" fmla="val 50000"/>
              <a:gd name="adj2" fmla="val 6285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white"/>
              </a:solidFill>
              <a:effectLst/>
              <a:uLnTx/>
              <a:uFillTx/>
              <a:latin typeface="Lato Light" panose="020F0502020204030203" pitchFamily="34" charset="0"/>
              <a:ea typeface="+mn-ea"/>
              <a:cs typeface="+mn-cs"/>
            </a:endParaRPr>
          </a:p>
        </p:txBody>
      </p:sp>
      <p:sp>
        <p:nvSpPr>
          <p:cNvPr id="27" name="TextBox 26">
            <a:extLst>
              <a:ext uri="{FF2B5EF4-FFF2-40B4-BE49-F238E27FC236}">
                <a16:creationId xmlns:a16="http://schemas.microsoft.com/office/drawing/2014/main" id="{F0798D00-8608-F14B-B927-89C81B99747E}"/>
              </a:ext>
            </a:extLst>
          </p:cNvPr>
          <p:cNvSpPr txBox="1"/>
          <p:nvPr/>
        </p:nvSpPr>
        <p:spPr>
          <a:xfrm>
            <a:off x="1083858" y="1465501"/>
            <a:ext cx="1879041" cy="276999"/>
          </a:xfrm>
          <a:prstGeom prst="rect">
            <a:avLst/>
          </a:prstGeom>
          <a:noFill/>
        </p:spPr>
        <p:txBody>
          <a:bodyPr wrap="non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Poppins" pitchFamily="2" charset="77"/>
                <a:ea typeface="+mn-ea"/>
                <a:cs typeface="Poppins" pitchFamily="2" charset="77"/>
              </a:rPr>
              <a:t>PRE-CONTEMPLATION</a:t>
            </a:r>
          </a:p>
        </p:txBody>
      </p:sp>
      <p:sp>
        <p:nvSpPr>
          <p:cNvPr id="28" name="TextBox 27">
            <a:extLst>
              <a:ext uri="{FF2B5EF4-FFF2-40B4-BE49-F238E27FC236}">
                <a16:creationId xmlns:a16="http://schemas.microsoft.com/office/drawing/2014/main" id="{6E7EE8F2-2A3A-0047-BCA6-86EC04873E54}"/>
              </a:ext>
            </a:extLst>
          </p:cNvPr>
          <p:cNvSpPr txBox="1"/>
          <p:nvPr/>
        </p:nvSpPr>
        <p:spPr>
          <a:xfrm>
            <a:off x="3305315" y="1465501"/>
            <a:ext cx="1508747" cy="276999"/>
          </a:xfrm>
          <a:prstGeom prst="rect">
            <a:avLst/>
          </a:prstGeom>
          <a:noFill/>
        </p:spPr>
        <p:txBody>
          <a:bodyPr wrap="non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Poppins" pitchFamily="2" charset="77"/>
                <a:ea typeface="+mn-ea"/>
                <a:cs typeface="Poppins" pitchFamily="2" charset="77"/>
              </a:rPr>
              <a:t>CONTEMPLATION</a:t>
            </a:r>
          </a:p>
        </p:txBody>
      </p:sp>
      <p:sp>
        <p:nvSpPr>
          <p:cNvPr id="29" name="TextBox 28">
            <a:extLst>
              <a:ext uri="{FF2B5EF4-FFF2-40B4-BE49-F238E27FC236}">
                <a16:creationId xmlns:a16="http://schemas.microsoft.com/office/drawing/2014/main" id="{D18584D4-DC1C-2247-9967-49DD39F20635}"/>
              </a:ext>
            </a:extLst>
          </p:cNvPr>
          <p:cNvSpPr txBox="1"/>
          <p:nvPr/>
        </p:nvSpPr>
        <p:spPr>
          <a:xfrm>
            <a:off x="5465057" y="1465501"/>
            <a:ext cx="1261885" cy="276999"/>
          </a:xfrm>
          <a:prstGeom prst="rect">
            <a:avLst/>
          </a:prstGeom>
          <a:noFill/>
        </p:spPr>
        <p:txBody>
          <a:bodyPr wrap="non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Poppins" pitchFamily="2" charset="77"/>
                <a:ea typeface="+mn-ea"/>
                <a:cs typeface="Poppins" pitchFamily="2" charset="77"/>
              </a:rPr>
              <a:t>PREPARATION</a:t>
            </a:r>
          </a:p>
        </p:txBody>
      </p:sp>
      <p:sp>
        <p:nvSpPr>
          <p:cNvPr id="30" name="TextBox 29">
            <a:extLst>
              <a:ext uri="{FF2B5EF4-FFF2-40B4-BE49-F238E27FC236}">
                <a16:creationId xmlns:a16="http://schemas.microsoft.com/office/drawing/2014/main" id="{9173310D-4FBC-B04B-B6D9-C2F430C4ADAD}"/>
              </a:ext>
            </a:extLst>
          </p:cNvPr>
          <p:cNvSpPr txBox="1"/>
          <p:nvPr/>
        </p:nvSpPr>
        <p:spPr>
          <a:xfrm>
            <a:off x="7738615" y="1465501"/>
            <a:ext cx="787395" cy="276999"/>
          </a:xfrm>
          <a:prstGeom prst="rect">
            <a:avLst/>
          </a:prstGeom>
          <a:noFill/>
        </p:spPr>
        <p:txBody>
          <a:bodyPr wrap="non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Poppins" pitchFamily="2" charset="77"/>
                <a:ea typeface="+mn-ea"/>
                <a:cs typeface="Poppins" pitchFamily="2" charset="77"/>
              </a:rPr>
              <a:t>ACTION</a:t>
            </a:r>
          </a:p>
        </p:txBody>
      </p:sp>
      <p:sp>
        <p:nvSpPr>
          <p:cNvPr id="31" name="TextBox 30">
            <a:extLst>
              <a:ext uri="{FF2B5EF4-FFF2-40B4-BE49-F238E27FC236}">
                <a16:creationId xmlns:a16="http://schemas.microsoft.com/office/drawing/2014/main" id="{0C045735-FD0A-A945-B849-A6E62A8A1A5A}"/>
              </a:ext>
            </a:extLst>
          </p:cNvPr>
          <p:cNvSpPr txBox="1"/>
          <p:nvPr/>
        </p:nvSpPr>
        <p:spPr>
          <a:xfrm>
            <a:off x="9508827" y="1465501"/>
            <a:ext cx="1319592" cy="276999"/>
          </a:xfrm>
          <a:prstGeom prst="rect">
            <a:avLst/>
          </a:prstGeom>
          <a:noFill/>
        </p:spPr>
        <p:txBody>
          <a:bodyPr wrap="non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Poppins" pitchFamily="2" charset="77"/>
                <a:ea typeface="+mn-ea"/>
                <a:cs typeface="Poppins" pitchFamily="2" charset="77"/>
              </a:rPr>
              <a:t>MAINTENANCE</a:t>
            </a:r>
          </a:p>
        </p:txBody>
      </p:sp>
      <p:sp>
        <p:nvSpPr>
          <p:cNvPr id="33" name="Subtitle 2">
            <a:extLst>
              <a:ext uri="{FF2B5EF4-FFF2-40B4-BE49-F238E27FC236}">
                <a16:creationId xmlns:a16="http://schemas.microsoft.com/office/drawing/2014/main" id="{FFA7C126-371A-1B4C-9E87-C579FBA91D83}"/>
              </a:ext>
            </a:extLst>
          </p:cNvPr>
          <p:cNvSpPr txBox="1">
            <a:spLocks/>
          </p:cNvSpPr>
          <p:nvPr/>
        </p:nvSpPr>
        <p:spPr>
          <a:xfrm>
            <a:off x="1103079" y="3863262"/>
            <a:ext cx="1840599" cy="944554"/>
          </a:xfrm>
          <a:prstGeom prst="rect">
            <a:avLst/>
          </a:prstGeom>
        </p:spPr>
        <p:txBody>
          <a:bodyPr vert="horz" wrap="square" lIns="45720" tIns="22860" rIns="45720" bIns="2286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ctr" defTabSz="1087636" rtl="0" eaLnBrk="1" fontAlgn="auto" latinLnBrk="0" hangingPunct="1">
              <a:lnSpc>
                <a:spcPts val="1750"/>
              </a:lnSpc>
              <a:spcBef>
                <a:spcPct val="20000"/>
              </a:spcBef>
              <a:spcAft>
                <a:spcPts val="0"/>
              </a:spcAft>
              <a:buClrTx/>
              <a:buSzTx/>
              <a:buFont typeface="Arial"/>
              <a:buNone/>
              <a:tabLst/>
              <a:defRPr/>
            </a:pPr>
            <a:r>
              <a:rPr kumimoji="0" lang="en-US" sz="1200" b="0" i="0" u="none" strike="noStrike" kern="1200" cap="none" spc="0" normalizeH="0" baseline="0" noProof="0" dirty="0">
                <a:ln>
                  <a:noFill/>
                </a:ln>
                <a:solidFill>
                  <a:prstClr val="black"/>
                </a:solidFill>
                <a:effectLst/>
                <a:uLnTx/>
                <a:uFillTx/>
                <a:latin typeface="Lato Light" panose="020F0502020204030203" pitchFamily="34" charset="0"/>
                <a:ea typeface="Lato Light" panose="020F0502020204030203" pitchFamily="34" charset="0"/>
                <a:cs typeface="Mukta ExtraLight" panose="020B0000000000000000" pitchFamily="34" charset="77"/>
              </a:rPr>
              <a:t>Widespread awareness through print and electronic media about dangers of dog bite</a:t>
            </a:r>
          </a:p>
        </p:txBody>
      </p:sp>
      <p:sp>
        <p:nvSpPr>
          <p:cNvPr id="34" name="Subtitle 2">
            <a:extLst>
              <a:ext uri="{FF2B5EF4-FFF2-40B4-BE49-F238E27FC236}">
                <a16:creationId xmlns:a16="http://schemas.microsoft.com/office/drawing/2014/main" id="{44E5C19F-1A20-1E44-943A-E3DC89E4102E}"/>
              </a:ext>
            </a:extLst>
          </p:cNvPr>
          <p:cNvSpPr txBox="1">
            <a:spLocks/>
          </p:cNvSpPr>
          <p:nvPr/>
        </p:nvSpPr>
        <p:spPr>
          <a:xfrm>
            <a:off x="3139389" y="3863262"/>
            <a:ext cx="1840599" cy="787588"/>
          </a:xfrm>
          <a:prstGeom prst="rect">
            <a:avLst/>
          </a:prstGeom>
        </p:spPr>
        <p:txBody>
          <a:bodyPr vert="horz" wrap="square" lIns="45720" tIns="22860" rIns="45720" bIns="2286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ctr" defTabSz="1087636" rtl="0" eaLnBrk="1" fontAlgn="auto" latinLnBrk="0" hangingPunct="1">
              <a:lnSpc>
                <a:spcPts val="1750"/>
              </a:lnSpc>
              <a:spcBef>
                <a:spcPct val="20000"/>
              </a:spcBef>
              <a:spcAft>
                <a:spcPts val="0"/>
              </a:spcAft>
              <a:buClrTx/>
              <a:buSzTx/>
              <a:buFont typeface="Arial"/>
              <a:buNone/>
              <a:tabLst/>
              <a:defRPr/>
            </a:pPr>
            <a:r>
              <a:rPr kumimoji="0" lang="en-US" sz="1200" b="0" i="0" u="none" strike="noStrike" kern="1200" cap="none" spc="0" normalizeH="0" baseline="0" noProof="0" dirty="0">
                <a:ln>
                  <a:noFill/>
                </a:ln>
                <a:solidFill>
                  <a:prstClr val="black"/>
                </a:solidFill>
                <a:effectLst/>
                <a:uLnTx/>
                <a:uFillTx/>
                <a:latin typeface="Lato Light" panose="020F0502020204030203" pitchFamily="34" charset="0"/>
                <a:ea typeface="Lato Light" panose="020F0502020204030203" pitchFamily="34" charset="0"/>
                <a:cs typeface="Mukta ExtraLight" panose="020B0000000000000000" pitchFamily="34" charset="77"/>
              </a:rPr>
              <a:t>Wound Toilet</a:t>
            </a:r>
          </a:p>
          <a:p>
            <a:pPr marL="0" marR="0" lvl="0" indent="0" algn="ctr" defTabSz="1087636" rtl="0" eaLnBrk="1" fontAlgn="auto" latinLnBrk="0" hangingPunct="1">
              <a:lnSpc>
                <a:spcPts val="1750"/>
              </a:lnSpc>
              <a:spcBef>
                <a:spcPct val="20000"/>
              </a:spcBef>
              <a:spcAft>
                <a:spcPts val="0"/>
              </a:spcAft>
              <a:buClrTx/>
              <a:buSzTx/>
              <a:buFont typeface="Arial"/>
              <a:buNone/>
              <a:tabLst/>
              <a:defRPr/>
            </a:pPr>
            <a:r>
              <a:rPr kumimoji="0" lang="en-US" sz="1200" b="0" i="0" u="none" strike="noStrike" kern="1200" cap="none" spc="0" normalizeH="0" baseline="0" noProof="0" dirty="0">
                <a:ln>
                  <a:noFill/>
                </a:ln>
                <a:solidFill>
                  <a:prstClr val="black"/>
                </a:solidFill>
                <a:effectLst/>
                <a:uLnTx/>
                <a:uFillTx/>
                <a:latin typeface="Lato Light" panose="020F0502020204030203" pitchFamily="34" charset="0"/>
                <a:ea typeface="Lato Light" panose="020F0502020204030203" pitchFamily="34" charset="0"/>
                <a:cs typeface="Mukta ExtraLight" panose="020B0000000000000000" pitchFamily="34" charset="77"/>
              </a:rPr>
              <a:t>Risk Assessment</a:t>
            </a:r>
          </a:p>
          <a:p>
            <a:pPr marL="0" marR="0" lvl="0" indent="0" algn="ctr" defTabSz="1087636" rtl="0" eaLnBrk="1" fontAlgn="auto" latinLnBrk="0" hangingPunct="1">
              <a:lnSpc>
                <a:spcPts val="1750"/>
              </a:lnSpc>
              <a:spcBef>
                <a:spcPct val="20000"/>
              </a:spcBef>
              <a:spcAft>
                <a:spcPts val="0"/>
              </a:spcAft>
              <a:buClrTx/>
              <a:buSzTx/>
              <a:buFont typeface="Arial"/>
              <a:buNone/>
              <a:tabLst/>
              <a:defRPr/>
            </a:pPr>
            <a:r>
              <a:rPr kumimoji="0" lang="en-US" sz="1200" b="0" i="0" u="none" strike="noStrike" kern="1200" cap="none" spc="0" normalizeH="0" baseline="0" noProof="0" dirty="0">
                <a:ln>
                  <a:noFill/>
                </a:ln>
                <a:solidFill>
                  <a:prstClr val="black"/>
                </a:solidFill>
                <a:effectLst/>
                <a:uLnTx/>
                <a:uFillTx/>
                <a:latin typeface="Lato Light" panose="020F0502020204030203" pitchFamily="34" charset="0"/>
                <a:ea typeface="Lato Light" panose="020F0502020204030203" pitchFamily="34" charset="0"/>
                <a:cs typeface="Mukta ExtraLight" panose="020B0000000000000000" pitchFamily="34" charset="77"/>
              </a:rPr>
              <a:t>Wound Categorization</a:t>
            </a:r>
          </a:p>
        </p:txBody>
      </p:sp>
      <p:sp>
        <p:nvSpPr>
          <p:cNvPr id="35" name="Subtitle 2">
            <a:extLst>
              <a:ext uri="{FF2B5EF4-FFF2-40B4-BE49-F238E27FC236}">
                <a16:creationId xmlns:a16="http://schemas.microsoft.com/office/drawing/2014/main" id="{242E36E2-531E-0C49-A3E5-629E8E090A3D}"/>
              </a:ext>
            </a:extLst>
          </p:cNvPr>
          <p:cNvSpPr txBox="1">
            <a:spLocks/>
          </p:cNvSpPr>
          <p:nvPr/>
        </p:nvSpPr>
        <p:spPr>
          <a:xfrm>
            <a:off x="5175701" y="3863262"/>
            <a:ext cx="1840599" cy="787588"/>
          </a:xfrm>
          <a:prstGeom prst="rect">
            <a:avLst/>
          </a:prstGeom>
        </p:spPr>
        <p:txBody>
          <a:bodyPr vert="horz" wrap="square" lIns="45720" tIns="22860" rIns="45720" bIns="2286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ctr" defTabSz="1087636" rtl="0" eaLnBrk="1" fontAlgn="auto" latinLnBrk="0" hangingPunct="1">
              <a:lnSpc>
                <a:spcPts val="1750"/>
              </a:lnSpc>
              <a:spcBef>
                <a:spcPct val="20000"/>
              </a:spcBef>
              <a:spcAft>
                <a:spcPts val="0"/>
              </a:spcAft>
              <a:buClrTx/>
              <a:buSzTx/>
              <a:buFont typeface="Arial"/>
              <a:buNone/>
              <a:tabLst/>
              <a:defRPr/>
            </a:pPr>
            <a:r>
              <a:rPr kumimoji="0" lang="en-US" sz="1200" b="0" i="0" u="none" strike="noStrike" kern="1200" cap="none" spc="0" normalizeH="0" baseline="0" noProof="0" dirty="0">
                <a:ln>
                  <a:noFill/>
                </a:ln>
                <a:solidFill>
                  <a:prstClr val="black"/>
                </a:solidFill>
                <a:effectLst/>
                <a:uLnTx/>
                <a:uFillTx/>
                <a:latin typeface="Lato Light" panose="020F0502020204030203" pitchFamily="34" charset="0"/>
                <a:ea typeface="Lato Light" panose="020F0502020204030203" pitchFamily="34" charset="0"/>
                <a:cs typeface="Mukta ExtraLight" panose="020B0000000000000000" pitchFamily="34" charset="77"/>
              </a:rPr>
              <a:t>All about Rabies Vaccine</a:t>
            </a:r>
          </a:p>
          <a:p>
            <a:pPr marL="0" marR="0" lvl="0" indent="0" algn="ctr" defTabSz="1087636" rtl="0" eaLnBrk="1" fontAlgn="auto" latinLnBrk="0" hangingPunct="1">
              <a:lnSpc>
                <a:spcPts val="1750"/>
              </a:lnSpc>
              <a:spcBef>
                <a:spcPct val="20000"/>
              </a:spcBef>
              <a:spcAft>
                <a:spcPts val="0"/>
              </a:spcAft>
              <a:buClrTx/>
              <a:buSzTx/>
              <a:buFont typeface="Arial"/>
              <a:buNone/>
              <a:tabLst/>
              <a:defRPr/>
            </a:pPr>
            <a:r>
              <a:rPr kumimoji="0" lang="en-US" sz="1200" b="0" i="0" u="none" strike="noStrike" kern="1200" cap="none" spc="0" normalizeH="0" baseline="0" noProof="0" dirty="0">
                <a:ln>
                  <a:noFill/>
                </a:ln>
                <a:solidFill>
                  <a:prstClr val="black"/>
                </a:solidFill>
                <a:effectLst/>
                <a:uLnTx/>
                <a:uFillTx/>
                <a:latin typeface="Lato Light" panose="020F0502020204030203" pitchFamily="34" charset="0"/>
                <a:ea typeface="Lato Light" panose="020F0502020204030203" pitchFamily="34" charset="0"/>
                <a:cs typeface="Mukta ExtraLight" panose="020B0000000000000000" pitchFamily="34" charset="77"/>
              </a:rPr>
              <a:t>and</a:t>
            </a:r>
          </a:p>
          <a:p>
            <a:pPr marL="0" marR="0" lvl="0" indent="0" algn="ctr" defTabSz="1087636" rtl="0" eaLnBrk="1" fontAlgn="auto" latinLnBrk="0" hangingPunct="1">
              <a:lnSpc>
                <a:spcPts val="1750"/>
              </a:lnSpc>
              <a:spcBef>
                <a:spcPct val="20000"/>
              </a:spcBef>
              <a:spcAft>
                <a:spcPts val="0"/>
              </a:spcAft>
              <a:buClrTx/>
              <a:buSzTx/>
              <a:buFont typeface="Arial"/>
              <a:buNone/>
              <a:tabLst/>
              <a:defRPr/>
            </a:pPr>
            <a:r>
              <a:rPr kumimoji="0" lang="en-US" sz="1200" b="0" i="0" u="none" strike="noStrike" kern="1200" cap="none" spc="0" normalizeH="0" baseline="0" noProof="0" dirty="0">
                <a:ln>
                  <a:noFill/>
                </a:ln>
                <a:solidFill>
                  <a:prstClr val="black"/>
                </a:solidFill>
                <a:effectLst/>
                <a:uLnTx/>
                <a:uFillTx/>
                <a:latin typeface="Lato Light" panose="020F0502020204030203" pitchFamily="34" charset="0"/>
                <a:ea typeface="Lato Light" panose="020F0502020204030203" pitchFamily="34" charset="0"/>
                <a:cs typeface="Mukta ExtraLight" panose="020B0000000000000000" pitchFamily="34" charset="77"/>
              </a:rPr>
              <a:t>Rabies Immunoglobulin.</a:t>
            </a:r>
          </a:p>
        </p:txBody>
      </p:sp>
      <p:sp>
        <p:nvSpPr>
          <p:cNvPr id="36" name="Subtitle 2">
            <a:extLst>
              <a:ext uri="{FF2B5EF4-FFF2-40B4-BE49-F238E27FC236}">
                <a16:creationId xmlns:a16="http://schemas.microsoft.com/office/drawing/2014/main" id="{C9C06CDA-A676-6842-ACB3-A26AF32D5F0E}"/>
              </a:ext>
            </a:extLst>
          </p:cNvPr>
          <p:cNvSpPr txBox="1">
            <a:spLocks/>
          </p:cNvSpPr>
          <p:nvPr/>
        </p:nvSpPr>
        <p:spPr>
          <a:xfrm>
            <a:off x="7212013" y="3863262"/>
            <a:ext cx="1840599" cy="519822"/>
          </a:xfrm>
          <a:prstGeom prst="rect">
            <a:avLst/>
          </a:prstGeom>
        </p:spPr>
        <p:txBody>
          <a:bodyPr vert="horz" wrap="square" lIns="45720" tIns="22860" rIns="45720" bIns="2286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ctr" defTabSz="1087636" rtl="0" eaLnBrk="1" fontAlgn="auto" latinLnBrk="0" hangingPunct="1">
              <a:lnSpc>
                <a:spcPts val="1750"/>
              </a:lnSpc>
              <a:spcBef>
                <a:spcPct val="20000"/>
              </a:spcBef>
              <a:spcAft>
                <a:spcPts val="0"/>
              </a:spcAft>
              <a:buClrTx/>
              <a:buSzTx/>
              <a:buFont typeface="Arial"/>
              <a:buNone/>
              <a:tabLst/>
              <a:defRPr/>
            </a:pPr>
            <a:r>
              <a:rPr kumimoji="0" lang="en-US" sz="1200" b="0" i="0" u="none" strike="noStrike" kern="1200" cap="none" spc="0" normalizeH="0" baseline="0" noProof="0" dirty="0">
                <a:ln>
                  <a:noFill/>
                </a:ln>
                <a:solidFill>
                  <a:prstClr val="black"/>
                </a:solidFill>
                <a:effectLst/>
                <a:uLnTx/>
                <a:uFillTx/>
                <a:latin typeface="Lato Light" panose="020F0502020204030203" pitchFamily="34" charset="0"/>
                <a:ea typeface="Lato Light" panose="020F0502020204030203" pitchFamily="34" charset="0"/>
                <a:cs typeface="Mukta ExtraLight" panose="020B0000000000000000" pitchFamily="34" charset="77"/>
              </a:rPr>
              <a:t>ID regimen</a:t>
            </a:r>
          </a:p>
          <a:p>
            <a:pPr marL="0" marR="0" lvl="0" indent="0" algn="ctr" defTabSz="1087636" rtl="0" eaLnBrk="1" fontAlgn="auto" latinLnBrk="0" hangingPunct="1">
              <a:lnSpc>
                <a:spcPts val="1750"/>
              </a:lnSpc>
              <a:spcBef>
                <a:spcPct val="20000"/>
              </a:spcBef>
              <a:spcAft>
                <a:spcPts val="0"/>
              </a:spcAft>
              <a:buClrTx/>
              <a:buSzTx/>
              <a:buFont typeface="Arial"/>
              <a:buNone/>
              <a:tabLst/>
              <a:defRPr/>
            </a:pPr>
            <a:r>
              <a:rPr kumimoji="0" lang="en-US" sz="1200" b="0" i="0" u="none" strike="noStrike" kern="1200" cap="none" spc="0" normalizeH="0" baseline="0" noProof="0" dirty="0">
                <a:ln>
                  <a:noFill/>
                </a:ln>
                <a:solidFill>
                  <a:prstClr val="black"/>
                </a:solidFill>
                <a:effectLst/>
                <a:uLnTx/>
                <a:uFillTx/>
                <a:latin typeface="Lato Light" panose="020F0502020204030203" pitchFamily="34" charset="0"/>
                <a:ea typeface="Lato Light" panose="020F0502020204030203" pitchFamily="34" charset="0"/>
                <a:cs typeface="Mukta ExtraLight" panose="020B0000000000000000" pitchFamily="34" charset="77"/>
              </a:rPr>
              <a:t>Complete Vaccine course</a:t>
            </a:r>
          </a:p>
        </p:txBody>
      </p:sp>
      <p:sp>
        <p:nvSpPr>
          <p:cNvPr id="37" name="Subtitle 2">
            <a:extLst>
              <a:ext uri="{FF2B5EF4-FFF2-40B4-BE49-F238E27FC236}">
                <a16:creationId xmlns:a16="http://schemas.microsoft.com/office/drawing/2014/main" id="{20F373D7-7B62-A84C-B10C-32904B54FC93}"/>
              </a:ext>
            </a:extLst>
          </p:cNvPr>
          <p:cNvSpPr txBox="1">
            <a:spLocks/>
          </p:cNvSpPr>
          <p:nvPr/>
        </p:nvSpPr>
        <p:spPr>
          <a:xfrm>
            <a:off x="9248323" y="3863262"/>
            <a:ext cx="1840599" cy="713722"/>
          </a:xfrm>
          <a:prstGeom prst="rect">
            <a:avLst/>
          </a:prstGeom>
        </p:spPr>
        <p:txBody>
          <a:bodyPr vert="horz" wrap="square" lIns="45720" tIns="22860" rIns="45720" bIns="2286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ctr" defTabSz="1087636" rtl="0" eaLnBrk="1" fontAlgn="auto" latinLnBrk="0" hangingPunct="1">
              <a:lnSpc>
                <a:spcPts val="1750"/>
              </a:lnSpc>
              <a:spcBef>
                <a:spcPct val="20000"/>
              </a:spcBef>
              <a:spcAft>
                <a:spcPts val="0"/>
              </a:spcAft>
              <a:buClrTx/>
              <a:buSzTx/>
              <a:buFont typeface="Arial"/>
              <a:buNone/>
              <a:tabLst/>
              <a:defRPr/>
            </a:pPr>
            <a:r>
              <a:rPr kumimoji="0" lang="en-US" sz="1200" b="0" i="0" u="none" strike="noStrike" kern="1200" cap="none" spc="0" normalizeH="0" baseline="0" noProof="0" dirty="0">
                <a:ln>
                  <a:noFill/>
                </a:ln>
                <a:solidFill>
                  <a:prstClr val="black"/>
                </a:solidFill>
                <a:effectLst/>
                <a:uLnTx/>
                <a:uFillTx/>
                <a:latin typeface="Lato Light" panose="020F0502020204030203" pitchFamily="34" charset="0"/>
                <a:ea typeface="Lato Light" panose="020F0502020204030203" pitchFamily="34" charset="0"/>
                <a:cs typeface="Mukta ExtraLight" panose="020B0000000000000000" pitchFamily="34" charset="77"/>
              </a:rPr>
              <a:t>Uninterrupted supply of quality Vaccine at no cost to patient</a:t>
            </a:r>
          </a:p>
        </p:txBody>
      </p:sp>
      <p:sp>
        <p:nvSpPr>
          <p:cNvPr id="39" name="TextBox 38">
            <a:extLst>
              <a:ext uri="{FF2B5EF4-FFF2-40B4-BE49-F238E27FC236}">
                <a16:creationId xmlns:a16="http://schemas.microsoft.com/office/drawing/2014/main" id="{536AB451-7FBD-864E-A583-FBF513FEFA04}"/>
              </a:ext>
            </a:extLst>
          </p:cNvPr>
          <p:cNvSpPr txBox="1"/>
          <p:nvPr/>
        </p:nvSpPr>
        <p:spPr>
          <a:xfrm>
            <a:off x="4412714" y="306186"/>
            <a:ext cx="3366627" cy="553998"/>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noProof="0" dirty="0">
                <a:ln>
                  <a:noFill/>
                </a:ln>
                <a:solidFill>
                  <a:srgbClr val="191B0E"/>
                </a:solidFill>
                <a:effectLst/>
                <a:uLnTx/>
                <a:uFillTx/>
                <a:latin typeface="Poppins" pitchFamily="2" charset="77"/>
                <a:ea typeface="+mn-ea"/>
                <a:cs typeface="Poppins" pitchFamily="2" charset="77"/>
              </a:rPr>
              <a:t>PLAN OF ACTION</a:t>
            </a:r>
          </a:p>
        </p:txBody>
      </p:sp>
      <p:sp>
        <p:nvSpPr>
          <p:cNvPr id="41" name="Left Arrow 40">
            <a:extLst>
              <a:ext uri="{FF2B5EF4-FFF2-40B4-BE49-F238E27FC236}">
                <a16:creationId xmlns:a16="http://schemas.microsoft.com/office/drawing/2014/main" id="{0B84FA50-F9C7-224E-ABF1-CE33B4E748BB}"/>
              </a:ext>
            </a:extLst>
          </p:cNvPr>
          <p:cNvSpPr/>
          <p:nvPr/>
        </p:nvSpPr>
        <p:spPr>
          <a:xfrm>
            <a:off x="762001" y="5600835"/>
            <a:ext cx="6314945" cy="694908"/>
          </a:xfrm>
          <a:prstGeom prst="leftArrow">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white"/>
              </a:solidFill>
              <a:effectLst/>
              <a:uLnTx/>
              <a:uFillTx/>
              <a:latin typeface="Lato Light" panose="020F0502020204030203" pitchFamily="34" charset="0"/>
              <a:ea typeface="+mn-ea"/>
              <a:cs typeface="+mn-cs"/>
            </a:endParaRPr>
          </a:p>
        </p:txBody>
      </p:sp>
      <p:sp>
        <p:nvSpPr>
          <p:cNvPr id="42" name="Right Arrow 41">
            <a:extLst>
              <a:ext uri="{FF2B5EF4-FFF2-40B4-BE49-F238E27FC236}">
                <a16:creationId xmlns:a16="http://schemas.microsoft.com/office/drawing/2014/main" id="{0CDD4513-F946-AD4A-94D2-E4D6A0B0821E}"/>
              </a:ext>
            </a:extLst>
          </p:cNvPr>
          <p:cNvSpPr/>
          <p:nvPr/>
        </p:nvSpPr>
        <p:spPr>
          <a:xfrm>
            <a:off x="7212013" y="5600835"/>
            <a:ext cx="4217987" cy="694908"/>
          </a:xfrm>
          <a:prstGeom prst="rightArrow">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white"/>
              </a:solidFill>
              <a:effectLst/>
              <a:uLnTx/>
              <a:uFillTx/>
              <a:latin typeface="Lato Light" panose="020F0502020204030203" pitchFamily="34" charset="0"/>
              <a:ea typeface="+mn-ea"/>
              <a:cs typeface="+mn-cs"/>
            </a:endParaRPr>
          </a:p>
        </p:txBody>
      </p:sp>
      <p:sp>
        <p:nvSpPr>
          <p:cNvPr id="43" name="TextBox 42">
            <a:extLst>
              <a:ext uri="{FF2B5EF4-FFF2-40B4-BE49-F238E27FC236}">
                <a16:creationId xmlns:a16="http://schemas.microsoft.com/office/drawing/2014/main" id="{CE4EA9D4-DA00-6140-930E-D955D379ED23}"/>
              </a:ext>
            </a:extLst>
          </p:cNvPr>
          <p:cNvSpPr txBox="1"/>
          <p:nvPr/>
        </p:nvSpPr>
        <p:spPr>
          <a:xfrm>
            <a:off x="3104989" y="5809789"/>
            <a:ext cx="1628972" cy="276999"/>
          </a:xfrm>
          <a:prstGeom prst="rect">
            <a:avLst/>
          </a:prstGeom>
          <a:noFill/>
        </p:spPr>
        <p:txBody>
          <a:bodyPr wrap="non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Poppins" pitchFamily="2" charset="77"/>
                <a:ea typeface="+mn-ea"/>
                <a:cs typeface="Poppins" pitchFamily="2" charset="77"/>
              </a:rPr>
              <a:t>ENABLEMENT ZONE</a:t>
            </a:r>
          </a:p>
        </p:txBody>
      </p:sp>
      <p:sp>
        <p:nvSpPr>
          <p:cNvPr id="44" name="TextBox 43">
            <a:extLst>
              <a:ext uri="{FF2B5EF4-FFF2-40B4-BE49-F238E27FC236}">
                <a16:creationId xmlns:a16="http://schemas.microsoft.com/office/drawing/2014/main" id="{7FEF4CCC-C2FE-7A44-82D2-2D68D29AA6BF}"/>
              </a:ext>
            </a:extLst>
          </p:cNvPr>
          <p:cNvSpPr txBox="1"/>
          <p:nvPr/>
        </p:nvSpPr>
        <p:spPr>
          <a:xfrm>
            <a:off x="8476864" y="5809789"/>
            <a:ext cx="1688284" cy="276999"/>
          </a:xfrm>
          <a:prstGeom prst="rect">
            <a:avLst/>
          </a:prstGeom>
          <a:noFill/>
        </p:spPr>
        <p:txBody>
          <a:bodyPr wrap="non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Poppins" pitchFamily="2" charset="77"/>
                <a:ea typeface="+mn-ea"/>
                <a:cs typeface="Poppins" pitchFamily="2" charset="77"/>
              </a:rPr>
              <a:t>ENGAGEMENT ZONE</a:t>
            </a:r>
          </a:p>
        </p:txBody>
      </p:sp>
    </p:spTree>
    <p:extLst>
      <p:ext uri="{BB962C8B-B14F-4D97-AF65-F5344CB8AC3E}">
        <p14:creationId xmlns:p14="http://schemas.microsoft.com/office/powerpoint/2010/main" val="182254098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F219061A-EBEA-B449-9758-55757DB02763}"/>
              </a:ext>
            </a:extLst>
          </p:cNvPr>
          <p:cNvSpPr>
            <a:spLocks noGrp="1"/>
          </p:cNvSpPr>
          <p:nvPr>
            <p:ph type="title"/>
          </p:nvPr>
        </p:nvSpPr>
        <p:spPr/>
        <p:txBody>
          <a:bodyPr>
            <a:normAutofit/>
          </a:bodyPr>
          <a:lstStyle/>
          <a:p>
            <a:r>
              <a:rPr lang="en-PK" sz="3200" dirty="0"/>
              <a:t>Rabies Vaccine</a:t>
            </a:r>
          </a:p>
        </p:txBody>
      </p:sp>
      <p:pic>
        <p:nvPicPr>
          <p:cNvPr id="9" name="Content Placeholder 8">
            <a:extLst>
              <a:ext uri="{FF2B5EF4-FFF2-40B4-BE49-F238E27FC236}">
                <a16:creationId xmlns:a16="http://schemas.microsoft.com/office/drawing/2014/main" id="{8E7D3929-4DBE-8D65-66D6-1023CFB486EC}"/>
              </a:ext>
            </a:extLst>
          </p:cNvPr>
          <p:cNvPicPr>
            <a:picLocks noGrp="1" noChangeAspect="1"/>
          </p:cNvPicPr>
          <p:nvPr>
            <p:ph sz="half" idx="1"/>
          </p:nvPr>
        </p:nvPicPr>
        <p:blipFill>
          <a:blip r:embed="rId2"/>
          <a:stretch>
            <a:fillRect/>
          </a:stretch>
        </p:blipFill>
        <p:spPr>
          <a:xfrm>
            <a:off x="1166518" y="2072407"/>
            <a:ext cx="3779193" cy="2814711"/>
          </a:xfrm>
        </p:spPr>
      </p:pic>
      <p:sp>
        <p:nvSpPr>
          <p:cNvPr id="15" name="Content Placeholder 14">
            <a:extLst>
              <a:ext uri="{FF2B5EF4-FFF2-40B4-BE49-F238E27FC236}">
                <a16:creationId xmlns:a16="http://schemas.microsoft.com/office/drawing/2014/main" id="{20F9B6A5-A064-6EDF-31B2-67CFBDE51D77}"/>
              </a:ext>
            </a:extLst>
          </p:cNvPr>
          <p:cNvSpPr>
            <a:spLocks noGrp="1"/>
          </p:cNvSpPr>
          <p:nvPr>
            <p:ph sz="half" idx="2"/>
          </p:nvPr>
        </p:nvSpPr>
        <p:spPr/>
        <p:txBody>
          <a:bodyPr>
            <a:normAutofit fontScale="62500" lnSpcReduction="20000"/>
          </a:bodyPr>
          <a:lstStyle/>
          <a:p>
            <a:r>
              <a:rPr lang="en-PK" sz="2000" dirty="0"/>
              <a:t>Brands</a:t>
            </a:r>
          </a:p>
          <a:p>
            <a:r>
              <a:rPr lang="en-PK" sz="2000" dirty="0"/>
              <a:t>Volume 0.5/1 ml</a:t>
            </a:r>
          </a:p>
          <a:p>
            <a:r>
              <a:rPr lang="en-PK" sz="2000" dirty="0"/>
              <a:t>Prequalified/not</a:t>
            </a:r>
          </a:p>
          <a:p>
            <a:r>
              <a:rPr lang="en-PK" sz="2000" dirty="0"/>
              <a:t>Evolving IM/</a:t>
            </a:r>
            <a:r>
              <a:rPr lang="en-US" sz="2000" dirty="0"/>
              <a:t>ID </a:t>
            </a:r>
            <a:r>
              <a:rPr lang="en-PK" sz="2000" dirty="0"/>
              <a:t>schedules</a:t>
            </a:r>
          </a:p>
          <a:p>
            <a:r>
              <a:rPr lang="en-PK" sz="2000" dirty="0"/>
              <a:t>Package insert: “for IM use”</a:t>
            </a:r>
          </a:p>
          <a:p>
            <a:r>
              <a:rPr lang="en-PK" sz="2000" dirty="0"/>
              <a:t>Storage of reconstituted vax</a:t>
            </a:r>
          </a:p>
          <a:p>
            <a:r>
              <a:rPr lang="en-PK" sz="2000" dirty="0"/>
              <a:t>Interchangeable brand/route</a:t>
            </a:r>
          </a:p>
          <a:p>
            <a:r>
              <a:rPr lang="en-PK" sz="2000" dirty="0"/>
              <a:t>Re-exposure</a:t>
            </a:r>
          </a:p>
          <a:p>
            <a:r>
              <a:rPr lang="en-PK" sz="2000" dirty="0"/>
              <a:t>Borderline Category 11/111</a:t>
            </a:r>
          </a:p>
          <a:p>
            <a:endParaRPr lang="en-PK" sz="2000" dirty="0"/>
          </a:p>
          <a:p>
            <a:r>
              <a:rPr lang="en-PK" sz="2000" dirty="0"/>
              <a:t>PrEP/PEP</a:t>
            </a:r>
          </a:p>
          <a:p>
            <a:r>
              <a:rPr lang="en-PK" sz="2000" dirty="0"/>
              <a:t>FAQs</a:t>
            </a:r>
          </a:p>
          <a:p>
            <a:endParaRPr lang="en-PK" dirty="0"/>
          </a:p>
        </p:txBody>
      </p:sp>
      <p:pic>
        <p:nvPicPr>
          <p:cNvPr id="3" name="Picture 2">
            <a:extLst>
              <a:ext uri="{FF2B5EF4-FFF2-40B4-BE49-F238E27FC236}">
                <a16:creationId xmlns:a16="http://schemas.microsoft.com/office/drawing/2014/main" id="{73529A06-5C35-3938-5D74-2537D3CA78EF}"/>
              </a:ext>
            </a:extLst>
          </p:cNvPr>
          <p:cNvPicPr>
            <a:picLocks noChangeAspect="1"/>
          </p:cNvPicPr>
          <p:nvPr/>
        </p:nvPicPr>
        <p:blipFill>
          <a:blip r:embed="rId3"/>
          <a:stretch>
            <a:fillRect/>
          </a:stretch>
        </p:blipFill>
        <p:spPr>
          <a:xfrm>
            <a:off x="7172077" y="1528223"/>
            <a:ext cx="632088" cy="643477"/>
          </a:xfrm>
          <a:prstGeom prst="rect">
            <a:avLst/>
          </a:prstGeom>
        </p:spPr>
      </p:pic>
    </p:spTree>
    <p:extLst>
      <p:ext uri="{BB962C8B-B14F-4D97-AF65-F5344CB8AC3E}">
        <p14:creationId xmlns:p14="http://schemas.microsoft.com/office/powerpoint/2010/main" val="271870354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FA152A-1F6E-95F0-B481-935E5A95482B}"/>
              </a:ext>
            </a:extLst>
          </p:cNvPr>
          <p:cNvSpPr>
            <a:spLocks noGrp="1"/>
          </p:cNvSpPr>
          <p:nvPr>
            <p:ph type="title"/>
          </p:nvPr>
        </p:nvSpPr>
        <p:spPr>
          <a:xfrm>
            <a:off x="838200" y="365125"/>
            <a:ext cx="10515600" cy="1140909"/>
          </a:xfrm>
        </p:spPr>
        <p:txBody>
          <a:bodyPr>
            <a:normAutofit fontScale="90000"/>
          </a:bodyPr>
          <a:lstStyle/>
          <a:p>
            <a:r>
              <a:rPr lang="en-PK" sz="3600" dirty="0"/>
              <a:t>Rabies Immunoglobulin</a:t>
            </a:r>
            <a:br>
              <a:rPr lang="en-PK" sz="3600" dirty="0"/>
            </a:br>
            <a:endParaRPr lang="en-PK" dirty="0"/>
          </a:p>
        </p:txBody>
      </p:sp>
      <p:pic>
        <p:nvPicPr>
          <p:cNvPr id="8" name="Content Placeholder 7">
            <a:extLst>
              <a:ext uri="{FF2B5EF4-FFF2-40B4-BE49-F238E27FC236}">
                <a16:creationId xmlns:a16="http://schemas.microsoft.com/office/drawing/2014/main" id="{7357553F-66ED-80B6-CA28-7236147BBF7E}"/>
              </a:ext>
            </a:extLst>
          </p:cNvPr>
          <p:cNvPicPr>
            <a:picLocks noGrp="1" noChangeAspect="1"/>
          </p:cNvPicPr>
          <p:nvPr>
            <p:ph sz="half" idx="1"/>
          </p:nvPr>
        </p:nvPicPr>
        <p:blipFill>
          <a:blip r:embed="rId2"/>
          <a:stretch>
            <a:fillRect/>
          </a:stretch>
        </p:blipFill>
        <p:spPr>
          <a:xfrm>
            <a:off x="8476090" y="2253690"/>
            <a:ext cx="649888" cy="661598"/>
          </a:xfrm>
          <a:prstGeom prst="rect">
            <a:avLst/>
          </a:prstGeom>
        </p:spPr>
      </p:pic>
      <p:sp>
        <p:nvSpPr>
          <p:cNvPr id="4" name="Content Placeholder 3">
            <a:extLst>
              <a:ext uri="{FF2B5EF4-FFF2-40B4-BE49-F238E27FC236}">
                <a16:creationId xmlns:a16="http://schemas.microsoft.com/office/drawing/2014/main" id="{49D33729-1720-7316-D777-F65273130056}"/>
              </a:ext>
            </a:extLst>
          </p:cNvPr>
          <p:cNvSpPr>
            <a:spLocks noGrp="1"/>
          </p:cNvSpPr>
          <p:nvPr>
            <p:ph sz="half" idx="2"/>
          </p:nvPr>
        </p:nvSpPr>
        <p:spPr>
          <a:xfrm>
            <a:off x="6528021" y="2202511"/>
            <a:ext cx="4445168" cy="3664889"/>
          </a:xfrm>
        </p:spPr>
        <p:txBody>
          <a:bodyPr>
            <a:normAutofit fontScale="85000" lnSpcReduction="10000"/>
          </a:bodyPr>
          <a:lstStyle/>
          <a:p>
            <a:pPr marL="0" indent="0">
              <a:buNone/>
            </a:pPr>
            <a:r>
              <a:rPr lang="en-PK" sz="1800" b="1" dirty="0"/>
              <a:t>Misconceptions:</a:t>
            </a:r>
          </a:p>
          <a:p>
            <a:pPr marL="0" indent="0">
              <a:lnSpc>
                <a:spcPct val="120000"/>
              </a:lnSpc>
              <a:spcBef>
                <a:spcPts val="0"/>
              </a:spcBef>
              <a:buNone/>
            </a:pPr>
            <a:r>
              <a:rPr lang="en-PK" sz="1800" dirty="0"/>
              <a:t>RIG is unaffordable</a:t>
            </a:r>
          </a:p>
          <a:p>
            <a:pPr marL="0" indent="0">
              <a:lnSpc>
                <a:spcPct val="120000"/>
              </a:lnSpc>
              <a:spcBef>
                <a:spcPts val="0"/>
              </a:spcBef>
              <a:buNone/>
            </a:pPr>
            <a:r>
              <a:rPr lang="en-PK" sz="1800" dirty="0"/>
              <a:t>eRIG unsafe</a:t>
            </a:r>
          </a:p>
          <a:p>
            <a:pPr marL="0" indent="0">
              <a:buNone/>
            </a:pPr>
            <a:endParaRPr lang="en-PK" sz="1800" dirty="0"/>
          </a:p>
          <a:p>
            <a:pPr marL="0" indent="0">
              <a:buNone/>
            </a:pPr>
            <a:r>
              <a:rPr lang="en-PK" sz="1800" dirty="0"/>
              <a:t>Pre-2018: infiltrate wound, inject remaining into distant muscle</a:t>
            </a:r>
          </a:p>
          <a:p>
            <a:pPr marL="0" indent="0">
              <a:buNone/>
            </a:pPr>
            <a:r>
              <a:rPr lang="en-PK" sz="1800" dirty="0"/>
              <a:t>Post-2018: into wound only</a:t>
            </a:r>
          </a:p>
          <a:p>
            <a:r>
              <a:rPr lang="en-PK" sz="1800" dirty="0"/>
              <a:t>eRIG is safe; skin test not required; </a:t>
            </a:r>
          </a:p>
          <a:p>
            <a:r>
              <a:rPr lang="en-PK" sz="1800" dirty="0"/>
              <a:t>eRIG is noninferior to hRIG</a:t>
            </a:r>
          </a:p>
          <a:p>
            <a:r>
              <a:rPr lang="en-PK" sz="1800" dirty="0"/>
              <a:t>Victim received vaccine 8 days prior after rabid bite….. </a:t>
            </a:r>
            <a:r>
              <a:rPr lang="en-US" sz="1800" dirty="0"/>
              <a:t>w</a:t>
            </a:r>
            <a:r>
              <a:rPr lang="en-PK" sz="1800" dirty="0"/>
              <a:t>hat to do?</a:t>
            </a:r>
          </a:p>
          <a:p>
            <a:r>
              <a:rPr lang="en-PK" sz="1800" dirty="0"/>
              <a:t>Saliva in eye</a:t>
            </a:r>
          </a:p>
          <a:p>
            <a:pPr marL="0" indent="0">
              <a:buNone/>
            </a:pPr>
            <a:endParaRPr lang="en-PK" sz="1800" dirty="0"/>
          </a:p>
        </p:txBody>
      </p:sp>
      <p:pic>
        <p:nvPicPr>
          <p:cNvPr id="3" name="Content Placeholder 8">
            <a:extLst>
              <a:ext uri="{FF2B5EF4-FFF2-40B4-BE49-F238E27FC236}">
                <a16:creationId xmlns:a16="http://schemas.microsoft.com/office/drawing/2014/main" id="{32EC6E8D-D31F-AE77-7FF4-72DC7532F813}"/>
              </a:ext>
            </a:extLst>
          </p:cNvPr>
          <p:cNvPicPr>
            <a:picLocks noChangeAspect="1"/>
          </p:cNvPicPr>
          <p:nvPr/>
        </p:nvPicPr>
        <p:blipFill>
          <a:blip r:embed="rId3"/>
          <a:stretch>
            <a:fillRect/>
          </a:stretch>
        </p:blipFill>
        <p:spPr>
          <a:xfrm>
            <a:off x="1100383" y="2264806"/>
            <a:ext cx="4036159" cy="3006098"/>
          </a:xfrm>
          <a:prstGeom prst="rect">
            <a:avLst/>
          </a:prstGeom>
        </p:spPr>
      </p:pic>
    </p:spTree>
    <p:extLst>
      <p:ext uri="{BB962C8B-B14F-4D97-AF65-F5344CB8AC3E}">
        <p14:creationId xmlns:p14="http://schemas.microsoft.com/office/powerpoint/2010/main" val="191614009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040860" y="241013"/>
            <a:ext cx="9627139" cy="52322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Regimen History</a:t>
            </a:r>
          </a:p>
        </p:txBody>
      </p:sp>
      <p:cxnSp>
        <p:nvCxnSpPr>
          <p:cNvPr id="16" name="Straight Connector 15"/>
          <p:cNvCxnSpPr/>
          <p:nvPr/>
        </p:nvCxnSpPr>
        <p:spPr>
          <a:xfrm>
            <a:off x="389554" y="828968"/>
            <a:ext cx="11412893" cy="0"/>
          </a:xfrm>
          <a:prstGeom prst="line">
            <a:avLst/>
          </a:prstGeom>
          <a:ln w="1905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19" name="Table 18"/>
          <p:cNvGraphicFramePr>
            <a:graphicFrameLocks noGrp="1"/>
          </p:cNvGraphicFramePr>
          <p:nvPr/>
        </p:nvGraphicFramePr>
        <p:xfrm>
          <a:off x="2201904" y="1042070"/>
          <a:ext cx="7788192" cy="5178435"/>
        </p:xfrm>
        <a:graphic>
          <a:graphicData uri="http://schemas.openxmlformats.org/drawingml/2006/table">
            <a:tbl>
              <a:tblPr firstRow="1" bandRow="1">
                <a:tableStyleId>{C083E6E3-FA7D-4D7B-A595-EF9225AFEA82}</a:tableStyleId>
              </a:tblPr>
              <a:tblGrid>
                <a:gridCol w="1298032">
                  <a:extLst>
                    <a:ext uri="{9D8B030D-6E8A-4147-A177-3AD203B41FA5}">
                      <a16:colId xmlns:a16="http://schemas.microsoft.com/office/drawing/2014/main" val="20000"/>
                    </a:ext>
                  </a:extLst>
                </a:gridCol>
                <a:gridCol w="1052609">
                  <a:extLst>
                    <a:ext uri="{9D8B030D-6E8A-4147-A177-3AD203B41FA5}">
                      <a16:colId xmlns:a16="http://schemas.microsoft.com/office/drawing/2014/main" val="20001"/>
                    </a:ext>
                  </a:extLst>
                </a:gridCol>
                <a:gridCol w="1543455">
                  <a:extLst>
                    <a:ext uri="{9D8B030D-6E8A-4147-A177-3AD203B41FA5}">
                      <a16:colId xmlns:a16="http://schemas.microsoft.com/office/drawing/2014/main" val="20002"/>
                    </a:ext>
                  </a:extLst>
                </a:gridCol>
                <a:gridCol w="1298032">
                  <a:extLst>
                    <a:ext uri="{9D8B030D-6E8A-4147-A177-3AD203B41FA5}">
                      <a16:colId xmlns:a16="http://schemas.microsoft.com/office/drawing/2014/main" val="20003"/>
                    </a:ext>
                  </a:extLst>
                </a:gridCol>
                <a:gridCol w="1298032">
                  <a:extLst>
                    <a:ext uri="{9D8B030D-6E8A-4147-A177-3AD203B41FA5}">
                      <a16:colId xmlns:a16="http://schemas.microsoft.com/office/drawing/2014/main" val="20004"/>
                    </a:ext>
                  </a:extLst>
                </a:gridCol>
                <a:gridCol w="1298032">
                  <a:extLst>
                    <a:ext uri="{9D8B030D-6E8A-4147-A177-3AD203B41FA5}">
                      <a16:colId xmlns:a16="http://schemas.microsoft.com/office/drawing/2014/main" val="20005"/>
                    </a:ext>
                  </a:extLst>
                </a:gridCol>
              </a:tblGrid>
              <a:tr h="481542">
                <a:tc>
                  <a:txBody>
                    <a:bodyPr/>
                    <a:lstStyle/>
                    <a:p>
                      <a:r>
                        <a:rPr lang="en-US" dirty="0">
                          <a:latin typeface="Century Gothic" panose="020B0502020202020204" pitchFamily="34" charset="0"/>
                        </a:rPr>
                        <a:t>Regimen</a:t>
                      </a:r>
                    </a:p>
                  </a:txBody>
                  <a:tcPr/>
                </a:tc>
                <a:tc>
                  <a:txBody>
                    <a:bodyPr/>
                    <a:lstStyle/>
                    <a:p>
                      <a:r>
                        <a:rPr lang="en-US" dirty="0">
                          <a:latin typeface="Century Gothic" panose="020B0502020202020204" pitchFamily="34" charset="0"/>
                        </a:rPr>
                        <a:t>Visits</a:t>
                      </a:r>
                    </a:p>
                  </a:txBody>
                  <a:tcPr/>
                </a:tc>
                <a:tc>
                  <a:txBody>
                    <a:bodyPr/>
                    <a:lstStyle/>
                    <a:p>
                      <a:r>
                        <a:rPr lang="en-US" dirty="0">
                          <a:latin typeface="Century Gothic" panose="020B0502020202020204" pitchFamily="34" charset="0"/>
                        </a:rPr>
                        <a:t>Schedule</a:t>
                      </a:r>
                    </a:p>
                  </a:txBody>
                  <a:tcPr/>
                </a:tc>
                <a:tc>
                  <a:txBody>
                    <a:bodyPr/>
                    <a:lstStyle/>
                    <a:p>
                      <a:r>
                        <a:rPr lang="en-US" dirty="0">
                          <a:latin typeface="Century Gothic" panose="020B0502020202020204" pitchFamily="34" charset="0"/>
                        </a:rPr>
                        <a:t>Vials</a:t>
                      </a:r>
                    </a:p>
                  </a:txBody>
                  <a:tcPr/>
                </a:tc>
                <a:tc>
                  <a:txBody>
                    <a:bodyPr/>
                    <a:lstStyle/>
                    <a:p>
                      <a:r>
                        <a:rPr lang="en-US" dirty="0">
                          <a:latin typeface="Century Gothic" panose="020B0502020202020204" pitchFamily="34" charset="0"/>
                        </a:rPr>
                        <a:t>Route</a:t>
                      </a:r>
                    </a:p>
                  </a:txBody>
                  <a:tcPr/>
                </a:tc>
                <a:tc>
                  <a:txBody>
                    <a:bodyPr/>
                    <a:lstStyle/>
                    <a:p>
                      <a:r>
                        <a:rPr lang="en-US" dirty="0">
                          <a:latin typeface="Century Gothic" panose="020B0502020202020204" pitchFamily="34" charset="0"/>
                        </a:rPr>
                        <a:t>Approval</a:t>
                      </a:r>
                    </a:p>
                  </a:txBody>
                  <a:tcPr/>
                </a:tc>
                <a:extLst>
                  <a:ext uri="{0D108BD9-81ED-4DB2-BD59-A6C34878D82A}">
                    <a16:rowId xmlns:a16="http://schemas.microsoft.com/office/drawing/2014/main" val="10000"/>
                  </a:ext>
                </a:extLst>
              </a:tr>
              <a:tr h="1100667">
                <a:tc>
                  <a:txBody>
                    <a:bodyPr/>
                    <a:lstStyle/>
                    <a:p>
                      <a:r>
                        <a:rPr lang="en-US" dirty="0">
                          <a:latin typeface="Century Gothic" panose="020B0502020202020204" pitchFamily="34" charset="0"/>
                        </a:rPr>
                        <a:t>NTV</a:t>
                      </a:r>
                    </a:p>
                  </a:txBody>
                  <a:tcPr/>
                </a:tc>
                <a:tc>
                  <a:txBody>
                    <a:bodyPr/>
                    <a:lstStyle/>
                    <a:p>
                      <a:r>
                        <a:rPr lang="en-US" dirty="0">
                          <a:latin typeface="Century Gothic" panose="020B0502020202020204" pitchFamily="34" charset="0"/>
                        </a:rPr>
                        <a:t>14</a:t>
                      </a:r>
                    </a:p>
                  </a:txBody>
                  <a:tcPr/>
                </a:tc>
                <a:tc>
                  <a:txBody>
                    <a:bodyPr/>
                    <a:lstStyle/>
                    <a:p>
                      <a:r>
                        <a:rPr lang="en-US" dirty="0">
                          <a:latin typeface="Century Gothic" panose="020B0502020202020204" pitchFamily="34" charset="0"/>
                        </a:rPr>
                        <a:t>Daily </a:t>
                      </a:r>
                    </a:p>
                  </a:txBody>
                  <a:tcPr/>
                </a:tc>
                <a:tc>
                  <a:txBody>
                    <a:bodyPr/>
                    <a:lstStyle/>
                    <a:p>
                      <a:r>
                        <a:rPr lang="en-US" dirty="0" err="1">
                          <a:latin typeface="Century Gothic" panose="020B0502020202020204" pitchFamily="34" charset="0"/>
                        </a:rPr>
                        <a:t>Multodose</a:t>
                      </a:r>
                      <a:endParaRPr lang="en-US" dirty="0">
                        <a:latin typeface="Century Gothic" panose="020B0502020202020204" pitchFamily="34" charset="0"/>
                      </a:endParaRPr>
                    </a:p>
                  </a:txBody>
                  <a:tcPr/>
                </a:tc>
                <a:tc>
                  <a:txBody>
                    <a:bodyPr/>
                    <a:lstStyle/>
                    <a:p>
                      <a:r>
                        <a:rPr lang="en-US" dirty="0">
                          <a:latin typeface="Century Gothic" panose="020B0502020202020204" pitchFamily="34" charset="0"/>
                        </a:rPr>
                        <a:t>S/c </a:t>
                      </a:r>
                      <a:r>
                        <a:rPr lang="en-US" dirty="0" err="1">
                          <a:latin typeface="Century Gothic" panose="020B0502020202020204" pitchFamily="34" charset="0"/>
                        </a:rPr>
                        <a:t>abd</a:t>
                      </a:r>
                      <a:r>
                        <a:rPr lang="en-US" dirty="0">
                          <a:latin typeface="Century Gothic" panose="020B0502020202020204" pitchFamily="34" charset="0"/>
                        </a:rPr>
                        <a:t> wall</a:t>
                      </a:r>
                    </a:p>
                  </a:txBody>
                  <a:tcPr/>
                </a:tc>
                <a:tc>
                  <a:txBody>
                    <a:bodyPr/>
                    <a:lstStyle/>
                    <a:p>
                      <a:r>
                        <a:rPr lang="en-US" dirty="0">
                          <a:latin typeface="Century Gothic" panose="020B0502020202020204" pitchFamily="34" charset="0"/>
                        </a:rPr>
                        <a:t>1980 declared obsolete</a:t>
                      </a:r>
                    </a:p>
                  </a:txBody>
                  <a:tcPr/>
                </a:tc>
                <a:extLst>
                  <a:ext uri="{0D108BD9-81ED-4DB2-BD59-A6C34878D82A}">
                    <a16:rowId xmlns:a16="http://schemas.microsoft.com/office/drawing/2014/main" val="10001"/>
                  </a:ext>
                </a:extLst>
              </a:tr>
              <a:tr h="600806">
                <a:tc>
                  <a:txBody>
                    <a:bodyPr/>
                    <a:lstStyle/>
                    <a:p>
                      <a:r>
                        <a:rPr lang="en-US" dirty="0">
                          <a:latin typeface="Century Gothic" panose="020B0502020202020204" pitchFamily="34" charset="0"/>
                        </a:rPr>
                        <a:t>Zagreb</a:t>
                      </a:r>
                    </a:p>
                  </a:txBody>
                  <a:tcPr/>
                </a:tc>
                <a:tc>
                  <a:txBody>
                    <a:bodyPr/>
                    <a:lstStyle/>
                    <a:p>
                      <a:r>
                        <a:rPr lang="en-US" dirty="0">
                          <a:latin typeface="Century Gothic" panose="020B0502020202020204" pitchFamily="34" charset="0"/>
                        </a:rPr>
                        <a:t>3</a:t>
                      </a:r>
                    </a:p>
                  </a:txBody>
                  <a:tcPr/>
                </a:tc>
                <a:tc>
                  <a:txBody>
                    <a:bodyPr/>
                    <a:lstStyle/>
                    <a:p>
                      <a:r>
                        <a:rPr lang="en-US" dirty="0">
                          <a:latin typeface="Century Gothic" panose="020B0502020202020204" pitchFamily="34" charset="0"/>
                        </a:rPr>
                        <a:t>0,7,21</a:t>
                      </a:r>
                    </a:p>
                  </a:txBody>
                  <a:tcPr/>
                </a:tc>
                <a:tc>
                  <a:txBody>
                    <a:bodyPr/>
                    <a:lstStyle/>
                    <a:p>
                      <a:r>
                        <a:rPr lang="en-US" dirty="0">
                          <a:latin typeface="Century Gothic" panose="020B0502020202020204" pitchFamily="34" charset="0"/>
                        </a:rPr>
                        <a:t>4</a:t>
                      </a:r>
                    </a:p>
                  </a:txBody>
                  <a:tcPr/>
                </a:tc>
                <a:tc>
                  <a:txBody>
                    <a:bodyPr/>
                    <a:lstStyle/>
                    <a:p>
                      <a:r>
                        <a:rPr lang="en-US" dirty="0">
                          <a:latin typeface="Century Gothic" panose="020B0502020202020204" pitchFamily="34" charset="0"/>
                        </a:rPr>
                        <a:t>IM</a:t>
                      </a:r>
                    </a:p>
                  </a:txBody>
                  <a:tcPr/>
                </a:tc>
                <a:tc>
                  <a:txBody>
                    <a:bodyPr/>
                    <a:lstStyle/>
                    <a:p>
                      <a:r>
                        <a:rPr lang="en-US" dirty="0">
                          <a:latin typeface="Century Gothic" panose="020B0502020202020204" pitchFamily="34" charset="0"/>
                        </a:rPr>
                        <a:t>WHO 1992</a:t>
                      </a:r>
                    </a:p>
                  </a:txBody>
                  <a:tcPr/>
                </a:tc>
                <a:extLst>
                  <a:ext uri="{0D108BD9-81ED-4DB2-BD59-A6C34878D82A}">
                    <a16:rowId xmlns:a16="http://schemas.microsoft.com/office/drawing/2014/main" val="10002"/>
                  </a:ext>
                </a:extLst>
              </a:tr>
              <a:tr h="481542">
                <a:tc>
                  <a:txBody>
                    <a:bodyPr/>
                    <a:lstStyle/>
                    <a:p>
                      <a:r>
                        <a:rPr lang="en-US" dirty="0">
                          <a:latin typeface="Century Gothic" panose="020B0502020202020204" pitchFamily="34" charset="0"/>
                        </a:rPr>
                        <a:t>Essen</a:t>
                      </a:r>
                    </a:p>
                  </a:txBody>
                  <a:tcPr/>
                </a:tc>
                <a:tc>
                  <a:txBody>
                    <a:bodyPr/>
                    <a:lstStyle/>
                    <a:p>
                      <a:r>
                        <a:rPr lang="en-US" dirty="0">
                          <a:latin typeface="Century Gothic" panose="020B0502020202020204" pitchFamily="34" charset="0"/>
                        </a:rPr>
                        <a:t>4 (5)</a:t>
                      </a:r>
                    </a:p>
                  </a:txBody>
                  <a:tcPr/>
                </a:tc>
                <a:tc>
                  <a:txBody>
                    <a:bodyPr/>
                    <a:lstStyle/>
                    <a:p>
                      <a:r>
                        <a:rPr lang="en-US" dirty="0">
                          <a:latin typeface="Century Gothic" panose="020B0502020202020204" pitchFamily="34" charset="0"/>
                        </a:rPr>
                        <a:t>0,3,7,14 (28)</a:t>
                      </a:r>
                    </a:p>
                  </a:txBody>
                  <a:tcPr/>
                </a:tc>
                <a:tc>
                  <a:txBody>
                    <a:bodyPr/>
                    <a:lstStyle/>
                    <a:p>
                      <a:r>
                        <a:rPr lang="en-US" dirty="0">
                          <a:latin typeface="Century Gothic" panose="020B0502020202020204" pitchFamily="34" charset="0"/>
                        </a:rPr>
                        <a:t>4 (5)</a:t>
                      </a:r>
                    </a:p>
                  </a:txBody>
                  <a:tcPr/>
                </a:tc>
                <a:tc>
                  <a:txBody>
                    <a:bodyPr/>
                    <a:lstStyle/>
                    <a:p>
                      <a:r>
                        <a:rPr lang="en-US" dirty="0">
                          <a:latin typeface="Century Gothic" panose="020B0502020202020204" pitchFamily="34" charset="0"/>
                        </a:rPr>
                        <a:t>IM</a:t>
                      </a:r>
                    </a:p>
                  </a:txBody>
                  <a:tcPr/>
                </a:tc>
                <a:tc>
                  <a:txBody>
                    <a:bodyPr/>
                    <a:lstStyle/>
                    <a:p>
                      <a:r>
                        <a:rPr lang="en-US" dirty="0">
                          <a:latin typeface="Century Gothic" panose="020B0502020202020204" pitchFamily="34" charset="0"/>
                        </a:rPr>
                        <a:t>ACIP 2009</a:t>
                      </a:r>
                    </a:p>
                  </a:txBody>
                  <a:tcPr/>
                </a:tc>
                <a:extLst>
                  <a:ext uri="{0D108BD9-81ED-4DB2-BD59-A6C34878D82A}">
                    <a16:rowId xmlns:a16="http://schemas.microsoft.com/office/drawing/2014/main" val="10003"/>
                  </a:ext>
                </a:extLst>
              </a:tr>
              <a:tr h="600806">
                <a:tc>
                  <a:txBody>
                    <a:bodyPr/>
                    <a:lstStyle/>
                    <a:p>
                      <a:r>
                        <a:rPr lang="en-US" dirty="0">
                          <a:latin typeface="Century Gothic" panose="020B0502020202020204" pitchFamily="34" charset="0"/>
                        </a:rPr>
                        <a:t>TRC ID</a:t>
                      </a:r>
                    </a:p>
                  </a:txBody>
                  <a:tcPr/>
                </a:tc>
                <a:tc>
                  <a:txBody>
                    <a:bodyPr/>
                    <a:lstStyle/>
                    <a:p>
                      <a:r>
                        <a:rPr lang="en-US" dirty="0">
                          <a:latin typeface="Century Gothic" panose="020B0502020202020204" pitchFamily="34" charset="0"/>
                        </a:rPr>
                        <a:t>5</a:t>
                      </a:r>
                    </a:p>
                  </a:txBody>
                  <a:tcPr/>
                </a:tc>
                <a:tc>
                  <a:txBody>
                    <a:bodyPr/>
                    <a:lstStyle/>
                    <a:p>
                      <a:r>
                        <a:rPr lang="en-US" dirty="0">
                          <a:latin typeface="Century Gothic" panose="020B0502020202020204" pitchFamily="34" charset="0"/>
                        </a:rPr>
                        <a:t>0,3,7,28,90</a:t>
                      </a:r>
                    </a:p>
                  </a:txBody>
                  <a:tcPr/>
                </a:tc>
                <a:tc>
                  <a:txBody>
                    <a:bodyPr/>
                    <a:lstStyle/>
                    <a:p>
                      <a:r>
                        <a:rPr lang="en-US" dirty="0">
                          <a:latin typeface="Century Gothic" panose="020B0502020202020204" pitchFamily="34" charset="0"/>
                        </a:rPr>
                        <a:t>1</a:t>
                      </a:r>
                    </a:p>
                  </a:txBody>
                  <a:tcPr/>
                </a:tc>
                <a:tc>
                  <a:txBody>
                    <a:bodyPr/>
                    <a:lstStyle/>
                    <a:p>
                      <a:r>
                        <a:rPr lang="en-US" dirty="0">
                          <a:latin typeface="Century Gothic" panose="020B0502020202020204" pitchFamily="34" charset="0"/>
                        </a:rPr>
                        <a:t>ID</a:t>
                      </a:r>
                    </a:p>
                  </a:txBody>
                  <a:tcPr/>
                </a:tc>
                <a:tc>
                  <a:txBody>
                    <a:bodyPr/>
                    <a:lstStyle/>
                    <a:p>
                      <a:r>
                        <a:rPr lang="en-US" dirty="0">
                          <a:latin typeface="Century Gothic" panose="020B0502020202020204" pitchFamily="34" charset="0"/>
                        </a:rPr>
                        <a:t>TRC</a:t>
                      </a:r>
                    </a:p>
                    <a:p>
                      <a:r>
                        <a:rPr lang="en-US" dirty="0">
                          <a:latin typeface="Century Gothic" panose="020B0502020202020204" pitchFamily="34" charset="0"/>
                        </a:rPr>
                        <a:t>1984</a:t>
                      </a:r>
                    </a:p>
                  </a:txBody>
                  <a:tcPr/>
                </a:tc>
                <a:extLst>
                  <a:ext uri="{0D108BD9-81ED-4DB2-BD59-A6C34878D82A}">
                    <a16:rowId xmlns:a16="http://schemas.microsoft.com/office/drawing/2014/main" val="10004"/>
                  </a:ext>
                </a:extLst>
              </a:tr>
              <a:tr h="1194444">
                <a:tc>
                  <a:txBody>
                    <a:bodyPr/>
                    <a:lstStyle/>
                    <a:p>
                      <a:r>
                        <a:rPr lang="en-US" dirty="0">
                          <a:latin typeface="Century Gothic" panose="020B0502020202020204" pitchFamily="34" charset="0"/>
                        </a:rPr>
                        <a:t>TRC updated</a:t>
                      </a:r>
                    </a:p>
                  </a:txBody>
                  <a:tcPr/>
                </a:tc>
                <a:tc>
                  <a:txBody>
                    <a:bodyPr/>
                    <a:lstStyle/>
                    <a:p>
                      <a:r>
                        <a:rPr lang="en-US" dirty="0">
                          <a:latin typeface="Century Gothic" panose="020B0502020202020204" pitchFamily="34" charset="0"/>
                        </a:rPr>
                        <a:t>4</a:t>
                      </a:r>
                    </a:p>
                  </a:txBody>
                  <a:tcPr/>
                </a:tc>
                <a:tc>
                  <a:txBody>
                    <a:bodyPr/>
                    <a:lstStyle/>
                    <a:p>
                      <a:r>
                        <a:rPr lang="en-US" dirty="0">
                          <a:latin typeface="Century Gothic" panose="020B0502020202020204" pitchFamily="34" charset="0"/>
                        </a:rPr>
                        <a:t>0,3,7,28</a:t>
                      </a:r>
                    </a:p>
                  </a:txBody>
                  <a:tcPr/>
                </a:tc>
                <a:tc>
                  <a:txBody>
                    <a:bodyPr/>
                    <a:lstStyle/>
                    <a:p>
                      <a:r>
                        <a:rPr lang="en-US" dirty="0">
                          <a:latin typeface="Century Gothic" panose="020B0502020202020204" pitchFamily="34" charset="0"/>
                        </a:rPr>
                        <a:t>0.8</a:t>
                      </a:r>
                    </a:p>
                  </a:txBody>
                  <a:tcPr/>
                </a:tc>
                <a:tc>
                  <a:txBody>
                    <a:bodyPr/>
                    <a:lstStyle/>
                    <a:p>
                      <a:r>
                        <a:rPr lang="en-US" dirty="0">
                          <a:latin typeface="Century Gothic" panose="020B0502020202020204" pitchFamily="34" charset="0"/>
                        </a:rPr>
                        <a:t>ID</a:t>
                      </a:r>
                    </a:p>
                  </a:txBody>
                  <a:tcPr/>
                </a:tc>
                <a:tc>
                  <a:txBody>
                    <a:bodyPr/>
                    <a:lstStyle/>
                    <a:p>
                      <a:r>
                        <a:rPr lang="en-US" dirty="0">
                          <a:latin typeface="Century Gothic" panose="020B0502020202020204" pitchFamily="34" charset="0"/>
                        </a:rPr>
                        <a:t>WHO 2006</a:t>
                      </a:r>
                    </a:p>
                  </a:txBody>
                  <a:tcPr/>
                </a:tc>
                <a:extLst>
                  <a:ext uri="{0D108BD9-81ED-4DB2-BD59-A6C34878D82A}">
                    <a16:rowId xmlns:a16="http://schemas.microsoft.com/office/drawing/2014/main" val="10005"/>
                  </a:ext>
                </a:extLst>
              </a:tr>
              <a:tr h="600806">
                <a:tc>
                  <a:txBody>
                    <a:bodyPr/>
                    <a:lstStyle/>
                    <a:p>
                      <a:r>
                        <a:rPr lang="en-US" dirty="0">
                          <a:highlight>
                            <a:srgbClr val="FFFF00"/>
                          </a:highlight>
                          <a:latin typeface="Century Gothic" panose="020B0502020202020204" pitchFamily="34" charset="0"/>
                        </a:rPr>
                        <a:t>IPC 1 -week</a:t>
                      </a:r>
                    </a:p>
                  </a:txBody>
                  <a:tcPr/>
                </a:tc>
                <a:tc>
                  <a:txBody>
                    <a:bodyPr/>
                    <a:lstStyle/>
                    <a:p>
                      <a:r>
                        <a:rPr lang="en-US" dirty="0">
                          <a:highlight>
                            <a:srgbClr val="FFFF00"/>
                          </a:highlight>
                          <a:latin typeface="Century Gothic" panose="020B0502020202020204" pitchFamily="34" charset="0"/>
                        </a:rPr>
                        <a:t>3</a:t>
                      </a:r>
                    </a:p>
                  </a:txBody>
                  <a:tcPr/>
                </a:tc>
                <a:tc>
                  <a:txBody>
                    <a:bodyPr/>
                    <a:lstStyle/>
                    <a:p>
                      <a:r>
                        <a:rPr lang="en-US" dirty="0">
                          <a:highlight>
                            <a:srgbClr val="FFFF00"/>
                          </a:highlight>
                          <a:latin typeface="Century Gothic" panose="020B0502020202020204" pitchFamily="34" charset="0"/>
                        </a:rPr>
                        <a:t>0,3,7</a:t>
                      </a:r>
                    </a:p>
                  </a:txBody>
                  <a:tcPr/>
                </a:tc>
                <a:tc>
                  <a:txBody>
                    <a:bodyPr/>
                    <a:lstStyle/>
                    <a:p>
                      <a:r>
                        <a:rPr lang="en-US" dirty="0">
                          <a:highlight>
                            <a:srgbClr val="FFFF00"/>
                          </a:highlight>
                          <a:latin typeface="Century Gothic" panose="020B0502020202020204" pitchFamily="34" charset="0"/>
                        </a:rPr>
                        <a:t>0.6</a:t>
                      </a:r>
                    </a:p>
                  </a:txBody>
                  <a:tcPr/>
                </a:tc>
                <a:tc>
                  <a:txBody>
                    <a:bodyPr/>
                    <a:lstStyle/>
                    <a:p>
                      <a:r>
                        <a:rPr lang="en-US" dirty="0">
                          <a:highlight>
                            <a:srgbClr val="FFFF00"/>
                          </a:highlight>
                          <a:latin typeface="Century Gothic" panose="020B0502020202020204" pitchFamily="34" charset="0"/>
                        </a:rPr>
                        <a:t>ID</a:t>
                      </a:r>
                    </a:p>
                  </a:txBody>
                  <a:tcPr/>
                </a:tc>
                <a:tc>
                  <a:txBody>
                    <a:bodyPr/>
                    <a:lstStyle/>
                    <a:p>
                      <a:r>
                        <a:rPr lang="en-US" dirty="0">
                          <a:highlight>
                            <a:srgbClr val="FFFF00"/>
                          </a:highlight>
                          <a:latin typeface="Century Gothic" panose="020B0502020202020204" pitchFamily="34" charset="0"/>
                        </a:rPr>
                        <a:t>WHO 2018</a:t>
                      </a:r>
                    </a:p>
                  </a:txBody>
                  <a:tcPr/>
                </a:tc>
                <a:extLst>
                  <a:ext uri="{0D108BD9-81ED-4DB2-BD59-A6C34878D82A}">
                    <a16:rowId xmlns:a16="http://schemas.microsoft.com/office/drawing/2014/main" val="10007"/>
                  </a:ext>
                </a:extLst>
              </a:tr>
            </a:tbl>
          </a:graphicData>
        </a:graphic>
      </p:graphicFrame>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182490" y="135253"/>
            <a:ext cx="654610" cy="661348"/>
          </a:xfrm>
          <a:prstGeom prst="rect">
            <a:avLst/>
          </a:prstGeom>
        </p:spPr>
      </p:pic>
    </p:spTree>
    <p:extLst>
      <p:ext uri="{BB962C8B-B14F-4D97-AF65-F5344CB8AC3E}">
        <p14:creationId xmlns:p14="http://schemas.microsoft.com/office/powerpoint/2010/main" val="407118309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5A0FE0-BE34-7ACF-45E8-D2B091BD060F}"/>
              </a:ext>
            </a:extLst>
          </p:cNvPr>
          <p:cNvSpPr>
            <a:spLocks noGrp="1"/>
          </p:cNvSpPr>
          <p:nvPr>
            <p:ph type="title"/>
          </p:nvPr>
        </p:nvSpPr>
        <p:spPr/>
        <p:txBody>
          <a:bodyPr>
            <a:normAutofit fontScale="90000"/>
          </a:bodyPr>
          <a:lstStyle/>
          <a:p>
            <a:r>
              <a:rPr lang="en-GB" sz="2400" b="1" kern="0" dirty="0">
                <a:solidFill>
                  <a:srgbClr val="365F91"/>
                </a:solidFill>
                <a:effectLst/>
                <a:latin typeface="Calibri" panose="020F0502020204030204" pitchFamily="34" charset="0"/>
                <a:ea typeface="SimSun" panose="02010600030101010101" pitchFamily="2" charset="-122"/>
                <a:cs typeface="Times New Roman" panose="02020603050405020304" pitchFamily="18" charset="0"/>
              </a:rPr>
              <a:t>Strategic Advisory Group of Experts (SAGE) Working Group on rabies vaccines and rabies immunoglobulins established July 2016 </a:t>
            </a:r>
            <a:r>
              <a:rPr lang="en-GB" sz="2400" b="1" kern="0" dirty="0">
                <a:solidFill>
                  <a:schemeClr val="tx2"/>
                </a:solidFill>
                <a:effectLst/>
                <a:latin typeface="Calibri" panose="020F0502020204030204" pitchFamily="34" charset="0"/>
                <a:ea typeface="SimSun" panose="02010600030101010101" pitchFamily="2" charset="-122"/>
                <a:cs typeface="Times New Roman" panose="02020603050405020304" pitchFamily="18" charset="0"/>
              </a:rPr>
              <a:t>-</a:t>
            </a:r>
            <a:r>
              <a:rPr lang="en-US" sz="1800" dirty="0">
                <a:solidFill>
                  <a:schemeClr val="tx2"/>
                </a:solidFill>
                <a:effectLst/>
                <a:latin typeface="Calibri" panose="020F0502020204030204" pitchFamily="34" charset="0"/>
                <a:ea typeface="Times New Roman" panose="02020603050405020304" pitchFamily="18" charset="0"/>
                <a:cs typeface="Times New Roman" panose="02020603050405020304" pitchFamily="18" charset="0"/>
              </a:rPr>
              <a:t> </a:t>
            </a:r>
            <a:r>
              <a:rPr lang="en-US" sz="2700" b="1" dirty="0">
                <a:solidFill>
                  <a:schemeClr val="accent1">
                    <a:lumMod val="75000"/>
                  </a:schemeClr>
                </a:solidFill>
                <a:effectLst/>
                <a:latin typeface="Calibri" panose="020F0502020204030204" pitchFamily="34" charset="0"/>
                <a:ea typeface="Times New Roman" panose="02020603050405020304" pitchFamily="18" charset="0"/>
                <a:cs typeface="Times New Roman" panose="02020603050405020304" pitchFamily="18" charset="0"/>
              </a:rPr>
              <a:t>June 2017 </a:t>
            </a:r>
            <a:br>
              <a:rPr lang="en-PK" sz="2400" b="1" kern="0" dirty="0">
                <a:solidFill>
                  <a:srgbClr val="365F91"/>
                </a:solidFill>
                <a:effectLst/>
                <a:latin typeface="Cambria" panose="02040503050406030204" pitchFamily="18" charset="0"/>
                <a:ea typeface="SimSun" panose="02010600030101010101" pitchFamily="2" charset="-122"/>
                <a:cs typeface="Times New Roman" panose="02020603050405020304" pitchFamily="18" charset="0"/>
              </a:rPr>
            </a:br>
            <a:endParaRPr lang="en-PK" sz="5400" dirty="0"/>
          </a:p>
        </p:txBody>
      </p:sp>
      <p:pic>
        <p:nvPicPr>
          <p:cNvPr id="9" name="Content Placeholder 8">
            <a:extLst>
              <a:ext uri="{FF2B5EF4-FFF2-40B4-BE49-F238E27FC236}">
                <a16:creationId xmlns:a16="http://schemas.microsoft.com/office/drawing/2014/main" id="{CBB01777-CDF1-0675-CE49-862309A1331E}"/>
              </a:ext>
            </a:extLst>
          </p:cNvPr>
          <p:cNvPicPr>
            <a:picLocks noGrp="1" noChangeAspect="1"/>
          </p:cNvPicPr>
          <p:nvPr>
            <p:ph sz="half" idx="1"/>
          </p:nvPr>
        </p:nvPicPr>
        <p:blipFill>
          <a:blip r:embed="rId2"/>
          <a:stretch>
            <a:fillRect/>
          </a:stretch>
        </p:blipFill>
        <p:spPr>
          <a:xfrm>
            <a:off x="1371600" y="2411651"/>
            <a:ext cx="4448175" cy="3330098"/>
          </a:xfrm>
        </p:spPr>
      </p:pic>
      <p:pic>
        <p:nvPicPr>
          <p:cNvPr id="15" name="Content Placeholder 14">
            <a:extLst>
              <a:ext uri="{FF2B5EF4-FFF2-40B4-BE49-F238E27FC236}">
                <a16:creationId xmlns:a16="http://schemas.microsoft.com/office/drawing/2014/main" id="{2127122C-361C-E6E5-DD6E-53E76DDA958B}"/>
              </a:ext>
            </a:extLst>
          </p:cNvPr>
          <p:cNvPicPr>
            <a:picLocks noGrp="1" noChangeAspect="1"/>
          </p:cNvPicPr>
          <p:nvPr>
            <p:ph sz="half" idx="2"/>
          </p:nvPr>
        </p:nvPicPr>
        <p:blipFill>
          <a:blip r:embed="rId3"/>
          <a:stretch>
            <a:fillRect/>
          </a:stretch>
        </p:blipFill>
        <p:spPr>
          <a:xfrm>
            <a:off x="6729934" y="2286000"/>
            <a:ext cx="4037557" cy="3581400"/>
          </a:xfrm>
        </p:spPr>
      </p:pic>
    </p:spTree>
    <p:extLst>
      <p:ext uri="{BB962C8B-B14F-4D97-AF65-F5344CB8AC3E}">
        <p14:creationId xmlns:p14="http://schemas.microsoft.com/office/powerpoint/2010/main" val="29163259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828800" y="241013"/>
            <a:ext cx="8839199" cy="52322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Findings</a:t>
            </a:r>
          </a:p>
        </p:txBody>
      </p:sp>
      <p:cxnSp>
        <p:nvCxnSpPr>
          <p:cNvPr id="16" name="Straight Connector 15"/>
          <p:cNvCxnSpPr/>
          <p:nvPr/>
        </p:nvCxnSpPr>
        <p:spPr>
          <a:xfrm>
            <a:off x="389554" y="828968"/>
            <a:ext cx="11412893" cy="0"/>
          </a:xfrm>
          <a:prstGeom prst="line">
            <a:avLst/>
          </a:prstGeom>
          <a:ln w="1905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pic>
        <p:nvPicPr>
          <p:cNvPr id="15" name="Picture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182490" y="135253"/>
            <a:ext cx="654610" cy="661348"/>
          </a:xfrm>
          <a:prstGeom prst="rect">
            <a:avLst/>
          </a:prstGeom>
        </p:spPr>
      </p:pic>
      <p:sp>
        <p:nvSpPr>
          <p:cNvPr id="3" name="Rectangle 2"/>
          <p:cNvSpPr/>
          <p:nvPr/>
        </p:nvSpPr>
        <p:spPr>
          <a:xfrm>
            <a:off x="1749151" y="2207208"/>
            <a:ext cx="5350061" cy="1231106"/>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WHO position paper on human PEP in 2018 recommended a shorter 2–site, 1–week ID regimen. </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
        <p:nvSpPr>
          <p:cNvPr id="5" name="Rectangle 4"/>
          <p:cNvSpPr/>
          <p:nvPr/>
        </p:nvSpPr>
        <p:spPr>
          <a:xfrm>
            <a:off x="1749151" y="3688680"/>
            <a:ext cx="5162084" cy="1061829"/>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1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The RIG infiltration into wounds only is a further step toward treating more bite victims effectively.</a:t>
            </a:r>
          </a:p>
        </p:txBody>
      </p:sp>
      <p:pic>
        <p:nvPicPr>
          <p:cNvPr id="1026" name="Picture 2" descr="Stock Index ETFs Rally Again Amid Vaccine Optimism | ETF Trends"/>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33255" t="2856" r="3695" b="2652"/>
          <a:stretch/>
        </p:blipFill>
        <p:spPr bwMode="auto">
          <a:xfrm>
            <a:off x="7481908" y="1796455"/>
            <a:ext cx="3563487" cy="3563487"/>
          </a:xfrm>
          <a:prstGeom prst="ellipse">
            <a:avLst/>
          </a:prstGeom>
          <a:noFill/>
          <a:extLst>
            <a:ext uri="{909E8E84-426E-40dd-AFC4-6F175D3DCCD1}">
              <a14:hiddenFill xmlns="" xmlns:a14="http://schemas.microsoft.com/office/drawing/2010/main">
                <a:solidFill>
                  <a:srgbClr val="FFFFFF"/>
                </a:solidFill>
              </a14:hiddenFill>
            </a:ext>
          </a:extLst>
        </p:spPr>
      </p:pic>
      <p:pic>
        <p:nvPicPr>
          <p:cNvPr id="17" name="Picture 1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66191" y="2271345"/>
            <a:ext cx="486078" cy="486078"/>
          </a:xfrm>
          <a:prstGeom prst="rect">
            <a:avLst/>
          </a:prstGeom>
        </p:spPr>
      </p:pic>
      <p:pic>
        <p:nvPicPr>
          <p:cNvPr id="18" name="Picture 1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46604" y="3723189"/>
            <a:ext cx="525251" cy="525251"/>
          </a:xfrm>
          <a:prstGeom prst="rect">
            <a:avLst/>
          </a:prstGeom>
        </p:spPr>
      </p:pic>
    </p:spTree>
    <p:extLst>
      <p:ext uri="{BB962C8B-B14F-4D97-AF65-F5344CB8AC3E}">
        <p14:creationId xmlns:p14="http://schemas.microsoft.com/office/powerpoint/2010/main" val="33396132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429966" y="241013"/>
            <a:ext cx="9238033" cy="52322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Research</a:t>
            </a:r>
          </a:p>
        </p:txBody>
      </p:sp>
      <p:cxnSp>
        <p:nvCxnSpPr>
          <p:cNvPr id="16" name="Straight Connector 15"/>
          <p:cNvCxnSpPr/>
          <p:nvPr/>
        </p:nvCxnSpPr>
        <p:spPr>
          <a:xfrm>
            <a:off x="389554" y="828968"/>
            <a:ext cx="11412893" cy="0"/>
          </a:xfrm>
          <a:prstGeom prst="line">
            <a:avLst/>
          </a:prstGeom>
          <a:ln w="1905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pic>
        <p:nvPicPr>
          <p:cNvPr id="5" name="Content Placeholder 3" descr="Screen Shot 2020-09-15 at 10.13.14 AM.png"/>
          <p:cNvPicPr>
            <a:picLocks noGrp="1" noChangeAspect="1"/>
          </p:cNvPicPr>
          <p:nvPr>
            <p:ph idx="1"/>
          </p:nvPr>
        </p:nvPicPr>
        <p:blipFill>
          <a:blip r:embed="rId3">
            <a:extLst>
              <a:ext uri="{28A0092B-C50C-407E-A947-70E740481C1C}">
                <a14:useLocalDpi xmlns:a14="http://schemas.microsoft.com/office/drawing/2010/main" val="0"/>
              </a:ext>
            </a:extLst>
          </a:blip>
          <a:srcRect t="9537" b="9537"/>
          <a:stretch>
            <a:fillRect/>
          </a:stretch>
        </p:blipFill>
        <p:spPr>
          <a:xfrm>
            <a:off x="1110596" y="893704"/>
            <a:ext cx="5223719" cy="2872844"/>
          </a:xfrm>
        </p:spPr>
      </p:pic>
      <p:pic>
        <p:nvPicPr>
          <p:cNvPr id="7" name="Pictur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182490" y="135253"/>
            <a:ext cx="654610" cy="661348"/>
          </a:xfrm>
          <a:prstGeom prst="rect">
            <a:avLst/>
          </a:prstGeom>
        </p:spPr>
      </p:pic>
      <p:pic>
        <p:nvPicPr>
          <p:cNvPr id="2" name="Content Placeholder 3" descr="Screen Shot 2020-09-15 at 10.01.27 AM.png">
            <a:extLst>
              <a:ext uri="{FF2B5EF4-FFF2-40B4-BE49-F238E27FC236}">
                <a16:creationId xmlns:a16="http://schemas.microsoft.com/office/drawing/2014/main" id="{C21F8AF6-B562-CEE4-EB62-E2248752210F}"/>
              </a:ext>
            </a:extLst>
          </p:cNvPr>
          <p:cNvPicPr>
            <a:picLocks noChangeAspect="1"/>
          </p:cNvPicPr>
          <p:nvPr/>
        </p:nvPicPr>
        <p:blipFill>
          <a:blip r:embed="rId5">
            <a:extLst>
              <a:ext uri="{28A0092B-C50C-407E-A947-70E740481C1C}">
                <a14:useLocalDpi xmlns:a14="http://schemas.microsoft.com/office/drawing/2010/main" val="0"/>
              </a:ext>
            </a:extLst>
          </a:blip>
          <a:srcRect t="6327" b="6327"/>
          <a:stretch>
            <a:fillRect/>
          </a:stretch>
        </p:blipFill>
        <p:spPr>
          <a:xfrm>
            <a:off x="6460059" y="828968"/>
            <a:ext cx="5216644" cy="2868953"/>
          </a:xfrm>
          <a:prstGeom prst="rect">
            <a:avLst/>
          </a:prstGeom>
        </p:spPr>
      </p:pic>
      <p:pic>
        <p:nvPicPr>
          <p:cNvPr id="3" name="Content Placeholder 4">
            <a:extLst>
              <a:ext uri="{FF2B5EF4-FFF2-40B4-BE49-F238E27FC236}">
                <a16:creationId xmlns:a16="http://schemas.microsoft.com/office/drawing/2014/main" id="{A537B4D7-381D-B674-BCDA-01835FE5CEC5}"/>
              </a:ext>
            </a:extLst>
          </p:cNvPr>
          <p:cNvPicPr>
            <a:picLocks noChangeAspect="1"/>
          </p:cNvPicPr>
          <p:nvPr/>
        </p:nvPicPr>
        <p:blipFill>
          <a:blip r:embed="rId6"/>
          <a:stretch>
            <a:fillRect/>
          </a:stretch>
        </p:blipFill>
        <p:spPr>
          <a:xfrm>
            <a:off x="5093191" y="3545732"/>
            <a:ext cx="6249261" cy="3520474"/>
          </a:xfrm>
          <a:prstGeom prst="rect">
            <a:avLst/>
          </a:prstGeom>
        </p:spPr>
      </p:pic>
      <p:sp>
        <p:nvSpPr>
          <p:cNvPr id="13" name="TextBox 12">
            <a:extLst>
              <a:ext uri="{FF2B5EF4-FFF2-40B4-BE49-F238E27FC236}">
                <a16:creationId xmlns:a16="http://schemas.microsoft.com/office/drawing/2014/main" id="{0105376C-B6F9-E268-173B-8F2F612C2CF1}"/>
              </a:ext>
            </a:extLst>
          </p:cNvPr>
          <p:cNvSpPr txBox="1"/>
          <p:nvPr/>
        </p:nvSpPr>
        <p:spPr>
          <a:xfrm>
            <a:off x="849548" y="4737371"/>
            <a:ext cx="6144640" cy="120032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800" b="0" i="1" u="none" strike="noStrike" kern="1200" cap="none" spc="0" normalizeH="0" baseline="0" noProof="0" dirty="0">
                <a:ln>
                  <a:noFill/>
                </a:ln>
                <a:solidFill>
                  <a:prstClr val="black"/>
                </a:solidFill>
                <a:effectLst/>
                <a:uLnTx/>
                <a:uFillTx/>
                <a:latin typeface="MyriadPro" panose="020B0503030403020204" pitchFamily="34" charset="0"/>
                <a:ea typeface="+mn-ea"/>
                <a:cs typeface="+mn-cs"/>
              </a:rPr>
              <a:t>Bull World Health Organ </a:t>
            </a:r>
            <a:r>
              <a:rPr kumimoji="0" lang="en-GB" sz="1800" b="0" i="0" u="none" strike="noStrike" kern="1200" cap="none" spc="0" normalizeH="0" baseline="0" noProof="0" dirty="0">
                <a:ln>
                  <a:noFill/>
                </a:ln>
                <a:solidFill>
                  <a:prstClr val="black"/>
                </a:solidFill>
                <a:effectLst/>
                <a:uLnTx/>
                <a:uFillTx/>
                <a:latin typeface="MyriadPro" panose="020B0503030403020204" pitchFamily="34" charset="0"/>
                <a:ea typeface="+mn-ea"/>
                <a:cs typeface="+mn-cs"/>
              </a:rPr>
              <a:t>2021;99:506–51http://</a:t>
            </a:r>
            <a:r>
              <a:rPr kumimoji="0" lang="en-GB" sz="1800" b="0" i="0" u="none" strike="noStrike" kern="1200" cap="none" spc="0" normalizeH="0" baseline="0" noProof="0" dirty="0" err="1">
                <a:ln>
                  <a:noFill/>
                </a:ln>
                <a:solidFill>
                  <a:prstClr val="black"/>
                </a:solidFill>
                <a:effectLst/>
                <a:uLnTx/>
                <a:uFillTx/>
                <a:latin typeface="MyriadPro" panose="020B0503030403020204" pitchFamily="34" charset="0"/>
                <a:ea typeface="+mn-ea"/>
                <a:cs typeface="+mn-cs"/>
              </a:rPr>
              <a:t>dx.doi.org</a:t>
            </a:r>
            <a:r>
              <a:rPr kumimoji="0" lang="en-GB" sz="1800" b="0" i="0" u="none" strike="noStrike" kern="1200" cap="none" spc="0" normalizeH="0" baseline="0" noProof="0" dirty="0">
                <a:ln>
                  <a:noFill/>
                </a:ln>
                <a:solidFill>
                  <a:prstClr val="black"/>
                </a:solidFill>
                <a:effectLst/>
                <a:uLnTx/>
                <a:uFillTx/>
                <a:latin typeface="MyriadPro" panose="020B0503030403020204" pitchFamily="34" charset="0"/>
                <a:ea typeface="+mn-ea"/>
                <a:cs typeface="+mn-cs"/>
              </a:rPr>
              <a:t>/10.2471/BLT.20.275453 </a:t>
            </a:r>
            <a:br>
              <a:rPr kumimoji="0" lang="en-GB" sz="1800" b="0" i="0" u="none" strike="noStrike" kern="1200" cap="none" spc="0" normalizeH="0" baseline="0" noProof="0" dirty="0">
                <a:ln>
                  <a:noFill/>
                </a:ln>
                <a:solidFill>
                  <a:prstClr val="black"/>
                </a:solidFill>
                <a:effectLst/>
                <a:uLnTx/>
                <a:uFillTx/>
                <a:latin typeface="Franklin Gothic Book" panose="020B0503020102020204"/>
                <a:ea typeface="+mn-ea"/>
                <a:cs typeface="+mn-cs"/>
              </a:rPr>
            </a:br>
            <a:endParaRPr kumimoji="0" lang="en-PK" sz="18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PK" sz="18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Tree>
    <p:extLst>
      <p:ext uri="{BB962C8B-B14F-4D97-AF65-F5344CB8AC3E}">
        <p14:creationId xmlns:p14="http://schemas.microsoft.com/office/powerpoint/2010/main" val="375365141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118680" y="317213"/>
            <a:ext cx="9651647"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Vaccine and cost (USD) saving between 1-month 2017 V/S 1 week 2018</a:t>
            </a:r>
          </a:p>
        </p:txBody>
      </p:sp>
      <p:cxnSp>
        <p:nvCxnSpPr>
          <p:cNvPr id="16" name="Straight Connector 15"/>
          <p:cNvCxnSpPr/>
          <p:nvPr/>
        </p:nvCxnSpPr>
        <p:spPr>
          <a:xfrm>
            <a:off x="389554" y="828968"/>
            <a:ext cx="11412893" cy="0"/>
          </a:xfrm>
          <a:prstGeom prst="line">
            <a:avLst/>
          </a:prstGeom>
          <a:ln w="1905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graphicFrame>
        <p:nvGraphicFramePr>
          <p:cNvPr id="6" name="Content Placeholder 3"/>
          <p:cNvGraphicFramePr>
            <a:graphicFrameLocks noGrp="1"/>
          </p:cNvGraphicFramePr>
          <p:nvPr>
            <p:ph idx="1"/>
          </p:nvPr>
        </p:nvGraphicFramePr>
        <p:xfrm>
          <a:off x="2029710" y="1047592"/>
          <a:ext cx="8132579" cy="5321303"/>
        </p:xfrm>
        <a:graphic>
          <a:graphicData uri="http://schemas.openxmlformats.org/drawingml/2006/table">
            <a:tbl>
              <a:tblPr firstRow="1" bandRow="1">
                <a:tableStyleId>{C083E6E3-FA7D-4D7B-A595-EF9225AFEA82}</a:tableStyleId>
              </a:tblPr>
              <a:tblGrid>
                <a:gridCol w="4226809">
                  <a:extLst>
                    <a:ext uri="{9D8B030D-6E8A-4147-A177-3AD203B41FA5}">
                      <a16:colId xmlns:a16="http://schemas.microsoft.com/office/drawing/2014/main" val="20000"/>
                    </a:ext>
                  </a:extLst>
                </a:gridCol>
                <a:gridCol w="1904778">
                  <a:extLst>
                    <a:ext uri="{9D8B030D-6E8A-4147-A177-3AD203B41FA5}">
                      <a16:colId xmlns:a16="http://schemas.microsoft.com/office/drawing/2014/main" val="20001"/>
                    </a:ext>
                  </a:extLst>
                </a:gridCol>
                <a:gridCol w="2000992">
                  <a:extLst>
                    <a:ext uri="{9D8B030D-6E8A-4147-A177-3AD203B41FA5}">
                      <a16:colId xmlns:a16="http://schemas.microsoft.com/office/drawing/2014/main" val="20002"/>
                    </a:ext>
                  </a:extLst>
                </a:gridCol>
              </a:tblGrid>
              <a:tr h="371633">
                <a:tc>
                  <a:txBody>
                    <a:bodyPr/>
                    <a:lstStyle/>
                    <a:p>
                      <a:endParaRPr lang="en-US" sz="1600" dirty="0">
                        <a:latin typeface="Century Gothic" panose="020B0502020202020204" pitchFamily="34" charset="0"/>
                      </a:endParaRPr>
                    </a:p>
                  </a:txBody>
                  <a:tcPr/>
                </a:tc>
                <a:tc>
                  <a:txBody>
                    <a:bodyPr/>
                    <a:lstStyle/>
                    <a:p>
                      <a:pPr algn="ctr"/>
                      <a:r>
                        <a:rPr lang="en-US" sz="1600" dirty="0">
                          <a:latin typeface="Century Gothic" panose="020B0502020202020204" pitchFamily="34" charset="0"/>
                        </a:rPr>
                        <a:t>2017</a:t>
                      </a:r>
                    </a:p>
                  </a:txBody>
                  <a:tcPr/>
                </a:tc>
                <a:tc>
                  <a:txBody>
                    <a:bodyPr/>
                    <a:lstStyle/>
                    <a:p>
                      <a:pPr algn="ctr"/>
                      <a:r>
                        <a:rPr lang="en-US" sz="1600" dirty="0">
                          <a:latin typeface="Century Gothic" panose="020B0502020202020204" pitchFamily="34" charset="0"/>
                        </a:rPr>
                        <a:t>2018</a:t>
                      </a:r>
                    </a:p>
                  </a:txBody>
                  <a:tcPr/>
                </a:tc>
                <a:extLst>
                  <a:ext uri="{0D108BD9-81ED-4DB2-BD59-A6C34878D82A}">
                    <a16:rowId xmlns:a16="http://schemas.microsoft.com/office/drawing/2014/main" val="10000"/>
                  </a:ext>
                </a:extLst>
              </a:tr>
              <a:tr h="346655">
                <a:tc>
                  <a:txBody>
                    <a:bodyPr/>
                    <a:lstStyle/>
                    <a:p>
                      <a:r>
                        <a:rPr lang="en-US" sz="1600" dirty="0">
                          <a:latin typeface="Century Gothic" panose="020B0502020202020204" pitchFamily="34" charset="0"/>
                        </a:rPr>
                        <a:t># of patients</a:t>
                      </a:r>
                      <a:r>
                        <a:rPr lang="en-US" sz="1600" baseline="0" dirty="0">
                          <a:latin typeface="Century Gothic" panose="020B0502020202020204" pitchFamily="34" charset="0"/>
                        </a:rPr>
                        <a:t> injected vaccine </a:t>
                      </a:r>
                      <a:endParaRPr lang="en-US" sz="1600" dirty="0">
                        <a:latin typeface="Century Gothic" panose="020B0502020202020204" pitchFamily="34" charset="0"/>
                      </a:endParaRPr>
                    </a:p>
                  </a:txBody>
                  <a:tcPr/>
                </a:tc>
                <a:tc>
                  <a:txBody>
                    <a:bodyPr/>
                    <a:lstStyle/>
                    <a:p>
                      <a:pPr algn="ctr"/>
                      <a:r>
                        <a:rPr lang="en-US" sz="1600" dirty="0">
                          <a:latin typeface="Century Gothic" panose="020B0502020202020204" pitchFamily="34" charset="0"/>
                        </a:rPr>
                        <a:t>4,948 (99%)</a:t>
                      </a:r>
                    </a:p>
                  </a:txBody>
                  <a:tcPr/>
                </a:tc>
                <a:tc>
                  <a:txBody>
                    <a:bodyPr/>
                    <a:lstStyle/>
                    <a:p>
                      <a:pPr algn="ctr"/>
                      <a:r>
                        <a:rPr lang="en-US" sz="1600" dirty="0">
                          <a:latin typeface="Century Gothic" panose="020B0502020202020204" pitchFamily="34" charset="0"/>
                        </a:rPr>
                        <a:t>5,370 (98.3%)</a:t>
                      </a:r>
                    </a:p>
                  </a:txBody>
                  <a:tcPr/>
                </a:tc>
                <a:extLst>
                  <a:ext uri="{0D108BD9-81ED-4DB2-BD59-A6C34878D82A}">
                    <a16:rowId xmlns:a16="http://schemas.microsoft.com/office/drawing/2014/main" val="10001"/>
                  </a:ext>
                </a:extLst>
              </a:tr>
              <a:tr h="346655">
                <a:tc>
                  <a:txBody>
                    <a:bodyPr/>
                    <a:lstStyle/>
                    <a:p>
                      <a:r>
                        <a:rPr lang="en-US" sz="1600" dirty="0">
                          <a:latin typeface="Century Gothic" panose="020B0502020202020204" pitchFamily="34" charset="0"/>
                        </a:rPr>
                        <a:t># of ampoules consumed </a:t>
                      </a:r>
                    </a:p>
                  </a:txBody>
                  <a:tcPr/>
                </a:tc>
                <a:tc>
                  <a:txBody>
                    <a:bodyPr/>
                    <a:lstStyle/>
                    <a:p>
                      <a:pPr algn="ctr"/>
                      <a:r>
                        <a:rPr lang="en-US" sz="1600" dirty="0">
                          <a:latin typeface="Century Gothic" panose="020B0502020202020204" pitchFamily="34" charset="0"/>
                        </a:rPr>
                        <a:t>7,174.6</a:t>
                      </a:r>
                    </a:p>
                  </a:txBody>
                  <a:tcPr/>
                </a:tc>
                <a:tc>
                  <a:txBody>
                    <a:bodyPr/>
                    <a:lstStyle/>
                    <a:p>
                      <a:pPr algn="ctr"/>
                      <a:r>
                        <a:rPr lang="en-US" sz="1600" dirty="0">
                          <a:latin typeface="Century Gothic" panose="020B0502020202020204" pitchFamily="34" charset="0"/>
                        </a:rPr>
                        <a:t>7,034.7</a:t>
                      </a:r>
                    </a:p>
                  </a:txBody>
                  <a:tcPr/>
                </a:tc>
                <a:extLst>
                  <a:ext uri="{0D108BD9-81ED-4DB2-BD59-A6C34878D82A}">
                    <a16:rowId xmlns:a16="http://schemas.microsoft.com/office/drawing/2014/main" val="10002"/>
                  </a:ext>
                </a:extLst>
              </a:tr>
              <a:tr h="346655">
                <a:tc>
                  <a:txBody>
                    <a:bodyPr/>
                    <a:lstStyle/>
                    <a:p>
                      <a:r>
                        <a:rPr lang="en-US" sz="1600" dirty="0">
                          <a:highlight>
                            <a:srgbClr val="FFFF00"/>
                          </a:highlight>
                          <a:latin typeface="Century Gothic" panose="020B0502020202020204" pitchFamily="34" charset="0"/>
                        </a:rPr>
                        <a:t>#</a:t>
                      </a:r>
                      <a:r>
                        <a:rPr lang="en-US" sz="1600" baseline="0" dirty="0">
                          <a:highlight>
                            <a:srgbClr val="FFFF00"/>
                          </a:highlight>
                          <a:latin typeface="Century Gothic" panose="020B0502020202020204" pitchFamily="34" charset="0"/>
                        </a:rPr>
                        <a:t> of ampules saved in 2018</a:t>
                      </a:r>
                      <a:endParaRPr lang="en-US" sz="1600" dirty="0">
                        <a:highlight>
                          <a:srgbClr val="FFFF00"/>
                        </a:highlight>
                        <a:latin typeface="Century Gothic" panose="020B0502020202020204" pitchFamily="34" charset="0"/>
                      </a:endParaRPr>
                    </a:p>
                  </a:txBody>
                  <a:tcPr/>
                </a:tc>
                <a:tc gridSpan="2">
                  <a:txBody>
                    <a:bodyPr/>
                    <a:lstStyle/>
                    <a:p>
                      <a:pPr algn="ctr"/>
                      <a:r>
                        <a:rPr lang="en-US" sz="1600" dirty="0">
                          <a:highlight>
                            <a:srgbClr val="FFFF00"/>
                          </a:highlight>
                          <a:latin typeface="Century Gothic" panose="020B0502020202020204" pitchFamily="34" charset="0"/>
                        </a:rPr>
                        <a:t>139.9</a:t>
                      </a:r>
                    </a:p>
                  </a:txBody>
                  <a:tcPr/>
                </a:tc>
                <a:tc hMerge="1">
                  <a:txBody>
                    <a:bodyPr/>
                    <a:lstStyle/>
                    <a:p>
                      <a:endParaRPr lang="en-US" dirty="0"/>
                    </a:p>
                  </a:txBody>
                  <a:tcPr/>
                </a:tc>
                <a:extLst>
                  <a:ext uri="{0D108BD9-81ED-4DB2-BD59-A6C34878D82A}">
                    <a16:rowId xmlns:a16="http://schemas.microsoft.com/office/drawing/2014/main" val="10003"/>
                  </a:ext>
                </a:extLst>
              </a:tr>
              <a:tr h="346655">
                <a:tc>
                  <a:txBody>
                    <a:bodyPr/>
                    <a:lstStyle/>
                    <a:p>
                      <a:r>
                        <a:rPr lang="en-US" sz="1600" dirty="0">
                          <a:latin typeface="Century Gothic" panose="020B0502020202020204" pitchFamily="34" charset="0"/>
                        </a:rPr>
                        <a:t>Cost of each ampoules </a:t>
                      </a:r>
                    </a:p>
                  </a:txBody>
                  <a:tcPr/>
                </a:tc>
                <a:tc gridSpan="2">
                  <a:txBody>
                    <a:bodyPr/>
                    <a:lstStyle/>
                    <a:p>
                      <a:pPr algn="ctr"/>
                      <a:r>
                        <a:rPr lang="en-US" sz="1600" dirty="0">
                          <a:latin typeface="Century Gothic" panose="020B0502020202020204" pitchFamily="34" charset="0"/>
                        </a:rPr>
                        <a:t>5.65</a:t>
                      </a:r>
                    </a:p>
                  </a:txBody>
                  <a:tcPr/>
                </a:tc>
                <a:tc hMerge="1">
                  <a:txBody>
                    <a:bodyPr/>
                    <a:lstStyle/>
                    <a:p>
                      <a:endParaRPr lang="en-US" dirty="0"/>
                    </a:p>
                  </a:txBody>
                  <a:tcPr/>
                </a:tc>
                <a:extLst>
                  <a:ext uri="{0D108BD9-81ED-4DB2-BD59-A6C34878D82A}">
                    <a16:rowId xmlns:a16="http://schemas.microsoft.com/office/drawing/2014/main" val="10004"/>
                  </a:ext>
                </a:extLst>
              </a:tr>
              <a:tr h="396653">
                <a:tc>
                  <a:txBody>
                    <a:bodyPr/>
                    <a:lstStyle/>
                    <a:p>
                      <a:r>
                        <a:rPr lang="en-US" sz="1600" dirty="0">
                          <a:latin typeface="Century Gothic" panose="020B0502020202020204" pitchFamily="34" charset="0"/>
                        </a:rPr>
                        <a:t>Total cost ampoules</a:t>
                      </a:r>
                    </a:p>
                  </a:txBody>
                  <a:tcPr/>
                </a:tc>
                <a:tc>
                  <a:txBody>
                    <a:bodyPr/>
                    <a:lstStyle/>
                    <a:p>
                      <a:pPr algn="ctr"/>
                      <a:r>
                        <a:rPr lang="en-US" sz="1600" dirty="0">
                          <a:latin typeface="Century Gothic" panose="020B0502020202020204" pitchFamily="34" charset="0"/>
                        </a:rPr>
                        <a:t>40,536.5</a:t>
                      </a:r>
                    </a:p>
                  </a:txBody>
                  <a:tcPr/>
                </a:tc>
                <a:tc>
                  <a:txBody>
                    <a:bodyPr/>
                    <a:lstStyle/>
                    <a:p>
                      <a:pPr algn="ctr"/>
                      <a:r>
                        <a:rPr lang="en-US" sz="1600" dirty="0">
                          <a:latin typeface="Century Gothic" panose="020B0502020202020204" pitchFamily="34" charset="0"/>
                        </a:rPr>
                        <a:t>39,746</a:t>
                      </a:r>
                    </a:p>
                  </a:txBody>
                  <a:tcPr/>
                </a:tc>
                <a:extLst>
                  <a:ext uri="{0D108BD9-81ED-4DB2-BD59-A6C34878D82A}">
                    <a16:rowId xmlns:a16="http://schemas.microsoft.com/office/drawing/2014/main" val="10005"/>
                  </a:ext>
                </a:extLst>
              </a:tr>
              <a:tr h="346655">
                <a:tc>
                  <a:txBody>
                    <a:bodyPr/>
                    <a:lstStyle/>
                    <a:p>
                      <a:r>
                        <a:rPr lang="en-US" sz="1600" dirty="0">
                          <a:latin typeface="Century Gothic" panose="020B0502020202020204" pitchFamily="34" charset="0"/>
                        </a:rPr>
                        <a:t>Cost of vaccine saved in 2018</a:t>
                      </a:r>
                    </a:p>
                  </a:txBody>
                  <a:tcPr/>
                </a:tc>
                <a:tc gridSpan="2">
                  <a:txBody>
                    <a:bodyPr/>
                    <a:lstStyle/>
                    <a:p>
                      <a:pPr algn="ctr"/>
                      <a:r>
                        <a:rPr lang="en-US" sz="1600" dirty="0">
                          <a:latin typeface="Century Gothic" panose="020B0502020202020204" pitchFamily="34" charset="0"/>
                        </a:rPr>
                        <a:t>790.5</a:t>
                      </a:r>
                    </a:p>
                  </a:txBody>
                  <a:tcPr/>
                </a:tc>
                <a:tc hMerge="1">
                  <a:txBody>
                    <a:bodyPr/>
                    <a:lstStyle/>
                    <a:p>
                      <a:endParaRPr lang="en-US" dirty="0"/>
                    </a:p>
                  </a:txBody>
                  <a:tcPr/>
                </a:tc>
                <a:extLst>
                  <a:ext uri="{0D108BD9-81ED-4DB2-BD59-A6C34878D82A}">
                    <a16:rowId xmlns:a16="http://schemas.microsoft.com/office/drawing/2014/main" val="10006"/>
                  </a:ext>
                </a:extLst>
              </a:tr>
              <a:tr h="393157">
                <a:tc>
                  <a:txBody>
                    <a:bodyPr/>
                    <a:lstStyle/>
                    <a:p>
                      <a:r>
                        <a:rPr lang="en-US" sz="1600" dirty="0">
                          <a:latin typeface="Century Gothic" panose="020B0502020202020204" pitchFamily="34" charset="0"/>
                        </a:rPr>
                        <a:t># of patients received RIG</a:t>
                      </a:r>
                    </a:p>
                  </a:txBody>
                  <a:tcPr/>
                </a:tc>
                <a:tc>
                  <a:txBody>
                    <a:bodyPr/>
                    <a:lstStyle/>
                    <a:p>
                      <a:pPr algn="ctr"/>
                      <a:r>
                        <a:rPr lang="en-US" sz="1600" dirty="0">
                          <a:latin typeface="Century Gothic" panose="020B0502020202020204" pitchFamily="34" charset="0"/>
                        </a:rPr>
                        <a:t>2,249 (45%)</a:t>
                      </a:r>
                    </a:p>
                  </a:txBody>
                  <a:tcPr/>
                </a:tc>
                <a:tc>
                  <a:txBody>
                    <a:bodyPr/>
                    <a:lstStyle/>
                    <a:p>
                      <a:pPr algn="ctr"/>
                      <a:r>
                        <a:rPr lang="en-US" sz="1600" dirty="0">
                          <a:latin typeface="Century Gothic" panose="020B0502020202020204" pitchFamily="34" charset="0"/>
                        </a:rPr>
                        <a:t>2,365 (43.3%)</a:t>
                      </a:r>
                    </a:p>
                  </a:txBody>
                  <a:tcPr/>
                </a:tc>
                <a:extLst>
                  <a:ext uri="{0D108BD9-81ED-4DB2-BD59-A6C34878D82A}">
                    <a16:rowId xmlns:a16="http://schemas.microsoft.com/office/drawing/2014/main" val="10007"/>
                  </a:ext>
                </a:extLst>
              </a:tr>
              <a:tr h="346655">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600" dirty="0">
                          <a:latin typeface="Century Gothic" panose="020B0502020202020204" pitchFamily="34" charset="0"/>
                        </a:rPr>
                        <a:t># of ampoules consumed </a:t>
                      </a:r>
                    </a:p>
                  </a:txBody>
                  <a:tcPr/>
                </a:tc>
                <a:tc>
                  <a:txBody>
                    <a:bodyPr/>
                    <a:lstStyle/>
                    <a:p>
                      <a:pPr algn="ctr"/>
                      <a:r>
                        <a:rPr lang="en-US" sz="1600" dirty="0">
                          <a:latin typeface="Century Gothic" panose="020B0502020202020204" pitchFamily="34" charset="0"/>
                        </a:rPr>
                        <a:t>2,431</a:t>
                      </a:r>
                    </a:p>
                  </a:txBody>
                  <a:tcPr/>
                </a:tc>
                <a:tc>
                  <a:txBody>
                    <a:bodyPr/>
                    <a:lstStyle/>
                    <a:p>
                      <a:pPr algn="ctr"/>
                      <a:r>
                        <a:rPr lang="en-US" sz="1600" dirty="0">
                          <a:latin typeface="Century Gothic" panose="020B0502020202020204" pitchFamily="34" charset="0"/>
                        </a:rPr>
                        <a:t>1,995</a:t>
                      </a:r>
                    </a:p>
                  </a:txBody>
                  <a:tcPr/>
                </a:tc>
                <a:extLst>
                  <a:ext uri="{0D108BD9-81ED-4DB2-BD59-A6C34878D82A}">
                    <a16:rowId xmlns:a16="http://schemas.microsoft.com/office/drawing/2014/main" val="10008"/>
                  </a:ext>
                </a:extLst>
              </a:tr>
              <a:tr h="346655">
                <a:tc>
                  <a:txBody>
                    <a:bodyPr/>
                    <a:lstStyle/>
                    <a:p>
                      <a:r>
                        <a:rPr lang="en-US" sz="1600" dirty="0">
                          <a:latin typeface="Century Gothic" panose="020B0502020202020204" pitchFamily="34" charset="0"/>
                        </a:rPr>
                        <a:t>Cost per victim</a:t>
                      </a:r>
                      <a:r>
                        <a:rPr lang="en-US" sz="1600" baseline="0" dirty="0">
                          <a:latin typeface="Century Gothic" panose="020B0502020202020204" pitchFamily="34" charset="0"/>
                        </a:rPr>
                        <a:t> </a:t>
                      </a:r>
                      <a:endParaRPr lang="en-US" sz="1600" dirty="0">
                        <a:latin typeface="Century Gothic" panose="020B0502020202020204" pitchFamily="34" charset="0"/>
                      </a:endParaRPr>
                    </a:p>
                  </a:txBody>
                  <a:tcPr/>
                </a:tc>
                <a:tc>
                  <a:txBody>
                    <a:bodyPr/>
                    <a:lstStyle/>
                    <a:p>
                      <a:pPr algn="ctr"/>
                      <a:r>
                        <a:rPr lang="en-US" sz="1600" dirty="0">
                          <a:latin typeface="Century Gothic" panose="020B0502020202020204" pitchFamily="34" charset="0"/>
                        </a:rPr>
                        <a:t>8.45</a:t>
                      </a:r>
                    </a:p>
                  </a:txBody>
                  <a:tcPr/>
                </a:tc>
                <a:tc>
                  <a:txBody>
                    <a:bodyPr/>
                    <a:lstStyle/>
                    <a:p>
                      <a:pPr algn="ctr"/>
                      <a:r>
                        <a:rPr lang="en-US" sz="1600" dirty="0">
                          <a:latin typeface="Century Gothic" panose="020B0502020202020204" pitchFamily="34" charset="0"/>
                        </a:rPr>
                        <a:t>6.57</a:t>
                      </a:r>
                    </a:p>
                  </a:txBody>
                  <a:tcPr/>
                </a:tc>
                <a:extLst>
                  <a:ext uri="{0D108BD9-81ED-4DB2-BD59-A6C34878D82A}">
                    <a16:rowId xmlns:a16="http://schemas.microsoft.com/office/drawing/2014/main" val="10009"/>
                  </a:ext>
                </a:extLst>
              </a:tr>
              <a:tr h="346655">
                <a:tc>
                  <a:txBody>
                    <a:bodyPr/>
                    <a:lstStyle/>
                    <a:p>
                      <a:r>
                        <a:rPr lang="en-US" sz="1600" dirty="0">
                          <a:latin typeface="Century Gothic" panose="020B0502020202020204" pitchFamily="34" charset="0"/>
                        </a:rPr>
                        <a:t>Cost per ampoules </a:t>
                      </a:r>
                    </a:p>
                  </a:txBody>
                  <a:tcPr/>
                </a:tc>
                <a:tc gridSpan="2">
                  <a:txBody>
                    <a:bodyPr/>
                    <a:lstStyle/>
                    <a:p>
                      <a:pPr algn="ctr"/>
                      <a:r>
                        <a:rPr lang="en-US" sz="1600" dirty="0">
                          <a:latin typeface="Century Gothic" panose="020B0502020202020204" pitchFamily="34" charset="0"/>
                        </a:rPr>
                        <a:t>7.825</a:t>
                      </a:r>
                    </a:p>
                  </a:txBody>
                  <a:tcPr/>
                </a:tc>
                <a:tc hMerge="1">
                  <a:txBody>
                    <a:bodyPr/>
                    <a:lstStyle/>
                    <a:p>
                      <a:endParaRPr lang="en-US" dirty="0"/>
                    </a:p>
                  </a:txBody>
                  <a:tcPr/>
                </a:tc>
                <a:extLst>
                  <a:ext uri="{0D108BD9-81ED-4DB2-BD59-A6C34878D82A}">
                    <a16:rowId xmlns:a16="http://schemas.microsoft.com/office/drawing/2014/main" val="10010"/>
                  </a:ext>
                </a:extLst>
              </a:tr>
              <a:tr h="346655">
                <a:tc>
                  <a:txBody>
                    <a:bodyPr/>
                    <a:lstStyle/>
                    <a:p>
                      <a:r>
                        <a:rPr lang="en-US" sz="1600" dirty="0">
                          <a:highlight>
                            <a:srgbClr val="FFFF00"/>
                          </a:highlight>
                          <a:latin typeface="Century Gothic" panose="020B0502020202020204" pitchFamily="34" charset="0"/>
                        </a:rPr>
                        <a:t># of </a:t>
                      </a:r>
                      <a:r>
                        <a:rPr lang="en-US" sz="1600" dirty="0" err="1">
                          <a:highlight>
                            <a:srgbClr val="FFFF00"/>
                          </a:highlight>
                          <a:latin typeface="Century Gothic" panose="020B0502020202020204" pitchFamily="34" charset="0"/>
                        </a:rPr>
                        <a:t>eRIG</a:t>
                      </a:r>
                      <a:r>
                        <a:rPr lang="en-US" sz="1600" dirty="0">
                          <a:highlight>
                            <a:srgbClr val="FFFF00"/>
                          </a:highlight>
                          <a:latin typeface="Century Gothic" panose="020B0502020202020204" pitchFamily="34" charset="0"/>
                        </a:rPr>
                        <a:t> ampoules saved </a:t>
                      </a:r>
                    </a:p>
                  </a:txBody>
                  <a:tcPr/>
                </a:tc>
                <a:tc gridSpan="2">
                  <a:txBody>
                    <a:bodyPr/>
                    <a:lstStyle/>
                    <a:p>
                      <a:pPr algn="ctr"/>
                      <a:r>
                        <a:rPr lang="en-US" sz="1600" dirty="0">
                          <a:highlight>
                            <a:srgbClr val="FFFF00"/>
                          </a:highlight>
                          <a:latin typeface="Century Gothic" panose="020B0502020202020204" pitchFamily="34" charset="0"/>
                        </a:rPr>
                        <a:t>436</a:t>
                      </a:r>
                    </a:p>
                  </a:txBody>
                  <a:tcPr/>
                </a:tc>
                <a:tc hMerge="1">
                  <a:txBody>
                    <a:bodyPr/>
                    <a:lstStyle/>
                    <a:p>
                      <a:endParaRPr lang="en-US" dirty="0"/>
                    </a:p>
                  </a:txBody>
                  <a:tcPr/>
                </a:tc>
                <a:extLst>
                  <a:ext uri="{0D108BD9-81ED-4DB2-BD59-A6C34878D82A}">
                    <a16:rowId xmlns:a16="http://schemas.microsoft.com/office/drawing/2014/main" val="10011"/>
                  </a:ext>
                </a:extLst>
              </a:tr>
              <a:tr h="346655">
                <a:tc>
                  <a:txBody>
                    <a:bodyPr/>
                    <a:lstStyle/>
                    <a:p>
                      <a:r>
                        <a:rPr lang="en-US" sz="1600" dirty="0">
                          <a:latin typeface="Century Gothic" panose="020B0502020202020204" pitchFamily="34" charset="0"/>
                        </a:rPr>
                        <a:t>Total cost of RIG </a:t>
                      </a:r>
                    </a:p>
                  </a:txBody>
                  <a:tcPr/>
                </a:tc>
                <a:tc>
                  <a:txBody>
                    <a:bodyPr/>
                    <a:lstStyle/>
                    <a:p>
                      <a:pPr algn="ctr"/>
                      <a:r>
                        <a:rPr lang="en-US" sz="1600" dirty="0">
                          <a:latin typeface="Century Gothic" panose="020B0502020202020204" pitchFamily="34" charset="0"/>
                        </a:rPr>
                        <a:t>19,022.6</a:t>
                      </a:r>
                    </a:p>
                  </a:txBody>
                  <a:tcPr/>
                </a:tc>
                <a:tc>
                  <a:txBody>
                    <a:bodyPr/>
                    <a:lstStyle/>
                    <a:p>
                      <a:pPr algn="ctr"/>
                      <a:r>
                        <a:rPr lang="en-US" sz="1600" dirty="0">
                          <a:latin typeface="Century Gothic" panose="020B0502020202020204" pitchFamily="34" charset="0"/>
                        </a:rPr>
                        <a:t>15,610.9</a:t>
                      </a:r>
                    </a:p>
                  </a:txBody>
                  <a:tcPr/>
                </a:tc>
                <a:extLst>
                  <a:ext uri="{0D108BD9-81ED-4DB2-BD59-A6C34878D82A}">
                    <a16:rowId xmlns:a16="http://schemas.microsoft.com/office/drawing/2014/main" val="10012"/>
                  </a:ext>
                </a:extLst>
              </a:tr>
              <a:tr h="346655">
                <a:tc>
                  <a:txBody>
                    <a:bodyPr/>
                    <a:lstStyle/>
                    <a:p>
                      <a:r>
                        <a:rPr lang="en-US" sz="1600" dirty="0">
                          <a:latin typeface="Century Gothic" panose="020B0502020202020204" pitchFamily="34" charset="0"/>
                        </a:rPr>
                        <a:t>Total cost of RIG saved </a:t>
                      </a:r>
                    </a:p>
                  </a:txBody>
                  <a:tcPr/>
                </a:tc>
                <a:tc gridSpan="2">
                  <a:txBody>
                    <a:bodyPr/>
                    <a:lstStyle/>
                    <a:p>
                      <a:pPr algn="ctr"/>
                      <a:r>
                        <a:rPr lang="en-US" sz="1600" dirty="0">
                          <a:latin typeface="Century Gothic" panose="020B0502020202020204" pitchFamily="34" charset="0"/>
                        </a:rPr>
                        <a:t>3,411.7</a:t>
                      </a:r>
                    </a:p>
                  </a:txBody>
                  <a:tcPr/>
                </a:tc>
                <a:tc hMerge="1">
                  <a:txBody>
                    <a:bodyPr/>
                    <a:lstStyle/>
                    <a:p>
                      <a:endParaRPr lang="en-US" dirty="0"/>
                    </a:p>
                  </a:txBody>
                  <a:tcPr/>
                </a:tc>
                <a:extLst>
                  <a:ext uri="{0D108BD9-81ED-4DB2-BD59-A6C34878D82A}">
                    <a16:rowId xmlns:a16="http://schemas.microsoft.com/office/drawing/2014/main" val="10013"/>
                  </a:ext>
                </a:extLst>
              </a:tr>
              <a:tr h="346655">
                <a:tc>
                  <a:txBody>
                    <a:bodyPr/>
                    <a:lstStyle/>
                    <a:p>
                      <a:r>
                        <a:rPr lang="en-US" sz="1600" dirty="0">
                          <a:latin typeface="Century Gothic" panose="020B0502020202020204" pitchFamily="34" charset="0"/>
                        </a:rPr>
                        <a:t>Total Saving RIG + Vaccine </a:t>
                      </a:r>
                    </a:p>
                  </a:txBody>
                  <a:tcPr/>
                </a:tc>
                <a:tc gridSpan="2">
                  <a:txBody>
                    <a:bodyPr/>
                    <a:lstStyle/>
                    <a:p>
                      <a:pPr algn="ctr"/>
                      <a:r>
                        <a:rPr lang="en-US" sz="1600" dirty="0">
                          <a:highlight>
                            <a:srgbClr val="FFFF00"/>
                          </a:highlight>
                          <a:latin typeface="Century Gothic" panose="020B0502020202020204" pitchFamily="34" charset="0"/>
                        </a:rPr>
                        <a:t>USD 4,202.2</a:t>
                      </a:r>
                    </a:p>
                  </a:txBody>
                  <a:tcPr/>
                </a:tc>
                <a:tc hMerge="1">
                  <a:txBody>
                    <a:bodyPr/>
                    <a:lstStyle/>
                    <a:p>
                      <a:endParaRPr lang="en-US" dirty="0"/>
                    </a:p>
                  </a:txBody>
                  <a:tcPr/>
                </a:tc>
                <a:extLst>
                  <a:ext uri="{0D108BD9-81ED-4DB2-BD59-A6C34878D82A}">
                    <a16:rowId xmlns:a16="http://schemas.microsoft.com/office/drawing/2014/main" val="10014"/>
                  </a:ext>
                </a:extLst>
              </a:tr>
            </a:tbl>
          </a:graphicData>
        </a:graphic>
      </p:graphicFrame>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182490" y="135253"/>
            <a:ext cx="654610" cy="661348"/>
          </a:xfrm>
          <a:prstGeom prst="rect">
            <a:avLst/>
          </a:prstGeom>
        </p:spPr>
      </p:pic>
    </p:spTree>
    <p:extLst>
      <p:ext uri="{BB962C8B-B14F-4D97-AF65-F5344CB8AC3E}">
        <p14:creationId xmlns:p14="http://schemas.microsoft.com/office/powerpoint/2010/main" val="3462161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7" name="Straight Connector 26">
            <a:extLst>
              <a:ext uri="{FF2B5EF4-FFF2-40B4-BE49-F238E27FC236}">
                <a16:creationId xmlns:a16="http://schemas.microsoft.com/office/drawing/2014/main" id="{3AEEAC1E-6701-BB0B-266C-DE31214705A5}"/>
              </a:ext>
            </a:extLst>
          </p:cNvPr>
          <p:cNvCxnSpPr>
            <a:stCxn id="18" idx="0"/>
            <a:endCxn id="16" idx="4"/>
          </p:cNvCxnSpPr>
          <p:nvPr/>
        </p:nvCxnSpPr>
        <p:spPr>
          <a:xfrm>
            <a:off x="937752" y="1649834"/>
            <a:ext cx="0" cy="4436188"/>
          </a:xfrm>
          <a:prstGeom prst="line">
            <a:avLst/>
          </a:prstGeom>
          <a:ln>
            <a:solidFill>
              <a:schemeClr val="bg2">
                <a:lumMod val="25000"/>
              </a:schemeClr>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828F7D1B-1360-3E29-AB54-8AF58DFEECA0}"/>
              </a:ext>
            </a:extLst>
          </p:cNvPr>
          <p:cNvSpPr>
            <a:spLocks noGrp="1"/>
          </p:cNvSpPr>
          <p:nvPr>
            <p:ph type="title"/>
          </p:nvPr>
        </p:nvSpPr>
        <p:spPr>
          <a:xfrm>
            <a:off x="214489" y="209682"/>
            <a:ext cx="10515600" cy="832272"/>
          </a:xfrm>
        </p:spPr>
        <p:txBody>
          <a:bodyPr vert="horz" lIns="91440" tIns="45720" rIns="91440" bIns="45720" rtlCol="0" anchor="ctr">
            <a:noAutofit/>
          </a:bodyPr>
          <a:lstStyle/>
          <a:p>
            <a:r>
              <a:rPr lang="en-US" sz="4000"/>
              <a:t>Rabies is transmitted via infectious saliva </a:t>
            </a:r>
          </a:p>
        </p:txBody>
      </p:sp>
      <p:sp>
        <p:nvSpPr>
          <p:cNvPr id="3" name="Content Placeholder 2">
            <a:extLst>
              <a:ext uri="{FF2B5EF4-FFF2-40B4-BE49-F238E27FC236}">
                <a16:creationId xmlns:a16="http://schemas.microsoft.com/office/drawing/2014/main" id="{A745C155-ECE5-9BC0-EA05-45E019828EBA}"/>
              </a:ext>
            </a:extLst>
          </p:cNvPr>
          <p:cNvSpPr>
            <a:spLocks noGrp="1"/>
          </p:cNvSpPr>
          <p:nvPr>
            <p:ph idx="1"/>
          </p:nvPr>
        </p:nvSpPr>
        <p:spPr>
          <a:xfrm>
            <a:off x="1292337" y="1276803"/>
            <a:ext cx="4193195" cy="5209027"/>
          </a:xfrm>
        </p:spPr>
        <p:txBody>
          <a:bodyPr>
            <a:normAutofit/>
          </a:bodyPr>
          <a:lstStyle/>
          <a:p>
            <a:pPr marL="0" indent="0">
              <a:lnSpc>
                <a:spcPct val="100000"/>
              </a:lnSpc>
              <a:spcBef>
                <a:spcPts val="0"/>
              </a:spcBef>
              <a:buNone/>
            </a:pPr>
            <a:r>
              <a:rPr lang="en-US" sz="2000"/>
              <a:t>Inoculation of infectious </a:t>
            </a:r>
            <a:r>
              <a:rPr lang="en-US" sz="2000" b="1"/>
              <a:t>saliva</a:t>
            </a:r>
            <a:r>
              <a:rPr lang="en-US" sz="2000"/>
              <a:t> via a bite (most common), scratch, or direct contact with mucosa (e. g. eyes, mouth, or open wound) </a:t>
            </a:r>
          </a:p>
          <a:p>
            <a:pPr marL="0" indent="0">
              <a:lnSpc>
                <a:spcPct val="100000"/>
              </a:lnSpc>
              <a:spcBef>
                <a:spcPts val="0"/>
              </a:spcBef>
              <a:buNone/>
            </a:pPr>
            <a:endParaRPr lang="en-US" sz="2000"/>
          </a:p>
          <a:p>
            <a:pPr marL="0" indent="0">
              <a:lnSpc>
                <a:spcPct val="100000"/>
              </a:lnSpc>
              <a:spcBef>
                <a:spcPts val="0"/>
              </a:spcBef>
              <a:buNone/>
            </a:pPr>
            <a:r>
              <a:rPr lang="en-US" sz="2000"/>
              <a:t>Local </a:t>
            </a:r>
            <a:r>
              <a:rPr lang="en-US" sz="2000" b="1"/>
              <a:t>muscle</a:t>
            </a:r>
            <a:r>
              <a:rPr lang="en-US" sz="2000"/>
              <a:t> infection and uptake into peripheral nerves </a:t>
            </a:r>
          </a:p>
          <a:p>
            <a:pPr marL="0" indent="0">
              <a:lnSpc>
                <a:spcPct val="100000"/>
              </a:lnSpc>
              <a:spcBef>
                <a:spcPts val="0"/>
              </a:spcBef>
              <a:buNone/>
            </a:pPr>
            <a:endParaRPr lang="en-US" sz="2000"/>
          </a:p>
          <a:p>
            <a:pPr marL="0" indent="0" algn="just">
              <a:lnSpc>
                <a:spcPct val="100000"/>
              </a:lnSpc>
              <a:spcBef>
                <a:spcPts val="0"/>
              </a:spcBef>
              <a:buNone/>
            </a:pPr>
            <a:r>
              <a:rPr lang="en-US" sz="2000"/>
              <a:t>Spread to </a:t>
            </a:r>
            <a:r>
              <a:rPr lang="en-US" sz="2000" b="1"/>
              <a:t>central</a:t>
            </a:r>
            <a:r>
              <a:rPr lang="en-US" sz="2000">
                <a:solidFill>
                  <a:schemeClr val="accent5">
                    <a:lumMod val="75000"/>
                  </a:schemeClr>
                </a:solidFill>
              </a:rPr>
              <a:t> </a:t>
            </a:r>
            <a:r>
              <a:rPr lang="en-US" sz="2000" b="1"/>
              <a:t>nervous</a:t>
            </a:r>
            <a:r>
              <a:rPr lang="en-US" sz="2000">
                <a:solidFill>
                  <a:schemeClr val="accent5">
                    <a:lumMod val="75000"/>
                  </a:schemeClr>
                </a:solidFill>
              </a:rPr>
              <a:t> </a:t>
            </a:r>
            <a:r>
              <a:rPr lang="en-US" sz="2000" b="1"/>
              <a:t>system</a:t>
            </a:r>
            <a:r>
              <a:rPr lang="en-US" sz="2000">
                <a:solidFill>
                  <a:schemeClr val="accent5">
                    <a:lumMod val="75000"/>
                  </a:schemeClr>
                </a:solidFill>
              </a:rPr>
              <a:t> </a:t>
            </a:r>
          </a:p>
          <a:p>
            <a:pPr marL="0" indent="0" algn="just">
              <a:lnSpc>
                <a:spcPct val="100000"/>
              </a:lnSpc>
              <a:spcBef>
                <a:spcPts val="0"/>
              </a:spcBef>
              <a:buNone/>
            </a:pPr>
            <a:endParaRPr lang="en-US" sz="2000">
              <a:solidFill>
                <a:schemeClr val="accent5">
                  <a:lumMod val="75000"/>
                </a:schemeClr>
              </a:solidFill>
            </a:endParaRPr>
          </a:p>
          <a:p>
            <a:pPr marL="0" indent="0" algn="just">
              <a:lnSpc>
                <a:spcPct val="100000"/>
              </a:lnSpc>
              <a:spcBef>
                <a:spcPts val="0"/>
              </a:spcBef>
              <a:buNone/>
            </a:pPr>
            <a:endParaRPr lang="en-US" sz="2000">
              <a:solidFill>
                <a:schemeClr val="accent5">
                  <a:lumMod val="75000"/>
                </a:schemeClr>
              </a:solidFill>
            </a:endParaRPr>
          </a:p>
          <a:p>
            <a:pPr marL="0" indent="0" algn="just">
              <a:lnSpc>
                <a:spcPct val="100000"/>
              </a:lnSpc>
              <a:spcBef>
                <a:spcPts val="0"/>
              </a:spcBef>
              <a:buNone/>
            </a:pPr>
            <a:r>
              <a:rPr lang="en-US" sz="2000"/>
              <a:t>Replication in the </a:t>
            </a:r>
            <a:r>
              <a:rPr lang="en-US" sz="2000" b="1"/>
              <a:t>brain</a:t>
            </a:r>
            <a:r>
              <a:rPr lang="en-US" sz="2000">
                <a:solidFill>
                  <a:schemeClr val="accent5">
                    <a:lumMod val="75000"/>
                  </a:schemeClr>
                </a:solidFill>
              </a:rPr>
              <a:t> </a:t>
            </a:r>
          </a:p>
          <a:p>
            <a:pPr marL="0" indent="0">
              <a:lnSpc>
                <a:spcPct val="100000"/>
              </a:lnSpc>
              <a:spcBef>
                <a:spcPts val="0"/>
              </a:spcBef>
              <a:buNone/>
            </a:pPr>
            <a:endParaRPr lang="en-US" sz="2000"/>
          </a:p>
          <a:p>
            <a:pPr marL="0" indent="0">
              <a:lnSpc>
                <a:spcPct val="100000"/>
              </a:lnSpc>
              <a:spcBef>
                <a:spcPts val="0"/>
              </a:spcBef>
              <a:buNone/>
            </a:pPr>
            <a:endParaRPr lang="en-US" sz="2000"/>
          </a:p>
          <a:p>
            <a:pPr marL="0" indent="0">
              <a:lnSpc>
                <a:spcPct val="100000"/>
              </a:lnSpc>
              <a:spcBef>
                <a:spcPts val="0"/>
              </a:spcBef>
              <a:buNone/>
            </a:pPr>
            <a:r>
              <a:rPr lang="en-US" sz="2000"/>
              <a:t>Spread to salivary glands and excretion in </a:t>
            </a:r>
            <a:r>
              <a:rPr lang="en-US" sz="2000" b="1"/>
              <a:t>saliva</a:t>
            </a:r>
            <a:r>
              <a:rPr lang="en-US" sz="2000">
                <a:solidFill>
                  <a:schemeClr val="accent5">
                    <a:lumMod val="75000"/>
                  </a:schemeClr>
                </a:solidFill>
              </a:rPr>
              <a:t> </a:t>
            </a:r>
          </a:p>
        </p:txBody>
      </p:sp>
      <p:sp>
        <p:nvSpPr>
          <p:cNvPr id="5" name="TextBox 4">
            <a:extLst>
              <a:ext uri="{FF2B5EF4-FFF2-40B4-BE49-F238E27FC236}">
                <a16:creationId xmlns:a16="http://schemas.microsoft.com/office/drawing/2014/main" id="{C8F3060F-C1ED-363F-FA23-07B62EB3B28E}"/>
              </a:ext>
            </a:extLst>
          </p:cNvPr>
          <p:cNvSpPr txBox="1"/>
          <p:nvPr/>
        </p:nvSpPr>
        <p:spPr>
          <a:xfrm rot="10800000" flipH="1" flipV="1">
            <a:off x="6363110" y="4098020"/>
            <a:ext cx="5337112" cy="2308324"/>
          </a:xfrm>
          <a:prstGeom prst="rect">
            <a:avLst/>
          </a:prstGeom>
          <a:noFill/>
        </p:spPr>
        <p:txBody>
          <a:bodyPr wrap="square" rtlCol="0">
            <a:spAutoFit/>
          </a:bodyPr>
          <a:lstStyle/>
          <a:p>
            <a:r>
              <a:rPr lang="en-US" b="1"/>
              <a:t>Rarely documented transmission</a:t>
            </a:r>
            <a:r>
              <a:rPr lang="en-US">
                <a:solidFill>
                  <a:schemeClr val="accent5">
                    <a:lumMod val="75000"/>
                  </a:schemeClr>
                </a:solidFill>
              </a:rPr>
              <a:t>: </a:t>
            </a:r>
          </a:p>
          <a:p>
            <a:pPr marL="285750" indent="-285750">
              <a:buFont typeface="Arial" panose="020B0604020202020204" pitchFamily="34" charset="0"/>
              <a:buChar char="•"/>
            </a:pPr>
            <a:r>
              <a:rPr lang="en-US"/>
              <a:t>Human-to-human transmission via tissue and organ transplantation or mucosal route </a:t>
            </a:r>
          </a:p>
          <a:p>
            <a:pPr marL="285750" indent="-285750">
              <a:buFont typeface="Arial" panose="020B0604020202020204" pitchFamily="34" charset="0"/>
              <a:buChar char="•"/>
            </a:pPr>
            <a:r>
              <a:rPr lang="en-US"/>
              <a:t>Inhalation of </a:t>
            </a:r>
            <a:r>
              <a:rPr lang="en-US" err="1"/>
              <a:t>aerosolised</a:t>
            </a:r>
            <a:r>
              <a:rPr lang="en-US"/>
              <a:t> virus (e.g. in labs)</a:t>
            </a:r>
          </a:p>
          <a:p>
            <a:pPr marL="285750" indent="-285750">
              <a:buFont typeface="Arial" panose="020B0604020202020204" pitchFamily="34" charset="0"/>
              <a:buChar char="•"/>
            </a:pPr>
            <a:r>
              <a:rPr lang="en-US"/>
              <a:t>Handling of raw meat </a:t>
            </a:r>
          </a:p>
          <a:p>
            <a:r>
              <a:rPr lang="en-US" b="1"/>
              <a:t>Never documented transmission</a:t>
            </a:r>
            <a:r>
              <a:rPr lang="en-US">
                <a:solidFill>
                  <a:schemeClr val="accent5">
                    <a:lumMod val="75000"/>
                  </a:schemeClr>
                </a:solidFill>
              </a:rPr>
              <a:t>: </a:t>
            </a:r>
          </a:p>
          <a:p>
            <a:pPr marL="285750" indent="-285750">
              <a:buFont typeface="Arial" panose="020B0604020202020204" pitchFamily="34" charset="0"/>
              <a:buChar char="•"/>
            </a:pPr>
            <a:r>
              <a:rPr lang="en-US"/>
              <a:t>Consumption of raw milk </a:t>
            </a:r>
          </a:p>
          <a:p>
            <a:pPr marL="285750" indent="-285750">
              <a:buFont typeface="Arial" panose="020B0604020202020204" pitchFamily="34" charset="0"/>
              <a:buChar char="•"/>
            </a:pPr>
            <a:r>
              <a:rPr lang="en-US"/>
              <a:t>Rodent bites </a:t>
            </a:r>
          </a:p>
        </p:txBody>
      </p:sp>
      <p:sp>
        <p:nvSpPr>
          <p:cNvPr id="6" name="Flowchart: Process 5">
            <a:extLst>
              <a:ext uri="{FF2B5EF4-FFF2-40B4-BE49-F238E27FC236}">
                <a16:creationId xmlns:a16="http://schemas.microsoft.com/office/drawing/2014/main" id="{8CDDEE47-2EEF-76A6-8B21-95E1895085C1}"/>
              </a:ext>
            </a:extLst>
          </p:cNvPr>
          <p:cNvSpPr/>
          <p:nvPr/>
        </p:nvSpPr>
        <p:spPr>
          <a:xfrm>
            <a:off x="6096000" y="3971365"/>
            <a:ext cx="5716555" cy="2561635"/>
          </a:xfrm>
          <a:prstGeom prst="flowChartProcess">
            <a:avLst/>
          </a:prstGeom>
          <a:noFill/>
          <a:ln w="317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a:extLst>
              <a:ext uri="{FF2B5EF4-FFF2-40B4-BE49-F238E27FC236}">
                <a16:creationId xmlns:a16="http://schemas.microsoft.com/office/drawing/2014/main" id="{0B3D9535-9D99-8819-8FB4-2506B79CE56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96000" y="1225063"/>
            <a:ext cx="5686335" cy="2676315"/>
          </a:xfrm>
          <a:prstGeom prst="rect">
            <a:avLst/>
          </a:prstGeom>
        </p:spPr>
      </p:pic>
      <p:grpSp>
        <p:nvGrpSpPr>
          <p:cNvPr id="12" name="Group 11">
            <a:extLst>
              <a:ext uri="{FF2B5EF4-FFF2-40B4-BE49-F238E27FC236}">
                <a16:creationId xmlns:a16="http://schemas.microsoft.com/office/drawing/2014/main" id="{39D39813-88CB-3A17-7FF8-9C664F608409}"/>
              </a:ext>
            </a:extLst>
          </p:cNvPr>
          <p:cNvGrpSpPr/>
          <p:nvPr/>
        </p:nvGrpSpPr>
        <p:grpSpPr>
          <a:xfrm>
            <a:off x="687250" y="1608609"/>
            <a:ext cx="492754" cy="4477413"/>
            <a:chOff x="369240" y="1257818"/>
            <a:chExt cx="492754" cy="4477413"/>
          </a:xfrm>
        </p:grpSpPr>
        <p:grpSp>
          <p:nvGrpSpPr>
            <p:cNvPr id="4" name="Group 3">
              <a:extLst>
                <a:ext uri="{FF2B5EF4-FFF2-40B4-BE49-F238E27FC236}">
                  <a16:creationId xmlns:a16="http://schemas.microsoft.com/office/drawing/2014/main" id="{4B31ABD4-6DD2-51CF-E9ED-353CE7EACECF}"/>
                </a:ext>
              </a:extLst>
            </p:cNvPr>
            <p:cNvGrpSpPr/>
            <p:nvPr/>
          </p:nvGrpSpPr>
          <p:grpSpPr>
            <a:xfrm>
              <a:off x="373350" y="1257818"/>
              <a:ext cx="484504" cy="451782"/>
              <a:chOff x="373350" y="1429847"/>
              <a:chExt cx="484504" cy="451782"/>
            </a:xfrm>
          </p:grpSpPr>
          <p:sp>
            <p:nvSpPr>
              <p:cNvPr id="13" name="Oval 12">
                <a:extLst>
                  <a:ext uri="{FF2B5EF4-FFF2-40B4-BE49-F238E27FC236}">
                    <a16:creationId xmlns:a16="http://schemas.microsoft.com/office/drawing/2014/main" id="{FA377B9A-F2EA-552F-8725-38F1084F03D5}"/>
                  </a:ext>
                </a:extLst>
              </p:cNvPr>
              <p:cNvSpPr/>
              <p:nvPr/>
            </p:nvSpPr>
            <p:spPr>
              <a:xfrm>
                <a:off x="373350" y="1429847"/>
                <a:ext cx="484504" cy="451782"/>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Box 17">
                <a:extLst>
                  <a:ext uri="{FF2B5EF4-FFF2-40B4-BE49-F238E27FC236}">
                    <a16:creationId xmlns:a16="http://schemas.microsoft.com/office/drawing/2014/main" id="{B19DD1EA-6A37-02A8-6F3E-2FCD79700CF5}"/>
                  </a:ext>
                </a:extLst>
              </p:cNvPr>
              <p:cNvSpPr txBox="1"/>
              <p:nvPr/>
            </p:nvSpPr>
            <p:spPr>
              <a:xfrm>
                <a:off x="473642" y="1471072"/>
                <a:ext cx="292200" cy="369332"/>
              </a:xfrm>
              <a:prstGeom prst="rect">
                <a:avLst/>
              </a:prstGeom>
              <a:noFill/>
            </p:spPr>
            <p:txBody>
              <a:bodyPr wrap="square" rtlCol="0">
                <a:spAutoFit/>
              </a:bodyPr>
              <a:lstStyle/>
              <a:p>
                <a:pPr algn="ctr"/>
                <a:r>
                  <a:rPr lang="en-US">
                    <a:solidFill>
                      <a:schemeClr val="bg1"/>
                    </a:solidFill>
                  </a:rPr>
                  <a:t>1</a:t>
                </a:r>
              </a:p>
            </p:txBody>
          </p:sp>
        </p:grpSp>
        <p:grpSp>
          <p:nvGrpSpPr>
            <p:cNvPr id="7" name="Group 6">
              <a:extLst>
                <a:ext uri="{FF2B5EF4-FFF2-40B4-BE49-F238E27FC236}">
                  <a16:creationId xmlns:a16="http://schemas.microsoft.com/office/drawing/2014/main" id="{AF52695C-9547-EF67-AB47-CA97A5C69ECF}"/>
                </a:ext>
              </a:extLst>
            </p:cNvPr>
            <p:cNvGrpSpPr/>
            <p:nvPr/>
          </p:nvGrpSpPr>
          <p:grpSpPr>
            <a:xfrm>
              <a:off x="377490" y="2501962"/>
              <a:ext cx="484504" cy="451782"/>
              <a:chOff x="353476" y="2833524"/>
              <a:chExt cx="484504" cy="451782"/>
            </a:xfrm>
          </p:grpSpPr>
          <p:sp>
            <p:nvSpPr>
              <p:cNvPr id="14" name="Oval 13">
                <a:extLst>
                  <a:ext uri="{FF2B5EF4-FFF2-40B4-BE49-F238E27FC236}">
                    <a16:creationId xmlns:a16="http://schemas.microsoft.com/office/drawing/2014/main" id="{6B255381-0888-268A-C39E-B250F66C677E}"/>
                  </a:ext>
                </a:extLst>
              </p:cNvPr>
              <p:cNvSpPr/>
              <p:nvPr/>
            </p:nvSpPr>
            <p:spPr>
              <a:xfrm>
                <a:off x="353476" y="2833524"/>
                <a:ext cx="484504" cy="451782"/>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20">
                <a:extLst>
                  <a:ext uri="{FF2B5EF4-FFF2-40B4-BE49-F238E27FC236}">
                    <a16:creationId xmlns:a16="http://schemas.microsoft.com/office/drawing/2014/main" id="{2562A9B4-24F4-F7B4-4AC8-B9588CE2C1C6}"/>
                  </a:ext>
                </a:extLst>
              </p:cNvPr>
              <p:cNvSpPr txBox="1"/>
              <p:nvPr/>
            </p:nvSpPr>
            <p:spPr>
              <a:xfrm>
                <a:off x="458495" y="2876298"/>
                <a:ext cx="362418" cy="369332"/>
              </a:xfrm>
              <a:prstGeom prst="rect">
                <a:avLst/>
              </a:prstGeom>
              <a:noFill/>
            </p:spPr>
            <p:txBody>
              <a:bodyPr wrap="square" rtlCol="0">
                <a:spAutoFit/>
              </a:bodyPr>
              <a:lstStyle/>
              <a:p>
                <a:r>
                  <a:rPr lang="en-US">
                    <a:solidFill>
                      <a:schemeClr val="bg1"/>
                    </a:solidFill>
                  </a:rPr>
                  <a:t>2</a:t>
                </a:r>
              </a:p>
            </p:txBody>
          </p:sp>
        </p:grpSp>
        <p:grpSp>
          <p:nvGrpSpPr>
            <p:cNvPr id="9" name="Group 8">
              <a:extLst>
                <a:ext uri="{FF2B5EF4-FFF2-40B4-BE49-F238E27FC236}">
                  <a16:creationId xmlns:a16="http://schemas.microsoft.com/office/drawing/2014/main" id="{9FA951F4-8D16-0A81-2298-35F4913A601E}"/>
                </a:ext>
              </a:extLst>
            </p:cNvPr>
            <p:cNvGrpSpPr/>
            <p:nvPr/>
          </p:nvGrpSpPr>
          <p:grpSpPr>
            <a:xfrm>
              <a:off x="369240" y="3383579"/>
              <a:ext cx="484504" cy="451782"/>
              <a:chOff x="340892" y="3758916"/>
              <a:chExt cx="484504" cy="451782"/>
            </a:xfrm>
          </p:grpSpPr>
          <p:sp>
            <p:nvSpPr>
              <p:cNvPr id="15" name="Oval 14">
                <a:extLst>
                  <a:ext uri="{FF2B5EF4-FFF2-40B4-BE49-F238E27FC236}">
                    <a16:creationId xmlns:a16="http://schemas.microsoft.com/office/drawing/2014/main" id="{C7AEF1E9-5707-729D-9C8A-65BBB79978C4}"/>
                  </a:ext>
                </a:extLst>
              </p:cNvPr>
              <p:cNvSpPr/>
              <p:nvPr/>
            </p:nvSpPr>
            <p:spPr>
              <a:xfrm>
                <a:off x="340892" y="3758916"/>
                <a:ext cx="484504" cy="451782"/>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TextBox 21">
                <a:extLst>
                  <a:ext uri="{FF2B5EF4-FFF2-40B4-BE49-F238E27FC236}">
                    <a16:creationId xmlns:a16="http://schemas.microsoft.com/office/drawing/2014/main" id="{7FB87FA9-B488-9005-63EE-5CBFBC906E19}"/>
                  </a:ext>
                </a:extLst>
              </p:cNvPr>
              <p:cNvSpPr txBox="1"/>
              <p:nvPr/>
            </p:nvSpPr>
            <p:spPr>
              <a:xfrm>
                <a:off x="436170" y="3800141"/>
                <a:ext cx="274465" cy="369332"/>
              </a:xfrm>
              <a:prstGeom prst="rect">
                <a:avLst/>
              </a:prstGeom>
              <a:noFill/>
            </p:spPr>
            <p:txBody>
              <a:bodyPr wrap="square" rtlCol="0">
                <a:spAutoFit/>
              </a:bodyPr>
              <a:lstStyle/>
              <a:p>
                <a:r>
                  <a:rPr lang="en-US">
                    <a:solidFill>
                      <a:schemeClr val="bg1"/>
                    </a:solidFill>
                  </a:rPr>
                  <a:t>3</a:t>
                </a:r>
              </a:p>
            </p:txBody>
          </p:sp>
        </p:grpSp>
        <p:grpSp>
          <p:nvGrpSpPr>
            <p:cNvPr id="10" name="Group 9">
              <a:extLst>
                <a:ext uri="{FF2B5EF4-FFF2-40B4-BE49-F238E27FC236}">
                  <a16:creationId xmlns:a16="http://schemas.microsoft.com/office/drawing/2014/main" id="{FEF0E7F4-47FD-565A-4A0A-BCC92B352171}"/>
                </a:ext>
              </a:extLst>
            </p:cNvPr>
            <p:cNvGrpSpPr/>
            <p:nvPr/>
          </p:nvGrpSpPr>
          <p:grpSpPr>
            <a:xfrm>
              <a:off x="377490" y="4285757"/>
              <a:ext cx="484504" cy="451782"/>
              <a:chOff x="377490" y="4680679"/>
              <a:chExt cx="484504" cy="451782"/>
            </a:xfrm>
          </p:grpSpPr>
          <p:sp>
            <p:nvSpPr>
              <p:cNvPr id="17" name="Oval 16">
                <a:extLst>
                  <a:ext uri="{FF2B5EF4-FFF2-40B4-BE49-F238E27FC236}">
                    <a16:creationId xmlns:a16="http://schemas.microsoft.com/office/drawing/2014/main" id="{CEB14F45-2030-7D1B-0064-F42767B1140B}"/>
                  </a:ext>
                </a:extLst>
              </p:cNvPr>
              <p:cNvSpPr/>
              <p:nvPr/>
            </p:nvSpPr>
            <p:spPr>
              <a:xfrm>
                <a:off x="377490" y="4680679"/>
                <a:ext cx="484504" cy="451782"/>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xtBox 22">
                <a:extLst>
                  <a:ext uri="{FF2B5EF4-FFF2-40B4-BE49-F238E27FC236}">
                    <a16:creationId xmlns:a16="http://schemas.microsoft.com/office/drawing/2014/main" id="{6ABF5A82-4309-D3C6-5FC9-2F396CF5EE6D}"/>
                  </a:ext>
                </a:extLst>
              </p:cNvPr>
              <p:cNvSpPr txBox="1"/>
              <p:nvPr/>
            </p:nvSpPr>
            <p:spPr>
              <a:xfrm>
                <a:off x="482509" y="4721904"/>
                <a:ext cx="271561" cy="369332"/>
              </a:xfrm>
              <a:prstGeom prst="rect">
                <a:avLst/>
              </a:prstGeom>
              <a:noFill/>
            </p:spPr>
            <p:txBody>
              <a:bodyPr wrap="square" rtlCol="0">
                <a:spAutoFit/>
              </a:bodyPr>
              <a:lstStyle/>
              <a:p>
                <a:pPr algn="ctr"/>
                <a:r>
                  <a:rPr lang="en-US">
                    <a:solidFill>
                      <a:schemeClr val="bg1"/>
                    </a:solidFill>
                  </a:rPr>
                  <a:t>4</a:t>
                </a:r>
              </a:p>
            </p:txBody>
          </p:sp>
        </p:grpSp>
        <p:grpSp>
          <p:nvGrpSpPr>
            <p:cNvPr id="11" name="Group 10">
              <a:extLst>
                <a:ext uri="{FF2B5EF4-FFF2-40B4-BE49-F238E27FC236}">
                  <a16:creationId xmlns:a16="http://schemas.microsoft.com/office/drawing/2014/main" id="{E3F4E021-F0FC-FA4A-EAB8-11D46BCA2459}"/>
                </a:ext>
              </a:extLst>
            </p:cNvPr>
            <p:cNvGrpSpPr/>
            <p:nvPr/>
          </p:nvGrpSpPr>
          <p:grpSpPr>
            <a:xfrm>
              <a:off x="377490" y="5283449"/>
              <a:ext cx="484504" cy="451782"/>
              <a:chOff x="377490" y="5596963"/>
              <a:chExt cx="484504" cy="451782"/>
            </a:xfrm>
          </p:grpSpPr>
          <p:sp>
            <p:nvSpPr>
              <p:cNvPr id="16" name="Oval 15">
                <a:extLst>
                  <a:ext uri="{FF2B5EF4-FFF2-40B4-BE49-F238E27FC236}">
                    <a16:creationId xmlns:a16="http://schemas.microsoft.com/office/drawing/2014/main" id="{7593DFD6-D62B-6651-5332-3FA797C92D0C}"/>
                  </a:ext>
                </a:extLst>
              </p:cNvPr>
              <p:cNvSpPr/>
              <p:nvPr/>
            </p:nvSpPr>
            <p:spPr>
              <a:xfrm>
                <a:off x="377490" y="5596963"/>
                <a:ext cx="484504" cy="451782"/>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Box 23">
                <a:extLst>
                  <a:ext uri="{FF2B5EF4-FFF2-40B4-BE49-F238E27FC236}">
                    <a16:creationId xmlns:a16="http://schemas.microsoft.com/office/drawing/2014/main" id="{0392220B-829E-573A-3978-A10C7F3D215A}"/>
                  </a:ext>
                </a:extLst>
              </p:cNvPr>
              <p:cNvSpPr txBox="1"/>
              <p:nvPr/>
            </p:nvSpPr>
            <p:spPr>
              <a:xfrm>
                <a:off x="482509" y="5638188"/>
                <a:ext cx="274465" cy="369332"/>
              </a:xfrm>
              <a:prstGeom prst="rect">
                <a:avLst/>
              </a:prstGeom>
              <a:noFill/>
            </p:spPr>
            <p:txBody>
              <a:bodyPr wrap="square" rtlCol="0">
                <a:spAutoFit/>
              </a:bodyPr>
              <a:lstStyle/>
              <a:p>
                <a:r>
                  <a:rPr lang="en-US">
                    <a:solidFill>
                      <a:schemeClr val="bg1"/>
                    </a:solidFill>
                  </a:rPr>
                  <a:t>5</a:t>
                </a:r>
              </a:p>
            </p:txBody>
          </p:sp>
        </p:grpSp>
      </p:grpSp>
      <p:pic>
        <p:nvPicPr>
          <p:cNvPr id="19" name="Picture 18">
            <a:extLst>
              <a:ext uri="{FF2B5EF4-FFF2-40B4-BE49-F238E27FC236}">
                <a16:creationId xmlns:a16="http://schemas.microsoft.com/office/drawing/2014/main" id="{48140019-9A06-C527-8A29-7B871C26AF1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2689" y="6288609"/>
            <a:ext cx="1588170" cy="500605"/>
          </a:xfrm>
          <a:prstGeom prst="rect">
            <a:avLst/>
          </a:prstGeom>
        </p:spPr>
      </p:pic>
    </p:spTree>
    <p:extLst>
      <p:ext uri="{BB962C8B-B14F-4D97-AF65-F5344CB8AC3E}">
        <p14:creationId xmlns:p14="http://schemas.microsoft.com/office/powerpoint/2010/main" val="8423688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313234" y="241013"/>
            <a:ext cx="9354765" cy="52322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Study Conclusion</a:t>
            </a:r>
          </a:p>
        </p:txBody>
      </p:sp>
      <p:cxnSp>
        <p:nvCxnSpPr>
          <p:cNvPr id="16" name="Straight Connector 15"/>
          <p:cNvCxnSpPr/>
          <p:nvPr/>
        </p:nvCxnSpPr>
        <p:spPr>
          <a:xfrm>
            <a:off x="389554" y="828968"/>
            <a:ext cx="11412893" cy="0"/>
          </a:xfrm>
          <a:prstGeom prst="line">
            <a:avLst/>
          </a:prstGeom>
          <a:ln w="1905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2" name="Rectangle 1"/>
          <p:cNvSpPr/>
          <p:nvPr/>
        </p:nvSpPr>
        <p:spPr>
          <a:xfrm>
            <a:off x="8647557" y="3555914"/>
            <a:ext cx="2808051" cy="584775"/>
          </a:xfrm>
          <a:prstGeom prst="rect">
            <a:avLst/>
          </a:prstGeom>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Frees space in Center’s waiting area</a:t>
            </a:r>
          </a:p>
        </p:txBody>
      </p:sp>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139777" y="135252"/>
            <a:ext cx="697323" cy="704501"/>
          </a:xfrm>
          <a:prstGeom prst="rect">
            <a:avLst/>
          </a:prstGeom>
        </p:spPr>
      </p:pic>
      <p:sp>
        <p:nvSpPr>
          <p:cNvPr id="11" name="Oval 10"/>
          <p:cNvSpPr/>
          <p:nvPr/>
        </p:nvSpPr>
        <p:spPr>
          <a:xfrm>
            <a:off x="5575256" y="1778868"/>
            <a:ext cx="1041488" cy="1041488"/>
          </a:xfrm>
          <a:prstGeom prst="ellipse">
            <a:avLst/>
          </a:prstGeom>
          <a:solidFill>
            <a:srgbClr val="1E47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sp>
        <p:nvSpPr>
          <p:cNvPr id="14" name="Oval 13"/>
          <p:cNvSpPr/>
          <p:nvPr/>
        </p:nvSpPr>
        <p:spPr>
          <a:xfrm>
            <a:off x="1627866" y="1778868"/>
            <a:ext cx="1041488" cy="1041488"/>
          </a:xfrm>
          <a:prstGeom prst="ellipse">
            <a:avLst/>
          </a:prstGeom>
          <a:solidFill>
            <a:srgbClr val="1E47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sp>
        <p:nvSpPr>
          <p:cNvPr id="18" name="Oval 17"/>
          <p:cNvSpPr/>
          <p:nvPr/>
        </p:nvSpPr>
        <p:spPr>
          <a:xfrm>
            <a:off x="9522646" y="1778868"/>
            <a:ext cx="1041488" cy="1041488"/>
          </a:xfrm>
          <a:prstGeom prst="ellipse">
            <a:avLst/>
          </a:prstGeom>
          <a:solidFill>
            <a:srgbClr val="1E47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grpSp>
        <p:nvGrpSpPr>
          <p:cNvPr id="20" name="Group 19"/>
          <p:cNvGrpSpPr/>
          <p:nvPr/>
        </p:nvGrpSpPr>
        <p:grpSpPr>
          <a:xfrm>
            <a:off x="2080516" y="2719833"/>
            <a:ext cx="136187" cy="655417"/>
            <a:chOff x="3250659" y="2556626"/>
            <a:chExt cx="136187" cy="655417"/>
          </a:xfrm>
        </p:grpSpPr>
        <p:cxnSp>
          <p:nvCxnSpPr>
            <p:cNvPr id="21" name="Straight Connector 20"/>
            <p:cNvCxnSpPr/>
            <p:nvPr/>
          </p:nvCxnSpPr>
          <p:spPr>
            <a:xfrm flipH="1">
              <a:off x="3318753" y="2556626"/>
              <a:ext cx="3245" cy="548640"/>
            </a:xfrm>
            <a:prstGeom prst="line">
              <a:avLst/>
            </a:prstGeom>
            <a:ln w="28575">
              <a:solidFill>
                <a:srgbClr val="1E479C"/>
              </a:solidFill>
            </a:ln>
          </p:spPr>
          <p:style>
            <a:lnRef idx="1">
              <a:schemeClr val="accent1"/>
            </a:lnRef>
            <a:fillRef idx="0">
              <a:schemeClr val="accent1"/>
            </a:fillRef>
            <a:effectRef idx="0">
              <a:schemeClr val="accent1"/>
            </a:effectRef>
            <a:fontRef idx="minor">
              <a:schemeClr val="tx1"/>
            </a:fontRef>
          </p:style>
        </p:cxnSp>
        <p:sp>
          <p:nvSpPr>
            <p:cNvPr id="22" name="Oval 21"/>
            <p:cNvSpPr/>
            <p:nvPr/>
          </p:nvSpPr>
          <p:spPr>
            <a:xfrm>
              <a:off x="3250659" y="3075856"/>
              <a:ext cx="136187" cy="136187"/>
            </a:xfrm>
            <a:prstGeom prst="ellipse">
              <a:avLst/>
            </a:prstGeom>
            <a:solidFill>
              <a:srgbClr val="1E479C"/>
            </a:solidFill>
            <a:ln>
              <a:solidFill>
                <a:srgbClr val="1E479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grpSp>
      <p:grpSp>
        <p:nvGrpSpPr>
          <p:cNvPr id="23" name="Group 22"/>
          <p:cNvGrpSpPr/>
          <p:nvPr/>
        </p:nvGrpSpPr>
        <p:grpSpPr>
          <a:xfrm>
            <a:off x="6027906" y="2719833"/>
            <a:ext cx="136187" cy="655417"/>
            <a:chOff x="3250659" y="2556626"/>
            <a:chExt cx="136187" cy="655417"/>
          </a:xfrm>
        </p:grpSpPr>
        <p:cxnSp>
          <p:nvCxnSpPr>
            <p:cNvPr id="24" name="Straight Connector 23"/>
            <p:cNvCxnSpPr/>
            <p:nvPr/>
          </p:nvCxnSpPr>
          <p:spPr>
            <a:xfrm flipH="1">
              <a:off x="3318753" y="2556626"/>
              <a:ext cx="3245" cy="548640"/>
            </a:xfrm>
            <a:prstGeom prst="line">
              <a:avLst/>
            </a:prstGeom>
            <a:ln w="28575">
              <a:solidFill>
                <a:srgbClr val="1E479C"/>
              </a:solidFill>
            </a:ln>
          </p:spPr>
          <p:style>
            <a:lnRef idx="1">
              <a:schemeClr val="accent1"/>
            </a:lnRef>
            <a:fillRef idx="0">
              <a:schemeClr val="accent1"/>
            </a:fillRef>
            <a:effectRef idx="0">
              <a:schemeClr val="accent1"/>
            </a:effectRef>
            <a:fontRef idx="minor">
              <a:schemeClr val="tx1"/>
            </a:fontRef>
          </p:style>
        </p:cxnSp>
        <p:sp>
          <p:nvSpPr>
            <p:cNvPr id="25" name="Oval 24"/>
            <p:cNvSpPr/>
            <p:nvPr/>
          </p:nvSpPr>
          <p:spPr>
            <a:xfrm>
              <a:off x="3250659" y="3075856"/>
              <a:ext cx="136187" cy="136187"/>
            </a:xfrm>
            <a:prstGeom prst="ellipse">
              <a:avLst/>
            </a:prstGeom>
            <a:solidFill>
              <a:srgbClr val="1E479C"/>
            </a:solidFill>
            <a:ln>
              <a:solidFill>
                <a:srgbClr val="1E479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grpSp>
      <p:grpSp>
        <p:nvGrpSpPr>
          <p:cNvPr id="26" name="Group 25"/>
          <p:cNvGrpSpPr/>
          <p:nvPr/>
        </p:nvGrpSpPr>
        <p:grpSpPr>
          <a:xfrm>
            <a:off x="9983490" y="2719833"/>
            <a:ext cx="136187" cy="655417"/>
            <a:chOff x="3250659" y="2556626"/>
            <a:chExt cx="136187" cy="655417"/>
          </a:xfrm>
        </p:grpSpPr>
        <p:cxnSp>
          <p:nvCxnSpPr>
            <p:cNvPr id="27" name="Straight Connector 26"/>
            <p:cNvCxnSpPr/>
            <p:nvPr/>
          </p:nvCxnSpPr>
          <p:spPr>
            <a:xfrm flipH="1">
              <a:off x="3318753" y="2556626"/>
              <a:ext cx="3245" cy="548640"/>
            </a:xfrm>
            <a:prstGeom prst="line">
              <a:avLst/>
            </a:prstGeom>
            <a:ln w="28575">
              <a:solidFill>
                <a:srgbClr val="1E479C"/>
              </a:solidFill>
            </a:ln>
          </p:spPr>
          <p:style>
            <a:lnRef idx="1">
              <a:schemeClr val="accent1"/>
            </a:lnRef>
            <a:fillRef idx="0">
              <a:schemeClr val="accent1"/>
            </a:fillRef>
            <a:effectRef idx="0">
              <a:schemeClr val="accent1"/>
            </a:effectRef>
            <a:fontRef idx="minor">
              <a:schemeClr val="tx1"/>
            </a:fontRef>
          </p:style>
        </p:cxnSp>
        <p:sp>
          <p:nvSpPr>
            <p:cNvPr id="28" name="Oval 27"/>
            <p:cNvSpPr/>
            <p:nvPr/>
          </p:nvSpPr>
          <p:spPr>
            <a:xfrm>
              <a:off x="3250659" y="3075856"/>
              <a:ext cx="136187" cy="136187"/>
            </a:xfrm>
            <a:prstGeom prst="ellipse">
              <a:avLst/>
            </a:prstGeom>
            <a:solidFill>
              <a:srgbClr val="1E479C"/>
            </a:solidFill>
            <a:ln>
              <a:solidFill>
                <a:srgbClr val="1E479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grpSp>
      <p:sp>
        <p:nvSpPr>
          <p:cNvPr id="29" name="Rectangle 28"/>
          <p:cNvSpPr/>
          <p:nvPr/>
        </p:nvSpPr>
        <p:spPr>
          <a:xfrm>
            <a:off x="748340" y="3555914"/>
            <a:ext cx="2800540" cy="1077218"/>
          </a:xfrm>
          <a:prstGeom prst="rect">
            <a:avLst/>
          </a:prstGeom>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1 week 2-site ID regimen </a:t>
            </a:r>
            <a:r>
              <a:rPr kumimoji="0" lang="en-US" sz="16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saves vaccine and cost </a:t>
            </a:r>
            <a:r>
              <a:rPr kumimoji="0" lang="en-US" sz="16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without compromising patient safety</a:t>
            </a:r>
          </a:p>
        </p:txBody>
      </p:sp>
      <p:sp>
        <p:nvSpPr>
          <p:cNvPr id="30" name="Rectangle 29"/>
          <p:cNvSpPr/>
          <p:nvPr/>
        </p:nvSpPr>
        <p:spPr>
          <a:xfrm>
            <a:off x="4401291" y="3555914"/>
            <a:ext cx="3389416" cy="1077218"/>
          </a:xfrm>
          <a:prstGeom prst="rect">
            <a:avLst/>
          </a:prstGeom>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Deleting D 28 dose saves patient anxiety, cost of travel, accommodation and daily wages</a:t>
            </a:r>
          </a:p>
        </p:txBody>
      </p:sp>
      <p:pic>
        <p:nvPicPr>
          <p:cNvPr id="33" name="Picture 3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64296" y="2003731"/>
            <a:ext cx="568625" cy="568625"/>
          </a:xfrm>
          <a:prstGeom prst="rect">
            <a:avLst/>
          </a:prstGeom>
        </p:spPr>
      </p:pic>
      <p:pic>
        <p:nvPicPr>
          <p:cNvPr id="34" name="Picture 3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794813" y="1940347"/>
            <a:ext cx="660740" cy="660740"/>
          </a:xfrm>
          <a:prstGeom prst="rect">
            <a:avLst/>
          </a:prstGeom>
        </p:spPr>
      </p:pic>
      <p:pic>
        <p:nvPicPr>
          <p:cNvPr id="35" name="Picture 3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742231" y="1984275"/>
            <a:ext cx="618705" cy="618705"/>
          </a:xfrm>
          <a:prstGeom prst="rect">
            <a:avLst/>
          </a:prstGeom>
        </p:spPr>
      </p:pic>
    </p:spTree>
    <p:extLst>
      <p:ext uri="{BB962C8B-B14F-4D97-AF65-F5344CB8AC3E}">
        <p14:creationId xmlns:p14="http://schemas.microsoft.com/office/powerpoint/2010/main" val="37672930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6" name="Straight Connector 15"/>
          <p:cNvCxnSpPr/>
          <p:nvPr/>
        </p:nvCxnSpPr>
        <p:spPr>
          <a:xfrm>
            <a:off x="389554" y="828968"/>
            <a:ext cx="11412893" cy="0"/>
          </a:xfrm>
          <a:prstGeom prst="line">
            <a:avLst/>
          </a:prstGeom>
          <a:ln w="1905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115923" y="135253"/>
            <a:ext cx="721177" cy="728600"/>
          </a:xfrm>
          <a:prstGeom prst="rect">
            <a:avLst/>
          </a:prstGeom>
        </p:spPr>
      </p:pic>
      <p:sp>
        <p:nvSpPr>
          <p:cNvPr id="3" name="Rectangle 2"/>
          <p:cNvSpPr/>
          <p:nvPr/>
        </p:nvSpPr>
        <p:spPr>
          <a:xfrm>
            <a:off x="1202564" y="3064534"/>
            <a:ext cx="4099871" cy="646331"/>
          </a:xfrm>
          <a:prstGeom prst="rect">
            <a:avLst/>
          </a:prstGeom>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Arial" panose="020B0604020202020204" pitchFamily="34" charset="0"/>
                <a:cs typeface="+mn-cs"/>
              </a:rPr>
              <a:t>Updated standard SOPs through </a:t>
            </a:r>
            <a:r>
              <a:rPr kumimoji="0" lang="en-US" sz="1800" b="1" i="0" u="none" strike="noStrike" kern="1200" cap="none" spc="0" normalizeH="0" baseline="0" noProof="0" dirty="0">
                <a:ln>
                  <a:noFill/>
                </a:ln>
                <a:solidFill>
                  <a:srgbClr val="1E479C"/>
                </a:solidFill>
                <a:effectLst/>
                <a:uLnTx/>
                <a:uFillTx/>
                <a:latin typeface="Century Gothic" panose="020B0502020202020204" pitchFamily="34" charset="0"/>
                <a:ea typeface="+mn-ea"/>
                <a:cs typeface="+mn-cs"/>
              </a:rPr>
              <a:t>National Guidelines </a:t>
            </a:r>
          </a:p>
        </p:txBody>
      </p:sp>
      <p:sp>
        <p:nvSpPr>
          <p:cNvPr id="6" name="Rectangle 5"/>
          <p:cNvSpPr/>
          <p:nvPr/>
        </p:nvSpPr>
        <p:spPr>
          <a:xfrm>
            <a:off x="7431932" y="3107796"/>
            <a:ext cx="3968885" cy="338554"/>
          </a:xfrm>
          <a:prstGeom prst="rect">
            <a:avLst/>
          </a:prstGeom>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1- week ID in high throughput clinics</a:t>
            </a:r>
          </a:p>
        </p:txBody>
      </p:sp>
      <p:sp>
        <p:nvSpPr>
          <p:cNvPr id="19" name="Rectangle 18"/>
          <p:cNvSpPr/>
          <p:nvPr/>
        </p:nvSpPr>
        <p:spPr>
          <a:xfrm>
            <a:off x="1202564" y="5044907"/>
            <a:ext cx="4099871" cy="646331"/>
          </a:xfrm>
          <a:prstGeom prst="rect">
            <a:avLst/>
          </a:prstGeom>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Arial" panose="020B0604020202020204" pitchFamily="34" charset="0"/>
                <a:cs typeface="+mn-cs"/>
              </a:rPr>
              <a:t> More PEP centers for hard-to-reach populations </a:t>
            </a:r>
            <a:endParaRPr kumimoji="0" lang="en-US" sz="21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
        <p:nvSpPr>
          <p:cNvPr id="21" name="Rectangle 20"/>
          <p:cNvSpPr/>
          <p:nvPr/>
        </p:nvSpPr>
        <p:spPr>
          <a:xfrm>
            <a:off x="7110919" y="5044908"/>
            <a:ext cx="3859061" cy="584775"/>
          </a:xfrm>
          <a:prstGeom prst="rect">
            <a:avLst/>
          </a:prstGeom>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nsure accessibility to free vaccine and RIG through government </a:t>
            </a:r>
          </a:p>
        </p:txBody>
      </p:sp>
      <p:pic>
        <p:nvPicPr>
          <p:cNvPr id="5" name="Pictur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943545" y="2137138"/>
            <a:ext cx="831920" cy="831920"/>
          </a:xfrm>
          <a:prstGeom prst="rect">
            <a:avLst/>
          </a:prstGeom>
        </p:spPr>
      </p:pic>
      <p:pic>
        <p:nvPicPr>
          <p:cNvPr id="10" name="Picture 9"/>
          <p:cNvPicPr>
            <a:picLocks noChangeAspect="1"/>
          </p:cNvPicPr>
          <p:nvPr/>
        </p:nvPicPr>
        <p:blipFill>
          <a:blip r:embed="rId5"/>
          <a:stretch>
            <a:fillRect/>
          </a:stretch>
        </p:blipFill>
        <p:spPr>
          <a:xfrm>
            <a:off x="8492681" y="2118652"/>
            <a:ext cx="854725" cy="868892"/>
          </a:xfrm>
          <a:prstGeom prst="rect">
            <a:avLst/>
          </a:prstGeom>
        </p:spPr>
      </p:pic>
      <p:pic>
        <p:nvPicPr>
          <p:cNvPr id="12" name="Picture 11"/>
          <p:cNvPicPr>
            <a:picLocks noChangeAspect="1"/>
          </p:cNvPicPr>
          <p:nvPr/>
        </p:nvPicPr>
        <p:blipFill>
          <a:blip r:embed="rId6"/>
          <a:stretch>
            <a:fillRect/>
          </a:stretch>
        </p:blipFill>
        <p:spPr>
          <a:xfrm>
            <a:off x="2842012" y="4340543"/>
            <a:ext cx="820974" cy="629848"/>
          </a:xfrm>
          <a:prstGeom prst="rect">
            <a:avLst/>
          </a:prstGeom>
        </p:spPr>
      </p:pic>
      <p:pic>
        <p:nvPicPr>
          <p:cNvPr id="14" name="Picture 1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560438" y="4251181"/>
            <a:ext cx="719210" cy="719210"/>
          </a:xfrm>
          <a:prstGeom prst="rect">
            <a:avLst/>
          </a:prstGeom>
        </p:spPr>
      </p:pic>
      <p:sp>
        <p:nvSpPr>
          <p:cNvPr id="9" name="Title 8">
            <a:extLst>
              <a:ext uri="{FF2B5EF4-FFF2-40B4-BE49-F238E27FC236}">
                <a16:creationId xmlns:a16="http://schemas.microsoft.com/office/drawing/2014/main" id="{EDA23A19-295C-EE8F-1EA3-C063CFE7C377}"/>
              </a:ext>
            </a:extLst>
          </p:cNvPr>
          <p:cNvSpPr>
            <a:spLocks noGrp="1"/>
          </p:cNvSpPr>
          <p:nvPr>
            <p:ph type="title"/>
          </p:nvPr>
        </p:nvSpPr>
        <p:spPr>
          <a:xfrm>
            <a:off x="1303506" y="365126"/>
            <a:ext cx="10050294" cy="831920"/>
          </a:xfrm>
        </p:spPr>
        <p:txBody>
          <a:bodyPr>
            <a:normAutofit/>
          </a:bodyPr>
          <a:lstStyle/>
          <a:p>
            <a:r>
              <a:rPr lang="en-PK" sz="3600" dirty="0"/>
              <a:t>Plans for 2024</a:t>
            </a:r>
          </a:p>
        </p:txBody>
      </p:sp>
      <p:pic>
        <p:nvPicPr>
          <p:cNvPr id="4" name="Content Placeholder 5">
            <a:extLst>
              <a:ext uri="{FF2B5EF4-FFF2-40B4-BE49-F238E27FC236}">
                <a16:creationId xmlns:a16="http://schemas.microsoft.com/office/drawing/2014/main" id="{EB2917C6-C372-30D1-BA35-0D8E6B786C5C}"/>
              </a:ext>
            </a:extLst>
          </p:cNvPr>
          <p:cNvPicPr>
            <a:picLocks noGrp="1" noChangeAspect="1"/>
          </p:cNvPicPr>
          <p:nvPr>
            <p:ph idx="1"/>
          </p:nvPr>
        </p:nvPicPr>
        <p:blipFill>
          <a:blip r:embed="rId8"/>
          <a:stretch>
            <a:fillRect/>
          </a:stretch>
        </p:blipFill>
        <p:spPr>
          <a:xfrm>
            <a:off x="2490280" y="1166762"/>
            <a:ext cx="1421807" cy="1909660"/>
          </a:xfrm>
        </p:spPr>
      </p:pic>
      <p:pic>
        <p:nvPicPr>
          <p:cNvPr id="8" name="Content Placeholder 9">
            <a:extLst>
              <a:ext uri="{FF2B5EF4-FFF2-40B4-BE49-F238E27FC236}">
                <a16:creationId xmlns:a16="http://schemas.microsoft.com/office/drawing/2014/main" id="{D7510B0C-250C-CA60-83EF-5870FB45AAFB}"/>
              </a:ext>
            </a:extLst>
          </p:cNvPr>
          <p:cNvPicPr>
            <a:picLocks noChangeAspect="1"/>
          </p:cNvPicPr>
          <p:nvPr/>
        </p:nvPicPr>
        <p:blipFill>
          <a:blip r:embed="rId9"/>
          <a:stretch>
            <a:fillRect/>
          </a:stretch>
        </p:blipFill>
        <p:spPr>
          <a:xfrm>
            <a:off x="7837972" y="1556473"/>
            <a:ext cx="2820966" cy="1476806"/>
          </a:xfrm>
          <a:prstGeom prst="rect">
            <a:avLst/>
          </a:prstGeom>
        </p:spPr>
      </p:pic>
    </p:spTree>
    <p:extLst>
      <p:ext uri="{BB962C8B-B14F-4D97-AF65-F5344CB8AC3E}">
        <p14:creationId xmlns:p14="http://schemas.microsoft.com/office/powerpoint/2010/main" val="66435220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0BAB57-6EB8-FF42-A1F9-89E4A42AEE3E}"/>
              </a:ext>
            </a:extLst>
          </p:cNvPr>
          <p:cNvSpPr>
            <a:spLocks noGrp="1"/>
          </p:cNvSpPr>
          <p:nvPr>
            <p:ph type="title"/>
          </p:nvPr>
        </p:nvSpPr>
        <p:spPr>
          <a:xfrm>
            <a:off x="838200" y="365126"/>
            <a:ext cx="10515600" cy="1030968"/>
          </a:xfrm>
        </p:spPr>
        <p:txBody>
          <a:bodyPr>
            <a:noAutofit/>
          </a:bodyPr>
          <a:lstStyle/>
          <a:p>
            <a:r>
              <a:rPr lang="en-PK" sz="2800" dirty="0">
                <a:solidFill>
                  <a:srgbClr val="C00000"/>
                </a:solidFill>
                <a:latin typeface="+mn-lt"/>
              </a:rPr>
              <a:t>3 day Hands-on Pep Training For Health Care Providers</a:t>
            </a:r>
          </a:p>
        </p:txBody>
      </p:sp>
      <p:pic>
        <p:nvPicPr>
          <p:cNvPr id="4" name="Content Placeholder 3">
            <a:extLst>
              <a:ext uri="{FF2B5EF4-FFF2-40B4-BE49-F238E27FC236}">
                <a16:creationId xmlns:a16="http://schemas.microsoft.com/office/drawing/2014/main" id="{85B158C7-88B4-C94B-ADBE-2602CC737953}"/>
              </a:ext>
            </a:extLst>
          </p:cNvPr>
          <p:cNvPicPr>
            <a:picLocks noGrp="1" noChangeAspect="1"/>
          </p:cNvPicPr>
          <p:nvPr>
            <p:ph idx="1"/>
          </p:nvPr>
        </p:nvPicPr>
        <p:blipFill>
          <a:blip r:embed="rId2"/>
          <a:stretch>
            <a:fillRect/>
          </a:stretch>
        </p:blipFill>
        <p:spPr>
          <a:xfrm>
            <a:off x="838200" y="1396094"/>
            <a:ext cx="4034064" cy="3025548"/>
          </a:xfrm>
          <a:prstGeom prst="rect">
            <a:avLst/>
          </a:prstGeom>
        </p:spPr>
      </p:pic>
      <p:pic>
        <p:nvPicPr>
          <p:cNvPr id="5" name="Picture 4">
            <a:extLst>
              <a:ext uri="{FF2B5EF4-FFF2-40B4-BE49-F238E27FC236}">
                <a16:creationId xmlns:a16="http://schemas.microsoft.com/office/drawing/2014/main" id="{17A36D56-CE0A-C84F-B59F-89CB4099C6BD}"/>
              </a:ext>
            </a:extLst>
          </p:cNvPr>
          <p:cNvPicPr>
            <a:picLocks noChangeAspect="1"/>
          </p:cNvPicPr>
          <p:nvPr/>
        </p:nvPicPr>
        <p:blipFill>
          <a:blip r:embed="rId3"/>
          <a:stretch>
            <a:fillRect/>
          </a:stretch>
        </p:blipFill>
        <p:spPr>
          <a:xfrm>
            <a:off x="9167771" y="3037172"/>
            <a:ext cx="3024229" cy="2268172"/>
          </a:xfrm>
          <a:prstGeom prst="rect">
            <a:avLst/>
          </a:prstGeom>
        </p:spPr>
      </p:pic>
      <p:pic>
        <p:nvPicPr>
          <p:cNvPr id="6" name="Picture 5">
            <a:extLst>
              <a:ext uri="{FF2B5EF4-FFF2-40B4-BE49-F238E27FC236}">
                <a16:creationId xmlns:a16="http://schemas.microsoft.com/office/drawing/2014/main" id="{368C2799-90F2-1C4C-B2DD-8E8D8EC542FF}"/>
              </a:ext>
            </a:extLst>
          </p:cNvPr>
          <p:cNvPicPr>
            <a:picLocks noChangeAspect="1"/>
          </p:cNvPicPr>
          <p:nvPr/>
        </p:nvPicPr>
        <p:blipFill>
          <a:blip r:embed="rId4"/>
          <a:stretch>
            <a:fillRect/>
          </a:stretch>
        </p:blipFill>
        <p:spPr>
          <a:xfrm>
            <a:off x="4141498" y="4465394"/>
            <a:ext cx="3909003" cy="2196674"/>
          </a:xfrm>
          <a:prstGeom prst="rect">
            <a:avLst/>
          </a:prstGeom>
        </p:spPr>
      </p:pic>
      <p:pic>
        <p:nvPicPr>
          <p:cNvPr id="7" name="Picture 12" descr="C:\Users\Kashif Mehmood\Desktop\Required pics\1507156_10151913802788732_1093404923_n.jpg">
            <a:extLst>
              <a:ext uri="{FF2B5EF4-FFF2-40B4-BE49-F238E27FC236}">
                <a16:creationId xmlns:a16="http://schemas.microsoft.com/office/drawing/2014/main" id="{BD5BD092-7E77-8F45-83AF-49D0C244556E}"/>
              </a:ext>
            </a:extLst>
          </p:cNvPr>
          <p:cNvPicPr>
            <a:picLocks noChangeAspect="1" noChangeArrowheads="1"/>
          </p:cNvPicPr>
          <p:nvPr/>
        </p:nvPicPr>
        <p:blipFill>
          <a:blip r:embed="rId5"/>
          <a:srcRect/>
          <a:stretch>
            <a:fillRect/>
          </a:stretch>
        </p:blipFill>
        <p:spPr bwMode="auto">
          <a:xfrm>
            <a:off x="5110716" y="1302003"/>
            <a:ext cx="3584248" cy="3031544"/>
          </a:xfrm>
          <a:prstGeom prst="rect">
            <a:avLst/>
          </a:prstGeom>
          <a:noFill/>
          <a:ln w="9525">
            <a:noFill/>
            <a:miter lim="800000"/>
            <a:headEnd/>
            <a:tailEnd/>
          </a:ln>
        </p:spPr>
      </p:pic>
      <p:pic>
        <p:nvPicPr>
          <p:cNvPr id="8" name="Picture 7">
            <a:extLst>
              <a:ext uri="{FF2B5EF4-FFF2-40B4-BE49-F238E27FC236}">
                <a16:creationId xmlns:a16="http://schemas.microsoft.com/office/drawing/2014/main" id="{F6465861-7B60-C94D-B091-3F665537271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1353800" y="15269"/>
            <a:ext cx="789665" cy="789665"/>
          </a:xfrm>
          <a:prstGeom prst="rect">
            <a:avLst/>
          </a:prstGeom>
        </p:spPr>
      </p:pic>
    </p:spTree>
    <p:extLst>
      <p:ext uri="{BB962C8B-B14F-4D97-AF65-F5344CB8AC3E}">
        <p14:creationId xmlns:p14="http://schemas.microsoft.com/office/powerpoint/2010/main" val="246482852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79D1FDB-60D8-8CFE-4A25-8C48A98F2276}"/>
              </a:ext>
            </a:extLst>
          </p:cNvPr>
          <p:cNvSpPr>
            <a:spLocks noGrp="1"/>
          </p:cNvSpPr>
          <p:nvPr>
            <p:ph type="title"/>
          </p:nvPr>
        </p:nvSpPr>
        <p:spPr/>
        <p:txBody>
          <a:bodyPr>
            <a:normAutofit/>
          </a:bodyPr>
          <a:lstStyle/>
          <a:p>
            <a:r>
              <a:rPr lang="en-PK" sz="2800" dirty="0">
                <a:solidFill>
                  <a:schemeClr val="tx1"/>
                </a:solidFill>
              </a:rPr>
              <a:t>HCWs trained to…..</a:t>
            </a:r>
          </a:p>
        </p:txBody>
      </p:sp>
      <p:sp>
        <p:nvSpPr>
          <p:cNvPr id="6" name="Text Placeholder 5">
            <a:extLst>
              <a:ext uri="{FF2B5EF4-FFF2-40B4-BE49-F238E27FC236}">
                <a16:creationId xmlns:a16="http://schemas.microsoft.com/office/drawing/2014/main" id="{D6074383-D19F-2FBE-0CC6-5EB79D144FF3}"/>
              </a:ext>
            </a:extLst>
          </p:cNvPr>
          <p:cNvSpPr>
            <a:spLocks noGrp="1"/>
          </p:cNvSpPr>
          <p:nvPr>
            <p:ph idx="1"/>
          </p:nvPr>
        </p:nvSpPr>
        <p:spPr>
          <a:xfrm>
            <a:off x="838200" y="1304818"/>
            <a:ext cx="10515600" cy="4872145"/>
          </a:xfrm>
        </p:spPr>
        <p:txBody>
          <a:bodyPr/>
          <a:lstStyle/>
          <a:p>
            <a:endParaRPr lang="en-PK" dirty="0"/>
          </a:p>
          <a:p>
            <a:endParaRPr lang="en-PK" dirty="0"/>
          </a:p>
          <a:p>
            <a:endParaRPr lang="en-PK" dirty="0"/>
          </a:p>
          <a:p>
            <a:pPr marL="114300" indent="0">
              <a:buNone/>
            </a:pPr>
            <a:endParaRPr lang="en-PK" dirty="0"/>
          </a:p>
          <a:p>
            <a:endParaRPr lang="en-PK" dirty="0"/>
          </a:p>
          <a:p>
            <a:endParaRPr lang="en-PK" dirty="0"/>
          </a:p>
          <a:p>
            <a:pPr marL="114300" indent="0">
              <a:buNone/>
            </a:pPr>
            <a:r>
              <a:rPr lang="en-PK" sz="3600" dirty="0">
                <a:solidFill>
                  <a:srgbClr val="FF0000"/>
                </a:solidFill>
              </a:rPr>
              <a:t>	</a:t>
            </a:r>
            <a:r>
              <a:rPr lang="en-PK" sz="2400" dirty="0"/>
              <a:t>Infiltr</a:t>
            </a:r>
            <a:endParaRPr lang="en-PK" sz="3600" dirty="0">
              <a:solidFill>
                <a:srgbClr val="FF0000"/>
              </a:solidFill>
            </a:endParaRPr>
          </a:p>
        </p:txBody>
      </p:sp>
      <p:pic>
        <p:nvPicPr>
          <p:cNvPr id="7" name="Picture 6" descr="IMG_5898.JPG">
            <a:extLst>
              <a:ext uri="{FF2B5EF4-FFF2-40B4-BE49-F238E27FC236}">
                <a16:creationId xmlns:a16="http://schemas.microsoft.com/office/drawing/2014/main" id="{47B9B288-C5BA-2E6D-F4FA-9663C76D2E1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38200" y="4192079"/>
            <a:ext cx="3276235" cy="2358819"/>
          </a:xfrm>
          <a:prstGeom prst="rect">
            <a:avLst/>
          </a:prstGeom>
        </p:spPr>
      </p:pic>
      <p:pic>
        <p:nvPicPr>
          <p:cNvPr id="9" name="Picture 2" descr="G:\DCIM\101CANON\IMG_1130.JPG">
            <a:extLst>
              <a:ext uri="{FF2B5EF4-FFF2-40B4-BE49-F238E27FC236}">
                <a16:creationId xmlns:a16="http://schemas.microsoft.com/office/drawing/2014/main" id="{D2F116C7-EDE4-A2C8-0660-E09A86D716B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73200" y="1661194"/>
            <a:ext cx="3009100" cy="226764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1" name="Picture 5" descr="PIC00064">
            <a:extLst>
              <a:ext uri="{FF2B5EF4-FFF2-40B4-BE49-F238E27FC236}">
                <a16:creationId xmlns:a16="http://schemas.microsoft.com/office/drawing/2014/main" id="{EB5994F1-2A02-A491-A143-5E3E3BC271E3}"/>
              </a:ext>
            </a:extLst>
          </p:cNvPr>
          <p:cNvPicPr>
            <a:picLocks noChangeAspect="1" noChangeArrowheads="1"/>
          </p:cNvPicPr>
          <p:nvPr/>
        </p:nvPicPr>
        <p:blipFill>
          <a:blip r:embed="rId5" cstate="print"/>
          <a:srcRect/>
          <a:stretch>
            <a:fillRect/>
          </a:stretch>
        </p:blipFill>
        <p:spPr bwMode="auto">
          <a:xfrm>
            <a:off x="6077067" y="2081624"/>
            <a:ext cx="4194693" cy="2616493"/>
          </a:xfrm>
          <a:prstGeom prst="rect">
            <a:avLst/>
          </a:prstGeom>
          <a:noFill/>
          <a:ln w="9525">
            <a:noFill/>
            <a:miter lim="800000"/>
            <a:headEnd/>
            <a:tailEnd/>
          </a:ln>
        </p:spPr>
      </p:pic>
      <p:sp>
        <p:nvSpPr>
          <p:cNvPr id="3" name="TextBox 2">
            <a:extLst>
              <a:ext uri="{FF2B5EF4-FFF2-40B4-BE49-F238E27FC236}">
                <a16:creationId xmlns:a16="http://schemas.microsoft.com/office/drawing/2014/main" id="{3308DF3E-DBE5-B5BA-837A-5FCD6220BDD8}"/>
              </a:ext>
            </a:extLst>
          </p:cNvPr>
          <p:cNvSpPr txBox="1"/>
          <p:nvPr/>
        </p:nvSpPr>
        <p:spPr>
          <a:xfrm>
            <a:off x="4581729" y="2597285"/>
            <a:ext cx="1186773" cy="52322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PK" sz="2800" b="0" i="0" u="none" strike="noStrike" kern="1200" cap="none" spc="0" normalizeH="0" baseline="0" noProof="0" dirty="0">
                <a:ln>
                  <a:noFill/>
                </a:ln>
                <a:solidFill>
                  <a:prstClr val="black"/>
                </a:solidFill>
                <a:effectLst/>
                <a:uLnTx/>
                <a:uFillTx/>
                <a:latin typeface="Franklin Gothic Book" panose="020B0503020102020204"/>
                <a:ea typeface="+mn-ea"/>
                <a:cs typeface="+mn-cs"/>
              </a:rPr>
              <a:t>wash</a:t>
            </a:r>
          </a:p>
        </p:txBody>
      </p:sp>
      <p:sp>
        <p:nvSpPr>
          <p:cNvPr id="8" name="TextBox 7">
            <a:extLst>
              <a:ext uri="{FF2B5EF4-FFF2-40B4-BE49-F238E27FC236}">
                <a16:creationId xmlns:a16="http://schemas.microsoft.com/office/drawing/2014/main" id="{0146C34D-D12A-116E-FFF1-C7429A5AB0E3}"/>
              </a:ext>
            </a:extLst>
          </p:cNvPr>
          <p:cNvSpPr txBox="1"/>
          <p:nvPr/>
        </p:nvSpPr>
        <p:spPr>
          <a:xfrm>
            <a:off x="7014749" y="4805464"/>
            <a:ext cx="3276235" cy="92333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PK" sz="1800" b="0" i="0" u="none" strike="noStrike" kern="1200" cap="none" spc="0" normalizeH="0" baseline="0" noProof="0" dirty="0">
                <a:ln>
                  <a:noFill/>
                </a:ln>
                <a:solidFill>
                  <a:prstClr val="black"/>
                </a:solidFill>
                <a:effectLst/>
                <a:uLnTx/>
                <a:uFillTx/>
                <a:latin typeface="Franklin Gothic Book" panose="020B0503020102020204"/>
                <a:ea typeface="+mn-ea"/>
                <a:cs typeface="+mn-cs"/>
              </a:rPr>
              <a:t>Infiltrate RIG into severe or multiple wounds</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PK" sz="18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
        <p:nvSpPr>
          <p:cNvPr id="10" name="TextBox 9">
            <a:extLst>
              <a:ext uri="{FF2B5EF4-FFF2-40B4-BE49-F238E27FC236}">
                <a16:creationId xmlns:a16="http://schemas.microsoft.com/office/drawing/2014/main" id="{57FED131-8B72-ADB4-4D6B-134BE231087A}"/>
              </a:ext>
            </a:extLst>
          </p:cNvPr>
          <p:cNvSpPr txBox="1"/>
          <p:nvPr/>
        </p:nvSpPr>
        <p:spPr>
          <a:xfrm>
            <a:off x="4114436" y="5371488"/>
            <a:ext cx="2422552"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Franklin Gothic Book" panose="020B0503020102020204"/>
                <a:ea typeface="+mn-ea"/>
                <a:cs typeface="+mn-cs"/>
              </a:rPr>
              <a:t>I</a:t>
            </a:r>
            <a:r>
              <a:rPr kumimoji="0" lang="en-PK" sz="1800" b="0" i="0" u="none" strike="noStrike" kern="1200" cap="none" spc="0" normalizeH="0" baseline="0" noProof="0" dirty="0">
                <a:ln>
                  <a:noFill/>
                </a:ln>
                <a:solidFill>
                  <a:prstClr val="black"/>
                </a:solidFill>
                <a:effectLst/>
                <a:uLnTx/>
                <a:uFillTx/>
                <a:latin typeface="Franklin Gothic Book" panose="020B0503020102020204"/>
                <a:ea typeface="+mn-ea"/>
                <a:cs typeface="+mn-cs"/>
              </a:rPr>
              <a:t>nject </a:t>
            </a:r>
            <a:r>
              <a:rPr kumimoji="0" lang="en-US" sz="1800" b="0" i="0" u="none" strike="noStrike" kern="1200" cap="none" spc="0" normalizeH="0" baseline="0" noProof="0" dirty="0" err="1">
                <a:ln>
                  <a:noFill/>
                </a:ln>
                <a:solidFill>
                  <a:prstClr val="black"/>
                </a:solidFill>
                <a:effectLst/>
                <a:uLnTx/>
                <a:uFillTx/>
                <a:latin typeface="Franklin Gothic Book" panose="020B0503020102020204"/>
                <a:ea typeface="+mn-ea"/>
                <a:cs typeface="+mn-cs"/>
              </a:rPr>
              <a:t>i</a:t>
            </a:r>
            <a:r>
              <a:rPr kumimoji="0" lang="en-PK" sz="1800" b="0" i="0" u="none" strike="noStrike" kern="1200" cap="none" spc="0" normalizeH="0" baseline="0" noProof="0" dirty="0">
                <a:ln>
                  <a:noFill/>
                </a:ln>
                <a:solidFill>
                  <a:prstClr val="black"/>
                </a:solidFill>
                <a:effectLst/>
                <a:uLnTx/>
                <a:uFillTx/>
                <a:latin typeface="Franklin Gothic Book" panose="020B0503020102020204"/>
                <a:ea typeface="+mn-ea"/>
                <a:cs typeface="+mn-cs"/>
              </a:rPr>
              <a:t>ntradermal</a:t>
            </a:r>
          </a:p>
        </p:txBody>
      </p:sp>
      <p:pic>
        <p:nvPicPr>
          <p:cNvPr id="4" name="Picture 3">
            <a:extLst>
              <a:ext uri="{FF2B5EF4-FFF2-40B4-BE49-F238E27FC236}">
                <a16:creationId xmlns:a16="http://schemas.microsoft.com/office/drawing/2014/main" id="{6696DD95-12A1-4BE1-6FE1-5C9B831D3E1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1353799" y="75465"/>
            <a:ext cx="695521" cy="695521"/>
          </a:xfrm>
          <a:prstGeom prst="rect">
            <a:avLst/>
          </a:prstGeom>
        </p:spPr>
      </p:pic>
    </p:spTree>
    <p:extLst>
      <p:ext uri="{BB962C8B-B14F-4D97-AF65-F5344CB8AC3E}">
        <p14:creationId xmlns:p14="http://schemas.microsoft.com/office/powerpoint/2010/main" val="280547239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692790" y="272374"/>
            <a:ext cx="4005671" cy="995708"/>
          </a:xfrm>
        </p:spPr>
        <p:txBody>
          <a:bodyPr>
            <a:normAutofit/>
          </a:bodyPr>
          <a:lstStyle/>
          <a:p>
            <a:r>
              <a:rPr lang="en-US" sz="1800" dirty="0"/>
              <a:t>Rabies PEP Centers through Indus Hospital and Health Network  2021-22 </a:t>
            </a:r>
          </a:p>
        </p:txBody>
      </p:sp>
      <p:pic>
        <p:nvPicPr>
          <p:cNvPr id="11" name="Picture Placeholder 10"/>
          <p:cNvPicPr>
            <a:picLocks noGrp="1" noChangeAspect="1"/>
          </p:cNvPicPr>
          <p:nvPr>
            <p:ph type="pic" idx="1"/>
          </p:nvPr>
        </p:nvPicPr>
        <p:blipFill>
          <a:blip r:embed="rId2">
            <a:extLst>
              <a:ext uri="{28A0092B-C50C-407E-A947-70E740481C1C}">
                <a14:useLocalDpi xmlns:a14="http://schemas.microsoft.com/office/drawing/2010/main" val="0"/>
              </a:ext>
            </a:extLst>
          </a:blip>
          <a:srcRect t="4218" b="4218"/>
          <a:stretch>
            <a:fillRect/>
          </a:stretch>
        </p:blipFill>
        <p:spPr>
          <a:xfrm>
            <a:off x="219495" y="2150835"/>
            <a:ext cx="5099388" cy="4026523"/>
          </a:xfrm>
        </p:spPr>
      </p:pic>
      <p:sp>
        <p:nvSpPr>
          <p:cNvPr id="10" name="Text Placeholder 9"/>
          <p:cNvSpPr>
            <a:spLocks noGrp="1"/>
          </p:cNvSpPr>
          <p:nvPr>
            <p:ph type="body" sz="half" idx="2"/>
          </p:nvPr>
        </p:nvSpPr>
        <p:spPr>
          <a:xfrm>
            <a:off x="766354" y="1345721"/>
            <a:ext cx="4005671" cy="4523266"/>
          </a:xfrm>
        </p:spPr>
        <p:txBody>
          <a:bodyPr>
            <a:noAutofit/>
          </a:bodyPr>
          <a:lstStyle/>
          <a:p>
            <a:pPr marL="285750" indent="-285750">
              <a:buFont typeface="Arial" panose="020B0604020202020204" pitchFamily="34" charset="0"/>
              <a:buChar char="•"/>
            </a:pPr>
            <a:r>
              <a:rPr lang="en-US" sz="2000" dirty="0">
                <a:solidFill>
                  <a:schemeClr val="bg1"/>
                </a:solidFill>
              </a:rPr>
              <a:t>29 health facilities identified  in Sindh</a:t>
            </a:r>
          </a:p>
          <a:p>
            <a:endParaRPr lang="en-US" sz="1800" dirty="0"/>
          </a:p>
        </p:txBody>
      </p:sp>
      <p:pic>
        <p:nvPicPr>
          <p:cNvPr id="12" name="Picture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64465" y="1654092"/>
            <a:ext cx="5814149" cy="4523266"/>
          </a:xfrm>
          <a:prstGeom prst="rect">
            <a:avLst/>
          </a:prstGeom>
        </p:spPr>
      </p:pic>
      <p:pic>
        <p:nvPicPr>
          <p:cNvPr id="2" name="Picture 1">
            <a:extLst>
              <a:ext uri="{FF2B5EF4-FFF2-40B4-BE49-F238E27FC236}">
                <a16:creationId xmlns:a16="http://schemas.microsoft.com/office/drawing/2014/main" id="{47C1713A-FCD9-7429-D1C9-8112454563B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851938" y="165371"/>
            <a:ext cx="904672" cy="904672"/>
          </a:xfrm>
          <a:prstGeom prst="rect">
            <a:avLst/>
          </a:prstGeom>
        </p:spPr>
      </p:pic>
    </p:spTree>
    <p:extLst>
      <p:ext uri="{BB962C8B-B14F-4D97-AF65-F5344CB8AC3E}">
        <p14:creationId xmlns:p14="http://schemas.microsoft.com/office/powerpoint/2010/main" val="9165405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1A5C8E-503F-9970-3CD2-A6FEBA82CAEB}"/>
              </a:ext>
            </a:extLst>
          </p:cNvPr>
          <p:cNvSpPr>
            <a:spLocks noGrp="1"/>
          </p:cNvSpPr>
          <p:nvPr>
            <p:ph type="title"/>
          </p:nvPr>
        </p:nvSpPr>
        <p:spPr/>
        <p:txBody>
          <a:bodyPr>
            <a:normAutofit/>
          </a:bodyPr>
          <a:lstStyle/>
          <a:p>
            <a:r>
              <a:rPr lang="en-PK" sz="2400" dirty="0"/>
              <a:t>Signing of MoU S</a:t>
            </a:r>
            <a:r>
              <a:rPr lang="en-US" sz="2400" dirty="0" err="1"/>
              <a:t>i</a:t>
            </a:r>
            <a:r>
              <a:rPr lang="en-PK" sz="2400" dirty="0"/>
              <a:t>ndh H</a:t>
            </a:r>
            <a:r>
              <a:rPr lang="en-US" sz="2400" dirty="0"/>
              <a:t>e</a:t>
            </a:r>
            <a:r>
              <a:rPr lang="en-PK" sz="2400" dirty="0"/>
              <a:t>alth Ministry with IHHN</a:t>
            </a:r>
          </a:p>
        </p:txBody>
      </p:sp>
      <p:pic>
        <p:nvPicPr>
          <p:cNvPr id="5" name="Content Placeholder 4">
            <a:extLst>
              <a:ext uri="{FF2B5EF4-FFF2-40B4-BE49-F238E27FC236}">
                <a16:creationId xmlns:a16="http://schemas.microsoft.com/office/drawing/2014/main" id="{4387B414-9C44-9D87-5DE7-189A331D1B6E}"/>
              </a:ext>
            </a:extLst>
          </p:cNvPr>
          <p:cNvPicPr>
            <a:picLocks noGrp="1" noChangeAspect="1"/>
          </p:cNvPicPr>
          <p:nvPr>
            <p:ph sz="half" idx="1"/>
          </p:nvPr>
        </p:nvPicPr>
        <p:blipFill>
          <a:blip r:embed="rId2">
            <a:extLst>
              <a:ext uri="{28A0092B-C50C-407E-A947-70E740481C1C}">
                <a14:useLocalDpi xmlns:a14="http://schemas.microsoft.com/office/drawing/2010/main" val="0"/>
              </a:ext>
            </a:extLst>
          </a:blip>
          <a:stretch>
            <a:fillRect/>
          </a:stretch>
        </p:blipFill>
        <p:spPr>
          <a:xfrm>
            <a:off x="1371600" y="2882916"/>
            <a:ext cx="4448175" cy="2387567"/>
          </a:xfrm>
          <a:prstGeom prst="rect">
            <a:avLst/>
          </a:prstGeom>
        </p:spPr>
      </p:pic>
      <p:sp>
        <p:nvSpPr>
          <p:cNvPr id="4" name="Content Placeholder 3">
            <a:extLst>
              <a:ext uri="{FF2B5EF4-FFF2-40B4-BE49-F238E27FC236}">
                <a16:creationId xmlns:a16="http://schemas.microsoft.com/office/drawing/2014/main" id="{34F796FE-249C-9BD9-C2A0-D24FD822D53B}"/>
              </a:ext>
            </a:extLst>
          </p:cNvPr>
          <p:cNvSpPr>
            <a:spLocks noGrp="1"/>
          </p:cNvSpPr>
          <p:nvPr>
            <p:ph sz="half" idx="2"/>
          </p:nvPr>
        </p:nvSpPr>
        <p:spPr/>
        <p:txBody>
          <a:bodyPr>
            <a:normAutofit fontScale="85000" lnSpcReduction="20000"/>
          </a:bodyPr>
          <a:lstStyle/>
          <a:p>
            <a:pPr marL="285750" indent="-285750">
              <a:buFont typeface="Arial" panose="020B0604020202020204" pitchFamily="34" charset="0"/>
              <a:buChar char="•"/>
            </a:pPr>
            <a:r>
              <a:rPr lang="en-US" sz="2200" dirty="0"/>
              <a:t>Doctors &amp; Nurses from 34 hospitals across Sindh given PEP training </a:t>
            </a:r>
          </a:p>
          <a:p>
            <a:pPr marL="285750" indent="-285750">
              <a:buFont typeface="Arial" panose="020B0604020202020204" pitchFamily="34" charset="0"/>
              <a:buChar char="•"/>
            </a:pPr>
            <a:r>
              <a:rPr lang="en-US" sz="2200" dirty="0"/>
              <a:t>Pre requisites: proper wash area, ARV, RIG, refrigerator</a:t>
            </a:r>
          </a:p>
          <a:p>
            <a:pPr marL="285750" indent="-285750">
              <a:buFont typeface="Arial" panose="020B0604020202020204" pitchFamily="34" charset="0"/>
              <a:buChar char="•"/>
            </a:pPr>
            <a:r>
              <a:rPr lang="en-US" sz="2200" dirty="0"/>
              <a:t>3 Day PEP training workshop includes pre-and post-evaluation tests, theoretical background of rabies, PEP, interactive sessions, and hands-on training </a:t>
            </a:r>
          </a:p>
          <a:p>
            <a:pPr marL="285750" indent="-285750">
              <a:buFont typeface="Arial" panose="020B0604020202020204" pitchFamily="34" charset="0"/>
              <a:buChar char="•"/>
            </a:pPr>
            <a:r>
              <a:rPr lang="en-US" sz="2200" dirty="0"/>
              <a:t>2023 14 Hospitals have established proper PEP clinics and functioning effectively</a:t>
            </a:r>
          </a:p>
          <a:p>
            <a:pPr marL="285750" indent="-285750">
              <a:buFont typeface="Arial" panose="020B0604020202020204" pitchFamily="34" charset="0"/>
              <a:buChar char="•"/>
            </a:pPr>
            <a:r>
              <a:rPr lang="en-US" sz="2200" dirty="0"/>
              <a:t>All using 1 week ID  </a:t>
            </a:r>
          </a:p>
          <a:p>
            <a:endParaRPr lang="en-PK" dirty="0"/>
          </a:p>
        </p:txBody>
      </p:sp>
      <p:pic>
        <p:nvPicPr>
          <p:cNvPr id="3" name="Picture 2">
            <a:extLst>
              <a:ext uri="{FF2B5EF4-FFF2-40B4-BE49-F238E27FC236}">
                <a16:creationId xmlns:a16="http://schemas.microsoft.com/office/drawing/2014/main" id="{A2B23415-94B9-15AE-F262-D47FC82DFB4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931380" y="165371"/>
            <a:ext cx="825229" cy="825229"/>
          </a:xfrm>
          <a:prstGeom prst="rect">
            <a:avLst/>
          </a:prstGeom>
        </p:spPr>
      </p:pic>
    </p:spTree>
    <p:extLst>
      <p:ext uri="{BB962C8B-B14F-4D97-AF65-F5344CB8AC3E}">
        <p14:creationId xmlns:p14="http://schemas.microsoft.com/office/powerpoint/2010/main" val="110852162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211740-9B1C-14E4-1960-AA8F6207E7F7}"/>
              </a:ext>
            </a:extLst>
          </p:cNvPr>
          <p:cNvSpPr>
            <a:spLocks noGrp="1"/>
          </p:cNvSpPr>
          <p:nvPr>
            <p:ph type="title"/>
          </p:nvPr>
        </p:nvSpPr>
        <p:spPr/>
        <p:txBody>
          <a:bodyPr/>
          <a:lstStyle/>
          <a:p>
            <a:r>
              <a:rPr lang="en-PK" sz="2400" dirty="0"/>
              <a:t>EPI and NITAG in Pak</a:t>
            </a:r>
            <a:r>
              <a:rPr lang="en-US" sz="2400" dirty="0"/>
              <a:t>istan  </a:t>
            </a:r>
            <a:br>
              <a:rPr lang="en-PK" dirty="0"/>
            </a:br>
            <a:endParaRPr lang="en-PK" dirty="0"/>
          </a:p>
        </p:txBody>
      </p:sp>
      <p:sp>
        <p:nvSpPr>
          <p:cNvPr id="3" name="Content Placeholder 2">
            <a:extLst>
              <a:ext uri="{FF2B5EF4-FFF2-40B4-BE49-F238E27FC236}">
                <a16:creationId xmlns:a16="http://schemas.microsoft.com/office/drawing/2014/main" id="{286A22AD-0504-3825-F078-18C845711FFA}"/>
              </a:ext>
            </a:extLst>
          </p:cNvPr>
          <p:cNvSpPr>
            <a:spLocks noGrp="1"/>
          </p:cNvSpPr>
          <p:nvPr>
            <p:ph idx="1"/>
          </p:nvPr>
        </p:nvSpPr>
        <p:spPr/>
        <p:txBody>
          <a:bodyPr>
            <a:normAutofit/>
          </a:bodyPr>
          <a:lstStyle/>
          <a:p>
            <a:r>
              <a:rPr lang="en-PK" sz="1800" dirty="0">
                <a:latin typeface="Arial" panose="020B0604020202020204" pitchFamily="34" charset="0"/>
                <a:cs typeface="Arial" panose="020B0604020202020204" pitchFamily="34" charset="0"/>
              </a:rPr>
              <a:t>EPI </a:t>
            </a:r>
            <a:r>
              <a:rPr lang="en-US" sz="1800" dirty="0">
                <a:latin typeface="Arial" panose="020B0604020202020204" pitchFamily="34" charset="0"/>
                <a:cs typeface="Arial" panose="020B0604020202020204" pitchFamily="34" charset="0"/>
              </a:rPr>
              <a:t>was launched in 1978 and Coordinated at the National level via the Federal Directorate of Immunization, Ministry of National Health Services, Regulation and Coordination NHSR&amp;C). </a:t>
            </a:r>
            <a:endParaRPr lang="en-PK" sz="1800" dirty="0">
              <a:latin typeface="Arial" panose="020B0604020202020204" pitchFamily="34" charset="0"/>
              <a:cs typeface="Arial" panose="020B0604020202020204" pitchFamily="34" charset="0"/>
            </a:endParaRPr>
          </a:p>
          <a:p>
            <a:r>
              <a:rPr lang="en-PK" sz="1800" dirty="0">
                <a:latin typeface="Arial" panose="020B0604020202020204" pitchFamily="34" charset="0"/>
                <a:cs typeface="Arial" panose="020B0604020202020204" pitchFamily="34" charset="0"/>
              </a:rPr>
              <a:t>NITAG launched in 2014</a:t>
            </a:r>
          </a:p>
        </p:txBody>
      </p:sp>
    </p:spTree>
    <p:extLst>
      <p:ext uri="{BB962C8B-B14F-4D97-AF65-F5344CB8AC3E}">
        <p14:creationId xmlns:p14="http://schemas.microsoft.com/office/powerpoint/2010/main" val="228996177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BE60B5-6425-3646-9394-7D18DFC93053}"/>
              </a:ext>
            </a:extLst>
          </p:cNvPr>
          <p:cNvSpPr>
            <a:spLocks noGrp="1"/>
          </p:cNvSpPr>
          <p:nvPr>
            <p:ph type="title"/>
          </p:nvPr>
        </p:nvSpPr>
        <p:spPr/>
        <p:txBody>
          <a:bodyPr>
            <a:normAutofit/>
          </a:bodyPr>
          <a:lstStyle/>
          <a:p>
            <a:r>
              <a:rPr lang="en-PK" sz="2800" dirty="0"/>
              <a:t>Public awarenss/education</a:t>
            </a:r>
          </a:p>
        </p:txBody>
      </p:sp>
      <p:sp>
        <p:nvSpPr>
          <p:cNvPr id="3" name="Content Placeholder 2">
            <a:extLst>
              <a:ext uri="{FF2B5EF4-FFF2-40B4-BE49-F238E27FC236}">
                <a16:creationId xmlns:a16="http://schemas.microsoft.com/office/drawing/2014/main" id="{1CE9CCDB-8EF6-92F3-D6A0-45D89F5A5798}"/>
              </a:ext>
            </a:extLst>
          </p:cNvPr>
          <p:cNvSpPr>
            <a:spLocks noGrp="1"/>
          </p:cNvSpPr>
          <p:nvPr>
            <p:ph idx="1"/>
          </p:nvPr>
        </p:nvSpPr>
        <p:spPr/>
        <p:txBody>
          <a:bodyPr/>
          <a:lstStyle/>
          <a:p>
            <a:endParaRPr lang="en-PK" dirty="0"/>
          </a:p>
          <a:p>
            <a:endParaRPr lang="en-PK" dirty="0"/>
          </a:p>
          <a:p>
            <a:endParaRPr lang="en-PK" dirty="0"/>
          </a:p>
          <a:p>
            <a:pPr marL="0" indent="0">
              <a:buNone/>
            </a:pPr>
            <a:r>
              <a:rPr lang="en-PK" dirty="0"/>
              <a:t>				</a:t>
            </a:r>
          </a:p>
          <a:p>
            <a:endParaRPr lang="en-PK" dirty="0"/>
          </a:p>
          <a:p>
            <a:endParaRPr lang="en-PK" dirty="0"/>
          </a:p>
        </p:txBody>
      </p:sp>
      <p:pic>
        <p:nvPicPr>
          <p:cNvPr id="4" name="Picture 3">
            <a:extLst>
              <a:ext uri="{FF2B5EF4-FFF2-40B4-BE49-F238E27FC236}">
                <a16:creationId xmlns:a16="http://schemas.microsoft.com/office/drawing/2014/main" id="{E529D4A8-D1D4-1113-8DE6-02D597BB9869}"/>
              </a:ext>
            </a:extLst>
          </p:cNvPr>
          <p:cNvPicPr>
            <a:picLocks noChangeAspect="1"/>
          </p:cNvPicPr>
          <p:nvPr/>
        </p:nvPicPr>
        <p:blipFill>
          <a:blip r:embed="rId2"/>
          <a:stretch>
            <a:fillRect/>
          </a:stretch>
        </p:blipFill>
        <p:spPr>
          <a:xfrm>
            <a:off x="771478" y="1498678"/>
            <a:ext cx="3588148" cy="2689518"/>
          </a:xfrm>
          <a:prstGeom prst="rect">
            <a:avLst/>
          </a:prstGeom>
        </p:spPr>
      </p:pic>
      <p:pic>
        <p:nvPicPr>
          <p:cNvPr id="5" name="Picture 7" descr="C:\Users\Naseem\Desktop\rabies\WRD  events\WRD 2010\WRD 2010 picts\IMG_1834.JPG">
            <a:extLst>
              <a:ext uri="{FF2B5EF4-FFF2-40B4-BE49-F238E27FC236}">
                <a16:creationId xmlns:a16="http://schemas.microsoft.com/office/drawing/2014/main" id="{2C6A6212-B4DB-4A22-CC60-33D32DEB7C62}"/>
              </a:ext>
            </a:extLst>
          </p:cNvPr>
          <p:cNvPicPr>
            <a:picLocks noChangeAspect="1" noChangeArrowheads="1"/>
          </p:cNvPicPr>
          <p:nvPr/>
        </p:nvPicPr>
        <p:blipFill>
          <a:blip r:embed="rId3"/>
          <a:srcRect/>
          <a:stretch>
            <a:fillRect/>
          </a:stretch>
        </p:blipFill>
        <p:spPr bwMode="auto">
          <a:xfrm>
            <a:off x="4462449" y="1825625"/>
            <a:ext cx="3441700" cy="2581275"/>
          </a:xfrm>
          <a:prstGeom prst="rect">
            <a:avLst/>
          </a:prstGeom>
          <a:noFill/>
          <a:ln w="9525">
            <a:noFill/>
            <a:miter lim="800000"/>
            <a:headEnd/>
            <a:tailEnd/>
          </a:ln>
        </p:spPr>
      </p:pic>
      <p:pic>
        <p:nvPicPr>
          <p:cNvPr id="6" name="Picture 5" descr="C:\Users\Naseem\Desktop\rabies\WRD  events\WRD 07 in Pakistan\WRD picts\IMG_0049.jpg">
            <a:extLst>
              <a:ext uri="{FF2B5EF4-FFF2-40B4-BE49-F238E27FC236}">
                <a16:creationId xmlns:a16="http://schemas.microsoft.com/office/drawing/2014/main" id="{C2097C2B-20C8-3BFB-03EE-F21616D9E6E6}"/>
              </a:ext>
            </a:extLst>
          </p:cNvPr>
          <p:cNvPicPr>
            <a:picLocks noChangeAspect="1" noChangeArrowheads="1"/>
          </p:cNvPicPr>
          <p:nvPr/>
        </p:nvPicPr>
        <p:blipFill>
          <a:blip r:embed="rId4"/>
          <a:srcRect/>
          <a:stretch>
            <a:fillRect/>
          </a:stretch>
        </p:blipFill>
        <p:spPr bwMode="auto">
          <a:xfrm>
            <a:off x="8006972" y="729045"/>
            <a:ext cx="3074460" cy="2305845"/>
          </a:xfrm>
          <a:prstGeom prst="rect">
            <a:avLst/>
          </a:prstGeom>
          <a:noFill/>
          <a:ln w="9525">
            <a:noFill/>
            <a:miter lim="800000"/>
            <a:headEnd/>
            <a:tailEnd/>
          </a:ln>
        </p:spPr>
      </p:pic>
      <p:pic>
        <p:nvPicPr>
          <p:cNvPr id="7" name="Picture 6">
            <a:extLst>
              <a:ext uri="{FF2B5EF4-FFF2-40B4-BE49-F238E27FC236}">
                <a16:creationId xmlns:a16="http://schemas.microsoft.com/office/drawing/2014/main" id="{41329D01-63C8-1368-19B3-E66B8162D199}"/>
              </a:ext>
            </a:extLst>
          </p:cNvPr>
          <p:cNvPicPr>
            <a:picLocks noChangeAspect="1"/>
          </p:cNvPicPr>
          <p:nvPr/>
        </p:nvPicPr>
        <p:blipFill>
          <a:blip r:embed="rId5"/>
          <a:stretch>
            <a:fillRect/>
          </a:stretch>
        </p:blipFill>
        <p:spPr>
          <a:xfrm>
            <a:off x="8006972" y="3349742"/>
            <a:ext cx="3814527" cy="2859201"/>
          </a:xfrm>
          <a:prstGeom prst="rect">
            <a:avLst/>
          </a:prstGeom>
        </p:spPr>
      </p:pic>
      <p:pic>
        <p:nvPicPr>
          <p:cNvPr id="8" name="Picture 7">
            <a:extLst>
              <a:ext uri="{FF2B5EF4-FFF2-40B4-BE49-F238E27FC236}">
                <a16:creationId xmlns:a16="http://schemas.microsoft.com/office/drawing/2014/main" id="{7E81EF87-8597-F313-E674-7D1451275857}"/>
              </a:ext>
            </a:extLst>
          </p:cNvPr>
          <p:cNvPicPr>
            <a:picLocks noChangeAspect="1"/>
          </p:cNvPicPr>
          <p:nvPr/>
        </p:nvPicPr>
        <p:blipFill>
          <a:blip r:embed="rId6"/>
          <a:stretch>
            <a:fillRect/>
          </a:stretch>
        </p:blipFill>
        <p:spPr>
          <a:xfrm>
            <a:off x="771478" y="3937976"/>
            <a:ext cx="3318942" cy="2489207"/>
          </a:xfrm>
          <a:prstGeom prst="rect">
            <a:avLst/>
          </a:prstGeom>
        </p:spPr>
      </p:pic>
      <p:pic>
        <p:nvPicPr>
          <p:cNvPr id="9" name="Picture 8">
            <a:extLst>
              <a:ext uri="{FF2B5EF4-FFF2-40B4-BE49-F238E27FC236}">
                <a16:creationId xmlns:a16="http://schemas.microsoft.com/office/drawing/2014/main" id="{60875930-8953-79E9-83E5-E0881FD1955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1203015" y="83416"/>
            <a:ext cx="846306" cy="846306"/>
          </a:xfrm>
          <a:prstGeom prst="rect">
            <a:avLst/>
          </a:prstGeom>
        </p:spPr>
      </p:pic>
      <p:pic>
        <p:nvPicPr>
          <p:cNvPr id="11" name="Picture 10">
            <a:extLst>
              <a:ext uri="{FF2B5EF4-FFF2-40B4-BE49-F238E27FC236}">
                <a16:creationId xmlns:a16="http://schemas.microsoft.com/office/drawing/2014/main" id="{13186C36-52B8-98FD-5C46-3EBB7EA64144}"/>
              </a:ext>
            </a:extLst>
          </p:cNvPr>
          <p:cNvPicPr>
            <a:picLocks noChangeAspect="1"/>
          </p:cNvPicPr>
          <p:nvPr/>
        </p:nvPicPr>
        <p:blipFill>
          <a:blip r:embed="rId8"/>
          <a:stretch>
            <a:fillRect/>
          </a:stretch>
        </p:blipFill>
        <p:spPr>
          <a:xfrm>
            <a:off x="4854597" y="3924711"/>
            <a:ext cx="3182918" cy="2387189"/>
          </a:xfrm>
          <a:prstGeom prst="rect">
            <a:avLst/>
          </a:prstGeom>
        </p:spPr>
      </p:pic>
    </p:spTree>
    <p:extLst>
      <p:ext uri="{BB962C8B-B14F-4D97-AF65-F5344CB8AC3E}">
        <p14:creationId xmlns:p14="http://schemas.microsoft.com/office/powerpoint/2010/main" val="222421751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extBox 28"/>
          <p:cNvSpPr txBox="1"/>
          <p:nvPr/>
        </p:nvSpPr>
        <p:spPr>
          <a:xfrm>
            <a:off x="4086970" y="274314"/>
            <a:ext cx="6058894" cy="64633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Franklin Gothic Book" panose="020B0503020102020204"/>
                <a:ea typeface="Century Gothic"/>
                <a:cs typeface="Century Gothic"/>
                <a:sym typeface="Century Gothic"/>
              </a:rPr>
              <a:t>RABIES FREE PAKISTAN  2017-2022</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Franklin Gothic Book" panose="020B0503020102020204"/>
                <a:ea typeface="Century Gothic"/>
                <a:cs typeface="Century Gothic"/>
                <a:sym typeface="Century Gothic"/>
              </a:rPr>
              <a:t>MASS DOG VACCINATION AND POPULATION CONTROL</a:t>
            </a:r>
            <a:endParaRPr kumimoji="0" lang="en-US" sz="1800" b="0" i="0" u="none" strike="noStrike" kern="1200" cap="none" spc="0" normalizeH="0" baseline="0" noProof="0" dirty="0">
              <a:ln>
                <a:noFill/>
              </a:ln>
              <a:solidFill>
                <a:prstClr val="black"/>
              </a:solidFill>
              <a:effectLst/>
              <a:uLnTx/>
              <a:uFillTx/>
              <a:latin typeface="Franklin Gothic Book" panose="020B0503020102020204"/>
              <a:ea typeface="+mn-ea"/>
              <a:cs typeface="+mn-cs"/>
            </a:endParaRPr>
          </a:p>
        </p:txBody>
      </p:sp>
      <p:sp>
        <p:nvSpPr>
          <p:cNvPr id="6" name="Rectangle 5"/>
          <p:cNvSpPr/>
          <p:nvPr/>
        </p:nvSpPr>
        <p:spPr>
          <a:xfrm>
            <a:off x="-1" y="6537968"/>
            <a:ext cx="12192001" cy="45719"/>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SG" sz="1800"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sp>
        <p:nvSpPr>
          <p:cNvPr id="7" name="Rectangle 6"/>
          <p:cNvSpPr/>
          <p:nvPr/>
        </p:nvSpPr>
        <p:spPr>
          <a:xfrm>
            <a:off x="0" y="6642468"/>
            <a:ext cx="12192001" cy="45719"/>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SG" sz="1800"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pic>
        <p:nvPicPr>
          <p:cNvPr id="11" name="Google Shape;473;p26"/>
          <p:cNvPicPr preferRelativeResize="0"/>
          <p:nvPr/>
        </p:nvPicPr>
        <p:blipFill rotWithShape="1">
          <a:blip r:embed="rId2">
            <a:alphaModFix/>
          </a:blip>
          <a:srcRect/>
          <a:stretch/>
        </p:blipFill>
        <p:spPr>
          <a:xfrm>
            <a:off x="1502797" y="1560753"/>
            <a:ext cx="4201526" cy="3228203"/>
          </a:xfrm>
          <a:prstGeom prst="rect">
            <a:avLst/>
          </a:prstGeom>
          <a:noFill/>
          <a:ln>
            <a:noFill/>
          </a:ln>
        </p:spPr>
      </p:pic>
      <p:pic>
        <p:nvPicPr>
          <p:cNvPr id="3" name="Google Shape;485;p27">
            <a:extLst>
              <a:ext uri="{FF2B5EF4-FFF2-40B4-BE49-F238E27FC236}">
                <a16:creationId xmlns:a16="http://schemas.microsoft.com/office/drawing/2014/main" id="{3BD66B2A-6D1B-E7D7-1F76-DC33AF362481}"/>
              </a:ext>
            </a:extLst>
          </p:cNvPr>
          <p:cNvPicPr preferRelativeResize="0"/>
          <p:nvPr/>
        </p:nvPicPr>
        <p:blipFill rotWithShape="1">
          <a:blip r:embed="rId3">
            <a:alphaModFix/>
          </a:blip>
          <a:srcRect/>
          <a:stretch/>
        </p:blipFill>
        <p:spPr>
          <a:xfrm>
            <a:off x="7712764" y="1365477"/>
            <a:ext cx="2507833" cy="3906238"/>
          </a:xfrm>
          <a:prstGeom prst="rect">
            <a:avLst/>
          </a:prstGeom>
          <a:noFill/>
          <a:ln>
            <a:noFill/>
          </a:ln>
        </p:spPr>
      </p:pic>
      <p:pic>
        <p:nvPicPr>
          <p:cNvPr id="4" name="Picture 3">
            <a:extLst>
              <a:ext uri="{FF2B5EF4-FFF2-40B4-BE49-F238E27FC236}">
                <a16:creationId xmlns:a16="http://schemas.microsoft.com/office/drawing/2014/main" id="{48EA3481-DA53-968B-EB04-2AD8E0EA18F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354463" y="75465"/>
            <a:ext cx="694858" cy="694858"/>
          </a:xfrm>
          <a:prstGeom prst="rect">
            <a:avLst/>
          </a:prstGeom>
        </p:spPr>
      </p:pic>
    </p:spTree>
    <p:extLst>
      <p:ext uri="{BB962C8B-B14F-4D97-AF65-F5344CB8AC3E}">
        <p14:creationId xmlns:p14="http://schemas.microsoft.com/office/powerpoint/2010/main" val="232187500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8A50A7-7F69-341E-74FF-609FE1CF4607}"/>
              </a:ext>
            </a:extLst>
          </p:cNvPr>
          <p:cNvSpPr>
            <a:spLocks noGrp="1"/>
          </p:cNvSpPr>
          <p:nvPr>
            <p:ph type="title"/>
          </p:nvPr>
        </p:nvSpPr>
        <p:spPr>
          <a:xfrm>
            <a:off x="1562431" y="709654"/>
            <a:ext cx="9601200" cy="1485900"/>
          </a:xfrm>
        </p:spPr>
        <p:txBody>
          <a:bodyPr>
            <a:normAutofit/>
          </a:bodyPr>
          <a:lstStyle/>
          <a:p>
            <a:r>
              <a:rPr lang="en-PK" sz="3200" dirty="0"/>
              <a:t>What Pak</a:t>
            </a:r>
            <a:r>
              <a:rPr lang="en-US" sz="3200" dirty="0"/>
              <a:t>istan needs to improve PEP </a:t>
            </a:r>
            <a:br>
              <a:rPr lang="en-PK" dirty="0"/>
            </a:br>
            <a:endParaRPr lang="en-PK" dirty="0"/>
          </a:p>
        </p:txBody>
      </p:sp>
      <p:sp>
        <p:nvSpPr>
          <p:cNvPr id="3" name="Content Placeholder 2">
            <a:extLst>
              <a:ext uri="{FF2B5EF4-FFF2-40B4-BE49-F238E27FC236}">
                <a16:creationId xmlns:a16="http://schemas.microsoft.com/office/drawing/2014/main" id="{C5718AC5-AE06-F8FA-9785-4E9420B59A95}"/>
              </a:ext>
            </a:extLst>
          </p:cNvPr>
          <p:cNvSpPr>
            <a:spLocks noGrp="1"/>
          </p:cNvSpPr>
          <p:nvPr>
            <p:ph idx="1"/>
          </p:nvPr>
        </p:nvSpPr>
        <p:spPr/>
        <p:txBody>
          <a:bodyPr/>
          <a:lstStyle/>
          <a:p>
            <a:r>
              <a:rPr lang="en-PK" dirty="0"/>
              <a:t>Devolve from EMRO –WR - MoH – provinces – divisions – districts  </a:t>
            </a:r>
          </a:p>
          <a:p>
            <a:r>
              <a:rPr lang="en-PK" dirty="0"/>
              <a:t>Organize/augment PEP centers</a:t>
            </a:r>
          </a:p>
          <a:p>
            <a:r>
              <a:rPr lang="en-PK" dirty="0"/>
              <a:t>Capacity building </a:t>
            </a:r>
          </a:p>
          <a:p>
            <a:r>
              <a:rPr lang="en-PK" dirty="0"/>
              <a:t>Enhance training of 1 week ID</a:t>
            </a:r>
          </a:p>
          <a:p>
            <a:r>
              <a:rPr lang="en-PK" dirty="0"/>
              <a:t>Provision of quality rabies vaccine</a:t>
            </a:r>
          </a:p>
          <a:p>
            <a:pPr marL="0" indent="0">
              <a:buNone/>
            </a:pPr>
            <a:endParaRPr lang="en-PK" dirty="0"/>
          </a:p>
          <a:p>
            <a:pPr marL="0" indent="0">
              <a:buNone/>
            </a:pPr>
            <a:r>
              <a:rPr lang="en-PK" dirty="0"/>
              <a:t>			</a:t>
            </a:r>
          </a:p>
          <a:p>
            <a:endParaRPr lang="en-PK" dirty="0"/>
          </a:p>
        </p:txBody>
      </p:sp>
    </p:spTree>
    <p:extLst>
      <p:ext uri="{BB962C8B-B14F-4D97-AF65-F5344CB8AC3E}">
        <p14:creationId xmlns:p14="http://schemas.microsoft.com/office/powerpoint/2010/main" val="233331519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D89839-3274-9C3E-595F-A7A1417A6471}"/>
              </a:ext>
            </a:extLst>
          </p:cNvPr>
          <p:cNvSpPr>
            <a:spLocks noGrp="1"/>
          </p:cNvSpPr>
          <p:nvPr>
            <p:ph type="title"/>
          </p:nvPr>
        </p:nvSpPr>
        <p:spPr>
          <a:xfrm>
            <a:off x="207876" y="402362"/>
            <a:ext cx="10515600" cy="468378"/>
          </a:xfrm>
        </p:spPr>
        <p:txBody>
          <a:bodyPr vert="horz" lIns="91440" tIns="45720" rIns="91440" bIns="45720" rtlCol="0" anchor="ctr">
            <a:noAutofit/>
          </a:bodyPr>
          <a:lstStyle/>
          <a:p>
            <a:r>
              <a:rPr lang="en-US" sz="4000"/>
              <a:t>Rabies is fatal once clinical signs appear </a:t>
            </a:r>
          </a:p>
        </p:txBody>
      </p:sp>
      <p:sp>
        <p:nvSpPr>
          <p:cNvPr id="3" name="Content Placeholder 2">
            <a:extLst>
              <a:ext uri="{FF2B5EF4-FFF2-40B4-BE49-F238E27FC236}">
                <a16:creationId xmlns:a16="http://schemas.microsoft.com/office/drawing/2014/main" id="{BB8BF890-633B-AA45-155E-9968A676FCF6}"/>
              </a:ext>
            </a:extLst>
          </p:cNvPr>
          <p:cNvSpPr>
            <a:spLocks noGrp="1"/>
          </p:cNvSpPr>
          <p:nvPr>
            <p:ph idx="1"/>
          </p:nvPr>
        </p:nvSpPr>
        <p:spPr>
          <a:xfrm>
            <a:off x="539620" y="1137834"/>
            <a:ext cx="10515600" cy="702971"/>
          </a:xfrm>
        </p:spPr>
        <p:txBody>
          <a:bodyPr>
            <a:normAutofit/>
          </a:bodyPr>
          <a:lstStyle/>
          <a:p>
            <a:pPr marL="0" indent="0">
              <a:buNone/>
            </a:pPr>
            <a:r>
              <a:rPr lang="en-US" sz="2000"/>
              <a:t>The clinical signs and development of rabies in humans are:</a:t>
            </a:r>
          </a:p>
        </p:txBody>
      </p:sp>
      <p:sp>
        <p:nvSpPr>
          <p:cNvPr id="4" name="Flowchart: Process 3">
            <a:extLst>
              <a:ext uri="{FF2B5EF4-FFF2-40B4-BE49-F238E27FC236}">
                <a16:creationId xmlns:a16="http://schemas.microsoft.com/office/drawing/2014/main" id="{8CBE49FD-2C18-50A4-6711-8526A9B5F7B8}"/>
              </a:ext>
            </a:extLst>
          </p:cNvPr>
          <p:cNvSpPr>
            <a:spLocks noGrp="1" noRot="1" noMove="1" noResize="1" noEditPoints="1" noAdjustHandles="1" noChangeArrowheads="1" noChangeShapeType="1"/>
          </p:cNvSpPr>
          <p:nvPr/>
        </p:nvSpPr>
        <p:spPr>
          <a:xfrm>
            <a:off x="890296" y="4298587"/>
            <a:ext cx="10411408" cy="2294099"/>
          </a:xfrm>
          <a:prstGeom prst="flowChartProcess">
            <a:avLst/>
          </a:prstGeom>
          <a:solidFill>
            <a:schemeClr val="accent5">
              <a:lumMod val="60000"/>
              <a:lumOff val="40000"/>
            </a:schemeClr>
          </a:soli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Arrow: Right 4">
            <a:extLst>
              <a:ext uri="{FF2B5EF4-FFF2-40B4-BE49-F238E27FC236}">
                <a16:creationId xmlns:a16="http://schemas.microsoft.com/office/drawing/2014/main" id="{2BA89C6E-C839-096E-BE70-E5E8692C3B56}"/>
              </a:ext>
            </a:extLst>
          </p:cNvPr>
          <p:cNvSpPr>
            <a:spLocks noGrp="1" noRot="1" noMove="1" noResize="1" noEditPoints="1" noAdjustHandles="1" noChangeArrowheads="1" noChangeShapeType="1"/>
          </p:cNvSpPr>
          <p:nvPr/>
        </p:nvSpPr>
        <p:spPr>
          <a:xfrm>
            <a:off x="890296" y="4500371"/>
            <a:ext cx="10411408" cy="628845"/>
          </a:xfrm>
          <a:prstGeom prst="rightArrow">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A6E3E958-DDCF-0300-48BA-EC7485E4BBA1}"/>
              </a:ext>
            </a:extLst>
          </p:cNvPr>
          <p:cNvSpPr txBox="1">
            <a:spLocks noGrp="1" noRot="1" noMove="1" noResize="1" noEditPoints="1" noAdjustHandles="1" noChangeArrowheads="1" noChangeShapeType="1"/>
          </p:cNvSpPr>
          <p:nvPr/>
        </p:nvSpPr>
        <p:spPr>
          <a:xfrm flipH="1">
            <a:off x="539620" y="1730144"/>
            <a:ext cx="4881466" cy="1200329"/>
          </a:xfrm>
          <a:prstGeom prst="rect">
            <a:avLst/>
          </a:prstGeom>
          <a:noFill/>
        </p:spPr>
        <p:txBody>
          <a:bodyPr wrap="square" rtlCol="0">
            <a:spAutoFit/>
          </a:bodyPr>
          <a:lstStyle/>
          <a:p>
            <a:pPr algn="ctr"/>
            <a:r>
              <a:rPr lang="en-US" b="1"/>
              <a:t>Furious</a:t>
            </a:r>
            <a:r>
              <a:rPr lang="en-US">
                <a:solidFill>
                  <a:schemeClr val="accent5"/>
                </a:solidFill>
              </a:rPr>
              <a:t> </a:t>
            </a:r>
            <a:r>
              <a:rPr lang="en-US" b="1"/>
              <a:t>form</a:t>
            </a:r>
            <a:r>
              <a:rPr lang="en-US">
                <a:solidFill>
                  <a:schemeClr val="accent5"/>
                </a:solidFill>
              </a:rPr>
              <a:t> </a:t>
            </a:r>
          </a:p>
          <a:p>
            <a:pPr algn="ctr"/>
            <a:r>
              <a:rPr lang="en-US"/>
              <a:t>Altered </a:t>
            </a:r>
            <a:r>
              <a:rPr lang="en-US" err="1"/>
              <a:t>behaviour</a:t>
            </a:r>
            <a:r>
              <a:rPr lang="en-US"/>
              <a:t>, hallucinations, incoordination, aerophobia, hydrophobia,</a:t>
            </a:r>
          </a:p>
          <a:p>
            <a:pPr algn="ctr"/>
            <a:r>
              <a:rPr lang="en-US"/>
              <a:t>excessive salivation, aggression </a:t>
            </a:r>
          </a:p>
        </p:txBody>
      </p:sp>
      <p:sp>
        <p:nvSpPr>
          <p:cNvPr id="9" name="TextBox 8">
            <a:extLst>
              <a:ext uri="{FF2B5EF4-FFF2-40B4-BE49-F238E27FC236}">
                <a16:creationId xmlns:a16="http://schemas.microsoft.com/office/drawing/2014/main" id="{9BC008A5-4069-5EED-792E-D00762F585A0}"/>
              </a:ext>
            </a:extLst>
          </p:cNvPr>
          <p:cNvSpPr txBox="1">
            <a:spLocks noGrp="1" noRot="1" noMove="1" noResize="1" noEditPoints="1" noAdjustHandles="1" noChangeArrowheads="1" noChangeShapeType="1"/>
          </p:cNvSpPr>
          <p:nvPr/>
        </p:nvSpPr>
        <p:spPr>
          <a:xfrm>
            <a:off x="8028991" y="1683977"/>
            <a:ext cx="1768151" cy="646331"/>
          </a:xfrm>
          <a:prstGeom prst="rect">
            <a:avLst/>
          </a:prstGeom>
          <a:noFill/>
        </p:spPr>
        <p:txBody>
          <a:bodyPr wrap="square" rtlCol="0">
            <a:spAutoFit/>
          </a:bodyPr>
          <a:lstStyle/>
          <a:p>
            <a:pPr algn="ctr"/>
            <a:r>
              <a:rPr lang="en-US" b="1"/>
              <a:t>Acute encephalitis</a:t>
            </a:r>
          </a:p>
        </p:txBody>
      </p:sp>
      <p:sp>
        <p:nvSpPr>
          <p:cNvPr id="10" name="TextBox 9">
            <a:extLst>
              <a:ext uri="{FF2B5EF4-FFF2-40B4-BE49-F238E27FC236}">
                <a16:creationId xmlns:a16="http://schemas.microsoft.com/office/drawing/2014/main" id="{B1CEFEA3-F969-8167-F8F5-41C62263670E}"/>
              </a:ext>
            </a:extLst>
          </p:cNvPr>
          <p:cNvSpPr txBox="1">
            <a:spLocks noGrp="1" noRot="1" noMove="1" noResize="1" noEditPoints="1" noAdjustHandles="1" noChangeArrowheads="1" noChangeShapeType="1"/>
          </p:cNvSpPr>
          <p:nvPr/>
        </p:nvSpPr>
        <p:spPr>
          <a:xfrm flipH="1">
            <a:off x="10538380" y="1730143"/>
            <a:ext cx="996199" cy="369332"/>
          </a:xfrm>
          <a:prstGeom prst="rect">
            <a:avLst/>
          </a:prstGeom>
          <a:noFill/>
        </p:spPr>
        <p:txBody>
          <a:bodyPr wrap="square" rtlCol="0">
            <a:spAutoFit/>
          </a:bodyPr>
          <a:lstStyle/>
          <a:p>
            <a:r>
              <a:rPr lang="en-US" b="1"/>
              <a:t>Coma</a:t>
            </a:r>
          </a:p>
        </p:txBody>
      </p:sp>
      <p:sp>
        <p:nvSpPr>
          <p:cNvPr id="11" name="TextBox 10">
            <a:extLst>
              <a:ext uri="{FF2B5EF4-FFF2-40B4-BE49-F238E27FC236}">
                <a16:creationId xmlns:a16="http://schemas.microsoft.com/office/drawing/2014/main" id="{82971FA2-0026-05DA-CABA-238E86C54DD0}"/>
              </a:ext>
            </a:extLst>
          </p:cNvPr>
          <p:cNvSpPr txBox="1">
            <a:spLocks noGrp="1" noRot="1" noMove="1" noResize="1" noEditPoints="1" noAdjustHandles="1" noChangeArrowheads="1" noChangeShapeType="1"/>
          </p:cNvSpPr>
          <p:nvPr/>
        </p:nvSpPr>
        <p:spPr>
          <a:xfrm>
            <a:off x="5682962" y="1717235"/>
            <a:ext cx="2196120" cy="646331"/>
          </a:xfrm>
          <a:prstGeom prst="rect">
            <a:avLst/>
          </a:prstGeom>
          <a:noFill/>
        </p:spPr>
        <p:txBody>
          <a:bodyPr wrap="square" rtlCol="0">
            <a:spAutoFit/>
          </a:bodyPr>
          <a:lstStyle/>
          <a:p>
            <a:pPr algn="ctr"/>
            <a:r>
              <a:rPr lang="en-US" b="1"/>
              <a:t>Paralytic form</a:t>
            </a:r>
          </a:p>
          <a:p>
            <a:pPr algn="ctr"/>
            <a:r>
              <a:rPr lang="en-US"/>
              <a:t>Growing paralysis</a:t>
            </a:r>
          </a:p>
        </p:txBody>
      </p:sp>
      <p:sp>
        <p:nvSpPr>
          <p:cNvPr id="12" name="TextBox 11">
            <a:extLst>
              <a:ext uri="{FF2B5EF4-FFF2-40B4-BE49-F238E27FC236}">
                <a16:creationId xmlns:a16="http://schemas.microsoft.com/office/drawing/2014/main" id="{763A004B-6430-C37B-A40B-3E7D6C4B6A16}"/>
              </a:ext>
            </a:extLst>
          </p:cNvPr>
          <p:cNvSpPr txBox="1">
            <a:spLocks noGrp="1" noRot="1" noMove="1" noResize="1" noEditPoints="1" noAdjustHandles="1" noChangeArrowheads="1" noChangeShapeType="1"/>
          </p:cNvSpPr>
          <p:nvPr/>
        </p:nvSpPr>
        <p:spPr>
          <a:xfrm>
            <a:off x="2124271" y="3200646"/>
            <a:ext cx="3900196" cy="923330"/>
          </a:xfrm>
          <a:prstGeom prst="rect">
            <a:avLst/>
          </a:prstGeom>
          <a:noFill/>
        </p:spPr>
        <p:txBody>
          <a:bodyPr wrap="square" rtlCol="0">
            <a:spAutoFit/>
          </a:bodyPr>
          <a:lstStyle/>
          <a:p>
            <a:pPr algn="ctr"/>
            <a:r>
              <a:rPr lang="en-US" b="1"/>
              <a:t>Generic signs </a:t>
            </a:r>
          </a:p>
          <a:p>
            <a:pPr algn="ctr"/>
            <a:r>
              <a:rPr lang="en-US"/>
              <a:t>Fever, malaise, fatigue, headache, lack of appetite, tingling at the wound site </a:t>
            </a:r>
          </a:p>
        </p:txBody>
      </p:sp>
      <p:sp>
        <p:nvSpPr>
          <p:cNvPr id="13" name="Flowchart: Process 12">
            <a:extLst>
              <a:ext uri="{FF2B5EF4-FFF2-40B4-BE49-F238E27FC236}">
                <a16:creationId xmlns:a16="http://schemas.microsoft.com/office/drawing/2014/main" id="{B220734E-848B-5D7B-6B9E-013A2AB38414}"/>
              </a:ext>
            </a:extLst>
          </p:cNvPr>
          <p:cNvSpPr/>
          <p:nvPr/>
        </p:nvSpPr>
        <p:spPr>
          <a:xfrm>
            <a:off x="539620" y="1730144"/>
            <a:ext cx="4993433" cy="1200329"/>
          </a:xfrm>
          <a:prstGeom prst="flowChartProcess">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lowchart: Process 13">
            <a:extLst>
              <a:ext uri="{FF2B5EF4-FFF2-40B4-BE49-F238E27FC236}">
                <a16:creationId xmlns:a16="http://schemas.microsoft.com/office/drawing/2014/main" id="{B2460DCC-4E42-CADB-0895-B588C6A933C3}"/>
              </a:ext>
            </a:extLst>
          </p:cNvPr>
          <p:cNvSpPr/>
          <p:nvPr/>
        </p:nvSpPr>
        <p:spPr>
          <a:xfrm>
            <a:off x="5682962" y="1730143"/>
            <a:ext cx="2196121" cy="600165"/>
          </a:xfrm>
          <a:prstGeom prst="flowChartProcess">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Flowchart: Process 14">
            <a:extLst>
              <a:ext uri="{FF2B5EF4-FFF2-40B4-BE49-F238E27FC236}">
                <a16:creationId xmlns:a16="http://schemas.microsoft.com/office/drawing/2014/main" id="{1E50A0A2-9A95-E6FB-374D-277C92C8F808}"/>
              </a:ext>
            </a:extLst>
          </p:cNvPr>
          <p:cNvSpPr/>
          <p:nvPr/>
        </p:nvSpPr>
        <p:spPr>
          <a:xfrm>
            <a:off x="8028992" y="1717236"/>
            <a:ext cx="1917441" cy="613072"/>
          </a:xfrm>
          <a:prstGeom prst="flowChartProcess">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Flowchart: Process 15">
            <a:extLst>
              <a:ext uri="{FF2B5EF4-FFF2-40B4-BE49-F238E27FC236}">
                <a16:creationId xmlns:a16="http://schemas.microsoft.com/office/drawing/2014/main" id="{F9017196-686A-20B5-23CE-6E6BAAF4AD1E}"/>
              </a:ext>
            </a:extLst>
          </p:cNvPr>
          <p:cNvSpPr/>
          <p:nvPr/>
        </p:nvSpPr>
        <p:spPr>
          <a:xfrm>
            <a:off x="10454911" y="1730143"/>
            <a:ext cx="882362" cy="369332"/>
          </a:xfrm>
          <a:prstGeom prst="flowChartProcess">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Flowchart: Process 16">
            <a:extLst>
              <a:ext uri="{FF2B5EF4-FFF2-40B4-BE49-F238E27FC236}">
                <a16:creationId xmlns:a16="http://schemas.microsoft.com/office/drawing/2014/main" id="{77FAB5AC-6033-0EC3-7134-42A6E90F6BD1}"/>
              </a:ext>
            </a:extLst>
          </p:cNvPr>
          <p:cNvSpPr/>
          <p:nvPr/>
        </p:nvSpPr>
        <p:spPr>
          <a:xfrm>
            <a:off x="1839918" y="3208920"/>
            <a:ext cx="4468903" cy="884115"/>
          </a:xfrm>
          <a:prstGeom prst="flowChartProcess">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FD7CFAFB-BE64-46A8-3D2D-F986CE56DA05}"/>
              </a:ext>
            </a:extLst>
          </p:cNvPr>
          <p:cNvSpPr txBox="1"/>
          <p:nvPr/>
        </p:nvSpPr>
        <p:spPr>
          <a:xfrm flipH="1">
            <a:off x="535577" y="3724130"/>
            <a:ext cx="1768151" cy="369332"/>
          </a:xfrm>
          <a:prstGeom prst="rect">
            <a:avLst/>
          </a:prstGeom>
          <a:noFill/>
        </p:spPr>
        <p:txBody>
          <a:bodyPr wrap="square" rtlCol="0">
            <a:spAutoFit/>
          </a:bodyPr>
          <a:lstStyle/>
          <a:p>
            <a:r>
              <a:rPr lang="en-US" b="1"/>
              <a:t>Exposure</a:t>
            </a:r>
          </a:p>
        </p:txBody>
      </p:sp>
      <p:sp>
        <p:nvSpPr>
          <p:cNvPr id="21" name="Flowchart: Process 20">
            <a:extLst>
              <a:ext uri="{FF2B5EF4-FFF2-40B4-BE49-F238E27FC236}">
                <a16:creationId xmlns:a16="http://schemas.microsoft.com/office/drawing/2014/main" id="{9B3CB17E-684D-1F2C-C4C7-9D1B587E1B07}"/>
              </a:ext>
            </a:extLst>
          </p:cNvPr>
          <p:cNvSpPr/>
          <p:nvPr/>
        </p:nvSpPr>
        <p:spPr>
          <a:xfrm>
            <a:off x="360897" y="3717260"/>
            <a:ext cx="1354956" cy="384802"/>
          </a:xfrm>
          <a:prstGeom prst="flowChartProcess">
            <a:avLst/>
          </a:prstGeom>
          <a:noFill/>
          <a:ln w="190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lowchart: Connector 21">
            <a:extLst>
              <a:ext uri="{FF2B5EF4-FFF2-40B4-BE49-F238E27FC236}">
                <a16:creationId xmlns:a16="http://schemas.microsoft.com/office/drawing/2014/main" id="{40AFBD9C-88D5-832D-7267-A8EE674E1A03}"/>
              </a:ext>
            </a:extLst>
          </p:cNvPr>
          <p:cNvSpPr/>
          <p:nvPr/>
        </p:nvSpPr>
        <p:spPr>
          <a:xfrm>
            <a:off x="863313" y="4652349"/>
            <a:ext cx="345233" cy="307910"/>
          </a:xfrm>
          <a:prstGeom prst="flowChartConnector">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Flowchart: Connector 24">
            <a:extLst>
              <a:ext uri="{FF2B5EF4-FFF2-40B4-BE49-F238E27FC236}">
                <a16:creationId xmlns:a16="http://schemas.microsoft.com/office/drawing/2014/main" id="{B29551FE-01A1-5689-7117-66C83682F6AC}"/>
              </a:ext>
            </a:extLst>
          </p:cNvPr>
          <p:cNvSpPr/>
          <p:nvPr/>
        </p:nvSpPr>
        <p:spPr>
          <a:xfrm>
            <a:off x="6608405" y="4667394"/>
            <a:ext cx="345233" cy="307910"/>
          </a:xfrm>
          <a:prstGeom prst="flowChartConnector">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Flowchart: Connector 25">
            <a:extLst>
              <a:ext uri="{FF2B5EF4-FFF2-40B4-BE49-F238E27FC236}">
                <a16:creationId xmlns:a16="http://schemas.microsoft.com/office/drawing/2014/main" id="{32C7CF8B-DC02-3ECC-6444-F5E373D03301}"/>
              </a:ext>
            </a:extLst>
          </p:cNvPr>
          <p:cNvSpPr/>
          <p:nvPr/>
        </p:nvSpPr>
        <p:spPr>
          <a:xfrm>
            <a:off x="8815095" y="4661095"/>
            <a:ext cx="345233" cy="307910"/>
          </a:xfrm>
          <a:prstGeom prst="flowChartConnector">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Flowchart: Connector 26">
            <a:extLst>
              <a:ext uri="{FF2B5EF4-FFF2-40B4-BE49-F238E27FC236}">
                <a16:creationId xmlns:a16="http://schemas.microsoft.com/office/drawing/2014/main" id="{35CC3ADC-C63E-0C03-D474-BBF93B50FBBA}"/>
              </a:ext>
            </a:extLst>
          </p:cNvPr>
          <p:cNvSpPr/>
          <p:nvPr/>
        </p:nvSpPr>
        <p:spPr>
          <a:xfrm>
            <a:off x="10723476" y="4660633"/>
            <a:ext cx="345233" cy="307910"/>
          </a:xfrm>
          <a:prstGeom prst="flowChartConnector">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TextBox 27">
            <a:extLst>
              <a:ext uri="{FF2B5EF4-FFF2-40B4-BE49-F238E27FC236}">
                <a16:creationId xmlns:a16="http://schemas.microsoft.com/office/drawing/2014/main" id="{1337D1F6-3B19-41F0-4338-76496961AAFA}"/>
              </a:ext>
            </a:extLst>
          </p:cNvPr>
          <p:cNvSpPr txBox="1"/>
          <p:nvPr/>
        </p:nvSpPr>
        <p:spPr>
          <a:xfrm>
            <a:off x="1839918" y="5445637"/>
            <a:ext cx="45719" cy="369332"/>
          </a:xfrm>
          <a:prstGeom prst="rect">
            <a:avLst/>
          </a:prstGeom>
          <a:noFill/>
        </p:spPr>
        <p:txBody>
          <a:bodyPr wrap="square" rtlCol="0">
            <a:spAutoFit/>
          </a:bodyPr>
          <a:lstStyle/>
          <a:p>
            <a:endParaRPr lang="en-US"/>
          </a:p>
        </p:txBody>
      </p:sp>
      <p:sp>
        <p:nvSpPr>
          <p:cNvPr id="29" name="TextBox 28">
            <a:extLst>
              <a:ext uri="{FF2B5EF4-FFF2-40B4-BE49-F238E27FC236}">
                <a16:creationId xmlns:a16="http://schemas.microsoft.com/office/drawing/2014/main" id="{AF52000F-D955-DD7E-49A5-AABB4DC0BA1A}"/>
              </a:ext>
            </a:extLst>
          </p:cNvPr>
          <p:cNvSpPr txBox="1">
            <a:spLocks noGrp="1" noRot="1" noMove="1" noResize="1" noEditPoints="1" noAdjustHandles="1" noChangeArrowheads="1" noChangeShapeType="1"/>
          </p:cNvSpPr>
          <p:nvPr/>
        </p:nvSpPr>
        <p:spPr>
          <a:xfrm>
            <a:off x="908179" y="5089257"/>
            <a:ext cx="3275045" cy="830997"/>
          </a:xfrm>
          <a:prstGeom prst="rect">
            <a:avLst/>
          </a:prstGeom>
          <a:noFill/>
        </p:spPr>
        <p:txBody>
          <a:bodyPr wrap="square" rtlCol="0">
            <a:spAutoFit/>
          </a:bodyPr>
          <a:lstStyle/>
          <a:p>
            <a:r>
              <a:rPr lang="en-US" sz="1600" b="1"/>
              <a:t>Incubation phase</a:t>
            </a:r>
          </a:p>
          <a:p>
            <a:r>
              <a:rPr lang="en-US" sz="1600"/>
              <a:t>(usually 4-12 weeks; sometimes</a:t>
            </a:r>
          </a:p>
          <a:p>
            <a:r>
              <a:rPr lang="en-US" sz="1600"/>
              <a:t> &lt;1 week or &gt;12 months)</a:t>
            </a:r>
          </a:p>
        </p:txBody>
      </p:sp>
      <p:sp>
        <p:nvSpPr>
          <p:cNvPr id="30" name="TextBox 29">
            <a:extLst>
              <a:ext uri="{FF2B5EF4-FFF2-40B4-BE49-F238E27FC236}">
                <a16:creationId xmlns:a16="http://schemas.microsoft.com/office/drawing/2014/main" id="{EDEA7988-276D-0EED-B057-C0A0BA1FF514}"/>
              </a:ext>
            </a:extLst>
          </p:cNvPr>
          <p:cNvSpPr txBox="1">
            <a:spLocks noGrp="1" noRot="1" noMove="1" noResize="1" noEditPoints="1" noAdjustHandles="1" noChangeArrowheads="1" noChangeShapeType="1"/>
          </p:cNvSpPr>
          <p:nvPr/>
        </p:nvSpPr>
        <p:spPr>
          <a:xfrm>
            <a:off x="3828661" y="5097541"/>
            <a:ext cx="2392679" cy="830997"/>
          </a:xfrm>
          <a:prstGeom prst="rect">
            <a:avLst/>
          </a:prstGeom>
          <a:noFill/>
        </p:spPr>
        <p:txBody>
          <a:bodyPr wrap="square" rtlCol="0">
            <a:spAutoFit/>
          </a:bodyPr>
          <a:lstStyle/>
          <a:p>
            <a:r>
              <a:rPr lang="en-US" sz="1600" b="1"/>
              <a:t>Prodromal phase</a:t>
            </a:r>
          </a:p>
          <a:p>
            <a:r>
              <a:rPr lang="en-US" sz="1600"/>
              <a:t>(some days to 1 week)</a:t>
            </a:r>
          </a:p>
          <a:p>
            <a:endParaRPr lang="en-US" sz="1600"/>
          </a:p>
        </p:txBody>
      </p:sp>
      <p:sp>
        <p:nvSpPr>
          <p:cNvPr id="31" name="TextBox 30">
            <a:extLst>
              <a:ext uri="{FF2B5EF4-FFF2-40B4-BE49-F238E27FC236}">
                <a16:creationId xmlns:a16="http://schemas.microsoft.com/office/drawing/2014/main" id="{74F24C61-585E-7D7E-9944-E5951B2B78CC}"/>
              </a:ext>
            </a:extLst>
          </p:cNvPr>
          <p:cNvSpPr txBox="1">
            <a:spLocks noGrp="1" noRot="1" noMove="1" noResize="1" noEditPoints="1" noAdjustHandles="1" noChangeArrowheads="1" noChangeShapeType="1"/>
          </p:cNvSpPr>
          <p:nvPr/>
        </p:nvSpPr>
        <p:spPr>
          <a:xfrm>
            <a:off x="6562376" y="5089257"/>
            <a:ext cx="2693591" cy="830997"/>
          </a:xfrm>
          <a:prstGeom prst="rect">
            <a:avLst/>
          </a:prstGeom>
          <a:noFill/>
        </p:spPr>
        <p:txBody>
          <a:bodyPr wrap="square" rtlCol="0">
            <a:spAutoFit/>
          </a:bodyPr>
          <a:lstStyle/>
          <a:p>
            <a:r>
              <a:rPr lang="en-US" sz="1600" b="1"/>
              <a:t>Neurological phase</a:t>
            </a:r>
          </a:p>
          <a:p>
            <a:r>
              <a:rPr lang="en-US" sz="1600"/>
              <a:t>(5 days in furious rabies and 14 days in paralytic rabies)</a:t>
            </a:r>
          </a:p>
        </p:txBody>
      </p:sp>
      <p:sp>
        <p:nvSpPr>
          <p:cNvPr id="32" name="TextBox 31">
            <a:extLst>
              <a:ext uri="{FF2B5EF4-FFF2-40B4-BE49-F238E27FC236}">
                <a16:creationId xmlns:a16="http://schemas.microsoft.com/office/drawing/2014/main" id="{39322869-DC6C-B926-200A-06007B99075A}"/>
              </a:ext>
            </a:extLst>
          </p:cNvPr>
          <p:cNvSpPr txBox="1"/>
          <p:nvPr/>
        </p:nvSpPr>
        <p:spPr>
          <a:xfrm flipH="1">
            <a:off x="11306370" y="4660633"/>
            <a:ext cx="771179" cy="338554"/>
          </a:xfrm>
          <a:prstGeom prst="rect">
            <a:avLst/>
          </a:prstGeom>
          <a:noFill/>
        </p:spPr>
        <p:txBody>
          <a:bodyPr wrap="square" rtlCol="0">
            <a:spAutoFit/>
          </a:bodyPr>
          <a:lstStyle/>
          <a:p>
            <a:r>
              <a:rPr lang="en-US" sz="1600" b="1"/>
              <a:t>Death</a:t>
            </a:r>
          </a:p>
        </p:txBody>
      </p:sp>
      <p:sp>
        <p:nvSpPr>
          <p:cNvPr id="33" name="TextBox 32">
            <a:extLst>
              <a:ext uri="{FF2B5EF4-FFF2-40B4-BE49-F238E27FC236}">
                <a16:creationId xmlns:a16="http://schemas.microsoft.com/office/drawing/2014/main" id="{66D91519-932B-47C1-29AE-2ACBF9BB2A16}"/>
              </a:ext>
            </a:extLst>
          </p:cNvPr>
          <p:cNvSpPr txBox="1">
            <a:spLocks noGrp="1" noRot="1" noMove="1" noResize="1" noEditPoints="1" noAdjustHandles="1" noChangeArrowheads="1" noChangeShapeType="1"/>
          </p:cNvSpPr>
          <p:nvPr/>
        </p:nvSpPr>
        <p:spPr>
          <a:xfrm>
            <a:off x="1555564" y="5941138"/>
            <a:ext cx="2627660" cy="523220"/>
          </a:xfrm>
          <a:prstGeom prst="rect">
            <a:avLst/>
          </a:prstGeom>
          <a:noFill/>
        </p:spPr>
        <p:txBody>
          <a:bodyPr wrap="square" rtlCol="0">
            <a:spAutoFit/>
          </a:bodyPr>
          <a:lstStyle/>
          <a:p>
            <a:r>
              <a:rPr lang="en-US" sz="1400" i="1"/>
              <a:t>Preventable via</a:t>
            </a:r>
          </a:p>
          <a:p>
            <a:r>
              <a:rPr lang="en-US" sz="1400" i="1"/>
              <a:t>post-exposure prophylaxis</a:t>
            </a:r>
          </a:p>
        </p:txBody>
      </p:sp>
      <p:sp>
        <p:nvSpPr>
          <p:cNvPr id="34" name="TextBox 33">
            <a:extLst>
              <a:ext uri="{FF2B5EF4-FFF2-40B4-BE49-F238E27FC236}">
                <a16:creationId xmlns:a16="http://schemas.microsoft.com/office/drawing/2014/main" id="{7C6C15A8-9947-039A-84C6-25F8AB3535BD}"/>
              </a:ext>
            </a:extLst>
          </p:cNvPr>
          <p:cNvSpPr txBox="1"/>
          <p:nvPr/>
        </p:nvSpPr>
        <p:spPr>
          <a:xfrm>
            <a:off x="4687790" y="6187359"/>
            <a:ext cx="1147665" cy="338554"/>
          </a:xfrm>
          <a:prstGeom prst="rect">
            <a:avLst/>
          </a:prstGeom>
          <a:noFill/>
        </p:spPr>
        <p:txBody>
          <a:bodyPr wrap="square" rtlCol="0">
            <a:spAutoFit/>
          </a:bodyPr>
          <a:lstStyle/>
          <a:p>
            <a:r>
              <a:rPr lang="en-US" sz="1600" i="1"/>
              <a:t>Fatal</a:t>
            </a:r>
          </a:p>
        </p:txBody>
      </p:sp>
      <p:pic>
        <p:nvPicPr>
          <p:cNvPr id="36" name="Graphic 35" descr="Needle with solid fill">
            <a:extLst>
              <a:ext uri="{FF2B5EF4-FFF2-40B4-BE49-F238E27FC236}">
                <a16:creationId xmlns:a16="http://schemas.microsoft.com/office/drawing/2014/main" id="{EF25B24C-57A0-AE9D-90FD-839E98210B4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10800000">
            <a:off x="988533" y="5913347"/>
            <a:ext cx="613420" cy="613420"/>
          </a:xfrm>
          <a:prstGeom prst="rect">
            <a:avLst/>
          </a:prstGeom>
        </p:spPr>
      </p:pic>
      <p:pic>
        <p:nvPicPr>
          <p:cNvPr id="38" name="Graphic 37" descr="Skull with solid fill">
            <a:extLst>
              <a:ext uri="{FF2B5EF4-FFF2-40B4-BE49-F238E27FC236}">
                <a16:creationId xmlns:a16="http://schemas.microsoft.com/office/drawing/2014/main" id="{11FF913A-D315-8DB8-FB06-E27B38845E55}"/>
              </a:ext>
            </a:extLst>
          </p:cNvPr>
          <p:cNvPicPr>
            <a:picLocks noGrp="1" noRot="1" noChangeAspect="1" noMove="1" noResize="1" noEditPoints="1" noAdjustHandles="1" noChangeArrowheads="1" noChangeShapeType="1" noCrop="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136834" y="5936822"/>
            <a:ext cx="613421" cy="613421"/>
          </a:xfrm>
          <a:prstGeom prst="rect">
            <a:avLst/>
          </a:prstGeom>
        </p:spPr>
      </p:pic>
      <p:pic>
        <p:nvPicPr>
          <p:cNvPr id="40" name="Picture 39" descr="A blue silhouette of a dog and a dog&#10;&#10;Description automatically generated with medium confidence">
            <a:extLst>
              <a:ext uri="{FF2B5EF4-FFF2-40B4-BE49-F238E27FC236}">
                <a16:creationId xmlns:a16="http://schemas.microsoft.com/office/drawing/2014/main" id="{9D04A2F2-D46E-6E2B-A039-16600596BF10}"/>
              </a:ext>
            </a:extLst>
          </p:cNvPr>
          <p:cNvPicPr>
            <a:picLocks noChangeAspect="1"/>
          </p:cNvPicPr>
          <p:nvPr/>
        </p:nvPicPr>
        <p:blipFill rotWithShape="1">
          <a:blip r:embed="rId6">
            <a:extLst>
              <a:ext uri="{28A0092B-C50C-407E-A947-70E740481C1C}">
                <a14:useLocalDpi xmlns:a14="http://schemas.microsoft.com/office/drawing/2010/main" val="0"/>
              </a:ext>
            </a:extLst>
          </a:blip>
          <a:srcRect l="117" t="75853" r="87225" b="-73152"/>
          <a:stretch/>
        </p:blipFill>
        <p:spPr>
          <a:xfrm>
            <a:off x="23912" y="4478603"/>
            <a:ext cx="817266" cy="2672731"/>
          </a:xfrm>
          <a:prstGeom prst="rect">
            <a:avLst/>
          </a:prstGeom>
        </p:spPr>
      </p:pic>
      <p:cxnSp>
        <p:nvCxnSpPr>
          <p:cNvPr id="42" name="Straight Connector 41">
            <a:extLst>
              <a:ext uri="{FF2B5EF4-FFF2-40B4-BE49-F238E27FC236}">
                <a16:creationId xmlns:a16="http://schemas.microsoft.com/office/drawing/2014/main" id="{C07F17CB-4E08-0AD5-5CE9-FFF9A1A94A9F}"/>
              </a:ext>
            </a:extLst>
          </p:cNvPr>
          <p:cNvCxnSpPr>
            <a:cxnSpLocks/>
          </p:cNvCxnSpPr>
          <p:nvPr/>
        </p:nvCxnSpPr>
        <p:spPr>
          <a:xfrm flipH="1">
            <a:off x="6781021" y="2330308"/>
            <a:ext cx="1" cy="2337086"/>
          </a:xfrm>
          <a:prstGeom prst="line">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D385C103-C74B-9525-7DDB-DDE7D6A705CB}"/>
              </a:ext>
            </a:extLst>
          </p:cNvPr>
          <p:cNvCxnSpPr/>
          <p:nvPr/>
        </p:nvCxnSpPr>
        <p:spPr>
          <a:xfrm flipH="1">
            <a:off x="8987710" y="2315263"/>
            <a:ext cx="1" cy="2337086"/>
          </a:xfrm>
          <a:prstGeom prst="line">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1FE6C10D-F6F7-4A54-9359-65EBC3D6C55C}"/>
              </a:ext>
            </a:extLst>
          </p:cNvPr>
          <p:cNvCxnSpPr>
            <a:cxnSpLocks/>
            <a:stCxn id="16" idx="2"/>
          </p:cNvCxnSpPr>
          <p:nvPr/>
        </p:nvCxnSpPr>
        <p:spPr>
          <a:xfrm>
            <a:off x="10896092" y="2099475"/>
            <a:ext cx="9059" cy="2538665"/>
          </a:xfrm>
          <a:prstGeom prst="line">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AB23C3D8-4A82-2754-A6AC-965620810492}"/>
              </a:ext>
            </a:extLst>
          </p:cNvPr>
          <p:cNvCxnSpPr>
            <a:cxnSpLocks/>
          </p:cNvCxnSpPr>
          <p:nvPr/>
        </p:nvCxnSpPr>
        <p:spPr>
          <a:xfrm>
            <a:off x="1033483" y="4085805"/>
            <a:ext cx="4892" cy="566544"/>
          </a:xfrm>
          <a:prstGeom prst="line">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B7FD840D-A16B-7AFA-599C-DC05EF937758}"/>
              </a:ext>
            </a:extLst>
          </p:cNvPr>
          <p:cNvCxnSpPr>
            <a:cxnSpLocks/>
          </p:cNvCxnSpPr>
          <p:nvPr/>
        </p:nvCxnSpPr>
        <p:spPr>
          <a:xfrm>
            <a:off x="3973748" y="4095846"/>
            <a:ext cx="4892" cy="566544"/>
          </a:xfrm>
          <a:prstGeom prst="line">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A7046DEA-181E-06F6-94CE-477ED71A6FDF}"/>
              </a:ext>
            </a:extLst>
          </p:cNvPr>
          <p:cNvCxnSpPr>
            <a:cxnSpLocks/>
          </p:cNvCxnSpPr>
          <p:nvPr/>
        </p:nvCxnSpPr>
        <p:spPr>
          <a:xfrm>
            <a:off x="3036336" y="3067124"/>
            <a:ext cx="3744685" cy="13947"/>
          </a:xfrm>
          <a:prstGeom prst="line">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4DC4596C-30AD-12E5-16C0-0B44DDE41893}"/>
              </a:ext>
            </a:extLst>
          </p:cNvPr>
          <p:cNvCxnSpPr>
            <a:cxnSpLocks/>
          </p:cNvCxnSpPr>
          <p:nvPr/>
        </p:nvCxnSpPr>
        <p:spPr>
          <a:xfrm flipH="1">
            <a:off x="3036336" y="2930039"/>
            <a:ext cx="1" cy="137085"/>
          </a:xfrm>
          <a:prstGeom prst="line">
            <a:avLst/>
          </a:prstGeom>
          <a:ln w="1270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7" name="Rectangle 6">
            <a:extLst>
              <a:ext uri="{FF2B5EF4-FFF2-40B4-BE49-F238E27FC236}">
                <a16:creationId xmlns:a16="http://schemas.microsoft.com/office/drawing/2014/main" id="{EDC459A6-A7F1-22F6-4589-BF87909F099C}"/>
              </a:ext>
            </a:extLst>
          </p:cNvPr>
          <p:cNvSpPr/>
          <p:nvPr/>
        </p:nvSpPr>
        <p:spPr>
          <a:xfrm>
            <a:off x="3756059" y="4257980"/>
            <a:ext cx="99593" cy="2510118"/>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Flowchart: Connector 23">
            <a:extLst>
              <a:ext uri="{FF2B5EF4-FFF2-40B4-BE49-F238E27FC236}">
                <a16:creationId xmlns:a16="http://schemas.microsoft.com/office/drawing/2014/main" id="{98B8A6A1-87B8-48B5-C4C7-15253761D1E7}"/>
              </a:ext>
            </a:extLst>
          </p:cNvPr>
          <p:cNvSpPr/>
          <p:nvPr/>
        </p:nvSpPr>
        <p:spPr>
          <a:xfrm>
            <a:off x="3828661" y="4660633"/>
            <a:ext cx="345233" cy="307910"/>
          </a:xfrm>
          <a:prstGeom prst="flowChartConnector">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1591753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AA9ABAD9-0209-0941-A501-739ADC6FC195}"/>
              </a:ext>
            </a:extLst>
          </p:cNvPr>
          <p:cNvSpPr/>
          <p:nvPr/>
        </p:nvSpPr>
        <p:spPr>
          <a:xfrm>
            <a:off x="1388378" y="1943100"/>
            <a:ext cx="1270000" cy="1270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white"/>
              </a:solidFill>
              <a:effectLst/>
              <a:uLnTx/>
              <a:uFillTx/>
              <a:latin typeface="Lato Light" panose="020F0502020204030203" pitchFamily="34" charset="0"/>
              <a:ea typeface="+mn-ea"/>
              <a:cs typeface="+mn-cs"/>
            </a:endParaRPr>
          </a:p>
        </p:txBody>
      </p:sp>
      <p:sp>
        <p:nvSpPr>
          <p:cNvPr id="6" name="Oval 5">
            <a:extLst>
              <a:ext uri="{FF2B5EF4-FFF2-40B4-BE49-F238E27FC236}">
                <a16:creationId xmlns:a16="http://schemas.microsoft.com/office/drawing/2014/main" id="{C053377A-65D8-914E-B3F5-6F2E43D25CD3}"/>
              </a:ext>
            </a:extLst>
          </p:cNvPr>
          <p:cNvSpPr/>
          <p:nvPr/>
        </p:nvSpPr>
        <p:spPr>
          <a:xfrm>
            <a:off x="3424689" y="1943100"/>
            <a:ext cx="1270000" cy="127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white"/>
              </a:solidFill>
              <a:effectLst/>
              <a:uLnTx/>
              <a:uFillTx/>
              <a:latin typeface="Lato Light" panose="020F0502020204030203" pitchFamily="34" charset="0"/>
              <a:ea typeface="+mn-ea"/>
              <a:cs typeface="+mn-cs"/>
            </a:endParaRPr>
          </a:p>
        </p:txBody>
      </p:sp>
      <p:sp>
        <p:nvSpPr>
          <p:cNvPr id="9" name="Oval 8">
            <a:extLst>
              <a:ext uri="{FF2B5EF4-FFF2-40B4-BE49-F238E27FC236}">
                <a16:creationId xmlns:a16="http://schemas.microsoft.com/office/drawing/2014/main" id="{FFDF1DBE-D5AC-1A47-9E58-1CDDBDF570BE}"/>
              </a:ext>
            </a:extLst>
          </p:cNvPr>
          <p:cNvSpPr/>
          <p:nvPr/>
        </p:nvSpPr>
        <p:spPr>
          <a:xfrm>
            <a:off x="5461000" y="1943100"/>
            <a:ext cx="1270000" cy="127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white"/>
              </a:solidFill>
              <a:effectLst/>
              <a:uLnTx/>
              <a:uFillTx/>
              <a:latin typeface="Lato Light" panose="020F0502020204030203" pitchFamily="34" charset="0"/>
              <a:ea typeface="+mn-ea"/>
              <a:cs typeface="+mn-cs"/>
            </a:endParaRPr>
          </a:p>
        </p:txBody>
      </p:sp>
      <p:sp>
        <p:nvSpPr>
          <p:cNvPr id="12" name="Oval 11">
            <a:extLst>
              <a:ext uri="{FF2B5EF4-FFF2-40B4-BE49-F238E27FC236}">
                <a16:creationId xmlns:a16="http://schemas.microsoft.com/office/drawing/2014/main" id="{FC015D9B-F52B-A644-83FB-82581E092745}"/>
              </a:ext>
            </a:extLst>
          </p:cNvPr>
          <p:cNvSpPr/>
          <p:nvPr/>
        </p:nvSpPr>
        <p:spPr>
          <a:xfrm>
            <a:off x="7497311" y="1943100"/>
            <a:ext cx="1270000" cy="1270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white"/>
              </a:solidFill>
              <a:effectLst/>
              <a:uLnTx/>
              <a:uFillTx/>
              <a:latin typeface="Lato Light" panose="020F0502020204030203" pitchFamily="34" charset="0"/>
              <a:ea typeface="+mn-ea"/>
              <a:cs typeface="+mn-cs"/>
            </a:endParaRPr>
          </a:p>
        </p:txBody>
      </p:sp>
      <p:sp>
        <p:nvSpPr>
          <p:cNvPr id="15" name="Oval 14">
            <a:extLst>
              <a:ext uri="{FF2B5EF4-FFF2-40B4-BE49-F238E27FC236}">
                <a16:creationId xmlns:a16="http://schemas.microsoft.com/office/drawing/2014/main" id="{70DCDCA1-A720-4F4F-87E6-85E9DFFDBA43}"/>
              </a:ext>
            </a:extLst>
          </p:cNvPr>
          <p:cNvSpPr/>
          <p:nvPr/>
        </p:nvSpPr>
        <p:spPr>
          <a:xfrm>
            <a:off x="9533622" y="1943100"/>
            <a:ext cx="1270000" cy="12700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white"/>
              </a:solidFill>
              <a:effectLst/>
              <a:uLnTx/>
              <a:uFillTx/>
              <a:latin typeface="Lato Light" panose="020F0502020204030203" pitchFamily="34" charset="0"/>
              <a:ea typeface="+mn-ea"/>
              <a:cs typeface="+mn-cs"/>
            </a:endParaRPr>
          </a:p>
        </p:txBody>
      </p:sp>
      <p:sp>
        <p:nvSpPr>
          <p:cNvPr id="26" name="Right Arrow 25">
            <a:extLst>
              <a:ext uri="{FF2B5EF4-FFF2-40B4-BE49-F238E27FC236}">
                <a16:creationId xmlns:a16="http://schemas.microsoft.com/office/drawing/2014/main" id="{D95F8E14-5408-C249-A91F-C8DD09C5E2DE}"/>
              </a:ext>
            </a:extLst>
          </p:cNvPr>
          <p:cNvSpPr/>
          <p:nvPr/>
        </p:nvSpPr>
        <p:spPr>
          <a:xfrm>
            <a:off x="8907245" y="1345904"/>
            <a:ext cx="2522755" cy="516194"/>
          </a:xfrm>
          <a:prstGeom prst="rightArrow">
            <a:avLst>
              <a:gd name="adj1" fmla="val 50000"/>
              <a:gd name="adj2" fmla="val 62857"/>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white"/>
              </a:solidFill>
              <a:effectLst/>
              <a:uLnTx/>
              <a:uFillTx/>
              <a:latin typeface="Lato Light" panose="020F0502020204030203" pitchFamily="34" charset="0"/>
              <a:ea typeface="+mn-ea"/>
              <a:cs typeface="+mn-cs"/>
            </a:endParaRPr>
          </a:p>
        </p:txBody>
      </p:sp>
      <p:sp>
        <p:nvSpPr>
          <p:cNvPr id="25" name="Right Arrow 24">
            <a:extLst>
              <a:ext uri="{FF2B5EF4-FFF2-40B4-BE49-F238E27FC236}">
                <a16:creationId xmlns:a16="http://schemas.microsoft.com/office/drawing/2014/main" id="{A4BE2AF1-717A-8346-8125-7E2AA45E613A}"/>
              </a:ext>
            </a:extLst>
          </p:cNvPr>
          <p:cNvSpPr/>
          <p:nvPr/>
        </p:nvSpPr>
        <p:spPr>
          <a:xfrm>
            <a:off x="6870934" y="1345904"/>
            <a:ext cx="2522755" cy="516194"/>
          </a:xfrm>
          <a:prstGeom prst="rightArrow">
            <a:avLst>
              <a:gd name="adj1" fmla="val 50000"/>
              <a:gd name="adj2" fmla="val 62857"/>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white"/>
              </a:solidFill>
              <a:effectLst/>
              <a:uLnTx/>
              <a:uFillTx/>
              <a:latin typeface="Lato Light" panose="020F0502020204030203" pitchFamily="34" charset="0"/>
              <a:ea typeface="+mn-ea"/>
              <a:cs typeface="+mn-cs"/>
            </a:endParaRPr>
          </a:p>
        </p:txBody>
      </p:sp>
      <p:sp>
        <p:nvSpPr>
          <p:cNvPr id="24" name="Right Arrow 23">
            <a:extLst>
              <a:ext uri="{FF2B5EF4-FFF2-40B4-BE49-F238E27FC236}">
                <a16:creationId xmlns:a16="http://schemas.microsoft.com/office/drawing/2014/main" id="{C5CFC9C1-FBE0-0F4C-A705-C2FD6591F28E}"/>
              </a:ext>
            </a:extLst>
          </p:cNvPr>
          <p:cNvSpPr/>
          <p:nvPr/>
        </p:nvSpPr>
        <p:spPr>
          <a:xfrm>
            <a:off x="4834623" y="1345904"/>
            <a:ext cx="2522755" cy="516194"/>
          </a:xfrm>
          <a:prstGeom prst="rightArrow">
            <a:avLst>
              <a:gd name="adj1" fmla="val 50000"/>
              <a:gd name="adj2" fmla="val 62857"/>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white"/>
              </a:solidFill>
              <a:effectLst/>
              <a:uLnTx/>
              <a:uFillTx/>
              <a:latin typeface="Lato Light" panose="020F0502020204030203" pitchFamily="34" charset="0"/>
              <a:ea typeface="+mn-ea"/>
              <a:cs typeface="+mn-cs"/>
            </a:endParaRPr>
          </a:p>
        </p:txBody>
      </p:sp>
      <p:sp>
        <p:nvSpPr>
          <p:cNvPr id="23" name="Right Arrow 22">
            <a:extLst>
              <a:ext uri="{FF2B5EF4-FFF2-40B4-BE49-F238E27FC236}">
                <a16:creationId xmlns:a16="http://schemas.microsoft.com/office/drawing/2014/main" id="{76290C3E-76B5-614D-81E7-7184A32C35A7}"/>
              </a:ext>
            </a:extLst>
          </p:cNvPr>
          <p:cNvSpPr/>
          <p:nvPr/>
        </p:nvSpPr>
        <p:spPr>
          <a:xfrm>
            <a:off x="2798312" y="1345904"/>
            <a:ext cx="2522755" cy="516194"/>
          </a:xfrm>
          <a:prstGeom prst="rightArrow">
            <a:avLst>
              <a:gd name="adj1" fmla="val 50000"/>
              <a:gd name="adj2" fmla="val 6285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white"/>
              </a:solidFill>
              <a:effectLst/>
              <a:uLnTx/>
              <a:uFillTx/>
              <a:latin typeface="Lato Light" panose="020F0502020204030203" pitchFamily="34" charset="0"/>
              <a:ea typeface="+mn-ea"/>
              <a:cs typeface="+mn-cs"/>
            </a:endParaRPr>
          </a:p>
        </p:txBody>
      </p:sp>
      <p:sp>
        <p:nvSpPr>
          <p:cNvPr id="22" name="Right Arrow 21">
            <a:extLst>
              <a:ext uri="{FF2B5EF4-FFF2-40B4-BE49-F238E27FC236}">
                <a16:creationId xmlns:a16="http://schemas.microsoft.com/office/drawing/2014/main" id="{5FA66624-D2F1-D448-9F50-248494B1710F}"/>
              </a:ext>
            </a:extLst>
          </p:cNvPr>
          <p:cNvSpPr/>
          <p:nvPr/>
        </p:nvSpPr>
        <p:spPr>
          <a:xfrm>
            <a:off x="762001" y="1345904"/>
            <a:ext cx="2522755" cy="516194"/>
          </a:xfrm>
          <a:prstGeom prst="rightArrow">
            <a:avLst>
              <a:gd name="adj1" fmla="val 50000"/>
              <a:gd name="adj2" fmla="val 6285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white"/>
              </a:solidFill>
              <a:effectLst/>
              <a:uLnTx/>
              <a:uFillTx/>
              <a:latin typeface="Lato Light" panose="020F0502020204030203" pitchFamily="34" charset="0"/>
              <a:ea typeface="+mn-ea"/>
              <a:cs typeface="+mn-cs"/>
            </a:endParaRPr>
          </a:p>
        </p:txBody>
      </p:sp>
      <p:sp>
        <p:nvSpPr>
          <p:cNvPr id="33" name="Subtitle 2">
            <a:extLst>
              <a:ext uri="{FF2B5EF4-FFF2-40B4-BE49-F238E27FC236}">
                <a16:creationId xmlns:a16="http://schemas.microsoft.com/office/drawing/2014/main" id="{FFA7C126-371A-1B4C-9E87-C579FBA91D83}"/>
              </a:ext>
            </a:extLst>
          </p:cNvPr>
          <p:cNvSpPr txBox="1">
            <a:spLocks/>
          </p:cNvSpPr>
          <p:nvPr/>
        </p:nvSpPr>
        <p:spPr>
          <a:xfrm>
            <a:off x="1083859" y="3356164"/>
            <a:ext cx="1859820" cy="507831"/>
          </a:xfrm>
          <a:prstGeom prst="rect">
            <a:avLst/>
          </a:prstGeom>
        </p:spPr>
        <p:txBody>
          <a:bodyPr vert="horz" wrap="square" lIns="45720" tIns="22860" rIns="45720" bIns="2286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ctr" defTabSz="1087636" rtl="0" eaLnBrk="1" fontAlgn="auto" latinLnBrk="0" hangingPunct="1">
              <a:lnSpc>
                <a:spcPts val="1750"/>
              </a:lnSpc>
              <a:spcBef>
                <a:spcPct val="20000"/>
              </a:spcBef>
              <a:spcAft>
                <a:spcPts val="0"/>
              </a:spcAft>
              <a:buClrTx/>
              <a:buSzTx/>
              <a:buFont typeface="Arial"/>
              <a:buNone/>
              <a:tabLst/>
              <a:defRPr/>
            </a:pPr>
            <a:r>
              <a:rPr kumimoji="0" lang="en-US" sz="1600" b="0" i="0" u="none" strike="noStrike" kern="1200" cap="none" spc="0" normalizeH="0" baseline="0" noProof="0" dirty="0">
                <a:ln>
                  <a:noFill/>
                </a:ln>
                <a:solidFill>
                  <a:srgbClr val="191B0E"/>
                </a:solidFill>
                <a:effectLst/>
                <a:uLnTx/>
                <a:uFillTx/>
                <a:latin typeface="Open Sans Light"/>
                <a:ea typeface="+mn-ea"/>
                <a:cs typeface="Open Sans Light"/>
              </a:rPr>
              <a:t>human and animal surveillance</a:t>
            </a:r>
            <a:endParaRPr kumimoji="0" lang="en-US" sz="1600" b="0" i="0" u="none" strike="noStrike" kern="1200" cap="none" spc="0" normalizeH="0" baseline="0" noProof="0" dirty="0">
              <a:ln>
                <a:noFill/>
              </a:ln>
              <a:solidFill>
                <a:prstClr val="black"/>
              </a:solidFill>
              <a:effectLst/>
              <a:uLnTx/>
              <a:uFillTx/>
              <a:latin typeface="Lato Light" panose="020F0502020204030203" pitchFamily="34" charset="0"/>
              <a:ea typeface="Lato Light" panose="020F0502020204030203" pitchFamily="34" charset="0"/>
              <a:cs typeface="Mukta ExtraLight" panose="020B0000000000000000" pitchFamily="34" charset="77"/>
            </a:endParaRPr>
          </a:p>
        </p:txBody>
      </p:sp>
      <p:sp>
        <p:nvSpPr>
          <p:cNvPr id="34" name="Subtitle 2">
            <a:extLst>
              <a:ext uri="{FF2B5EF4-FFF2-40B4-BE49-F238E27FC236}">
                <a16:creationId xmlns:a16="http://schemas.microsoft.com/office/drawing/2014/main" id="{44E5C19F-1A20-1E44-943A-E3DC89E4102E}"/>
              </a:ext>
            </a:extLst>
          </p:cNvPr>
          <p:cNvSpPr txBox="1">
            <a:spLocks/>
          </p:cNvSpPr>
          <p:nvPr/>
        </p:nvSpPr>
        <p:spPr>
          <a:xfrm>
            <a:off x="3284755" y="3294102"/>
            <a:ext cx="1695234" cy="544957"/>
          </a:xfrm>
          <a:prstGeom prst="rect">
            <a:avLst/>
          </a:prstGeom>
        </p:spPr>
        <p:txBody>
          <a:bodyPr vert="horz" wrap="square" lIns="45720" tIns="22860" rIns="45720" bIns="2286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ctr" defTabSz="1087636" rtl="0" eaLnBrk="1" fontAlgn="auto" latinLnBrk="0" hangingPunct="1">
              <a:lnSpc>
                <a:spcPct val="120000"/>
              </a:lnSpc>
              <a:spcBef>
                <a:spcPct val="20000"/>
              </a:spcBef>
              <a:spcAft>
                <a:spcPts val="0"/>
              </a:spcAft>
              <a:buClrTx/>
              <a:buSzTx/>
              <a:buFont typeface="Arial"/>
              <a:buNone/>
              <a:tabLst/>
              <a:defRPr/>
            </a:pPr>
            <a:r>
              <a:rPr kumimoji="0" lang="en-US" sz="1400" b="1" i="0" u="none" strike="noStrike" kern="1200" cap="none" spc="0" normalizeH="0" baseline="0" noProof="0" dirty="0">
                <a:ln>
                  <a:noFill/>
                </a:ln>
                <a:solidFill>
                  <a:srgbClr val="191B0E"/>
                </a:solidFill>
                <a:effectLst/>
                <a:uLnTx/>
                <a:uFillTx/>
                <a:latin typeface="Open Sans Light"/>
                <a:ea typeface="+mn-ea"/>
                <a:cs typeface="Open Sans Light"/>
              </a:rPr>
              <a:t>Identifying  high-risk populations</a:t>
            </a:r>
          </a:p>
        </p:txBody>
      </p:sp>
      <p:sp>
        <p:nvSpPr>
          <p:cNvPr id="35" name="Subtitle 2">
            <a:extLst>
              <a:ext uri="{FF2B5EF4-FFF2-40B4-BE49-F238E27FC236}">
                <a16:creationId xmlns:a16="http://schemas.microsoft.com/office/drawing/2014/main" id="{242E36E2-531E-0C49-A3E5-629E8E090A3D}"/>
              </a:ext>
            </a:extLst>
          </p:cNvPr>
          <p:cNvSpPr txBox="1">
            <a:spLocks/>
          </p:cNvSpPr>
          <p:nvPr/>
        </p:nvSpPr>
        <p:spPr>
          <a:xfrm>
            <a:off x="5321065" y="3294102"/>
            <a:ext cx="1695235" cy="507831"/>
          </a:xfrm>
          <a:prstGeom prst="rect">
            <a:avLst/>
          </a:prstGeom>
        </p:spPr>
        <p:txBody>
          <a:bodyPr vert="horz" wrap="square" lIns="45720" tIns="22860" rIns="45720" bIns="2286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ctr" defTabSz="1087636" rtl="0" eaLnBrk="1" fontAlgn="auto" latinLnBrk="0" hangingPunct="1">
              <a:lnSpc>
                <a:spcPts val="1750"/>
              </a:lnSpc>
              <a:spcBef>
                <a:spcPct val="20000"/>
              </a:spcBef>
              <a:spcAft>
                <a:spcPts val="0"/>
              </a:spcAft>
              <a:buClrTx/>
              <a:buSzTx/>
              <a:buFont typeface="Arial"/>
              <a:buNone/>
              <a:tabLst/>
              <a:defRPr/>
            </a:pPr>
            <a:r>
              <a:rPr kumimoji="0" lang="en-US" sz="1600" b="1" i="0" u="none" strike="noStrike" kern="1200" cap="none" spc="0" normalizeH="0" baseline="0" noProof="0" dirty="0">
                <a:ln>
                  <a:noFill/>
                </a:ln>
                <a:solidFill>
                  <a:srgbClr val="191B0E"/>
                </a:solidFill>
                <a:effectLst/>
                <a:uLnTx/>
                <a:uFillTx/>
                <a:latin typeface="Open Sans Light"/>
                <a:ea typeface="+mn-ea"/>
                <a:cs typeface="Open Sans Light"/>
              </a:rPr>
              <a:t>vaccine forecasting</a:t>
            </a:r>
            <a:endParaRPr kumimoji="0" lang="en-US" sz="1600" b="1" i="0" u="none" strike="noStrike" kern="1200" cap="none" spc="0" normalizeH="0" baseline="0" noProof="0" dirty="0">
              <a:ln>
                <a:noFill/>
              </a:ln>
              <a:solidFill>
                <a:prstClr val="black"/>
              </a:solidFill>
              <a:effectLst/>
              <a:uLnTx/>
              <a:uFillTx/>
              <a:latin typeface="Lato Light" panose="020F0502020204030203" pitchFamily="34" charset="0"/>
              <a:ea typeface="Lato Light" panose="020F0502020204030203" pitchFamily="34" charset="0"/>
              <a:cs typeface="Mukta ExtraLight" panose="020B0000000000000000" pitchFamily="34" charset="77"/>
            </a:endParaRPr>
          </a:p>
        </p:txBody>
      </p:sp>
      <p:sp>
        <p:nvSpPr>
          <p:cNvPr id="36" name="Subtitle 2">
            <a:extLst>
              <a:ext uri="{FF2B5EF4-FFF2-40B4-BE49-F238E27FC236}">
                <a16:creationId xmlns:a16="http://schemas.microsoft.com/office/drawing/2014/main" id="{C9C06CDA-A676-6842-ACB3-A26AF32D5F0E}"/>
              </a:ext>
            </a:extLst>
          </p:cNvPr>
          <p:cNvSpPr txBox="1">
            <a:spLocks/>
          </p:cNvSpPr>
          <p:nvPr/>
        </p:nvSpPr>
        <p:spPr>
          <a:xfrm>
            <a:off x="7377938" y="3280786"/>
            <a:ext cx="1674674" cy="507831"/>
          </a:xfrm>
          <a:prstGeom prst="rect">
            <a:avLst/>
          </a:prstGeom>
        </p:spPr>
        <p:txBody>
          <a:bodyPr vert="horz" wrap="square" lIns="45720" tIns="22860" rIns="45720" bIns="2286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ctr" defTabSz="1087636" rtl="0" eaLnBrk="1" fontAlgn="auto" latinLnBrk="0" hangingPunct="1">
              <a:lnSpc>
                <a:spcPts val="1750"/>
              </a:lnSpc>
              <a:spcBef>
                <a:spcPct val="20000"/>
              </a:spcBef>
              <a:spcAft>
                <a:spcPts val="0"/>
              </a:spcAft>
              <a:buClrTx/>
              <a:buSzTx/>
              <a:buFont typeface="Arial"/>
              <a:buNone/>
              <a:tabLst/>
              <a:defRPr/>
            </a:pPr>
            <a:r>
              <a:rPr kumimoji="0" lang="en-US" sz="1600" b="1" i="0" u="none" strike="noStrike" kern="1200" cap="none" spc="0" normalizeH="0" baseline="0" noProof="0" dirty="0">
                <a:ln>
                  <a:noFill/>
                </a:ln>
                <a:solidFill>
                  <a:srgbClr val="191B0E"/>
                </a:solidFill>
                <a:effectLst/>
                <a:uLnTx/>
                <a:uFillTx/>
                <a:latin typeface="Open Sans Light"/>
                <a:ea typeface="+mn-ea"/>
                <a:cs typeface="Open Sans Light"/>
              </a:rPr>
              <a:t>efficient use of rabies PEP</a:t>
            </a:r>
            <a:endParaRPr kumimoji="0" lang="en-US" sz="1600" b="1" i="0" u="none" strike="noStrike" kern="1200" cap="none" spc="0" normalizeH="0" baseline="0" noProof="0" dirty="0">
              <a:ln>
                <a:noFill/>
              </a:ln>
              <a:solidFill>
                <a:prstClr val="black"/>
              </a:solidFill>
              <a:effectLst/>
              <a:uLnTx/>
              <a:uFillTx/>
              <a:latin typeface="Lato Light" panose="020F0502020204030203" pitchFamily="34" charset="0"/>
              <a:ea typeface="Lato Light" panose="020F0502020204030203" pitchFamily="34" charset="0"/>
              <a:cs typeface="Mukta ExtraLight" panose="020B0000000000000000" pitchFamily="34" charset="77"/>
            </a:endParaRPr>
          </a:p>
        </p:txBody>
      </p:sp>
      <p:sp>
        <p:nvSpPr>
          <p:cNvPr id="37" name="Subtitle 2">
            <a:extLst>
              <a:ext uri="{FF2B5EF4-FFF2-40B4-BE49-F238E27FC236}">
                <a16:creationId xmlns:a16="http://schemas.microsoft.com/office/drawing/2014/main" id="{20F373D7-7B62-A84C-B10C-32904B54FC93}"/>
              </a:ext>
            </a:extLst>
          </p:cNvPr>
          <p:cNvSpPr txBox="1">
            <a:spLocks/>
          </p:cNvSpPr>
          <p:nvPr/>
        </p:nvSpPr>
        <p:spPr>
          <a:xfrm>
            <a:off x="9393687" y="3123277"/>
            <a:ext cx="1695235" cy="784830"/>
          </a:xfrm>
          <a:prstGeom prst="rect">
            <a:avLst/>
          </a:prstGeom>
        </p:spPr>
        <p:txBody>
          <a:bodyPr vert="horz" wrap="square" lIns="45720" tIns="22860" rIns="45720" bIns="2286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0" marR="0" lvl="0" indent="0" algn="ctr" defTabSz="1087636" rtl="0" eaLnBrk="1" fontAlgn="auto" latinLnBrk="0" hangingPunct="1">
              <a:lnSpc>
                <a:spcPct val="100000"/>
              </a:lnSpc>
              <a:spcBef>
                <a:spcPct val="20000"/>
              </a:spcBef>
              <a:spcAft>
                <a:spcPts val="0"/>
              </a:spcAft>
              <a:buClrTx/>
              <a:buSzTx/>
              <a:buFont typeface="Arial"/>
              <a:buNone/>
              <a:tabLst/>
              <a:defRPr/>
            </a:pPr>
            <a:r>
              <a:rPr kumimoji="0" lang="en-US" sz="1600" b="1" i="0" u="none" strike="noStrike" kern="1200" cap="none" spc="0" normalizeH="0" baseline="0" noProof="0" dirty="0">
                <a:ln>
                  <a:noFill/>
                </a:ln>
                <a:solidFill>
                  <a:srgbClr val="191B0E"/>
                </a:solidFill>
                <a:effectLst/>
                <a:uLnTx/>
                <a:uFillTx/>
                <a:latin typeface="Open Sans Light"/>
                <a:ea typeface="+mn-ea"/>
                <a:cs typeface="Open Sans Light"/>
              </a:rPr>
              <a:t>collaboration with animal health sector</a:t>
            </a:r>
          </a:p>
        </p:txBody>
      </p:sp>
      <p:sp>
        <p:nvSpPr>
          <p:cNvPr id="39" name="TextBox 38">
            <a:extLst>
              <a:ext uri="{FF2B5EF4-FFF2-40B4-BE49-F238E27FC236}">
                <a16:creationId xmlns:a16="http://schemas.microsoft.com/office/drawing/2014/main" id="{536AB451-7FBD-864E-A583-FBF513FEFA04}"/>
              </a:ext>
            </a:extLst>
          </p:cNvPr>
          <p:cNvSpPr txBox="1"/>
          <p:nvPr/>
        </p:nvSpPr>
        <p:spPr>
          <a:xfrm>
            <a:off x="3754687" y="306186"/>
            <a:ext cx="4682693" cy="553998"/>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noProof="0" dirty="0">
                <a:ln>
                  <a:noFill/>
                </a:ln>
                <a:solidFill>
                  <a:srgbClr val="191B0E"/>
                </a:solidFill>
                <a:effectLst/>
                <a:uLnTx/>
                <a:uFillTx/>
                <a:latin typeface="Poppins" pitchFamily="2" charset="77"/>
                <a:ea typeface="+mn-ea"/>
                <a:cs typeface="Poppins" pitchFamily="2" charset="77"/>
              </a:rPr>
              <a:t>Remaining Challenges</a:t>
            </a:r>
          </a:p>
        </p:txBody>
      </p:sp>
      <p:pic>
        <p:nvPicPr>
          <p:cNvPr id="4" name="Picture 3">
            <a:extLst>
              <a:ext uri="{FF2B5EF4-FFF2-40B4-BE49-F238E27FC236}">
                <a16:creationId xmlns:a16="http://schemas.microsoft.com/office/drawing/2014/main" id="{C382DDE5-41CF-B7E1-28B1-4EEF254A1E7A}"/>
              </a:ext>
            </a:extLst>
          </p:cNvPr>
          <p:cNvPicPr>
            <a:picLocks noChangeAspect="1"/>
          </p:cNvPicPr>
          <p:nvPr/>
        </p:nvPicPr>
        <p:blipFill>
          <a:blip r:embed="rId2"/>
          <a:stretch>
            <a:fillRect/>
          </a:stretch>
        </p:blipFill>
        <p:spPr>
          <a:xfrm>
            <a:off x="4315503" y="4634076"/>
            <a:ext cx="2555431" cy="1533259"/>
          </a:xfrm>
          <a:prstGeom prst="rect">
            <a:avLst/>
          </a:prstGeom>
        </p:spPr>
      </p:pic>
    </p:spTree>
    <p:extLst>
      <p:ext uri="{BB962C8B-B14F-4D97-AF65-F5344CB8AC3E}">
        <p14:creationId xmlns:p14="http://schemas.microsoft.com/office/powerpoint/2010/main" val="104427853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2295728" y="241013"/>
            <a:ext cx="8372271" cy="52322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Conclusion</a:t>
            </a:r>
          </a:p>
        </p:txBody>
      </p:sp>
      <p:cxnSp>
        <p:nvCxnSpPr>
          <p:cNvPr id="16" name="Straight Connector 15"/>
          <p:cNvCxnSpPr/>
          <p:nvPr/>
        </p:nvCxnSpPr>
        <p:spPr>
          <a:xfrm>
            <a:off x="389554" y="828968"/>
            <a:ext cx="11412893" cy="0"/>
          </a:xfrm>
          <a:prstGeom prst="line">
            <a:avLst/>
          </a:prstGeom>
          <a:ln w="19050">
            <a:solidFill>
              <a:schemeClr val="bg1">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6" name="Content Placeholder 2"/>
          <p:cNvSpPr txBox="1">
            <a:spLocks/>
          </p:cNvSpPr>
          <p:nvPr/>
        </p:nvSpPr>
        <p:spPr>
          <a:xfrm>
            <a:off x="2059022" y="2290864"/>
            <a:ext cx="8073957" cy="2251953"/>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24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Combined with renewed </a:t>
            </a:r>
            <a:r>
              <a:rPr kumimoji="0" lang="en-US" sz="2400" b="1" i="0" u="none" strike="noStrike" kern="1200" cap="none" spc="0" normalizeH="0" baseline="0" noProof="0" dirty="0">
                <a:ln>
                  <a:noFill/>
                </a:ln>
                <a:solidFill>
                  <a:srgbClr val="1E479C"/>
                </a:solidFill>
                <a:effectLst/>
                <a:uLnTx/>
                <a:uFillTx/>
                <a:latin typeface="Century Gothic" panose="020B0502020202020204" pitchFamily="34" charset="0"/>
                <a:ea typeface="+mn-ea"/>
                <a:cs typeface="+mn-cs"/>
              </a:rPr>
              <a:t>public health education</a:t>
            </a:r>
            <a:r>
              <a:rPr kumimoji="0" lang="en-US" sz="24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 thorough risk assessments and mass dog vaccinations, such </a:t>
            </a:r>
            <a:r>
              <a:rPr kumimoji="0" lang="en-US" sz="2400" b="1" i="0" u="none" strike="noStrike" kern="1200" cap="none" spc="0" normalizeH="0" baseline="0" noProof="0" dirty="0">
                <a:ln>
                  <a:noFill/>
                </a:ln>
                <a:solidFill>
                  <a:srgbClr val="1E479C"/>
                </a:solidFill>
                <a:effectLst/>
                <a:uLnTx/>
                <a:uFillTx/>
                <a:latin typeface="Century Gothic" panose="020B0502020202020204" pitchFamily="34" charset="0"/>
                <a:ea typeface="+mn-ea"/>
                <a:cs typeface="+mn-cs"/>
              </a:rPr>
              <a:t>updated human PEP regimens </a:t>
            </a:r>
            <a:r>
              <a:rPr kumimoji="0" lang="en-US" sz="24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can help to realize the global vision of </a:t>
            </a:r>
            <a:r>
              <a:rPr kumimoji="0" lang="en-US" sz="2400" b="1" i="0" u="none" strike="noStrike" kern="1200" cap="none" spc="0" normalizeH="0" baseline="0" noProof="0" dirty="0">
                <a:ln>
                  <a:noFill/>
                </a:ln>
                <a:solidFill>
                  <a:srgbClr val="1E479C"/>
                </a:solidFill>
                <a:effectLst/>
                <a:uLnTx/>
                <a:uFillTx/>
                <a:latin typeface="Century Gothic" panose="020B0502020202020204" pitchFamily="34" charset="0"/>
                <a:ea typeface="+mn-ea"/>
                <a:cs typeface="+mn-cs"/>
              </a:rPr>
              <a:t>zero human deaths</a:t>
            </a:r>
            <a:r>
              <a:rPr kumimoji="0" lang="en-US" sz="24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 caused via rabid dogs by </a:t>
            </a:r>
            <a:r>
              <a:rPr kumimoji="0" lang="en-US" sz="2400" b="1" i="0" u="none" strike="noStrike" kern="1200" cap="none" spc="0" normalizeH="0" baseline="0" noProof="0" dirty="0">
                <a:ln>
                  <a:noFill/>
                </a:ln>
                <a:solidFill>
                  <a:srgbClr val="1E479C"/>
                </a:solidFill>
                <a:effectLst/>
                <a:uLnTx/>
                <a:uFillTx/>
                <a:latin typeface="Century Gothic" panose="020B0502020202020204" pitchFamily="34" charset="0"/>
                <a:ea typeface="+mn-ea"/>
                <a:cs typeface="+mn-cs"/>
              </a:rPr>
              <a:t>2030</a:t>
            </a:r>
            <a:r>
              <a:rPr kumimoji="0" lang="en-US" sz="24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 </a:t>
            </a:r>
          </a:p>
        </p:txBody>
      </p:sp>
      <p:sp>
        <p:nvSpPr>
          <p:cNvPr id="3" name="Rectangle 2"/>
          <p:cNvSpPr/>
          <p:nvPr/>
        </p:nvSpPr>
        <p:spPr>
          <a:xfrm>
            <a:off x="1353766" y="1986874"/>
            <a:ext cx="9484468" cy="2859932"/>
          </a:xfrm>
          <a:prstGeom prst="rect">
            <a:avLst/>
          </a:prstGeom>
          <a:noFill/>
          <a:ln w="28575">
            <a:solidFill>
              <a:srgbClr val="1E479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Franklin Gothic Book" panose="020B0503020102020204"/>
              <a:ea typeface="+mn-ea"/>
              <a:cs typeface="+mn-cs"/>
            </a:endParaRPr>
          </a:p>
        </p:txBody>
      </p:sp>
      <p:sp>
        <p:nvSpPr>
          <p:cNvPr id="2" name="TextBox 1">
            <a:extLst>
              <a:ext uri="{FF2B5EF4-FFF2-40B4-BE49-F238E27FC236}">
                <a16:creationId xmlns:a16="http://schemas.microsoft.com/office/drawing/2014/main" id="{9D9572B9-4CBC-5FE6-E4AE-C2A0195F83DB}"/>
              </a:ext>
            </a:extLst>
          </p:cNvPr>
          <p:cNvSpPr txBox="1"/>
          <p:nvPr/>
        </p:nvSpPr>
        <p:spPr>
          <a:xfrm>
            <a:off x="5000878" y="5615873"/>
            <a:ext cx="3147802" cy="70788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PK" sz="4000" b="0" i="0" u="none" strike="noStrike" kern="1200" cap="none" spc="0" normalizeH="0" baseline="0" noProof="0" dirty="0">
                <a:ln>
                  <a:noFill/>
                </a:ln>
                <a:solidFill>
                  <a:prstClr val="black"/>
                </a:solidFill>
                <a:effectLst/>
                <a:uLnTx/>
                <a:uFillTx/>
                <a:latin typeface="Franklin Gothic Book" panose="020B0503020102020204"/>
                <a:ea typeface="+mn-ea"/>
                <a:cs typeface="+mn-cs"/>
              </a:rPr>
              <a:t>Thank you</a:t>
            </a:r>
          </a:p>
        </p:txBody>
      </p:sp>
      <p:pic>
        <p:nvPicPr>
          <p:cNvPr id="5" name="Picture 4">
            <a:extLst>
              <a:ext uri="{FF2B5EF4-FFF2-40B4-BE49-F238E27FC236}">
                <a16:creationId xmlns:a16="http://schemas.microsoft.com/office/drawing/2014/main" id="{A8924C24-A1A9-3C40-042C-034895F94B7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330609" y="75465"/>
            <a:ext cx="718712" cy="718712"/>
          </a:xfrm>
          <a:prstGeom prst="rect">
            <a:avLst/>
          </a:prstGeom>
        </p:spPr>
      </p:pic>
    </p:spTree>
    <p:extLst>
      <p:ext uri="{BB962C8B-B14F-4D97-AF65-F5344CB8AC3E}">
        <p14:creationId xmlns:p14="http://schemas.microsoft.com/office/powerpoint/2010/main" val="79882601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9543DED-B61E-C85A-8E7E-07EC214D54EE}"/>
              </a:ext>
            </a:extLst>
          </p:cNvPr>
          <p:cNvSpPr>
            <a:spLocks noGrp="1"/>
          </p:cNvSpPr>
          <p:nvPr>
            <p:ph type="body" sz="quarter" idx="10"/>
          </p:nvPr>
        </p:nvSpPr>
        <p:spPr>
          <a:xfrm>
            <a:off x="515938" y="4886464"/>
            <a:ext cx="7964947" cy="1240056"/>
          </a:xfrm>
        </p:spPr>
        <p:txBody>
          <a:bodyPr>
            <a:noAutofit/>
          </a:bodyPr>
          <a:lstStyle/>
          <a:p>
            <a:r>
              <a:rPr lang="en-US" sz="2000" dirty="0">
                <a:solidFill>
                  <a:schemeClr val="bg2"/>
                </a:solidFill>
                <a:latin typeface="Aptos Narrow" panose="020B0004020202020204" pitchFamily="34" charset="0"/>
                <a:cs typeface="Aparajita" panose="02020603050405020304" pitchFamily="18" charset="0"/>
              </a:rPr>
              <a:t>Dr Simbarashe Mabaya MD, MPH</a:t>
            </a:r>
          </a:p>
          <a:p>
            <a:r>
              <a:rPr lang="en-US" sz="2000" dirty="0">
                <a:solidFill>
                  <a:schemeClr val="bg2"/>
                </a:solidFill>
                <a:latin typeface="Aptos Narrow" panose="020B0004020202020204" pitchFamily="34" charset="0"/>
                <a:cs typeface="Aparajita" panose="02020603050405020304" pitchFamily="18" charset="0"/>
              </a:rPr>
              <a:t>Senior Technical Advisor Primary Health Care, Vaccine Programmes</a:t>
            </a:r>
          </a:p>
        </p:txBody>
      </p:sp>
      <p:sp>
        <p:nvSpPr>
          <p:cNvPr id="3" name="Title 2">
            <a:extLst>
              <a:ext uri="{FF2B5EF4-FFF2-40B4-BE49-F238E27FC236}">
                <a16:creationId xmlns:a16="http://schemas.microsoft.com/office/drawing/2014/main" id="{D9AB113D-4434-BA36-7FCE-AD57BAADB395}"/>
              </a:ext>
            </a:extLst>
          </p:cNvPr>
          <p:cNvSpPr>
            <a:spLocks noGrp="1"/>
          </p:cNvSpPr>
          <p:nvPr>
            <p:ph type="title"/>
          </p:nvPr>
        </p:nvSpPr>
        <p:spPr/>
        <p:txBody>
          <a:bodyPr>
            <a:noAutofit/>
          </a:bodyPr>
          <a:lstStyle/>
          <a:p>
            <a:r>
              <a:rPr lang="en-US" sz="5400" dirty="0"/>
              <a:t>Gavi human rabies PEP  vaccine programme</a:t>
            </a:r>
          </a:p>
        </p:txBody>
      </p:sp>
      <p:sp>
        <p:nvSpPr>
          <p:cNvPr id="4" name="Text Placeholder 3">
            <a:extLst>
              <a:ext uri="{FF2B5EF4-FFF2-40B4-BE49-F238E27FC236}">
                <a16:creationId xmlns:a16="http://schemas.microsoft.com/office/drawing/2014/main" id="{86BD41AB-67D0-6B10-4F08-BD424B24EF42}"/>
              </a:ext>
            </a:extLst>
          </p:cNvPr>
          <p:cNvSpPr>
            <a:spLocks noGrp="1"/>
          </p:cNvSpPr>
          <p:nvPr>
            <p:ph type="body" sz="quarter" idx="11"/>
          </p:nvPr>
        </p:nvSpPr>
        <p:spPr/>
        <p:txBody>
          <a:bodyPr/>
          <a:lstStyle/>
          <a:p>
            <a:r>
              <a:rPr lang="en-US" dirty="0"/>
              <a:t>GNN webinar on rabies 6 May 2024</a:t>
            </a:r>
          </a:p>
        </p:txBody>
      </p:sp>
    </p:spTree>
    <p:extLst>
      <p:ext uri="{BB962C8B-B14F-4D97-AF65-F5344CB8AC3E}">
        <p14:creationId xmlns:p14="http://schemas.microsoft.com/office/powerpoint/2010/main" val="130753837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B6F71AE-24D5-F964-C3E5-2529011C2692}"/>
              </a:ext>
            </a:extLst>
          </p:cNvPr>
          <p:cNvSpPr>
            <a:spLocks noGrp="1"/>
          </p:cNvSpPr>
          <p:nvPr>
            <p:ph type="body" sz="quarter" idx="12"/>
          </p:nvPr>
        </p:nvSpPr>
        <p:spPr>
          <a:xfrm>
            <a:off x="6653214" y="2843359"/>
            <a:ext cx="5012580" cy="2476786"/>
          </a:xfrm>
        </p:spPr>
        <p:txBody>
          <a:bodyPr vert="horz" lIns="0" tIns="0" rIns="0" bIns="0" rtlCol="0">
            <a:normAutofit/>
          </a:bodyPr>
          <a:lstStyle/>
          <a:p>
            <a:r>
              <a:rPr lang="en-US" sz="5000" b="0">
                <a:latin typeface="Arial"/>
                <a:cs typeface="Arial"/>
              </a:rPr>
              <a:t>Background to Gavi</a:t>
            </a:r>
            <a:endParaRPr lang="en-US" sz="5000" b="0"/>
          </a:p>
        </p:txBody>
      </p:sp>
      <p:sp>
        <p:nvSpPr>
          <p:cNvPr id="10" name="Text Placeholder 3">
            <a:extLst>
              <a:ext uri="{FF2B5EF4-FFF2-40B4-BE49-F238E27FC236}">
                <a16:creationId xmlns:a16="http://schemas.microsoft.com/office/drawing/2014/main" id="{0E35110E-E916-B6FF-28E4-ED07753D5561}"/>
              </a:ext>
            </a:extLst>
          </p:cNvPr>
          <p:cNvSpPr>
            <a:spLocks noGrp="1"/>
          </p:cNvSpPr>
          <p:nvPr>
            <p:ph type="body" sz="quarter" idx="14"/>
          </p:nvPr>
        </p:nvSpPr>
        <p:spPr>
          <a:xfrm>
            <a:off x="515938" y="1963923"/>
            <a:ext cx="5064591" cy="3104603"/>
          </a:xfrm>
        </p:spPr>
        <p:txBody>
          <a:bodyPr/>
          <a:lstStyle/>
          <a:p>
            <a:r>
              <a:rPr lang="en-US"/>
              <a:t>1</a:t>
            </a:r>
          </a:p>
        </p:txBody>
      </p:sp>
    </p:spTree>
    <p:extLst>
      <p:ext uri="{BB962C8B-B14F-4D97-AF65-F5344CB8AC3E}">
        <p14:creationId xmlns:p14="http://schemas.microsoft.com/office/powerpoint/2010/main" val="145566705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ounded Rectangle 9">
            <a:extLst>
              <a:ext uri="{FF2B5EF4-FFF2-40B4-BE49-F238E27FC236}">
                <a16:creationId xmlns:a16="http://schemas.microsoft.com/office/drawing/2014/main" id="{895FFEF8-7151-B8A5-CEFF-30D8268E54A9}"/>
              </a:ext>
            </a:extLst>
          </p:cNvPr>
          <p:cNvSpPr/>
          <p:nvPr/>
        </p:nvSpPr>
        <p:spPr>
          <a:xfrm>
            <a:off x="515938" y="1094813"/>
            <a:ext cx="11160125" cy="4818626"/>
          </a:xfrm>
          <a:prstGeom prst="roundRect">
            <a:avLst>
              <a:gd name="adj" fmla="val 3037"/>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graphicFrame>
        <p:nvGraphicFramePr>
          <p:cNvPr id="6" name="Object 5" hidden="1">
            <a:extLst>
              <a:ext uri="{FF2B5EF4-FFF2-40B4-BE49-F238E27FC236}">
                <a16:creationId xmlns:a16="http://schemas.microsoft.com/office/drawing/2014/main" id="{E263E66A-1F8C-8F4B-D72E-2B353FBC52A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6" name="Object 5" hidden="1">
                        <a:extLst>
                          <a:ext uri="{FF2B5EF4-FFF2-40B4-BE49-F238E27FC236}">
                            <a16:creationId xmlns:a16="http://schemas.microsoft.com/office/drawing/2014/main" id="{E263E66A-1F8C-8F4B-D72E-2B353FBC52A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C7AB9566-0E77-F92A-F9EF-7F03DCB5E75D}"/>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B746B08-255A-2748-8A21-40BE94A17FD1}" type="slidenum">
              <a:rPr kumimoji="0" lang="en-GB" sz="800" b="0" i="0" u="none" strike="noStrike" kern="1200" cap="none" spc="0" normalizeH="0" baseline="0" noProof="0" smtClean="0">
                <a:ln>
                  <a:noFill/>
                </a:ln>
                <a:solidFill>
                  <a:srgbClr val="000000">
                    <a:lumMod val="50000"/>
                    <a:lumOff val="50000"/>
                  </a:srgbClr>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4</a:t>
            </a:fld>
            <a:endParaRPr kumimoji="0" lang="en-GB" sz="800" b="0" i="0" u="none" strike="noStrike" kern="1200" cap="none" spc="0" normalizeH="0" baseline="0" noProof="0">
              <a:ln>
                <a:noFill/>
              </a:ln>
              <a:solidFill>
                <a:srgbClr val="000000">
                  <a:lumMod val="50000"/>
                  <a:lumOff val="50000"/>
                </a:srgbClr>
              </a:solidFill>
              <a:effectLst/>
              <a:uLnTx/>
              <a:uFillTx/>
              <a:latin typeface="Arial" panose="020B0604020202020204" pitchFamily="34" charset="0"/>
              <a:ea typeface="+mn-ea"/>
              <a:cs typeface="Arial" panose="020B0604020202020204" pitchFamily="34" charset="0"/>
            </a:endParaRPr>
          </a:p>
        </p:txBody>
      </p:sp>
      <p:sp>
        <p:nvSpPr>
          <p:cNvPr id="8" name="Title 1">
            <a:extLst>
              <a:ext uri="{FF2B5EF4-FFF2-40B4-BE49-F238E27FC236}">
                <a16:creationId xmlns:a16="http://schemas.microsoft.com/office/drawing/2014/main" id="{31A6A188-0862-D056-6DF3-F76449BB9101}"/>
              </a:ext>
            </a:extLst>
          </p:cNvPr>
          <p:cNvSpPr>
            <a:spLocks noGrp="1"/>
          </p:cNvSpPr>
          <p:nvPr>
            <p:ph type="title"/>
          </p:nvPr>
        </p:nvSpPr>
        <p:spPr>
          <a:xfrm>
            <a:off x="521719" y="368300"/>
            <a:ext cx="11154344" cy="722674"/>
          </a:xfrm>
        </p:spPr>
        <p:txBody>
          <a:bodyPr/>
          <a:lstStyle/>
          <a:p>
            <a:r>
              <a:rPr lang="en-GB"/>
              <a:t>Vaccine Alliance partners</a:t>
            </a:r>
          </a:p>
        </p:txBody>
      </p:sp>
      <p:sp>
        <p:nvSpPr>
          <p:cNvPr id="5" name="Oval 4">
            <a:extLst>
              <a:ext uri="{FF2B5EF4-FFF2-40B4-BE49-F238E27FC236}">
                <a16:creationId xmlns:a16="http://schemas.microsoft.com/office/drawing/2014/main" id="{C621AD39-1982-2272-1D2D-4FF6E2391421}"/>
              </a:ext>
            </a:extLst>
          </p:cNvPr>
          <p:cNvSpPr/>
          <p:nvPr/>
        </p:nvSpPr>
        <p:spPr>
          <a:xfrm>
            <a:off x="4240164" y="1633658"/>
            <a:ext cx="3712306" cy="3712306"/>
          </a:xfrm>
          <a:prstGeom prst="ellipse">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1" name="Oval 10">
            <a:extLst>
              <a:ext uri="{FF2B5EF4-FFF2-40B4-BE49-F238E27FC236}">
                <a16:creationId xmlns:a16="http://schemas.microsoft.com/office/drawing/2014/main" id="{2CB4C4AD-70F0-E100-C596-3571CA81FDD0}"/>
              </a:ext>
            </a:extLst>
          </p:cNvPr>
          <p:cNvSpPr/>
          <p:nvPr/>
        </p:nvSpPr>
        <p:spPr>
          <a:xfrm>
            <a:off x="4828540" y="2226257"/>
            <a:ext cx="2535555" cy="253555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2" name="Rounded Rectangle 11">
            <a:extLst>
              <a:ext uri="{FF2B5EF4-FFF2-40B4-BE49-F238E27FC236}">
                <a16:creationId xmlns:a16="http://schemas.microsoft.com/office/drawing/2014/main" id="{B39585A8-3CF0-0238-8A58-48689BA47FD6}"/>
              </a:ext>
            </a:extLst>
          </p:cNvPr>
          <p:cNvSpPr/>
          <p:nvPr/>
        </p:nvSpPr>
        <p:spPr>
          <a:xfrm>
            <a:off x="3421062" y="1368092"/>
            <a:ext cx="2535555" cy="604395"/>
          </a:xfrm>
          <a:prstGeom prst="roundRect">
            <a:avLst>
              <a:gd name="adj" fmla="val 50000"/>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3" name="Rounded Rectangle 12">
            <a:extLst>
              <a:ext uri="{FF2B5EF4-FFF2-40B4-BE49-F238E27FC236}">
                <a16:creationId xmlns:a16="http://schemas.microsoft.com/office/drawing/2014/main" id="{CF16F17E-04AE-27C9-1767-B4723175E2AF}"/>
              </a:ext>
            </a:extLst>
          </p:cNvPr>
          <p:cNvSpPr/>
          <p:nvPr/>
        </p:nvSpPr>
        <p:spPr>
          <a:xfrm>
            <a:off x="3421062" y="5021246"/>
            <a:ext cx="2535555" cy="604395"/>
          </a:xfrm>
          <a:prstGeom prst="roundRect">
            <a:avLst>
              <a:gd name="adj" fmla="val 50000"/>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00" b="0" i="0" u="none" strike="noStrike" kern="1200" cap="none" spc="0" normalizeH="0" baseline="0" noProof="0">
                <a:ln>
                  <a:noFill/>
                </a:ln>
                <a:solidFill>
                  <a:srgbClr val="00A1DF"/>
                </a:solidFill>
                <a:effectLst/>
                <a:uLnTx/>
                <a:uFillTx/>
                <a:latin typeface="Arial"/>
                <a:ea typeface="+mn-ea"/>
                <a:cs typeface="+mn-cs"/>
              </a:rPr>
              <a:t>Vaccine manufacturers</a:t>
            </a:r>
          </a:p>
        </p:txBody>
      </p:sp>
      <p:sp>
        <p:nvSpPr>
          <p:cNvPr id="14" name="Rounded Rectangle 13">
            <a:extLst>
              <a:ext uri="{FF2B5EF4-FFF2-40B4-BE49-F238E27FC236}">
                <a16:creationId xmlns:a16="http://schemas.microsoft.com/office/drawing/2014/main" id="{6E70C396-FA74-C814-E0FE-99FF8113BB4B}"/>
              </a:ext>
            </a:extLst>
          </p:cNvPr>
          <p:cNvSpPr/>
          <p:nvPr/>
        </p:nvSpPr>
        <p:spPr>
          <a:xfrm>
            <a:off x="2355752" y="4106211"/>
            <a:ext cx="2535555" cy="604395"/>
          </a:xfrm>
          <a:prstGeom prst="roundRect">
            <a:avLst>
              <a:gd name="adj" fmla="val 50000"/>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00" b="0" i="0" u="none" strike="noStrike" kern="1200" cap="none" spc="0" normalizeH="0" baseline="0" noProof="0">
                <a:ln>
                  <a:noFill/>
                </a:ln>
                <a:solidFill>
                  <a:srgbClr val="00A1DF"/>
                </a:solidFill>
                <a:effectLst/>
                <a:uLnTx/>
                <a:uFillTx/>
                <a:latin typeface="Arial"/>
                <a:ea typeface="+mn-ea"/>
                <a:cs typeface="+mn-cs"/>
              </a:rPr>
              <a:t>Civil society organisations (CSOs)</a:t>
            </a:r>
          </a:p>
        </p:txBody>
      </p:sp>
      <p:sp>
        <p:nvSpPr>
          <p:cNvPr id="15" name="Rounded Rectangle 14">
            <a:extLst>
              <a:ext uri="{FF2B5EF4-FFF2-40B4-BE49-F238E27FC236}">
                <a16:creationId xmlns:a16="http://schemas.microsoft.com/office/drawing/2014/main" id="{376399C2-04AB-C2B1-2FE3-D6731AB3BFBF}"/>
              </a:ext>
            </a:extLst>
          </p:cNvPr>
          <p:cNvSpPr/>
          <p:nvPr/>
        </p:nvSpPr>
        <p:spPr>
          <a:xfrm>
            <a:off x="2355752" y="2269157"/>
            <a:ext cx="2535555" cy="604395"/>
          </a:xfrm>
          <a:prstGeom prst="roundRect">
            <a:avLst>
              <a:gd name="adj" fmla="val 50000"/>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6" name="Rounded Rectangle 15">
            <a:extLst>
              <a:ext uri="{FF2B5EF4-FFF2-40B4-BE49-F238E27FC236}">
                <a16:creationId xmlns:a16="http://schemas.microsoft.com/office/drawing/2014/main" id="{B741E30F-B604-EE1B-7654-259C4F400A8E}"/>
              </a:ext>
            </a:extLst>
          </p:cNvPr>
          <p:cNvSpPr/>
          <p:nvPr/>
        </p:nvSpPr>
        <p:spPr>
          <a:xfrm>
            <a:off x="1936342" y="3191837"/>
            <a:ext cx="2535555" cy="604395"/>
          </a:xfrm>
          <a:prstGeom prst="roundRect">
            <a:avLst>
              <a:gd name="adj" fmla="val 50000"/>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00" b="0" i="0" u="none" strike="noStrike" kern="1200" cap="none" spc="0" normalizeH="0" baseline="0" noProof="0">
                <a:ln>
                  <a:noFill/>
                </a:ln>
                <a:solidFill>
                  <a:srgbClr val="00A1DF"/>
                </a:solidFill>
                <a:effectLst/>
                <a:uLnTx/>
                <a:uFillTx/>
                <a:latin typeface="Arial"/>
                <a:ea typeface="+mn-ea"/>
                <a:cs typeface="+mn-cs"/>
              </a:rPr>
              <a:t>Implementing country governments</a:t>
            </a:r>
          </a:p>
        </p:txBody>
      </p:sp>
      <p:sp>
        <p:nvSpPr>
          <p:cNvPr id="17" name="Rounded Rectangle 16">
            <a:extLst>
              <a:ext uri="{FF2B5EF4-FFF2-40B4-BE49-F238E27FC236}">
                <a16:creationId xmlns:a16="http://schemas.microsoft.com/office/drawing/2014/main" id="{1926F53E-CFE3-E5B5-4CA3-4D1E9196C6F7}"/>
              </a:ext>
            </a:extLst>
          </p:cNvPr>
          <p:cNvSpPr/>
          <p:nvPr/>
        </p:nvSpPr>
        <p:spPr>
          <a:xfrm>
            <a:off x="6229033" y="5021246"/>
            <a:ext cx="2535555" cy="604395"/>
          </a:xfrm>
          <a:prstGeom prst="roundRect">
            <a:avLst>
              <a:gd name="adj" fmla="val 50000"/>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300" b="0" i="0" u="none" strike="noStrike" kern="1200" cap="none" spc="0" normalizeH="0" baseline="0" noProof="0">
                <a:ln>
                  <a:noFill/>
                </a:ln>
                <a:solidFill>
                  <a:srgbClr val="00A1DF"/>
                </a:solidFill>
                <a:effectLst/>
                <a:uLnTx/>
                <a:uFillTx/>
                <a:latin typeface="Arial"/>
                <a:ea typeface="+mn-ea"/>
                <a:cs typeface="+mn-cs"/>
              </a:rPr>
              <a:t>Private sector p</a:t>
            </a:r>
            <a:r>
              <a:rPr kumimoji="0" lang="en-GB" sz="1300" b="0" i="0" u="none" strike="noStrike" kern="1200" cap="none" spc="0" normalizeH="0" baseline="0" noProof="0" err="1">
                <a:ln>
                  <a:noFill/>
                </a:ln>
                <a:solidFill>
                  <a:srgbClr val="00A1DF"/>
                </a:solidFill>
                <a:effectLst/>
                <a:uLnTx/>
                <a:uFillTx/>
                <a:latin typeface="Arial"/>
                <a:ea typeface="+mn-ea"/>
                <a:cs typeface="+mn-cs"/>
              </a:rPr>
              <a:t>artners</a:t>
            </a:r>
            <a:endParaRPr kumimoji="0" lang="en-GB" sz="1300" b="0" i="0" u="none" strike="noStrike" kern="1200" cap="none" spc="0" normalizeH="0" baseline="0" noProof="0">
              <a:ln>
                <a:noFill/>
              </a:ln>
              <a:solidFill>
                <a:srgbClr val="00A1DF"/>
              </a:solidFill>
              <a:effectLst/>
              <a:uLnTx/>
              <a:uFillTx/>
              <a:latin typeface="Arial"/>
              <a:ea typeface="+mn-ea"/>
              <a:cs typeface="+mn-cs"/>
            </a:endParaRPr>
          </a:p>
        </p:txBody>
      </p:sp>
      <p:sp>
        <p:nvSpPr>
          <p:cNvPr id="18" name="Rounded Rectangle 17">
            <a:extLst>
              <a:ext uri="{FF2B5EF4-FFF2-40B4-BE49-F238E27FC236}">
                <a16:creationId xmlns:a16="http://schemas.microsoft.com/office/drawing/2014/main" id="{128BE488-1BCB-7BD6-70D7-64FF90AF21CB}"/>
              </a:ext>
            </a:extLst>
          </p:cNvPr>
          <p:cNvSpPr/>
          <p:nvPr/>
        </p:nvSpPr>
        <p:spPr>
          <a:xfrm>
            <a:off x="6229033" y="1368092"/>
            <a:ext cx="2535555" cy="604395"/>
          </a:xfrm>
          <a:prstGeom prst="roundRect">
            <a:avLst>
              <a:gd name="adj" fmla="val 50000"/>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19" name="Rounded Rectangle 18">
            <a:extLst>
              <a:ext uri="{FF2B5EF4-FFF2-40B4-BE49-F238E27FC236}">
                <a16:creationId xmlns:a16="http://schemas.microsoft.com/office/drawing/2014/main" id="{A1A50F7A-2F7C-C84A-3310-34AA24A6062F}"/>
              </a:ext>
            </a:extLst>
          </p:cNvPr>
          <p:cNvSpPr/>
          <p:nvPr/>
        </p:nvSpPr>
        <p:spPr>
          <a:xfrm>
            <a:off x="7294343" y="2283127"/>
            <a:ext cx="2535555" cy="604395"/>
          </a:xfrm>
          <a:prstGeom prst="roundRect">
            <a:avLst>
              <a:gd name="adj" fmla="val 50000"/>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pitchFamily="34" charset="0"/>
              <a:ea typeface="+mn-ea"/>
              <a:cs typeface="+mn-cs"/>
            </a:endParaRPr>
          </a:p>
        </p:txBody>
      </p:sp>
      <p:sp>
        <p:nvSpPr>
          <p:cNvPr id="20" name="Rounded Rectangle 19">
            <a:extLst>
              <a:ext uri="{FF2B5EF4-FFF2-40B4-BE49-F238E27FC236}">
                <a16:creationId xmlns:a16="http://schemas.microsoft.com/office/drawing/2014/main" id="{B029D09D-418A-D1F2-130D-981790A25304}"/>
              </a:ext>
            </a:extLst>
          </p:cNvPr>
          <p:cNvSpPr/>
          <p:nvPr/>
        </p:nvSpPr>
        <p:spPr>
          <a:xfrm>
            <a:off x="7294602" y="4109114"/>
            <a:ext cx="2535555" cy="604395"/>
          </a:xfrm>
          <a:prstGeom prst="roundRect">
            <a:avLst>
              <a:gd name="adj" fmla="val 50000"/>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00" b="0" i="0" u="none" strike="noStrike" kern="1200" cap="none" spc="0" normalizeH="0" baseline="0" noProof="0">
                <a:ln>
                  <a:noFill/>
                </a:ln>
                <a:solidFill>
                  <a:srgbClr val="00A1DF"/>
                </a:solidFill>
                <a:effectLst/>
                <a:uLnTx/>
                <a:uFillTx/>
                <a:latin typeface="Arial"/>
                <a:ea typeface="+mn-ea"/>
                <a:cs typeface="+mn-cs"/>
              </a:rPr>
              <a:t>Research agencies and </a:t>
            </a:r>
            <a:br>
              <a:rPr kumimoji="0" lang="en-GB" sz="1300" b="0" i="0" u="none" strike="noStrike" kern="1200" cap="none" spc="0" normalizeH="0" baseline="0" noProof="0">
                <a:ln>
                  <a:noFill/>
                </a:ln>
                <a:solidFill>
                  <a:srgbClr val="00A1DF"/>
                </a:solidFill>
                <a:effectLst/>
                <a:uLnTx/>
                <a:uFillTx/>
                <a:latin typeface="Arial"/>
                <a:ea typeface="+mn-ea"/>
                <a:cs typeface="+mn-cs"/>
              </a:rPr>
            </a:br>
            <a:r>
              <a:rPr kumimoji="0" lang="en-GB" sz="1300" b="0" i="0" u="none" strike="noStrike" kern="1200" cap="none" spc="0" normalizeH="0" baseline="0" noProof="0">
                <a:ln>
                  <a:noFill/>
                </a:ln>
                <a:solidFill>
                  <a:srgbClr val="00A1DF"/>
                </a:solidFill>
                <a:effectLst/>
                <a:uLnTx/>
                <a:uFillTx/>
                <a:latin typeface="Arial"/>
                <a:ea typeface="+mn-ea"/>
                <a:cs typeface="+mn-cs"/>
              </a:rPr>
              <a:t>technical health institutes</a:t>
            </a:r>
          </a:p>
        </p:txBody>
      </p:sp>
      <p:sp>
        <p:nvSpPr>
          <p:cNvPr id="21" name="Rounded Rectangle 20">
            <a:extLst>
              <a:ext uri="{FF2B5EF4-FFF2-40B4-BE49-F238E27FC236}">
                <a16:creationId xmlns:a16="http://schemas.microsoft.com/office/drawing/2014/main" id="{D162AB5F-0BF3-3659-5782-8F0C29F8C483}"/>
              </a:ext>
            </a:extLst>
          </p:cNvPr>
          <p:cNvSpPr/>
          <p:nvPr/>
        </p:nvSpPr>
        <p:spPr>
          <a:xfrm>
            <a:off x="7713753" y="3197502"/>
            <a:ext cx="2535555" cy="604395"/>
          </a:xfrm>
          <a:prstGeom prst="roundRect">
            <a:avLst>
              <a:gd name="adj" fmla="val 50000"/>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00" b="0" i="0" u="none" strike="noStrike" kern="1200" cap="none" spc="0" normalizeH="0" baseline="0" noProof="0">
                <a:ln>
                  <a:noFill/>
                </a:ln>
                <a:solidFill>
                  <a:srgbClr val="00A1DF"/>
                </a:solidFill>
                <a:effectLst/>
                <a:uLnTx/>
                <a:uFillTx/>
                <a:latin typeface="Arial"/>
                <a:ea typeface="+mn-ea"/>
                <a:cs typeface="+mn-cs"/>
              </a:rPr>
              <a:t>Donor country governments</a:t>
            </a:r>
          </a:p>
        </p:txBody>
      </p:sp>
      <p:pic>
        <p:nvPicPr>
          <p:cNvPr id="24" name="Picture 23">
            <a:extLst>
              <a:ext uri="{FF2B5EF4-FFF2-40B4-BE49-F238E27FC236}">
                <a16:creationId xmlns:a16="http://schemas.microsoft.com/office/drawing/2014/main" id="{9C782788-386A-074C-25FD-AE69AB139ED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738996" y="2125590"/>
            <a:ext cx="2718325" cy="2697604"/>
          </a:xfrm>
          <a:prstGeom prst="rect">
            <a:avLst/>
          </a:prstGeom>
        </p:spPr>
      </p:pic>
      <p:pic>
        <p:nvPicPr>
          <p:cNvPr id="25" name="Picture 24">
            <a:extLst>
              <a:ext uri="{FF2B5EF4-FFF2-40B4-BE49-F238E27FC236}">
                <a16:creationId xmlns:a16="http://schemas.microsoft.com/office/drawing/2014/main" id="{CA855FD2-43E7-B329-FE34-1F771C354E7F}"/>
              </a:ext>
            </a:extLst>
          </p:cNvPr>
          <p:cNvPicPr>
            <a:picLocks noChangeAspect="1"/>
          </p:cNvPicPr>
          <p:nvPr/>
        </p:nvPicPr>
        <p:blipFill>
          <a:blip r:embed="rId7"/>
          <a:stretch>
            <a:fillRect/>
          </a:stretch>
        </p:blipFill>
        <p:spPr>
          <a:xfrm>
            <a:off x="4046942" y="1503140"/>
            <a:ext cx="1283794" cy="308223"/>
          </a:xfrm>
          <a:prstGeom prst="rect">
            <a:avLst/>
          </a:prstGeom>
        </p:spPr>
      </p:pic>
      <p:pic>
        <p:nvPicPr>
          <p:cNvPr id="26" name="Picture 25">
            <a:extLst>
              <a:ext uri="{FF2B5EF4-FFF2-40B4-BE49-F238E27FC236}">
                <a16:creationId xmlns:a16="http://schemas.microsoft.com/office/drawing/2014/main" id="{EA1D2F9E-1C75-2A06-9722-AA6BC73130FF}"/>
              </a:ext>
            </a:extLst>
          </p:cNvPr>
          <p:cNvPicPr>
            <a:picLocks noChangeAspect="1"/>
          </p:cNvPicPr>
          <p:nvPr/>
        </p:nvPicPr>
        <p:blipFill rotWithShape="1">
          <a:blip r:embed="rId8">
            <a:extLst>
              <a:ext uri="{28A0092B-C50C-407E-A947-70E740481C1C}">
                <a14:useLocalDpi xmlns:a14="http://schemas.microsoft.com/office/drawing/2010/main" val="0"/>
              </a:ext>
            </a:extLst>
          </a:blip>
          <a:srcRect b="10398"/>
          <a:stretch/>
        </p:blipFill>
        <p:spPr>
          <a:xfrm>
            <a:off x="7477673" y="2276774"/>
            <a:ext cx="2207285" cy="561617"/>
          </a:xfrm>
          <a:prstGeom prst="rect">
            <a:avLst/>
          </a:prstGeom>
          <a:noFill/>
        </p:spPr>
      </p:pic>
      <p:pic>
        <p:nvPicPr>
          <p:cNvPr id="27" name="Picture 26">
            <a:extLst>
              <a:ext uri="{FF2B5EF4-FFF2-40B4-BE49-F238E27FC236}">
                <a16:creationId xmlns:a16="http://schemas.microsoft.com/office/drawing/2014/main" id="{E94F16E9-2265-A1DE-1A56-5CB3148574C7}"/>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577392" y="1416274"/>
            <a:ext cx="1838835" cy="492748"/>
          </a:xfrm>
          <a:prstGeom prst="rect">
            <a:avLst/>
          </a:prstGeom>
          <a:noFill/>
        </p:spPr>
      </p:pic>
      <p:pic>
        <p:nvPicPr>
          <p:cNvPr id="28" name="Picture 27">
            <a:extLst>
              <a:ext uri="{FF2B5EF4-FFF2-40B4-BE49-F238E27FC236}">
                <a16:creationId xmlns:a16="http://schemas.microsoft.com/office/drawing/2014/main" id="{71AD1768-A15E-9F10-63CC-6A98DF755302}"/>
              </a:ext>
            </a:extLst>
          </p:cNvPr>
          <p:cNvPicPr>
            <a:picLocks noChangeAspect="1"/>
          </p:cNvPicPr>
          <p:nvPr/>
        </p:nvPicPr>
        <p:blipFill rotWithShape="1">
          <a:blip r:embed="rId10">
            <a:extLst>
              <a:ext uri="{28A0092B-C50C-407E-A947-70E740481C1C}">
                <a14:useLocalDpi xmlns:a14="http://schemas.microsoft.com/office/drawing/2010/main" val="0"/>
              </a:ext>
            </a:extLst>
          </a:blip>
          <a:srcRect t="8398" b="6313"/>
          <a:stretch/>
        </p:blipFill>
        <p:spPr>
          <a:xfrm>
            <a:off x="2788217" y="2310432"/>
            <a:ext cx="1610538" cy="530149"/>
          </a:xfrm>
          <a:prstGeom prst="rect">
            <a:avLst/>
          </a:prstGeom>
          <a:noFill/>
        </p:spPr>
      </p:pic>
      <p:sp>
        <p:nvSpPr>
          <p:cNvPr id="2" name="Footer Placeholder 1">
            <a:extLst>
              <a:ext uri="{FF2B5EF4-FFF2-40B4-BE49-F238E27FC236}">
                <a16:creationId xmlns:a16="http://schemas.microsoft.com/office/drawing/2014/main" id="{86C3E6F7-B65B-7941-AD3D-8CB0DCE3150C}"/>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tint val="75000"/>
                  </a:srgbClr>
                </a:solidFill>
                <a:effectLst/>
                <a:uLnTx/>
                <a:uFillTx/>
                <a:latin typeface="Arial" panose="020B0604020202020204" pitchFamily="34" charset="0"/>
                <a:ea typeface="+mn-ea"/>
                <a:cs typeface="Arial" panose="020B0604020202020204" pitchFamily="34" charset="0"/>
              </a:rPr>
              <a:t>GNN webinar on rabies 6 May 2024</a:t>
            </a:r>
            <a:endParaRPr kumimoji="0" lang="en-GB" sz="800" b="0" i="0" u="none" strike="noStrike" kern="1200" cap="none" spc="0" normalizeH="0" baseline="0" noProof="0">
              <a:ln>
                <a:noFill/>
              </a:ln>
              <a:solidFill>
                <a:srgbClr val="000000">
                  <a:tint val="75000"/>
                </a:srgb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51672640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DCDA713-4F15-4837-B659-046990CE8E5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4" name="Object 3" hidden="1">
                        <a:extLst>
                          <a:ext uri="{FF2B5EF4-FFF2-40B4-BE49-F238E27FC236}">
                            <a16:creationId xmlns:a16="http://schemas.microsoft.com/office/drawing/2014/main" id="{0DCDA713-4F15-4837-B659-046990CE8E5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41" name="Rectangle 440">
            <a:extLst>
              <a:ext uri="{FF2B5EF4-FFF2-40B4-BE49-F238E27FC236}">
                <a16:creationId xmlns:a16="http://schemas.microsoft.com/office/drawing/2014/main" id="{B4E156C8-5CDD-1F42-878D-C4170709D851}"/>
              </a:ext>
            </a:extLst>
          </p:cNvPr>
          <p:cNvSpPr/>
          <p:nvPr/>
        </p:nvSpPr>
        <p:spPr>
          <a:xfrm>
            <a:off x="9918916" y="5641407"/>
            <a:ext cx="2273085" cy="8634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H" sz="1800" b="0" i="0" u="none" strike="noStrike" kern="1200" cap="none" spc="0" normalizeH="0" baseline="0" noProof="0">
              <a:ln>
                <a:noFill/>
              </a:ln>
              <a:solidFill>
                <a:srgbClr val="FFFFFF"/>
              </a:solidFill>
              <a:effectLst/>
              <a:uLnTx/>
              <a:uFillTx/>
              <a:latin typeface="Arial"/>
              <a:ea typeface="+mn-ea"/>
              <a:cs typeface="+mn-cs"/>
            </a:endParaRPr>
          </a:p>
        </p:txBody>
      </p:sp>
      <p:sp>
        <p:nvSpPr>
          <p:cNvPr id="2" name="Title 1">
            <a:extLst>
              <a:ext uri="{FF2B5EF4-FFF2-40B4-BE49-F238E27FC236}">
                <a16:creationId xmlns:a16="http://schemas.microsoft.com/office/drawing/2014/main" id="{728B4B34-2CCE-4F3A-9CA1-EBB3A222ED7E}"/>
              </a:ext>
            </a:extLst>
          </p:cNvPr>
          <p:cNvSpPr>
            <a:spLocks noGrp="1"/>
          </p:cNvSpPr>
          <p:nvPr>
            <p:ph type="title"/>
          </p:nvPr>
        </p:nvSpPr>
        <p:spPr>
          <a:xfrm>
            <a:off x="672000" y="395670"/>
            <a:ext cx="10848000" cy="1036637"/>
          </a:xfrm>
        </p:spPr>
        <p:txBody>
          <a:bodyPr vert="horz"/>
          <a:lstStyle/>
          <a:p>
            <a:r>
              <a:rPr lang="fr-CH"/>
              <a:t>How Gavi supports countries: </a:t>
            </a:r>
            <a:r>
              <a:rPr lang="fr-CH" err="1"/>
              <a:t>three</a:t>
            </a:r>
            <a:r>
              <a:rPr lang="fr-CH"/>
              <a:t> key </a:t>
            </a:r>
            <a:r>
              <a:rPr lang="fr-CH" err="1"/>
              <a:t>financing</a:t>
            </a:r>
            <a:r>
              <a:rPr lang="fr-CH"/>
              <a:t> levers</a:t>
            </a:r>
            <a:endParaRPr lang="en-US"/>
          </a:p>
        </p:txBody>
      </p:sp>
      <p:grpSp>
        <p:nvGrpSpPr>
          <p:cNvPr id="21" name="Group 20">
            <a:extLst>
              <a:ext uri="{FF2B5EF4-FFF2-40B4-BE49-F238E27FC236}">
                <a16:creationId xmlns:a16="http://schemas.microsoft.com/office/drawing/2014/main" id="{090FA5CC-373C-D44B-B5FF-58FD72CB9370}"/>
              </a:ext>
            </a:extLst>
          </p:cNvPr>
          <p:cNvGrpSpPr/>
          <p:nvPr/>
        </p:nvGrpSpPr>
        <p:grpSpPr>
          <a:xfrm>
            <a:off x="1561664" y="1334285"/>
            <a:ext cx="9068675" cy="3690974"/>
            <a:chOff x="943478" y="904240"/>
            <a:chExt cx="10301870" cy="5049520"/>
          </a:xfrm>
          <a:solidFill>
            <a:srgbClr val="B7B7B7"/>
          </a:solidFill>
        </p:grpSpPr>
        <p:sp>
          <p:nvSpPr>
            <p:cNvPr id="22" name="Freeform 1640">
              <a:extLst>
                <a:ext uri="{FF2B5EF4-FFF2-40B4-BE49-F238E27FC236}">
                  <a16:creationId xmlns:a16="http://schemas.microsoft.com/office/drawing/2014/main" id="{519F6645-CE34-544C-B1D5-6C9B773B5378}"/>
                </a:ext>
              </a:extLst>
            </p:cNvPr>
            <p:cNvSpPr>
              <a:spLocks noEditPoints="1"/>
            </p:cNvSpPr>
            <p:nvPr/>
          </p:nvSpPr>
          <p:spPr bwMode="auto">
            <a:xfrm>
              <a:off x="6208915" y="941862"/>
              <a:ext cx="4202208" cy="1328218"/>
            </a:xfrm>
            <a:custGeom>
              <a:avLst/>
              <a:gdLst>
                <a:gd name="T0" fmla="*/ 441 w 2569"/>
                <a:gd name="T1" fmla="*/ 178 h 812"/>
                <a:gd name="T2" fmla="*/ 984 w 2569"/>
                <a:gd name="T3" fmla="*/ 43 h 812"/>
                <a:gd name="T4" fmla="*/ 482 w 2569"/>
                <a:gd name="T5" fmla="*/ 104 h 812"/>
                <a:gd name="T6" fmla="*/ 556 w 2569"/>
                <a:gd name="T7" fmla="*/ 99 h 812"/>
                <a:gd name="T8" fmla="*/ 479 w 2569"/>
                <a:gd name="T9" fmla="*/ 153 h 812"/>
                <a:gd name="T10" fmla="*/ 502 w 2569"/>
                <a:gd name="T11" fmla="*/ 191 h 812"/>
                <a:gd name="T12" fmla="*/ 680 w 2569"/>
                <a:gd name="T13" fmla="*/ 33 h 812"/>
                <a:gd name="T14" fmla="*/ 1618 w 2569"/>
                <a:gd name="T15" fmla="*/ 104 h 812"/>
                <a:gd name="T16" fmla="*/ 1687 w 2569"/>
                <a:gd name="T17" fmla="*/ 137 h 812"/>
                <a:gd name="T18" fmla="*/ 1707 w 2569"/>
                <a:gd name="T19" fmla="*/ 104 h 812"/>
                <a:gd name="T20" fmla="*/ 1019 w 2569"/>
                <a:gd name="T21" fmla="*/ 43 h 812"/>
                <a:gd name="T22" fmla="*/ 1417 w 2569"/>
                <a:gd name="T23" fmla="*/ 130 h 812"/>
                <a:gd name="T24" fmla="*/ 2368 w 2569"/>
                <a:gd name="T25" fmla="*/ 608 h 812"/>
                <a:gd name="T26" fmla="*/ 2317 w 2569"/>
                <a:gd name="T27" fmla="*/ 733 h 812"/>
                <a:gd name="T28" fmla="*/ 1985 w 2569"/>
                <a:gd name="T29" fmla="*/ 516 h 812"/>
                <a:gd name="T30" fmla="*/ 2559 w 2569"/>
                <a:gd name="T31" fmla="*/ 277 h 812"/>
                <a:gd name="T32" fmla="*/ 2378 w 2569"/>
                <a:gd name="T33" fmla="*/ 234 h 812"/>
                <a:gd name="T34" fmla="*/ 2031 w 2569"/>
                <a:gd name="T35" fmla="*/ 211 h 812"/>
                <a:gd name="T36" fmla="*/ 1705 w 2569"/>
                <a:gd name="T37" fmla="*/ 153 h 812"/>
                <a:gd name="T38" fmla="*/ 1506 w 2569"/>
                <a:gd name="T39" fmla="*/ 163 h 812"/>
                <a:gd name="T40" fmla="*/ 1279 w 2569"/>
                <a:gd name="T41" fmla="*/ 140 h 812"/>
                <a:gd name="T42" fmla="*/ 1213 w 2569"/>
                <a:gd name="T43" fmla="*/ 97 h 812"/>
                <a:gd name="T44" fmla="*/ 1040 w 2569"/>
                <a:gd name="T45" fmla="*/ 97 h 812"/>
                <a:gd name="T46" fmla="*/ 894 w 2569"/>
                <a:gd name="T47" fmla="*/ 142 h 812"/>
                <a:gd name="T48" fmla="*/ 869 w 2569"/>
                <a:gd name="T49" fmla="*/ 170 h 812"/>
                <a:gd name="T50" fmla="*/ 780 w 2569"/>
                <a:gd name="T51" fmla="*/ 219 h 812"/>
                <a:gd name="T52" fmla="*/ 759 w 2569"/>
                <a:gd name="T53" fmla="*/ 226 h 812"/>
                <a:gd name="T54" fmla="*/ 589 w 2569"/>
                <a:gd name="T55" fmla="*/ 206 h 812"/>
                <a:gd name="T56" fmla="*/ 408 w 2569"/>
                <a:gd name="T57" fmla="*/ 247 h 812"/>
                <a:gd name="T58" fmla="*/ 250 w 2569"/>
                <a:gd name="T59" fmla="*/ 298 h 812"/>
                <a:gd name="T60" fmla="*/ 290 w 2569"/>
                <a:gd name="T61" fmla="*/ 244 h 812"/>
                <a:gd name="T62" fmla="*/ 125 w 2569"/>
                <a:gd name="T63" fmla="*/ 262 h 812"/>
                <a:gd name="T64" fmla="*/ 140 w 2569"/>
                <a:gd name="T65" fmla="*/ 407 h 812"/>
                <a:gd name="T66" fmla="*/ 186 w 2569"/>
                <a:gd name="T67" fmla="*/ 496 h 812"/>
                <a:gd name="T68" fmla="*/ 255 w 2569"/>
                <a:gd name="T69" fmla="*/ 590 h 812"/>
                <a:gd name="T70" fmla="*/ 364 w 2569"/>
                <a:gd name="T71" fmla="*/ 664 h 812"/>
                <a:gd name="T72" fmla="*/ 405 w 2569"/>
                <a:gd name="T73" fmla="*/ 766 h 812"/>
                <a:gd name="T74" fmla="*/ 499 w 2569"/>
                <a:gd name="T75" fmla="*/ 743 h 812"/>
                <a:gd name="T76" fmla="*/ 499 w 2569"/>
                <a:gd name="T77" fmla="*/ 616 h 812"/>
                <a:gd name="T78" fmla="*/ 675 w 2569"/>
                <a:gd name="T79" fmla="*/ 593 h 812"/>
                <a:gd name="T80" fmla="*/ 749 w 2569"/>
                <a:gd name="T81" fmla="*/ 524 h 812"/>
                <a:gd name="T82" fmla="*/ 930 w 2569"/>
                <a:gd name="T83" fmla="*/ 537 h 812"/>
                <a:gd name="T84" fmla="*/ 1144 w 2569"/>
                <a:gd name="T85" fmla="*/ 618 h 812"/>
                <a:gd name="T86" fmla="*/ 1274 w 2569"/>
                <a:gd name="T87" fmla="*/ 600 h 812"/>
                <a:gd name="T88" fmla="*/ 1379 w 2569"/>
                <a:gd name="T89" fmla="*/ 575 h 812"/>
                <a:gd name="T90" fmla="*/ 1626 w 2569"/>
                <a:gd name="T91" fmla="*/ 628 h 812"/>
                <a:gd name="T92" fmla="*/ 1799 w 2569"/>
                <a:gd name="T93" fmla="*/ 547 h 812"/>
                <a:gd name="T94" fmla="*/ 2001 w 2569"/>
                <a:gd name="T95" fmla="*/ 667 h 812"/>
                <a:gd name="T96" fmla="*/ 2041 w 2569"/>
                <a:gd name="T97" fmla="*/ 763 h 812"/>
                <a:gd name="T98" fmla="*/ 2115 w 2569"/>
                <a:gd name="T99" fmla="*/ 616 h 812"/>
                <a:gd name="T100" fmla="*/ 1960 w 2569"/>
                <a:gd name="T101" fmla="*/ 483 h 812"/>
                <a:gd name="T102" fmla="*/ 2164 w 2569"/>
                <a:gd name="T103" fmla="*/ 412 h 812"/>
                <a:gd name="T104" fmla="*/ 2278 w 2569"/>
                <a:gd name="T105" fmla="*/ 374 h 812"/>
                <a:gd name="T106" fmla="*/ 2393 w 2569"/>
                <a:gd name="T107" fmla="*/ 519 h 812"/>
                <a:gd name="T108" fmla="*/ 2350 w 2569"/>
                <a:gd name="T109" fmla="*/ 404 h 812"/>
                <a:gd name="T110" fmla="*/ 2454 w 2569"/>
                <a:gd name="T111" fmla="*/ 331 h 812"/>
                <a:gd name="T112" fmla="*/ 2426 w 2569"/>
                <a:gd name="T113" fmla="*/ 280 h 812"/>
                <a:gd name="T114" fmla="*/ 451 w 2569"/>
                <a:gd name="T115" fmla="*/ 20 h 812"/>
                <a:gd name="T116" fmla="*/ 413 w 2569"/>
                <a:gd name="T117" fmla="*/ 25 h 812"/>
                <a:gd name="T118" fmla="*/ 318 w 2569"/>
                <a:gd name="T119" fmla="*/ 15 h 812"/>
                <a:gd name="T120" fmla="*/ 2087 w 2569"/>
                <a:gd name="T121" fmla="*/ 534 h 812"/>
                <a:gd name="T122" fmla="*/ 321 w 2569"/>
                <a:gd name="T123" fmla="*/ 23 h 812"/>
                <a:gd name="T124" fmla="*/ 387 w 2569"/>
                <a:gd name="T125" fmla="*/ 13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569" h="812">
                  <a:moveTo>
                    <a:pt x="838" y="127"/>
                  </a:moveTo>
                  <a:lnTo>
                    <a:pt x="843" y="127"/>
                  </a:lnTo>
                  <a:lnTo>
                    <a:pt x="849" y="127"/>
                  </a:lnTo>
                  <a:lnTo>
                    <a:pt x="849" y="127"/>
                  </a:lnTo>
                  <a:lnTo>
                    <a:pt x="849" y="127"/>
                  </a:lnTo>
                  <a:lnTo>
                    <a:pt x="849" y="127"/>
                  </a:lnTo>
                  <a:lnTo>
                    <a:pt x="849" y="127"/>
                  </a:lnTo>
                  <a:lnTo>
                    <a:pt x="849" y="127"/>
                  </a:lnTo>
                  <a:lnTo>
                    <a:pt x="843" y="127"/>
                  </a:lnTo>
                  <a:lnTo>
                    <a:pt x="838" y="127"/>
                  </a:lnTo>
                  <a:lnTo>
                    <a:pt x="838" y="127"/>
                  </a:lnTo>
                  <a:close/>
                  <a:moveTo>
                    <a:pt x="859" y="119"/>
                  </a:moveTo>
                  <a:lnTo>
                    <a:pt x="856" y="119"/>
                  </a:lnTo>
                  <a:lnTo>
                    <a:pt x="856" y="119"/>
                  </a:lnTo>
                  <a:lnTo>
                    <a:pt x="856" y="122"/>
                  </a:lnTo>
                  <a:lnTo>
                    <a:pt x="861" y="122"/>
                  </a:lnTo>
                  <a:lnTo>
                    <a:pt x="861" y="119"/>
                  </a:lnTo>
                  <a:lnTo>
                    <a:pt x="861" y="119"/>
                  </a:lnTo>
                  <a:lnTo>
                    <a:pt x="859" y="119"/>
                  </a:lnTo>
                  <a:close/>
                  <a:moveTo>
                    <a:pt x="805" y="104"/>
                  </a:moveTo>
                  <a:lnTo>
                    <a:pt x="805" y="107"/>
                  </a:lnTo>
                  <a:lnTo>
                    <a:pt x="808" y="107"/>
                  </a:lnTo>
                  <a:lnTo>
                    <a:pt x="808" y="104"/>
                  </a:lnTo>
                  <a:lnTo>
                    <a:pt x="810" y="107"/>
                  </a:lnTo>
                  <a:lnTo>
                    <a:pt x="810" y="107"/>
                  </a:lnTo>
                  <a:lnTo>
                    <a:pt x="810" y="104"/>
                  </a:lnTo>
                  <a:lnTo>
                    <a:pt x="813" y="104"/>
                  </a:lnTo>
                  <a:lnTo>
                    <a:pt x="813" y="104"/>
                  </a:lnTo>
                  <a:lnTo>
                    <a:pt x="813" y="104"/>
                  </a:lnTo>
                  <a:lnTo>
                    <a:pt x="810" y="104"/>
                  </a:lnTo>
                  <a:lnTo>
                    <a:pt x="810" y="102"/>
                  </a:lnTo>
                  <a:lnTo>
                    <a:pt x="808" y="102"/>
                  </a:lnTo>
                  <a:lnTo>
                    <a:pt x="808" y="102"/>
                  </a:lnTo>
                  <a:lnTo>
                    <a:pt x="808" y="102"/>
                  </a:lnTo>
                  <a:lnTo>
                    <a:pt x="808" y="104"/>
                  </a:lnTo>
                  <a:lnTo>
                    <a:pt x="808" y="104"/>
                  </a:lnTo>
                  <a:lnTo>
                    <a:pt x="805" y="102"/>
                  </a:lnTo>
                  <a:lnTo>
                    <a:pt x="803" y="104"/>
                  </a:lnTo>
                  <a:lnTo>
                    <a:pt x="803" y="104"/>
                  </a:lnTo>
                  <a:lnTo>
                    <a:pt x="805" y="104"/>
                  </a:lnTo>
                  <a:close/>
                  <a:moveTo>
                    <a:pt x="861" y="23"/>
                  </a:moveTo>
                  <a:lnTo>
                    <a:pt x="864" y="23"/>
                  </a:lnTo>
                  <a:lnTo>
                    <a:pt x="866" y="25"/>
                  </a:lnTo>
                  <a:lnTo>
                    <a:pt x="877" y="25"/>
                  </a:lnTo>
                  <a:lnTo>
                    <a:pt x="887" y="28"/>
                  </a:lnTo>
                  <a:lnTo>
                    <a:pt x="889" y="28"/>
                  </a:lnTo>
                  <a:lnTo>
                    <a:pt x="894" y="25"/>
                  </a:lnTo>
                  <a:lnTo>
                    <a:pt x="894" y="25"/>
                  </a:lnTo>
                  <a:lnTo>
                    <a:pt x="897" y="25"/>
                  </a:lnTo>
                  <a:lnTo>
                    <a:pt x="900" y="25"/>
                  </a:lnTo>
                  <a:lnTo>
                    <a:pt x="910" y="25"/>
                  </a:lnTo>
                  <a:lnTo>
                    <a:pt x="925" y="23"/>
                  </a:lnTo>
                  <a:lnTo>
                    <a:pt x="928" y="23"/>
                  </a:lnTo>
                  <a:lnTo>
                    <a:pt x="928" y="23"/>
                  </a:lnTo>
                  <a:lnTo>
                    <a:pt x="925" y="23"/>
                  </a:lnTo>
                  <a:lnTo>
                    <a:pt x="925" y="20"/>
                  </a:lnTo>
                  <a:lnTo>
                    <a:pt x="920" y="20"/>
                  </a:lnTo>
                  <a:lnTo>
                    <a:pt x="920" y="20"/>
                  </a:lnTo>
                  <a:lnTo>
                    <a:pt x="920" y="18"/>
                  </a:lnTo>
                  <a:lnTo>
                    <a:pt x="917" y="18"/>
                  </a:lnTo>
                  <a:lnTo>
                    <a:pt x="920" y="18"/>
                  </a:lnTo>
                  <a:lnTo>
                    <a:pt x="925" y="18"/>
                  </a:lnTo>
                  <a:lnTo>
                    <a:pt x="925" y="15"/>
                  </a:lnTo>
                  <a:lnTo>
                    <a:pt x="925" y="15"/>
                  </a:lnTo>
                  <a:lnTo>
                    <a:pt x="925" y="15"/>
                  </a:lnTo>
                  <a:lnTo>
                    <a:pt x="925" y="15"/>
                  </a:lnTo>
                  <a:lnTo>
                    <a:pt x="922" y="15"/>
                  </a:lnTo>
                  <a:lnTo>
                    <a:pt x="917" y="15"/>
                  </a:lnTo>
                  <a:lnTo>
                    <a:pt x="907" y="13"/>
                  </a:lnTo>
                  <a:lnTo>
                    <a:pt x="907" y="13"/>
                  </a:lnTo>
                  <a:lnTo>
                    <a:pt x="905" y="13"/>
                  </a:lnTo>
                  <a:lnTo>
                    <a:pt x="902" y="10"/>
                  </a:lnTo>
                  <a:lnTo>
                    <a:pt x="902" y="10"/>
                  </a:lnTo>
                  <a:lnTo>
                    <a:pt x="897" y="10"/>
                  </a:lnTo>
                  <a:lnTo>
                    <a:pt x="894" y="10"/>
                  </a:lnTo>
                  <a:lnTo>
                    <a:pt x="894" y="10"/>
                  </a:lnTo>
                  <a:lnTo>
                    <a:pt x="892" y="8"/>
                  </a:lnTo>
                  <a:lnTo>
                    <a:pt x="892" y="8"/>
                  </a:lnTo>
                  <a:lnTo>
                    <a:pt x="884" y="8"/>
                  </a:lnTo>
                  <a:lnTo>
                    <a:pt x="884" y="10"/>
                  </a:lnTo>
                  <a:lnTo>
                    <a:pt x="882" y="10"/>
                  </a:lnTo>
                  <a:lnTo>
                    <a:pt x="879" y="10"/>
                  </a:lnTo>
                  <a:lnTo>
                    <a:pt x="877" y="10"/>
                  </a:lnTo>
                  <a:lnTo>
                    <a:pt x="874" y="10"/>
                  </a:lnTo>
                  <a:lnTo>
                    <a:pt x="872" y="10"/>
                  </a:lnTo>
                  <a:lnTo>
                    <a:pt x="869" y="13"/>
                  </a:lnTo>
                  <a:lnTo>
                    <a:pt x="866" y="10"/>
                  </a:lnTo>
                  <a:lnTo>
                    <a:pt x="864" y="13"/>
                  </a:lnTo>
                  <a:lnTo>
                    <a:pt x="861" y="13"/>
                  </a:lnTo>
                  <a:lnTo>
                    <a:pt x="861" y="13"/>
                  </a:lnTo>
                  <a:lnTo>
                    <a:pt x="861" y="13"/>
                  </a:lnTo>
                  <a:lnTo>
                    <a:pt x="859" y="13"/>
                  </a:lnTo>
                  <a:lnTo>
                    <a:pt x="859" y="15"/>
                  </a:lnTo>
                  <a:lnTo>
                    <a:pt x="859" y="15"/>
                  </a:lnTo>
                  <a:lnTo>
                    <a:pt x="861" y="15"/>
                  </a:lnTo>
                  <a:lnTo>
                    <a:pt x="869" y="15"/>
                  </a:lnTo>
                  <a:lnTo>
                    <a:pt x="866" y="15"/>
                  </a:lnTo>
                  <a:lnTo>
                    <a:pt x="866" y="18"/>
                  </a:lnTo>
                  <a:lnTo>
                    <a:pt x="864" y="18"/>
                  </a:lnTo>
                  <a:lnTo>
                    <a:pt x="861" y="20"/>
                  </a:lnTo>
                  <a:lnTo>
                    <a:pt x="856" y="20"/>
                  </a:lnTo>
                  <a:lnTo>
                    <a:pt x="854" y="20"/>
                  </a:lnTo>
                  <a:lnTo>
                    <a:pt x="854" y="20"/>
                  </a:lnTo>
                  <a:lnTo>
                    <a:pt x="856" y="23"/>
                  </a:lnTo>
                  <a:lnTo>
                    <a:pt x="861" y="23"/>
                  </a:lnTo>
                  <a:close/>
                  <a:moveTo>
                    <a:pt x="823" y="10"/>
                  </a:moveTo>
                  <a:lnTo>
                    <a:pt x="838" y="10"/>
                  </a:lnTo>
                  <a:lnTo>
                    <a:pt x="841" y="10"/>
                  </a:lnTo>
                  <a:lnTo>
                    <a:pt x="838" y="10"/>
                  </a:lnTo>
                  <a:lnTo>
                    <a:pt x="836" y="10"/>
                  </a:lnTo>
                  <a:lnTo>
                    <a:pt x="821" y="8"/>
                  </a:lnTo>
                  <a:lnTo>
                    <a:pt x="821" y="10"/>
                  </a:lnTo>
                  <a:lnTo>
                    <a:pt x="821" y="10"/>
                  </a:lnTo>
                  <a:lnTo>
                    <a:pt x="823" y="10"/>
                  </a:lnTo>
                  <a:close/>
                  <a:moveTo>
                    <a:pt x="443" y="175"/>
                  </a:moveTo>
                  <a:lnTo>
                    <a:pt x="441" y="178"/>
                  </a:lnTo>
                  <a:lnTo>
                    <a:pt x="441" y="178"/>
                  </a:lnTo>
                  <a:lnTo>
                    <a:pt x="441" y="178"/>
                  </a:lnTo>
                  <a:lnTo>
                    <a:pt x="441" y="178"/>
                  </a:lnTo>
                  <a:lnTo>
                    <a:pt x="443" y="181"/>
                  </a:lnTo>
                  <a:lnTo>
                    <a:pt x="446" y="178"/>
                  </a:lnTo>
                  <a:lnTo>
                    <a:pt x="448" y="181"/>
                  </a:lnTo>
                  <a:lnTo>
                    <a:pt x="448" y="181"/>
                  </a:lnTo>
                  <a:lnTo>
                    <a:pt x="451" y="183"/>
                  </a:lnTo>
                  <a:lnTo>
                    <a:pt x="454" y="183"/>
                  </a:lnTo>
                  <a:lnTo>
                    <a:pt x="454" y="183"/>
                  </a:lnTo>
                  <a:lnTo>
                    <a:pt x="454" y="186"/>
                  </a:lnTo>
                  <a:lnTo>
                    <a:pt x="456" y="183"/>
                  </a:lnTo>
                  <a:lnTo>
                    <a:pt x="456" y="183"/>
                  </a:lnTo>
                  <a:lnTo>
                    <a:pt x="454" y="183"/>
                  </a:lnTo>
                  <a:lnTo>
                    <a:pt x="454" y="183"/>
                  </a:lnTo>
                  <a:lnTo>
                    <a:pt x="456" y="181"/>
                  </a:lnTo>
                  <a:lnTo>
                    <a:pt x="454" y="181"/>
                  </a:lnTo>
                  <a:lnTo>
                    <a:pt x="454" y="181"/>
                  </a:lnTo>
                  <a:lnTo>
                    <a:pt x="454" y="181"/>
                  </a:lnTo>
                  <a:lnTo>
                    <a:pt x="451" y="178"/>
                  </a:lnTo>
                  <a:lnTo>
                    <a:pt x="448" y="178"/>
                  </a:lnTo>
                  <a:lnTo>
                    <a:pt x="448" y="175"/>
                  </a:lnTo>
                  <a:lnTo>
                    <a:pt x="446" y="175"/>
                  </a:lnTo>
                  <a:lnTo>
                    <a:pt x="446" y="175"/>
                  </a:lnTo>
                  <a:lnTo>
                    <a:pt x="446" y="178"/>
                  </a:lnTo>
                  <a:lnTo>
                    <a:pt x="446" y="175"/>
                  </a:lnTo>
                  <a:lnTo>
                    <a:pt x="443" y="175"/>
                  </a:lnTo>
                  <a:close/>
                  <a:moveTo>
                    <a:pt x="884" y="30"/>
                  </a:moveTo>
                  <a:lnTo>
                    <a:pt x="887" y="30"/>
                  </a:lnTo>
                  <a:lnTo>
                    <a:pt x="889" y="30"/>
                  </a:lnTo>
                  <a:lnTo>
                    <a:pt x="889" y="28"/>
                  </a:lnTo>
                  <a:lnTo>
                    <a:pt x="884" y="28"/>
                  </a:lnTo>
                  <a:lnTo>
                    <a:pt x="874" y="28"/>
                  </a:lnTo>
                  <a:lnTo>
                    <a:pt x="866" y="25"/>
                  </a:lnTo>
                  <a:lnTo>
                    <a:pt x="861" y="25"/>
                  </a:lnTo>
                  <a:lnTo>
                    <a:pt x="859" y="25"/>
                  </a:lnTo>
                  <a:lnTo>
                    <a:pt x="856" y="25"/>
                  </a:lnTo>
                  <a:lnTo>
                    <a:pt x="854" y="28"/>
                  </a:lnTo>
                  <a:lnTo>
                    <a:pt x="856" y="28"/>
                  </a:lnTo>
                  <a:lnTo>
                    <a:pt x="861" y="30"/>
                  </a:lnTo>
                  <a:lnTo>
                    <a:pt x="866" y="30"/>
                  </a:lnTo>
                  <a:lnTo>
                    <a:pt x="874" y="33"/>
                  </a:lnTo>
                  <a:lnTo>
                    <a:pt x="877" y="33"/>
                  </a:lnTo>
                  <a:lnTo>
                    <a:pt x="879" y="33"/>
                  </a:lnTo>
                  <a:lnTo>
                    <a:pt x="882" y="30"/>
                  </a:lnTo>
                  <a:lnTo>
                    <a:pt x="884" y="30"/>
                  </a:lnTo>
                  <a:close/>
                  <a:moveTo>
                    <a:pt x="971" y="33"/>
                  </a:moveTo>
                  <a:lnTo>
                    <a:pt x="973" y="33"/>
                  </a:lnTo>
                  <a:lnTo>
                    <a:pt x="976" y="33"/>
                  </a:lnTo>
                  <a:lnTo>
                    <a:pt x="973" y="33"/>
                  </a:lnTo>
                  <a:lnTo>
                    <a:pt x="971" y="30"/>
                  </a:lnTo>
                  <a:lnTo>
                    <a:pt x="971" y="33"/>
                  </a:lnTo>
                  <a:lnTo>
                    <a:pt x="971" y="33"/>
                  </a:lnTo>
                  <a:lnTo>
                    <a:pt x="971" y="33"/>
                  </a:lnTo>
                  <a:close/>
                  <a:moveTo>
                    <a:pt x="798" y="150"/>
                  </a:moveTo>
                  <a:lnTo>
                    <a:pt x="803" y="153"/>
                  </a:lnTo>
                  <a:lnTo>
                    <a:pt x="810" y="153"/>
                  </a:lnTo>
                  <a:lnTo>
                    <a:pt x="810" y="153"/>
                  </a:lnTo>
                  <a:lnTo>
                    <a:pt x="810" y="150"/>
                  </a:lnTo>
                  <a:lnTo>
                    <a:pt x="808" y="147"/>
                  </a:lnTo>
                  <a:lnTo>
                    <a:pt x="805" y="147"/>
                  </a:lnTo>
                  <a:lnTo>
                    <a:pt x="805" y="145"/>
                  </a:lnTo>
                  <a:lnTo>
                    <a:pt x="800" y="145"/>
                  </a:lnTo>
                  <a:lnTo>
                    <a:pt x="798" y="150"/>
                  </a:lnTo>
                  <a:lnTo>
                    <a:pt x="798" y="150"/>
                  </a:lnTo>
                  <a:lnTo>
                    <a:pt x="798" y="150"/>
                  </a:lnTo>
                  <a:close/>
                  <a:moveTo>
                    <a:pt x="920" y="25"/>
                  </a:moveTo>
                  <a:lnTo>
                    <a:pt x="917" y="25"/>
                  </a:lnTo>
                  <a:lnTo>
                    <a:pt x="915" y="25"/>
                  </a:lnTo>
                  <a:lnTo>
                    <a:pt x="912" y="25"/>
                  </a:lnTo>
                  <a:lnTo>
                    <a:pt x="907" y="25"/>
                  </a:lnTo>
                  <a:lnTo>
                    <a:pt x="907" y="25"/>
                  </a:lnTo>
                  <a:lnTo>
                    <a:pt x="907" y="25"/>
                  </a:lnTo>
                  <a:lnTo>
                    <a:pt x="907" y="25"/>
                  </a:lnTo>
                  <a:lnTo>
                    <a:pt x="902" y="25"/>
                  </a:lnTo>
                  <a:lnTo>
                    <a:pt x="902" y="25"/>
                  </a:lnTo>
                  <a:lnTo>
                    <a:pt x="900" y="25"/>
                  </a:lnTo>
                  <a:lnTo>
                    <a:pt x="900" y="28"/>
                  </a:lnTo>
                  <a:lnTo>
                    <a:pt x="897" y="28"/>
                  </a:lnTo>
                  <a:lnTo>
                    <a:pt x="897" y="30"/>
                  </a:lnTo>
                  <a:lnTo>
                    <a:pt x="894" y="30"/>
                  </a:lnTo>
                  <a:lnTo>
                    <a:pt x="894" y="30"/>
                  </a:lnTo>
                  <a:lnTo>
                    <a:pt x="889" y="33"/>
                  </a:lnTo>
                  <a:lnTo>
                    <a:pt x="887" y="36"/>
                  </a:lnTo>
                  <a:lnTo>
                    <a:pt x="892" y="36"/>
                  </a:lnTo>
                  <a:lnTo>
                    <a:pt x="894" y="36"/>
                  </a:lnTo>
                  <a:lnTo>
                    <a:pt x="897" y="36"/>
                  </a:lnTo>
                  <a:lnTo>
                    <a:pt x="905" y="36"/>
                  </a:lnTo>
                  <a:lnTo>
                    <a:pt x="907" y="38"/>
                  </a:lnTo>
                  <a:lnTo>
                    <a:pt x="910" y="38"/>
                  </a:lnTo>
                  <a:lnTo>
                    <a:pt x="912" y="41"/>
                  </a:lnTo>
                  <a:lnTo>
                    <a:pt x="915" y="41"/>
                  </a:lnTo>
                  <a:lnTo>
                    <a:pt x="915" y="41"/>
                  </a:lnTo>
                  <a:lnTo>
                    <a:pt x="917" y="41"/>
                  </a:lnTo>
                  <a:lnTo>
                    <a:pt x="920" y="41"/>
                  </a:lnTo>
                  <a:lnTo>
                    <a:pt x="922" y="43"/>
                  </a:lnTo>
                  <a:lnTo>
                    <a:pt x="925" y="41"/>
                  </a:lnTo>
                  <a:lnTo>
                    <a:pt x="925" y="41"/>
                  </a:lnTo>
                  <a:lnTo>
                    <a:pt x="930" y="43"/>
                  </a:lnTo>
                  <a:lnTo>
                    <a:pt x="930" y="43"/>
                  </a:lnTo>
                  <a:lnTo>
                    <a:pt x="938" y="43"/>
                  </a:lnTo>
                  <a:lnTo>
                    <a:pt x="938" y="43"/>
                  </a:lnTo>
                  <a:lnTo>
                    <a:pt x="945" y="43"/>
                  </a:lnTo>
                  <a:lnTo>
                    <a:pt x="945" y="43"/>
                  </a:lnTo>
                  <a:lnTo>
                    <a:pt x="945" y="43"/>
                  </a:lnTo>
                  <a:lnTo>
                    <a:pt x="953" y="46"/>
                  </a:lnTo>
                  <a:lnTo>
                    <a:pt x="956" y="46"/>
                  </a:lnTo>
                  <a:lnTo>
                    <a:pt x="958" y="46"/>
                  </a:lnTo>
                  <a:lnTo>
                    <a:pt x="961" y="46"/>
                  </a:lnTo>
                  <a:lnTo>
                    <a:pt x="963" y="46"/>
                  </a:lnTo>
                  <a:lnTo>
                    <a:pt x="966" y="46"/>
                  </a:lnTo>
                  <a:lnTo>
                    <a:pt x="968" y="46"/>
                  </a:lnTo>
                  <a:lnTo>
                    <a:pt x="973" y="46"/>
                  </a:lnTo>
                  <a:lnTo>
                    <a:pt x="981" y="46"/>
                  </a:lnTo>
                  <a:lnTo>
                    <a:pt x="981" y="46"/>
                  </a:lnTo>
                  <a:lnTo>
                    <a:pt x="984" y="43"/>
                  </a:lnTo>
                  <a:lnTo>
                    <a:pt x="984" y="43"/>
                  </a:lnTo>
                  <a:lnTo>
                    <a:pt x="981" y="41"/>
                  </a:lnTo>
                  <a:lnTo>
                    <a:pt x="979" y="41"/>
                  </a:lnTo>
                  <a:lnTo>
                    <a:pt x="976" y="41"/>
                  </a:lnTo>
                  <a:lnTo>
                    <a:pt x="971" y="38"/>
                  </a:lnTo>
                  <a:lnTo>
                    <a:pt x="966" y="38"/>
                  </a:lnTo>
                  <a:lnTo>
                    <a:pt x="968" y="38"/>
                  </a:lnTo>
                  <a:lnTo>
                    <a:pt x="968" y="38"/>
                  </a:lnTo>
                  <a:lnTo>
                    <a:pt x="971" y="38"/>
                  </a:lnTo>
                  <a:lnTo>
                    <a:pt x="973" y="38"/>
                  </a:lnTo>
                  <a:lnTo>
                    <a:pt x="973" y="38"/>
                  </a:lnTo>
                  <a:lnTo>
                    <a:pt x="973" y="36"/>
                  </a:lnTo>
                  <a:lnTo>
                    <a:pt x="971" y="36"/>
                  </a:lnTo>
                  <a:lnTo>
                    <a:pt x="971" y="36"/>
                  </a:lnTo>
                  <a:lnTo>
                    <a:pt x="971" y="36"/>
                  </a:lnTo>
                  <a:lnTo>
                    <a:pt x="971" y="33"/>
                  </a:lnTo>
                  <a:lnTo>
                    <a:pt x="971" y="33"/>
                  </a:lnTo>
                  <a:lnTo>
                    <a:pt x="971" y="33"/>
                  </a:lnTo>
                  <a:lnTo>
                    <a:pt x="971" y="33"/>
                  </a:lnTo>
                  <a:lnTo>
                    <a:pt x="968" y="30"/>
                  </a:lnTo>
                  <a:lnTo>
                    <a:pt x="971" y="30"/>
                  </a:lnTo>
                  <a:lnTo>
                    <a:pt x="968" y="30"/>
                  </a:lnTo>
                  <a:lnTo>
                    <a:pt x="966" y="28"/>
                  </a:lnTo>
                  <a:lnTo>
                    <a:pt x="963" y="28"/>
                  </a:lnTo>
                  <a:lnTo>
                    <a:pt x="961" y="28"/>
                  </a:lnTo>
                  <a:lnTo>
                    <a:pt x="961" y="28"/>
                  </a:lnTo>
                  <a:lnTo>
                    <a:pt x="958" y="28"/>
                  </a:lnTo>
                  <a:lnTo>
                    <a:pt x="956" y="28"/>
                  </a:lnTo>
                  <a:lnTo>
                    <a:pt x="951" y="25"/>
                  </a:lnTo>
                  <a:lnTo>
                    <a:pt x="948" y="25"/>
                  </a:lnTo>
                  <a:lnTo>
                    <a:pt x="945" y="25"/>
                  </a:lnTo>
                  <a:lnTo>
                    <a:pt x="945" y="28"/>
                  </a:lnTo>
                  <a:lnTo>
                    <a:pt x="948" y="28"/>
                  </a:lnTo>
                  <a:lnTo>
                    <a:pt x="948" y="28"/>
                  </a:lnTo>
                  <a:lnTo>
                    <a:pt x="945" y="28"/>
                  </a:lnTo>
                  <a:lnTo>
                    <a:pt x="943" y="28"/>
                  </a:lnTo>
                  <a:lnTo>
                    <a:pt x="943" y="30"/>
                  </a:lnTo>
                  <a:lnTo>
                    <a:pt x="940" y="30"/>
                  </a:lnTo>
                  <a:lnTo>
                    <a:pt x="940" y="30"/>
                  </a:lnTo>
                  <a:lnTo>
                    <a:pt x="940" y="30"/>
                  </a:lnTo>
                  <a:lnTo>
                    <a:pt x="938" y="30"/>
                  </a:lnTo>
                  <a:lnTo>
                    <a:pt x="940" y="28"/>
                  </a:lnTo>
                  <a:lnTo>
                    <a:pt x="940" y="28"/>
                  </a:lnTo>
                  <a:lnTo>
                    <a:pt x="940" y="28"/>
                  </a:lnTo>
                  <a:lnTo>
                    <a:pt x="940" y="25"/>
                  </a:lnTo>
                  <a:lnTo>
                    <a:pt x="938" y="25"/>
                  </a:lnTo>
                  <a:lnTo>
                    <a:pt x="933" y="25"/>
                  </a:lnTo>
                  <a:lnTo>
                    <a:pt x="933" y="25"/>
                  </a:lnTo>
                  <a:lnTo>
                    <a:pt x="928" y="25"/>
                  </a:lnTo>
                  <a:lnTo>
                    <a:pt x="920" y="25"/>
                  </a:lnTo>
                  <a:close/>
                  <a:moveTo>
                    <a:pt x="973" y="74"/>
                  </a:moveTo>
                  <a:lnTo>
                    <a:pt x="973" y="74"/>
                  </a:lnTo>
                  <a:lnTo>
                    <a:pt x="966" y="74"/>
                  </a:lnTo>
                  <a:lnTo>
                    <a:pt x="961" y="76"/>
                  </a:lnTo>
                  <a:lnTo>
                    <a:pt x="961" y="76"/>
                  </a:lnTo>
                  <a:lnTo>
                    <a:pt x="961" y="76"/>
                  </a:lnTo>
                  <a:lnTo>
                    <a:pt x="966" y="76"/>
                  </a:lnTo>
                  <a:lnTo>
                    <a:pt x="966" y="76"/>
                  </a:lnTo>
                  <a:lnTo>
                    <a:pt x="968" y="76"/>
                  </a:lnTo>
                  <a:lnTo>
                    <a:pt x="971" y="76"/>
                  </a:lnTo>
                  <a:lnTo>
                    <a:pt x="973" y="76"/>
                  </a:lnTo>
                  <a:lnTo>
                    <a:pt x="973" y="76"/>
                  </a:lnTo>
                  <a:lnTo>
                    <a:pt x="973" y="76"/>
                  </a:lnTo>
                  <a:lnTo>
                    <a:pt x="973" y="74"/>
                  </a:lnTo>
                  <a:lnTo>
                    <a:pt x="973" y="74"/>
                  </a:lnTo>
                  <a:lnTo>
                    <a:pt x="973" y="74"/>
                  </a:lnTo>
                  <a:close/>
                  <a:moveTo>
                    <a:pt x="877" y="112"/>
                  </a:moveTo>
                  <a:lnTo>
                    <a:pt x="877" y="112"/>
                  </a:lnTo>
                  <a:lnTo>
                    <a:pt x="874" y="112"/>
                  </a:lnTo>
                  <a:lnTo>
                    <a:pt x="874" y="112"/>
                  </a:lnTo>
                  <a:lnTo>
                    <a:pt x="877" y="114"/>
                  </a:lnTo>
                  <a:lnTo>
                    <a:pt x="882" y="114"/>
                  </a:lnTo>
                  <a:lnTo>
                    <a:pt x="884" y="114"/>
                  </a:lnTo>
                  <a:lnTo>
                    <a:pt x="884" y="114"/>
                  </a:lnTo>
                  <a:lnTo>
                    <a:pt x="884" y="112"/>
                  </a:lnTo>
                  <a:lnTo>
                    <a:pt x="884" y="112"/>
                  </a:lnTo>
                  <a:lnTo>
                    <a:pt x="882" y="112"/>
                  </a:lnTo>
                  <a:lnTo>
                    <a:pt x="879" y="112"/>
                  </a:lnTo>
                  <a:lnTo>
                    <a:pt x="879" y="112"/>
                  </a:lnTo>
                  <a:lnTo>
                    <a:pt x="877" y="112"/>
                  </a:lnTo>
                  <a:close/>
                  <a:moveTo>
                    <a:pt x="882" y="71"/>
                  </a:moveTo>
                  <a:lnTo>
                    <a:pt x="882" y="71"/>
                  </a:lnTo>
                  <a:lnTo>
                    <a:pt x="882" y="71"/>
                  </a:lnTo>
                  <a:lnTo>
                    <a:pt x="877" y="71"/>
                  </a:lnTo>
                  <a:lnTo>
                    <a:pt x="877" y="71"/>
                  </a:lnTo>
                  <a:lnTo>
                    <a:pt x="877" y="71"/>
                  </a:lnTo>
                  <a:lnTo>
                    <a:pt x="877" y="71"/>
                  </a:lnTo>
                  <a:lnTo>
                    <a:pt x="879" y="74"/>
                  </a:lnTo>
                  <a:lnTo>
                    <a:pt x="882" y="74"/>
                  </a:lnTo>
                  <a:lnTo>
                    <a:pt x="882" y="71"/>
                  </a:lnTo>
                  <a:close/>
                  <a:moveTo>
                    <a:pt x="520" y="89"/>
                  </a:moveTo>
                  <a:lnTo>
                    <a:pt x="520" y="89"/>
                  </a:lnTo>
                  <a:lnTo>
                    <a:pt x="520" y="91"/>
                  </a:lnTo>
                  <a:lnTo>
                    <a:pt x="520" y="91"/>
                  </a:lnTo>
                  <a:lnTo>
                    <a:pt x="520" y="91"/>
                  </a:lnTo>
                  <a:lnTo>
                    <a:pt x="520" y="91"/>
                  </a:lnTo>
                  <a:lnTo>
                    <a:pt x="517" y="91"/>
                  </a:lnTo>
                  <a:lnTo>
                    <a:pt x="515" y="91"/>
                  </a:lnTo>
                  <a:lnTo>
                    <a:pt x="515" y="91"/>
                  </a:lnTo>
                  <a:lnTo>
                    <a:pt x="510" y="91"/>
                  </a:lnTo>
                  <a:lnTo>
                    <a:pt x="507" y="91"/>
                  </a:lnTo>
                  <a:lnTo>
                    <a:pt x="507" y="94"/>
                  </a:lnTo>
                  <a:lnTo>
                    <a:pt x="505" y="94"/>
                  </a:lnTo>
                  <a:lnTo>
                    <a:pt x="499" y="94"/>
                  </a:lnTo>
                  <a:lnTo>
                    <a:pt x="497" y="97"/>
                  </a:lnTo>
                  <a:lnTo>
                    <a:pt x="494" y="97"/>
                  </a:lnTo>
                  <a:lnTo>
                    <a:pt x="494" y="97"/>
                  </a:lnTo>
                  <a:lnTo>
                    <a:pt x="492" y="97"/>
                  </a:lnTo>
                  <a:lnTo>
                    <a:pt x="489" y="99"/>
                  </a:lnTo>
                  <a:lnTo>
                    <a:pt x="484" y="99"/>
                  </a:lnTo>
                  <a:lnTo>
                    <a:pt x="484" y="99"/>
                  </a:lnTo>
                  <a:lnTo>
                    <a:pt x="487" y="99"/>
                  </a:lnTo>
                  <a:lnTo>
                    <a:pt x="482" y="102"/>
                  </a:lnTo>
                  <a:lnTo>
                    <a:pt x="482" y="102"/>
                  </a:lnTo>
                  <a:lnTo>
                    <a:pt x="482" y="104"/>
                  </a:lnTo>
                  <a:lnTo>
                    <a:pt x="482" y="104"/>
                  </a:lnTo>
                  <a:lnTo>
                    <a:pt x="476" y="104"/>
                  </a:lnTo>
                  <a:lnTo>
                    <a:pt x="474" y="104"/>
                  </a:lnTo>
                  <a:lnTo>
                    <a:pt x="474" y="104"/>
                  </a:lnTo>
                  <a:lnTo>
                    <a:pt x="471" y="104"/>
                  </a:lnTo>
                  <a:lnTo>
                    <a:pt x="471" y="104"/>
                  </a:lnTo>
                  <a:lnTo>
                    <a:pt x="471" y="107"/>
                  </a:lnTo>
                  <a:lnTo>
                    <a:pt x="471" y="107"/>
                  </a:lnTo>
                  <a:lnTo>
                    <a:pt x="469" y="109"/>
                  </a:lnTo>
                  <a:lnTo>
                    <a:pt x="469" y="109"/>
                  </a:lnTo>
                  <a:lnTo>
                    <a:pt x="466" y="109"/>
                  </a:lnTo>
                  <a:lnTo>
                    <a:pt x="466" y="107"/>
                  </a:lnTo>
                  <a:lnTo>
                    <a:pt x="464" y="107"/>
                  </a:lnTo>
                  <a:lnTo>
                    <a:pt x="461" y="107"/>
                  </a:lnTo>
                  <a:lnTo>
                    <a:pt x="461" y="107"/>
                  </a:lnTo>
                  <a:lnTo>
                    <a:pt x="459" y="109"/>
                  </a:lnTo>
                  <a:lnTo>
                    <a:pt x="459" y="109"/>
                  </a:lnTo>
                  <a:lnTo>
                    <a:pt x="461" y="109"/>
                  </a:lnTo>
                  <a:lnTo>
                    <a:pt x="464" y="112"/>
                  </a:lnTo>
                  <a:lnTo>
                    <a:pt x="466" y="112"/>
                  </a:lnTo>
                  <a:lnTo>
                    <a:pt x="469" y="112"/>
                  </a:lnTo>
                  <a:lnTo>
                    <a:pt x="471" y="112"/>
                  </a:lnTo>
                  <a:lnTo>
                    <a:pt x="466" y="112"/>
                  </a:lnTo>
                  <a:lnTo>
                    <a:pt x="464" y="114"/>
                  </a:lnTo>
                  <a:lnTo>
                    <a:pt x="461" y="117"/>
                  </a:lnTo>
                  <a:lnTo>
                    <a:pt x="461" y="117"/>
                  </a:lnTo>
                  <a:lnTo>
                    <a:pt x="461" y="117"/>
                  </a:lnTo>
                  <a:lnTo>
                    <a:pt x="461" y="119"/>
                  </a:lnTo>
                  <a:lnTo>
                    <a:pt x="464" y="119"/>
                  </a:lnTo>
                  <a:lnTo>
                    <a:pt x="466" y="119"/>
                  </a:lnTo>
                  <a:lnTo>
                    <a:pt x="469" y="119"/>
                  </a:lnTo>
                  <a:lnTo>
                    <a:pt x="469" y="119"/>
                  </a:lnTo>
                  <a:lnTo>
                    <a:pt x="461" y="122"/>
                  </a:lnTo>
                  <a:lnTo>
                    <a:pt x="459" y="122"/>
                  </a:lnTo>
                  <a:lnTo>
                    <a:pt x="456" y="125"/>
                  </a:lnTo>
                  <a:lnTo>
                    <a:pt x="456" y="127"/>
                  </a:lnTo>
                  <a:lnTo>
                    <a:pt x="456" y="127"/>
                  </a:lnTo>
                  <a:lnTo>
                    <a:pt x="454" y="127"/>
                  </a:lnTo>
                  <a:lnTo>
                    <a:pt x="454" y="130"/>
                  </a:lnTo>
                  <a:lnTo>
                    <a:pt x="454" y="130"/>
                  </a:lnTo>
                  <a:lnTo>
                    <a:pt x="451" y="130"/>
                  </a:lnTo>
                  <a:lnTo>
                    <a:pt x="448" y="130"/>
                  </a:lnTo>
                  <a:lnTo>
                    <a:pt x="446" y="132"/>
                  </a:lnTo>
                  <a:lnTo>
                    <a:pt x="443" y="132"/>
                  </a:lnTo>
                  <a:lnTo>
                    <a:pt x="443" y="132"/>
                  </a:lnTo>
                  <a:lnTo>
                    <a:pt x="443" y="135"/>
                  </a:lnTo>
                  <a:lnTo>
                    <a:pt x="451" y="137"/>
                  </a:lnTo>
                  <a:lnTo>
                    <a:pt x="451" y="137"/>
                  </a:lnTo>
                  <a:lnTo>
                    <a:pt x="454" y="140"/>
                  </a:lnTo>
                  <a:lnTo>
                    <a:pt x="456" y="140"/>
                  </a:lnTo>
                  <a:lnTo>
                    <a:pt x="459" y="140"/>
                  </a:lnTo>
                  <a:lnTo>
                    <a:pt x="464" y="140"/>
                  </a:lnTo>
                  <a:lnTo>
                    <a:pt x="466" y="140"/>
                  </a:lnTo>
                  <a:lnTo>
                    <a:pt x="471" y="140"/>
                  </a:lnTo>
                  <a:lnTo>
                    <a:pt x="479" y="140"/>
                  </a:lnTo>
                  <a:lnTo>
                    <a:pt x="482" y="142"/>
                  </a:lnTo>
                  <a:lnTo>
                    <a:pt x="484" y="142"/>
                  </a:lnTo>
                  <a:lnTo>
                    <a:pt x="487" y="142"/>
                  </a:lnTo>
                  <a:lnTo>
                    <a:pt x="489" y="140"/>
                  </a:lnTo>
                  <a:lnTo>
                    <a:pt x="492" y="137"/>
                  </a:lnTo>
                  <a:lnTo>
                    <a:pt x="494" y="135"/>
                  </a:lnTo>
                  <a:lnTo>
                    <a:pt x="497" y="135"/>
                  </a:lnTo>
                  <a:lnTo>
                    <a:pt x="494" y="132"/>
                  </a:lnTo>
                  <a:lnTo>
                    <a:pt x="492" y="132"/>
                  </a:lnTo>
                  <a:lnTo>
                    <a:pt x="492" y="132"/>
                  </a:lnTo>
                  <a:lnTo>
                    <a:pt x="494" y="132"/>
                  </a:lnTo>
                  <a:lnTo>
                    <a:pt x="497" y="132"/>
                  </a:lnTo>
                  <a:lnTo>
                    <a:pt x="497" y="132"/>
                  </a:lnTo>
                  <a:lnTo>
                    <a:pt x="497" y="132"/>
                  </a:lnTo>
                  <a:lnTo>
                    <a:pt x="499" y="132"/>
                  </a:lnTo>
                  <a:lnTo>
                    <a:pt x="499" y="132"/>
                  </a:lnTo>
                  <a:lnTo>
                    <a:pt x="497" y="130"/>
                  </a:lnTo>
                  <a:lnTo>
                    <a:pt x="497" y="130"/>
                  </a:lnTo>
                  <a:lnTo>
                    <a:pt x="497" y="130"/>
                  </a:lnTo>
                  <a:lnTo>
                    <a:pt x="505" y="127"/>
                  </a:lnTo>
                  <a:lnTo>
                    <a:pt x="505" y="125"/>
                  </a:lnTo>
                  <a:lnTo>
                    <a:pt x="505" y="125"/>
                  </a:lnTo>
                  <a:lnTo>
                    <a:pt x="505" y="122"/>
                  </a:lnTo>
                  <a:lnTo>
                    <a:pt x="502" y="122"/>
                  </a:lnTo>
                  <a:lnTo>
                    <a:pt x="502" y="119"/>
                  </a:lnTo>
                  <a:lnTo>
                    <a:pt x="502" y="119"/>
                  </a:lnTo>
                  <a:lnTo>
                    <a:pt x="507" y="119"/>
                  </a:lnTo>
                  <a:lnTo>
                    <a:pt x="510" y="119"/>
                  </a:lnTo>
                  <a:lnTo>
                    <a:pt x="510" y="119"/>
                  </a:lnTo>
                  <a:lnTo>
                    <a:pt x="510" y="119"/>
                  </a:lnTo>
                  <a:lnTo>
                    <a:pt x="510" y="117"/>
                  </a:lnTo>
                  <a:lnTo>
                    <a:pt x="510" y="117"/>
                  </a:lnTo>
                  <a:lnTo>
                    <a:pt x="510" y="117"/>
                  </a:lnTo>
                  <a:lnTo>
                    <a:pt x="515" y="117"/>
                  </a:lnTo>
                  <a:lnTo>
                    <a:pt x="517" y="117"/>
                  </a:lnTo>
                  <a:lnTo>
                    <a:pt x="517" y="117"/>
                  </a:lnTo>
                  <a:lnTo>
                    <a:pt x="517" y="117"/>
                  </a:lnTo>
                  <a:lnTo>
                    <a:pt x="517" y="117"/>
                  </a:lnTo>
                  <a:lnTo>
                    <a:pt x="517" y="114"/>
                  </a:lnTo>
                  <a:lnTo>
                    <a:pt x="520" y="114"/>
                  </a:lnTo>
                  <a:lnTo>
                    <a:pt x="520" y="114"/>
                  </a:lnTo>
                  <a:lnTo>
                    <a:pt x="522" y="114"/>
                  </a:lnTo>
                  <a:lnTo>
                    <a:pt x="522" y="114"/>
                  </a:lnTo>
                  <a:lnTo>
                    <a:pt x="525" y="112"/>
                  </a:lnTo>
                  <a:lnTo>
                    <a:pt x="525" y="112"/>
                  </a:lnTo>
                  <a:lnTo>
                    <a:pt x="525" y="112"/>
                  </a:lnTo>
                  <a:lnTo>
                    <a:pt x="520" y="112"/>
                  </a:lnTo>
                  <a:lnTo>
                    <a:pt x="520" y="112"/>
                  </a:lnTo>
                  <a:lnTo>
                    <a:pt x="522" y="109"/>
                  </a:lnTo>
                  <a:lnTo>
                    <a:pt x="525" y="109"/>
                  </a:lnTo>
                  <a:lnTo>
                    <a:pt x="525" y="109"/>
                  </a:lnTo>
                  <a:lnTo>
                    <a:pt x="527" y="109"/>
                  </a:lnTo>
                  <a:lnTo>
                    <a:pt x="527" y="109"/>
                  </a:lnTo>
                  <a:lnTo>
                    <a:pt x="527" y="107"/>
                  </a:lnTo>
                  <a:lnTo>
                    <a:pt x="530" y="107"/>
                  </a:lnTo>
                  <a:lnTo>
                    <a:pt x="530" y="107"/>
                  </a:lnTo>
                  <a:lnTo>
                    <a:pt x="533" y="104"/>
                  </a:lnTo>
                  <a:lnTo>
                    <a:pt x="535" y="104"/>
                  </a:lnTo>
                  <a:lnTo>
                    <a:pt x="535" y="104"/>
                  </a:lnTo>
                  <a:lnTo>
                    <a:pt x="540" y="104"/>
                  </a:lnTo>
                  <a:lnTo>
                    <a:pt x="553" y="102"/>
                  </a:lnTo>
                  <a:lnTo>
                    <a:pt x="556" y="99"/>
                  </a:lnTo>
                  <a:lnTo>
                    <a:pt x="561" y="99"/>
                  </a:lnTo>
                  <a:lnTo>
                    <a:pt x="561" y="99"/>
                  </a:lnTo>
                  <a:lnTo>
                    <a:pt x="568" y="99"/>
                  </a:lnTo>
                  <a:lnTo>
                    <a:pt x="573" y="97"/>
                  </a:lnTo>
                  <a:lnTo>
                    <a:pt x="578" y="97"/>
                  </a:lnTo>
                  <a:lnTo>
                    <a:pt x="584" y="94"/>
                  </a:lnTo>
                  <a:lnTo>
                    <a:pt x="591" y="94"/>
                  </a:lnTo>
                  <a:lnTo>
                    <a:pt x="596" y="91"/>
                  </a:lnTo>
                  <a:lnTo>
                    <a:pt x="599" y="91"/>
                  </a:lnTo>
                  <a:lnTo>
                    <a:pt x="601" y="91"/>
                  </a:lnTo>
                  <a:lnTo>
                    <a:pt x="604" y="91"/>
                  </a:lnTo>
                  <a:lnTo>
                    <a:pt x="609" y="89"/>
                  </a:lnTo>
                  <a:lnTo>
                    <a:pt x="612" y="89"/>
                  </a:lnTo>
                  <a:lnTo>
                    <a:pt x="614" y="89"/>
                  </a:lnTo>
                  <a:lnTo>
                    <a:pt x="617" y="86"/>
                  </a:lnTo>
                  <a:lnTo>
                    <a:pt x="619" y="84"/>
                  </a:lnTo>
                  <a:lnTo>
                    <a:pt x="619" y="84"/>
                  </a:lnTo>
                  <a:lnTo>
                    <a:pt x="617" y="81"/>
                  </a:lnTo>
                  <a:lnTo>
                    <a:pt x="619" y="81"/>
                  </a:lnTo>
                  <a:lnTo>
                    <a:pt x="617" y="81"/>
                  </a:lnTo>
                  <a:lnTo>
                    <a:pt x="617" y="79"/>
                  </a:lnTo>
                  <a:lnTo>
                    <a:pt x="612" y="79"/>
                  </a:lnTo>
                  <a:lnTo>
                    <a:pt x="609" y="76"/>
                  </a:lnTo>
                  <a:lnTo>
                    <a:pt x="601" y="76"/>
                  </a:lnTo>
                  <a:lnTo>
                    <a:pt x="596" y="76"/>
                  </a:lnTo>
                  <a:lnTo>
                    <a:pt x="596" y="76"/>
                  </a:lnTo>
                  <a:lnTo>
                    <a:pt x="594" y="76"/>
                  </a:lnTo>
                  <a:lnTo>
                    <a:pt x="589" y="76"/>
                  </a:lnTo>
                  <a:lnTo>
                    <a:pt x="584" y="79"/>
                  </a:lnTo>
                  <a:lnTo>
                    <a:pt x="578" y="81"/>
                  </a:lnTo>
                  <a:lnTo>
                    <a:pt x="578" y="81"/>
                  </a:lnTo>
                  <a:lnTo>
                    <a:pt x="578" y="81"/>
                  </a:lnTo>
                  <a:lnTo>
                    <a:pt x="578" y="84"/>
                  </a:lnTo>
                  <a:lnTo>
                    <a:pt x="576" y="84"/>
                  </a:lnTo>
                  <a:lnTo>
                    <a:pt x="573" y="84"/>
                  </a:lnTo>
                  <a:lnTo>
                    <a:pt x="573" y="84"/>
                  </a:lnTo>
                  <a:lnTo>
                    <a:pt x="571" y="84"/>
                  </a:lnTo>
                  <a:lnTo>
                    <a:pt x="568" y="84"/>
                  </a:lnTo>
                  <a:lnTo>
                    <a:pt x="568" y="84"/>
                  </a:lnTo>
                  <a:lnTo>
                    <a:pt x="566" y="86"/>
                  </a:lnTo>
                  <a:lnTo>
                    <a:pt x="563" y="86"/>
                  </a:lnTo>
                  <a:lnTo>
                    <a:pt x="550" y="89"/>
                  </a:lnTo>
                  <a:lnTo>
                    <a:pt x="545" y="89"/>
                  </a:lnTo>
                  <a:lnTo>
                    <a:pt x="543" y="89"/>
                  </a:lnTo>
                  <a:lnTo>
                    <a:pt x="538" y="89"/>
                  </a:lnTo>
                  <a:lnTo>
                    <a:pt x="535" y="89"/>
                  </a:lnTo>
                  <a:lnTo>
                    <a:pt x="527" y="89"/>
                  </a:lnTo>
                  <a:lnTo>
                    <a:pt x="525" y="89"/>
                  </a:lnTo>
                  <a:lnTo>
                    <a:pt x="520" y="89"/>
                  </a:lnTo>
                  <a:lnTo>
                    <a:pt x="520" y="89"/>
                  </a:lnTo>
                  <a:close/>
                  <a:moveTo>
                    <a:pt x="673" y="145"/>
                  </a:moveTo>
                  <a:lnTo>
                    <a:pt x="673" y="145"/>
                  </a:lnTo>
                  <a:lnTo>
                    <a:pt x="673" y="145"/>
                  </a:lnTo>
                  <a:lnTo>
                    <a:pt x="675" y="145"/>
                  </a:lnTo>
                  <a:lnTo>
                    <a:pt x="675" y="145"/>
                  </a:lnTo>
                  <a:lnTo>
                    <a:pt x="678" y="145"/>
                  </a:lnTo>
                  <a:lnTo>
                    <a:pt x="680" y="145"/>
                  </a:lnTo>
                  <a:lnTo>
                    <a:pt x="683" y="145"/>
                  </a:lnTo>
                  <a:lnTo>
                    <a:pt x="685" y="145"/>
                  </a:lnTo>
                  <a:lnTo>
                    <a:pt x="693" y="145"/>
                  </a:lnTo>
                  <a:lnTo>
                    <a:pt x="696" y="145"/>
                  </a:lnTo>
                  <a:lnTo>
                    <a:pt x="696" y="142"/>
                  </a:lnTo>
                  <a:lnTo>
                    <a:pt x="693" y="142"/>
                  </a:lnTo>
                  <a:lnTo>
                    <a:pt x="691" y="140"/>
                  </a:lnTo>
                  <a:lnTo>
                    <a:pt x="691" y="140"/>
                  </a:lnTo>
                  <a:lnTo>
                    <a:pt x="688" y="140"/>
                  </a:lnTo>
                  <a:lnTo>
                    <a:pt x="685" y="137"/>
                  </a:lnTo>
                  <a:lnTo>
                    <a:pt x="683" y="137"/>
                  </a:lnTo>
                  <a:lnTo>
                    <a:pt x="683" y="137"/>
                  </a:lnTo>
                  <a:lnTo>
                    <a:pt x="675" y="137"/>
                  </a:lnTo>
                  <a:lnTo>
                    <a:pt x="673" y="140"/>
                  </a:lnTo>
                  <a:lnTo>
                    <a:pt x="670" y="140"/>
                  </a:lnTo>
                  <a:lnTo>
                    <a:pt x="673" y="142"/>
                  </a:lnTo>
                  <a:lnTo>
                    <a:pt x="673" y="145"/>
                  </a:lnTo>
                  <a:close/>
                  <a:moveTo>
                    <a:pt x="780" y="160"/>
                  </a:moveTo>
                  <a:lnTo>
                    <a:pt x="782" y="160"/>
                  </a:lnTo>
                  <a:lnTo>
                    <a:pt x="790" y="160"/>
                  </a:lnTo>
                  <a:lnTo>
                    <a:pt x="793" y="160"/>
                  </a:lnTo>
                  <a:lnTo>
                    <a:pt x="795" y="158"/>
                  </a:lnTo>
                  <a:lnTo>
                    <a:pt x="795" y="158"/>
                  </a:lnTo>
                  <a:lnTo>
                    <a:pt x="798" y="155"/>
                  </a:lnTo>
                  <a:lnTo>
                    <a:pt x="798" y="155"/>
                  </a:lnTo>
                  <a:lnTo>
                    <a:pt x="795" y="155"/>
                  </a:lnTo>
                  <a:lnTo>
                    <a:pt x="787" y="153"/>
                  </a:lnTo>
                  <a:lnTo>
                    <a:pt x="785" y="153"/>
                  </a:lnTo>
                  <a:lnTo>
                    <a:pt x="782" y="155"/>
                  </a:lnTo>
                  <a:lnTo>
                    <a:pt x="782" y="155"/>
                  </a:lnTo>
                  <a:lnTo>
                    <a:pt x="782" y="158"/>
                  </a:lnTo>
                  <a:lnTo>
                    <a:pt x="780" y="158"/>
                  </a:lnTo>
                  <a:lnTo>
                    <a:pt x="780" y="160"/>
                  </a:lnTo>
                  <a:lnTo>
                    <a:pt x="780" y="160"/>
                  </a:lnTo>
                  <a:close/>
                  <a:moveTo>
                    <a:pt x="522" y="188"/>
                  </a:moveTo>
                  <a:lnTo>
                    <a:pt x="520" y="188"/>
                  </a:lnTo>
                  <a:lnTo>
                    <a:pt x="520" y="188"/>
                  </a:lnTo>
                  <a:lnTo>
                    <a:pt x="512" y="186"/>
                  </a:lnTo>
                  <a:lnTo>
                    <a:pt x="510" y="186"/>
                  </a:lnTo>
                  <a:lnTo>
                    <a:pt x="502" y="181"/>
                  </a:lnTo>
                  <a:lnTo>
                    <a:pt x="494" y="178"/>
                  </a:lnTo>
                  <a:lnTo>
                    <a:pt x="489" y="175"/>
                  </a:lnTo>
                  <a:lnTo>
                    <a:pt x="484" y="170"/>
                  </a:lnTo>
                  <a:lnTo>
                    <a:pt x="484" y="170"/>
                  </a:lnTo>
                  <a:lnTo>
                    <a:pt x="482" y="168"/>
                  </a:lnTo>
                  <a:lnTo>
                    <a:pt x="479" y="165"/>
                  </a:lnTo>
                  <a:lnTo>
                    <a:pt x="479" y="165"/>
                  </a:lnTo>
                  <a:lnTo>
                    <a:pt x="479" y="163"/>
                  </a:lnTo>
                  <a:lnTo>
                    <a:pt x="479" y="163"/>
                  </a:lnTo>
                  <a:lnTo>
                    <a:pt x="479" y="160"/>
                  </a:lnTo>
                  <a:lnTo>
                    <a:pt x="476" y="160"/>
                  </a:lnTo>
                  <a:lnTo>
                    <a:pt x="476" y="158"/>
                  </a:lnTo>
                  <a:lnTo>
                    <a:pt x="476" y="158"/>
                  </a:lnTo>
                  <a:lnTo>
                    <a:pt x="476" y="158"/>
                  </a:lnTo>
                  <a:lnTo>
                    <a:pt x="476" y="155"/>
                  </a:lnTo>
                  <a:lnTo>
                    <a:pt x="476" y="155"/>
                  </a:lnTo>
                  <a:lnTo>
                    <a:pt x="476" y="155"/>
                  </a:lnTo>
                  <a:lnTo>
                    <a:pt x="479" y="155"/>
                  </a:lnTo>
                  <a:lnTo>
                    <a:pt x="479" y="153"/>
                  </a:lnTo>
                  <a:lnTo>
                    <a:pt x="479" y="153"/>
                  </a:lnTo>
                  <a:lnTo>
                    <a:pt x="479" y="150"/>
                  </a:lnTo>
                  <a:lnTo>
                    <a:pt x="479" y="150"/>
                  </a:lnTo>
                  <a:lnTo>
                    <a:pt x="484" y="150"/>
                  </a:lnTo>
                  <a:lnTo>
                    <a:pt x="484" y="150"/>
                  </a:lnTo>
                  <a:lnTo>
                    <a:pt x="484" y="150"/>
                  </a:lnTo>
                  <a:lnTo>
                    <a:pt x="484" y="147"/>
                  </a:lnTo>
                  <a:lnTo>
                    <a:pt x="482" y="147"/>
                  </a:lnTo>
                  <a:lnTo>
                    <a:pt x="482" y="147"/>
                  </a:lnTo>
                  <a:lnTo>
                    <a:pt x="484" y="145"/>
                  </a:lnTo>
                  <a:lnTo>
                    <a:pt x="484" y="145"/>
                  </a:lnTo>
                  <a:lnTo>
                    <a:pt x="484" y="142"/>
                  </a:lnTo>
                  <a:lnTo>
                    <a:pt x="484" y="142"/>
                  </a:lnTo>
                  <a:lnTo>
                    <a:pt x="479" y="142"/>
                  </a:lnTo>
                  <a:lnTo>
                    <a:pt x="474" y="142"/>
                  </a:lnTo>
                  <a:lnTo>
                    <a:pt x="469" y="142"/>
                  </a:lnTo>
                  <a:lnTo>
                    <a:pt x="466" y="140"/>
                  </a:lnTo>
                  <a:lnTo>
                    <a:pt x="461" y="140"/>
                  </a:lnTo>
                  <a:lnTo>
                    <a:pt x="461" y="140"/>
                  </a:lnTo>
                  <a:lnTo>
                    <a:pt x="459" y="140"/>
                  </a:lnTo>
                  <a:lnTo>
                    <a:pt x="454" y="142"/>
                  </a:lnTo>
                  <a:lnTo>
                    <a:pt x="454" y="142"/>
                  </a:lnTo>
                  <a:lnTo>
                    <a:pt x="451" y="142"/>
                  </a:lnTo>
                  <a:lnTo>
                    <a:pt x="448" y="142"/>
                  </a:lnTo>
                  <a:lnTo>
                    <a:pt x="446" y="142"/>
                  </a:lnTo>
                  <a:lnTo>
                    <a:pt x="446" y="142"/>
                  </a:lnTo>
                  <a:lnTo>
                    <a:pt x="443" y="142"/>
                  </a:lnTo>
                  <a:lnTo>
                    <a:pt x="441" y="142"/>
                  </a:lnTo>
                  <a:lnTo>
                    <a:pt x="441" y="142"/>
                  </a:lnTo>
                  <a:lnTo>
                    <a:pt x="441" y="145"/>
                  </a:lnTo>
                  <a:lnTo>
                    <a:pt x="441" y="145"/>
                  </a:lnTo>
                  <a:lnTo>
                    <a:pt x="441" y="147"/>
                  </a:lnTo>
                  <a:lnTo>
                    <a:pt x="443" y="147"/>
                  </a:lnTo>
                  <a:lnTo>
                    <a:pt x="443" y="147"/>
                  </a:lnTo>
                  <a:lnTo>
                    <a:pt x="443" y="147"/>
                  </a:lnTo>
                  <a:lnTo>
                    <a:pt x="441" y="147"/>
                  </a:lnTo>
                  <a:lnTo>
                    <a:pt x="438" y="147"/>
                  </a:lnTo>
                  <a:lnTo>
                    <a:pt x="438" y="147"/>
                  </a:lnTo>
                  <a:lnTo>
                    <a:pt x="436" y="150"/>
                  </a:lnTo>
                  <a:lnTo>
                    <a:pt x="433" y="150"/>
                  </a:lnTo>
                  <a:lnTo>
                    <a:pt x="433" y="150"/>
                  </a:lnTo>
                  <a:lnTo>
                    <a:pt x="433" y="153"/>
                  </a:lnTo>
                  <a:lnTo>
                    <a:pt x="436" y="153"/>
                  </a:lnTo>
                  <a:lnTo>
                    <a:pt x="436" y="153"/>
                  </a:lnTo>
                  <a:lnTo>
                    <a:pt x="441" y="153"/>
                  </a:lnTo>
                  <a:lnTo>
                    <a:pt x="438" y="155"/>
                  </a:lnTo>
                  <a:lnTo>
                    <a:pt x="438" y="155"/>
                  </a:lnTo>
                  <a:lnTo>
                    <a:pt x="441" y="155"/>
                  </a:lnTo>
                  <a:lnTo>
                    <a:pt x="438" y="155"/>
                  </a:lnTo>
                  <a:lnTo>
                    <a:pt x="438" y="158"/>
                  </a:lnTo>
                  <a:lnTo>
                    <a:pt x="438" y="158"/>
                  </a:lnTo>
                  <a:lnTo>
                    <a:pt x="438" y="160"/>
                  </a:lnTo>
                  <a:lnTo>
                    <a:pt x="438" y="160"/>
                  </a:lnTo>
                  <a:lnTo>
                    <a:pt x="438" y="160"/>
                  </a:lnTo>
                  <a:lnTo>
                    <a:pt x="436" y="160"/>
                  </a:lnTo>
                  <a:lnTo>
                    <a:pt x="436" y="163"/>
                  </a:lnTo>
                  <a:lnTo>
                    <a:pt x="436" y="163"/>
                  </a:lnTo>
                  <a:lnTo>
                    <a:pt x="436" y="163"/>
                  </a:lnTo>
                  <a:lnTo>
                    <a:pt x="433" y="163"/>
                  </a:lnTo>
                  <a:lnTo>
                    <a:pt x="428" y="163"/>
                  </a:lnTo>
                  <a:lnTo>
                    <a:pt x="428" y="163"/>
                  </a:lnTo>
                  <a:lnTo>
                    <a:pt x="426" y="163"/>
                  </a:lnTo>
                  <a:lnTo>
                    <a:pt x="426" y="163"/>
                  </a:lnTo>
                  <a:lnTo>
                    <a:pt x="426" y="165"/>
                  </a:lnTo>
                  <a:lnTo>
                    <a:pt x="426" y="165"/>
                  </a:lnTo>
                  <a:lnTo>
                    <a:pt x="426" y="168"/>
                  </a:lnTo>
                  <a:lnTo>
                    <a:pt x="426" y="170"/>
                  </a:lnTo>
                  <a:lnTo>
                    <a:pt x="428" y="173"/>
                  </a:lnTo>
                  <a:lnTo>
                    <a:pt x="428" y="173"/>
                  </a:lnTo>
                  <a:lnTo>
                    <a:pt x="431" y="173"/>
                  </a:lnTo>
                  <a:lnTo>
                    <a:pt x="433" y="175"/>
                  </a:lnTo>
                  <a:lnTo>
                    <a:pt x="436" y="175"/>
                  </a:lnTo>
                  <a:lnTo>
                    <a:pt x="438" y="175"/>
                  </a:lnTo>
                  <a:lnTo>
                    <a:pt x="441" y="173"/>
                  </a:lnTo>
                  <a:lnTo>
                    <a:pt x="446" y="175"/>
                  </a:lnTo>
                  <a:lnTo>
                    <a:pt x="448" y="175"/>
                  </a:lnTo>
                  <a:lnTo>
                    <a:pt x="454" y="173"/>
                  </a:lnTo>
                  <a:lnTo>
                    <a:pt x="456" y="173"/>
                  </a:lnTo>
                  <a:lnTo>
                    <a:pt x="454" y="175"/>
                  </a:lnTo>
                  <a:lnTo>
                    <a:pt x="456" y="175"/>
                  </a:lnTo>
                  <a:lnTo>
                    <a:pt x="456" y="178"/>
                  </a:lnTo>
                  <a:lnTo>
                    <a:pt x="459" y="178"/>
                  </a:lnTo>
                  <a:lnTo>
                    <a:pt x="459" y="178"/>
                  </a:lnTo>
                  <a:lnTo>
                    <a:pt x="459" y="178"/>
                  </a:lnTo>
                  <a:lnTo>
                    <a:pt x="464" y="181"/>
                  </a:lnTo>
                  <a:lnTo>
                    <a:pt x="469" y="181"/>
                  </a:lnTo>
                  <a:lnTo>
                    <a:pt x="469" y="183"/>
                  </a:lnTo>
                  <a:lnTo>
                    <a:pt x="466" y="181"/>
                  </a:lnTo>
                  <a:lnTo>
                    <a:pt x="464" y="181"/>
                  </a:lnTo>
                  <a:lnTo>
                    <a:pt x="466" y="183"/>
                  </a:lnTo>
                  <a:lnTo>
                    <a:pt x="461" y="183"/>
                  </a:lnTo>
                  <a:lnTo>
                    <a:pt x="461" y="183"/>
                  </a:lnTo>
                  <a:lnTo>
                    <a:pt x="461" y="183"/>
                  </a:lnTo>
                  <a:lnTo>
                    <a:pt x="464" y="186"/>
                  </a:lnTo>
                  <a:lnTo>
                    <a:pt x="464" y="186"/>
                  </a:lnTo>
                  <a:lnTo>
                    <a:pt x="461" y="186"/>
                  </a:lnTo>
                  <a:lnTo>
                    <a:pt x="459" y="186"/>
                  </a:lnTo>
                  <a:lnTo>
                    <a:pt x="466" y="188"/>
                  </a:lnTo>
                  <a:lnTo>
                    <a:pt x="471" y="188"/>
                  </a:lnTo>
                  <a:lnTo>
                    <a:pt x="474" y="188"/>
                  </a:lnTo>
                  <a:lnTo>
                    <a:pt x="476" y="191"/>
                  </a:lnTo>
                  <a:lnTo>
                    <a:pt x="479" y="191"/>
                  </a:lnTo>
                  <a:lnTo>
                    <a:pt x="479" y="188"/>
                  </a:lnTo>
                  <a:lnTo>
                    <a:pt x="479" y="188"/>
                  </a:lnTo>
                  <a:lnTo>
                    <a:pt x="482" y="191"/>
                  </a:lnTo>
                  <a:lnTo>
                    <a:pt x="484" y="191"/>
                  </a:lnTo>
                  <a:lnTo>
                    <a:pt x="489" y="191"/>
                  </a:lnTo>
                  <a:lnTo>
                    <a:pt x="494" y="191"/>
                  </a:lnTo>
                  <a:lnTo>
                    <a:pt x="494" y="191"/>
                  </a:lnTo>
                  <a:lnTo>
                    <a:pt x="494" y="191"/>
                  </a:lnTo>
                  <a:lnTo>
                    <a:pt x="497" y="191"/>
                  </a:lnTo>
                  <a:lnTo>
                    <a:pt x="497" y="191"/>
                  </a:lnTo>
                  <a:lnTo>
                    <a:pt x="499" y="191"/>
                  </a:lnTo>
                  <a:lnTo>
                    <a:pt x="499" y="191"/>
                  </a:lnTo>
                  <a:lnTo>
                    <a:pt x="502" y="191"/>
                  </a:lnTo>
                  <a:lnTo>
                    <a:pt x="502" y="191"/>
                  </a:lnTo>
                  <a:lnTo>
                    <a:pt x="507" y="193"/>
                  </a:lnTo>
                  <a:lnTo>
                    <a:pt x="507" y="191"/>
                  </a:lnTo>
                  <a:lnTo>
                    <a:pt x="507" y="191"/>
                  </a:lnTo>
                  <a:lnTo>
                    <a:pt x="505" y="191"/>
                  </a:lnTo>
                  <a:lnTo>
                    <a:pt x="505" y="191"/>
                  </a:lnTo>
                  <a:lnTo>
                    <a:pt x="502" y="188"/>
                  </a:lnTo>
                  <a:lnTo>
                    <a:pt x="505" y="188"/>
                  </a:lnTo>
                  <a:lnTo>
                    <a:pt x="505" y="188"/>
                  </a:lnTo>
                  <a:lnTo>
                    <a:pt x="507" y="191"/>
                  </a:lnTo>
                  <a:lnTo>
                    <a:pt x="507" y="191"/>
                  </a:lnTo>
                  <a:lnTo>
                    <a:pt x="510" y="191"/>
                  </a:lnTo>
                  <a:lnTo>
                    <a:pt x="515" y="191"/>
                  </a:lnTo>
                  <a:lnTo>
                    <a:pt x="517" y="191"/>
                  </a:lnTo>
                  <a:lnTo>
                    <a:pt x="517" y="191"/>
                  </a:lnTo>
                  <a:lnTo>
                    <a:pt x="520" y="191"/>
                  </a:lnTo>
                  <a:lnTo>
                    <a:pt x="522" y="188"/>
                  </a:lnTo>
                  <a:close/>
                  <a:moveTo>
                    <a:pt x="568" y="203"/>
                  </a:moveTo>
                  <a:lnTo>
                    <a:pt x="568" y="203"/>
                  </a:lnTo>
                  <a:lnTo>
                    <a:pt x="563" y="203"/>
                  </a:lnTo>
                  <a:lnTo>
                    <a:pt x="561" y="201"/>
                  </a:lnTo>
                  <a:lnTo>
                    <a:pt x="556" y="198"/>
                  </a:lnTo>
                  <a:lnTo>
                    <a:pt x="553" y="198"/>
                  </a:lnTo>
                  <a:lnTo>
                    <a:pt x="550" y="196"/>
                  </a:lnTo>
                  <a:lnTo>
                    <a:pt x="548" y="196"/>
                  </a:lnTo>
                  <a:lnTo>
                    <a:pt x="545" y="193"/>
                  </a:lnTo>
                  <a:lnTo>
                    <a:pt x="545" y="193"/>
                  </a:lnTo>
                  <a:lnTo>
                    <a:pt x="543" y="193"/>
                  </a:lnTo>
                  <a:lnTo>
                    <a:pt x="540" y="193"/>
                  </a:lnTo>
                  <a:lnTo>
                    <a:pt x="540" y="196"/>
                  </a:lnTo>
                  <a:lnTo>
                    <a:pt x="540" y="196"/>
                  </a:lnTo>
                  <a:lnTo>
                    <a:pt x="538" y="196"/>
                  </a:lnTo>
                  <a:lnTo>
                    <a:pt x="538" y="198"/>
                  </a:lnTo>
                  <a:lnTo>
                    <a:pt x="540" y="201"/>
                  </a:lnTo>
                  <a:lnTo>
                    <a:pt x="540" y="201"/>
                  </a:lnTo>
                  <a:lnTo>
                    <a:pt x="540" y="201"/>
                  </a:lnTo>
                  <a:lnTo>
                    <a:pt x="543" y="201"/>
                  </a:lnTo>
                  <a:lnTo>
                    <a:pt x="548" y="203"/>
                  </a:lnTo>
                  <a:lnTo>
                    <a:pt x="548" y="206"/>
                  </a:lnTo>
                  <a:lnTo>
                    <a:pt x="550" y="203"/>
                  </a:lnTo>
                  <a:lnTo>
                    <a:pt x="550" y="203"/>
                  </a:lnTo>
                  <a:lnTo>
                    <a:pt x="553" y="203"/>
                  </a:lnTo>
                  <a:lnTo>
                    <a:pt x="553" y="206"/>
                  </a:lnTo>
                  <a:lnTo>
                    <a:pt x="556" y="206"/>
                  </a:lnTo>
                  <a:lnTo>
                    <a:pt x="558" y="206"/>
                  </a:lnTo>
                  <a:lnTo>
                    <a:pt x="558" y="209"/>
                  </a:lnTo>
                  <a:lnTo>
                    <a:pt x="558" y="209"/>
                  </a:lnTo>
                  <a:lnTo>
                    <a:pt x="561" y="209"/>
                  </a:lnTo>
                  <a:lnTo>
                    <a:pt x="561" y="209"/>
                  </a:lnTo>
                  <a:lnTo>
                    <a:pt x="563" y="209"/>
                  </a:lnTo>
                  <a:lnTo>
                    <a:pt x="566" y="209"/>
                  </a:lnTo>
                  <a:lnTo>
                    <a:pt x="568" y="209"/>
                  </a:lnTo>
                  <a:lnTo>
                    <a:pt x="568" y="209"/>
                  </a:lnTo>
                  <a:lnTo>
                    <a:pt x="571" y="209"/>
                  </a:lnTo>
                  <a:lnTo>
                    <a:pt x="571" y="206"/>
                  </a:lnTo>
                  <a:lnTo>
                    <a:pt x="571" y="206"/>
                  </a:lnTo>
                  <a:lnTo>
                    <a:pt x="568" y="203"/>
                  </a:lnTo>
                  <a:close/>
                  <a:moveTo>
                    <a:pt x="650" y="193"/>
                  </a:moveTo>
                  <a:lnTo>
                    <a:pt x="652" y="193"/>
                  </a:lnTo>
                  <a:lnTo>
                    <a:pt x="652" y="193"/>
                  </a:lnTo>
                  <a:lnTo>
                    <a:pt x="652" y="193"/>
                  </a:lnTo>
                  <a:lnTo>
                    <a:pt x="647" y="191"/>
                  </a:lnTo>
                  <a:lnTo>
                    <a:pt x="647" y="188"/>
                  </a:lnTo>
                  <a:lnTo>
                    <a:pt x="647" y="188"/>
                  </a:lnTo>
                  <a:lnTo>
                    <a:pt x="647" y="188"/>
                  </a:lnTo>
                  <a:lnTo>
                    <a:pt x="647" y="188"/>
                  </a:lnTo>
                  <a:lnTo>
                    <a:pt x="650" y="191"/>
                  </a:lnTo>
                  <a:lnTo>
                    <a:pt x="650" y="193"/>
                  </a:lnTo>
                  <a:close/>
                  <a:moveTo>
                    <a:pt x="747" y="140"/>
                  </a:moveTo>
                  <a:lnTo>
                    <a:pt x="752" y="137"/>
                  </a:lnTo>
                  <a:lnTo>
                    <a:pt x="752" y="137"/>
                  </a:lnTo>
                  <a:lnTo>
                    <a:pt x="752" y="137"/>
                  </a:lnTo>
                  <a:lnTo>
                    <a:pt x="752" y="137"/>
                  </a:lnTo>
                  <a:lnTo>
                    <a:pt x="752" y="137"/>
                  </a:lnTo>
                  <a:lnTo>
                    <a:pt x="747" y="137"/>
                  </a:lnTo>
                  <a:lnTo>
                    <a:pt x="744" y="137"/>
                  </a:lnTo>
                  <a:lnTo>
                    <a:pt x="744" y="140"/>
                  </a:lnTo>
                  <a:lnTo>
                    <a:pt x="747" y="140"/>
                  </a:lnTo>
                  <a:close/>
                  <a:moveTo>
                    <a:pt x="762" y="140"/>
                  </a:moveTo>
                  <a:lnTo>
                    <a:pt x="764" y="140"/>
                  </a:lnTo>
                  <a:lnTo>
                    <a:pt x="754" y="137"/>
                  </a:lnTo>
                  <a:lnTo>
                    <a:pt x="754" y="137"/>
                  </a:lnTo>
                  <a:lnTo>
                    <a:pt x="754" y="137"/>
                  </a:lnTo>
                  <a:lnTo>
                    <a:pt x="757" y="137"/>
                  </a:lnTo>
                  <a:lnTo>
                    <a:pt x="762" y="140"/>
                  </a:lnTo>
                  <a:close/>
                  <a:moveTo>
                    <a:pt x="693" y="15"/>
                  </a:moveTo>
                  <a:lnTo>
                    <a:pt x="703" y="15"/>
                  </a:lnTo>
                  <a:lnTo>
                    <a:pt x="708" y="13"/>
                  </a:lnTo>
                  <a:lnTo>
                    <a:pt x="708" y="13"/>
                  </a:lnTo>
                  <a:lnTo>
                    <a:pt x="708" y="13"/>
                  </a:lnTo>
                  <a:lnTo>
                    <a:pt x="706" y="13"/>
                  </a:lnTo>
                  <a:lnTo>
                    <a:pt x="701" y="13"/>
                  </a:lnTo>
                  <a:lnTo>
                    <a:pt x="693" y="13"/>
                  </a:lnTo>
                  <a:lnTo>
                    <a:pt x="691" y="13"/>
                  </a:lnTo>
                  <a:lnTo>
                    <a:pt x="691" y="15"/>
                  </a:lnTo>
                  <a:lnTo>
                    <a:pt x="691" y="15"/>
                  </a:lnTo>
                  <a:lnTo>
                    <a:pt x="693" y="15"/>
                  </a:lnTo>
                  <a:close/>
                  <a:moveTo>
                    <a:pt x="734" y="147"/>
                  </a:moveTo>
                  <a:lnTo>
                    <a:pt x="739" y="147"/>
                  </a:lnTo>
                  <a:lnTo>
                    <a:pt x="742" y="150"/>
                  </a:lnTo>
                  <a:lnTo>
                    <a:pt x="742" y="150"/>
                  </a:lnTo>
                  <a:lnTo>
                    <a:pt x="742" y="150"/>
                  </a:lnTo>
                  <a:lnTo>
                    <a:pt x="742" y="147"/>
                  </a:lnTo>
                  <a:lnTo>
                    <a:pt x="742" y="147"/>
                  </a:lnTo>
                  <a:lnTo>
                    <a:pt x="739" y="147"/>
                  </a:lnTo>
                  <a:lnTo>
                    <a:pt x="742" y="147"/>
                  </a:lnTo>
                  <a:lnTo>
                    <a:pt x="744" y="145"/>
                  </a:lnTo>
                  <a:lnTo>
                    <a:pt x="739" y="145"/>
                  </a:lnTo>
                  <a:lnTo>
                    <a:pt x="736" y="145"/>
                  </a:lnTo>
                  <a:lnTo>
                    <a:pt x="734" y="145"/>
                  </a:lnTo>
                  <a:lnTo>
                    <a:pt x="731" y="145"/>
                  </a:lnTo>
                  <a:lnTo>
                    <a:pt x="731" y="145"/>
                  </a:lnTo>
                  <a:lnTo>
                    <a:pt x="731" y="147"/>
                  </a:lnTo>
                  <a:lnTo>
                    <a:pt x="734" y="147"/>
                  </a:lnTo>
                  <a:close/>
                  <a:moveTo>
                    <a:pt x="673" y="33"/>
                  </a:moveTo>
                  <a:lnTo>
                    <a:pt x="678" y="33"/>
                  </a:lnTo>
                  <a:lnTo>
                    <a:pt x="680" y="33"/>
                  </a:lnTo>
                  <a:lnTo>
                    <a:pt x="680" y="36"/>
                  </a:lnTo>
                  <a:lnTo>
                    <a:pt x="683" y="36"/>
                  </a:lnTo>
                  <a:lnTo>
                    <a:pt x="693" y="36"/>
                  </a:lnTo>
                  <a:lnTo>
                    <a:pt x="693" y="36"/>
                  </a:lnTo>
                  <a:lnTo>
                    <a:pt x="688" y="33"/>
                  </a:lnTo>
                  <a:lnTo>
                    <a:pt x="678" y="33"/>
                  </a:lnTo>
                  <a:lnTo>
                    <a:pt x="675" y="33"/>
                  </a:lnTo>
                  <a:lnTo>
                    <a:pt x="673" y="33"/>
                  </a:lnTo>
                  <a:lnTo>
                    <a:pt x="673" y="33"/>
                  </a:lnTo>
                  <a:lnTo>
                    <a:pt x="670" y="33"/>
                  </a:lnTo>
                  <a:lnTo>
                    <a:pt x="673" y="33"/>
                  </a:lnTo>
                  <a:lnTo>
                    <a:pt x="673" y="33"/>
                  </a:lnTo>
                  <a:close/>
                  <a:moveTo>
                    <a:pt x="833" y="127"/>
                  </a:moveTo>
                  <a:lnTo>
                    <a:pt x="831" y="127"/>
                  </a:lnTo>
                  <a:lnTo>
                    <a:pt x="831" y="127"/>
                  </a:lnTo>
                  <a:lnTo>
                    <a:pt x="833" y="127"/>
                  </a:lnTo>
                  <a:lnTo>
                    <a:pt x="833" y="127"/>
                  </a:lnTo>
                  <a:lnTo>
                    <a:pt x="836" y="127"/>
                  </a:lnTo>
                  <a:lnTo>
                    <a:pt x="838" y="127"/>
                  </a:lnTo>
                  <a:lnTo>
                    <a:pt x="836" y="127"/>
                  </a:lnTo>
                  <a:lnTo>
                    <a:pt x="836" y="127"/>
                  </a:lnTo>
                  <a:lnTo>
                    <a:pt x="833" y="127"/>
                  </a:lnTo>
                  <a:close/>
                  <a:moveTo>
                    <a:pt x="979" y="89"/>
                  </a:moveTo>
                  <a:lnTo>
                    <a:pt x="973" y="89"/>
                  </a:lnTo>
                  <a:lnTo>
                    <a:pt x="973" y="89"/>
                  </a:lnTo>
                  <a:lnTo>
                    <a:pt x="973" y="89"/>
                  </a:lnTo>
                  <a:lnTo>
                    <a:pt x="979" y="89"/>
                  </a:lnTo>
                  <a:lnTo>
                    <a:pt x="981" y="91"/>
                  </a:lnTo>
                  <a:lnTo>
                    <a:pt x="986" y="91"/>
                  </a:lnTo>
                  <a:lnTo>
                    <a:pt x="989" y="91"/>
                  </a:lnTo>
                  <a:lnTo>
                    <a:pt x="989" y="89"/>
                  </a:lnTo>
                  <a:lnTo>
                    <a:pt x="989" y="89"/>
                  </a:lnTo>
                  <a:lnTo>
                    <a:pt x="989" y="89"/>
                  </a:lnTo>
                  <a:lnTo>
                    <a:pt x="991" y="89"/>
                  </a:lnTo>
                  <a:lnTo>
                    <a:pt x="991" y="89"/>
                  </a:lnTo>
                  <a:lnTo>
                    <a:pt x="989" y="89"/>
                  </a:lnTo>
                  <a:lnTo>
                    <a:pt x="986" y="89"/>
                  </a:lnTo>
                  <a:lnTo>
                    <a:pt x="984" y="89"/>
                  </a:lnTo>
                  <a:lnTo>
                    <a:pt x="979" y="89"/>
                  </a:lnTo>
                  <a:lnTo>
                    <a:pt x="979" y="89"/>
                  </a:lnTo>
                  <a:close/>
                  <a:moveTo>
                    <a:pt x="1677" y="81"/>
                  </a:moveTo>
                  <a:lnTo>
                    <a:pt x="1677" y="81"/>
                  </a:lnTo>
                  <a:lnTo>
                    <a:pt x="1677" y="81"/>
                  </a:lnTo>
                  <a:lnTo>
                    <a:pt x="1677" y="79"/>
                  </a:lnTo>
                  <a:lnTo>
                    <a:pt x="1669" y="81"/>
                  </a:lnTo>
                  <a:lnTo>
                    <a:pt x="1667" y="81"/>
                  </a:lnTo>
                  <a:lnTo>
                    <a:pt x="1667" y="81"/>
                  </a:lnTo>
                  <a:lnTo>
                    <a:pt x="1677" y="81"/>
                  </a:lnTo>
                  <a:close/>
                  <a:moveTo>
                    <a:pt x="1644" y="173"/>
                  </a:moveTo>
                  <a:lnTo>
                    <a:pt x="1641" y="173"/>
                  </a:lnTo>
                  <a:lnTo>
                    <a:pt x="1641" y="173"/>
                  </a:lnTo>
                  <a:lnTo>
                    <a:pt x="1641" y="173"/>
                  </a:lnTo>
                  <a:lnTo>
                    <a:pt x="1644" y="175"/>
                  </a:lnTo>
                  <a:lnTo>
                    <a:pt x="1646" y="175"/>
                  </a:lnTo>
                  <a:lnTo>
                    <a:pt x="1646" y="175"/>
                  </a:lnTo>
                  <a:lnTo>
                    <a:pt x="1649" y="175"/>
                  </a:lnTo>
                  <a:lnTo>
                    <a:pt x="1649" y="175"/>
                  </a:lnTo>
                  <a:lnTo>
                    <a:pt x="1649" y="175"/>
                  </a:lnTo>
                  <a:lnTo>
                    <a:pt x="1651" y="175"/>
                  </a:lnTo>
                  <a:lnTo>
                    <a:pt x="1654" y="175"/>
                  </a:lnTo>
                  <a:lnTo>
                    <a:pt x="1654" y="175"/>
                  </a:lnTo>
                  <a:lnTo>
                    <a:pt x="1654" y="173"/>
                  </a:lnTo>
                  <a:lnTo>
                    <a:pt x="1651" y="173"/>
                  </a:lnTo>
                  <a:lnTo>
                    <a:pt x="1651" y="173"/>
                  </a:lnTo>
                  <a:lnTo>
                    <a:pt x="1644" y="173"/>
                  </a:lnTo>
                  <a:lnTo>
                    <a:pt x="1644" y="173"/>
                  </a:lnTo>
                  <a:close/>
                  <a:moveTo>
                    <a:pt x="1547" y="97"/>
                  </a:moveTo>
                  <a:lnTo>
                    <a:pt x="1549" y="97"/>
                  </a:lnTo>
                  <a:lnTo>
                    <a:pt x="1544" y="97"/>
                  </a:lnTo>
                  <a:lnTo>
                    <a:pt x="1544" y="97"/>
                  </a:lnTo>
                  <a:lnTo>
                    <a:pt x="1549" y="102"/>
                  </a:lnTo>
                  <a:lnTo>
                    <a:pt x="1555" y="104"/>
                  </a:lnTo>
                  <a:lnTo>
                    <a:pt x="1552" y="104"/>
                  </a:lnTo>
                  <a:lnTo>
                    <a:pt x="1549" y="104"/>
                  </a:lnTo>
                  <a:lnTo>
                    <a:pt x="1549" y="104"/>
                  </a:lnTo>
                  <a:lnTo>
                    <a:pt x="1552" y="107"/>
                  </a:lnTo>
                  <a:lnTo>
                    <a:pt x="1555" y="107"/>
                  </a:lnTo>
                  <a:lnTo>
                    <a:pt x="1560" y="109"/>
                  </a:lnTo>
                  <a:lnTo>
                    <a:pt x="1565" y="109"/>
                  </a:lnTo>
                  <a:lnTo>
                    <a:pt x="1567" y="109"/>
                  </a:lnTo>
                  <a:lnTo>
                    <a:pt x="1567" y="112"/>
                  </a:lnTo>
                  <a:lnTo>
                    <a:pt x="1575" y="114"/>
                  </a:lnTo>
                  <a:lnTo>
                    <a:pt x="1577" y="114"/>
                  </a:lnTo>
                  <a:lnTo>
                    <a:pt x="1580" y="114"/>
                  </a:lnTo>
                  <a:lnTo>
                    <a:pt x="1593" y="117"/>
                  </a:lnTo>
                  <a:lnTo>
                    <a:pt x="1595" y="117"/>
                  </a:lnTo>
                  <a:lnTo>
                    <a:pt x="1595" y="117"/>
                  </a:lnTo>
                  <a:lnTo>
                    <a:pt x="1598" y="117"/>
                  </a:lnTo>
                  <a:lnTo>
                    <a:pt x="1598" y="117"/>
                  </a:lnTo>
                  <a:lnTo>
                    <a:pt x="1598" y="114"/>
                  </a:lnTo>
                  <a:lnTo>
                    <a:pt x="1598" y="114"/>
                  </a:lnTo>
                  <a:lnTo>
                    <a:pt x="1595" y="112"/>
                  </a:lnTo>
                  <a:lnTo>
                    <a:pt x="1595" y="112"/>
                  </a:lnTo>
                  <a:lnTo>
                    <a:pt x="1595" y="112"/>
                  </a:lnTo>
                  <a:lnTo>
                    <a:pt x="1598" y="112"/>
                  </a:lnTo>
                  <a:lnTo>
                    <a:pt x="1603" y="112"/>
                  </a:lnTo>
                  <a:lnTo>
                    <a:pt x="1608" y="114"/>
                  </a:lnTo>
                  <a:lnTo>
                    <a:pt x="1611" y="114"/>
                  </a:lnTo>
                  <a:lnTo>
                    <a:pt x="1613" y="112"/>
                  </a:lnTo>
                  <a:lnTo>
                    <a:pt x="1621" y="112"/>
                  </a:lnTo>
                  <a:lnTo>
                    <a:pt x="1621" y="112"/>
                  </a:lnTo>
                  <a:lnTo>
                    <a:pt x="1623" y="112"/>
                  </a:lnTo>
                  <a:lnTo>
                    <a:pt x="1626" y="112"/>
                  </a:lnTo>
                  <a:lnTo>
                    <a:pt x="1628" y="112"/>
                  </a:lnTo>
                  <a:lnTo>
                    <a:pt x="1631" y="112"/>
                  </a:lnTo>
                  <a:lnTo>
                    <a:pt x="1634" y="114"/>
                  </a:lnTo>
                  <a:lnTo>
                    <a:pt x="1636" y="114"/>
                  </a:lnTo>
                  <a:lnTo>
                    <a:pt x="1639" y="114"/>
                  </a:lnTo>
                  <a:lnTo>
                    <a:pt x="1639" y="114"/>
                  </a:lnTo>
                  <a:lnTo>
                    <a:pt x="1641" y="114"/>
                  </a:lnTo>
                  <a:lnTo>
                    <a:pt x="1644" y="112"/>
                  </a:lnTo>
                  <a:lnTo>
                    <a:pt x="1639" y="109"/>
                  </a:lnTo>
                  <a:lnTo>
                    <a:pt x="1634" y="109"/>
                  </a:lnTo>
                  <a:lnTo>
                    <a:pt x="1631" y="109"/>
                  </a:lnTo>
                  <a:lnTo>
                    <a:pt x="1621" y="104"/>
                  </a:lnTo>
                  <a:lnTo>
                    <a:pt x="1618" y="104"/>
                  </a:lnTo>
                  <a:lnTo>
                    <a:pt x="1618" y="102"/>
                  </a:lnTo>
                  <a:lnTo>
                    <a:pt x="1611" y="99"/>
                  </a:lnTo>
                  <a:lnTo>
                    <a:pt x="1613" y="99"/>
                  </a:lnTo>
                  <a:lnTo>
                    <a:pt x="1616" y="99"/>
                  </a:lnTo>
                  <a:lnTo>
                    <a:pt x="1621" y="99"/>
                  </a:lnTo>
                  <a:lnTo>
                    <a:pt x="1623" y="99"/>
                  </a:lnTo>
                  <a:lnTo>
                    <a:pt x="1623" y="99"/>
                  </a:lnTo>
                  <a:lnTo>
                    <a:pt x="1623" y="102"/>
                  </a:lnTo>
                  <a:lnTo>
                    <a:pt x="1623" y="102"/>
                  </a:lnTo>
                  <a:lnTo>
                    <a:pt x="1626" y="102"/>
                  </a:lnTo>
                  <a:lnTo>
                    <a:pt x="1628" y="104"/>
                  </a:lnTo>
                  <a:lnTo>
                    <a:pt x="1631" y="107"/>
                  </a:lnTo>
                  <a:lnTo>
                    <a:pt x="1634" y="107"/>
                  </a:lnTo>
                  <a:lnTo>
                    <a:pt x="1639" y="109"/>
                  </a:lnTo>
                  <a:lnTo>
                    <a:pt x="1644" y="109"/>
                  </a:lnTo>
                  <a:lnTo>
                    <a:pt x="1646" y="109"/>
                  </a:lnTo>
                  <a:lnTo>
                    <a:pt x="1654" y="109"/>
                  </a:lnTo>
                  <a:lnTo>
                    <a:pt x="1656" y="109"/>
                  </a:lnTo>
                  <a:lnTo>
                    <a:pt x="1656" y="109"/>
                  </a:lnTo>
                  <a:lnTo>
                    <a:pt x="1659" y="107"/>
                  </a:lnTo>
                  <a:lnTo>
                    <a:pt x="1656" y="104"/>
                  </a:lnTo>
                  <a:lnTo>
                    <a:pt x="1654" y="104"/>
                  </a:lnTo>
                  <a:lnTo>
                    <a:pt x="1654" y="104"/>
                  </a:lnTo>
                  <a:lnTo>
                    <a:pt x="1654" y="102"/>
                  </a:lnTo>
                  <a:lnTo>
                    <a:pt x="1659" y="102"/>
                  </a:lnTo>
                  <a:lnTo>
                    <a:pt x="1656" y="102"/>
                  </a:lnTo>
                  <a:lnTo>
                    <a:pt x="1656" y="102"/>
                  </a:lnTo>
                  <a:lnTo>
                    <a:pt x="1626" y="97"/>
                  </a:lnTo>
                  <a:lnTo>
                    <a:pt x="1626" y="97"/>
                  </a:lnTo>
                  <a:lnTo>
                    <a:pt x="1623" y="97"/>
                  </a:lnTo>
                  <a:lnTo>
                    <a:pt x="1621" y="97"/>
                  </a:lnTo>
                  <a:lnTo>
                    <a:pt x="1618" y="97"/>
                  </a:lnTo>
                  <a:lnTo>
                    <a:pt x="1613" y="97"/>
                  </a:lnTo>
                  <a:lnTo>
                    <a:pt x="1608" y="94"/>
                  </a:lnTo>
                  <a:lnTo>
                    <a:pt x="1600" y="91"/>
                  </a:lnTo>
                  <a:lnTo>
                    <a:pt x="1595" y="91"/>
                  </a:lnTo>
                  <a:lnTo>
                    <a:pt x="1590" y="91"/>
                  </a:lnTo>
                  <a:lnTo>
                    <a:pt x="1590" y="91"/>
                  </a:lnTo>
                  <a:lnTo>
                    <a:pt x="1588" y="94"/>
                  </a:lnTo>
                  <a:lnTo>
                    <a:pt x="1588" y="94"/>
                  </a:lnTo>
                  <a:lnTo>
                    <a:pt x="1588" y="94"/>
                  </a:lnTo>
                  <a:lnTo>
                    <a:pt x="1590" y="97"/>
                  </a:lnTo>
                  <a:lnTo>
                    <a:pt x="1593" y="97"/>
                  </a:lnTo>
                  <a:lnTo>
                    <a:pt x="1593" y="97"/>
                  </a:lnTo>
                  <a:lnTo>
                    <a:pt x="1595" y="99"/>
                  </a:lnTo>
                  <a:lnTo>
                    <a:pt x="1595" y="99"/>
                  </a:lnTo>
                  <a:lnTo>
                    <a:pt x="1595" y="99"/>
                  </a:lnTo>
                  <a:lnTo>
                    <a:pt x="1593" y="99"/>
                  </a:lnTo>
                  <a:lnTo>
                    <a:pt x="1590" y="99"/>
                  </a:lnTo>
                  <a:lnTo>
                    <a:pt x="1590" y="99"/>
                  </a:lnTo>
                  <a:lnTo>
                    <a:pt x="1588" y="99"/>
                  </a:lnTo>
                  <a:lnTo>
                    <a:pt x="1585" y="97"/>
                  </a:lnTo>
                  <a:lnTo>
                    <a:pt x="1583" y="97"/>
                  </a:lnTo>
                  <a:lnTo>
                    <a:pt x="1580" y="97"/>
                  </a:lnTo>
                  <a:lnTo>
                    <a:pt x="1580" y="97"/>
                  </a:lnTo>
                  <a:lnTo>
                    <a:pt x="1572" y="94"/>
                  </a:lnTo>
                  <a:lnTo>
                    <a:pt x="1567" y="94"/>
                  </a:lnTo>
                  <a:lnTo>
                    <a:pt x="1562" y="91"/>
                  </a:lnTo>
                  <a:lnTo>
                    <a:pt x="1560" y="91"/>
                  </a:lnTo>
                  <a:lnTo>
                    <a:pt x="1557" y="91"/>
                  </a:lnTo>
                  <a:lnTo>
                    <a:pt x="1555" y="89"/>
                  </a:lnTo>
                  <a:lnTo>
                    <a:pt x="1552" y="89"/>
                  </a:lnTo>
                  <a:lnTo>
                    <a:pt x="1549" y="91"/>
                  </a:lnTo>
                  <a:lnTo>
                    <a:pt x="1547" y="91"/>
                  </a:lnTo>
                  <a:lnTo>
                    <a:pt x="1547" y="91"/>
                  </a:lnTo>
                  <a:lnTo>
                    <a:pt x="1547" y="91"/>
                  </a:lnTo>
                  <a:lnTo>
                    <a:pt x="1547" y="91"/>
                  </a:lnTo>
                  <a:lnTo>
                    <a:pt x="1544" y="94"/>
                  </a:lnTo>
                  <a:lnTo>
                    <a:pt x="1542" y="94"/>
                  </a:lnTo>
                  <a:lnTo>
                    <a:pt x="1542" y="94"/>
                  </a:lnTo>
                  <a:lnTo>
                    <a:pt x="1542" y="94"/>
                  </a:lnTo>
                  <a:lnTo>
                    <a:pt x="1547" y="97"/>
                  </a:lnTo>
                  <a:close/>
                  <a:moveTo>
                    <a:pt x="1639" y="127"/>
                  </a:moveTo>
                  <a:lnTo>
                    <a:pt x="1636" y="125"/>
                  </a:lnTo>
                  <a:lnTo>
                    <a:pt x="1634" y="125"/>
                  </a:lnTo>
                  <a:lnTo>
                    <a:pt x="1634" y="125"/>
                  </a:lnTo>
                  <a:lnTo>
                    <a:pt x="1631" y="125"/>
                  </a:lnTo>
                  <a:lnTo>
                    <a:pt x="1631" y="125"/>
                  </a:lnTo>
                  <a:lnTo>
                    <a:pt x="1623" y="125"/>
                  </a:lnTo>
                  <a:lnTo>
                    <a:pt x="1623" y="125"/>
                  </a:lnTo>
                  <a:lnTo>
                    <a:pt x="1621" y="125"/>
                  </a:lnTo>
                  <a:lnTo>
                    <a:pt x="1621" y="125"/>
                  </a:lnTo>
                  <a:lnTo>
                    <a:pt x="1628" y="130"/>
                  </a:lnTo>
                  <a:lnTo>
                    <a:pt x="1634" y="130"/>
                  </a:lnTo>
                  <a:lnTo>
                    <a:pt x="1634" y="130"/>
                  </a:lnTo>
                  <a:lnTo>
                    <a:pt x="1639" y="130"/>
                  </a:lnTo>
                  <a:lnTo>
                    <a:pt x="1639" y="127"/>
                  </a:lnTo>
                  <a:close/>
                  <a:moveTo>
                    <a:pt x="1654" y="130"/>
                  </a:moveTo>
                  <a:lnTo>
                    <a:pt x="1651" y="130"/>
                  </a:lnTo>
                  <a:lnTo>
                    <a:pt x="1646" y="132"/>
                  </a:lnTo>
                  <a:lnTo>
                    <a:pt x="1644" y="132"/>
                  </a:lnTo>
                  <a:lnTo>
                    <a:pt x="1644" y="132"/>
                  </a:lnTo>
                  <a:lnTo>
                    <a:pt x="1644" y="132"/>
                  </a:lnTo>
                  <a:lnTo>
                    <a:pt x="1644" y="132"/>
                  </a:lnTo>
                  <a:lnTo>
                    <a:pt x="1644" y="135"/>
                  </a:lnTo>
                  <a:lnTo>
                    <a:pt x="1644" y="137"/>
                  </a:lnTo>
                  <a:lnTo>
                    <a:pt x="1644" y="137"/>
                  </a:lnTo>
                  <a:lnTo>
                    <a:pt x="1641" y="137"/>
                  </a:lnTo>
                  <a:lnTo>
                    <a:pt x="1639" y="140"/>
                  </a:lnTo>
                  <a:lnTo>
                    <a:pt x="1634" y="140"/>
                  </a:lnTo>
                  <a:lnTo>
                    <a:pt x="1639" y="140"/>
                  </a:lnTo>
                  <a:lnTo>
                    <a:pt x="1639" y="140"/>
                  </a:lnTo>
                  <a:lnTo>
                    <a:pt x="1641" y="140"/>
                  </a:lnTo>
                  <a:lnTo>
                    <a:pt x="1644" y="140"/>
                  </a:lnTo>
                  <a:lnTo>
                    <a:pt x="1646" y="140"/>
                  </a:lnTo>
                  <a:lnTo>
                    <a:pt x="1649" y="140"/>
                  </a:lnTo>
                  <a:lnTo>
                    <a:pt x="1656" y="140"/>
                  </a:lnTo>
                  <a:lnTo>
                    <a:pt x="1664" y="142"/>
                  </a:lnTo>
                  <a:lnTo>
                    <a:pt x="1672" y="142"/>
                  </a:lnTo>
                  <a:lnTo>
                    <a:pt x="1677" y="142"/>
                  </a:lnTo>
                  <a:lnTo>
                    <a:pt x="1679" y="142"/>
                  </a:lnTo>
                  <a:lnTo>
                    <a:pt x="1682" y="142"/>
                  </a:lnTo>
                  <a:lnTo>
                    <a:pt x="1687" y="142"/>
                  </a:lnTo>
                  <a:lnTo>
                    <a:pt x="1692" y="142"/>
                  </a:lnTo>
                  <a:lnTo>
                    <a:pt x="1692" y="142"/>
                  </a:lnTo>
                  <a:lnTo>
                    <a:pt x="1687" y="137"/>
                  </a:lnTo>
                  <a:lnTo>
                    <a:pt x="1685" y="137"/>
                  </a:lnTo>
                  <a:lnTo>
                    <a:pt x="1682" y="137"/>
                  </a:lnTo>
                  <a:lnTo>
                    <a:pt x="1667" y="132"/>
                  </a:lnTo>
                  <a:lnTo>
                    <a:pt x="1662" y="132"/>
                  </a:lnTo>
                  <a:lnTo>
                    <a:pt x="1656" y="130"/>
                  </a:lnTo>
                  <a:lnTo>
                    <a:pt x="1654" y="130"/>
                  </a:lnTo>
                  <a:close/>
                  <a:moveTo>
                    <a:pt x="2245" y="183"/>
                  </a:moveTo>
                  <a:lnTo>
                    <a:pt x="2245" y="183"/>
                  </a:lnTo>
                  <a:lnTo>
                    <a:pt x="2248" y="183"/>
                  </a:lnTo>
                  <a:lnTo>
                    <a:pt x="2255" y="188"/>
                  </a:lnTo>
                  <a:lnTo>
                    <a:pt x="2255" y="188"/>
                  </a:lnTo>
                  <a:lnTo>
                    <a:pt x="2258" y="186"/>
                  </a:lnTo>
                  <a:lnTo>
                    <a:pt x="2266" y="186"/>
                  </a:lnTo>
                  <a:lnTo>
                    <a:pt x="2266" y="183"/>
                  </a:lnTo>
                  <a:lnTo>
                    <a:pt x="2266" y="183"/>
                  </a:lnTo>
                  <a:lnTo>
                    <a:pt x="2268" y="183"/>
                  </a:lnTo>
                  <a:lnTo>
                    <a:pt x="2271" y="183"/>
                  </a:lnTo>
                  <a:lnTo>
                    <a:pt x="2276" y="186"/>
                  </a:lnTo>
                  <a:lnTo>
                    <a:pt x="2278" y="186"/>
                  </a:lnTo>
                  <a:lnTo>
                    <a:pt x="2281" y="186"/>
                  </a:lnTo>
                  <a:lnTo>
                    <a:pt x="2286" y="183"/>
                  </a:lnTo>
                  <a:lnTo>
                    <a:pt x="2294" y="183"/>
                  </a:lnTo>
                  <a:lnTo>
                    <a:pt x="2296" y="183"/>
                  </a:lnTo>
                  <a:lnTo>
                    <a:pt x="2296" y="181"/>
                  </a:lnTo>
                  <a:lnTo>
                    <a:pt x="2296" y="181"/>
                  </a:lnTo>
                  <a:lnTo>
                    <a:pt x="2294" y="178"/>
                  </a:lnTo>
                  <a:lnTo>
                    <a:pt x="2294" y="178"/>
                  </a:lnTo>
                  <a:lnTo>
                    <a:pt x="2289" y="178"/>
                  </a:lnTo>
                  <a:lnTo>
                    <a:pt x="2283" y="175"/>
                  </a:lnTo>
                  <a:lnTo>
                    <a:pt x="2281" y="175"/>
                  </a:lnTo>
                  <a:lnTo>
                    <a:pt x="2278" y="175"/>
                  </a:lnTo>
                  <a:lnTo>
                    <a:pt x="2278" y="175"/>
                  </a:lnTo>
                  <a:lnTo>
                    <a:pt x="2273" y="173"/>
                  </a:lnTo>
                  <a:lnTo>
                    <a:pt x="2273" y="173"/>
                  </a:lnTo>
                  <a:lnTo>
                    <a:pt x="2266" y="173"/>
                  </a:lnTo>
                  <a:lnTo>
                    <a:pt x="2263" y="173"/>
                  </a:lnTo>
                  <a:lnTo>
                    <a:pt x="2260" y="173"/>
                  </a:lnTo>
                  <a:lnTo>
                    <a:pt x="2260" y="173"/>
                  </a:lnTo>
                  <a:lnTo>
                    <a:pt x="2258" y="173"/>
                  </a:lnTo>
                  <a:lnTo>
                    <a:pt x="2255" y="173"/>
                  </a:lnTo>
                  <a:lnTo>
                    <a:pt x="2253" y="173"/>
                  </a:lnTo>
                  <a:lnTo>
                    <a:pt x="2253" y="173"/>
                  </a:lnTo>
                  <a:lnTo>
                    <a:pt x="2253" y="173"/>
                  </a:lnTo>
                  <a:lnTo>
                    <a:pt x="2250" y="173"/>
                  </a:lnTo>
                  <a:lnTo>
                    <a:pt x="2250" y="173"/>
                  </a:lnTo>
                  <a:lnTo>
                    <a:pt x="2250" y="173"/>
                  </a:lnTo>
                  <a:lnTo>
                    <a:pt x="2248" y="175"/>
                  </a:lnTo>
                  <a:lnTo>
                    <a:pt x="2248" y="175"/>
                  </a:lnTo>
                  <a:lnTo>
                    <a:pt x="2245" y="178"/>
                  </a:lnTo>
                  <a:lnTo>
                    <a:pt x="2243" y="181"/>
                  </a:lnTo>
                  <a:lnTo>
                    <a:pt x="2245" y="181"/>
                  </a:lnTo>
                  <a:lnTo>
                    <a:pt x="2245" y="183"/>
                  </a:lnTo>
                  <a:close/>
                  <a:moveTo>
                    <a:pt x="2123" y="206"/>
                  </a:moveTo>
                  <a:lnTo>
                    <a:pt x="2125" y="206"/>
                  </a:lnTo>
                  <a:lnTo>
                    <a:pt x="2128" y="206"/>
                  </a:lnTo>
                  <a:lnTo>
                    <a:pt x="2133" y="209"/>
                  </a:lnTo>
                  <a:lnTo>
                    <a:pt x="2136" y="209"/>
                  </a:lnTo>
                  <a:lnTo>
                    <a:pt x="2146" y="211"/>
                  </a:lnTo>
                  <a:lnTo>
                    <a:pt x="2151" y="211"/>
                  </a:lnTo>
                  <a:lnTo>
                    <a:pt x="2151" y="211"/>
                  </a:lnTo>
                  <a:lnTo>
                    <a:pt x="2151" y="209"/>
                  </a:lnTo>
                  <a:lnTo>
                    <a:pt x="2148" y="209"/>
                  </a:lnTo>
                  <a:lnTo>
                    <a:pt x="2148" y="206"/>
                  </a:lnTo>
                  <a:lnTo>
                    <a:pt x="2148" y="206"/>
                  </a:lnTo>
                  <a:lnTo>
                    <a:pt x="2148" y="206"/>
                  </a:lnTo>
                  <a:lnTo>
                    <a:pt x="2146" y="206"/>
                  </a:lnTo>
                  <a:lnTo>
                    <a:pt x="2146" y="206"/>
                  </a:lnTo>
                  <a:lnTo>
                    <a:pt x="2128" y="203"/>
                  </a:lnTo>
                  <a:lnTo>
                    <a:pt x="2125" y="203"/>
                  </a:lnTo>
                  <a:lnTo>
                    <a:pt x="2123" y="203"/>
                  </a:lnTo>
                  <a:lnTo>
                    <a:pt x="2123" y="203"/>
                  </a:lnTo>
                  <a:lnTo>
                    <a:pt x="2123" y="206"/>
                  </a:lnTo>
                  <a:lnTo>
                    <a:pt x="2123" y="206"/>
                  </a:lnTo>
                  <a:close/>
                  <a:moveTo>
                    <a:pt x="1990" y="186"/>
                  </a:moveTo>
                  <a:lnTo>
                    <a:pt x="1993" y="188"/>
                  </a:lnTo>
                  <a:lnTo>
                    <a:pt x="1995" y="188"/>
                  </a:lnTo>
                  <a:lnTo>
                    <a:pt x="1995" y="188"/>
                  </a:lnTo>
                  <a:lnTo>
                    <a:pt x="1993" y="186"/>
                  </a:lnTo>
                  <a:lnTo>
                    <a:pt x="1990" y="186"/>
                  </a:lnTo>
                  <a:lnTo>
                    <a:pt x="1988" y="186"/>
                  </a:lnTo>
                  <a:lnTo>
                    <a:pt x="1990" y="186"/>
                  </a:lnTo>
                  <a:lnTo>
                    <a:pt x="1990" y="186"/>
                  </a:lnTo>
                  <a:close/>
                  <a:moveTo>
                    <a:pt x="1672" y="102"/>
                  </a:moveTo>
                  <a:lnTo>
                    <a:pt x="1672" y="102"/>
                  </a:lnTo>
                  <a:lnTo>
                    <a:pt x="1674" y="104"/>
                  </a:lnTo>
                  <a:lnTo>
                    <a:pt x="1677" y="107"/>
                  </a:lnTo>
                  <a:lnTo>
                    <a:pt x="1677" y="107"/>
                  </a:lnTo>
                  <a:lnTo>
                    <a:pt x="1687" y="109"/>
                  </a:lnTo>
                  <a:lnTo>
                    <a:pt x="1692" y="109"/>
                  </a:lnTo>
                  <a:lnTo>
                    <a:pt x="1697" y="112"/>
                  </a:lnTo>
                  <a:lnTo>
                    <a:pt x="1700" y="112"/>
                  </a:lnTo>
                  <a:lnTo>
                    <a:pt x="1705" y="112"/>
                  </a:lnTo>
                  <a:lnTo>
                    <a:pt x="1707" y="112"/>
                  </a:lnTo>
                  <a:lnTo>
                    <a:pt x="1713" y="114"/>
                  </a:lnTo>
                  <a:lnTo>
                    <a:pt x="1715" y="114"/>
                  </a:lnTo>
                  <a:lnTo>
                    <a:pt x="1718" y="114"/>
                  </a:lnTo>
                  <a:lnTo>
                    <a:pt x="1728" y="114"/>
                  </a:lnTo>
                  <a:lnTo>
                    <a:pt x="1735" y="114"/>
                  </a:lnTo>
                  <a:lnTo>
                    <a:pt x="1738" y="114"/>
                  </a:lnTo>
                  <a:lnTo>
                    <a:pt x="1743" y="114"/>
                  </a:lnTo>
                  <a:lnTo>
                    <a:pt x="1746" y="112"/>
                  </a:lnTo>
                  <a:lnTo>
                    <a:pt x="1746" y="112"/>
                  </a:lnTo>
                  <a:lnTo>
                    <a:pt x="1743" y="109"/>
                  </a:lnTo>
                  <a:lnTo>
                    <a:pt x="1741" y="107"/>
                  </a:lnTo>
                  <a:lnTo>
                    <a:pt x="1741" y="109"/>
                  </a:lnTo>
                  <a:lnTo>
                    <a:pt x="1741" y="109"/>
                  </a:lnTo>
                  <a:lnTo>
                    <a:pt x="1741" y="109"/>
                  </a:lnTo>
                  <a:lnTo>
                    <a:pt x="1738" y="109"/>
                  </a:lnTo>
                  <a:lnTo>
                    <a:pt x="1735" y="107"/>
                  </a:lnTo>
                  <a:lnTo>
                    <a:pt x="1730" y="107"/>
                  </a:lnTo>
                  <a:lnTo>
                    <a:pt x="1723" y="107"/>
                  </a:lnTo>
                  <a:lnTo>
                    <a:pt x="1715" y="107"/>
                  </a:lnTo>
                  <a:lnTo>
                    <a:pt x="1715" y="107"/>
                  </a:lnTo>
                  <a:lnTo>
                    <a:pt x="1710" y="107"/>
                  </a:lnTo>
                  <a:lnTo>
                    <a:pt x="1707" y="107"/>
                  </a:lnTo>
                  <a:lnTo>
                    <a:pt x="1707" y="104"/>
                  </a:lnTo>
                  <a:lnTo>
                    <a:pt x="1705" y="104"/>
                  </a:lnTo>
                  <a:lnTo>
                    <a:pt x="1705" y="104"/>
                  </a:lnTo>
                  <a:lnTo>
                    <a:pt x="1702" y="104"/>
                  </a:lnTo>
                  <a:lnTo>
                    <a:pt x="1690" y="104"/>
                  </a:lnTo>
                  <a:lnTo>
                    <a:pt x="1690" y="104"/>
                  </a:lnTo>
                  <a:lnTo>
                    <a:pt x="1685" y="104"/>
                  </a:lnTo>
                  <a:lnTo>
                    <a:pt x="1682" y="104"/>
                  </a:lnTo>
                  <a:lnTo>
                    <a:pt x="1679" y="104"/>
                  </a:lnTo>
                  <a:lnTo>
                    <a:pt x="1677" y="102"/>
                  </a:lnTo>
                  <a:lnTo>
                    <a:pt x="1672" y="102"/>
                  </a:lnTo>
                  <a:lnTo>
                    <a:pt x="1672" y="102"/>
                  </a:lnTo>
                  <a:close/>
                  <a:moveTo>
                    <a:pt x="2039" y="214"/>
                  </a:moveTo>
                  <a:lnTo>
                    <a:pt x="2041" y="216"/>
                  </a:lnTo>
                  <a:lnTo>
                    <a:pt x="2044" y="219"/>
                  </a:lnTo>
                  <a:lnTo>
                    <a:pt x="2046" y="219"/>
                  </a:lnTo>
                  <a:lnTo>
                    <a:pt x="2046" y="221"/>
                  </a:lnTo>
                  <a:lnTo>
                    <a:pt x="2051" y="221"/>
                  </a:lnTo>
                  <a:lnTo>
                    <a:pt x="2054" y="221"/>
                  </a:lnTo>
                  <a:lnTo>
                    <a:pt x="2054" y="221"/>
                  </a:lnTo>
                  <a:lnTo>
                    <a:pt x="2054" y="224"/>
                  </a:lnTo>
                  <a:lnTo>
                    <a:pt x="2057" y="224"/>
                  </a:lnTo>
                  <a:lnTo>
                    <a:pt x="2057" y="224"/>
                  </a:lnTo>
                  <a:lnTo>
                    <a:pt x="2054" y="221"/>
                  </a:lnTo>
                  <a:lnTo>
                    <a:pt x="2054" y="221"/>
                  </a:lnTo>
                  <a:lnTo>
                    <a:pt x="2049" y="219"/>
                  </a:lnTo>
                  <a:lnTo>
                    <a:pt x="2046" y="219"/>
                  </a:lnTo>
                  <a:lnTo>
                    <a:pt x="2044" y="216"/>
                  </a:lnTo>
                  <a:lnTo>
                    <a:pt x="2041" y="214"/>
                  </a:lnTo>
                  <a:lnTo>
                    <a:pt x="2041" y="214"/>
                  </a:lnTo>
                  <a:lnTo>
                    <a:pt x="2044" y="214"/>
                  </a:lnTo>
                  <a:lnTo>
                    <a:pt x="2044" y="211"/>
                  </a:lnTo>
                  <a:lnTo>
                    <a:pt x="2041" y="211"/>
                  </a:lnTo>
                  <a:lnTo>
                    <a:pt x="2039" y="209"/>
                  </a:lnTo>
                  <a:lnTo>
                    <a:pt x="2039" y="209"/>
                  </a:lnTo>
                  <a:lnTo>
                    <a:pt x="2036" y="211"/>
                  </a:lnTo>
                  <a:lnTo>
                    <a:pt x="2039" y="211"/>
                  </a:lnTo>
                  <a:lnTo>
                    <a:pt x="2036" y="214"/>
                  </a:lnTo>
                  <a:lnTo>
                    <a:pt x="2039" y="214"/>
                  </a:lnTo>
                  <a:close/>
                  <a:moveTo>
                    <a:pt x="1560" y="125"/>
                  </a:moveTo>
                  <a:lnTo>
                    <a:pt x="1555" y="125"/>
                  </a:lnTo>
                  <a:lnTo>
                    <a:pt x="1557" y="125"/>
                  </a:lnTo>
                  <a:lnTo>
                    <a:pt x="1557" y="125"/>
                  </a:lnTo>
                  <a:lnTo>
                    <a:pt x="1562" y="127"/>
                  </a:lnTo>
                  <a:lnTo>
                    <a:pt x="1565" y="127"/>
                  </a:lnTo>
                  <a:lnTo>
                    <a:pt x="1572" y="130"/>
                  </a:lnTo>
                  <a:lnTo>
                    <a:pt x="1575" y="130"/>
                  </a:lnTo>
                  <a:lnTo>
                    <a:pt x="1575" y="130"/>
                  </a:lnTo>
                  <a:lnTo>
                    <a:pt x="1575" y="130"/>
                  </a:lnTo>
                  <a:lnTo>
                    <a:pt x="1567" y="127"/>
                  </a:lnTo>
                  <a:lnTo>
                    <a:pt x="1560" y="125"/>
                  </a:lnTo>
                  <a:close/>
                  <a:moveTo>
                    <a:pt x="1091" y="58"/>
                  </a:moveTo>
                  <a:lnTo>
                    <a:pt x="1096" y="58"/>
                  </a:lnTo>
                  <a:lnTo>
                    <a:pt x="1098" y="58"/>
                  </a:lnTo>
                  <a:lnTo>
                    <a:pt x="1101" y="58"/>
                  </a:lnTo>
                  <a:lnTo>
                    <a:pt x="1101" y="56"/>
                  </a:lnTo>
                  <a:lnTo>
                    <a:pt x="1098" y="56"/>
                  </a:lnTo>
                  <a:lnTo>
                    <a:pt x="1096" y="56"/>
                  </a:lnTo>
                  <a:lnTo>
                    <a:pt x="1086" y="56"/>
                  </a:lnTo>
                  <a:lnTo>
                    <a:pt x="1083" y="56"/>
                  </a:lnTo>
                  <a:lnTo>
                    <a:pt x="1091" y="58"/>
                  </a:lnTo>
                  <a:close/>
                  <a:moveTo>
                    <a:pt x="1078" y="56"/>
                  </a:moveTo>
                  <a:lnTo>
                    <a:pt x="1081" y="56"/>
                  </a:lnTo>
                  <a:lnTo>
                    <a:pt x="1083" y="56"/>
                  </a:lnTo>
                  <a:lnTo>
                    <a:pt x="1083" y="56"/>
                  </a:lnTo>
                  <a:lnTo>
                    <a:pt x="1083" y="56"/>
                  </a:lnTo>
                  <a:lnTo>
                    <a:pt x="1086" y="56"/>
                  </a:lnTo>
                  <a:lnTo>
                    <a:pt x="1083" y="53"/>
                  </a:lnTo>
                  <a:lnTo>
                    <a:pt x="1083" y="53"/>
                  </a:lnTo>
                  <a:lnTo>
                    <a:pt x="1083" y="53"/>
                  </a:lnTo>
                  <a:lnTo>
                    <a:pt x="1081" y="53"/>
                  </a:lnTo>
                  <a:lnTo>
                    <a:pt x="1081" y="53"/>
                  </a:lnTo>
                  <a:lnTo>
                    <a:pt x="1075" y="56"/>
                  </a:lnTo>
                  <a:lnTo>
                    <a:pt x="1075" y="56"/>
                  </a:lnTo>
                  <a:lnTo>
                    <a:pt x="1078" y="56"/>
                  </a:lnTo>
                  <a:close/>
                  <a:moveTo>
                    <a:pt x="996" y="58"/>
                  </a:moveTo>
                  <a:lnTo>
                    <a:pt x="996" y="58"/>
                  </a:lnTo>
                  <a:lnTo>
                    <a:pt x="1001" y="61"/>
                  </a:lnTo>
                  <a:lnTo>
                    <a:pt x="1004" y="58"/>
                  </a:lnTo>
                  <a:lnTo>
                    <a:pt x="1009" y="58"/>
                  </a:lnTo>
                  <a:lnTo>
                    <a:pt x="1014" y="56"/>
                  </a:lnTo>
                  <a:lnTo>
                    <a:pt x="1014" y="56"/>
                  </a:lnTo>
                  <a:lnTo>
                    <a:pt x="1022" y="56"/>
                  </a:lnTo>
                  <a:lnTo>
                    <a:pt x="1027" y="56"/>
                  </a:lnTo>
                  <a:lnTo>
                    <a:pt x="1032" y="56"/>
                  </a:lnTo>
                  <a:lnTo>
                    <a:pt x="1035" y="56"/>
                  </a:lnTo>
                  <a:lnTo>
                    <a:pt x="1035" y="56"/>
                  </a:lnTo>
                  <a:lnTo>
                    <a:pt x="1035" y="56"/>
                  </a:lnTo>
                  <a:lnTo>
                    <a:pt x="1037" y="56"/>
                  </a:lnTo>
                  <a:lnTo>
                    <a:pt x="1047" y="56"/>
                  </a:lnTo>
                  <a:lnTo>
                    <a:pt x="1052" y="53"/>
                  </a:lnTo>
                  <a:lnTo>
                    <a:pt x="1055" y="53"/>
                  </a:lnTo>
                  <a:lnTo>
                    <a:pt x="1058" y="53"/>
                  </a:lnTo>
                  <a:lnTo>
                    <a:pt x="1058" y="53"/>
                  </a:lnTo>
                  <a:lnTo>
                    <a:pt x="1063" y="51"/>
                  </a:lnTo>
                  <a:lnTo>
                    <a:pt x="1060" y="48"/>
                  </a:lnTo>
                  <a:lnTo>
                    <a:pt x="1058" y="48"/>
                  </a:lnTo>
                  <a:lnTo>
                    <a:pt x="1058" y="48"/>
                  </a:lnTo>
                  <a:lnTo>
                    <a:pt x="1055" y="46"/>
                  </a:lnTo>
                  <a:lnTo>
                    <a:pt x="1052" y="46"/>
                  </a:lnTo>
                  <a:lnTo>
                    <a:pt x="1052" y="46"/>
                  </a:lnTo>
                  <a:lnTo>
                    <a:pt x="1050" y="46"/>
                  </a:lnTo>
                  <a:lnTo>
                    <a:pt x="1047" y="46"/>
                  </a:lnTo>
                  <a:lnTo>
                    <a:pt x="1042" y="46"/>
                  </a:lnTo>
                  <a:lnTo>
                    <a:pt x="1042" y="43"/>
                  </a:lnTo>
                  <a:lnTo>
                    <a:pt x="1042" y="43"/>
                  </a:lnTo>
                  <a:lnTo>
                    <a:pt x="1040" y="43"/>
                  </a:lnTo>
                  <a:lnTo>
                    <a:pt x="1037" y="43"/>
                  </a:lnTo>
                  <a:lnTo>
                    <a:pt x="1035" y="41"/>
                  </a:lnTo>
                  <a:lnTo>
                    <a:pt x="1032" y="41"/>
                  </a:lnTo>
                  <a:lnTo>
                    <a:pt x="1030" y="41"/>
                  </a:lnTo>
                  <a:lnTo>
                    <a:pt x="1027" y="41"/>
                  </a:lnTo>
                  <a:lnTo>
                    <a:pt x="1024" y="41"/>
                  </a:lnTo>
                  <a:lnTo>
                    <a:pt x="1024" y="41"/>
                  </a:lnTo>
                  <a:lnTo>
                    <a:pt x="1022" y="41"/>
                  </a:lnTo>
                  <a:lnTo>
                    <a:pt x="1022" y="41"/>
                  </a:lnTo>
                  <a:lnTo>
                    <a:pt x="1019" y="43"/>
                  </a:lnTo>
                  <a:lnTo>
                    <a:pt x="1019" y="43"/>
                  </a:lnTo>
                  <a:lnTo>
                    <a:pt x="1019" y="46"/>
                  </a:lnTo>
                  <a:lnTo>
                    <a:pt x="1019" y="46"/>
                  </a:lnTo>
                  <a:lnTo>
                    <a:pt x="1017" y="46"/>
                  </a:lnTo>
                  <a:lnTo>
                    <a:pt x="1017" y="41"/>
                  </a:lnTo>
                  <a:lnTo>
                    <a:pt x="1017" y="41"/>
                  </a:lnTo>
                  <a:lnTo>
                    <a:pt x="1017" y="38"/>
                  </a:lnTo>
                  <a:lnTo>
                    <a:pt x="1017" y="38"/>
                  </a:lnTo>
                  <a:lnTo>
                    <a:pt x="1017" y="38"/>
                  </a:lnTo>
                  <a:lnTo>
                    <a:pt x="1017" y="38"/>
                  </a:lnTo>
                  <a:lnTo>
                    <a:pt x="1017" y="38"/>
                  </a:lnTo>
                  <a:lnTo>
                    <a:pt x="1012" y="36"/>
                  </a:lnTo>
                  <a:lnTo>
                    <a:pt x="1007" y="36"/>
                  </a:lnTo>
                  <a:lnTo>
                    <a:pt x="1004" y="36"/>
                  </a:lnTo>
                  <a:lnTo>
                    <a:pt x="1004" y="36"/>
                  </a:lnTo>
                  <a:lnTo>
                    <a:pt x="1004" y="36"/>
                  </a:lnTo>
                  <a:lnTo>
                    <a:pt x="1007" y="38"/>
                  </a:lnTo>
                  <a:lnTo>
                    <a:pt x="1009" y="38"/>
                  </a:lnTo>
                  <a:lnTo>
                    <a:pt x="1007" y="38"/>
                  </a:lnTo>
                  <a:lnTo>
                    <a:pt x="1004" y="38"/>
                  </a:lnTo>
                  <a:lnTo>
                    <a:pt x="1001" y="38"/>
                  </a:lnTo>
                  <a:lnTo>
                    <a:pt x="1001" y="38"/>
                  </a:lnTo>
                  <a:lnTo>
                    <a:pt x="999" y="36"/>
                  </a:lnTo>
                  <a:lnTo>
                    <a:pt x="999" y="38"/>
                  </a:lnTo>
                  <a:lnTo>
                    <a:pt x="999" y="38"/>
                  </a:lnTo>
                  <a:lnTo>
                    <a:pt x="999" y="38"/>
                  </a:lnTo>
                  <a:lnTo>
                    <a:pt x="999" y="38"/>
                  </a:lnTo>
                  <a:lnTo>
                    <a:pt x="996" y="38"/>
                  </a:lnTo>
                  <a:lnTo>
                    <a:pt x="996" y="41"/>
                  </a:lnTo>
                  <a:lnTo>
                    <a:pt x="996" y="41"/>
                  </a:lnTo>
                  <a:lnTo>
                    <a:pt x="996" y="41"/>
                  </a:lnTo>
                  <a:lnTo>
                    <a:pt x="996" y="41"/>
                  </a:lnTo>
                  <a:lnTo>
                    <a:pt x="996" y="43"/>
                  </a:lnTo>
                  <a:lnTo>
                    <a:pt x="996" y="43"/>
                  </a:lnTo>
                  <a:lnTo>
                    <a:pt x="996" y="43"/>
                  </a:lnTo>
                  <a:lnTo>
                    <a:pt x="996" y="43"/>
                  </a:lnTo>
                  <a:lnTo>
                    <a:pt x="996" y="43"/>
                  </a:lnTo>
                  <a:lnTo>
                    <a:pt x="999" y="46"/>
                  </a:lnTo>
                  <a:lnTo>
                    <a:pt x="1001" y="46"/>
                  </a:lnTo>
                  <a:lnTo>
                    <a:pt x="999" y="46"/>
                  </a:lnTo>
                  <a:lnTo>
                    <a:pt x="996" y="46"/>
                  </a:lnTo>
                  <a:lnTo>
                    <a:pt x="994" y="46"/>
                  </a:lnTo>
                  <a:lnTo>
                    <a:pt x="994" y="46"/>
                  </a:lnTo>
                  <a:lnTo>
                    <a:pt x="994" y="48"/>
                  </a:lnTo>
                  <a:lnTo>
                    <a:pt x="994" y="48"/>
                  </a:lnTo>
                  <a:lnTo>
                    <a:pt x="996" y="51"/>
                  </a:lnTo>
                  <a:lnTo>
                    <a:pt x="996" y="51"/>
                  </a:lnTo>
                  <a:lnTo>
                    <a:pt x="996" y="51"/>
                  </a:lnTo>
                  <a:lnTo>
                    <a:pt x="996" y="51"/>
                  </a:lnTo>
                  <a:lnTo>
                    <a:pt x="996" y="53"/>
                  </a:lnTo>
                  <a:lnTo>
                    <a:pt x="996" y="53"/>
                  </a:lnTo>
                  <a:lnTo>
                    <a:pt x="994" y="56"/>
                  </a:lnTo>
                  <a:lnTo>
                    <a:pt x="994" y="56"/>
                  </a:lnTo>
                  <a:lnTo>
                    <a:pt x="994" y="58"/>
                  </a:lnTo>
                  <a:lnTo>
                    <a:pt x="994" y="58"/>
                  </a:lnTo>
                  <a:lnTo>
                    <a:pt x="996" y="58"/>
                  </a:lnTo>
                  <a:close/>
                  <a:moveTo>
                    <a:pt x="991" y="89"/>
                  </a:moveTo>
                  <a:lnTo>
                    <a:pt x="994" y="89"/>
                  </a:lnTo>
                  <a:lnTo>
                    <a:pt x="994" y="89"/>
                  </a:lnTo>
                  <a:lnTo>
                    <a:pt x="994" y="89"/>
                  </a:lnTo>
                  <a:lnTo>
                    <a:pt x="994" y="89"/>
                  </a:lnTo>
                  <a:lnTo>
                    <a:pt x="996" y="89"/>
                  </a:lnTo>
                  <a:lnTo>
                    <a:pt x="996" y="89"/>
                  </a:lnTo>
                  <a:lnTo>
                    <a:pt x="996" y="89"/>
                  </a:lnTo>
                  <a:lnTo>
                    <a:pt x="994" y="86"/>
                  </a:lnTo>
                  <a:lnTo>
                    <a:pt x="994" y="86"/>
                  </a:lnTo>
                  <a:lnTo>
                    <a:pt x="991" y="86"/>
                  </a:lnTo>
                  <a:lnTo>
                    <a:pt x="994" y="86"/>
                  </a:lnTo>
                  <a:lnTo>
                    <a:pt x="991" y="89"/>
                  </a:lnTo>
                  <a:close/>
                  <a:moveTo>
                    <a:pt x="996" y="84"/>
                  </a:moveTo>
                  <a:lnTo>
                    <a:pt x="996" y="84"/>
                  </a:lnTo>
                  <a:lnTo>
                    <a:pt x="999" y="84"/>
                  </a:lnTo>
                  <a:lnTo>
                    <a:pt x="994" y="81"/>
                  </a:lnTo>
                  <a:lnTo>
                    <a:pt x="991" y="81"/>
                  </a:lnTo>
                  <a:lnTo>
                    <a:pt x="994" y="81"/>
                  </a:lnTo>
                  <a:lnTo>
                    <a:pt x="996" y="84"/>
                  </a:lnTo>
                  <a:close/>
                  <a:moveTo>
                    <a:pt x="1190" y="84"/>
                  </a:moveTo>
                  <a:lnTo>
                    <a:pt x="1193" y="84"/>
                  </a:lnTo>
                  <a:lnTo>
                    <a:pt x="1195" y="84"/>
                  </a:lnTo>
                  <a:lnTo>
                    <a:pt x="1198" y="86"/>
                  </a:lnTo>
                  <a:lnTo>
                    <a:pt x="1198" y="86"/>
                  </a:lnTo>
                  <a:lnTo>
                    <a:pt x="1198" y="84"/>
                  </a:lnTo>
                  <a:lnTo>
                    <a:pt x="1198" y="84"/>
                  </a:lnTo>
                  <a:lnTo>
                    <a:pt x="1198" y="84"/>
                  </a:lnTo>
                  <a:lnTo>
                    <a:pt x="1198" y="84"/>
                  </a:lnTo>
                  <a:lnTo>
                    <a:pt x="1195" y="81"/>
                  </a:lnTo>
                  <a:lnTo>
                    <a:pt x="1193" y="81"/>
                  </a:lnTo>
                  <a:lnTo>
                    <a:pt x="1193" y="81"/>
                  </a:lnTo>
                  <a:lnTo>
                    <a:pt x="1188" y="81"/>
                  </a:lnTo>
                  <a:lnTo>
                    <a:pt x="1188" y="81"/>
                  </a:lnTo>
                  <a:lnTo>
                    <a:pt x="1188" y="84"/>
                  </a:lnTo>
                  <a:lnTo>
                    <a:pt x="1190" y="84"/>
                  </a:lnTo>
                  <a:close/>
                  <a:moveTo>
                    <a:pt x="1371" y="145"/>
                  </a:moveTo>
                  <a:lnTo>
                    <a:pt x="1374" y="145"/>
                  </a:lnTo>
                  <a:lnTo>
                    <a:pt x="1371" y="145"/>
                  </a:lnTo>
                  <a:lnTo>
                    <a:pt x="1368" y="145"/>
                  </a:lnTo>
                  <a:lnTo>
                    <a:pt x="1366" y="145"/>
                  </a:lnTo>
                  <a:lnTo>
                    <a:pt x="1363" y="145"/>
                  </a:lnTo>
                  <a:lnTo>
                    <a:pt x="1363" y="145"/>
                  </a:lnTo>
                  <a:lnTo>
                    <a:pt x="1366" y="145"/>
                  </a:lnTo>
                  <a:lnTo>
                    <a:pt x="1371" y="145"/>
                  </a:lnTo>
                  <a:close/>
                  <a:moveTo>
                    <a:pt x="1114" y="71"/>
                  </a:moveTo>
                  <a:lnTo>
                    <a:pt x="1116" y="71"/>
                  </a:lnTo>
                  <a:lnTo>
                    <a:pt x="1116" y="71"/>
                  </a:lnTo>
                  <a:lnTo>
                    <a:pt x="1116" y="71"/>
                  </a:lnTo>
                  <a:lnTo>
                    <a:pt x="1116" y="71"/>
                  </a:lnTo>
                  <a:lnTo>
                    <a:pt x="1114" y="71"/>
                  </a:lnTo>
                  <a:lnTo>
                    <a:pt x="1111" y="71"/>
                  </a:lnTo>
                  <a:lnTo>
                    <a:pt x="1111" y="71"/>
                  </a:lnTo>
                  <a:lnTo>
                    <a:pt x="1114" y="71"/>
                  </a:lnTo>
                  <a:lnTo>
                    <a:pt x="1114" y="71"/>
                  </a:lnTo>
                  <a:close/>
                  <a:moveTo>
                    <a:pt x="1414" y="132"/>
                  </a:moveTo>
                  <a:lnTo>
                    <a:pt x="1414" y="132"/>
                  </a:lnTo>
                  <a:lnTo>
                    <a:pt x="1417" y="132"/>
                  </a:lnTo>
                  <a:lnTo>
                    <a:pt x="1417" y="130"/>
                  </a:lnTo>
                  <a:lnTo>
                    <a:pt x="1417" y="130"/>
                  </a:lnTo>
                  <a:lnTo>
                    <a:pt x="1414" y="130"/>
                  </a:lnTo>
                  <a:lnTo>
                    <a:pt x="1412" y="130"/>
                  </a:lnTo>
                  <a:lnTo>
                    <a:pt x="1412" y="130"/>
                  </a:lnTo>
                  <a:lnTo>
                    <a:pt x="1412" y="130"/>
                  </a:lnTo>
                  <a:lnTo>
                    <a:pt x="1414" y="132"/>
                  </a:lnTo>
                  <a:close/>
                  <a:moveTo>
                    <a:pt x="1231" y="119"/>
                  </a:moveTo>
                  <a:lnTo>
                    <a:pt x="1231" y="119"/>
                  </a:lnTo>
                  <a:lnTo>
                    <a:pt x="1231" y="119"/>
                  </a:lnTo>
                  <a:lnTo>
                    <a:pt x="1233" y="122"/>
                  </a:lnTo>
                  <a:lnTo>
                    <a:pt x="1231" y="122"/>
                  </a:lnTo>
                  <a:lnTo>
                    <a:pt x="1228" y="122"/>
                  </a:lnTo>
                  <a:lnTo>
                    <a:pt x="1228" y="122"/>
                  </a:lnTo>
                  <a:lnTo>
                    <a:pt x="1226" y="122"/>
                  </a:lnTo>
                  <a:lnTo>
                    <a:pt x="1231" y="125"/>
                  </a:lnTo>
                  <a:lnTo>
                    <a:pt x="1236" y="125"/>
                  </a:lnTo>
                  <a:lnTo>
                    <a:pt x="1239" y="125"/>
                  </a:lnTo>
                  <a:lnTo>
                    <a:pt x="1241" y="127"/>
                  </a:lnTo>
                  <a:lnTo>
                    <a:pt x="1249" y="127"/>
                  </a:lnTo>
                  <a:lnTo>
                    <a:pt x="1249" y="127"/>
                  </a:lnTo>
                  <a:lnTo>
                    <a:pt x="1251" y="125"/>
                  </a:lnTo>
                  <a:lnTo>
                    <a:pt x="1251" y="125"/>
                  </a:lnTo>
                  <a:lnTo>
                    <a:pt x="1254" y="125"/>
                  </a:lnTo>
                  <a:lnTo>
                    <a:pt x="1251" y="122"/>
                  </a:lnTo>
                  <a:lnTo>
                    <a:pt x="1251" y="122"/>
                  </a:lnTo>
                  <a:lnTo>
                    <a:pt x="1251" y="122"/>
                  </a:lnTo>
                  <a:lnTo>
                    <a:pt x="1249" y="122"/>
                  </a:lnTo>
                  <a:lnTo>
                    <a:pt x="1244" y="119"/>
                  </a:lnTo>
                  <a:lnTo>
                    <a:pt x="1231" y="119"/>
                  </a:lnTo>
                  <a:lnTo>
                    <a:pt x="1231" y="119"/>
                  </a:lnTo>
                  <a:close/>
                  <a:moveTo>
                    <a:pt x="1521" y="99"/>
                  </a:moveTo>
                  <a:lnTo>
                    <a:pt x="1524" y="99"/>
                  </a:lnTo>
                  <a:lnTo>
                    <a:pt x="1526" y="102"/>
                  </a:lnTo>
                  <a:lnTo>
                    <a:pt x="1526" y="102"/>
                  </a:lnTo>
                  <a:lnTo>
                    <a:pt x="1526" y="102"/>
                  </a:lnTo>
                  <a:lnTo>
                    <a:pt x="1529" y="104"/>
                  </a:lnTo>
                  <a:lnTo>
                    <a:pt x="1532" y="104"/>
                  </a:lnTo>
                  <a:lnTo>
                    <a:pt x="1534" y="104"/>
                  </a:lnTo>
                  <a:lnTo>
                    <a:pt x="1534" y="104"/>
                  </a:lnTo>
                  <a:lnTo>
                    <a:pt x="1534" y="102"/>
                  </a:lnTo>
                  <a:lnTo>
                    <a:pt x="1532" y="102"/>
                  </a:lnTo>
                  <a:lnTo>
                    <a:pt x="1534" y="99"/>
                  </a:lnTo>
                  <a:lnTo>
                    <a:pt x="1532" y="99"/>
                  </a:lnTo>
                  <a:lnTo>
                    <a:pt x="1526" y="99"/>
                  </a:lnTo>
                  <a:lnTo>
                    <a:pt x="1526" y="99"/>
                  </a:lnTo>
                  <a:lnTo>
                    <a:pt x="1524" y="97"/>
                  </a:lnTo>
                  <a:lnTo>
                    <a:pt x="1521" y="97"/>
                  </a:lnTo>
                  <a:lnTo>
                    <a:pt x="1521" y="97"/>
                  </a:lnTo>
                  <a:lnTo>
                    <a:pt x="1521" y="99"/>
                  </a:lnTo>
                  <a:close/>
                  <a:moveTo>
                    <a:pt x="1743" y="91"/>
                  </a:moveTo>
                  <a:lnTo>
                    <a:pt x="1741" y="91"/>
                  </a:lnTo>
                  <a:lnTo>
                    <a:pt x="1741" y="89"/>
                  </a:lnTo>
                  <a:lnTo>
                    <a:pt x="1738" y="89"/>
                  </a:lnTo>
                  <a:lnTo>
                    <a:pt x="1738" y="89"/>
                  </a:lnTo>
                  <a:lnTo>
                    <a:pt x="1738" y="91"/>
                  </a:lnTo>
                  <a:lnTo>
                    <a:pt x="1743" y="91"/>
                  </a:lnTo>
                  <a:lnTo>
                    <a:pt x="1743" y="91"/>
                  </a:lnTo>
                  <a:close/>
                  <a:moveTo>
                    <a:pt x="2365" y="682"/>
                  </a:moveTo>
                  <a:lnTo>
                    <a:pt x="2365" y="682"/>
                  </a:lnTo>
                  <a:lnTo>
                    <a:pt x="2362" y="687"/>
                  </a:lnTo>
                  <a:lnTo>
                    <a:pt x="2360" y="687"/>
                  </a:lnTo>
                  <a:lnTo>
                    <a:pt x="2362" y="687"/>
                  </a:lnTo>
                  <a:lnTo>
                    <a:pt x="2362" y="687"/>
                  </a:lnTo>
                  <a:lnTo>
                    <a:pt x="2365" y="687"/>
                  </a:lnTo>
                  <a:lnTo>
                    <a:pt x="2365" y="684"/>
                  </a:lnTo>
                  <a:lnTo>
                    <a:pt x="2368" y="679"/>
                  </a:lnTo>
                  <a:lnTo>
                    <a:pt x="2365" y="679"/>
                  </a:lnTo>
                  <a:lnTo>
                    <a:pt x="2365" y="682"/>
                  </a:lnTo>
                  <a:close/>
                  <a:moveTo>
                    <a:pt x="2347" y="700"/>
                  </a:moveTo>
                  <a:lnTo>
                    <a:pt x="2347" y="700"/>
                  </a:lnTo>
                  <a:lnTo>
                    <a:pt x="2342" y="705"/>
                  </a:lnTo>
                  <a:lnTo>
                    <a:pt x="2342" y="707"/>
                  </a:lnTo>
                  <a:lnTo>
                    <a:pt x="2339" y="710"/>
                  </a:lnTo>
                  <a:lnTo>
                    <a:pt x="2339" y="715"/>
                  </a:lnTo>
                  <a:lnTo>
                    <a:pt x="2342" y="715"/>
                  </a:lnTo>
                  <a:lnTo>
                    <a:pt x="2342" y="712"/>
                  </a:lnTo>
                  <a:lnTo>
                    <a:pt x="2345" y="710"/>
                  </a:lnTo>
                  <a:lnTo>
                    <a:pt x="2345" y="710"/>
                  </a:lnTo>
                  <a:lnTo>
                    <a:pt x="2347" y="710"/>
                  </a:lnTo>
                  <a:lnTo>
                    <a:pt x="2347" y="707"/>
                  </a:lnTo>
                  <a:lnTo>
                    <a:pt x="2347" y="705"/>
                  </a:lnTo>
                  <a:lnTo>
                    <a:pt x="2350" y="700"/>
                  </a:lnTo>
                  <a:lnTo>
                    <a:pt x="2347" y="700"/>
                  </a:lnTo>
                  <a:close/>
                  <a:moveTo>
                    <a:pt x="2362" y="598"/>
                  </a:moveTo>
                  <a:lnTo>
                    <a:pt x="2362" y="598"/>
                  </a:lnTo>
                  <a:lnTo>
                    <a:pt x="2362" y="595"/>
                  </a:lnTo>
                  <a:lnTo>
                    <a:pt x="2360" y="595"/>
                  </a:lnTo>
                  <a:lnTo>
                    <a:pt x="2357" y="595"/>
                  </a:lnTo>
                  <a:lnTo>
                    <a:pt x="2360" y="598"/>
                  </a:lnTo>
                  <a:lnTo>
                    <a:pt x="2360" y="598"/>
                  </a:lnTo>
                  <a:lnTo>
                    <a:pt x="2362" y="598"/>
                  </a:lnTo>
                  <a:lnTo>
                    <a:pt x="2362" y="598"/>
                  </a:lnTo>
                  <a:close/>
                  <a:moveTo>
                    <a:pt x="2370" y="664"/>
                  </a:moveTo>
                  <a:lnTo>
                    <a:pt x="2370" y="667"/>
                  </a:lnTo>
                  <a:lnTo>
                    <a:pt x="2370" y="667"/>
                  </a:lnTo>
                  <a:lnTo>
                    <a:pt x="2370" y="667"/>
                  </a:lnTo>
                  <a:lnTo>
                    <a:pt x="2370" y="667"/>
                  </a:lnTo>
                  <a:lnTo>
                    <a:pt x="2370" y="667"/>
                  </a:lnTo>
                  <a:lnTo>
                    <a:pt x="2370" y="664"/>
                  </a:lnTo>
                  <a:close/>
                  <a:moveTo>
                    <a:pt x="2373" y="628"/>
                  </a:moveTo>
                  <a:lnTo>
                    <a:pt x="2373" y="626"/>
                  </a:lnTo>
                  <a:lnTo>
                    <a:pt x="2373" y="626"/>
                  </a:lnTo>
                  <a:lnTo>
                    <a:pt x="2370" y="623"/>
                  </a:lnTo>
                  <a:lnTo>
                    <a:pt x="2370" y="631"/>
                  </a:lnTo>
                  <a:lnTo>
                    <a:pt x="2373" y="631"/>
                  </a:lnTo>
                  <a:lnTo>
                    <a:pt x="2375" y="633"/>
                  </a:lnTo>
                  <a:lnTo>
                    <a:pt x="2375" y="631"/>
                  </a:lnTo>
                  <a:lnTo>
                    <a:pt x="2375" y="631"/>
                  </a:lnTo>
                  <a:lnTo>
                    <a:pt x="2373" y="628"/>
                  </a:lnTo>
                  <a:close/>
                  <a:moveTo>
                    <a:pt x="2375" y="605"/>
                  </a:moveTo>
                  <a:lnTo>
                    <a:pt x="2375" y="603"/>
                  </a:lnTo>
                  <a:lnTo>
                    <a:pt x="2373" y="600"/>
                  </a:lnTo>
                  <a:lnTo>
                    <a:pt x="2370" y="600"/>
                  </a:lnTo>
                  <a:lnTo>
                    <a:pt x="2370" y="600"/>
                  </a:lnTo>
                  <a:lnTo>
                    <a:pt x="2373" y="605"/>
                  </a:lnTo>
                  <a:lnTo>
                    <a:pt x="2373" y="608"/>
                  </a:lnTo>
                  <a:lnTo>
                    <a:pt x="2368" y="608"/>
                  </a:lnTo>
                  <a:lnTo>
                    <a:pt x="2368" y="611"/>
                  </a:lnTo>
                  <a:lnTo>
                    <a:pt x="2365" y="611"/>
                  </a:lnTo>
                  <a:lnTo>
                    <a:pt x="2365" y="611"/>
                  </a:lnTo>
                  <a:lnTo>
                    <a:pt x="2368" y="611"/>
                  </a:lnTo>
                  <a:lnTo>
                    <a:pt x="2370" y="616"/>
                  </a:lnTo>
                  <a:lnTo>
                    <a:pt x="2370" y="616"/>
                  </a:lnTo>
                  <a:lnTo>
                    <a:pt x="2373" y="616"/>
                  </a:lnTo>
                  <a:lnTo>
                    <a:pt x="2373" y="616"/>
                  </a:lnTo>
                  <a:lnTo>
                    <a:pt x="2373" y="613"/>
                  </a:lnTo>
                  <a:lnTo>
                    <a:pt x="2375" y="613"/>
                  </a:lnTo>
                  <a:lnTo>
                    <a:pt x="2378" y="613"/>
                  </a:lnTo>
                  <a:lnTo>
                    <a:pt x="2378" y="611"/>
                  </a:lnTo>
                  <a:lnTo>
                    <a:pt x="2378" y="605"/>
                  </a:lnTo>
                  <a:lnTo>
                    <a:pt x="2375" y="605"/>
                  </a:lnTo>
                  <a:close/>
                  <a:moveTo>
                    <a:pt x="2373" y="641"/>
                  </a:moveTo>
                  <a:lnTo>
                    <a:pt x="2373" y="641"/>
                  </a:lnTo>
                  <a:lnTo>
                    <a:pt x="2370" y="641"/>
                  </a:lnTo>
                  <a:lnTo>
                    <a:pt x="2370" y="641"/>
                  </a:lnTo>
                  <a:lnTo>
                    <a:pt x="2370" y="644"/>
                  </a:lnTo>
                  <a:lnTo>
                    <a:pt x="2370" y="644"/>
                  </a:lnTo>
                  <a:lnTo>
                    <a:pt x="2373" y="644"/>
                  </a:lnTo>
                  <a:lnTo>
                    <a:pt x="2373" y="644"/>
                  </a:lnTo>
                  <a:lnTo>
                    <a:pt x="2373" y="641"/>
                  </a:lnTo>
                  <a:lnTo>
                    <a:pt x="2373" y="641"/>
                  </a:lnTo>
                  <a:close/>
                  <a:moveTo>
                    <a:pt x="2306" y="763"/>
                  </a:moveTo>
                  <a:lnTo>
                    <a:pt x="2306" y="763"/>
                  </a:lnTo>
                  <a:lnTo>
                    <a:pt x="2306" y="763"/>
                  </a:lnTo>
                  <a:lnTo>
                    <a:pt x="2306" y="763"/>
                  </a:lnTo>
                  <a:lnTo>
                    <a:pt x="2306" y="763"/>
                  </a:lnTo>
                  <a:lnTo>
                    <a:pt x="2306" y="763"/>
                  </a:lnTo>
                  <a:lnTo>
                    <a:pt x="2306" y="763"/>
                  </a:lnTo>
                  <a:lnTo>
                    <a:pt x="2306" y="763"/>
                  </a:lnTo>
                  <a:lnTo>
                    <a:pt x="2306" y="763"/>
                  </a:lnTo>
                  <a:lnTo>
                    <a:pt x="2306" y="763"/>
                  </a:lnTo>
                  <a:lnTo>
                    <a:pt x="2309" y="763"/>
                  </a:lnTo>
                  <a:lnTo>
                    <a:pt x="2309" y="763"/>
                  </a:lnTo>
                  <a:lnTo>
                    <a:pt x="2309" y="763"/>
                  </a:lnTo>
                  <a:lnTo>
                    <a:pt x="2306" y="763"/>
                  </a:lnTo>
                  <a:close/>
                  <a:moveTo>
                    <a:pt x="2309" y="763"/>
                  </a:moveTo>
                  <a:lnTo>
                    <a:pt x="2309" y="763"/>
                  </a:lnTo>
                  <a:lnTo>
                    <a:pt x="2309" y="763"/>
                  </a:lnTo>
                  <a:lnTo>
                    <a:pt x="2309" y="763"/>
                  </a:lnTo>
                  <a:lnTo>
                    <a:pt x="2311" y="763"/>
                  </a:lnTo>
                  <a:lnTo>
                    <a:pt x="2311" y="763"/>
                  </a:lnTo>
                  <a:lnTo>
                    <a:pt x="2311" y="763"/>
                  </a:lnTo>
                  <a:lnTo>
                    <a:pt x="2311" y="763"/>
                  </a:lnTo>
                  <a:lnTo>
                    <a:pt x="2309" y="763"/>
                  </a:lnTo>
                  <a:close/>
                  <a:moveTo>
                    <a:pt x="2319" y="753"/>
                  </a:moveTo>
                  <a:lnTo>
                    <a:pt x="2314" y="756"/>
                  </a:lnTo>
                  <a:lnTo>
                    <a:pt x="2314" y="756"/>
                  </a:lnTo>
                  <a:lnTo>
                    <a:pt x="2317" y="758"/>
                  </a:lnTo>
                  <a:lnTo>
                    <a:pt x="2317" y="758"/>
                  </a:lnTo>
                  <a:lnTo>
                    <a:pt x="2317" y="756"/>
                  </a:lnTo>
                  <a:lnTo>
                    <a:pt x="2319" y="756"/>
                  </a:lnTo>
                  <a:lnTo>
                    <a:pt x="2319" y="756"/>
                  </a:lnTo>
                  <a:lnTo>
                    <a:pt x="2319" y="753"/>
                  </a:lnTo>
                  <a:close/>
                  <a:moveTo>
                    <a:pt x="2301" y="743"/>
                  </a:moveTo>
                  <a:lnTo>
                    <a:pt x="2299" y="740"/>
                  </a:lnTo>
                  <a:lnTo>
                    <a:pt x="2296" y="740"/>
                  </a:lnTo>
                  <a:lnTo>
                    <a:pt x="2296" y="745"/>
                  </a:lnTo>
                  <a:lnTo>
                    <a:pt x="2296" y="745"/>
                  </a:lnTo>
                  <a:lnTo>
                    <a:pt x="2296" y="748"/>
                  </a:lnTo>
                  <a:lnTo>
                    <a:pt x="2296" y="748"/>
                  </a:lnTo>
                  <a:lnTo>
                    <a:pt x="2296" y="751"/>
                  </a:lnTo>
                  <a:lnTo>
                    <a:pt x="2294" y="751"/>
                  </a:lnTo>
                  <a:lnTo>
                    <a:pt x="2294" y="753"/>
                  </a:lnTo>
                  <a:lnTo>
                    <a:pt x="2294" y="756"/>
                  </a:lnTo>
                  <a:lnTo>
                    <a:pt x="2294" y="758"/>
                  </a:lnTo>
                  <a:lnTo>
                    <a:pt x="2299" y="758"/>
                  </a:lnTo>
                  <a:lnTo>
                    <a:pt x="2296" y="756"/>
                  </a:lnTo>
                  <a:lnTo>
                    <a:pt x="2299" y="753"/>
                  </a:lnTo>
                  <a:lnTo>
                    <a:pt x="2299" y="751"/>
                  </a:lnTo>
                  <a:lnTo>
                    <a:pt x="2299" y="748"/>
                  </a:lnTo>
                  <a:lnTo>
                    <a:pt x="2299" y="745"/>
                  </a:lnTo>
                  <a:lnTo>
                    <a:pt x="2301" y="745"/>
                  </a:lnTo>
                  <a:lnTo>
                    <a:pt x="2301" y="745"/>
                  </a:lnTo>
                  <a:lnTo>
                    <a:pt x="2304" y="743"/>
                  </a:lnTo>
                  <a:lnTo>
                    <a:pt x="2304" y="743"/>
                  </a:lnTo>
                  <a:lnTo>
                    <a:pt x="2304" y="740"/>
                  </a:lnTo>
                  <a:lnTo>
                    <a:pt x="2301" y="743"/>
                  </a:lnTo>
                  <a:close/>
                  <a:moveTo>
                    <a:pt x="2311" y="758"/>
                  </a:moveTo>
                  <a:lnTo>
                    <a:pt x="2311" y="758"/>
                  </a:lnTo>
                  <a:lnTo>
                    <a:pt x="2311" y="758"/>
                  </a:lnTo>
                  <a:lnTo>
                    <a:pt x="2311" y="758"/>
                  </a:lnTo>
                  <a:lnTo>
                    <a:pt x="2311" y="758"/>
                  </a:lnTo>
                  <a:lnTo>
                    <a:pt x="2311" y="761"/>
                  </a:lnTo>
                  <a:lnTo>
                    <a:pt x="2314" y="758"/>
                  </a:lnTo>
                  <a:lnTo>
                    <a:pt x="2311" y="758"/>
                  </a:lnTo>
                  <a:lnTo>
                    <a:pt x="2311" y="758"/>
                  </a:lnTo>
                  <a:close/>
                  <a:moveTo>
                    <a:pt x="2329" y="717"/>
                  </a:moveTo>
                  <a:lnTo>
                    <a:pt x="2329" y="717"/>
                  </a:lnTo>
                  <a:lnTo>
                    <a:pt x="2329" y="715"/>
                  </a:lnTo>
                  <a:lnTo>
                    <a:pt x="2329" y="715"/>
                  </a:lnTo>
                  <a:lnTo>
                    <a:pt x="2327" y="715"/>
                  </a:lnTo>
                  <a:lnTo>
                    <a:pt x="2327" y="717"/>
                  </a:lnTo>
                  <a:lnTo>
                    <a:pt x="2324" y="720"/>
                  </a:lnTo>
                  <a:lnTo>
                    <a:pt x="2322" y="723"/>
                  </a:lnTo>
                  <a:lnTo>
                    <a:pt x="2319" y="723"/>
                  </a:lnTo>
                  <a:lnTo>
                    <a:pt x="2317" y="720"/>
                  </a:lnTo>
                  <a:lnTo>
                    <a:pt x="2317" y="720"/>
                  </a:lnTo>
                  <a:lnTo>
                    <a:pt x="2317" y="720"/>
                  </a:lnTo>
                  <a:lnTo>
                    <a:pt x="2317" y="723"/>
                  </a:lnTo>
                  <a:lnTo>
                    <a:pt x="2317" y="723"/>
                  </a:lnTo>
                  <a:lnTo>
                    <a:pt x="2314" y="725"/>
                  </a:lnTo>
                  <a:lnTo>
                    <a:pt x="2314" y="725"/>
                  </a:lnTo>
                  <a:lnTo>
                    <a:pt x="2314" y="730"/>
                  </a:lnTo>
                  <a:lnTo>
                    <a:pt x="2311" y="733"/>
                  </a:lnTo>
                  <a:lnTo>
                    <a:pt x="2311" y="735"/>
                  </a:lnTo>
                  <a:lnTo>
                    <a:pt x="2311" y="738"/>
                  </a:lnTo>
                  <a:lnTo>
                    <a:pt x="2311" y="738"/>
                  </a:lnTo>
                  <a:lnTo>
                    <a:pt x="2311" y="740"/>
                  </a:lnTo>
                  <a:lnTo>
                    <a:pt x="2311" y="743"/>
                  </a:lnTo>
                  <a:lnTo>
                    <a:pt x="2314" y="740"/>
                  </a:lnTo>
                  <a:lnTo>
                    <a:pt x="2314" y="738"/>
                  </a:lnTo>
                  <a:lnTo>
                    <a:pt x="2314" y="735"/>
                  </a:lnTo>
                  <a:lnTo>
                    <a:pt x="2317" y="733"/>
                  </a:lnTo>
                  <a:lnTo>
                    <a:pt x="2317" y="733"/>
                  </a:lnTo>
                  <a:lnTo>
                    <a:pt x="2317" y="730"/>
                  </a:lnTo>
                  <a:lnTo>
                    <a:pt x="2317" y="730"/>
                  </a:lnTo>
                  <a:lnTo>
                    <a:pt x="2319" y="730"/>
                  </a:lnTo>
                  <a:lnTo>
                    <a:pt x="2322" y="730"/>
                  </a:lnTo>
                  <a:lnTo>
                    <a:pt x="2322" y="725"/>
                  </a:lnTo>
                  <a:lnTo>
                    <a:pt x="2324" y="723"/>
                  </a:lnTo>
                  <a:lnTo>
                    <a:pt x="2327" y="723"/>
                  </a:lnTo>
                  <a:lnTo>
                    <a:pt x="2329" y="720"/>
                  </a:lnTo>
                  <a:lnTo>
                    <a:pt x="2332" y="720"/>
                  </a:lnTo>
                  <a:lnTo>
                    <a:pt x="2332" y="720"/>
                  </a:lnTo>
                  <a:lnTo>
                    <a:pt x="2332" y="717"/>
                  </a:lnTo>
                  <a:lnTo>
                    <a:pt x="2329" y="717"/>
                  </a:lnTo>
                  <a:close/>
                  <a:moveTo>
                    <a:pt x="517" y="715"/>
                  </a:moveTo>
                  <a:lnTo>
                    <a:pt x="517" y="715"/>
                  </a:lnTo>
                  <a:lnTo>
                    <a:pt x="517" y="717"/>
                  </a:lnTo>
                  <a:lnTo>
                    <a:pt x="517" y="717"/>
                  </a:lnTo>
                  <a:lnTo>
                    <a:pt x="517" y="715"/>
                  </a:lnTo>
                  <a:lnTo>
                    <a:pt x="517" y="712"/>
                  </a:lnTo>
                  <a:lnTo>
                    <a:pt x="517" y="715"/>
                  </a:lnTo>
                  <a:close/>
                  <a:moveTo>
                    <a:pt x="232" y="298"/>
                  </a:moveTo>
                  <a:lnTo>
                    <a:pt x="232" y="298"/>
                  </a:lnTo>
                  <a:lnTo>
                    <a:pt x="232" y="295"/>
                  </a:lnTo>
                  <a:lnTo>
                    <a:pt x="229" y="298"/>
                  </a:lnTo>
                  <a:lnTo>
                    <a:pt x="229" y="298"/>
                  </a:lnTo>
                  <a:lnTo>
                    <a:pt x="227" y="298"/>
                  </a:lnTo>
                  <a:lnTo>
                    <a:pt x="229" y="298"/>
                  </a:lnTo>
                  <a:lnTo>
                    <a:pt x="229" y="300"/>
                  </a:lnTo>
                  <a:lnTo>
                    <a:pt x="232" y="300"/>
                  </a:lnTo>
                  <a:lnTo>
                    <a:pt x="232" y="300"/>
                  </a:lnTo>
                  <a:lnTo>
                    <a:pt x="234" y="300"/>
                  </a:lnTo>
                  <a:lnTo>
                    <a:pt x="232" y="300"/>
                  </a:lnTo>
                  <a:lnTo>
                    <a:pt x="234" y="298"/>
                  </a:lnTo>
                  <a:lnTo>
                    <a:pt x="232" y="298"/>
                  </a:lnTo>
                  <a:close/>
                  <a:moveTo>
                    <a:pt x="739" y="267"/>
                  </a:moveTo>
                  <a:lnTo>
                    <a:pt x="736" y="267"/>
                  </a:lnTo>
                  <a:lnTo>
                    <a:pt x="736" y="265"/>
                  </a:lnTo>
                  <a:lnTo>
                    <a:pt x="734" y="265"/>
                  </a:lnTo>
                  <a:lnTo>
                    <a:pt x="731" y="265"/>
                  </a:lnTo>
                  <a:lnTo>
                    <a:pt x="731" y="267"/>
                  </a:lnTo>
                  <a:lnTo>
                    <a:pt x="734" y="270"/>
                  </a:lnTo>
                  <a:lnTo>
                    <a:pt x="739" y="270"/>
                  </a:lnTo>
                  <a:lnTo>
                    <a:pt x="742" y="270"/>
                  </a:lnTo>
                  <a:lnTo>
                    <a:pt x="742" y="270"/>
                  </a:lnTo>
                  <a:lnTo>
                    <a:pt x="742" y="270"/>
                  </a:lnTo>
                  <a:lnTo>
                    <a:pt x="742" y="270"/>
                  </a:lnTo>
                  <a:lnTo>
                    <a:pt x="742" y="267"/>
                  </a:lnTo>
                  <a:lnTo>
                    <a:pt x="739" y="267"/>
                  </a:lnTo>
                  <a:close/>
                  <a:moveTo>
                    <a:pt x="1970" y="506"/>
                  </a:moveTo>
                  <a:lnTo>
                    <a:pt x="1967" y="506"/>
                  </a:lnTo>
                  <a:lnTo>
                    <a:pt x="1965" y="509"/>
                  </a:lnTo>
                  <a:lnTo>
                    <a:pt x="1965" y="509"/>
                  </a:lnTo>
                  <a:lnTo>
                    <a:pt x="1967" y="509"/>
                  </a:lnTo>
                  <a:lnTo>
                    <a:pt x="1967" y="509"/>
                  </a:lnTo>
                  <a:lnTo>
                    <a:pt x="1970" y="509"/>
                  </a:lnTo>
                  <a:lnTo>
                    <a:pt x="1972" y="509"/>
                  </a:lnTo>
                  <a:lnTo>
                    <a:pt x="1970" y="506"/>
                  </a:lnTo>
                  <a:lnTo>
                    <a:pt x="1970" y="506"/>
                  </a:lnTo>
                  <a:lnTo>
                    <a:pt x="1970" y="506"/>
                  </a:lnTo>
                  <a:close/>
                  <a:moveTo>
                    <a:pt x="673" y="214"/>
                  </a:moveTo>
                  <a:lnTo>
                    <a:pt x="673" y="211"/>
                  </a:lnTo>
                  <a:lnTo>
                    <a:pt x="673" y="211"/>
                  </a:lnTo>
                  <a:lnTo>
                    <a:pt x="670" y="211"/>
                  </a:lnTo>
                  <a:lnTo>
                    <a:pt x="668" y="214"/>
                  </a:lnTo>
                  <a:lnTo>
                    <a:pt x="668" y="214"/>
                  </a:lnTo>
                  <a:lnTo>
                    <a:pt x="670" y="214"/>
                  </a:lnTo>
                  <a:lnTo>
                    <a:pt x="673" y="214"/>
                  </a:lnTo>
                  <a:close/>
                  <a:moveTo>
                    <a:pt x="2378" y="598"/>
                  </a:moveTo>
                  <a:lnTo>
                    <a:pt x="2378" y="598"/>
                  </a:lnTo>
                  <a:lnTo>
                    <a:pt x="2375" y="598"/>
                  </a:lnTo>
                  <a:lnTo>
                    <a:pt x="2373" y="600"/>
                  </a:lnTo>
                  <a:lnTo>
                    <a:pt x="2373" y="600"/>
                  </a:lnTo>
                  <a:lnTo>
                    <a:pt x="2375" y="600"/>
                  </a:lnTo>
                  <a:lnTo>
                    <a:pt x="2378" y="603"/>
                  </a:lnTo>
                  <a:lnTo>
                    <a:pt x="2380" y="603"/>
                  </a:lnTo>
                  <a:lnTo>
                    <a:pt x="2380" y="603"/>
                  </a:lnTo>
                  <a:lnTo>
                    <a:pt x="2378" y="600"/>
                  </a:lnTo>
                  <a:lnTo>
                    <a:pt x="2378" y="598"/>
                  </a:lnTo>
                  <a:close/>
                  <a:moveTo>
                    <a:pt x="2467" y="509"/>
                  </a:moveTo>
                  <a:lnTo>
                    <a:pt x="2464" y="509"/>
                  </a:lnTo>
                  <a:lnTo>
                    <a:pt x="2462" y="509"/>
                  </a:lnTo>
                  <a:lnTo>
                    <a:pt x="2457" y="504"/>
                  </a:lnTo>
                  <a:lnTo>
                    <a:pt x="2454" y="504"/>
                  </a:lnTo>
                  <a:lnTo>
                    <a:pt x="2454" y="501"/>
                  </a:lnTo>
                  <a:lnTo>
                    <a:pt x="2452" y="501"/>
                  </a:lnTo>
                  <a:lnTo>
                    <a:pt x="2447" y="501"/>
                  </a:lnTo>
                  <a:lnTo>
                    <a:pt x="2447" y="501"/>
                  </a:lnTo>
                  <a:lnTo>
                    <a:pt x="2447" y="501"/>
                  </a:lnTo>
                  <a:lnTo>
                    <a:pt x="2452" y="504"/>
                  </a:lnTo>
                  <a:lnTo>
                    <a:pt x="2454" y="506"/>
                  </a:lnTo>
                  <a:lnTo>
                    <a:pt x="2457" y="506"/>
                  </a:lnTo>
                  <a:lnTo>
                    <a:pt x="2457" y="506"/>
                  </a:lnTo>
                  <a:lnTo>
                    <a:pt x="2462" y="509"/>
                  </a:lnTo>
                  <a:lnTo>
                    <a:pt x="2464" y="511"/>
                  </a:lnTo>
                  <a:lnTo>
                    <a:pt x="2467" y="511"/>
                  </a:lnTo>
                  <a:lnTo>
                    <a:pt x="2467" y="511"/>
                  </a:lnTo>
                  <a:lnTo>
                    <a:pt x="2469" y="514"/>
                  </a:lnTo>
                  <a:lnTo>
                    <a:pt x="2475" y="514"/>
                  </a:lnTo>
                  <a:lnTo>
                    <a:pt x="2469" y="511"/>
                  </a:lnTo>
                  <a:lnTo>
                    <a:pt x="2467" y="509"/>
                  </a:lnTo>
                  <a:close/>
                  <a:moveTo>
                    <a:pt x="2495" y="514"/>
                  </a:moveTo>
                  <a:lnTo>
                    <a:pt x="2490" y="514"/>
                  </a:lnTo>
                  <a:lnTo>
                    <a:pt x="2487" y="511"/>
                  </a:lnTo>
                  <a:lnTo>
                    <a:pt x="2485" y="511"/>
                  </a:lnTo>
                  <a:lnTo>
                    <a:pt x="2482" y="511"/>
                  </a:lnTo>
                  <a:lnTo>
                    <a:pt x="2485" y="511"/>
                  </a:lnTo>
                  <a:lnTo>
                    <a:pt x="2490" y="514"/>
                  </a:lnTo>
                  <a:lnTo>
                    <a:pt x="2503" y="519"/>
                  </a:lnTo>
                  <a:lnTo>
                    <a:pt x="2500" y="516"/>
                  </a:lnTo>
                  <a:lnTo>
                    <a:pt x="2495" y="514"/>
                  </a:lnTo>
                  <a:close/>
                  <a:moveTo>
                    <a:pt x="1975" y="511"/>
                  </a:moveTo>
                  <a:lnTo>
                    <a:pt x="1978" y="511"/>
                  </a:lnTo>
                  <a:lnTo>
                    <a:pt x="1978" y="511"/>
                  </a:lnTo>
                  <a:lnTo>
                    <a:pt x="1980" y="511"/>
                  </a:lnTo>
                  <a:lnTo>
                    <a:pt x="1980" y="511"/>
                  </a:lnTo>
                  <a:lnTo>
                    <a:pt x="1985" y="516"/>
                  </a:lnTo>
                  <a:lnTo>
                    <a:pt x="1988" y="514"/>
                  </a:lnTo>
                  <a:lnTo>
                    <a:pt x="1988" y="514"/>
                  </a:lnTo>
                  <a:lnTo>
                    <a:pt x="1988" y="514"/>
                  </a:lnTo>
                  <a:lnTo>
                    <a:pt x="1990" y="511"/>
                  </a:lnTo>
                  <a:lnTo>
                    <a:pt x="1988" y="511"/>
                  </a:lnTo>
                  <a:lnTo>
                    <a:pt x="1988" y="509"/>
                  </a:lnTo>
                  <a:lnTo>
                    <a:pt x="1988" y="509"/>
                  </a:lnTo>
                  <a:lnTo>
                    <a:pt x="1988" y="506"/>
                  </a:lnTo>
                  <a:lnTo>
                    <a:pt x="1988" y="506"/>
                  </a:lnTo>
                  <a:lnTo>
                    <a:pt x="1985" y="506"/>
                  </a:lnTo>
                  <a:lnTo>
                    <a:pt x="1983" y="506"/>
                  </a:lnTo>
                  <a:lnTo>
                    <a:pt x="1983" y="506"/>
                  </a:lnTo>
                  <a:lnTo>
                    <a:pt x="1975" y="504"/>
                  </a:lnTo>
                  <a:lnTo>
                    <a:pt x="1975" y="504"/>
                  </a:lnTo>
                  <a:lnTo>
                    <a:pt x="1975" y="509"/>
                  </a:lnTo>
                  <a:lnTo>
                    <a:pt x="1975" y="509"/>
                  </a:lnTo>
                  <a:lnTo>
                    <a:pt x="1975" y="511"/>
                  </a:lnTo>
                  <a:close/>
                  <a:moveTo>
                    <a:pt x="2334" y="432"/>
                  </a:moveTo>
                  <a:lnTo>
                    <a:pt x="2334" y="432"/>
                  </a:lnTo>
                  <a:lnTo>
                    <a:pt x="2337" y="432"/>
                  </a:lnTo>
                  <a:lnTo>
                    <a:pt x="2337" y="432"/>
                  </a:lnTo>
                  <a:lnTo>
                    <a:pt x="2339" y="427"/>
                  </a:lnTo>
                  <a:lnTo>
                    <a:pt x="2342" y="427"/>
                  </a:lnTo>
                  <a:lnTo>
                    <a:pt x="2347" y="425"/>
                  </a:lnTo>
                  <a:lnTo>
                    <a:pt x="2345" y="425"/>
                  </a:lnTo>
                  <a:lnTo>
                    <a:pt x="2342" y="420"/>
                  </a:lnTo>
                  <a:lnTo>
                    <a:pt x="2337" y="417"/>
                  </a:lnTo>
                  <a:lnTo>
                    <a:pt x="2337" y="417"/>
                  </a:lnTo>
                  <a:lnTo>
                    <a:pt x="2334" y="422"/>
                  </a:lnTo>
                  <a:lnTo>
                    <a:pt x="2329" y="422"/>
                  </a:lnTo>
                  <a:lnTo>
                    <a:pt x="2329" y="425"/>
                  </a:lnTo>
                  <a:lnTo>
                    <a:pt x="2332" y="425"/>
                  </a:lnTo>
                  <a:lnTo>
                    <a:pt x="2334" y="427"/>
                  </a:lnTo>
                  <a:lnTo>
                    <a:pt x="2334" y="430"/>
                  </a:lnTo>
                  <a:lnTo>
                    <a:pt x="2334" y="432"/>
                  </a:lnTo>
                  <a:lnTo>
                    <a:pt x="2334" y="432"/>
                  </a:lnTo>
                  <a:close/>
                  <a:moveTo>
                    <a:pt x="2569" y="310"/>
                  </a:moveTo>
                  <a:lnTo>
                    <a:pt x="2566" y="310"/>
                  </a:lnTo>
                  <a:lnTo>
                    <a:pt x="2564" y="310"/>
                  </a:lnTo>
                  <a:lnTo>
                    <a:pt x="2564" y="310"/>
                  </a:lnTo>
                  <a:lnTo>
                    <a:pt x="2561" y="308"/>
                  </a:lnTo>
                  <a:lnTo>
                    <a:pt x="2556" y="308"/>
                  </a:lnTo>
                  <a:lnTo>
                    <a:pt x="2556" y="308"/>
                  </a:lnTo>
                  <a:lnTo>
                    <a:pt x="2554" y="308"/>
                  </a:lnTo>
                  <a:lnTo>
                    <a:pt x="2554" y="308"/>
                  </a:lnTo>
                  <a:lnTo>
                    <a:pt x="2551" y="305"/>
                  </a:lnTo>
                  <a:lnTo>
                    <a:pt x="2551" y="305"/>
                  </a:lnTo>
                  <a:lnTo>
                    <a:pt x="2551" y="305"/>
                  </a:lnTo>
                  <a:lnTo>
                    <a:pt x="2551" y="305"/>
                  </a:lnTo>
                  <a:lnTo>
                    <a:pt x="2548" y="303"/>
                  </a:lnTo>
                  <a:lnTo>
                    <a:pt x="2546" y="303"/>
                  </a:lnTo>
                  <a:lnTo>
                    <a:pt x="2546" y="303"/>
                  </a:lnTo>
                  <a:lnTo>
                    <a:pt x="2546" y="303"/>
                  </a:lnTo>
                  <a:lnTo>
                    <a:pt x="2546" y="303"/>
                  </a:lnTo>
                  <a:lnTo>
                    <a:pt x="2546" y="303"/>
                  </a:lnTo>
                  <a:lnTo>
                    <a:pt x="2548" y="303"/>
                  </a:lnTo>
                  <a:lnTo>
                    <a:pt x="2551" y="303"/>
                  </a:lnTo>
                  <a:lnTo>
                    <a:pt x="2554" y="300"/>
                  </a:lnTo>
                  <a:lnTo>
                    <a:pt x="2554" y="300"/>
                  </a:lnTo>
                  <a:lnTo>
                    <a:pt x="2554" y="300"/>
                  </a:lnTo>
                  <a:lnTo>
                    <a:pt x="2551" y="298"/>
                  </a:lnTo>
                  <a:lnTo>
                    <a:pt x="2548" y="295"/>
                  </a:lnTo>
                  <a:lnTo>
                    <a:pt x="2546" y="295"/>
                  </a:lnTo>
                  <a:lnTo>
                    <a:pt x="2543" y="295"/>
                  </a:lnTo>
                  <a:lnTo>
                    <a:pt x="2543" y="295"/>
                  </a:lnTo>
                  <a:lnTo>
                    <a:pt x="2541" y="295"/>
                  </a:lnTo>
                  <a:lnTo>
                    <a:pt x="2546" y="295"/>
                  </a:lnTo>
                  <a:lnTo>
                    <a:pt x="2546" y="295"/>
                  </a:lnTo>
                  <a:lnTo>
                    <a:pt x="2543" y="293"/>
                  </a:lnTo>
                  <a:lnTo>
                    <a:pt x="2541" y="290"/>
                  </a:lnTo>
                  <a:lnTo>
                    <a:pt x="2541" y="290"/>
                  </a:lnTo>
                  <a:lnTo>
                    <a:pt x="2538" y="290"/>
                  </a:lnTo>
                  <a:lnTo>
                    <a:pt x="2538" y="290"/>
                  </a:lnTo>
                  <a:lnTo>
                    <a:pt x="2538" y="290"/>
                  </a:lnTo>
                  <a:lnTo>
                    <a:pt x="2531" y="287"/>
                  </a:lnTo>
                  <a:lnTo>
                    <a:pt x="2526" y="287"/>
                  </a:lnTo>
                  <a:lnTo>
                    <a:pt x="2528" y="287"/>
                  </a:lnTo>
                  <a:lnTo>
                    <a:pt x="2528" y="287"/>
                  </a:lnTo>
                  <a:lnTo>
                    <a:pt x="2531" y="287"/>
                  </a:lnTo>
                  <a:lnTo>
                    <a:pt x="2536" y="287"/>
                  </a:lnTo>
                  <a:lnTo>
                    <a:pt x="2536" y="287"/>
                  </a:lnTo>
                  <a:lnTo>
                    <a:pt x="2538" y="290"/>
                  </a:lnTo>
                  <a:lnTo>
                    <a:pt x="2538" y="290"/>
                  </a:lnTo>
                  <a:lnTo>
                    <a:pt x="2543" y="290"/>
                  </a:lnTo>
                  <a:lnTo>
                    <a:pt x="2543" y="290"/>
                  </a:lnTo>
                  <a:lnTo>
                    <a:pt x="2546" y="290"/>
                  </a:lnTo>
                  <a:lnTo>
                    <a:pt x="2546" y="290"/>
                  </a:lnTo>
                  <a:lnTo>
                    <a:pt x="2551" y="290"/>
                  </a:lnTo>
                  <a:lnTo>
                    <a:pt x="2551" y="290"/>
                  </a:lnTo>
                  <a:lnTo>
                    <a:pt x="2556" y="290"/>
                  </a:lnTo>
                  <a:lnTo>
                    <a:pt x="2556" y="290"/>
                  </a:lnTo>
                  <a:lnTo>
                    <a:pt x="2556" y="290"/>
                  </a:lnTo>
                  <a:lnTo>
                    <a:pt x="2556" y="290"/>
                  </a:lnTo>
                  <a:lnTo>
                    <a:pt x="2554" y="287"/>
                  </a:lnTo>
                  <a:lnTo>
                    <a:pt x="2548" y="287"/>
                  </a:lnTo>
                  <a:lnTo>
                    <a:pt x="2546" y="285"/>
                  </a:lnTo>
                  <a:lnTo>
                    <a:pt x="2543" y="285"/>
                  </a:lnTo>
                  <a:lnTo>
                    <a:pt x="2543" y="285"/>
                  </a:lnTo>
                  <a:lnTo>
                    <a:pt x="2543" y="285"/>
                  </a:lnTo>
                  <a:lnTo>
                    <a:pt x="2548" y="285"/>
                  </a:lnTo>
                  <a:lnTo>
                    <a:pt x="2551" y="287"/>
                  </a:lnTo>
                  <a:lnTo>
                    <a:pt x="2554" y="287"/>
                  </a:lnTo>
                  <a:lnTo>
                    <a:pt x="2556" y="287"/>
                  </a:lnTo>
                  <a:lnTo>
                    <a:pt x="2561" y="287"/>
                  </a:lnTo>
                  <a:lnTo>
                    <a:pt x="2561" y="287"/>
                  </a:lnTo>
                  <a:lnTo>
                    <a:pt x="2559" y="285"/>
                  </a:lnTo>
                  <a:lnTo>
                    <a:pt x="2556" y="285"/>
                  </a:lnTo>
                  <a:lnTo>
                    <a:pt x="2556" y="282"/>
                  </a:lnTo>
                  <a:lnTo>
                    <a:pt x="2556" y="282"/>
                  </a:lnTo>
                  <a:lnTo>
                    <a:pt x="2556" y="280"/>
                  </a:lnTo>
                  <a:lnTo>
                    <a:pt x="2559" y="280"/>
                  </a:lnTo>
                  <a:lnTo>
                    <a:pt x="2559" y="280"/>
                  </a:lnTo>
                  <a:lnTo>
                    <a:pt x="2561" y="280"/>
                  </a:lnTo>
                  <a:lnTo>
                    <a:pt x="2561" y="280"/>
                  </a:lnTo>
                  <a:lnTo>
                    <a:pt x="2561" y="280"/>
                  </a:lnTo>
                  <a:lnTo>
                    <a:pt x="2559" y="277"/>
                  </a:lnTo>
                  <a:lnTo>
                    <a:pt x="2556" y="277"/>
                  </a:lnTo>
                  <a:lnTo>
                    <a:pt x="2551" y="277"/>
                  </a:lnTo>
                  <a:lnTo>
                    <a:pt x="2551" y="277"/>
                  </a:lnTo>
                  <a:lnTo>
                    <a:pt x="2548" y="275"/>
                  </a:lnTo>
                  <a:lnTo>
                    <a:pt x="2548" y="275"/>
                  </a:lnTo>
                  <a:lnTo>
                    <a:pt x="2546" y="275"/>
                  </a:lnTo>
                  <a:lnTo>
                    <a:pt x="2546" y="275"/>
                  </a:lnTo>
                  <a:lnTo>
                    <a:pt x="2543" y="275"/>
                  </a:lnTo>
                  <a:lnTo>
                    <a:pt x="2543" y="275"/>
                  </a:lnTo>
                  <a:lnTo>
                    <a:pt x="2543" y="275"/>
                  </a:lnTo>
                  <a:lnTo>
                    <a:pt x="2543" y="275"/>
                  </a:lnTo>
                  <a:lnTo>
                    <a:pt x="2541" y="275"/>
                  </a:lnTo>
                  <a:lnTo>
                    <a:pt x="2541" y="272"/>
                  </a:lnTo>
                  <a:lnTo>
                    <a:pt x="2531" y="270"/>
                  </a:lnTo>
                  <a:lnTo>
                    <a:pt x="2526" y="270"/>
                  </a:lnTo>
                  <a:lnTo>
                    <a:pt x="2518" y="267"/>
                  </a:lnTo>
                  <a:lnTo>
                    <a:pt x="2513" y="265"/>
                  </a:lnTo>
                  <a:lnTo>
                    <a:pt x="2505" y="262"/>
                  </a:lnTo>
                  <a:lnTo>
                    <a:pt x="2500" y="262"/>
                  </a:lnTo>
                  <a:lnTo>
                    <a:pt x="2497" y="262"/>
                  </a:lnTo>
                  <a:lnTo>
                    <a:pt x="2492" y="259"/>
                  </a:lnTo>
                  <a:lnTo>
                    <a:pt x="2490" y="259"/>
                  </a:lnTo>
                  <a:lnTo>
                    <a:pt x="2482" y="259"/>
                  </a:lnTo>
                  <a:lnTo>
                    <a:pt x="2485" y="259"/>
                  </a:lnTo>
                  <a:lnTo>
                    <a:pt x="2492" y="262"/>
                  </a:lnTo>
                  <a:lnTo>
                    <a:pt x="2492" y="262"/>
                  </a:lnTo>
                  <a:lnTo>
                    <a:pt x="2495" y="262"/>
                  </a:lnTo>
                  <a:lnTo>
                    <a:pt x="2492" y="262"/>
                  </a:lnTo>
                  <a:lnTo>
                    <a:pt x="2487" y="262"/>
                  </a:lnTo>
                  <a:lnTo>
                    <a:pt x="2485" y="262"/>
                  </a:lnTo>
                  <a:lnTo>
                    <a:pt x="2482" y="259"/>
                  </a:lnTo>
                  <a:lnTo>
                    <a:pt x="2482" y="259"/>
                  </a:lnTo>
                  <a:lnTo>
                    <a:pt x="2482" y="262"/>
                  </a:lnTo>
                  <a:lnTo>
                    <a:pt x="2485" y="262"/>
                  </a:lnTo>
                  <a:lnTo>
                    <a:pt x="2487" y="262"/>
                  </a:lnTo>
                  <a:lnTo>
                    <a:pt x="2485" y="265"/>
                  </a:lnTo>
                  <a:lnTo>
                    <a:pt x="2485" y="265"/>
                  </a:lnTo>
                  <a:lnTo>
                    <a:pt x="2482" y="262"/>
                  </a:lnTo>
                  <a:lnTo>
                    <a:pt x="2482" y="262"/>
                  </a:lnTo>
                  <a:lnTo>
                    <a:pt x="2480" y="259"/>
                  </a:lnTo>
                  <a:lnTo>
                    <a:pt x="2482" y="259"/>
                  </a:lnTo>
                  <a:lnTo>
                    <a:pt x="2480" y="259"/>
                  </a:lnTo>
                  <a:lnTo>
                    <a:pt x="2475" y="259"/>
                  </a:lnTo>
                  <a:lnTo>
                    <a:pt x="2472" y="257"/>
                  </a:lnTo>
                  <a:lnTo>
                    <a:pt x="2472" y="257"/>
                  </a:lnTo>
                  <a:lnTo>
                    <a:pt x="2469" y="259"/>
                  </a:lnTo>
                  <a:lnTo>
                    <a:pt x="2459" y="259"/>
                  </a:lnTo>
                  <a:lnTo>
                    <a:pt x="2459" y="259"/>
                  </a:lnTo>
                  <a:lnTo>
                    <a:pt x="2459" y="259"/>
                  </a:lnTo>
                  <a:lnTo>
                    <a:pt x="2462" y="259"/>
                  </a:lnTo>
                  <a:lnTo>
                    <a:pt x="2462" y="259"/>
                  </a:lnTo>
                  <a:lnTo>
                    <a:pt x="2464" y="259"/>
                  </a:lnTo>
                  <a:lnTo>
                    <a:pt x="2467" y="259"/>
                  </a:lnTo>
                  <a:lnTo>
                    <a:pt x="2469" y="262"/>
                  </a:lnTo>
                  <a:lnTo>
                    <a:pt x="2469" y="262"/>
                  </a:lnTo>
                  <a:lnTo>
                    <a:pt x="2472" y="262"/>
                  </a:lnTo>
                  <a:lnTo>
                    <a:pt x="2475" y="265"/>
                  </a:lnTo>
                  <a:lnTo>
                    <a:pt x="2477" y="265"/>
                  </a:lnTo>
                  <a:lnTo>
                    <a:pt x="2477" y="267"/>
                  </a:lnTo>
                  <a:lnTo>
                    <a:pt x="2477" y="267"/>
                  </a:lnTo>
                  <a:lnTo>
                    <a:pt x="2477" y="267"/>
                  </a:lnTo>
                  <a:lnTo>
                    <a:pt x="2480" y="270"/>
                  </a:lnTo>
                  <a:lnTo>
                    <a:pt x="2482" y="270"/>
                  </a:lnTo>
                  <a:lnTo>
                    <a:pt x="2485" y="270"/>
                  </a:lnTo>
                  <a:lnTo>
                    <a:pt x="2487" y="270"/>
                  </a:lnTo>
                  <a:lnTo>
                    <a:pt x="2490" y="272"/>
                  </a:lnTo>
                  <a:lnTo>
                    <a:pt x="2490" y="272"/>
                  </a:lnTo>
                  <a:lnTo>
                    <a:pt x="2492" y="275"/>
                  </a:lnTo>
                  <a:lnTo>
                    <a:pt x="2492" y="275"/>
                  </a:lnTo>
                  <a:lnTo>
                    <a:pt x="2492" y="275"/>
                  </a:lnTo>
                  <a:lnTo>
                    <a:pt x="2492" y="275"/>
                  </a:lnTo>
                  <a:lnTo>
                    <a:pt x="2492" y="275"/>
                  </a:lnTo>
                  <a:lnTo>
                    <a:pt x="2487" y="272"/>
                  </a:lnTo>
                  <a:lnTo>
                    <a:pt x="2485" y="270"/>
                  </a:lnTo>
                  <a:lnTo>
                    <a:pt x="2482" y="272"/>
                  </a:lnTo>
                  <a:lnTo>
                    <a:pt x="2482" y="272"/>
                  </a:lnTo>
                  <a:lnTo>
                    <a:pt x="2482" y="272"/>
                  </a:lnTo>
                  <a:lnTo>
                    <a:pt x="2482" y="272"/>
                  </a:lnTo>
                  <a:lnTo>
                    <a:pt x="2482" y="272"/>
                  </a:lnTo>
                  <a:lnTo>
                    <a:pt x="2480" y="272"/>
                  </a:lnTo>
                  <a:lnTo>
                    <a:pt x="2477" y="270"/>
                  </a:lnTo>
                  <a:lnTo>
                    <a:pt x="2475" y="270"/>
                  </a:lnTo>
                  <a:lnTo>
                    <a:pt x="2472" y="270"/>
                  </a:lnTo>
                  <a:lnTo>
                    <a:pt x="2472" y="267"/>
                  </a:lnTo>
                  <a:lnTo>
                    <a:pt x="2469" y="267"/>
                  </a:lnTo>
                  <a:lnTo>
                    <a:pt x="2467" y="267"/>
                  </a:lnTo>
                  <a:lnTo>
                    <a:pt x="2464" y="267"/>
                  </a:lnTo>
                  <a:lnTo>
                    <a:pt x="2464" y="265"/>
                  </a:lnTo>
                  <a:lnTo>
                    <a:pt x="2462" y="262"/>
                  </a:lnTo>
                  <a:lnTo>
                    <a:pt x="2459" y="262"/>
                  </a:lnTo>
                  <a:lnTo>
                    <a:pt x="2457" y="259"/>
                  </a:lnTo>
                  <a:lnTo>
                    <a:pt x="2454" y="259"/>
                  </a:lnTo>
                  <a:lnTo>
                    <a:pt x="2452" y="257"/>
                  </a:lnTo>
                  <a:lnTo>
                    <a:pt x="2449" y="254"/>
                  </a:lnTo>
                  <a:lnTo>
                    <a:pt x="2447" y="254"/>
                  </a:lnTo>
                  <a:lnTo>
                    <a:pt x="2444" y="252"/>
                  </a:lnTo>
                  <a:lnTo>
                    <a:pt x="2441" y="252"/>
                  </a:lnTo>
                  <a:lnTo>
                    <a:pt x="2441" y="252"/>
                  </a:lnTo>
                  <a:lnTo>
                    <a:pt x="2441" y="254"/>
                  </a:lnTo>
                  <a:lnTo>
                    <a:pt x="2441" y="254"/>
                  </a:lnTo>
                  <a:lnTo>
                    <a:pt x="2439" y="254"/>
                  </a:lnTo>
                  <a:lnTo>
                    <a:pt x="2439" y="252"/>
                  </a:lnTo>
                  <a:lnTo>
                    <a:pt x="2436" y="249"/>
                  </a:lnTo>
                  <a:lnTo>
                    <a:pt x="2434" y="249"/>
                  </a:lnTo>
                  <a:lnTo>
                    <a:pt x="2434" y="249"/>
                  </a:lnTo>
                  <a:lnTo>
                    <a:pt x="2431" y="247"/>
                  </a:lnTo>
                  <a:lnTo>
                    <a:pt x="2396" y="239"/>
                  </a:lnTo>
                  <a:lnTo>
                    <a:pt x="2390" y="237"/>
                  </a:lnTo>
                  <a:lnTo>
                    <a:pt x="2385" y="237"/>
                  </a:lnTo>
                  <a:lnTo>
                    <a:pt x="2383" y="237"/>
                  </a:lnTo>
                  <a:lnTo>
                    <a:pt x="2383" y="237"/>
                  </a:lnTo>
                  <a:lnTo>
                    <a:pt x="2383" y="237"/>
                  </a:lnTo>
                  <a:lnTo>
                    <a:pt x="2380" y="237"/>
                  </a:lnTo>
                  <a:lnTo>
                    <a:pt x="2380" y="237"/>
                  </a:lnTo>
                  <a:lnTo>
                    <a:pt x="2380" y="237"/>
                  </a:lnTo>
                  <a:lnTo>
                    <a:pt x="2378" y="234"/>
                  </a:lnTo>
                  <a:lnTo>
                    <a:pt x="2362" y="231"/>
                  </a:lnTo>
                  <a:lnTo>
                    <a:pt x="2360" y="229"/>
                  </a:lnTo>
                  <a:lnTo>
                    <a:pt x="2362" y="231"/>
                  </a:lnTo>
                  <a:lnTo>
                    <a:pt x="2373" y="234"/>
                  </a:lnTo>
                  <a:lnTo>
                    <a:pt x="2375" y="234"/>
                  </a:lnTo>
                  <a:lnTo>
                    <a:pt x="2375" y="237"/>
                  </a:lnTo>
                  <a:lnTo>
                    <a:pt x="2373" y="237"/>
                  </a:lnTo>
                  <a:lnTo>
                    <a:pt x="2373" y="234"/>
                  </a:lnTo>
                  <a:lnTo>
                    <a:pt x="2370" y="234"/>
                  </a:lnTo>
                  <a:lnTo>
                    <a:pt x="2368" y="234"/>
                  </a:lnTo>
                  <a:lnTo>
                    <a:pt x="2365" y="231"/>
                  </a:lnTo>
                  <a:lnTo>
                    <a:pt x="2360" y="231"/>
                  </a:lnTo>
                  <a:lnTo>
                    <a:pt x="2357" y="231"/>
                  </a:lnTo>
                  <a:lnTo>
                    <a:pt x="2355" y="229"/>
                  </a:lnTo>
                  <a:lnTo>
                    <a:pt x="2352" y="229"/>
                  </a:lnTo>
                  <a:lnTo>
                    <a:pt x="2355" y="229"/>
                  </a:lnTo>
                  <a:lnTo>
                    <a:pt x="2357" y="229"/>
                  </a:lnTo>
                  <a:lnTo>
                    <a:pt x="2352" y="229"/>
                  </a:lnTo>
                  <a:lnTo>
                    <a:pt x="2347" y="226"/>
                  </a:lnTo>
                  <a:lnTo>
                    <a:pt x="2339" y="226"/>
                  </a:lnTo>
                  <a:lnTo>
                    <a:pt x="2337" y="224"/>
                  </a:lnTo>
                  <a:lnTo>
                    <a:pt x="2334" y="224"/>
                  </a:lnTo>
                  <a:lnTo>
                    <a:pt x="2334" y="224"/>
                  </a:lnTo>
                  <a:lnTo>
                    <a:pt x="2332" y="224"/>
                  </a:lnTo>
                  <a:lnTo>
                    <a:pt x="2329" y="224"/>
                  </a:lnTo>
                  <a:lnTo>
                    <a:pt x="2329" y="224"/>
                  </a:lnTo>
                  <a:lnTo>
                    <a:pt x="2327" y="221"/>
                  </a:lnTo>
                  <a:lnTo>
                    <a:pt x="2322" y="221"/>
                  </a:lnTo>
                  <a:lnTo>
                    <a:pt x="2319" y="221"/>
                  </a:lnTo>
                  <a:lnTo>
                    <a:pt x="2306" y="216"/>
                  </a:lnTo>
                  <a:lnTo>
                    <a:pt x="2301" y="216"/>
                  </a:lnTo>
                  <a:lnTo>
                    <a:pt x="2299" y="216"/>
                  </a:lnTo>
                  <a:lnTo>
                    <a:pt x="2299" y="214"/>
                  </a:lnTo>
                  <a:lnTo>
                    <a:pt x="2296" y="214"/>
                  </a:lnTo>
                  <a:lnTo>
                    <a:pt x="2289" y="214"/>
                  </a:lnTo>
                  <a:lnTo>
                    <a:pt x="2281" y="211"/>
                  </a:lnTo>
                  <a:lnTo>
                    <a:pt x="2268" y="211"/>
                  </a:lnTo>
                  <a:lnTo>
                    <a:pt x="2260" y="209"/>
                  </a:lnTo>
                  <a:lnTo>
                    <a:pt x="2250" y="206"/>
                  </a:lnTo>
                  <a:lnTo>
                    <a:pt x="2243" y="206"/>
                  </a:lnTo>
                  <a:lnTo>
                    <a:pt x="2240" y="203"/>
                  </a:lnTo>
                  <a:lnTo>
                    <a:pt x="2238" y="203"/>
                  </a:lnTo>
                  <a:lnTo>
                    <a:pt x="2232" y="206"/>
                  </a:lnTo>
                  <a:lnTo>
                    <a:pt x="2225" y="206"/>
                  </a:lnTo>
                  <a:lnTo>
                    <a:pt x="2217" y="206"/>
                  </a:lnTo>
                  <a:lnTo>
                    <a:pt x="2212" y="206"/>
                  </a:lnTo>
                  <a:lnTo>
                    <a:pt x="2207" y="203"/>
                  </a:lnTo>
                  <a:lnTo>
                    <a:pt x="2202" y="203"/>
                  </a:lnTo>
                  <a:lnTo>
                    <a:pt x="2202" y="203"/>
                  </a:lnTo>
                  <a:lnTo>
                    <a:pt x="2204" y="206"/>
                  </a:lnTo>
                  <a:lnTo>
                    <a:pt x="2199" y="206"/>
                  </a:lnTo>
                  <a:lnTo>
                    <a:pt x="2194" y="203"/>
                  </a:lnTo>
                  <a:lnTo>
                    <a:pt x="2189" y="203"/>
                  </a:lnTo>
                  <a:lnTo>
                    <a:pt x="2179" y="203"/>
                  </a:lnTo>
                  <a:lnTo>
                    <a:pt x="2166" y="201"/>
                  </a:lnTo>
                  <a:lnTo>
                    <a:pt x="2161" y="201"/>
                  </a:lnTo>
                  <a:lnTo>
                    <a:pt x="2156" y="201"/>
                  </a:lnTo>
                  <a:lnTo>
                    <a:pt x="2161" y="203"/>
                  </a:lnTo>
                  <a:lnTo>
                    <a:pt x="2161" y="206"/>
                  </a:lnTo>
                  <a:lnTo>
                    <a:pt x="2164" y="209"/>
                  </a:lnTo>
                  <a:lnTo>
                    <a:pt x="2164" y="209"/>
                  </a:lnTo>
                  <a:lnTo>
                    <a:pt x="2164" y="209"/>
                  </a:lnTo>
                  <a:lnTo>
                    <a:pt x="2171" y="211"/>
                  </a:lnTo>
                  <a:lnTo>
                    <a:pt x="2179" y="214"/>
                  </a:lnTo>
                  <a:lnTo>
                    <a:pt x="2184" y="216"/>
                  </a:lnTo>
                  <a:lnTo>
                    <a:pt x="2189" y="219"/>
                  </a:lnTo>
                  <a:lnTo>
                    <a:pt x="2192" y="221"/>
                  </a:lnTo>
                  <a:lnTo>
                    <a:pt x="2192" y="224"/>
                  </a:lnTo>
                  <a:lnTo>
                    <a:pt x="2184" y="226"/>
                  </a:lnTo>
                  <a:lnTo>
                    <a:pt x="2179" y="226"/>
                  </a:lnTo>
                  <a:lnTo>
                    <a:pt x="2171" y="224"/>
                  </a:lnTo>
                  <a:lnTo>
                    <a:pt x="2166" y="221"/>
                  </a:lnTo>
                  <a:lnTo>
                    <a:pt x="2159" y="219"/>
                  </a:lnTo>
                  <a:lnTo>
                    <a:pt x="2151" y="216"/>
                  </a:lnTo>
                  <a:lnTo>
                    <a:pt x="2148" y="216"/>
                  </a:lnTo>
                  <a:lnTo>
                    <a:pt x="2146" y="216"/>
                  </a:lnTo>
                  <a:lnTo>
                    <a:pt x="2141" y="214"/>
                  </a:lnTo>
                  <a:lnTo>
                    <a:pt x="2136" y="211"/>
                  </a:lnTo>
                  <a:lnTo>
                    <a:pt x="2133" y="209"/>
                  </a:lnTo>
                  <a:lnTo>
                    <a:pt x="2131" y="209"/>
                  </a:lnTo>
                  <a:lnTo>
                    <a:pt x="2128" y="209"/>
                  </a:lnTo>
                  <a:lnTo>
                    <a:pt x="2123" y="209"/>
                  </a:lnTo>
                  <a:lnTo>
                    <a:pt x="2120" y="211"/>
                  </a:lnTo>
                  <a:lnTo>
                    <a:pt x="2120" y="211"/>
                  </a:lnTo>
                  <a:lnTo>
                    <a:pt x="2118" y="211"/>
                  </a:lnTo>
                  <a:lnTo>
                    <a:pt x="2105" y="211"/>
                  </a:lnTo>
                  <a:lnTo>
                    <a:pt x="2100" y="211"/>
                  </a:lnTo>
                  <a:lnTo>
                    <a:pt x="2082" y="211"/>
                  </a:lnTo>
                  <a:lnTo>
                    <a:pt x="2074" y="209"/>
                  </a:lnTo>
                  <a:lnTo>
                    <a:pt x="2069" y="209"/>
                  </a:lnTo>
                  <a:lnTo>
                    <a:pt x="2067" y="209"/>
                  </a:lnTo>
                  <a:lnTo>
                    <a:pt x="2064" y="209"/>
                  </a:lnTo>
                  <a:lnTo>
                    <a:pt x="2059" y="209"/>
                  </a:lnTo>
                  <a:lnTo>
                    <a:pt x="2057" y="209"/>
                  </a:lnTo>
                  <a:lnTo>
                    <a:pt x="2049" y="209"/>
                  </a:lnTo>
                  <a:lnTo>
                    <a:pt x="2049" y="211"/>
                  </a:lnTo>
                  <a:lnTo>
                    <a:pt x="2046" y="211"/>
                  </a:lnTo>
                  <a:lnTo>
                    <a:pt x="2044" y="214"/>
                  </a:lnTo>
                  <a:lnTo>
                    <a:pt x="2046" y="216"/>
                  </a:lnTo>
                  <a:lnTo>
                    <a:pt x="2049" y="219"/>
                  </a:lnTo>
                  <a:lnTo>
                    <a:pt x="2054" y="221"/>
                  </a:lnTo>
                  <a:lnTo>
                    <a:pt x="2057" y="224"/>
                  </a:lnTo>
                  <a:lnTo>
                    <a:pt x="2057" y="224"/>
                  </a:lnTo>
                  <a:lnTo>
                    <a:pt x="2057" y="226"/>
                  </a:lnTo>
                  <a:lnTo>
                    <a:pt x="2059" y="229"/>
                  </a:lnTo>
                  <a:lnTo>
                    <a:pt x="2059" y="229"/>
                  </a:lnTo>
                  <a:lnTo>
                    <a:pt x="2057" y="231"/>
                  </a:lnTo>
                  <a:lnTo>
                    <a:pt x="2057" y="229"/>
                  </a:lnTo>
                  <a:lnTo>
                    <a:pt x="2057" y="229"/>
                  </a:lnTo>
                  <a:lnTo>
                    <a:pt x="2054" y="224"/>
                  </a:lnTo>
                  <a:lnTo>
                    <a:pt x="2051" y="221"/>
                  </a:lnTo>
                  <a:lnTo>
                    <a:pt x="2046" y="221"/>
                  </a:lnTo>
                  <a:lnTo>
                    <a:pt x="2044" y="219"/>
                  </a:lnTo>
                  <a:lnTo>
                    <a:pt x="2039" y="216"/>
                  </a:lnTo>
                  <a:lnTo>
                    <a:pt x="2034" y="214"/>
                  </a:lnTo>
                  <a:lnTo>
                    <a:pt x="2031" y="211"/>
                  </a:lnTo>
                  <a:lnTo>
                    <a:pt x="2026" y="209"/>
                  </a:lnTo>
                  <a:lnTo>
                    <a:pt x="2016" y="209"/>
                  </a:lnTo>
                  <a:lnTo>
                    <a:pt x="2011" y="206"/>
                  </a:lnTo>
                  <a:lnTo>
                    <a:pt x="2006" y="206"/>
                  </a:lnTo>
                  <a:lnTo>
                    <a:pt x="2006" y="203"/>
                  </a:lnTo>
                  <a:lnTo>
                    <a:pt x="2003" y="201"/>
                  </a:lnTo>
                  <a:lnTo>
                    <a:pt x="2001" y="201"/>
                  </a:lnTo>
                  <a:lnTo>
                    <a:pt x="2001" y="198"/>
                  </a:lnTo>
                  <a:lnTo>
                    <a:pt x="1998" y="196"/>
                  </a:lnTo>
                  <a:lnTo>
                    <a:pt x="1995" y="196"/>
                  </a:lnTo>
                  <a:lnTo>
                    <a:pt x="1993" y="193"/>
                  </a:lnTo>
                  <a:lnTo>
                    <a:pt x="1988" y="191"/>
                  </a:lnTo>
                  <a:lnTo>
                    <a:pt x="1985" y="191"/>
                  </a:lnTo>
                  <a:lnTo>
                    <a:pt x="1978" y="188"/>
                  </a:lnTo>
                  <a:lnTo>
                    <a:pt x="1965" y="186"/>
                  </a:lnTo>
                  <a:lnTo>
                    <a:pt x="1952" y="183"/>
                  </a:lnTo>
                  <a:lnTo>
                    <a:pt x="1942" y="183"/>
                  </a:lnTo>
                  <a:lnTo>
                    <a:pt x="1932" y="183"/>
                  </a:lnTo>
                  <a:lnTo>
                    <a:pt x="1919" y="183"/>
                  </a:lnTo>
                  <a:lnTo>
                    <a:pt x="1916" y="183"/>
                  </a:lnTo>
                  <a:lnTo>
                    <a:pt x="1909" y="183"/>
                  </a:lnTo>
                  <a:lnTo>
                    <a:pt x="1901" y="183"/>
                  </a:lnTo>
                  <a:lnTo>
                    <a:pt x="1896" y="186"/>
                  </a:lnTo>
                  <a:lnTo>
                    <a:pt x="1891" y="186"/>
                  </a:lnTo>
                  <a:lnTo>
                    <a:pt x="1883" y="186"/>
                  </a:lnTo>
                  <a:lnTo>
                    <a:pt x="1878" y="188"/>
                  </a:lnTo>
                  <a:lnTo>
                    <a:pt x="1863" y="183"/>
                  </a:lnTo>
                  <a:lnTo>
                    <a:pt x="1865" y="183"/>
                  </a:lnTo>
                  <a:lnTo>
                    <a:pt x="1868" y="183"/>
                  </a:lnTo>
                  <a:lnTo>
                    <a:pt x="1858" y="181"/>
                  </a:lnTo>
                  <a:lnTo>
                    <a:pt x="1853" y="178"/>
                  </a:lnTo>
                  <a:lnTo>
                    <a:pt x="1845" y="178"/>
                  </a:lnTo>
                  <a:lnTo>
                    <a:pt x="1843" y="175"/>
                  </a:lnTo>
                  <a:lnTo>
                    <a:pt x="1840" y="178"/>
                  </a:lnTo>
                  <a:lnTo>
                    <a:pt x="1835" y="178"/>
                  </a:lnTo>
                  <a:lnTo>
                    <a:pt x="1835" y="181"/>
                  </a:lnTo>
                  <a:lnTo>
                    <a:pt x="1835" y="178"/>
                  </a:lnTo>
                  <a:lnTo>
                    <a:pt x="1837" y="175"/>
                  </a:lnTo>
                  <a:lnTo>
                    <a:pt x="1837" y="175"/>
                  </a:lnTo>
                  <a:lnTo>
                    <a:pt x="1835" y="175"/>
                  </a:lnTo>
                  <a:lnTo>
                    <a:pt x="1835" y="173"/>
                  </a:lnTo>
                  <a:lnTo>
                    <a:pt x="1827" y="175"/>
                  </a:lnTo>
                  <a:lnTo>
                    <a:pt x="1825" y="173"/>
                  </a:lnTo>
                  <a:lnTo>
                    <a:pt x="1822" y="173"/>
                  </a:lnTo>
                  <a:lnTo>
                    <a:pt x="1822" y="173"/>
                  </a:lnTo>
                  <a:lnTo>
                    <a:pt x="1814" y="170"/>
                  </a:lnTo>
                  <a:lnTo>
                    <a:pt x="1809" y="170"/>
                  </a:lnTo>
                  <a:lnTo>
                    <a:pt x="1807" y="170"/>
                  </a:lnTo>
                  <a:lnTo>
                    <a:pt x="1804" y="170"/>
                  </a:lnTo>
                  <a:lnTo>
                    <a:pt x="1804" y="170"/>
                  </a:lnTo>
                  <a:lnTo>
                    <a:pt x="1804" y="170"/>
                  </a:lnTo>
                  <a:lnTo>
                    <a:pt x="1804" y="168"/>
                  </a:lnTo>
                  <a:lnTo>
                    <a:pt x="1807" y="168"/>
                  </a:lnTo>
                  <a:lnTo>
                    <a:pt x="1817" y="168"/>
                  </a:lnTo>
                  <a:lnTo>
                    <a:pt x="1817" y="168"/>
                  </a:lnTo>
                  <a:lnTo>
                    <a:pt x="1814" y="165"/>
                  </a:lnTo>
                  <a:lnTo>
                    <a:pt x="1814" y="165"/>
                  </a:lnTo>
                  <a:lnTo>
                    <a:pt x="1807" y="163"/>
                  </a:lnTo>
                  <a:lnTo>
                    <a:pt x="1802" y="163"/>
                  </a:lnTo>
                  <a:lnTo>
                    <a:pt x="1792" y="160"/>
                  </a:lnTo>
                  <a:lnTo>
                    <a:pt x="1784" y="160"/>
                  </a:lnTo>
                  <a:lnTo>
                    <a:pt x="1769" y="160"/>
                  </a:lnTo>
                  <a:lnTo>
                    <a:pt x="1766" y="160"/>
                  </a:lnTo>
                  <a:lnTo>
                    <a:pt x="1766" y="160"/>
                  </a:lnTo>
                  <a:lnTo>
                    <a:pt x="1766" y="163"/>
                  </a:lnTo>
                  <a:lnTo>
                    <a:pt x="1764" y="168"/>
                  </a:lnTo>
                  <a:lnTo>
                    <a:pt x="1764" y="168"/>
                  </a:lnTo>
                  <a:lnTo>
                    <a:pt x="1761" y="170"/>
                  </a:lnTo>
                  <a:lnTo>
                    <a:pt x="1753" y="170"/>
                  </a:lnTo>
                  <a:lnTo>
                    <a:pt x="1751" y="170"/>
                  </a:lnTo>
                  <a:lnTo>
                    <a:pt x="1748" y="170"/>
                  </a:lnTo>
                  <a:lnTo>
                    <a:pt x="1748" y="168"/>
                  </a:lnTo>
                  <a:lnTo>
                    <a:pt x="1748" y="168"/>
                  </a:lnTo>
                  <a:lnTo>
                    <a:pt x="1748" y="168"/>
                  </a:lnTo>
                  <a:lnTo>
                    <a:pt x="1746" y="168"/>
                  </a:lnTo>
                  <a:lnTo>
                    <a:pt x="1746" y="168"/>
                  </a:lnTo>
                  <a:lnTo>
                    <a:pt x="1746" y="168"/>
                  </a:lnTo>
                  <a:lnTo>
                    <a:pt x="1748" y="168"/>
                  </a:lnTo>
                  <a:lnTo>
                    <a:pt x="1751" y="168"/>
                  </a:lnTo>
                  <a:lnTo>
                    <a:pt x="1756" y="165"/>
                  </a:lnTo>
                  <a:lnTo>
                    <a:pt x="1753" y="165"/>
                  </a:lnTo>
                  <a:lnTo>
                    <a:pt x="1751" y="163"/>
                  </a:lnTo>
                  <a:lnTo>
                    <a:pt x="1748" y="163"/>
                  </a:lnTo>
                  <a:lnTo>
                    <a:pt x="1748" y="160"/>
                  </a:lnTo>
                  <a:lnTo>
                    <a:pt x="1748" y="160"/>
                  </a:lnTo>
                  <a:lnTo>
                    <a:pt x="1748" y="160"/>
                  </a:lnTo>
                  <a:lnTo>
                    <a:pt x="1753" y="163"/>
                  </a:lnTo>
                  <a:lnTo>
                    <a:pt x="1756" y="163"/>
                  </a:lnTo>
                  <a:lnTo>
                    <a:pt x="1756" y="163"/>
                  </a:lnTo>
                  <a:lnTo>
                    <a:pt x="1758" y="165"/>
                  </a:lnTo>
                  <a:lnTo>
                    <a:pt x="1761" y="165"/>
                  </a:lnTo>
                  <a:lnTo>
                    <a:pt x="1761" y="165"/>
                  </a:lnTo>
                  <a:lnTo>
                    <a:pt x="1764" y="163"/>
                  </a:lnTo>
                  <a:lnTo>
                    <a:pt x="1764" y="160"/>
                  </a:lnTo>
                  <a:lnTo>
                    <a:pt x="1761" y="160"/>
                  </a:lnTo>
                  <a:lnTo>
                    <a:pt x="1758" y="160"/>
                  </a:lnTo>
                  <a:lnTo>
                    <a:pt x="1738" y="160"/>
                  </a:lnTo>
                  <a:lnTo>
                    <a:pt x="1730" y="163"/>
                  </a:lnTo>
                  <a:lnTo>
                    <a:pt x="1728" y="163"/>
                  </a:lnTo>
                  <a:lnTo>
                    <a:pt x="1725" y="160"/>
                  </a:lnTo>
                  <a:lnTo>
                    <a:pt x="1728" y="160"/>
                  </a:lnTo>
                  <a:lnTo>
                    <a:pt x="1730" y="160"/>
                  </a:lnTo>
                  <a:lnTo>
                    <a:pt x="1730" y="158"/>
                  </a:lnTo>
                  <a:lnTo>
                    <a:pt x="1733" y="158"/>
                  </a:lnTo>
                  <a:lnTo>
                    <a:pt x="1735" y="158"/>
                  </a:lnTo>
                  <a:lnTo>
                    <a:pt x="1741" y="158"/>
                  </a:lnTo>
                  <a:lnTo>
                    <a:pt x="1751" y="158"/>
                  </a:lnTo>
                  <a:lnTo>
                    <a:pt x="1751" y="158"/>
                  </a:lnTo>
                  <a:lnTo>
                    <a:pt x="1746" y="158"/>
                  </a:lnTo>
                  <a:lnTo>
                    <a:pt x="1741" y="155"/>
                  </a:lnTo>
                  <a:lnTo>
                    <a:pt x="1738" y="155"/>
                  </a:lnTo>
                  <a:lnTo>
                    <a:pt x="1733" y="155"/>
                  </a:lnTo>
                  <a:lnTo>
                    <a:pt x="1723" y="155"/>
                  </a:lnTo>
                  <a:lnTo>
                    <a:pt x="1718" y="153"/>
                  </a:lnTo>
                  <a:lnTo>
                    <a:pt x="1707" y="153"/>
                  </a:lnTo>
                  <a:lnTo>
                    <a:pt x="1705" y="153"/>
                  </a:lnTo>
                  <a:lnTo>
                    <a:pt x="1685" y="153"/>
                  </a:lnTo>
                  <a:lnTo>
                    <a:pt x="1674" y="150"/>
                  </a:lnTo>
                  <a:lnTo>
                    <a:pt x="1672" y="150"/>
                  </a:lnTo>
                  <a:lnTo>
                    <a:pt x="1664" y="150"/>
                  </a:lnTo>
                  <a:lnTo>
                    <a:pt x="1662" y="150"/>
                  </a:lnTo>
                  <a:lnTo>
                    <a:pt x="1662" y="150"/>
                  </a:lnTo>
                  <a:lnTo>
                    <a:pt x="1662" y="150"/>
                  </a:lnTo>
                  <a:lnTo>
                    <a:pt x="1669" y="153"/>
                  </a:lnTo>
                  <a:lnTo>
                    <a:pt x="1672" y="153"/>
                  </a:lnTo>
                  <a:lnTo>
                    <a:pt x="1674" y="155"/>
                  </a:lnTo>
                  <a:lnTo>
                    <a:pt x="1669" y="155"/>
                  </a:lnTo>
                  <a:lnTo>
                    <a:pt x="1667" y="155"/>
                  </a:lnTo>
                  <a:lnTo>
                    <a:pt x="1656" y="155"/>
                  </a:lnTo>
                  <a:lnTo>
                    <a:pt x="1654" y="158"/>
                  </a:lnTo>
                  <a:lnTo>
                    <a:pt x="1654" y="160"/>
                  </a:lnTo>
                  <a:lnTo>
                    <a:pt x="1654" y="160"/>
                  </a:lnTo>
                  <a:lnTo>
                    <a:pt x="1656" y="163"/>
                  </a:lnTo>
                  <a:lnTo>
                    <a:pt x="1662" y="163"/>
                  </a:lnTo>
                  <a:lnTo>
                    <a:pt x="1662" y="160"/>
                  </a:lnTo>
                  <a:lnTo>
                    <a:pt x="1662" y="160"/>
                  </a:lnTo>
                  <a:lnTo>
                    <a:pt x="1669" y="160"/>
                  </a:lnTo>
                  <a:lnTo>
                    <a:pt x="1672" y="163"/>
                  </a:lnTo>
                  <a:lnTo>
                    <a:pt x="1669" y="163"/>
                  </a:lnTo>
                  <a:lnTo>
                    <a:pt x="1667" y="163"/>
                  </a:lnTo>
                  <a:lnTo>
                    <a:pt x="1667" y="165"/>
                  </a:lnTo>
                  <a:lnTo>
                    <a:pt x="1664" y="165"/>
                  </a:lnTo>
                  <a:lnTo>
                    <a:pt x="1669" y="168"/>
                  </a:lnTo>
                  <a:lnTo>
                    <a:pt x="1672" y="168"/>
                  </a:lnTo>
                  <a:lnTo>
                    <a:pt x="1674" y="170"/>
                  </a:lnTo>
                  <a:lnTo>
                    <a:pt x="1682" y="173"/>
                  </a:lnTo>
                  <a:lnTo>
                    <a:pt x="1685" y="175"/>
                  </a:lnTo>
                  <a:lnTo>
                    <a:pt x="1679" y="175"/>
                  </a:lnTo>
                  <a:lnTo>
                    <a:pt x="1677" y="175"/>
                  </a:lnTo>
                  <a:lnTo>
                    <a:pt x="1674" y="175"/>
                  </a:lnTo>
                  <a:lnTo>
                    <a:pt x="1669" y="173"/>
                  </a:lnTo>
                  <a:lnTo>
                    <a:pt x="1664" y="173"/>
                  </a:lnTo>
                  <a:lnTo>
                    <a:pt x="1662" y="173"/>
                  </a:lnTo>
                  <a:lnTo>
                    <a:pt x="1662" y="173"/>
                  </a:lnTo>
                  <a:lnTo>
                    <a:pt x="1659" y="173"/>
                  </a:lnTo>
                  <a:lnTo>
                    <a:pt x="1656" y="173"/>
                  </a:lnTo>
                  <a:lnTo>
                    <a:pt x="1656" y="173"/>
                  </a:lnTo>
                  <a:lnTo>
                    <a:pt x="1656" y="173"/>
                  </a:lnTo>
                  <a:lnTo>
                    <a:pt x="1656" y="175"/>
                  </a:lnTo>
                  <a:lnTo>
                    <a:pt x="1656" y="175"/>
                  </a:lnTo>
                  <a:lnTo>
                    <a:pt x="1656" y="175"/>
                  </a:lnTo>
                  <a:lnTo>
                    <a:pt x="1659" y="178"/>
                  </a:lnTo>
                  <a:lnTo>
                    <a:pt x="1659" y="178"/>
                  </a:lnTo>
                  <a:lnTo>
                    <a:pt x="1664" y="178"/>
                  </a:lnTo>
                  <a:lnTo>
                    <a:pt x="1662" y="178"/>
                  </a:lnTo>
                  <a:lnTo>
                    <a:pt x="1662" y="178"/>
                  </a:lnTo>
                  <a:lnTo>
                    <a:pt x="1662" y="178"/>
                  </a:lnTo>
                  <a:lnTo>
                    <a:pt x="1659" y="181"/>
                  </a:lnTo>
                  <a:lnTo>
                    <a:pt x="1662" y="181"/>
                  </a:lnTo>
                  <a:lnTo>
                    <a:pt x="1662" y="181"/>
                  </a:lnTo>
                  <a:lnTo>
                    <a:pt x="1664" y="181"/>
                  </a:lnTo>
                  <a:lnTo>
                    <a:pt x="1664" y="181"/>
                  </a:lnTo>
                  <a:lnTo>
                    <a:pt x="1662" y="181"/>
                  </a:lnTo>
                  <a:lnTo>
                    <a:pt x="1656" y="181"/>
                  </a:lnTo>
                  <a:lnTo>
                    <a:pt x="1651" y="178"/>
                  </a:lnTo>
                  <a:lnTo>
                    <a:pt x="1649" y="178"/>
                  </a:lnTo>
                  <a:lnTo>
                    <a:pt x="1646" y="175"/>
                  </a:lnTo>
                  <a:lnTo>
                    <a:pt x="1631" y="173"/>
                  </a:lnTo>
                  <a:lnTo>
                    <a:pt x="1626" y="173"/>
                  </a:lnTo>
                  <a:lnTo>
                    <a:pt x="1623" y="173"/>
                  </a:lnTo>
                  <a:lnTo>
                    <a:pt x="1618" y="173"/>
                  </a:lnTo>
                  <a:lnTo>
                    <a:pt x="1618" y="173"/>
                  </a:lnTo>
                  <a:lnTo>
                    <a:pt x="1613" y="175"/>
                  </a:lnTo>
                  <a:lnTo>
                    <a:pt x="1611" y="175"/>
                  </a:lnTo>
                  <a:lnTo>
                    <a:pt x="1611" y="175"/>
                  </a:lnTo>
                  <a:lnTo>
                    <a:pt x="1603" y="178"/>
                  </a:lnTo>
                  <a:lnTo>
                    <a:pt x="1595" y="175"/>
                  </a:lnTo>
                  <a:lnTo>
                    <a:pt x="1590" y="175"/>
                  </a:lnTo>
                  <a:lnTo>
                    <a:pt x="1585" y="173"/>
                  </a:lnTo>
                  <a:lnTo>
                    <a:pt x="1577" y="170"/>
                  </a:lnTo>
                  <a:lnTo>
                    <a:pt x="1577" y="170"/>
                  </a:lnTo>
                  <a:lnTo>
                    <a:pt x="1575" y="168"/>
                  </a:lnTo>
                  <a:lnTo>
                    <a:pt x="1572" y="168"/>
                  </a:lnTo>
                  <a:lnTo>
                    <a:pt x="1570" y="168"/>
                  </a:lnTo>
                  <a:lnTo>
                    <a:pt x="1570" y="168"/>
                  </a:lnTo>
                  <a:lnTo>
                    <a:pt x="1570" y="170"/>
                  </a:lnTo>
                  <a:lnTo>
                    <a:pt x="1570" y="173"/>
                  </a:lnTo>
                  <a:lnTo>
                    <a:pt x="1572" y="175"/>
                  </a:lnTo>
                  <a:lnTo>
                    <a:pt x="1575" y="178"/>
                  </a:lnTo>
                  <a:lnTo>
                    <a:pt x="1575" y="178"/>
                  </a:lnTo>
                  <a:lnTo>
                    <a:pt x="1577" y="178"/>
                  </a:lnTo>
                  <a:lnTo>
                    <a:pt x="1575" y="181"/>
                  </a:lnTo>
                  <a:lnTo>
                    <a:pt x="1575" y="183"/>
                  </a:lnTo>
                  <a:lnTo>
                    <a:pt x="1577" y="186"/>
                  </a:lnTo>
                  <a:lnTo>
                    <a:pt x="1577" y="188"/>
                  </a:lnTo>
                  <a:lnTo>
                    <a:pt x="1575" y="188"/>
                  </a:lnTo>
                  <a:lnTo>
                    <a:pt x="1575" y="188"/>
                  </a:lnTo>
                  <a:lnTo>
                    <a:pt x="1572" y="188"/>
                  </a:lnTo>
                  <a:lnTo>
                    <a:pt x="1570" y="188"/>
                  </a:lnTo>
                  <a:lnTo>
                    <a:pt x="1565" y="186"/>
                  </a:lnTo>
                  <a:lnTo>
                    <a:pt x="1565" y="186"/>
                  </a:lnTo>
                  <a:lnTo>
                    <a:pt x="1565" y="186"/>
                  </a:lnTo>
                  <a:lnTo>
                    <a:pt x="1562" y="186"/>
                  </a:lnTo>
                  <a:lnTo>
                    <a:pt x="1557" y="186"/>
                  </a:lnTo>
                  <a:lnTo>
                    <a:pt x="1552" y="183"/>
                  </a:lnTo>
                  <a:lnTo>
                    <a:pt x="1547" y="181"/>
                  </a:lnTo>
                  <a:lnTo>
                    <a:pt x="1537" y="175"/>
                  </a:lnTo>
                  <a:lnTo>
                    <a:pt x="1532" y="175"/>
                  </a:lnTo>
                  <a:lnTo>
                    <a:pt x="1529" y="173"/>
                  </a:lnTo>
                  <a:lnTo>
                    <a:pt x="1524" y="173"/>
                  </a:lnTo>
                  <a:lnTo>
                    <a:pt x="1521" y="170"/>
                  </a:lnTo>
                  <a:lnTo>
                    <a:pt x="1524" y="170"/>
                  </a:lnTo>
                  <a:lnTo>
                    <a:pt x="1526" y="170"/>
                  </a:lnTo>
                  <a:lnTo>
                    <a:pt x="1529" y="170"/>
                  </a:lnTo>
                  <a:lnTo>
                    <a:pt x="1524" y="168"/>
                  </a:lnTo>
                  <a:lnTo>
                    <a:pt x="1521" y="168"/>
                  </a:lnTo>
                  <a:lnTo>
                    <a:pt x="1521" y="165"/>
                  </a:lnTo>
                  <a:lnTo>
                    <a:pt x="1521" y="168"/>
                  </a:lnTo>
                  <a:lnTo>
                    <a:pt x="1524" y="168"/>
                  </a:lnTo>
                  <a:lnTo>
                    <a:pt x="1524" y="170"/>
                  </a:lnTo>
                  <a:lnTo>
                    <a:pt x="1521" y="170"/>
                  </a:lnTo>
                  <a:lnTo>
                    <a:pt x="1506" y="163"/>
                  </a:lnTo>
                  <a:lnTo>
                    <a:pt x="1498" y="160"/>
                  </a:lnTo>
                  <a:lnTo>
                    <a:pt x="1496" y="160"/>
                  </a:lnTo>
                  <a:lnTo>
                    <a:pt x="1491" y="158"/>
                  </a:lnTo>
                  <a:lnTo>
                    <a:pt x="1491" y="158"/>
                  </a:lnTo>
                  <a:lnTo>
                    <a:pt x="1498" y="160"/>
                  </a:lnTo>
                  <a:lnTo>
                    <a:pt x="1506" y="160"/>
                  </a:lnTo>
                  <a:lnTo>
                    <a:pt x="1514" y="163"/>
                  </a:lnTo>
                  <a:lnTo>
                    <a:pt x="1519" y="163"/>
                  </a:lnTo>
                  <a:lnTo>
                    <a:pt x="1519" y="163"/>
                  </a:lnTo>
                  <a:lnTo>
                    <a:pt x="1516" y="160"/>
                  </a:lnTo>
                  <a:lnTo>
                    <a:pt x="1511" y="158"/>
                  </a:lnTo>
                  <a:lnTo>
                    <a:pt x="1509" y="155"/>
                  </a:lnTo>
                  <a:lnTo>
                    <a:pt x="1501" y="155"/>
                  </a:lnTo>
                  <a:lnTo>
                    <a:pt x="1498" y="155"/>
                  </a:lnTo>
                  <a:lnTo>
                    <a:pt x="1498" y="155"/>
                  </a:lnTo>
                  <a:lnTo>
                    <a:pt x="1501" y="155"/>
                  </a:lnTo>
                  <a:lnTo>
                    <a:pt x="1504" y="155"/>
                  </a:lnTo>
                  <a:lnTo>
                    <a:pt x="1504" y="153"/>
                  </a:lnTo>
                  <a:lnTo>
                    <a:pt x="1506" y="153"/>
                  </a:lnTo>
                  <a:lnTo>
                    <a:pt x="1504" y="150"/>
                  </a:lnTo>
                  <a:lnTo>
                    <a:pt x="1498" y="150"/>
                  </a:lnTo>
                  <a:lnTo>
                    <a:pt x="1493" y="150"/>
                  </a:lnTo>
                  <a:lnTo>
                    <a:pt x="1493" y="150"/>
                  </a:lnTo>
                  <a:lnTo>
                    <a:pt x="1493" y="147"/>
                  </a:lnTo>
                  <a:lnTo>
                    <a:pt x="1496" y="147"/>
                  </a:lnTo>
                  <a:lnTo>
                    <a:pt x="1496" y="145"/>
                  </a:lnTo>
                  <a:lnTo>
                    <a:pt x="1496" y="145"/>
                  </a:lnTo>
                  <a:lnTo>
                    <a:pt x="1493" y="145"/>
                  </a:lnTo>
                  <a:lnTo>
                    <a:pt x="1493" y="145"/>
                  </a:lnTo>
                  <a:lnTo>
                    <a:pt x="1491" y="145"/>
                  </a:lnTo>
                  <a:lnTo>
                    <a:pt x="1491" y="142"/>
                  </a:lnTo>
                  <a:lnTo>
                    <a:pt x="1488" y="142"/>
                  </a:lnTo>
                  <a:lnTo>
                    <a:pt x="1486" y="142"/>
                  </a:lnTo>
                  <a:lnTo>
                    <a:pt x="1481" y="142"/>
                  </a:lnTo>
                  <a:lnTo>
                    <a:pt x="1481" y="142"/>
                  </a:lnTo>
                  <a:lnTo>
                    <a:pt x="1478" y="140"/>
                  </a:lnTo>
                  <a:lnTo>
                    <a:pt x="1476" y="140"/>
                  </a:lnTo>
                  <a:lnTo>
                    <a:pt x="1473" y="140"/>
                  </a:lnTo>
                  <a:lnTo>
                    <a:pt x="1473" y="140"/>
                  </a:lnTo>
                  <a:lnTo>
                    <a:pt x="1473" y="140"/>
                  </a:lnTo>
                  <a:lnTo>
                    <a:pt x="1468" y="137"/>
                  </a:lnTo>
                  <a:lnTo>
                    <a:pt x="1458" y="137"/>
                  </a:lnTo>
                  <a:lnTo>
                    <a:pt x="1455" y="137"/>
                  </a:lnTo>
                  <a:lnTo>
                    <a:pt x="1458" y="140"/>
                  </a:lnTo>
                  <a:lnTo>
                    <a:pt x="1455" y="140"/>
                  </a:lnTo>
                  <a:lnTo>
                    <a:pt x="1450" y="140"/>
                  </a:lnTo>
                  <a:lnTo>
                    <a:pt x="1450" y="140"/>
                  </a:lnTo>
                  <a:lnTo>
                    <a:pt x="1450" y="140"/>
                  </a:lnTo>
                  <a:lnTo>
                    <a:pt x="1447" y="137"/>
                  </a:lnTo>
                  <a:lnTo>
                    <a:pt x="1447" y="137"/>
                  </a:lnTo>
                  <a:lnTo>
                    <a:pt x="1447" y="137"/>
                  </a:lnTo>
                  <a:lnTo>
                    <a:pt x="1445" y="137"/>
                  </a:lnTo>
                  <a:lnTo>
                    <a:pt x="1445" y="137"/>
                  </a:lnTo>
                  <a:lnTo>
                    <a:pt x="1442" y="137"/>
                  </a:lnTo>
                  <a:lnTo>
                    <a:pt x="1442" y="137"/>
                  </a:lnTo>
                  <a:lnTo>
                    <a:pt x="1440" y="140"/>
                  </a:lnTo>
                  <a:lnTo>
                    <a:pt x="1437" y="137"/>
                  </a:lnTo>
                  <a:lnTo>
                    <a:pt x="1422" y="135"/>
                  </a:lnTo>
                  <a:lnTo>
                    <a:pt x="1417" y="132"/>
                  </a:lnTo>
                  <a:lnTo>
                    <a:pt x="1417" y="132"/>
                  </a:lnTo>
                  <a:lnTo>
                    <a:pt x="1412" y="135"/>
                  </a:lnTo>
                  <a:lnTo>
                    <a:pt x="1412" y="135"/>
                  </a:lnTo>
                  <a:lnTo>
                    <a:pt x="1412" y="135"/>
                  </a:lnTo>
                  <a:lnTo>
                    <a:pt x="1407" y="135"/>
                  </a:lnTo>
                  <a:lnTo>
                    <a:pt x="1404" y="135"/>
                  </a:lnTo>
                  <a:lnTo>
                    <a:pt x="1407" y="137"/>
                  </a:lnTo>
                  <a:lnTo>
                    <a:pt x="1409" y="140"/>
                  </a:lnTo>
                  <a:lnTo>
                    <a:pt x="1409" y="140"/>
                  </a:lnTo>
                  <a:lnTo>
                    <a:pt x="1412" y="140"/>
                  </a:lnTo>
                  <a:lnTo>
                    <a:pt x="1414" y="142"/>
                  </a:lnTo>
                  <a:lnTo>
                    <a:pt x="1417" y="142"/>
                  </a:lnTo>
                  <a:lnTo>
                    <a:pt x="1417" y="142"/>
                  </a:lnTo>
                  <a:lnTo>
                    <a:pt x="1417" y="145"/>
                  </a:lnTo>
                  <a:lnTo>
                    <a:pt x="1417" y="145"/>
                  </a:lnTo>
                  <a:lnTo>
                    <a:pt x="1417" y="145"/>
                  </a:lnTo>
                  <a:lnTo>
                    <a:pt x="1417" y="147"/>
                  </a:lnTo>
                  <a:lnTo>
                    <a:pt x="1417" y="147"/>
                  </a:lnTo>
                  <a:lnTo>
                    <a:pt x="1414" y="147"/>
                  </a:lnTo>
                  <a:lnTo>
                    <a:pt x="1407" y="147"/>
                  </a:lnTo>
                  <a:lnTo>
                    <a:pt x="1407" y="147"/>
                  </a:lnTo>
                  <a:lnTo>
                    <a:pt x="1407" y="147"/>
                  </a:lnTo>
                  <a:lnTo>
                    <a:pt x="1409" y="147"/>
                  </a:lnTo>
                  <a:lnTo>
                    <a:pt x="1412" y="147"/>
                  </a:lnTo>
                  <a:lnTo>
                    <a:pt x="1412" y="150"/>
                  </a:lnTo>
                  <a:lnTo>
                    <a:pt x="1409" y="150"/>
                  </a:lnTo>
                  <a:lnTo>
                    <a:pt x="1404" y="150"/>
                  </a:lnTo>
                  <a:lnTo>
                    <a:pt x="1402" y="150"/>
                  </a:lnTo>
                  <a:lnTo>
                    <a:pt x="1399" y="147"/>
                  </a:lnTo>
                  <a:lnTo>
                    <a:pt x="1397" y="147"/>
                  </a:lnTo>
                  <a:lnTo>
                    <a:pt x="1391" y="147"/>
                  </a:lnTo>
                  <a:lnTo>
                    <a:pt x="1386" y="147"/>
                  </a:lnTo>
                  <a:lnTo>
                    <a:pt x="1379" y="147"/>
                  </a:lnTo>
                  <a:lnTo>
                    <a:pt x="1371" y="147"/>
                  </a:lnTo>
                  <a:lnTo>
                    <a:pt x="1368" y="147"/>
                  </a:lnTo>
                  <a:lnTo>
                    <a:pt x="1361" y="145"/>
                  </a:lnTo>
                  <a:lnTo>
                    <a:pt x="1353" y="145"/>
                  </a:lnTo>
                  <a:lnTo>
                    <a:pt x="1343" y="142"/>
                  </a:lnTo>
                  <a:lnTo>
                    <a:pt x="1340" y="140"/>
                  </a:lnTo>
                  <a:lnTo>
                    <a:pt x="1340" y="137"/>
                  </a:lnTo>
                  <a:lnTo>
                    <a:pt x="1343" y="137"/>
                  </a:lnTo>
                  <a:lnTo>
                    <a:pt x="1346" y="137"/>
                  </a:lnTo>
                  <a:lnTo>
                    <a:pt x="1346" y="137"/>
                  </a:lnTo>
                  <a:lnTo>
                    <a:pt x="1346" y="137"/>
                  </a:lnTo>
                  <a:lnTo>
                    <a:pt x="1338" y="137"/>
                  </a:lnTo>
                  <a:lnTo>
                    <a:pt x="1323" y="135"/>
                  </a:lnTo>
                  <a:lnTo>
                    <a:pt x="1310" y="135"/>
                  </a:lnTo>
                  <a:lnTo>
                    <a:pt x="1292" y="135"/>
                  </a:lnTo>
                  <a:lnTo>
                    <a:pt x="1287" y="135"/>
                  </a:lnTo>
                  <a:lnTo>
                    <a:pt x="1277" y="137"/>
                  </a:lnTo>
                  <a:lnTo>
                    <a:pt x="1274" y="137"/>
                  </a:lnTo>
                  <a:lnTo>
                    <a:pt x="1272" y="137"/>
                  </a:lnTo>
                  <a:lnTo>
                    <a:pt x="1272" y="140"/>
                  </a:lnTo>
                  <a:lnTo>
                    <a:pt x="1277" y="140"/>
                  </a:lnTo>
                  <a:lnTo>
                    <a:pt x="1277" y="140"/>
                  </a:lnTo>
                  <a:lnTo>
                    <a:pt x="1279" y="140"/>
                  </a:lnTo>
                  <a:lnTo>
                    <a:pt x="1279" y="140"/>
                  </a:lnTo>
                  <a:lnTo>
                    <a:pt x="1279" y="140"/>
                  </a:lnTo>
                  <a:lnTo>
                    <a:pt x="1277" y="142"/>
                  </a:lnTo>
                  <a:lnTo>
                    <a:pt x="1277" y="142"/>
                  </a:lnTo>
                  <a:lnTo>
                    <a:pt x="1279" y="145"/>
                  </a:lnTo>
                  <a:lnTo>
                    <a:pt x="1279" y="145"/>
                  </a:lnTo>
                  <a:lnTo>
                    <a:pt x="1279" y="147"/>
                  </a:lnTo>
                  <a:lnTo>
                    <a:pt x="1279" y="150"/>
                  </a:lnTo>
                  <a:lnTo>
                    <a:pt x="1279" y="150"/>
                  </a:lnTo>
                  <a:lnTo>
                    <a:pt x="1282" y="153"/>
                  </a:lnTo>
                  <a:lnTo>
                    <a:pt x="1284" y="153"/>
                  </a:lnTo>
                  <a:lnTo>
                    <a:pt x="1289" y="153"/>
                  </a:lnTo>
                  <a:lnTo>
                    <a:pt x="1289" y="153"/>
                  </a:lnTo>
                  <a:lnTo>
                    <a:pt x="1289" y="153"/>
                  </a:lnTo>
                  <a:lnTo>
                    <a:pt x="1284" y="153"/>
                  </a:lnTo>
                  <a:lnTo>
                    <a:pt x="1282" y="153"/>
                  </a:lnTo>
                  <a:lnTo>
                    <a:pt x="1279" y="150"/>
                  </a:lnTo>
                  <a:lnTo>
                    <a:pt x="1279" y="150"/>
                  </a:lnTo>
                  <a:lnTo>
                    <a:pt x="1279" y="150"/>
                  </a:lnTo>
                  <a:lnTo>
                    <a:pt x="1279" y="147"/>
                  </a:lnTo>
                  <a:lnTo>
                    <a:pt x="1279" y="145"/>
                  </a:lnTo>
                  <a:lnTo>
                    <a:pt x="1277" y="145"/>
                  </a:lnTo>
                  <a:lnTo>
                    <a:pt x="1274" y="140"/>
                  </a:lnTo>
                  <a:lnTo>
                    <a:pt x="1269" y="140"/>
                  </a:lnTo>
                  <a:lnTo>
                    <a:pt x="1267" y="137"/>
                  </a:lnTo>
                  <a:lnTo>
                    <a:pt x="1267" y="137"/>
                  </a:lnTo>
                  <a:lnTo>
                    <a:pt x="1267" y="135"/>
                  </a:lnTo>
                  <a:lnTo>
                    <a:pt x="1264" y="135"/>
                  </a:lnTo>
                  <a:lnTo>
                    <a:pt x="1259" y="132"/>
                  </a:lnTo>
                  <a:lnTo>
                    <a:pt x="1256" y="130"/>
                  </a:lnTo>
                  <a:lnTo>
                    <a:pt x="1254" y="130"/>
                  </a:lnTo>
                  <a:lnTo>
                    <a:pt x="1254" y="130"/>
                  </a:lnTo>
                  <a:lnTo>
                    <a:pt x="1256" y="132"/>
                  </a:lnTo>
                  <a:lnTo>
                    <a:pt x="1256" y="132"/>
                  </a:lnTo>
                  <a:lnTo>
                    <a:pt x="1256" y="132"/>
                  </a:lnTo>
                  <a:lnTo>
                    <a:pt x="1251" y="135"/>
                  </a:lnTo>
                  <a:lnTo>
                    <a:pt x="1249" y="135"/>
                  </a:lnTo>
                  <a:lnTo>
                    <a:pt x="1244" y="132"/>
                  </a:lnTo>
                  <a:lnTo>
                    <a:pt x="1236" y="132"/>
                  </a:lnTo>
                  <a:lnTo>
                    <a:pt x="1233" y="130"/>
                  </a:lnTo>
                  <a:lnTo>
                    <a:pt x="1231" y="130"/>
                  </a:lnTo>
                  <a:lnTo>
                    <a:pt x="1233" y="130"/>
                  </a:lnTo>
                  <a:lnTo>
                    <a:pt x="1233" y="127"/>
                  </a:lnTo>
                  <a:lnTo>
                    <a:pt x="1231" y="127"/>
                  </a:lnTo>
                  <a:lnTo>
                    <a:pt x="1228" y="127"/>
                  </a:lnTo>
                  <a:lnTo>
                    <a:pt x="1228" y="130"/>
                  </a:lnTo>
                  <a:lnTo>
                    <a:pt x="1226" y="130"/>
                  </a:lnTo>
                  <a:lnTo>
                    <a:pt x="1216" y="130"/>
                  </a:lnTo>
                  <a:lnTo>
                    <a:pt x="1216" y="130"/>
                  </a:lnTo>
                  <a:lnTo>
                    <a:pt x="1213" y="130"/>
                  </a:lnTo>
                  <a:lnTo>
                    <a:pt x="1213" y="130"/>
                  </a:lnTo>
                  <a:lnTo>
                    <a:pt x="1213" y="132"/>
                  </a:lnTo>
                  <a:lnTo>
                    <a:pt x="1213" y="132"/>
                  </a:lnTo>
                  <a:lnTo>
                    <a:pt x="1216" y="135"/>
                  </a:lnTo>
                  <a:lnTo>
                    <a:pt x="1221" y="135"/>
                  </a:lnTo>
                  <a:lnTo>
                    <a:pt x="1223" y="135"/>
                  </a:lnTo>
                  <a:lnTo>
                    <a:pt x="1228" y="132"/>
                  </a:lnTo>
                  <a:lnTo>
                    <a:pt x="1228" y="132"/>
                  </a:lnTo>
                  <a:lnTo>
                    <a:pt x="1231" y="135"/>
                  </a:lnTo>
                  <a:lnTo>
                    <a:pt x="1231" y="135"/>
                  </a:lnTo>
                  <a:lnTo>
                    <a:pt x="1226" y="135"/>
                  </a:lnTo>
                  <a:lnTo>
                    <a:pt x="1221" y="137"/>
                  </a:lnTo>
                  <a:lnTo>
                    <a:pt x="1218" y="140"/>
                  </a:lnTo>
                  <a:lnTo>
                    <a:pt x="1213" y="137"/>
                  </a:lnTo>
                  <a:lnTo>
                    <a:pt x="1213" y="140"/>
                  </a:lnTo>
                  <a:lnTo>
                    <a:pt x="1213" y="140"/>
                  </a:lnTo>
                  <a:lnTo>
                    <a:pt x="1205" y="140"/>
                  </a:lnTo>
                  <a:lnTo>
                    <a:pt x="1203" y="142"/>
                  </a:lnTo>
                  <a:lnTo>
                    <a:pt x="1203" y="142"/>
                  </a:lnTo>
                  <a:lnTo>
                    <a:pt x="1200" y="142"/>
                  </a:lnTo>
                  <a:lnTo>
                    <a:pt x="1200" y="142"/>
                  </a:lnTo>
                  <a:lnTo>
                    <a:pt x="1198" y="145"/>
                  </a:lnTo>
                  <a:lnTo>
                    <a:pt x="1193" y="145"/>
                  </a:lnTo>
                  <a:lnTo>
                    <a:pt x="1188" y="142"/>
                  </a:lnTo>
                  <a:lnTo>
                    <a:pt x="1180" y="145"/>
                  </a:lnTo>
                  <a:lnTo>
                    <a:pt x="1177" y="145"/>
                  </a:lnTo>
                  <a:lnTo>
                    <a:pt x="1177" y="145"/>
                  </a:lnTo>
                  <a:lnTo>
                    <a:pt x="1177" y="147"/>
                  </a:lnTo>
                  <a:lnTo>
                    <a:pt x="1177" y="147"/>
                  </a:lnTo>
                  <a:lnTo>
                    <a:pt x="1175" y="150"/>
                  </a:lnTo>
                  <a:lnTo>
                    <a:pt x="1172" y="150"/>
                  </a:lnTo>
                  <a:lnTo>
                    <a:pt x="1167" y="150"/>
                  </a:lnTo>
                  <a:lnTo>
                    <a:pt x="1170" y="150"/>
                  </a:lnTo>
                  <a:lnTo>
                    <a:pt x="1172" y="147"/>
                  </a:lnTo>
                  <a:lnTo>
                    <a:pt x="1172" y="142"/>
                  </a:lnTo>
                  <a:lnTo>
                    <a:pt x="1180" y="140"/>
                  </a:lnTo>
                  <a:lnTo>
                    <a:pt x="1180" y="140"/>
                  </a:lnTo>
                  <a:lnTo>
                    <a:pt x="1182" y="137"/>
                  </a:lnTo>
                  <a:lnTo>
                    <a:pt x="1182" y="135"/>
                  </a:lnTo>
                  <a:lnTo>
                    <a:pt x="1190" y="135"/>
                  </a:lnTo>
                  <a:lnTo>
                    <a:pt x="1195" y="135"/>
                  </a:lnTo>
                  <a:lnTo>
                    <a:pt x="1200" y="127"/>
                  </a:lnTo>
                  <a:lnTo>
                    <a:pt x="1205" y="127"/>
                  </a:lnTo>
                  <a:lnTo>
                    <a:pt x="1208" y="125"/>
                  </a:lnTo>
                  <a:lnTo>
                    <a:pt x="1208" y="125"/>
                  </a:lnTo>
                  <a:lnTo>
                    <a:pt x="1208" y="125"/>
                  </a:lnTo>
                  <a:lnTo>
                    <a:pt x="1205" y="125"/>
                  </a:lnTo>
                  <a:lnTo>
                    <a:pt x="1205" y="122"/>
                  </a:lnTo>
                  <a:lnTo>
                    <a:pt x="1208" y="122"/>
                  </a:lnTo>
                  <a:lnTo>
                    <a:pt x="1210" y="119"/>
                  </a:lnTo>
                  <a:lnTo>
                    <a:pt x="1216" y="119"/>
                  </a:lnTo>
                  <a:lnTo>
                    <a:pt x="1218" y="117"/>
                  </a:lnTo>
                  <a:lnTo>
                    <a:pt x="1223" y="114"/>
                  </a:lnTo>
                  <a:lnTo>
                    <a:pt x="1226" y="114"/>
                  </a:lnTo>
                  <a:lnTo>
                    <a:pt x="1233" y="112"/>
                  </a:lnTo>
                  <a:lnTo>
                    <a:pt x="1236" y="107"/>
                  </a:lnTo>
                  <a:lnTo>
                    <a:pt x="1236" y="102"/>
                  </a:lnTo>
                  <a:lnTo>
                    <a:pt x="1231" y="102"/>
                  </a:lnTo>
                  <a:lnTo>
                    <a:pt x="1228" y="102"/>
                  </a:lnTo>
                  <a:lnTo>
                    <a:pt x="1226" y="99"/>
                  </a:lnTo>
                  <a:lnTo>
                    <a:pt x="1223" y="99"/>
                  </a:lnTo>
                  <a:lnTo>
                    <a:pt x="1223" y="102"/>
                  </a:lnTo>
                  <a:lnTo>
                    <a:pt x="1216" y="97"/>
                  </a:lnTo>
                  <a:lnTo>
                    <a:pt x="1210" y="97"/>
                  </a:lnTo>
                  <a:lnTo>
                    <a:pt x="1210" y="97"/>
                  </a:lnTo>
                  <a:lnTo>
                    <a:pt x="1210" y="97"/>
                  </a:lnTo>
                  <a:lnTo>
                    <a:pt x="1213" y="97"/>
                  </a:lnTo>
                  <a:lnTo>
                    <a:pt x="1221" y="99"/>
                  </a:lnTo>
                  <a:lnTo>
                    <a:pt x="1226" y="99"/>
                  </a:lnTo>
                  <a:lnTo>
                    <a:pt x="1228" y="99"/>
                  </a:lnTo>
                  <a:lnTo>
                    <a:pt x="1228" y="99"/>
                  </a:lnTo>
                  <a:lnTo>
                    <a:pt x="1228" y="102"/>
                  </a:lnTo>
                  <a:lnTo>
                    <a:pt x="1231" y="102"/>
                  </a:lnTo>
                  <a:lnTo>
                    <a:pt x="1231" y="99"/>
                  </a:lnTo>
                  <a:lnTo>
                    <a:pt x="1231" y="99"/>
                  </a:lnTo>
                  <a:lnTo>
                    <a:pt x="1228" y="97"/>
                  </a:lnTo>
                  <a:lnTo>
                    <a:pt x="1226" y="94"/>
                  </a:lnTo>
                  <a:lnTo>
                    <a:pt x="1223" y="94"/>
                  </a:lnTo>
                  <a:lnTo>
                    <a:pt x="1218" y="91"/>
                  </a:lnTo>
                  <a:lnTo>
                    <a:pt x="1216" y="89"/>
                  </a:lnTo>
                  <a:lnTo>
                    <a:pt x="1213" y="89"/>
                  </a:lnTo>
                  <a:lnTo>
                    <a:pt x="1210" y="89"/>
                  </a:lnTo>
                  <a:lnTo>
                    <a:pt x="1208" y="89"/>
                  </a:lnTo>
                  <a:lnTo>
                    <a:pt x="1210" y="89"/>
                  </a:lnTo>
                  <a:lnTo>
                    <a:pt x="1213" y="89"/>
                  </a:lnTo>
                  <a:lnTo>
                    <a:pt x="1213" y="91"/>
                  </a:lnTo>
                  <a:lnTo>
                    <a:pt x="1213" y="91"/>
                  </a:lnTo>
                  <a:lnTo>
                    <a:pt x="1210" y="91"/>
                  </a:lnTo>
                  <a:lnTo>
                    <a:pt x="1208" y="91"/>
                  </a:lnTo>
                  <a:lnTo>
                    <a:pt x="1208" y="91"/>
                  </a:lnTo>
                  <a:lnTo>
                    <a:pt x="1208" y="91"/>
                  </a:lnTo>
                  <a:lnTo>
                    <a:pt x="1205" y="89"/>
                  </a:lnTo>
                  <a:lnTo>
                    <a:pt x="1205" y="89"/>
                  </a:lnTo>
                  <a:lnTo>
                    <a:pt x="1200" y="86"/>
                  </a:lnTo>
                  <a:lnTo>
                    <a:pt x="1198" y="86"/>
                  </a:lnTo>
                  <a:lnTo>
                    <a:pt x="1195" y="86"/>
                  </a:lnTo>
                  <a:lnTo>
                    <a:pt x="1193" y="86"/>
                  </a:lnTo>
                  <a:lnTo>
                    <a:pt x="1193" y="86"/>
                  </a:lnTo>
                  <a:lnTo>
                    <a:pt x="1193" y="86"/>
                  </a:lnTo>
                  <a:lnTo>
                    <a:pt x="1193" y="84"/>
                  </a:lnTo>
                  <a:lnTo>
                    <a:pt x="1188" y="84"/>
                  </a:lnTo>
                  <a:lnTo>
                    <a:pt x="1185" y="84"/>
                  </a:lnTo>
                  <a:lnTo>
                    <a:pt x="1182" y="81"/>
                  </a:lnTo>
                  <a:lnTo>
                    <a:pt x="1177" y="81"/>
                  </a:lnTo>
                  <a:lnTo>
                    <a:pt x="1175" y="81"/>
                  </a:lnTo>
                  <a:lnTo>
                    <a:pt x="1165" y="81"/>
                  </a:lnTo>
                  <a:lnTo>
                    <a:pt x="1160" y="81"/>
                  </a:lnTo>
                  <a:lnTo>
                    <a:pt x="1149" y="81"/>
                  </a:lnTo>
                  <a:lnTo>
                    <a:pt x="1142" y="81"/>
                  </a:lnTo>
                  <a:lnTo>
                    <a:pt x="1137" y="81"/>
                  </a:lnTo>
                  <a:lnTo>
                    <a:pt x="1134" y="81"/>
                  </a:lnTo>
                  <a:lnTo>
                    <a:pt x="1134" y="81"/>
                  </a:lnTo>
                  <a:lnTo>
                    <a:pt x="1134" y="81"/>
                  </a:lnTo>
                  <a:lnTo>
                    <a:pt x="1134" y="84"/>
                  </a:lnTo>
                  <a:lnTo>
                    <a:pt x="1134" y="84"/>
                  </a:lnTo>
                  <a:lnTo>
                    <a:pt x="1131" y="84"/>
                  </a:lnTo>
                  <a:lnTo>
                    <a:pt x="1126" y="84"/>
                  </a:lnTo>
                  <a:lnTo>
                    <a:pt x="1121" y="84"/>
                  </a:lnTo>
                  <a:lnTo>
                    <a:pt x="1119" y="84"/>
                  </a:lnTo>
                  <a:lnTo>
                    <a:pt x="1116" y="84"/>
                  </a:lnTo>
                  <a:lnTo>
                    <a:pt x="1114" y="84"/>
                  </a:lnTo>
                  <a:lnTo>
                    <a:pt x="1116" y="84"/>
                  </a:lnTo>
                  <a:lnTo>
                    <a:pt x="1119" y="84"/>
                  </a:lnTo>
                  <a:lnTo>
                    <a:pt x="1119" y="81"/>
                  </a:lnTo>
                  <a:lnTo>
                    <a:pt x="1121" y="79"/>
                  </a:lnTo>
                  <a:lnTo>
                    <a:pt x="1121" y="76"/>
                  </a:lnTo>
                  <a:lnTo>
                    <a:pt x="1119" y="76"/>
                  </a:lnTo>
                  <a:lnTo>
                    <a:pt x="1114" y="76"/>
                  </a:lnTo>
                  <a:lnTo>
                    <a:pt x="1111" y="76"/>
                  </a:lnTo>
                  <a:lnTo>
                    <a:pt x="1111" y="76"/>
                  </a:lnTo>
                  <a:lnTo>
                    <a:pt x="1103" y="76"/>
                  </a:lnTo>
                  <a:lnTo>
                    <a:pt x="1101" y="76"/>
                  </a:lnTo>
                  <a:lnTo>
                    <a:pt x="1098" y="76"/>
                  </a:lnTo>
                  <a:lnTo>
                    <a:pt x="1096" y="76"/>
                  </a:lnTo>
                  <a:lnTo>
                    <a:pt x="1093" y="74"/>
                  </a:lnTo>
                  <a:lnTo>
                    <a:pt x="1091" y="74"/>
                  </a:lnTo>
                  <a:lnTo>
                    <a:pt x="1075" y="74"/>
                  </a:lnTo>
                  <a:lnTo>
                    <a:pt x="1075" y="74"/>
                  </a:lnTo>
                  <a:lnTo>
                    <a:pt x="1083" y="74"/>
                  </a:lnTo>
                  <a:lnTo>
                    <a:pt x="1088" y="71"/>
                  </a:lnTo>
                  <a:lnTo>
                    <a:pt x="1091" y="71"/>
                  </a:lnTo>
                  <a:lnTo>
                    <a:pt x="1093" y="69"/>
                  </a:lnTo>
                  <a:lnTo>
                    <a:pt x="1091" y="69"/>
                  </a:lnTo>
                  <a:lnTo>
                    <a:pt x="1091" y="69"/>
                  </a:lnTo>
                  <a:lnTo>
                    <a:pt x="1086" y="66"/>
                  </a:lnTo>
                  <a:lnTo>
                    <a:pt x="1081" y="66"/>
                  </a:lnTo>
                  <a:lnTo>
                    <a:pt x="1075" y="66"/>
                  </a:lnTo>
                  <a:lnTo>
                    <a:pt x="1073" y="66"/>
                  </a:lnTo>
                  <a:lnTo>
                    <a:pt x="1063" y="64"/>
                  </a:lnTo>
                  <a:lnTo>
                    <a:pt x="1060" y="64"/>
                  </a:lnTo>
                  <a:lnTo>
                    <a:pt x="1058" y="66"/>
                  </a:lnTo>
                  <a:lnTo>
                    <a:pt x="1052" y="66"/>
                  </a:lnTo>
                  <a:lnTo>
                    <a:pt x="1050" y="66"/>
                  </a:lnTo>
                  <a:lnTo>
                    <a:pt x="1047" y="66"/>
                  </a:lnTo>
                  <a:lnTo>
                    <a:pt x="1037" y="74"/>
                  </a:lnTo>
                  <a:lnTo>
                    <a:pt x="1037" y="74"/>
                  </a:lnTo>
                  <a:lnTo>
                    <a:pt x="1037" y="76"/>
                  </a:lnTo>
                  <a:lnTo>
                    <a:pt x="1035" y="76"/>
                  </a:lnTo>
                  <a:lnTo>
                    <a:pt x="1035" y="79"/>
                  </a:lnTo>
                  <a:lnTo>
                    <a:pt x="1037" y="79"/>
                  </a:lnTo>
                  <a:lnTo>
                    <a:pt x="1040" y="79"/>
                  </a:lnTo>
                  <a:lnTo>
                    <a:pt x="1042" y="81"/>
                  </a:lnTo>
                  <a:lnTo>
                    <a:pt x="1042" y="81"/>
                  </a:lnTo>
                  <a:lnTo>
                    <a:pt x="1042" y="84"/>
                  </a:lnTo>
                  <a:lnTo>
                    <a:pt x="1045" y="84"/>
                  </a:lnTo>
                  <a:lnTo>
                    <a:pt x="1047" y="84"/>
                  </a:lnTo>
                  <a:lnTo>
                    <a:pt x="1055" y="84"/>
                  </a:lnTo>
                  <a:lnTo>
                    <a:pt x="1052" y="86"/>
                  </a:lnTo>
                  <a:lnTo>
                    <a:pt x="1050" y="84"/>
                  </a:lnTo>
                  <a:lnTo>
                    <a:pt x="1045" y="84"/>
                  </a:lnTo>
                  <a:lnTo>
                    <a:pt x="1042" y="84"/>
                  </a:lnTo>
                  <a:lnTo>
                    <a:pt x="1037" y="84"/>
                  </a:lnTo>
                  <a:lnTo>
                    <a:pt x="1030" y="84"/>
                  </a:lnTo>
                  <a:lnTo>
                    <a:pt x="1027" y="84"/>
                  </a:lnTo>
                  <a:lnTo>
                    <a:pt x="1017" y="84"/>
                  </a:lnTo>
                  <a:lnTo>
                    <a:pt x="1017" y="84"/>
                  </a:lnTo>
                  <a:lnTo>
                    <a:pt x="1019" y="86"/>
                  </a:lnTo>
                  <a:lnTo>
                    <a:pt x="1022" y="86"/>
                  </a:lnTo>
                  <a:lnTo>
                    <a:pt x="1030" y="89"/>
                  </a:lnTo>
                  <a:lnTo>
                    <a:pt x="1032" y="89"/>
                  </a:lnTo>
                  <a:lnTo>
                    <a:pt x="1035" y="91"/>
                  </a:lnTo>
                  <a:lnTo>
                    <a:pt x="1040" y="94"/>
                  </a:lnTo>
                  <a:lnTo>
                    <a:pt x="1040" y="97"/>
                  </a:lnTo>
                  <a:lnTo>
                    <a:pt x="1040" y="97"/>
                  </a:lnTo>
                  <a:lnTo>
                    <a:pt x="1037" y="97"/>
                  </a:lnTo>
                  <a:lnTo>
                    <a:pt x="1037" y="97"/>
                  </a:lnTo>
                  <a:lnTo>
                    <a:pt x="1037" y="97"/>
                  </a:lnTo>
                  <a:lnTo>
                    <a:pt x="1037" y="94"/>
                  </a:lnTo>
                  <a:lnTo>
                    <a:pt x="1037" y="91"/>
                  </a:lnTo>
                  <a:lnTo>
                    <a:pt x="1035" y="91"/>
                  </a:lnTo>
                  <a:lnTo>
                    <a:pt x="1035" y="91"/>
                  </a:lnTo>
                  <a:lnTo>
                    <a:pt x="1032" y="91"/>
                  </a:lnTo>
                  <a:lnTo>
                    <a:pt x="1027" y="89"/>
                  </a:lnTo>
                  <a:lnTo>
                    <a:pt x="1024" y="89"/>
                  </a:lnTo>
                  <a:lnTo>
                    <a:pt x="1019" y="89"/>
                  </a:lnTo>
                  <a:lnTo>
                    <a:pt x="1019" y="89"/>
                  </a:lnTo>
                  <a:lnTo>
                    <a:pt x="1014" y="89"/>
                  </a:lnTo>
                  <a:lnTo>
                    <a:pt x="1014" y="91"/>
                  </a:lnTo>
                  <a:lnTo>
                    <a:pt x="1012" y="91"/>
                  </a:lnTo>
                  <a:lnTo>
                    <a:pt x="1012" y="91"/>
                  </a:lnTo>
                  <a:lnTo>
                    <a:pt x="1009" y="91"/>
                  </a:lnTo>
                  <a:lnTo>
                    <a:pt x="1009" y="91"/>
                  </a:lnTo>
                  <a:lnTo>
                    <a:pt x="1007" y="94"/>
                  </a:lnTo>
                  <a:lnTo>
                    <a:pt x="1004" y="91"/>
                  </a:lnTo>
                  <a:lnTo>
                    <a:pt x="1004" y="94"/>
                  </a:lnTo>
                  <a:lnTo>
                    <a:pt x="999" y="94"/>
                  </a:lnTo>
                  <a:lnTo>
                    <a:pt x="996" y="94"/>
                  </a:lnTo>
                  <a:lnTo>
                    <a:pt x="996" y="94"/>
                  </a:lnTo>
                  <a:lnTo>
                    <a:pt x="996" y="94"/>
                  </a:lnTo>
                  <a:lnTo>
                    <a:pt x="994" y="94"/>
                  </a:lnTo>
                  <a:lnTo>
                    <a:pt x="989" y="94"/>
                  </a:lnTo>
                  <a:lnTo>
                    <a:pt x="986" y="97"/>
                  </a:lnTo>
                  <a:lnTo>
                    <a:pt x="984" y="94"/>
                  </a:lnTo>
                  <a:lnTo>
                    <a:pt x="986" y="94"/>
                  </a:lnTo>
                  <a:lnTo>
                    <a:pt x="986" y="91"/>
                  </a:lnTo>
                  <a:lnTo>
                    <a:pt x="984" y="91"/>
                  </a:lnTo>
                  <a:lnTo>
                    <a:pt x="979" y="91"/>
                  </a:lnTo>
                  <a:lnTo>
                    <a:pt x="976" y="91"/>
                  </a:lnTo>
                  <a:lnTo>
                    <a:pt x="973" y="91"/>
                  </a:lnTo>
                  <a:lnTo>
                    <a:pt x="966" y="91"/>
                  </a:lnTo>
                  <a:lnTo>
                    <a:pt x="966" y="91"/>
                  </a:lnTo>
                  <a:lnTo>
                    <a:pt x="963" y="91"/>
                  </a:lnTo>
                  <a:lnTo>
                    <a:pt x="961" y="91"/>
                  </a:lnTo>
                  <a:lnTo>
                    <a:pt x="956" y="91"/>
                  </a:lnTo>
                  <a:lnTo>
                    <a:pt x="956" y="91"/>
                  </a:lnTo>
                  <a:lnTo>
                    <a:pt x="951" y="91"/>
                  </a:lnTo>
                  <a:lnTo>
                    <a:pt x="948" y="91"/>
                  </a:lnTo>
                  <a:lnTo>
                    <a:pt x="948" y="94"/>
                  </a:lnTo>
                  <a:lnTo>
                    <a:pt x="945" y="91"/>
                  </a:lnTo>
                  <a:lnTo>
                    <a:pt x="945" y="94"/>
                  </a:lnTo>
                  <a:lnTo>
                    <a:pt x="948" y="94"/>
                  </a:lnTo>
                  <a:lnTo>
                    <a:pt x="948" y="94"/>
                  </a:lnTo>
                  <a:lnTo>
                    <a:pt x="951" y="94"/>
                  </a:lnTo>
                  <a:lnTo>
                    <a:pt x="951" y="94"/>
                  </a:lnTo>
                  <a:lnTo>
                    <a:pt x="951" y="94"/>
                  </a:lnTo>
                  <a:lnTo>
                    <a:pt x="953" y="94"/>
                  </a:lnTo>
                  <a:lnTo>
                    <a:pt x="956" y="94"/>
                  </a:lnTo>
                  <a:lnTo>
                    <a:pt x="956" y="94"/>
                  </a:lnTo>
                  <a:lnTo>
                    <a:pt x="958" y="94"/>
                  </a:lnTo>
                  <a:lnTo>
                    <a:pt x="963" y="94"/>
                  </a:lnTo>
                  <a:lnTo>
                    <a:pt x="963" y="94"/>
                  </a:lnTo>
                  <a:lnTo>
                    <a:pt x="958" y="97"/>
                  </a:lnTo>
                  <a:lnTo>
                    <a:pt x="945" y="97"/>
                  </a:lnTo>
                  <a:lnTo>
                    <a:pt x="943" y="97"/>
                  </a:lnTo>
                  <a:lnTo>
                    <a:pt x="935" y="99"/>
                  </a:lnTo>
                  <a:lnTo>
                    <a:pt x="933" y="99"/>
                  </a:lnTo>
                  <a:lnTo>
                    <a:pt x="928" y="99"/>
                  </a:lnTo>
                  <a:lnTo>
                    <a:pt x="917" y="102"/>
                  </a:lnTo>
                  <a:lnTo>
                    <a:pt x="910" y="102"/>
                  </a:lnTo>
                  <a:lnTo>
                    <a:pt x="907" y="102"/>
                  </a:lnTo>
                  <a:lnTo>
                    <a:pt x="900" y="104"/>
                  </a:lnTo>
                  <a:lnTo>
                    <a:pt x="900" y="107"/>
                  </a:lnTo>
                  <a:lnTo>
                    <a:pt x="889" y="109"/>
                  </a:lnTo>
                  <a:lnTo>
                    <a:pt x="882" y="107"/>
                  </a:lnTo>
                  <a:lnTo>
                    <a:pt x="879" y="107"/>
                  </a:lnTo>
                  <a:lnTo>
                    <a:pt x="879" y="109"/>
                  </a:lnTo>
                  <a:lnTo>
                    <a:pt x="882" y="109"/>
                  </a:lnTo>
                  <a:lnTo>
                    <a:pt x="884" y="109"/>
                  </a:lnTo>
                  <a:lnTo>
                    <a:pt x="887" y="109"/>
                  </a:lnTo>
                  <a:lnTo>
                    <a:pt x="889" y="112"/>
                  </a:lnTo>
                  <a:lnTo>
                    <a:pt x="889" y="112"/>
                  </a:lnTo>
                  <a:lnTo>
                    <a:pt x="887" y="114"/>
                  </a:lnTo>
                  <a:lnTo>
                    <a:pt x="884" y="117"/>
                  </a:lnTo>
                  <a:lnTo>
                    <a:pt x="882" y="117"/>
                  </a:lnTo>
                  <a:lnTo>
                    <a:pt x="874" y="114"/>
                  </a:lnTo>
                  <a:lnTo>
                    <a:pt x="874" y="114"/>
                  </a:lnTo>
                  <a:lnTo>
                    <a:pt x="874" y="117"/>
                  </a:lnTo>
                  <a:lnTo>
                    <a:pt x="872" y="114"/>
                  </a:lnTo>
                  <a:lnTo>
                    <a:pt x="872" y="117"/>
                  </a:lnTo>
                  <a:lnTo>
                    <a:pt x="877" y="117"/>
                  </a:lnTo>
                  <a:lnTo>
                    <a:pt x="882" y="119"/>
                  </a:lnTo>
                  <a:lnTo>
                    <a:pt x="887" y="119"/>
                  </a:lnTo>
                  <a:lnTo>
                    <a:pt x="889" y="119"/>
                  </a:lnTo>
                  <a:lnTo>
                    <a:pt x="892" y="122"/>
                  </a:lnTo>
                  <a:lnTo>
                    <a:pt x="894" y="122"/>
                  </a:lnTo>
                  <a:lnTo>
                    <a:pt x="892" y="122"/>
                  </a:lnTo>
                  <a:lnTo>
                    <a:pt x="887" y="122"/>
                  </a:lnTo>
                  <a:lnTo>
                    <a:pt x="884" y="122"/>
                  </a:lnTo>
                  <a:lnTo>
                    <a:pt x="882" y="119"/>
                  </a:lnTo>
                  <a:lnTo>
                    <a:pt x="879" y="122"/>
                  </a:lnTo>
                  <a:lnTo>
                    <a:pt x="879" y="122"/>
                  </a:lnTo>
                  <a:lnTo>
                    <a:pt x="882" y="125"/>
                  </a:lnTo>
                  <a:lnTo>
                    <a:pt x="887" y="125"/>
                  </a:lnTo>
                  <a:lnTo>
                    <a:pt x="889" y="125"/>
                  </a:lnTo>
                  <a:lnTo>
                    <a:pt x="902" y="132"/>
                  </a:lnTo>
                  <a:lnTo>
                    <a:pt x="905" y="132"/>
                  </a:lnTo>
                  <a:lnTo>
                    <a:pt x="907" y="132"/>
                  </a:lnTo>
                  <a:lnTo>
                    <a:pt x="907" y="132"/>
                  </a:lnTo>
                  <a:lnTo>
                    <a:pt x="907" y="132"/>
                  </a:lnTo>
                  <a:lnTo>
                    <a:pt x="905" y="135"/>
                  </a:lnTo>
                  <a:lnTo>
                    <a:pt x="905" y="135"/>
                  </a:lnTo>
                  <a:lnTo>
                    <a:pt x="894" y="137"/>
                  </a:lnTo>
                  <a:lnTo>
                    <a:pt x="892" y="137"/>
                  </a:lnTo>
                  <a:lnTo>
                    <a:pt x="892" y="137"/>
                  </a:lnTo>
                  <a:lnTo>
                    <a:pt x="892" y="137"/>
                  </a:lnTo>
                  <a:lnTo>
                    <a:pt x="889" y="140"/>
                  </a:lnTo>
                  <a:lnTo>
                    <a:pt x="892" y="140"/>
                  </a:lnTo>
                  <a:lnTo>
                    <a:pt x="892" y="140"/>
                  </a:lnTo>
                  <a:lnTo>
                    <a:pt x="894" y="142"/>
                  </a:lnTo>
                  <a:lnTo>
                    <a:pt x="905" y="145"/>
                  </a:lnTo>
                  <a:lnTo>
                    <a:pt x="905" y="145"/>
                  </a:lnTo>
                  <a:lnTo>
                    <a:pt x="902" y="145"/>
                  </a:lnTo>
                  <a:lnTo>
                    <a:pt x="900" y="142"/>
                  </a:lnTo>
                  <a:lnTo>
                    <a:pt x="894" y="142"/>
                  </a:lnTo>
                  <a:lnTo>
                    <a:pt x="892" y="140"/>
                  </a:lnTo>
                  <a:lnTo>
                    <a:pt x="889" y="140"/>
                  </a:lnTo>
                  <a:lnTo>
                    <a:pt x="889" y="140"/>
                  </a:lnTo>
                  <a:lnTo>
                    <a:pt x="889" y="137"/>
                  </a:lnTo>
                  <a:lnTo>
                    <a:pt x="889" y="137"/>
                  </a:lnTo>
                  <a:lnTo>
                    <a:pt x="892" y="137"/>
                  </a:lnTo>
                  <a:lnTo>
                    <a:pt x="894" y="135"/>
                  </a:lnTo>
                  <a:lnTo>
                    <a:pt x="897" y="135"/>
                  </a:lnTo>
                  <a:lnTo>
                    <a:pt x="900" y="132"/>
                  </a:lnTo>
                  <a:lnTo>
                    <a:pt x="900" y="132"/>
                  </a:lnTo>
                  <a:lnTo>
                    <a:pt x="897" y="130"/>
                  </a:lnTo>
                  <a:lnTo>
                    <a:pt x="894" y="130"/>
                  </a:lnTo>
                  <a:lnTo>
                    <a:pt x="884" y="132"/>
                  </a:lnTo>
                  <a:lnTo>
                    <a:pt x="882" y="132"/>
                  </a:lnTo>
                  <a:lnTo>
                    <a:pt x="879" y="135"/>
                  </a:lnTo>
                  <a:lnTo>
                    <a:pt x="877" y="135"/>
                  </a:lnTo>
                  <a:lnTo>
                    <a:pt x="874" y="135"/>
                  </a:lnTo>
                  <a:lnTo>
                    <a:pt x="869" y="132"/>
                  </a:lnTo>
                  <a:lnTo>
                    <a:pt x="866" y="135"/>
                  </a:lnTo>
                  <a:lnTo>
                    <a:pt x="856" y="135"/>
                  </a:lnTo>
                  <a:lnTo>
                    <a:pt x="854" y="135"/>
                  </a:lnTo>
                  <a:lnTo>
                    <a:pt x="831" y="135"/>
                  </a:lnTo>
                  <a:lnTo>
                    <a:pt x="826" y="135"/>
                  </a:lnTo>
                  <a:lnTo>
                    <a:pt x="815" y="137"/>
                  </a:lnTo>
                  <a:lnTo>
                    <a:pt x="815" y="137"/>
                  </a:lnTo>
                  <a:lnTo>
                    <a:pt x="815" y="137"/>
                  </a:lnTo>
                  <a:lnTo>
                    <a:pt x="815" y="140"/>
                  </a:lnTo>
                  <a:lnTo>
                    <a:pt x="815" y="140"/>
                  </a:lnTo>
                  <a:lnTo>
                    <a:pt x="815" y="142"/>
                  </a:lnTo>
                  <a:lnTo>
                    <a:pt x="818" y="142"/>
                  </a:lnTo>
                  <a:lnTo>
                    <a:pt x="818" y="145"/>
                  </a:lnTo>
                  <a:lnTo>
                    <a:pt x="821" y="145"/>
                  </a:lnTo>
                  <a:lnTo>
                    <a:pt x="823" y="145"/>
                  </a:lnTo>
                  <a:lnTo>
                    <a:pt x="826" y="147"/>
                  </a:lnTo>
                  <a:lnTo>
                    <a:pt x="826" y="147"/>
                  </a:lnTo>
                  <a:lnTo>
                    <a:pt x="826" y="150"/>
                  </a:lnTo>
                  <a:lnTo>
                    <a:pt x="826" y="150"/>
                  </a:lnTo>
                  <a:lnTo>
                    <a:pt x="828" y="153"/>
                  </a:lnTo>
                  <a:lnTo>
                    <a:pt x="828" y="153"/>
                  </a:lnTo>
                  <a:lnTo>
                    <a:pt x="831" y="155"/>
                  </a:lnTo>
                  <a:lnTo>
                    <a:pt x="833" y="155"/>
                  </a:lnTo>
                  <a:lnTo>
                    <a:pt x="838" y="158"/>
                  </a:lnTo>
                  <a:lnTo>
                    <a:pt x="841" y="158"/>
                  </a:lnTo>
                  <a:lnTo>
                    <a:pt x="843" y="158"/>
                  </a:lnTo>
                  <a:lnTo>
                    <a:pt x="849" y="160"/>
                  </a:lnTo>
                  <a:lnTo>
                    <a:pt x="854" y="160"/>
                  </a:lnTo>
                  <a:lnTo>
                    <a:pt x="854" y="160"/>
                  </a:lnTo>
                  <a:lnTo>
                    <a:pt x="856" y="160"/>
                  </a:lnTo>
                  <a:lnTo>
                    <a:pt x="859" y="163"/>
                  </a:lnTo>
                  <a:lnTo>
                    <a:pt x="859" y="163"/>
                  </a:lnTo>
                  <a:lnTo>
                    <a:pt x="864" y="168"/>
                  </a:lnTo>
                  <a:lnTo>
                    <a:pt x="866" y="168"/>
                  </a:lnTo>
                  <a:lnTo>
                    <a:pt x="874" y="168"/>
                  </a:lnTo>
                  <a:lnTo>
                    <a:pt x="877" y="168"/>
                  </a:lnTo>
                  <a:lnTo>
                    <a:pt x="882" y="170"/>
                  </a:lnTo>
                  <a:lnTo>
                    <a:pt x="882" y="173"/>
                  </a:lnTo>
                  <a:lnTo>
                    <a:pt x="882" y="173"/>
                  </a:lnTo>
                  <a:lnTo>
                    <a:pt x="882" y="173"/>
                  </a:lnTo>
                  <a:lnTo>
                    <a:pt x="882" y="175"/>
                  </a:lnTo>
                  <a:lnTo>
                    <a:pt x="882" y="175"/>
                  </a:lnTo>
                  <a:lnTo>
                    <a:pt x="882" y="178"/>
                  </a:lnTo>
                  <a:lnTo>
                    <a:pt x="882" y="183"/>
                  </a:lnTo>
                  <a:lnTo>
                    <a:pt x="887" y="183"/>
                  </a:lnTo>
                  <a:lnTo>
                    <a:pt x="892" y="188"/>
                  </a:lnTo>
                  <a:lnTo>
                    <a:pt x="894" y="191"/>
                  </a:lnTo>
                  <a:lnTo>
                    <a:pt x="897" y="193"/>
                  </a:lnTo>
                  <a:lnTo>
                    <a:pt x="900" y="193"/>
                  </a:lnTo>
                  <a:lnTo>
                    <a:pt x="900" y="196"/>
                  </a:lnTo>
                  <a:lnTo>
                    <a:pt x="897" y="196"/>
                  </a:lnTo>
                  <a:lnTo>
                    <a:pt x="894" y="196"/>
                  </a:lnTo>
                  <a:lnTo>
                    <a:pt x="892" y="198"/>
                  </a:lnTo>
                  <a:lnTo>
                    <a:pt x="892" y="198"/>
                  </a:lnTo>
                  <a:lnTo>
                    <a:pt x="894" y="201"/>
                  </a:lnTo>
                  <a:lnTo>
                    <a:pt x="894" y="201"/>
                  </a:lnTo>
                  <a:lnTo>
                    <a:pt x="894" y="201"/>
                  </a:lnTo>
                  <a:lnTo>
                    <a:pt x="892" y="201"/>
                  </a:lnTo>
                  <a:lnTo>
                    <a:pt x="892" y="201"/>
                  </a:lnTo>
                  <a:lnTo>
                    <a:pt x="889" y="201"/>
                  </a:lnTo>
                  <a:lnTo>
                    <a:pt x="887" y="198"/>
                  </a:lnTo>
                  <a:lnTo>
                    <a:pt x="887" y="198"/>
                  </a:lnTo>
                  <a:lnTo>
                    <a:pt x="887" y="196"/>
                  </a:lnTo>
                  <a:lnTo>
                    <a:pt x="887" y="191"/>
                  </a:lnTo>
                  <a:lnTo>
                    <a:pt x="887" y="191"/>
                  </a:lnTo>
                  <a:lnTo>
                    <a:pt x="884" y="188"/>
                  </a:lnTo>
                  <a:lnTo>
                    <a:pt x="884" y="186"/>
                  </a:lnTo>
                  <a:lnTo>
                    <a:pt x="879" y="186"/>
                  </a:lnTo>
                  <a:lnTo>
                    <a:pt x="879" y="186"/>
                  </a:lnTo>
                  <a:lnTo>
                    <a:pt x="877" y="186"/>
                  </a:lnTo>
                  <a:lnTo>
                    <a:pt x="877" y="191"/>
                  </a:lnTo>
                  <a:lnTo>
                    <a:pt x="877" y="193"/>
                  </a:lnTo>
                  <a:lnTo>
                    <a:pt x="877" y="193"/>
                  </a:lnTo>
                  <a:lnTo>
                    <a:pt x="877" y="193"/>
                  </a:lnTo>
                  <a:lnTo>
                    <a:pt x="879" y="196"/>
                  </a:lnTo>
                  <a:lnTo>
                    <a:pt x="877" y="193"/>
                  </a:lnTo>
                  <a:lnTo>
                    <a:pt x="874" y="191"/>
                  </a:lnTo>
                  <a:lnTo>
                    <a:pt x="874" y="188"/>
                  </a:lnTo>
                  <a:lnTo>
                    <a:pt x="874" y="188"/>
                  </a:lnTo>
                  <a:lnTo>
                    <a:pt x="874" y="186"/>
                  </a:lnTo>
                  <a:lnTo>
                    <a:pt x="872" y="183"/>
                  </a:lnTo>
                  <a:lnTo>
                    <a:pt x="872" y="183"/>
                  </a:lnTo>
                  <a:lnTo>
                    <a:pt x="872" y="183"/>
                  </a:lnTo>
                  <a:lnTo>
                    <a:pt x="869" y="178"/>
                  </a:lnTo>
                  <a:lnTo>
                    <a:pt x="872" y="178"/>
                  </a:lnTo>
                  <a:lnTo>
                    <a:pt x="874" y="175"/>
                  </a:lnTo>
                  <a:lnTo>
                    <a:pt x="877" y="175"/>
                  </a:lnTo>
                  <a:lnTo>
                    <a:pt x="877" y="173"/>
                  </a:lnTo>
                  <a:lnTo>
                    <a:pt x="877" y="173"/>
                  </a:lnTo>
                  <a:lnTo>
                    <a:pt x="877" y="170"/>
                  </a:lnTo>
                  <a:lnTo>
                    <a:pt x="874" y="170"/>
                  </a:lnTo>
                  <a:lnTo>
                    <a:pt x="872" y="170"/>
                  </a:lnTo>
                  <a:lnTo>
                    <a:pt x="869" y="170"/>
                  </a:lnTo>
                  <a:lnTo>
                    <a:pt x="866" y="170"/>
                  </a:lnTo>
                  <a:lnTo>
                    <a:pt x="859" y="170"/>
                  </a:lnTo>
                  <a:lnTo>
                    <a:pt x="854" y="170"/>
                  </a:lnTo>
                  <a:lnTo>
                    <a:pt x="851" y="170"/>
                  </a:lnTo>
                  <a:lnTo>
                    <a:pt x="838" y="165"/>
                  </a:lnTo>
                  <a:lnTo>
                    <a:pt x="838" y="165"/>
                  </a:lnTo>
                  <a:lnTo>
                    <a:pt x="836" y="163"/>
                  </a:lnTo>
                  <a:lnTo>
                    <a:pt x="836" y="163"/>
                  </a:lnTo>
                  <a:lnTo>
                    <a:pt x="831" y="163"/>
                  </a:lnTo>
                  <a:lnTo>
                    <a:pt x="823" y="160"/>
                  </a:lnTo>
                  <a:lnTo>
                    <a:pt x="813" y="158"/>
                  </a:lnTo>
                  <a:lnTo>
                    <a:pt x="800" y="158"/>
                  </a:lnTo>
                  <a:lnTo>
                    <a:pt x="798" y="158"/>
                  </a:lnTo>
                  <a:lnTo>
                    <a:pt x="795" y="160"/>
                  </a:lnTo>
                  <a:lnTo>
                    <a:pt x="793" y="160"/>
                  </a:lnTo>
                  <a:lnTo>
                    <a:pt x="790" y="163"/>
                  </a:lnTo>
                  <a:lnTo>
                    <a:pt x="790" y="163"/>
                  </a:lnTo>
                  <a:lnTo>
                    <a:pt x="790" y="163"/>
                  </a:lnTo>
                  <a:lnTo>
                    <a:pt x="790" y="163"/>
                  </a:lnTo>
                  <a:lnTo>
                    <a:pt x="790" y="163"/>
                  </a:lnTo>
                  <a:lnTo>
                    <a:pt x="795" y="163"/>
                  </a:lnTo>
                  <a:lnTo>
                    <a:pt x="798" y="163"/>
                  </a:lnTo>
                  <a:lnTo>
                    <a:pt x="800" y="165"/>
                  </a:lnTo>
                  <a:lnTo>
                    <a:pt x="803" y="165"/>
                  </a:lnTo>
                  <a:lnTo>
                    <a:pt x="803" y="168"/>
                  </a:lnTo>
                  <a:lnTo>
                    <a:pt x="798" y="168"/>
                  </a:lnTo>
                  <a:lnTo>
                    <a:pt x="795" y="168"/>
                  </a:lnTo>
                  <a:lnTo>
                    <a:pt x="785" y="165"/>
                  </a:lnTo>
                  <a:lnTo>
                    <a:pt x="782" y="165"/>
                  </a:lnTo>
                  <a:lnTo>
                    <a:pt x="777" y="165"/>
                  </a:lnTo>
                  <a:lnTo>
                    <a:pt x="772" y="168"/>
                  </a:lnTo>
                  <a:lnTo>
                    <a:pt x="772" y="168"/>
                  </a:lnTo>
                  <a:lnTo>
                    <a:pt x="775" y="168"/>
                  </a:lnTo>
                  <a:lnTo>
                    <a:pt x="777" y="170"/>
                  </a:lnTo>
                  <a:lnTo>
                    <a:pt x="780" y="173"/>
                  </a:lnTo>
                  <a:lnTo>
                    <a:pt x="782" y="173"/>
                  </a:lnTo>
                  <a:lnTo>
                    <a:pt x="790" y="175"/>
                  </a:lnTo>
                  <a:lnTo>
                    <a:pt x="793" y="175"/>
                  </a:lnTo>
                  <a:lnTo>
                    <a:pt x="800" y="178"/>
                  </a:lnTo>
                  <a:lnTo>
                    <a:pt x="803" y="178"/>
                  </a:lnTo>
                  <a:lnTo>
                    <a:pt x="805" y="178"/>
                  </a:lnTo>
                  <a:lnTo>
                    <a:pt x="810" y="178"/>
                  </a:lnTo>
                  <a:lnTo>
                    <a:pt x="815" y="183"/>
                  </a:lnTo>
                  <a:lnTo>
                    <a:pt x="818" y="183"/>
                  </a:lnTo>
                  <a:lnTo>
                    <a:pt x="818" y="183"/>
                  </a:lnTo>
                  <a:lnTo>
                    <a:pt x="821" y="183"/>
                  </a:lnTo>
                  <a:lnTo>
                    <a:pt x="823" y="183"/>
                  </a:lnTo>
                  <a:lnTo>
                    <a:pt x="823" y="183"/>
                  </a:lnTo>
                  <a:lnTo>
                    <a:pt x="826" y="183"/>
                  </a:lnTo>
                  <a:lnTo>
                    <a:pt x="826" y="186"/>
                  </a:lnTo>
                  <a:lnTo>
                    <a:pt x="826" y="186"/>
                  </a:lnTo>
                  <a:lnTo>
                    <a:pt x="818" y="186"/>
                  </a:lnTo>
                  <a:lnTo>
                    <a:pt x="815" y="186"/>
                  </a:lnTo>
                  <a:lnTo>
                    <a:pt x="810" y="183"/>
                  </a:lnTo>
                  <a:lnTo>
                    <a:pt x="803" y="181"/>
                  </a:lnTo>
                  <a:lnTo>
                    <a:pt x="795" y="181"/>
                  </a:lnTo>
                  <a:lnTo>
                    <a:pt x="793" y="181"/>
                  </a:lnTo>
                  <a:lnTo>
                    <a:pt x="790" y="181"/>
                  </a:lnTo>
                  <a:lnTo>
                    <a:pt x="780" y="181"/>
                  </a:lnTo>
                  <a:lnTo>
                    <a:pt x="775" y="178"/>
                  </a:lnTo>
                  <a:lnTo>
                    <a:pt x="770" y="178"/>
                  </a:lnTo>
                  <a:lnTo>
                    <a:pt x="767" y="178"/>
                  </a:lnTo>
                  <a:lnTo>
                    <a:pt x="767" y="175"/>
                  </a:lnTo>
                  <a:lnTo>
                    <a:pt x="767" y="175"/>
                  </a:lnTo>
                  <a:lnTo>
                    <a:pt x="767" y="173"/>
                  </a:lnTo>
                  <a:lnTo>
                    <a:pt x="767" y="170"/>
                  </a:lnTo>
                  <a:lnTo>
                    <a:pt x="762" y="168"/>
                  </a:lnTo>
                  <a:lnTo>
                    <a:pt x="759" y="165"/>
                  </a:lnTo>
                  <a:lnTo>
                    <a:pt x="762" y="165"/>
                  </a:lnTo>
                  <a:lnTo>
                    <a:pt x="762" y="163"/>
                  </a:lnTo>
                  <a:lnTo>
                    <a:pt x="762" y="160"/>
                  </a:lnTo>
                  <a:lnTo>
                    <a:pt x="762" y="160"/>
                  </a:lnTo>
                  <a:lnTo>
                    <a:pt x="764" y="160"/>
                  </a:lnTo>
                  <a:lnTo>
                    <a:pt x="762" y="158"/>
                  </a:lnTo>
                  <a:lnTo>
                    <a:pt x="762" y="158"/>
                  </a:lnTo>
                  <a:lnTo>
                    <a:pt x="759" y="158"/>
                  </a:lnTo>
                  <a:lnTo>
                    <a:pt x="759" y="155"/>
                  </a:lnTo>
                  <a:lnTo>
                    <a:pt x="757" y="155"/>
                  </a:lnTo>
                  <a:lnTo>
                    <a:pt x="754" y="153"/>
                  </a:lnTo>
                  <a:lnTo>
                    <a:pt x="752" y="150"/>
                  </a:lnTo>
                  <a:lnTo>
                    <a:pt x="749" y="150"/>
                  </a:lnTo>
                  <a:lnTo>
                    <a:pt x="747" y="150"/>
                  </a:lnTo>
                  <a:lnTo>
                    <a:pt x="744" y="150"/>
                  </a:lnTo>
                  <a:lnTo>
                    <a:pt x="744" y="150"/>
                  </a:lnTo>
                  <a:lnTo>
                    <a:pt x="747" y="153"/>
                  </a:lnTo>
                  <a:lnTo>
                    <a:pt x="749" y="153"/>
                  </a:lnTo>
                  <a:lnTo>
                    <a:pt x="752" y="155"/>
                  </a:lnTo>
                  <a:lnTo>
                    <a:pt x="752" y="158"/>
                  </a:lnTo>
                  <a:lnTo>
                    <a:pt x="754" y="160"/>
                  </a:lnTo>
                  <a:lnTo>
                    <a:pt x="754" y="163"/>
                  </a:lnTo>
                  <a:lnTo>
                    <a:pt x="754" y="163"/>
                  </a:lnTo>
                  <a:lnTo>
                    <a:pt x="752" y="163"/>
                  </a:lnTo>
                  <a:lnTo>
                    <a:pt x="749" y="165"/>
                  </a:lnTo>
                  <a:lnTo>
                    <a:pt x="747" y="165"/>
                  </a:lnTo>
                  <a:lnTo>
                    <a:pt x="742" y="168"/>
                  </a:lnTo>
                  <a:lnTo>
                    <a:pt x="739" y="168"/>
                  </a:lnTo>
                  <a:lnTo>
                    <a:pt x="736" y="175"/>
                  </a:lnTo>
                  <a:lnTo>
                    <a:pt x="736" y="175"/>
                  </a:lnTo>
                  <a:lnTo>
                    <a:pt x="742" y="178"/>
                  </a:lnTo>
                  <a:lnTo>
                    <a:pt x="744" y="178"/>
                  </a:lnTo>
                  <a:lnTo>
                    <a:pt x="744" y="181"/>
                  </a:lnTo>
                  <a:lnTo>
                    <a:pt x="749" y="183"/>
                  </a:lnTo>
                  <a:lnTo>
                    <a:pt x="762" y="191"/>
                  </a:lnTo>
                  <a:lnTo>
                    <a:pt x="762" y="191"/>
                  </a:lnTo>
                  <a:lnTo>
                    <a:pt x="762" y="193"/>
                  </a:lnTo>
                  <a:lnTo>
                    <a:pt x="759" y="198"/>
                  </a:lnTo>
                  <a:lnTo>
                    <a:pt x="759" y="198"/>
                  </a:lnTo>
                  <a:lnTo>
                    <a:pt x="759" y="206"/>
                  </a:lnTo>
                  <a:lnTo>
                    <a:pt x="762" y="209"/>
                  </a:lnTo>
                  <a:lnTo>
                    <a:pt x="764" y="211"/>
                  </a:lnTo>
                  <a:lnTo>
                    <a:pt x="767" y="211"/>
                  </a:lnTo>
                  <a:lnTo>
                    <a:pt x="770" y="214"/>
                  </a:lnTo>
                  <a:lnTo>
                    <a:pt x="770" y="219"/>
                  </a:lnTo>
                  <a:lnTo>
                    <a:pt x="772" y="219"/>
                  </a:lnTo>
                  <a:lnTo>
                    <a:pt x="772" y="219"/>
                  </a:lnTo>
                  <a:lnTo>
                    <a:pt x="780" y="219"/>
                  </a:lnTo>
                  <a:lnTo>
                    <a:pt x="785" y="219"/>
                  </a:lnTo>
                  <a:lnTo>
                    <a:pt x="790" y="219"/>
                  </a:lnTo>
                  <a:lnTo>
                    <a:pt x="793" y="216"/>
                  </a:lnTo>
                  <a:lnTo>
                    <a:pt x="795" y="216"/>
                  </a:lnTo>
                  <a:lnTo>
                    <a:pt x="803" y="216"/>
                  </a:lnTo>
                  <a:lnTo>
                    <a:pt x="813" y="219"/>
                  </a:lnTo>
                  <a:lnTo>
                    <a:pt x="823" y="221"/>
                  </a:lnTo>
                  <a:lnTo>
                    <a:pt x="826" y="224"/>
                  </a:lnTo>
                  <a:lnTo>
                    <a:pt x="828" y="224"/>
                  </a:lnTo>
                  <a:lnTo>
                    <a:pt x="833" y="229"/>
                  </a:lnTo>
                  <a:lnTo>
                    <a:pt x="838" y="231"/>
                  </a:lnTo>
                  <a:lnTo>
                    <a:pt x="841" y="234"/>
                  </a:lnTo>
                  <a:lnTo>
                    <a:pt x="841" y="237"/>
                  </a:lnTo>
                  <a:lnTo>
                    <a:pt x="841" y="237"/>
                  </a:lnTo>
                  <a:lnTo>
                    <a:pt x="838" y="237"/>
                  </a:lnTo>
                  <a:lnTo>
                    <a:pt x="838" y="237"/>
                  </a:lnTo>
                  <a:lnTo>
                    <a:pt x="838" y="242"/>
                  </a:lnTo>
                  <a:lnTo>
                    <a:pt x="838" y="242"/>
                  </a:lnTo>
                  <a:lnTo>
                    <a:pt x="841" y="247"/>
                  </a:lnTo>
                  <a:lnTo>
                    <a:pt x="851" y="247"/>
                  </a:lnTo>
                  <a:lnTo>
                    <a:pt x="856" y="249"/>
                  </a:lnTo>
                  <a:lnTo>
                    <a:pt x="861" y="249"/>
                  </a:lnTo>
                  <a:lnTo>
                    <a:pt x="861" y="249"/>
                  </a:lnTo>
                  <a:lnTo>
                    <a:pt x="864" y="249"/>
                  </a:lnTo>
                  <a:lnTo>
                    <a:pt x="859" y="249"/>
                  </a:lnTo>
                  <a:lnTo>
                    <a:pt x="849" y="249"/>
                  </a:lnTo>
                  <a:lnTo>
                    <a:pt x="846" y="249"/>
                  </a:lnTo>
                  <a:lnTo>
                    <a:pt x="843" y="249"/>
                  </a:lnTo>
                  <a:lnTo>
                    <a:pt x="843" y="247"/>
                  </a:lnTo>
                  <a:lnTo>
                    <a:pt x="838" y="247"/>
                  </a:lnTo>
                  <a:lnTo>
                    <a:pt x="838" y="247"/>
                  </a:lnTo>
                  <a:lnTo>
                    <a:pt x="836" y="244"/>
                  </a:lnTo>
                  <a:lnTo>
                    <a:pt x="833" y="242"/>
                  </a:lnTo>
                  <a:lnTo>
                    <a:pt x="831" y="234"/>
                  </a:lnTo>
                  <a:lnTo>
                    <a:pt x="828" y="231"/>
                  </a:lnTo>
                  <a:lnTo>
                    <a:pt x="826" y="229"/>
                  </a:lnTo>
                  <a:lnTo>
                    <a:pt x="818" y="226"/>
                  </a:lnTo>
                  <a:lnTo>
                    <a:pt x="813" y="224"/>
                  </a:lnTo>
                  <a:lnTo>
                    <a:pt x="810" y="221"/>
                  </a:lnTo>
                  <a:lnTo>
                    <a:pt x="808" y="221"/>
                  </a:lnTo>
                  <a:lnTo>
                    <a:pt x="805" y="221"/>
                  </a:lnTo>
                  <a:lnTo>
                    <a:pt x="800" y="224"/>
                  </a:lnTo>
                  <a:lnTo>
                    <a:pt x="793" y="224"/>
                  </a:lnTo>
                  <a:lnTo>
                    <a:pt x="785" y="226"/>
                  </a:lnTo>
                  <a:lnTo>
                    <a:pt x="785" y="229"/>
                  </a:lnTo>
                  <a:lnTo>
                    <a:pt x="787" y="234"/>
                  </a:lnTo>
                  <a:lnTo>
                    <a:pt x="790" y="234"/>
                  </a:lnTo>
                  <a:lnTo>
                    <a:pt x="793" y="237"/>
                  </a:lnTo>
                  <a:lnTo>
                    <a:pt x="795" y="239"/>
                  </a:lnTo>
                  <a:lnTo>
                    <a:pt x="798" y="242"/>
                  </a:lnTo>
                  <a:lnTo>
                    <a:pt x="798" y="244"/>
                  </a:lnTo>
                  <a:lnTo>
                    <a:pt x="800" y="247"/>
                  </a:lnTo>
                  <a:lnTo>
                    <a:pt x="798" y="247"/>
                  </a:lnTo>
                  <a:lnTo>
                    <a:pt x="793" y="252"/>
                  </a:lnTo>
                  <a:lnTo>
                    <a:pt x="793" y="254"/>
                  </a:lnTo>
                  <a:lnTo>
                    <a:pt x="793" y="259"/>
                  </a:lnTo>
                  <a:lnTo>
                    <a:pt x="793" y="259"/>
                  </a:lnTo>
                  <a:lnTo>
                    <a:pt x="790" y="262"/>
                  </a:lnTo>
                  <a:lnTo>
                    <a:pt x="787" y="265"/>
                  </a:lnTo>
                  <a:lnTo>
                    <a:pt x="777" y="270"/>
                  </a:lnTo>
                  <a:lnTo>
                    <a:pt x="777" y="270"/>
                  </a:lnTo>
                  <a:lnTo>
                    <a:pt x="777" y="275"/>
                  </a:lnTo>
                  <a:lnTo>
                    <a:pt x="775" y="275"/>
                  </a:lnTo>
                  <a:lnTo>
                    <a:pt x="772" y="275"/>
                  </a:lnTo>
                  <a:lnTo>
                    <a:pt x="767" y="275"/>
                  </a:lnTo>
                  <a:lnTo>
                    <a:pt x="762" y="272"/>
                  </a:lnTo>
                  <a:lnTo>
                    <a:pt x="759" y="272"/>
                  </a:lnTo>
                  <a:lnTo>
                    <a:pt x="747" y="275"/>
                  </a:lnTo>
                  <a:lnTo>
                    <a:pt x="742" y="272"/>
                  </a:lnTo>
                  <a:lnTo>
                    <a:pt x="736" y="270"/>
                  </a:lnTo>
                  <a:lnTo>
                    <a:pt x="731" y="270"/>
                  </a:lnTo>
                  <a:lnTo>
                    <a:pt x="729" y="270"/>
                  </a:lnTo>
                  <a:lnTo>
                    <a:pt x="726" y="267"/>
                  </a:lnTo>
                  <a:lnTo>
                    <a:pt x="726" y="267"/>
                  </a:lnTo>
                  <a:lnTo>
                    <a:pt x="724" y="265"/>
                  </a:lnTo>
                  <a:lnTo>
                    <a:pt x="724" y="265"/>
                  </a:lnTo>
                  <a:lnTo>
                    <a:pt x="724" y="265"/>
                  </a:lnTo>
                  <a:lnTo>
                    <a:pt x="726" y="265"/>
                  </a:lnTo>
                  <a:lnTo>
                    <a:pt x="734" y="265"/>
                  </a:lnTo>
                  <a:lnTo>
                    <a:pt x="736" y="265"/>
                  </a:lnTo>
                  <a:lnTo>
                    <a:pt x="736" y="265"/>
                  </a:lnTo>
                  <a:lnTo>
                    <a:pt x="739" y="265"/>
                  </a:lnTo>
                  <a:lnTo>
                    <a:pt x="744" y="267"/>
                  </a:lnTo>
                  <a:lnTo>
                    <a:pt x="747" y="267"/>
                  </a:lnTo>
                  <a:lnTo>
                    <a:pt x="747" y="265"/>
                  </a:lnTo>
                  <a:lnTo>
                    <a:pt x="747" y="265"/>
                  </a:lnTo>
                  <a:lnTo>
                    <a:pt x="749" y="265"/>
                  </a:lnTo>
                  <a:lnTo>
                    <a:pt x="747" y="267"/>
                  </a:lnTo>
                  <a:lnTo>
                    <a:pt x="747" y="267"/>
                  </a:lnTo>
                  <a:lnTo>
                    <a:pt x="747" y="267"/>
                  </a:lnTo>
                  <a:lnTo>
                    <a:pt x="747" y="267"/>
                  </a:lnTo>
                  <a:lnTo>
                    <a:pt x="749" y="270"/>
                  </a:lnTo>
                  <a:lnTo>
                    <a:pt x="752" y="270"/>
                  </a:lnTo>
                  <a:lnTo>
                    <a:pt x="754" y="270"/>
                  </a:lnTo>
                  <a:lnTo>
                    <a:pt x="757" y="267"/>
                  </a:lnTo>
                  <a:lnTo>
                    <a:pt x="759" y="267"/>
                  </a:lnTo>
                  <a:lnTo>
                    <a:pt x="762" y="267"/>
                  </a:lnTo>
                  <a:lnTo>
                    <a:pt x="762" y="265"/>
                  </a:lnTo>
                  <a:lnTo>
                    <a:pt x="759" y="262"/>
                  </a:lnTo>
                  <a:lnTo>
                    <a:pt x="757" y="262"/>
                  </a:lnTo>
                  <a:lnTo>
                    <a:pt x="762" y="262"/>
                  </a:lnTo>
                  <a:lnTo>
                    <a:pt x="764" y="259"/>
                  </a:lnTo>
                  <a:lnTo>
                    <a:pt x="770" y="249"/>
                  </a:lnTo>
                  <a:lnTo>
                    <a:pt x="772" y="247"/>
                  </a:lnTo>
                  <a:lnTo>
                    <a:pt x="775" y="247"/>
                  </a:lnTo>
                  <a:lnTo>
                    <a:pt x="775" y="244"/>
                  </a:lnTo>
                  <a:lnTo>
                    <a:pt x="775" y="242"/>
                  </a:lnTo>
                  <a:lnTo>
                    <a:pt x="772" y="239"/>
                  </a:lnTo>
                  <a:lnTo>
                    <a:pt x="770" y="237"/>
                  </a:lnTo>
                  <a:lnTo>
                    <a:pt x="772" y="237"/>
                  </a:lnTo>
                  <a:lnTo>
                    <a:pt x="772" y="231"/>
                  </a:lnTo>
                  <a:lnTo>
                    <a:pt x="775" y="231"/>
                  </a:lnTo>
                  <a:lnTo>
                    <a:pt x="775" y="231"/>
                  </a:lnTo>
                  <a:lnTo>
                    <a:pt x="772" y="229"/>
                  </a:lnTo>
                  <a:lnTo>
                    <a:pt x="767" y="226"/>
                  </a:lnTo>
                  <a:lnTo>
                    <a:pt x="759" y="226"/>
                  </a:lnTo>
                  <a:lnTo>
                    <a:pt x="757" y="224"/>
                  </a:lnTo>
                  <a:lnTo>
                    <a:pt x="754" y="221"/>
                  </a:lnTo>
                  <a:lnTo>
                    <a:pt x="752" y="221"/>
                  </a:lnTo>
                  <a:lnTo>
                    <a:pt x="752" y="219"/>
                  </a:lnTo>
                  <a:lnTo>
                    <a:pt x="749" y="214"/>
                  </a:lnTo>
                  <a:lnTo>
                    <a:pt x="749" y="214"/>
                  </a:lnTo>
                  <a:lnTo>
                    <a:pt x="747" y="206"/>
                  </a:lnTo>
                  <a:lnTo>
                    <a:pt x="742" y="198"/>
                  </a:lnTo>
                  <a:lnTo>
                    <a:pt x="739" y="198"/>
                  </a:lnTo>
                  <a:lnTo>
                    <a:pt x="739" y="196"/>
                  </a:lnTo>
                  <a:lnTo>
                    <a:pt x="742" y="196"/>
                  </a:lnTo>
                  <a:lnTo>
                    <a:pt x="742" y="193"/>
                  </a:lnTo>
                  <a:lnTo>
                    <a:pt x="736" y="188"/>
                  </a:lnTo>
                  <a:lnTo>
                    <a:pt x="734" y="186"/>
                  </a:lnTo>
                  <a:lnTo>
                    <a:pt x="731" y="181"/>
                  </a:lnTo>
                  <a:lnTo>
                    <a:pt x="724" y="178"/>
                  </a:lnTo>
                  <a:lnTo>
                    <a:pt x="719" y="175"/>
                  </a:lnTo>
                  <a:lnTo>
                    <a:pt x="719" y="175"/>
                  </a:lnTo>
                  <a:lnTo>
                    <a:pt x="719" y="173"/>
                  </a:lnTo>
                  <a:lnTo>
                    <a:pt x="721" y="173"/>
                  </a:lnTo>
                  <a:lnTo>
                    <a:pt x="721" y="170"/>
                  </a:lnTo>
                  <a:lnTo>
                    <a:pt x="721" y="168"/>
                  </a:lnTo>
                  <a:lnTo>
                    <a:pt x="721" y="165"/>
                  </a:lnTo>
                  <a:lnTo>
                    <a:pt x="721" y="163"/>
                  </a:lnTo>
                  <a:lnTo>
                    <a:pt x="721" y="158"/>
                  </a:lnTo>
                  <a:lnTo>
                    <a:pt x="719" y="155"/>
                  </a:lnTo>
                  <a:lnTo>
                    <a:pt x="719" y="153"/>
                  </a:lnTo>
                  <a:lnTo>
                    <a:pt x="714" y="153"/>
                  </a:lnTo>
                  <a:lnTo>
                    <a:pt x="711" y="150"/>
                  </a:lnTo>
                  <a:lnTo>
                    <a:pt x="706" y="150"/>
                  </a:lnTo>
                  <a:lnTo>
                    <a:pt x="703" y="150"/>
                  </a:lnTo>
                  <a:lnTo>
                    <a:pt x="698" y="147"/>
                  </a:lnTo>
                  <a:lnTo>
                    <a:pt x="696" y="147"/>
                  </a:lnTo>
                  <a:lnTo>
                    <a:pt x="685" y="150"/>
                  </a:lnTo>
                  <a:lnTo>
                    <a:pt x="678" y="147"/>
                  </a:lnTo>
                  <a:lnTo>
                    <a:pt x="675" y="150"/>
                  </a:lnTo>
                  <a:lnTo>
                    <a:pt x="673" y="150"/>
                  </a:lnTo>
                  <a:lnTo>
                    <a:pt x="670" y="147"/>
                  </a:lnTo>
                  <a:lnTo>
                    <a:pt x="670" y="147"/>
                  </a:lnTo>
                  <a:lnTo>
                    <a:pt x="670" y="147"/>
                  </a:lnTo>
                  <a:lnTo>
                    <a:pt x="670" y="147"/>
                  </a:lnTo>
                  <a:lnTo>
                    <a:pt x="670" y="147"/>
                  </a:lnTo>
                  <a:lnTo>
                    <a:pt x="668" y="147"/>
                  </a:lnTo>
                  <a:lnTo>
                    <a:pt x="665" y="153"/>
                  </a:lnTo>
                  <a:lnTo>
                    <a:pt x="665" y="158"/>
                  </a:lnTo>
                  <a:lnTo>
                    <a:pt x="665" y="165"/>
                  </a:lnTo>
                  <a:lnTo>
                    <a:pt x="665" y="168"/>
                  </a:lnTo>
                  <a:lnTo>
                    <a:pt x="665" y="170"/>
                  </a:lnTo>
                  <a:lnTo>
                    <a:pt x="663" y="173"/>
                  </a:lnTo>
                  <a:lnTo>
                    <a:pt x="657" y="175"/>
                  </a:lnTo>
                  <a:lnTo>
                    <a:pt x="655" y="178"/>
                  </a:lnTo>
                  <a:lnTo>
                    <a:pt x="650" y="178"/>
                  </a:lnTo>
                  <a:lnTo>
                    <a:pt x="650" y="181"/>
                  </a:lnTo>
                  <a:lnTo>
                    <a:pt x="647" y="183"/>
                  </a:lnTo>
                  <a:lnTo>
                    <a:pt x="650" y="183"/>
                  </a:lnTo>
                  <a:lnTo>
                    <a:pt x="650" y="183"/>
                  </a:lnTo>
                  <a:lnTo>
                    <a:pt x="650" y="186"/>
                  </a:lnTo>
                  <a:lnTo>
                    <a:pt x="650" y="186"/>
                  </a:lnTo>
                  <a:lnTo>
                    <a:pt x="650" y="186"/>
                  </a:lnTo>
                  <a:lnTo>
                    <a:pt x="650" y="188"/>
                  </a:lnTo>
                  <a:lnTo>
                    <a:pt x="652" y="188"/>
                  </a:lnTo>
                  <a:lnTo>
                    <a:pt x="657" y="186"/>
                  </a:lnTo>
                  <a:lnTo>
                    <a:pt x="657" y="188"/>
                  </a:lnTo>
                  <a:lnTo>
                    <a:pt x="660" y="188"/>
                  </a:lnTo>
                  <a:lnTo>
                    <a:pt x="663" y="193"/>
                  </a:lnTo>
                  <a:lnTo>
                    <a:pt x="663" y="196"/>
                  </a:lnTo>
                  <a:lnTo>
                    <a:pt x="663" y="198"/>
                  </a:lnTo>
                  <a:lnTo>
                    <a:pt x="665" y="198"/>
                  </a:lnTo>
                  <a:lnTo>
                    <a:pt x="665" y="201"/>
                  </a:lnTo>
                  <a:lnTo>
                    <a:pt x="665" y="201"/>
                  </a:lnTo>
                  <a:lnTo>
                    <a:pt x="665" y="203"/>
                  </a:lnTo>
                  <a:lnTo>
                    <a:pt x="663" y="203"/>
                  </a:lnTo>
                  <a:lnTo>
                    <a:pt x="663" y="206"/>
                  </a:lnTo>
                  <a:lnTo>
                    <a:pt x="663" y="209"/>
                  </a:lnTo>
                  <a:lnTo>
                    <a:pt x="663" y="209"/>
                  </a:lnTo>
                  <a:lnTo>
                    <a:pt x="665" y="211"/>
                  </a:lnTo>
                  <a:lnTo>
                    <a:pt x="665" y="211"/>
                  </a:lnTo>
                  <a:lnTo>
                    <a:pt x="665" y="211"/>
                  </a:lnTo>
                  <a:lnTo>
                    <a:pt x="665" y="209"/>
                  </a:lnTo>
                  <a:lnTo>
                    <a:pt x="668" y="209"/>
                  </a:lnTo>
                  <a:lnTo>
                    <a:pt x="675" y="211"/>
                  </a:lnTo>
                  <a:lnTo>
                    <a:pt x="678" y="211"/>
                  </a:lnTo>
                  <a:lnTo>
                    <a:pt x="683" y="214"/>
                  </a:lnTo>
                  <a:lnTo>
                    <a:pt x="683" y="214"/>
                  </a:lnTo>
                  <a:lnTo>
                    <a:pt x="685" y="216"/>
                  </a:lnTo>
                  <a:lnTo>
                    <a:pt x="691" y="221"/>
                  </a:lnTo>
                  <a:lnTo>
                    <a:pt x="696" y="221"/>
                  </a:lnTo>
                  <a:lnTo>
                    <a:pt x="698" y="224"/>
                  </a:lnTo>
                  <a:lnTo>
                    <a:pt x="698" y="224"/>
                  </a:lnTo>
                  <a:lnTo>
                    <a:pt x="701" y="224"/>
                  </a:lnTo>
                  <a:lnTo>
                    <a:pt x="703" y="224"/>
                  </a:lnTo>
                  <a:lnTo>
                    <a:pt x="703" y="226"/>
                  </a:lnTo>
                  <a:lnTo>
                    <a:pt x="703" y="229"/>
                  </a:lnTo>
                  <a:lnTo>
                    <a:pt x="701" y="234"/>
                  </a:lnTo>
                  <a:lnTo>
                    <a:pt x="698" y="234"/>
                  </a:lnTo>
                  <a:lnTo>
                    <a:pt x="696" y="234"/>
                  </a:lnTo>
                  <a:lnTo>
                    <a:pt x="688" y="231"/>
                  </a:lnTo>
                  <a:lnTo>
                    <a:pt x="685" y="229"/>
                  </a:lnTo>
                  <a:lnTo>
                    <a:pt x="678" y="226"/>
                  </a:lnTo>
                  <a:lnTo>
                    <a:pt x="673" y="224"/>
                  </a:lnTo>
                  <a:lnTo>
                    <a:pt x="670" y="224"/>
                  </a:lnTo>
                  <a:lnTo>
                    <a:pt x="665" y="224"/>
                  </a:lnTo>
                  <a:lnTo>
                    <a:pt x="663" y="221"/>
                  </a:lnTo>
                  <a:lnTo>
                    <a:pt x="660" y="221"/>
                  </a:lnTo>
                  <a:lnTo>
                    <a:pt x="655" y="221"/>
                  </a:lnTo>
                  <a:lnTo>
                    <a:pt x="652" y="219"/>
                  </a:lnTo>
                  <a:lnTo>
                    <a:pt x="650" y="219"/>
                  </a:lnTo>
                  <a:lnTo>
                    <a:pt x="647" y="219"/>
                  </a:lnTo>
                  <a:lnTo>
                    <a:pt x="642" y="216"/>
                  </a:lnTo>
                  <a:lnTo>
                    <a:pt x="640" y="216"/>
                  </a:lnTo>
                  <a:lnTo>
                    <a:pt x="640" y="216"/>
                  </a:lnTo>
                  <a:lnTo>
                    <a:pt x="635" y="214"/>
                  </a:lnTo>
                  <a:lnTo>
                    <a:pt x="627" y="211"/>
                  </a:lnTo>
                  <a:lnTo>
                    <a:pt x="614" y="209"/>
                  </a:lnTo>
                  <a:lnTo>
                    <a:pt x="601" y="209"/>
                  </a:lnTo>
                  <a:lnTo>
                    <a:pt x="589" y="206"/>
                  </a:lnTo>
                  <a:lnTo>
                    <a:pt x="578" y="206"/>
                  </a:lnTo>
                  <a:lnTo>
                    <a:pt x="576" y="206"/>
                  </a:lnTo>
                  <a:lnTo>
                    <a:pt x="576" y="206"/>
                  </a:lnTo>
                  <a:lnTo>
                    <a:pt x="573" y="209"/>
                  </a:lnTo>
                  <a:lnTo>
                    <a:pt x="568" y="209"/>
                  </a:lnTo>
                  <a:lnTo>
                    <a:pt x="568" y="211"/>
                  </a:lnTo>
                  <a:lnTo>
                    <a:pt x="571" y="214"/>
                  </a:lnTo>
                  <a:lnTo>
                    <a:pt x="578" y="219"/>
                  </a:lnTo>
                  <a:lnTo>
                    <a:pt x="581" y="219"/>
                  </a:lnTo>
                  <a:lnTo>
                    <a:pt x="584" y="221"/>
                  </a:lnTo>
                  <a:lnTo>
                    <a:pt x="584" y="224"/>
                  </a:lnTo>
                  <a:lnTo>
                    <a:pt x="581" y="226"/>
                  </a:lnTo>
                  <a:lnTo>
                    <a:pt x="578" y="226"/>
                  </a:lnTo>
                  <a:lnTo>
                    <a:pt x="576" y="226"/>
                  </a:lnTo>
                  <a:lnTo>
                    <a:pt x="571" y="226"/>
                  </a:lnTo>
                  <a:lnTo>
                    <a:pt x="571" y="229"/>
                  </a:lnTo>
                  <a:lnTo>
                    <a:pt x="573" y="231"/>
                  </a:lnTo>
                  <a:lnTo>
                    <a:pt x="573" y="231"/>
                  </a:lnTo>
                  <a:lnTo>
                    <a:pt x="573" y="234"/>
                  </a:lnTo>
                  <a:lnTo>
                    <a:pt x="573" y="234"/>
                  </a:lnTo>
                  <a:lnTo>
                    <a:pt x="573" y="234"/>
                  </a:lnTo>
                  <a:lnTo>
                    <a:pt x="571" y="234"/>
                  </a:lnTo>
                  <a:lnTo>
                    <a:pt x="571" y="234"/>
                  </a:lnTo>
                  <a:lnTo>
                    <a:pt x="566" y="234"/>
                  </a:lnTo>
                  <a:lnTo>
                    <a:pt x="561" y="231"/>
                  </a:lnTo>
                  <a:lnTo>
                    <a:pt x="561" y="229"/>
                  </a:lnTo>
                  <a:lnTo>
                    <a:pt x="561" y="229"/>
                  </a:lnTo>
                  <a:lnTo>
                    <a:pt x="563" y="226"/>
                  </a:lnTo>
                  <a:lnTo>
                    <a:pt x="563" y="226"/>
                  </a:lnTo>
                  <a:lnTo>
                    <a:pt x="561" y="224"/>
                  </a:lnTo>
                  <a:lnTo>
                    <a:pt x="558" y="224"/>
                  </a:lnTo>
                  <a:lnTo>
                    <a:pt x="556" y="221"/>
                  </a:lnTo>
                  <a:lnTo>
                    <a:pt x="556" y="221"/>
                  </a:lnTo>
                  <a:lnTo>
                    <a:pt x="556" y="221"/>
                  </a:lnTo>
                  <a:lnTo>
                    <a:pt x="548" y="224"/>
                  </a:lnTo>
                  <a:lnTo>
                    <a:pt x="545" y="224"/>
                  </a:lnTo>
                  <a:lnTo>
                    <a:pt x="545" y="224"/>
                  </a:lnTo>
                  <a:lnTo>
                    <a:pt x="535" y="229"/>
                  </a:lnTo>
                  <a:lnTo>
                    <a:pt x="533" y="231"/>
                  </a:lnTo>
                  <a:lnTo>
                    <a:pt x="527" y="229"/>
                  </a:lnTo>
                  <a:lnTo>
                    <a:pt x="525" y="229"/>
                  </a:lnTo>
                  <a:lnTo>
                    <a:pt x="520" y="229"/>
                  </a:lnTo>
                  <a:lnTo>
                    <a:pt x="515" y="229"/>
                  </a:lnTo>
                  <a:lnTo>
                    <a:pt x="512" y="229"/>
                  </a:lnTo>
                  <a:lnTo>
                    <a:pt x="510" y="229"/>
                  </a:lnTo>
                  <a:lnTo>
                    <a:pt x="507" y="229"/>
                  </a:lnTo>
                  <a:lnTo>
                    <a:pt x="502" y="231"/>
                  </a:lnTo>
                  <a:lnTo>
                    <a:pt x="499" y="234"/>
                  </a:lnTo>
                  <a:lnTo>
                    <a:pt x="502" y="237"/>
                  </a:lnTo>
                  <a:lnTo>
                    <a:pt x="499" y="237"/>
                  </a:lnTo>
                  <a:lnTo>
                    <a:pt x="497" y="237"/>
                  </a:lnTo>
                  <a:lnTo>
                    <a:pt x="494" y="237"/>
                  </a:lnTo>
                  <a:lnTo>
                    <a:pt x="494" y="237"/>
                  </a:lnTo>
                  <a:lnTo>
                    <a:pt x="492" y="237"/>
                  </a:lnTo>
                  <a:lnTo>
                    <a:pt x="489" y="237"/>
                  </a:lnTo>
                  <a:lnTo>
                    <a:pt x="487" y="237"/>
                  </a:lnTo>
                  <a:lnTo>
                    <a:pt x="487" y="237"/>
                  </a:lnTo>
                  <a:lnTo>
                    <a:pt x="482" y="237"/>
                  </a:lnTo>
                  <a:lnTo>
                    <a:pt x="479" y="237"/>
                  </a:lnTo>
                  <a:lnTo>
                    <a:pt x="476" y="237"/>
                  </a:lnTo>
                  <a:lnTo>
                    <a:pt x="476" y="234"/>
                  </a:lnTo>
                  <a:lnTo>
                    <a:pt x="476" y="234"/>
                  </a:lnTo>
                  <a:lnTo>
                    <a:pt x="482" y="234"/>
                  </a:lnTo>
                  <a:lnTo>
                    <a:pt x="482" y="234"/>
                  </a:lnTo>
                  <a:lnTo>
                    <a:pt x="484" y="234"/>
                  </a:lnTo>
                  <a:lnTo>
                    <a:pt x="487" y="231"/>
                  </a:lnTo>
                  <a:lnTo>
                    <a:pt x="484" y="231"/>
                  </a:lnTo>
                  <a:lnTo>
                    <a:pt x="482" y="229"/>
                  </a:lnTo>
                  <a:lnTo>
                    <a:pt x="482" y="226"/>
                  </a:lnTo>
                  <a:lnTo>
                    <a:pt x="482" y="226"/>
                  </a:lnTo>
                  <a:lnTo>
                    <a:pt x="482" y="226"/>
                  </a:lnTo>
                  <a:lnTo>
                    <a:pt x="484" y="224"/>
                  </a:lnTo>
                  <a:lnTo>
                    <a:pt x="482" y="224"/>
                  </a:lnTo>
                  <a:lnTo>
                    <a:pt x="482" y="224"/>
                  </a:lnTo>
                  <a:lnTo>
                    <a:pt x="479" y="224"/>
                  </a:lnTo>
                  <a:lnTo>
                    <a:pt x="482" y="224"/>
                  </a:lnTo>
                  <a:lnTo>
                    <a:pt x="489" y="221"/>
                  </a:lnTo>
                  <a:lnTo>
                    <a:pt x="489" y="221"/>
                  </a:lnTo>
                  <a:lnTo>
                    <a:pt x="484" y="221"/>
                  </a:lnTo>
                  <a:lnTo>
                    <a:pt x="479" y="221"/>
                  </a:lnTo>
                  <a:lnTo>
                    <a:pt x="474" y="224"/>
                  </a:lnTo>
                  <a:lnTo>
                    <a:pt x="466" y="226"/>
                  </a:lnTo>
                  <a:lnTo>
                    <a:pt x="461" y="229"/>
                  </a:lnTo>
                  <a:lnTo>
                    <a:pt x="461" y="229"/>
                  </a:lnTo>
                  <a:lnTo>
                    <a:pt x="464" y="229"/>
                  </a:lnTo>
                  <a:lnTo>
                    <a:pt x="466" y="231"/>
                  </a:lnTo>
                  <a:lnTo>
                    <a:pt x="466" y="231"/>
                  </a:lnTo>
                  <a:lnTo>
                    <a:pt x="466" y="234"/>
                  </a:lnTo>
                  <a:lnTo>
                    <a:pt x="464" y="234"/>
                  </a:lnTo>
                  <a:lnTo>
                    <a:pt x="464" y="234"/>
                  </a:lnTo>
                  <a:lnTo>
                    <a:pt x="464" y="234"/>
                  </a:lnTo>
                  <a:lnTo>
                    <a:pt x="461" y="234"/>
                  </a:lnTo>
                  <a:lnTo>
                    <a:pt x="461" y="234"/>
                  </a:lnTo>
                  <a:lnTo>
                    <a:pt x="461" y="234"/>
                  </a:lnTo>
                  <a:lnTo>
                    <a:pt x="461" y="231"/>
                  </a:lnTo>
                  <a:lnTo>
                    <a:pt x="459" y="231"/>
                  </a:lnTo>
                  <a:lnTo>
                    <a:pt x="456" y="231"/>
                  </a:lnTo>
                  <a:lnTo>
                    <a:pt x="456" y="231"/>
                  </a:lnTo>
                  <a:lnTo>
                    <a:pt x="451" y="231"/>
                  </a:lnTo>
                  <a:lnTo>
                    <a:pt x="448" y="234"/>
                  </a:lnTo>
                  <a:lnTo>
                    <a:pt x="443" y="234"/>
                  </a:lnTo>
                  <a:lnTo>
                    <a:pt x="441" y="234"/>
                  </a:lnTo>
                  <a:lnTo>
                    <a:pt x="438" y="234"/>
                  </a:lnTo>
                  <a:lnTo>
                    <a:pt x="436" y="237"/>
                  </a:lnTo>
                  <a:lnTo>
                    <a:pt x="433" y="237"/>
                  </a:lnTo>
                  <a:lnTo>
                    <a:pt x="428" y="239"/>
                  </a:lnTo>
                  <a:lnTo>
                    <a:pt x="418" y="244"/>
                  </a:lnTo>
                  <a:lnTo>
                    <a:pt x="415" y="244"/>
                  </a:lnTo>
                  <a:lnTo>
                    <a:pt x="415" y="244"/>
                  </a:lnTo>
                  <a:lnTo>
                    <a:pt x="413" y="244"/>
                  </a:lnTo>
                  <a:lnTo>
                    <a:pt x="413" y="244"/>
                  </a:lnTo>
                  <a:lnTo>
                    <a:pt x="413" y="244"/>
                  </a:lnTo>
                  <a:lnTo>
                    <a:pt x="415" y="247"/>
                  </a:lnTo>
                  <a:lnTo>
                    <a:pt x="415" y="247"/>
                  </a:lnTo>
                  <a:lnTo>
                    <a:pt x="413" y="247"/>
                  </a:lnTo>
                  <a:lnTo>
                    <a:pt x="408" y="247"/>
                  </a:lnTo>
                  <a:lnTo>
                    <a:pt x="403" y="249"/>
                  </a:lnTo>
                  <a:lnTo>
                    <a:pt x="403" y="249"/>
                  </a:lnTo>
                  <a:lnTo>
                    <a:pt x="403" y="252"/>
                  </a:lnTo>
                  <a:lnTo>
                    <a:pt x="403" y="254"/>
                  </a:lnTo>
                  <a:lnTo>
                    <a:pt x="403" y="254"/>
                  </a:lnTo>
                  <a:lnTo>
                    <a:pt x="403" y="259"/>
                  </a:lnTo>
                  <a:lnTo>
                    <a:pt x="403" y="262"/>
                  </a:lnTo>
                  <a:lnTo>
                    <a:pt x="400" y="262"/>
                  </a:lnTo>
                  <a:lnTo>
                    <a:pt x="387" y="265"/>
                  </a:lnTo>
                  <a:lnTo>
                    <a:pt x="387" y="265"/>
                  </a:lnTo>
                  <a:lnTo>
                    <a:pt x="385" y="265"/>
                  </a:lnTo>
                  <a:lnTo>
                    <a:pt x="385" y="265"/>
                  </a:lnTo>
                  <a:lnTo>
                    <a:pt x="382" y="265"/>
                  </a:lnTo>
                  <a:lnTo>
                    <a:pt x="380" y="265"/>
                  </a:lnTo>
                  <a:lnTo>
                    <a:pt x="377" y="265"/>
                  </a:lnTo>
                  <a:lnTo>
                    <a:pt x="377" y="262"/>
                  </a:lnTo>
                  <a:lnTo>
                    <a:pt x="375" y="262"/>
                  </a:lnTo>
                  <a:lnTo>
                    <a:pt x="369" y="257"/>
                  </a:lnTo>
                  <a:lnTo>
                    <a:pt x="362" y="254"/>
                  </a:lnTo>
                  <a:lnTo>
                    <a:pt x="359" y="254"/>
                  </a:lnTo>
                  <a:lnTo>
                    <a:pt x="359" y="252"/>
                  </a:lnTo>
                  <a:lnTo>
                    <a:pt x="359" y="252"/>
                  </a:lnTo>
                  <a:lnTo>
                    <a:pt x="364" y="247"/>
                  </a:lnTo>
                  <a:lnTo>
                    <a:pt x="367" y="247"/>
                  </a:lnTo>
                  <a:lnTo>
                    <a:pt x="375" y="244"/>
                  </a:lnTo>
                  <a:lnTo>
                    <a:pt x="380" y="244"/>
                  </a:lnTo>
                  <a:lnTo>
                    <a:pt x="382" y="244"/>
                  </a:lnTo>
                  <a:lnTo>
                    <a:pt x="382" y="242"/>
                  </a:lnTo>
                  <a:lnTo>
                    <a:pt x="377" y="239"/>
                  </a:lnTo>
                  <a:lnTo>
                    <a:pt x="372" y="237"/>
                  </a:lnTo>
                  <a:lnTo>
                    <a:pt x="367" y="231"/>
                  </a:lnTo>
                  <a:lnTo>
                    <a:pt x="362" y="231"/>
                  </a:lnTo>
                  <a:lnTo>
                    <a:pt x="354" y="229"/>
                  </a:lnTo>
                  <a:lnTo>
                    <a:pt x="341" y="231"/>
                  </a:lnTo>
                  <a:lnTo>
                    <a:pt x="339" y="231"/>
                  </a:lnTo>
                  <a:lnTo>
                    <a:pt x="331" y="229"/>
                  </a:lnTo>
                  <a:lnTo>
                    <a:pt x="329" y="229"/>
                  </a:lnTo>
                  <a:lnTo>
                    <a:pt x="329" y="229"/>
                  </a:lnTo>
                  <a:lnTo>
                    <a:pt x="329" y="229"/>
                  </a:lnTo>
                  <a:lnTo>
                    <a:pt x="329" y="229"/>
                  </a:lnTo>
                  <a:lnTo>
                    <a:pt x="341" y="234"/>
                  </a:lnTo>
                  <a:lnTo>
                    <a:pt x="344" y="237"/>
                  </a:lnTo>
                  <a:lnTo>
                    <a:pt x="344" y="239"/>
                  </a:lnTo>
                  <a:lnTo>
                    <a:pt x="344" y="239"/>
                  </a:lnTo>
                  <a:lnTo>
                    <a:pt x="344" y="239"/>
                  </a:lnTo>
                  <a:lnTo>
                    <a:pt x="344" y="242"/>
                  </a:lnTo>
                  <a:lnTo>
                    <a:pt x="344" y="247"/>
                  </a:lnTo>
                  <a:lnTo>
                    <a:pt x="344" y="252"/>
                  </a:lnTo>
                  <a:lnTo>
                    <a:pt x="341" y="254"/>
                  </a:lnTo>
                  <a:lnTo>
                    <a:pt x="341" y="254"/>
                  </a:lnTo>
                  <a:lnTo>
                    <a:pt x="344" y="257"/>
                  </a:lnTo>
                  <a:lnTo>
                    <a:pt x="347" y="257"/>
                  </a:lnTo>
                  <a:lnTo>
                    <a:pt x="352" y="259"/>
                  </a:lnTo>
                  <a:lnTo>
                    <a:pt x="354" y="259"/>
                  </a:lnTo>
                  <a:lnTo>
                    <a:pt x="354" y="262"/>
                  </a:lnTo>
                  <a:lnTo>
                    <a:pt x="354" y="265"/>
                  </a:lnTo>
                  <a:lnTo>
                    <a:pt x="357" y="267"/>
                  </a:lnTo>
                  <a:lnTo>
                    <a:pt x="354" y="270"/>
                  </a:lnTo>
                  <a:lnTo>
                    <a:pt x="354" y="272"/>
                  </a:lnTo>
                  <a:lnTo>
                    <a:pt x="352" y="275"/>
                  </a:lnTo>
                  <a:lnTo>
                    <a:pt x="354" y="277"/>
                  </a:lnTo>
                  <a:lnTo>
                    <a:pt x="354" y="280"/>
                  </a:lnTo>
                  <a:lnTo>
                    <a:pt x="354" y="280"/>
                  </a:lnTo>
                  <a:lnTo>
                    <a:pt x="352" y="280"/>
                  </a:lnTo>
                  <a:lnTo>
                    <a:pt x="352" y="277"/>
                  </a:lnTo>
                  <a:lnTo>
                    <a:pt x="349" y="277"/>
                  </a:lnTo>
                  <a:lnTo>
                    <a:pt x="349" y="277"/>
                  </a:lnTo>
                  <a:lnTo>
                    <a:pt x="347" y="277"/>
                  </a:lnTo>
                  <a:lnTo>
                    <a:pt x="344" y="277"/>
                  </a:lnTo>
                  <a:lnTo>
                    <a:pt x="344" y="277"/>
                  </a:lnTo>
                  <a:lnTo>
                    <a:pt x="347" y="275"/>
                  </a:lnTo>
                  <a:lnTo>
                    <a:pt x="344" y="275"/>
                  </a:lnTo>
                  <a:lnTo>
                    <a:pt x="344" y="275"/>
                  </a:lnTo>
                  <a:lnTo>
                    <a:pt x="339" y="272"/>
                  </a:lnTo>
                  <a:lnTo>
                    <a:pt x="336" y="272"/>
                  </a:lnTo>
                  <a:lnTo>
                    <a:pt x="331" y="272"/>
                  </a:lnTo>
                  <a:lnTo>
                    <a:pt x="329" y="272"/>
                  </a:lnTo>
                  <a:lnTo>
                    <a:pt x="326" y="270"/>
                  </a:lnTo>
                  <a:lnTo>
                    <a:pt x="324" y="270"/>
                  </a:lnTo>
                  <a:lnTo>
                    <a:pt x="324" y="270"/>
                  </a:lnTo>
                  <a:lnTo>
                    <a:pt x="321" y="272"/>
                  </a:lnTo>
                  <a:lnTo>
                    <a:pt x="318" y="275"/>
                  </a:lnTo>
                  <a:lnTo>
                    <a:pt x="313" y="277"/>
                  </a:lnTo>
                  <a:lnTo>
                    <a:pt x="308" y="280"/>
                  </a:lnTo>
                  <a:lnTo>
                    <a:pt x="303" y="280"/>
                  </a:lnTo>
                  <a:lnTo>
                    <a:pt x="303" y="280"/>
                  </a:lnTo>
                  <a:lnTo>
                    <a:pt x="301" y="282"/>
                  </a:lnTo>
                  <a:lnTo>
                    <a:pt x="298" y="285"/>
                  </a:lnTo>
                  <a:lnTo>
                    <a:pt x="290" y="287"/>
                  </a:lnTo>
                  <a:lnTo>
                    <a:pt x="290" y="290"/>
                  </a:lnTo>
                  <a:lnTo>
                    <a:pt x="290" y="290"/>
                  </a:lnTo>
                  <a:lnTo>
                    <a:pt x="293" y="293"/>
                  </a:lnTo>
                  <a:lnTo>
                    <a:pt x="293" y="295"/>
                  </a:lnTo>
                  <a:lnTo>
                    <a:pt x="298" y="298"/>
                  </a:lnTo>
                  <a:lnTo>
                    <a:pt x="301" y="300"/>
                  </a:lnTo>
                  <a:lnTo>
                    <a:pt x="303" y="303"/>
                  </a:lnTo>
                  <a:lnTo>
                    <a:pt x="306" y="305"/>
                  </a:lnTo>
                  <a:lnTo>
                    <a:pt x="303" y="305"/>
                  </a:lnTo>
                  <a:lnTo>
                    <a:pt x="301" y="305"/>
                  </a:lnTo>
                  <a:lnTo>
                    <a:pt x="298" y="305"/>
                  </a:lnTo>
                  <a:lnTo>
                    <a:pt x="296" y="305"/>
                  </a:lnTo>
                  <a:lnTo>
                    <a:pt x="296" y="308"/>
                  </a:lnTo>
                  <a:lnTo>
                    <a:pt x="296" y="308"/>
                  </a:lnTo>
                  <a:lnTo>
                    <a:pt x="293" y="308"/>
                  </a:lnTo>
                  <a:lnTo>
                    <a:pt x="283" y="305"/>
                  </a:lnTo>
                  <a:lnTo>
                    <a:pt x="278" y="305"/>
                  </a:lnTo>
                  <a:lnTo>
                    <a:pt x="275" y="305"/>
                  </a:lnTo>
                  <a:lnTo>
                    <a:pt x="273" y="303"/>
                  </a:lnTo>
                  <a:lnTo>
                    <a:pt x="273" y="303"/>
                  </a:lnTo>
                  <a:lnTo>
                    <a:pt x="270" y="303"/>
                  </a:lnTo>
                  <a:lnTo>
                    <a:pt x="268" y="303"/>
                  </a:lnTo>
                  <a:lnTo>
                    <a:pt x="268" y="303"/>
                  </a:lnTo>
                  <a:lnTo>
                    <a:pt x="260" y="298"/>
                  </a:lnTo>
                  <a:lnTo>
                    <a:pt x="252" y="295"/>
                  </a:lnTo>
                  <a:lnTo>
                    <a:pt x="252" y="295"/>
                  </a:lnTo>
                  <a:lnTo>
                    <a:pt x="250" y="298"/>
                  </a:lnTo>
                  <a:lnTo>
                    <a:pt x="247" y="300"/>
                  </a:lnTo>
                  <a:lnTo>
                    <a:pt x="247" y="303"/>
                  </a:lnTo>
                  <a:lnTo>
                    <a:pt x="245" y="300"/>
                  </a:lnTo>
                  <a:lnTo>
                    <a:pt x="245" y="303"/>
                  </a:lnTo>
                  <a:lnTo>
                    <a:pt x="245" y="305"/>
                  </a:lnTo>
                  <a:lnTo>
                    <a:pt x="247" y="305"/>
                  </a:lnTo>
                  <a:lnTo>
                    <a:pt x="250" y="305"/>
                  </a:lnTo>
                  <a:lnTo>
                    <a:pt x="255" y="310"/>
                  </a:lnTo>
                  <a:lnTo>
                    <a:pt x="257" y="313"/>
                  </a:lnTo>
                  <a:lnTo>
                    <a:pt x="257" y="313"/>
                  </a:lnTo>
                  <a:lnTo>
                    <a:pt x="260" y="313"/>
                  </a:lnTo>
                  <a:lnTo>
                    <a:pt x="265" y="313"/>
                  </a:lnTo>
                  <a:lnTo>
                    <a:pt x="268" y="313"/>
                  </a:lnTo>
                  <a:lnTo>
                    <a:pt x="268" y="313"/>
                  </a:lnTo>
                  <a:lnTo>
                    <a:pt x="270" y="315"/>
                  </a:lnTo>
                  <a:lnTo>
                    <a:pt x="270" y="318"/>
                  </a:lnTo>
                  <a:lnTo>
                    <a:pt x="273" y="321"/>
                  </a:lnTo>
                  <a:lnTo>
                    <a:pt x="270" y="321"/>
                  </a:lnTo>
                  <a:lnTo>
                    <a:pt x="265" y="323"/>
                  </a:lnTo>
                  <a:lnTo>
                    <a:pt x="262" y="323"/>
                  </a:lnTo>
                  <a:lnTo>
                    <a:pt x="262" y="323"/>
                  </a:lnTo>
                  <a:lnTo>
                    <a:pt x="255" y="323"/>
                  </a:lnTo>
                  <a:lnTo>
                    <a:pt x="252" y="321"/>
                  </a:lnTo>
                  <a:lnTo>
                    <a:pt x="245" y="321"/>
                  </a:lnTo>
                  <a:lnTo>
                    <a:pt x="245" y="321"/>
                  </a:lnTo>
                  <a:lnTo>
                    <a:pt x="242" y="315"/>
                  </a:lnTo>
                  <a:lnTo>
                    <a:pt x="234" y="313"/>
                  </a:lnTo>
                  <a:lnTo>
                    <a:pt x="232" y="313"/>
                  </a:lnTo>
                  <a:lnTo>
                    <a:pt x="229" y="313"/>
                  </a:lnTo>
                  <a:lnTo>
                    <a:pt x="227" y="313"/>
                  </a:lnTo>
                  <a:lnTo>
                    <a:pt x="224" y="310"/>
                  </a:lnTo>
                  <a:lnTo>
                    <a:pt x="219" y="308"/>
                  </a:lnTo>
                  <a:lnTo>
                    <a:pt x="219" y="305"/>
                  </a:lnTo>
                  <a:lnTo>
                    <a:pt x="219" y="305"/>
                  </a:lnTo>
                  <a:lnTo>
                    <a:pt x="222" y="305"/>
                  </a:lnTo>
                  <a:lnTo>
                    <a:pt x="219" y="305"/>
                  </a:lnTo>
                  <a:lnTo>
                    <a:pt x="219" y="303"/>
                  </a:lnTo>
                  <a:lnTo>
                    <a:pt x="217" y="300"/>
                  </a:lnTo>
                  <a:lnTo>
                    <a:pt x="214" y="298"/>
                  </a:lnTo>
                  <a:lnTo>
                    <a:pt x="211" y="295"/>
                  </a:lnTo>
                  <a:lnTo>
                    <a:pt x="209" y="293"/>
                  </a:lnTo>
                  <a:lnTo>
                    <a:pt x="211" y="290"/>
                  </a:lnTo>
                  <a:lnTo>
                    <a:pt x="211" y="290"/>
                  </a:lnTo>
                  <a:lnTo>
                    <a:pt x="214" y="287"/>
                  </a:lnTo>
                  <a:lnTo>
                    <a:pt x="214" y="285"/>
                  </a:lnTo>
                  <a:lnTo>
                    <a:pt x="214" y="285"/>
                  </a:lnTo>
                  <a:lnTo>
                    <a:pt x="214" y="285"/>
                  </a:lnTo>
                  <a:lnTo>
                    <a:pt x="214" y="282"/>
                  </a:lnTo>
                  <a:lnTo>
                    <a:pt x="211" y="282"/>
                  </a:lnTo>
                  <a:lnTo>
                    <a:pt x="206" y="277"/>
                  </a:lnTo>
                  <a:lnTo>
                    <a:pt x="201" y="275"/>
                  </a:lnTo>
                  <a:lnTo>
                    <a:pt x="194" y="275"/>
                  </a:lnTo>
                  <a:lnTo>
                    <a:pt x="191" y="275"/>
                  </a:lnTo>
                  <a:lnTo>
                    <a:pt x="191" y="275"/>
                  </a:lnTo>
                  <a:lnTo>
                    <a:pt x="194" y="272"/>
                  </a:lnTo>
                  <a:lnTo>
                    <a:pt x="194" y="272"/>
                  </a:lnTo>
                  <a:lnTo>
                    <a:pt x="194" y="272"/>
                  </a:lnTo>
                  <a:lnTo>
                    <a:pt x="194" y="272"/>
                  </a:lnTo>
                  <a:lnTo>
                    <a:pt x="191" y="270"/>
                  </a:lnTo>
                  <a:lnTo>
                    <a:pt x="189" y="270"/>
                  </a:lnTo>
                  <a:lnTo>
                    <a:pt x="186" y="270"/>
                  </a:lnTo>
                  <a:lnTo>
                    <a:pt x="189" y="267"/>
                  </a:lnTo>
                  <a:lnTo>
                    <a:pt x="186" y="267"/>
                  </a:lnTo>
                  <a:lnTo>
                    <a:pt x="183" y="267"/>
                  </a:lnTo>
                  <a:lnTo>
                    <a:pt x="181" y="267"/>
                  </a:lnTo>
                  <a:lnTo>
                    <a:pt x="181" y="265"/>
                  </a:lnTo>
                  <a:lnTo>
                    <a:pt x="178" y="265"/>
                  </a:lnTo>
                  <a:lnTo>
                    <a:pt x="176" y="262"/>
                  </a:lnTo>
                  <a:lnTo>
                    <a:pt x="176" y="259"/>
                  </a:lnTo>
                  <a:lnTo>
                    <a:pt x="173" y="259"/>
                  </a:lnTo>
                  <a:lnTo>
                    <a:pt x="171" y="259"/>
                  </a:lnTo>
                  <a:lnTo>
                    <a:pt x="168" y="257"/>
                  </a:lnTo>
                  <a:lnTo>
                    <a:pt x="166" y="257"/>
                  </a:lnTo>
                  <a:lnTo>
                    <a:pt x="173" y="257"/>
                  </a:lnTo>
                  <a:lnTo>
                    <a:pt x="181" y="259"/>
                  </a:lnTo>
                  <a:lnTo>
                    <a:pt x="181" y="259"/>
                  </a:lnTo>
                  <a:lnTo>
                    <a:pt x="181" y="259"/>
                  </a:lnTo>
                  <a:lnTo>
                    <a:pt x="183" y="262"/>
                  </a:lnTo>
                  <a:lnTo>
                    <a:pt x="186" y="265"/>
                  </a:lnTo>
                  <a:lnTo>
                    <a:pt x="191" y="265"/>
                  </a:lnTo>
                  <a:lnTo>
                    <a:pt x="191" y="265"/>
                  </a:lnTo>
                  <a:lnTo>
                    <a:pt x="194" y="265"/>
                  </a:lnTo>
                  <a:lnTo>
                    <a:pt x="196" y="265"/>
                  </a:lnTo>
                  <a:lnTo>
                    <a:pt x="196" y="267"/>
                  </a:lnTo>
                  <a:lnTo>
                    <a:pt x="201" y="267"/>
                  </a:lnTo>
                  <a:lnTo>
                    <a:pt x="206" y="267"/>
                  </a:lnTo>
                  <a:lnTo>
                    <a:pt x="206" y="267"/>
                  </a:lnTo>
                  <a:lnTo>
                    <a:pt x="206" y="267"/>
                  </a:lnTo>
                  <a:lnTo>
                    <a:pt x="206" y="270"/>
                  </a:lnTo>
                  <a:lnTo>
                    <a:pt x="209" y="270"/>
                  </a:lnTo>
                  <a:lnTo>
                    <a:pt x="211" y="267"/>
                  </a:lnTo>
                  <a:lnTo>
                    <a:pt x="222" y="272"/>
                  </a:lnTo>
                  <a:lnTo>
                    <a:pt x="222" y="272"/>
                  </a:lnTo>
                  <a:lnTo>
                    <a:pt x="237" y="275"/>
                  </a:lnTo>
                  <a:lnTo>
                    <a:pt x="242" y="275"/>
                  </a:lnTo>
                  <a:lnTo>
                    <a:pt x="245" y="275"/>
                  </a:lnTo>
                  <a:lnTo>
                    <a:pt x="250" y="275"/>
                  </a:lnTo>
                  <a:lnTo>
                    <a:pt x="255" y="277"/>
                  </a:lnTo>
                  <a:lnTo>
                    <a:pt x="260" y="277"/>
                  </a:lnTo>
                  <a:lnTo>
                    <a:pt x="268" y="280"/>
                  </a:lnTo>
                  <a:lnTo>
                    <a:pt x="273" y="280"/>
                  </a:lnTo>
                  <a:lnTo>
                    <a:pt x="280" y="277"/>
                  </a:lnTo>
                  <a:lnTo>
                    <a:pt x="293" y="275"/>
                  </a:lnTo>
                  <a:lnTo>
                    <a:pt x="298" y="272"/>
                  </a:lnTo>
                  <a:lnTo>
                    <a:pt x="306" y="265"/>
                  </a:lnTo>
                  <a:lnTo>
                    <a:pt x="306" y="262"/>
                  </a:lnTo>
                  <a:lnTo>
                    <a:pt x="308" y="257"/>
                  </a:lnTo>
                  <a:lnTo>
                    <a:pt x="306" y="257"/>
                  </a:lnTo>
                  <a:lnTo>
                    <a:pt x="306" y="257"/>
                  </a:lnTo>
                  <a:lnTo>
                    <a:pt x="303" y="254"/>
                  </a:lnTo>
                  <a:lnTo>
                    <a:pt x="303" y="252"/>
                  </a:lnTo>
                  <a:lnTo>
                    <a:pt x="301" y="252"/>
                  </a:lnTo>
                  <a:lnTo>
                    <a:pt x="298" y="247"/>
                  </a:lnTo>
                  <a:lnTo>
                    <a:pt x="296" y="247"/>
                  </a:lnTo>
                  <a:lnTo>
                    <a:pt x="293" y="244"/>
                  </a:lnTo>
                  <a:lnTo>
                    <a:pt x="290" y="244"/>
                  </a:lnTo>
                  <a:lnTo>
                    <a:pt x="288" y="244"/>
                  </a:lnTo>
                  <a:lnTo>
                    <a:pt x="285" y="242"/>
                  </a:lnTo>
                  <a:lnTo>
                    <a:pt x="283" y="242"/>
                  </a:lnTo>
                  <a:lnTo>
                    <a:pt x="280" y="239"/>
                  </a:lnTo>
                  <a:lnTo>
                    <a:pt x="280" y="239"/>
                  </a:lnTo>
                  <a:lnTo>
                    <a:pt x="278" y="239"/>
                  </a:lnTo>
                  <a:lnTo>
                    <a:pt x="280" y="239"/>
                  </a:lnTo>
                  <a:lnTo>
                    <a:pt x="280" y="239"/>
                  </a:lnTo>
                  <a:lnTo>
                    <a:pt x="275" y="239"/>
                  </a:lnTo>
                  <a:lnTo>
                    <a:pt x="265" y="234"/>
                  </a:lnTo>
                  <a:lnTo>
                    <a:pt x="262" y="234"/>
                  </a:lnTo>
                  <a:lnTo>
                    <a:pt x="262" y="234"/>
                  </a:lnTo>
                  <a:lnTo>
                    <a:pt x="257" y="234"/>
                  </a:lnTo>
                  <a:lnTo>
                    <a:pt x="257" y="234"/>
                  </a:lnTo>
                  <a:lnTo>
                    <a:pt x="247" y="229"/>
                  </a:lnTo>
                  <a:lnTo>
                    <a:pt x="229" y="221"/>
                  </a:lnTo>
                  <a:lnTo>
                    <a:pt x="217" y="219"/>
                  </a:lnTo>
                  <a:lnTo>
                    <a:pt x="209" y="216"/>
                  </a:lnTo>
                  <a:lnTo>
                    <a:pt x="206" y="216"/>
                  </a:lnTo>
                  <a:lnTo>
                    <a:pt x="206" y="216"/>
                  </a:lnTo>
                  <a:lnTo>
                    <a:pt x="204" y="219"/>
                  </a:lnTo>
                  <a:lnTo>
                    <a:pt x="201" y="216"/>
                  </a:lnTo>
                  <a:lnTo>
                    <a:pt x="194" y="216"/>
                  </a:lnTo>
                  <a:lnTo>
                    <a:pt x="191" y="216"/>
                  </a:lnTo>
                  <a:lnTo>
                    <a:pt x="183" y="216"/>
                  </a:lnTo>
                  <a:lnTo>
                    <a:pt x="183" y="216"/>
                  </a:lnTo>
                  <a:lnTo>
                    <a:pt x="181" y="219"/>
                  </a:lnTo>
                  <a:lnTo>
                    <a:pt x="181" y="219"/>
                  </a:lnTo>
                  <a:lnTo>
                    <a:pt x="178" y="221"/>
                  </a:lnTo>
                  <a:lnTo>
                    <a:pt x="178" y="219"/>
                  </a:lnTo>
                  <a:lnTo>
                    <a:pt x="181" y="219"/>
                  </a:lnTo>
                  <a:lnTo>
                    <a:pt x="181" y="216"/>
                  </a:lnTo>
                  <a:lnTo>
                    <a:pt x="181" y="216"/>
                  </a:lnTo>
                  <a:lnTo>
                    <a:pt x="181" y="214"/>
                  </a:lnTo>
                  <a:lnTo>
                    <a:pt x="181" y="214"/>
                  </a:lnTo>
                  <a:lnTo>
                    <a:pt x="178" y="214"/>
                  </a:lnTo>
                  <a:lnTo>
                    <a:pt x="178" y="214"/>
                  </a:lnTo>
                  <a:lnTo>
                    <a:pt x="173" y="214"/>
                  </a:lnTo>
                  <a:lnTo>
                    <a:pt x="173" y="214"/>
                  </a:lnTo>
                  <a:lnTo>
                    <a:pt x="173" y="214"/>
                  </a:lnTo>
                  <a:lnTo>
                    <a:pt x="173" y="214"/>
                  </a:lnTo>
                  <a:lnTo>
                    <a:pt x="173" y="214"/>
                  </a:lnTo>
                  <a:lnTo>
                    <a:pt x="168" y="214"/>
                  </a:lnTo>
                  <a:lnTo>
                    <a:pt x="166" y="214"/>
                  </a:lnTo>
                  <a:lnTo>
                    <a:pt x="163" y="211"/>
                  </a:lnTo>
                  <a:lnTo>
                    <a:pt x="160" y="211"/>
                  </a:lnTo>
                  <a:lnTo>
                    <a:pt x="160" y="209"/>
                  </a:lnTo>
                  <a:lnTo>
                    <a:pt x="160" y="209"/>
                  </a:lnTo>
                  <a:lnTo>
                    <a:pt x="171" y="211"/>
                  </a:lnTo>
                  <a:lnTo>
                    <a:pt x="173" y="211"/>
                  </a:lnTo>
                  <a:lnTo>
                    <a:pt x="173" y="209"/>
                  </a:lnTo>
                  <a:lnTo>
                    <a:pt x="173" y="209"/>
                  </a:lnTo>
                  <a:lnTo>
                    <a:pt x="173" y="209"/>
                  </a:lnTo>
                  <a:lnTo>
                    <a:pt x="171" y="209"/>
                  </a:lnTo>
                  <a:lnTo>
                    <a:pt x="166" y="206"/>
                  </a:lnTo>
                  <a:lnTo>
                    <a:pt x="163" y="206"/>
                  </a:lnTo>
                  <a:lnTo>
                    <a:pt x="158" y="203"/>
                  </a:lnTo>
                  <a:lnTo>
                    <a:pt x="158" y="203"/>
                  </a:lnTo>
                  <a:lnTo>
                    <a:pt x="158" y="206"/>
                  </a:lnTo>
                  <a:lnTo>
                    <a:pt x="158" y="206"/>
                  </a:lnTo>
                  <a:lnTo>
                    <a:pt x="155" y="206"/>
                  </a:lnTo>
                  <a:lnTo>
                    <a:pt x="155" y="206"/>
                  </a:lnTo>
                  <a:lnTo>
                    <a:pt x="153" y="209"/>
                  </a:lnTo>
                  <a:lnTo>
                    <a:pt x="153" y="209"/>
                  </a:lnTo>
                  <a:lnTo>
                    <a:pt x="150" y="209"/>
                  </a:lnTo>
                  <a:lnTo>
                    <a:pt x="145" y="206"/>
                  </a:lnTo>
                  <a:lnTo>
                    <a:pt x="143" y="206"/>
                  </a:lnTo>
                  <a:lnTo>
                    <a:pt x="143" y="209"/>
                  </a:lnTo>
                  <a:lnTo>
                    <a:pt x="143" y="211"/>
                  </a:lnTo>
                  <a:lnTo>
                    <a:pt x="143" y="211"/>
                  </a:lnTo>
                  <a:lnTo>
                    <a:pt x="143" y="211"/>
                  </a:lnTo>
                  <a:lnTo>
                    <a:pt x="143" y="211"/>
                  </a:lnTo>
                  <a:lnTo>
                    <a:pt x="140" y="211"/>
                  </a:lnTo>
                  <a:lnTo>
                    <a:pt x="135" y="211"/>
                  </a:lnTo>
                  <a:lnTo>
                    <a:pt x="132" y="209"/>
                  </a:lnTo>
                  <a:lnTo>
                    <a:pt x="132" y="209"/>
                  </a:lnTo>
                  <a:lnTo>
                    <a:pt x="132" y="209"/>
                  </a:lnTo>
                  <a:lnTo>
                    <a:pt x="132" y="211"/>
                  </a:lnTo>
                  <a:lnTo>
                    <a:pt x="132" y="211"/>
                  </a:lnTo>
                  <a:lnTo>
                    <a:pt x="132" y="211"/>
                  </a:lnTo>
                  <a:lnTo>
                    <a:pt x="132" y="214"/>
                  </a:lnTo>
                  <a:lnTo>
                    <a:pt x="132" y="214"/>
                  </a:lnTo>
                  <a:lnTo>
                    <a:pt x="130" y="214"/>
                  </a:lnTo>
                  <a:lnTo>
                    <a:pt x="127" y="214"/>
                  </a:lnTo>
                  <a:lnTo>
                    <a:pt x="122" y="216"/>
                  </a:lnTo>
                  <a:lnTo>
                    <a:pt x="122" y="216"/>
                  </a:lnTo>
                  <a:lnTo>
                    <a:pt x="120" y="219"/>
                  </a:lnTo>
                  <a:lnTo>
                    <a:pt x="120" y="221"/>
                  </a:lnTo>
                  <a:lnTo>
                    <a:pt x="120" y="221"/>
                  </a:lnTo>
                  <a:lnTo>
                    <a:pt x="117" y="221"/>
                  </a:lnTo>
                  <a:lnTo>
                    <a:pt x="115" y="221"/>
                  </a:lnTo>
                  <a:lnTo>
                    <a:pt x="112" y="221"/>
                  </a:lnTo>
                  <a:lnTo>
                    <a:pt x="112" y="224"/>
                  </a:lnTo>
                  <a:lnTo>
                    <a:pt x="110" y="224"/>
                  </a:lnTo>
                  <a:lnTo>
                    <a:pt x="110" y="224"/>
                  </a:lnTo>
                  <a:lnTo>
                    <a:pt x="112" y="224"/>
                  </a:lnTo>
                  <a:lnTo>
                    <a:pt x="115" y="224"/>
                  </a:lnTo>
                  <a:lnTo>
                    <a:pt x="115" y="224"/>
                  </a:lnTo>
                  <a:lnTo>
                    <a:pt x="115" y="226"/>
                  </a:lnTo>
                  <a:lnTo>
                    <a:pt x="115" y="226"/>
                  </a:lnTo>
                  <a:lnTo>
                    <a:pt x="112" y="231"/>
                  </a:lnTo>
                  <a:lnTo>
                    <a:pt x="112" y="231"/>
                  </a:lnTo>
                  <a:lnTo>
                    <a:pt x="112" y="234"/>
                  </a:lnTo>
                  <a:lnTo>
                    <a:pt x="115" y="237"/>
                  </a:lnTo>
                  <a:lnTo>
                    <a:pt x="120" y="239"/>
                  </a:lnTo>
                  <a:lnTo>
                    <a:pt x="125" y="239"/>
                  </a:lnTo>
                  <a:lnTo>
                    <a:pt x="127" y="242"/>
                  </a:lnTo>
                  <a:lnTo>
                    <a:pt x="132" y="247"/>
                  </a:lnTo>
                  <a:lnTo>
                    <a:pt x="135" y="247"/>
                  </a:lnTo>
                  <a:lnTo>
                    <a:pt x="135" y="247"/>
                  </a:lnTo>
                  <a:lnTo>
                    <a:pt x="135" y="249"/>
                  </a:lnTo>
                  <a:lnTo>
                    <a:pt x="132" y="252"/>
                  </a:lnTo>
                  <a:lnTo>
                    <a:pt x="130" y="254"/>
                  </a:lnTo>
                  <a:lnTo>
                    <a:pt x="127" y="257"/>
                  </a:lnTo>
                  <a:lnTo>
                    <a:pt x="127" y="259"/>
                  </a:lnTo>
                  <a:lnTo>
                    <a:pt x="125" y="262"/>
                  </a:lnTo>
                  <a:lnTo>
                    <a:pt x="125" y="262"/>
                  </a:lnTo>
                  <a:lnTo>
                    <a:pt x="125" y="262"/>
                  </a:lnTo>
                  <a:lnTo>
                    <a:pt x="125" y="265"/>
                  </a:lnTo>
                  <a:lnTo>
                    <a:pt x="127" y="267"/>
                  </a:lnTo>
                  <a:lnTo>
                    <a:pt x="130" y="267"/>
                  </a:lnTo>
                  <a:lnTo>
                    <a:pt x="132" y="270"/>
                  </a:lnTo>
                  <a:lnTo>
                    <a:pt x="132" y="272"/>
                  </a:lnTo>
                  <a:lnTo>
                    <a:pt x="135" y="272"/>
                  </a:lnTo>
                  <a:lnTo>
                    <a:pt x="135" y="275"/>
                  </a:lnTo>
                  <a:lnTo>
                    <a:pt x="135" y="275"/>
                  </a:lnTo>
                  <a:lnTo>
                    <a:pt x="138" y="277"/>
                  </a:lnTo>
                  <a:lnTo>
                    <a:pt x="140" y="277"/>
                  </a:lnTo>
                  <a:lnTo>
                    <a:pt x="140" y="280"/>
                  </a:lnTo>
                  <a:lnTo>
                    <a:pt x="143" y="285"/>
                  </a:lnTo>
                  <a:lnTo>
                    <a:pt x="143" y="285"/>
                  </a:lnTo>
                  <a:lnTo>
                    <a:pt x="143" y="287"/>
                  </a:lnTo>
                  <a:lnTo>
                    <a:pt x="143" y="287"/>
                  </a:lnTo>
                  <a:lnTo>
                    <a:pt x="140" y="287"/>
                  </a:lnTo>
                  <a:lnTo>
                    <a:pt x="138" y="287"/>
                  </a:lnTo>
                  <a:lnTo>
                    <a:pt x="138" y="287"/>
                  </a:lnTo>
                  <a:lnTo>
                    <a:pt x="140" y="290"/>
                  </a:lnTo>
                  <a:lnTo>
                    <a:pt x="138" y="290"/>
                  </a:lnTo>
                  <a:lnTo>
                    <a:pt x="138" y="293"/>
                  </a:lnTo>
                  <a:lnTo>
                    <a:pt x="138" y="295"/>
                  </a:lnTo>
                  <a:lnTo>
                    <a:pt x="138" y="295"/>
                  </a:lnTo>
                  <a:lnTo>
                    <a:pt x="138" y="295"/>
                  </a:lnTo>
                  <a:lnTo>
                    <a:pt x="138" y="295"/>
                  </a:lnTo>
                  <a:lnTo>
                    <a:pt x="140" y="295"/>
                  </a:lnTo>
                  <a:lnTo>
                    <a:pt x="140" y="298"/>
                  </a:lnTo>
                  <a:lnTo>
                    <a:pt x="140" y="298"/>
                  </a:lnTo>
                  <a:lnTo>
                    <a:pt x="140" y="298"/>
                  </a:lnTo>
                  <a:lnTo>
                    <a:pt x="140" y="298"/>
                  </a:lnTo>
                  <a:lnTo>
                    <a:pt x="138" y="300"/>
                  </a:lnTo>
                  <a:lnTo>
                    <a:pt x="138" y="300"/>
                  </a:lnTo>
                  <a:lnTo>
                    <a:pt x="138" y="300"/>
                  </a:lnTo>
                  <a:lnTo>
                    <a:pt x="140" y="303"/>
                  </a:lnTo>
                  <a:lnTo>
                    <a:pt x="140" y="303"/>
                  </a:lnTo>
                  <a:lnTo>
                    <a:pt x="143" y="305"/>
                  </a:lnTo>
                  <a:lnTo>
                    <a:pt x="145" y="305"/>
                  </a:lnTo>
                  <a:lnTo>
                    <a:pt x="148" y="305"/>
                  </a:lnTo>
                  <a:lnTo>
                    <a:pt x="148" y="305"/>
                  </a:lnTo>
                  <a:lnTo>
                    <a:pt x="148" y="308"/>
                  </a:lnTo>
                  <a:lnTo>
                    <a:pt x="145" y="308"/>
                  </a:lnTo>
                  <a:lnTo>
                    <a:pt x="145" y="310"/>
                  </a:lnTo>
                  <a:lnTo>
                    <a:pt x="148" y="310"/>
                  </a:lnTo>
                  <a:lnTo>
                    <a:pt x="148" y="313"/>
                  </a:lnTo>
                  <a:lnTo>
                    <a:pt x="153" y="315"/>
                  </a:lnTo>
                  <a:lnTo>
                    <a:pt x="153" y="315"/>
                  </a:lnTo>
                  <a:lnTo>
                    <a:pt x="155" y="315"/>
                  </a:lnTo>
                  <a:lnTo>
                    <a:pt x="155" y="318"/>
                  </a:lnTo>
                  <a:lnTo>
                    <a:pt x="155" y="318"/>
                  </a:lnTo>
                  <a:lnTo>
                    <a:pt x="155" y="321"/>
                  </a:lnTo>
                  <a:lnTo>
                    <a:pt x="153" y="321"/>
                  </a:lnTo>
                  <a:lnTo>
                    <a:pt x="150" y="323"/>
                  </a:lnTo>
                  <a:lnTo>
                    <a:pt x="148" y="326"/>
                  </a:lnTo>
                  <a:lnTo>
                    <a:pt x="148" y="326"/>
                  </a:lnTo>
                  <a:lnTo>
                    <a:pt x="148" y="326"/>
                  </a:lnTo>
                  <a:lnTo>
                    <a:pt x="155" y="331"/>
                  </a:lnTo>
                  <a:lnTo>
                    <a:pt x="158" y="333"/>
                  </a:lnTo>
                  <a:lnTo>
                    <a:pt x="166" y="333"/>
                  </a:lnTo>
                  <a:lnTo>
                    <a:pt x="168" y="336"/>
                  </a:lnTo>
                  <a:lnTo>
                    <a:pt x="168" y="338"/>
                  </a:lnTo>
                  <a:lnTo>
                    <a:pt x="171" y="338"/>
                  </a:lnTo>
                  <a:lnTo>
                    <a:pt x="173" y="341"/>
                  </a:lnTo>
                  <a:lnTo>
                    <a:pt x="173" y="341"/>
                  </a:lnTo>
                  <a:lnTo>
                    <a:pt x="173" y="341"/>
                  </a:lnTo>
                  <a:lnTo>
                    <a:pt x="173" y="343"/>
                  </a:lnTo>
                  <a:lnTo>
                    <a:pt x="173" y="346"/>
                  </a:lnTo>
                  <a:lnTo>
                    <a:pt x="173" y="346"/>
                  </a:lnTo>
                  <a:lnTo>
                    <a:pt x="171" y="348"/>
                  </a:lnTo>
                  <a:lnTo>
                    <a:pt x="171" y="351"/>
                  </a:lnTo>
                  <a:lnTo>
                    <a:pt x="168" y="354"/>
                  </a:lnTo>
                  <a:lnTo>
                    <a:pt x="160" y="359"/>
                  </a:lnTo>
                  <a:lnTo>
                    <a:pt x="160" y="359"/>
                  </a:lnTo>
                  <a:lnTo>
                    <a:pt x="158" y="361"/>
                  </a:lnTo>
                  <a:lnTo>
                    <a:pt x="153" y="366"/>
                  </a:lnTo>
                  <a:lnTo>
                    <a:pt x="153" y="366"/>
                  </a:lnTo>
                  <a:lnTo>
                    <a:pt x="150" y="371"/>
                  </a:lnTo>
                  <a:lnTo>
                    <a:pt x="148" y="371"/>
                  </a:lnTo>
                  <a:lnTo>
                    <a:pt x="148" y="371"/>
                  </a:lnTo>
                  <a:lnTo>
                    <a:pt x="143" y="376"/>
                  </a:lnTo>
                  <a:lnTo>
                    <a:pt x="140" y="379"/>
                  </a:lnTo>
                  <a:lnTo>
                    <a:pt x="135" y="379"/>
                  </a:lnTo>
                  <a:lnTo>
                    <a:pt x="135" y="382"/>
                  </a:lnTo>
                  <a:lnTo>
                    <a:pt x="132" y="382"/>
                  </a:lnTo>
                  <a:lnTo>
                    <a:pt x="132" y="384"/>
                  </a:lnTo>
                  <a:lnTo>
                    <a:pt x="130" y="384"/>
                  </a:lnTo>
                  <a:lnTo>
                    <a:pt x="127" y="387"/>
                  </a:lnTo>
                  <a:lnTo>
                    <a:pt x="122" y="392"/>
                  </a:lnTo>
                  <a:lnTo>
                    <a:pt x="127" y="389"/>
                  </a:lnTo>
                  <a:lnTo>
                    <a:pt x="132" y="389"/>
                  </a:lnTo>
                  <a:lnTo>
                    <a:pt x="135" y="389"/>
                  </a:lnTo>
                  <a:lnTo>
                    <a:pt x="135" y="389"/>
                  </a:lnTo>
                  <a:lnTo>
                    <a:pt x="135" y="392"/>
                  </a:lnTo>
                  <a:lnTo>
                    <a:pt x="135" y="392"/>
                  </a:lnTo>
                  <a:lnTo>
                    <a:pt x="132" y="392"/>
                  </a:lnTo>
                  <a:lnTo>
                    <a:pt x="135" y="392"/>
                  </a:lnTo>
                  <a:lnTo>
                    <a:pt x="135" y="394"/>
                  </a:lnTo>
                  <a:lnTo>
                    <a:pt x="140" y="394"/>
                  </a:lnTo>
                  <a:lnTo>
                    <a:pt x="143" y="399"/>
                  </a:lnTo>
                  <a:lnTo>
                    <a:pt x="148" y="399"/>
                  </a:lnTo>
                  <a:lnTo>
                    <a:pt x="150" y="397"/>
                  </a:lnTo>
                  <a:lnTo>
                    <a:pt x="153" y="399"/>
                  </a:lnTo>
                  <a:lnTo>
                    <a:pt x="155" y="399"/>
                  </a:lnTo>
                  <a:lnTo>
                    <a:pt x="158" y="402"/>
                  </a:lnTo>
                  <a:lnTo>
                    <a:pt x="160" y="402"/>
                  </a:lnTo>
                  <a:lnTo>
                    <a:pt x="163" y="402"/>
                  </a:lnTo>
                  <a:lnTo>
                    <a:pt x="163" y="404"/>
                  </a:lnTo>
                  <a:lnTo>
                    <a:pt x="160" y="404"/>
                  </a:lnTo>
                  <a:lnTo>
                    <a:pt x="153" y="402"/>
                  </a:lnTo>
                  <a:lnTo>
                    <a:pt x="145" y="402"/>
                  </a:lnTo>
                  <a:lnTo>
                    <a:pt x="145" y="402"/>
                  </a:lnTo>
                  <a:lnTo>
                    <a:pt x="143" y="404"/>
                  </a:lnTo>
                  <a:lnTo>
                    <a:pt x="143" y="404"/>
                  </a:lnTo>
                  <a:lnTo>
                    <a:pt x="143" y="404"/>
                  </a:lnTo>
                  <a:lnTo>
                    <a:pt x="140" y="407"/>
                  </a:lnTo>
                  <a:lnTo>
                    <a:pt x="140" y="407"/>
                  </a:lnTo>
                  <a:lnTo>
                    <a:pt x="138" y="407"/>
                  </a:lnTo>
                  <a:lnTo>
                    <a:pt x="135" y="404"/>
                  </a:lnTo>
                  <a:lnTo>
                    <a:pt x="135" y="407"/>
                  </a:lnTo>
                  <a:lnTo>
                    <a:pt x="135" y="407"/>
                  </a:lnTo>
                  <a:lnTo>
                    <a:pt x="132" y="410"/>
                  </a:lnTo>
                  <a:lnTo>
                    <a:pt x="130" y="407"/>
                  </a:lnTo>
                  <a:lnTo>
                    <a:pt x="130" y="407"/>
                  </a:lnTo>
                  <a:lnTo>
                    <a:pt x="127" y="407"/>
                  </a:lnTo>
                  <a:lnTo>
                    <a:pt x="127" y="407"/>
                  </a:lnTo>
                  <a:lnTo>
                    <a:pt x="127" y="410"/>
                  </a:lnTo>
                  <a:lnTo>
                    <a:pt x="130" y="412"/>
                  </a:lnTo>
                  <a:lnTo>
                    <a:pt x="127" y="412"/>
                  </a:lnTo>
                  <a:lnTo>
                    <a:pt x="130" y="415"/>
                  </a:lnTo>
                  <a:lnTo>
                    <a:pt x="130" y="415"/>
                  </a:lnTo>
                  <a:lnTo>
                    <a:pt x="130" y="415"/>
                  </a:lnTo>
                  <a:lnTo>
                    <a:pt x="130" y="415"/>
                  </a:lnTo>
                  <a:lnTo>
                    <a:pt x="130" y="415"/>
                  </a:lnTo>
                  <a:lnTo>
                    <a:pt x="130" y="417"/>
                  </a:lnTo>
                  <a:lnTo>
                    <a:pt x="130" y="417"/>
                  </a:lnTo>
                  <a:lnTo>
                    <a:pt x="127" y="417"/>
                  </a:lnTo>
                  <a:lnTo>
                    <a:pt x="127" y="417"/>
                  </a:lnTo>
                  <a:lnTo>
                    <a:pt x="127" y="420"/>
                  </a:lnTo>
                  <a:lnTo>
                    <a:pt x="125" y="422"/>
                  </a:lnTo>
                  <a:lnTo>
                    <a:pt x="122" y="425"/>
                  </a:lnTo>
                  <a:lnTo>
                    <a:pt x="122" y="425"/>
                  </a:lnTo>
                  <a:lnTo>
                    <a:pt x="122" y="427"/>
                  </a:lnTo>
                  <a:lnTo>
                    <a:pt x="120" y="427"/>
                  </a:lnTo>
                  <a:lnTo>
                    <a:pt x="120" y="430"/>
                  </a:lnTo>
                  <a:lnTo>
                    <a:pt x="122" y="435"/>
                  </a:lnTo>
                  <a:lnTo>
                    <a:pt x="122" y="435"/>
                  </a:lnTo>
                  <a:lnTo>
                    <a:pt x="122" y="438"/>
                  </a:lnTo>
                  <a:lnTo>
                    <a:pt x="122" y="438"/>
                  </a:lnTo>
                  <a:lnTo>
                    <a:pt x="122" y="440"/>
                  </a:lnTo>
                  <a:lnTo>
                    <a:pt x="125" y="440"/>
                  </a:lnTo>
                  <a:lnTo>
                    <a:pt x="127" y="443"/>
                  </a:lnTo>
                  <a:lnTo>
                    <a:pt x="127" y="445"/>
                  </a:lnTo>
                  <a:lnTo>
                    <a:pt x="127" y="445"/>
                  </a:lnTo>
                  <a:lnTo>
                    <a:pt x="127" y="448"/>
                  </a:lnTo>
                  <a:lnTo>
                    <a:pt x="130" y="448"/>
                  </a:lnTo>
                  <a:lnTo>
                    <a:pt x="130" y="448"/>
                  </a:lnTo>
                  <a:lnTo>
                    <a:pt x="127" y="448"/>
                  </a:lnTo>
                  <a:lnTo>
                    <a:pt x="125" y="448"/>
                  </a:lnTo>
                  <a:lnTo>
                    <a:pt x="125" y="450"/>
                  </a:lnTo>
                  <a:lnTo>
                    <a:pt x="125" y="450"/>
                  </a:lnTo>
                  <a:lnTo>
                    <a:pt x="122" y="450"/>
                  </a:lnTo>
                  <a:lnTo>
                    <a:pt x="122" y="453"/>
                  </a:lnTo>
                  <a:lnTo>
                    <a:pt x="122" y="453"/>
                  </a:lnTo>
                  <a:lnTo>
                    <a:pt x="122" y="453"/>
                  </a:lnTo>
                  <a:lnTo>
                    <a:pt x="125" y="455"/>
                  </a:lnTo>
                  <a:lnTo>
                    <a:pt x="125" y="455"/>
                  </a:lnTo>
                  <a:lnTo>
                    <a:pt x="125" y="455"/>
                  </a:lnTo>
                  <a:lnTo>
                    <a:pt x="127" y="458"/>
                  </a:lnTo>
                  <a:lnTo>
                    <a:pt x="130" y="458"/>
                  </a:lnTo>
                  <a:lnTo>
                    <a:pt x="130" y="458"/>
                  </a:lnTo>
                  <a:lnTo>
                    <a:pt x="132" y="460"/>
                  </a:lnTo>
                  <a:lnTo>
                    <a:pt x="132" y="460"/>
                  </a:lnTo>
                  <a:lnTo>
                    <a:pt x="130" y="460"/>
                  </a:lnTo>
                  <a:lnTo>
                    <a:pt x="130" y="463"/>
                  </a:lnTo>
                  <a:lnTo>
                    <a:pt x="130" y="463"/>
                  </a:lnTo>
                  <a:lnTo>
                    <a:pt x="130" y="466"/>
                  </a:lnTo>
                  <a:lnTo>
                    <a:pt x="130" y="468"/>
                  </a:lnTo>
                  <a:lnTo>
                    <a:pt x="130" y="468"/>
                  </a:lnTo>
                  <a:lnTo>
                    <a:pt x="132" y="468"/>
                  </a:lnTo>
                  <a:lnTo>
                    <a:pt x="132" y="468"/>
                  </a:lnTo>
                  <a:lnTo>
                    <a:pt x="132" y="468"/>
                  </a:lnTo>
                  <a:lnTo>
                    <a:pt x="132" y="471"/>
                  </a:lnTo>
                  <a:lnTo>
                    <a:pt x="135" y="471"/>
                  </a:lnTo>
                  <a:lnTo>
                    <a:pt x="135" y="473"/>
                  </a:lnTo>
                  <a:lnTo>
                    <a:pt x="135" y="473"/>
                  </a:lnTo>
                  <a:lnTo>
                    <a:pt x="138" y="476"/>
                  </a:lnTo>
                  <a:lnTo>
                    <a:pt x="138" y="476"/>
                  </a:lnTo>
                  <a:lnTo>
                    <a:pt x="138" y="478"/>
                  </a:lnTo>
                  <a:lnTo>
                    <a:pt x="140" y="481"/>
                  </a:lnTo>
                  <a:lnTo>
                    <a:pt x="140" y="481"/>
                  </a:lnTo>
                  <a:lnTo>
                    <a:pt x="140" y="483"/>
                  </a:lnTo>
                  <a:lnTo>
                    <a:pt x="140" y="483"/>
                  </a:lnTo>
                  <a:lnTo>
                    <a:pt x="143" y="486"/>
                  </a:lnTo>
                  <a:lnTo>
                    <a:pt x="143" y="486"/>
                  </a:lnTo>
                  <a:lnTo>
                    <a:pt x="143" y="486"/>
                  </a:lnTo>
                  <a:lnTo>
                    <a:pt x="143" y="483"/>
                  </a:lnTo>
                  <a:lnTo>
                    <a:pt x="145" y="483"/>
                  </a:lnTo>
                  <a:lnTo>
                    <a:pt x="148" y="486"/>
                  </a:lnTo>
                  <a:lnTo>
                    <a:pt x="148" y="486"/>
                  </a:lnTo>
                  <a:lnTo>
                    <a:pt x="150" y="488"/>
                  </a:lnTo>
                  <a:lnTo>
                    <a:pt x="150" y="488"/>
                  </a:lnTo>
                  <a:lnTo>
                    <a:pt x="153" y="486"/>
                  </a:lnTo>
                  <a:lnTo>
                    <a:pt x="153" y="486"/>
                  </a:lnTo>
                  <a:lnTo>
                    <a:pt x="155" y="486"/>
                  </a:lnTo>
                  <a:lnTo>
                    <a:pt x="158" y="488"/>
                  </a:lnTo>
                  <a:lnTo>
                    <a:pt x="160" y="488"/>
                  </a:lnTo>
                  <a:lnTo>
                    <a:pt x="160" y="488"/>
                  </a:lnTo>
                  <a:lnTo>
                    <a:pt x="160" y="488"/>
                  </a:lnTo>
                  <a:lnTo>
                    <a:pt x="160" y="491"/>
                  </a:lnTo>
                  <a:lnTo>
                    <a:pt x="160" y="491"/>
                  </a:lnTo>
                  <a:lnTo>
                    <a:pt x="160" y="494"/>
                  </a:lnTo>
                  <a:lnTo>
                    <a:pt x="163" y="494"/>
                  </a:lnTo>
                  <a:lnTo>
                    <a:pt x="166" y="491"/>
                  </a:lnTo>
                  <a:lnTo>
                    <a:pt x="166" y="491"/>
                  </a:lnTo>
                  <a:lnTo>
                    <a:pt x="166" y="491"/>
                  </a:lnTo>
                  <a:lnTo>
                    <a:pt x="168" y="491"/>
                  </a:lnTo>
                  <a:lnTo>
                    <a:pt x="168" y="491"/>
                  </a:lnTo>
                  <a:lnTo>
                    <a:pt x="171" y="491"/>
                  </a:lnTo>
                  <a:lnTo>
                    <a:pt x="171" y="491"/>
                  </a:lnTo>
                  <a:lnTo>
                    <a:pt x="176" y="491"/>
                  </a:lnTo>
                  <a:lnTo>
                    <a:pt x="178" y="491"/>
                  </a:lnTo>
                  <a:lnTo>
                    <a:pt x="178" y="491"/>
                  </a:lnTo>
                  <a:lnTo>
                    <a:pt x="181" y="494"/>
                  </a:lnTo>
                  <a:lnTo>
                    <a:pt x="181" y="494"/>
                  </a:lnTo>
                  <a:lnTo>
                    <a:pt x="183" y="494"/>
                  </a:lnTo>
                  <a:lnTo>
                    <a:pt x="183" y="494"/>
                  </a:lnTo>
                  <a:lnTo>
                    <a:pt x="183" y="496"/>
                  </a:lnTo>
                  <a:lnTo>
                    <a:pt x="186" y="496"/>
                  </a:lnTo>
                  <a:lnTo>
                    <a:pt x="186" y="496"/>
                  </a:lnTo>
                  <a:lnTo>
                    <a:pt x="186" y="496"/>
                  </a:lnTo>
                  <a:lnTo>
                    <a:pt x="186" y="496"/>
                  </a:lnTo>
                  <a:lnTo>
                    <a:pt x="186" y="499"/>
                  </a:lnTo>
                  <a:lnTo>
                    <a:pt x="186" y="501"/>
                  </a:lnTo>
                  <a:lnTo>
                    <a:pt x="186" y="501"/>
                  </a:lnTo>
                  <a:lnTo>
                    <a:pt x="186" y="501"/>
                  </a:lnTo>
                  <a:lnTo>
                    <a:pt x="186" y="501"/>
                  </a:lnTo>
                  <a:lnTo>
                    <a:pt x="186" y="504"/>
                  </a:lnTo>
                  <a:lnTo>
                    <a:pt x="189" y="504"/>
                  </a:lnTo>
                  <a:lnTo>
                    <a:pt x="189" y="506"/>
                  </a:lnTo>
                  <a:lnTo>
                    <a:pt x="189" y="506"/>
                  </a:lnTo>
                  <a:lnTo>
                    <a:pt x="189" y="509"/>
                  </a:lnTo>
                  <a:lnTo>
                    <a:pt x="186" y="509"/>
                  </a:lnTo>
                  <a:lnTo>
                    <a:pt x="186" y="511"/>
                  </a:lnTo>
                  <a:lnTo>
                    <a:pt x="186" y="511"/>
                  </a:lnTo>
                  <a:lnTo>
                    <a:pt x="186" y="511"/>
                  </a:lnTo>
                  <a:lnTo>
                    <a:pt x="191" y="514"/>
                  </a:lnTo>
                  <a:lnTo>
                    <a:pt x="194" y="516"/>
                  </a:lnTo>
                  <a:lnTo>
                    <a:pt x="194" y="516"/>
                  </a:lnTo>
                  <a:lnTo>
                    <a:pt x="194" y="516"/>
                  </a:lnTo>
                  <a:lnTo>
                    <a:pt x="194" y="519"/>
                  </a:lnTo>
                  <a:lnTo>
                    <a:pt x="194" y="519"/>
                  </a:lnTo>
                  <a:lnTo>
                    <a:pt x="194" y="519"/>
                  </a:lnTo>
                  <a:lnTo>
                    <a:pt x="196" y="522"/>
                  </a:lnTo>
                  <a:lnTo>
                    <a:pt x="196" y="524"/>
                  </a:lnTo>
                  <a:lnTo>
                    <a:pt x="199" y="524"/>
                  </a:lnTo>
                  <a:lnTo>
                    <a:pt x="204" y="527"/>
                  </a:lnTo>
                  <a:lnTo>
                    <a:pt x="206" y="529"/>
                  </a:lnTo>
                  <a:lnTo>
                    <a:pt x="206" y="529"/>
                  </a:lnTo>
                  <a:lnTo>
                    <a:pt x="206" y="529"/>
                  </a:lnTo>
                  <a:lnTo>
                    <a:pt x="206" y="532"/>
                  </a:lnTo>
                  <a:lnTo>
                    <a:pt x="206" y="532"/>
                  </a:lnTo>
                  <a:lnTo>
                    <a:pt x="206" y="534"/>
                  </a:lnTo>
                  <a:lnTo>
                    <a:pt x="206" y="534"/>
                  </a:lnTo>
                  <a:lnTo>
                    <a:pt x="209" y="534"/>
                  </a:lnTo>
                  <a:lnTo>
                    <a:pt x="214" y="534"/>
                  </a:lnTo>
                  <a:lnTo>
                    <a:pt x="219" y="537"/>
                  </a:lnTo>
                  <a:lnTo>
                    <a:pt x="219" y="537"/>
                  </a:lnTo>
                  <a:lnTo>
                    <a:pt x="217" y="537"/>
                  </a:lnTo>
                  <a:lnTo>
                    <a:pt x="219" y="539"/>
                  </a:lnTo>
                  <a:lnTo>
                    <a:pt x="219" y="539"/>
                  </a:lnTo>
                  <a:lnTo>
                    <a:pt x="222" y="542"/>
                  </a:lnTo>
                  <a:lnTo>
                    <a:pt x="224" y="542"/>
                  </a:lnTo>
                  <a:lnTo>
                    <a:pt x="224" y="542"/>
                  </a:lnTo>
                  <a:lnTo>
                    <a:pt x="224" y="544"/>
                  </a:lnTo>
                  <a:lnTo>
                    <a:pt x="222" y="544"/>
                  </a:lnTo>
                  <a:lnTo>
                    <a:pt x="222" y="544"/>
                  </a:lnTo>
                  <a:lnTo>
                    <a:pt x="219" y="544"/>
                  </a:lnTo>
                  <a:lnTo>
                    <a:pt x="219" y="547"/>
                  </a:lnTo>
                  <a:lnTo>
                    <a:pt x="217" y="547"/>
                  </a:lnTo>
                  <a:lnTo>
                    <a:pt x="214" y="550"/>
                  </a:lnTo>
                  <a:lnTo>
                    <a:pt x="214" y="550"/>
                  </a:lnTo>
                  <a:lnTo>
                    <a:pt x="209" y="550"/>
                  </a:lnTo>
                  <a:lnTo>
                    <a:pt x="209" y="547"/>
                  </a:lnTo>
                  <a:lnTo>
                    <a:pt x="206" y="547"/>
                  </a:lnTo>
                  <a:lnTo>
                    <a:pt x="206" y="547"/>
                  </a:lnTo>
                  <a:lnTo>
                    <a:pt x="204" y="547"/>
                  </a:lnTo>
                  <a:lnTo>
                    <a:pt x="201" y="547"/>
                  </a:lnTo>
                  <a:lnTo>
                    <a:pt x="201" y="547"/>
                  </a:lnTo>
                  <a:lnTo>
                    <a:pt x="201" y="547"/>
                  </a:lnTo>
                  <a:lnTo>
                    <a:pt x="201" y="550"/>
                  </a:lnTo>
                  <a:lnTo>
                    <a:pt x="199" y="550"/>
                  </a:lnTo>
                  <a:lnTo>
                    <a:pt x="201" y="552"/>
                  </a:lnTo>
                  <a:lnTo>
                    <a:pt x="201" y="552"/>
                  </a:lnTo>
                  <a:lnTo>
                    <a:pt x="204" y="555"/>
                  </a:lnTo>
                  <a:lnTo>
                    <a:pt x="204" y="555"/>
                  </a:lnTo>
                  <a:lnTo>
                    <a:pt x="206" y="557"/>
                  </a:lnTo>
                  <a:lnTo>
                    <a:pt x="206" y="557"/>
                  </a:lnTo>
                  <a:lnTo>
                    <a:pt x="204" y="557"/>
                  </a:lnTo>
                  <a:lnTo>
                    <a:pt x="206" y="560"/>
                  </a:lnTo>
                  <a:lnTo>
                    <a:pt x="206" y="560"/>
                  </a:lnTo>
                  <a:lnTo>
                    <a:pt x="206" y="562"/>
                  </a:lnTo>
                  <a:lnTo>
                    <a:pt x="206" y="562"/>
                  </a:lnTo>
                  <a:lnTo>
                    <a:pt x="206" y="565"/>
                  </a:lnTo>
                  <a:lnTo>
                    <a:pt x="206" y="567"/>
                  </a:lnTo>
                  <a:lnTo>
                    <a:pt x="209" y="567"/>
                  </a:lnTo>
                  <a:lnTo>
                    <a:pt x="209" y="567"/>
                  </a:lnTo>
                  <a:lnTo>
                    <a:pt x="211" y="570"/>
                  </a:lnTo>
                  <a:lnTo>
                    <a:pt x="211" y="570"/>
                  </a:lnTo>
                  <a:lnTo>
                    <a:pt x="211" y="570"/>
                  </a:lnTo>
                  <a:lnTo>
                    <a:pt x="211" y="572"/>
                  </a:lnTo>
                  <a:lnTo>
                    <a:pt x="214" y="572"/>
                  </a:lnTo>
                  <a:lnTo>
                    <a:pt x="217" y="572"/>
                  </a:lnTo>
                  <a:lnTo>
                    <a:pt x="217" y="572"/>
                  </a:lnTo>
                  <a:lnTo>
                    <a:pt x="219" y="570"/>
                  </a:lnTo>
                  <a:lnTo>
                    <a:pt x="219" y="570"/>
                  </a:lnTo>
                  <a:lnTo>
                    <a:pt x="222" y="567"/>
                  </a:lnTo>
                  <a:lnTo>
                    <a:pt x="222" y="567"/>
                  </a:lnTo>
                  <a:lnTo>
                    <a:pt x="222" y="565"/>
                  </a:lnTo>
                  <a:lnTo>
                    <a:pt x="222" y="565"/>
                  </a:lnTo>
                  <a:lnTo>
                    <a:pt x="224" y="567"/>
                  </a:lnTo>
                  <a:lnTo>
                    <a:pt x="229" y="567"/>
                  </a:lnTo>
                  <a:lnTo>
                    <a:pt x="229" y="567"/>
                  </a:lnTo>
                  <a:lnTo>
                    <a:pt x="234" y="565"/>
                  </a:lnTo>
                  <a:lnTo>
                    <a:pt x="237" y="565"/>
                  </a:lnTo>
                  <a:lnTo>
                    <a:pt x="239" y="565"/>
                  </a:lnTo>
                  <a:lnTo>
                    <a:pt x="242" y="565"/>
                  </a:lnTo>
                  <a:lnTo>
                    <a:pt x="245" y="565"/>
                  </a:lnTo>
                  <a:lnTo>
                    <a:pt x="245" y="565"/>
                  </a:lnTo>
                  <a:lnTo>
                    <a:pt x="247" y="567"/>
                  </a:lnTo>
                  <a:lnTo>
                    <a:pt x="250" y="570"/>
                  </a:lnTo>
                  <a:lnTo>
                    <a:pt x="252" y="572"/>
                  </a:lnTo>
                  <a:lnTo>
                    <a:pt x="257" y="578"/>
                  </a:lnTo>
                  <a:lnTo>
                    <a:pt x="257" y="578"/>
                  </a:lnTo>
                  <a:lnTo>
                    <a:pt x="257" y="580"/>
                  </a:lnTo>
                  <a:lnTo>
                    <a:pt x="255" y="580"/>
                  </a:lnTo>
                  <a:lnTo>
                    <a:pt x="252" y="580"/>
                  </a:lnTo>
                  <a:lnTo>
                    <a:pt x="252" y="580"/>
                  </a:lnTo>
                  <a:lnTo>
                    <a:pt x="252" y="580"/>
                  </a:lnTo>
                  <a:lnTo>
                    <a:pt x="255" y="583"/>
                  </a:lnTo>
                  <a:lnTo>
                    <a:pt x="255" y="585"/>
                  </a:lnTo>
                  <a:lnTo>
                    <a:pt x="255" y="585"/>
                  </a:lnTo>
                  <a:lnTo>
                    <a:pt x="255" y="588"/>
                  </a:lnTo>
                  <a:lnTo>
                    <a:pt x="257" y="588"/>
                  </a:lnTo>
                  <a:lnTo>
                    <a:pt x="257" y="588"/>
                  </a:lnTo>
                  <a:lnTo>
                    <a:pt x="255" y="588"/>
                  </a:lnTo>
                  <a:lnTo>
                    <a:pt x="255" y="590"/>
                  </a:lnTo>
                  <a:lnTo>
                    <a:pt x="255" y="590"/>
                  </a:lnTo>
                  <a:lnTo>
                    <a:pt x="260" y="590"/>
                  </a:lnTo>
                  <a:lnTo>
                    <a:pt x="262" y="590"/>
                  </a:lnTo>
                  <a:lnTo>
                    <a:pt x="265" y="590"/>
                  </a:lnTo>
                  <a:lnTo>
                    <a:pt x="265" y="590"/>
                  </a:lnTo>
                  <a:lnTo>
                    <a:pt x="268" y="590"/>
                  </a:lnTo>
                  <a:lnTo>
                    <a:pt x="270" y="590"/>
                  </a:lnTo>
                  <a:lnTo>
                    <a:pt x="270" y="590"/>
                  </a:lnTo>
                  <a:lnTo>
                    <a:pt x="270" y="590"/>
                  </a:lnTo>
                  <a:lnTo>
                    <a:pt x="273" y="593"/>
                  </a:lnTo>
                  <a:lnTo>
                    <a:pt x="273" y="593"/>
                  </a:lnTo>
                  <a:lnTo>
                    <a:pt x="273" y="593"/>
                  </a:lnTo>
                  <a:lnTo>
                    <a:pt x="275" y="593"/>
                  </a:lnTo>
                  <a:lnTo>
                    <a:pt x="275" y="593"/>
                  </a:lnTo>
                  <a:lnTo>
                    <a:pt x="275" y="595"/>
                  </a:lnTo>
                  <a:lnTo>
                    <a:pt x="275" y="595"/>
                  </a:lnTo>
                  <a:lnTo>
                    <a:pt x="275" y="595"/>
                  </a:lnTo>
                  <a:lnTo>
                    <a:pt x="275" y="598"/>
                  </a:lnTo>
                  <a:lnTo>
                    <a:pt x="278" y="598"/>
                  </a:lnTo>
                  <a:lnTo>
                    <a:pt x="278" y="600"/>
                  </a:lnTo>
                  <a:lnTo>
                    <a:pt x="278" y="600"/>
                  </a:lnTo>
                  <a:lnTo>
                    <a:pt x="278" y="600"/>
                  </a:lnTo>
                  <a:lnTo>
                    <a:pt x="278" y="603"/>
                  </a:lnTo>
                  <a:lnTo>
                    <a:pt x="278" y="603"/>
                  </a:lnTo>
                  <a:lnTo>
                    <a:pt x="278" y="605"/>
                  </a:lnTo>
                  <a:lnTo>
                    <a:pt x="280" y="605"/>
                  </a:lnTo>
                  <a:lnTo>
                    <a:pt x="280" y="608"/>
                  </a:lnTo>
                  <a:lnTo>
                    <a:pt x="283" y="608"/>
                  </a:lnTo>
                  <a:lnTo>
                    <a:pt x="283" y="608"/>
                  </a:lnTo>
                  <a:lnTo>
                    <a:pt x="285" y="608"/>
                  </a:lnTo>
                  <a:lnTo>
                    <a:pt x="288" y="608"/>
                  </a:lnTo>
                  <a:lnTo>
                    <a:pt x="288" y="608"/>
                  </a:lnTo>
                  <a:lnTo>
                    <a:pt x="290" y="608"/>
                  </a:lnTo>
                  <a:lnTo>
                    <a:pt x="293" y="608"/>
                  </a:lnTo>
                  <a:lnTo>
                    <a:pt x="293" y="611"/>
                  </a:lnTo>
                  <a:lnTo>
                    <a:pt x="296" y="611"/>
                  </a:lnTo>
                  <a:lnTo>
                    <a:pt x="296" y="611"/>
                  </a:lnTo>
                  <a:lnTo>
                    <a:pt x="298" y="611"/>
                  </a:lnTo>
                  <a:lnTo>
                    <a:pt x="298" y="611"/>
                  </a:lnTo>
                  <a:lnTo>
                    <a:pt x="301" y="613"/>
                  </a:lnTo>
                  <a:lnTo>
                    <a:pt x="301" y="611"/>
                  </a:lnTo>
                  <a:lnTo>
                    <a:pt x="303" y="611"/>
                  </a:lnTo>
                  <a:lnTo>
                    <a:pt x="306" y="608"/>
                  </a:lnTo>
                  <a:lnTo>
                    <a:pt x="308" y="608"/>
                  </a:lnTo>
                  <a:lnTo>
                    <a:pt x="308" y="608"/>
                  </a:lnTo>
                  <a:lnTo>
                    <a:pt x="311" y="608"/>
                  </a:lnTo>
                  <a:lnTo>
                    <a:pt x="313" y="608"/>
                  </a:lnTo>
                  <a:lnTo>
                    <a:pt x="313" y="608"/>
                  </a:lnTo>
                  <a:lnTo>
                    <a:pt x="316" y="608"/>
                  </a:lnTo>
                  <a:lnTo>
                    <a:pt x="316" y="611"/>
                  </a:lnTo>
                  <a:lnTo>
                    <a:pt x="318" y="611"/>
                  </a:lnTo>
                  <a:lnTo>
                    <a:pt x="318" y="613"/>
                  </a:lnTo>
                  <a:lnTo>
                    <a:pt x="324" y="618"/>
                  </a:lnTo>
                  <a:lnTo>
                    <a:pt x="326" y="618"/>
                  </a:lnTo>
                  <a:lnTo>
                    <a:pt x="326" y="618"/>
                  </a:lnTo>
                  <a:lnTo>
                    <a:pt x="329" y="618"/>
                  </a:lnTo>
                  <a:lnTo>
                    <a:pt x="329" y="618"/>
                  </a:lnTo>
                  <a:lnTo>
                    <a:pt x="329" y="616"/>
                  </a:lnTo>
                  <a:lnTo>
                    <a:pt x="329" y="616"/>
                  </a:lnTo>
                  <a:lnTo>
                    <a:pt x="329" y="616"/>
                  </a:lnTo>
                  <a:lnTo>
                    <a:pt x="334" y="618"/>
                  </a:lnTo>
                  <a:lnTo>
                    <a:pt x="334" y="618"/>
                  </a:lnTo>
                  <a:lnTo>
                    <a:pt x="336" y="618"/>
                  </a:lnTo>
                  <a:lnTo>
                    <a:pt x="339" y="618"/>
                  </a:lnTo>
                  <a:lnTo>
                    <a:pt x="341" y="621"/>
                  </a:lnTo>
                  <a:lnTo>
                    <a:pt x="344" y="621"/>
                  </a:lnTo>
                  <a:lnTo>
                    <a:pt x="344" y="621"/>
                  </a:lnTo>
                  <a:lnTo>
                    <a:pt x="347" y="621"/>
                  </a:lnTo>
                  <a:lnTo>
                    <a:pt x="347" y="621"/>
                  </a:lnTo>
                  <a:lnTo>
                    <a:pt x="347" y="621"/>
                  </a:lnTo>
                  <a:lnTo>
                    <a:pt x="349" y="623"/>
                  </a:lnTo>
                  <a:lnTo>
                    <a:pt x="349" y="623"/>
                  </a:lnTo>
                  <a:lnTo>
                    <a:pt x="352" y="623"/>
                  </a:lnTo>
                  <a:lnTo>
                    <a:pt x="354" y="623"/>
                  </a:lnTo>
                  <a:lnTo>
                    <a:pt x="357" y="626"/>
                  </a:lnTo>
                  <a:lnTo>
                    <a:pt x="359" y="626"/>
                  </a:lnTo>
                  <a:lnTo>
                    <a:pt x="362" y="626"/>
                  </a:lnTo>
                  <a:lnTo>
                    <a:pt x="362" y="626"/>
                  </a:lnTo>
                  <a:lnTo>
                    <a:pt x="362" y="626"/>
                  </a:lnTo>
                  <a:lnTo>
                    <a:pt x="364" y="626"/>
                  </a:lnTo>
                  <a:lnTo>
                    <a:pt x="362" y="628"/>
                  </a:lnTo>
                  <a:lnTo>
                    <a:pt x="362" y="628"/>
                  </a:lnTo>
                  <a:lnTo>
                    <a:pt x="364" y="631"/>
                  </a:lnTo>
                  <a:lnTo>
                    <a:pt x="364" y="631"/>
                  </a:lnTo>
                  <a:lnTo>
                    <a:pt x="364" y="633"/>
                  </a:lnTo>
                  <a:lnTo>
                    <a:pt x="364" y="633"/>
                  </a:lnTo>
                  <a:lnTo>
                    <a:pt x="362" y="636"/>
                  </a:lnTo>
                  <a:lnTo>
                    <a:pt x="362" y="636"/>
                  </a:lnTo>
                  <a:lnTo>
                    <a:pt x="359" y="639"/>
                  </a:lnTo>
                  <a:lnTo>
                    <a:pt x="357" y="639"/>
                  </a:lnTo>
                  <a:lnTo>
                    <a:pt x="359" y="639"/>
                  </a:lnTo>
                  <a:lnTo>
                    <a:pt x="359" y="641"/>
                  </a:lnTo>
                  <a:lnTo>
                    <a:pt x="362" y="641"/>
                  </a:lnTo>
                  <a:lnTo>
                    <a:pt x="364" y="641"/>
                  </a:lnTo>
                  <a:lnTo>
                    <a:pt x="364" y="644"/>
                  </a:lnTo>
                  <a:lnTo>
                    <a:pt x="364" y="644"/>
                  </a:lnTo>
                  <a:lnTo>
                    <a:pt x="362" y="644"/>
                  </a:lnTo>
                  <a:lnTo>
                    <a:pt x="359" y="644"/>
                  </a:lnTo>
                  <a:lnTo>
                    <a:pt x="359" y="644"/>
                  </a:lnTo>
                  <a:lnTo>
                    <a:pt x="359" y="644"/>
                  </a:lnTo>
                  <a:lnTo>
                    <a:pt x="359" y="646"/>
                  </a:lnTo>
                  <a:lnTo>
                    <a:pt x="359" y="649"/>
                  </a:lnTo>
                  <a:lnTo>
                    <a:pt x="362" y="649"/>
                  </a:lnTo>
                  <a:lnTo>
                    <a:pt x="362" y="649"/>
                  </a:lnTo>
                  <a:lnTo>
                    <a:pt x="362" y="651"/>
                  </a:lnTo>
                  <a:lnTo>
                    <a:pt x="364" y="651"/>
                  </a:lnTo>
                  <a:lnTo>
                    <a:pt x="364" y="654"/>
                  </a:lnTo>
                  <a:lnTo>
                    <a:pt x="362" y="654"/>
                  </a:lnTo>
                  <a:lnTo>
                    <a:pt x="364" y="654"/>
                  </a:lnTo>
                  <a:lnTo>
                    <a:pt x="364" y="654"/>
                  </a:lnTo>
                  <a:lnTo>
                    <a:pt x="364" y="654"/>
                  </a:lnTo>
                  <a:lnTo>
                    <a:pt x="364" y="654"/>
                  </a:lnTo>
                  <a:lnTo>
                    <a:pt x="364" y="656"/>
                  </a:lnTo>
                  <a:lnTo>
                    <a:pt x="364" y="656"/>
                  </a:lnTo>
                  <a:lnTo>
                    <a:pt x="364" y="659"/>
                  </a:lnTo>
                  <a:lnTo>
                    <a:pt x="362" y="661"/>
                  </a:lnTo>
                  <a:lnTo>
                    <a:pt x="364" y="664"/>
                  </a:lnTo>
                  <a:lnTo>
                    <a:pt x="362" y="664"/>
                  </a:lnTo>
                  <a:lnTo>
                    <a:pt x="362" y="664"/>
                  </a:lnTo>
                  <a:lnTo>
                    <a:pt x="357" y="664"/>
                  </a:lnTo>
                  <a:lnTo>
                    <a:pt x="352" y="664"/>
                  </a:lnTo>
                  <a:lnTo>
                    <a:pt x="352" y="664"/>
                  </a:lnTo>
                  <a:lnTo>
                    <a:pt x="349" y="664"/>
                  </a:lnTo>
                  <a:lnTo>
                    <a:pt x="347" y="664"/>
                  </a:lnTo>
                  <a:lnTo>
                    <a:pt x="344" y="667"/>
                  </a:lnTo>
                  <a:lnTo>
                    <a:pt x="344" y="669"/>
                  </a:lnTo>
                  <a:lnTo>
                    <a:pt x="341" y="669"/>
                  </a:lnTo>
                  <a:lnTo>
                    <a:pt x="339" y="669"/>
                  </a:lnTo>
                  <a:lnTo>
                    <a:pt x="339" y="672"/>
                  </a:lnTo>
                  <a:lnTo>
                    <a:pt x="339" y="672"/>
                  </a:lnTo>
                  <a:lnTo>
                    <a:pt x="339" y="674"/>
                  </a:lnTo>
                  <a:lnTo>
                    <a:pt x="339" y="674"/>
                  </a:lnTo>
                  <a:lnTo>
                    <a:pt x="336" y="674"/>
                  </a:lnTo>
                  <a:lnTo>
                    <a:pt x="336" y="677"/>
                  </a:lnTo>
                  <a:lnTo>
                    <a:pt x="336" y="677"/>
                  </a:lnTo>
                  <a:lnTo>
                    <a:pt x="339" y="677"/>
                  </a:lnTo>
                  <a:lnTo>
                    <a:pt x="339" y="677"/>
                  </a:lnTo>
                  <a:lnTo>
                    <a:pt x="339" y="677"/>
                  </a:lnTo>
                  <a:lnTo>
                    <a:pt x="339" y="677"/>
                  </a:lnTo>
                  <a:lnTo>
                    <a:pt x="339" y="679"/>
                  </a:lnTo>
                  <a:lnTo>
                    <a:pt x="336" y="679"/>
                  </a:lnTo>
                  <a:lnTo>
                    <a:pt x="339" y="679"/>
                  </a:lnTo>
                  <a:lnTo>
                    <a:pt x="339" y="682"/>
                  </a:lnTo>
                  <a:lnTo>
                    <a:pt x="341" y="679"/>
                  </a:lnTo>
                  <a:lnTo>
                    <a:pt x="344" y="677"/>
                  </a:lnTo>
                  <a:lnTo>
                    <a:pt x="347" y="677"/>
                  </a:lnTo>
                  <a:lnTo>
                    <a:pt x="347" y="677"/>
                  </a:lnTo>
                  <a:lnTo>
                    <a:pt x="347" y="679"/>
                  </a:lnTo>
                  <a:lnTo>
                    <a:pt x="344" y="679"/>
                  </a:lnTo>
                  <a:lnTo>
                    <a:pt x="347" y="679"/>
                  </a:lnTo>
                  <a:lnTo>
                    <a:pt x="352" y="679"/>
                  </a:lnTo>
                  <a:lnTo>
                    <a:pt x="352" y="677"/>
                  </a:lnTo>
                  <a:lnTo>
                    <a:pt x="354" y="677"/>
                  </a:lnTo>
                  <a:lnTo>
                    <a:pt x="357" y="679"/>
                  </a:lnTo>
                  <a:lnTo>
                    <a:pt x="357" y="682"/>
                  </a:lnTo>
                  <a:lnTo>
                    <a:pt x="357" y="682"/>
                  </a:lnTo>
                  <a:lnTo>
                    <a:pt x="357" y="682"/>
                  </a:lnTo>
                  <a:lnTo>
                    <a:pt x="354" y="682"/>
                  </a:lnTo>
                  <a:lnTo>
                    <a:pt x="349" y="684"/>
                  </a:lnTo>
                  <a:lnTo>
                    <a:pt x="347" y="687"/>
                  </a:lnTo>
                  <a:lnTo>
                    <a:pt x="344" y="687"/>
                  </a:lnTo>
                  <a:lnTo>
                    <a:pt x="344" y="689"/>
                  </a:lnTo>
                  <a:lnTo>
                    <a:pt x="344" y="689"/>
                  </a:lnTo>
                  <a:lnTo>
                    <a:pt x="341" y="689"/>
                  </a:lnTo>
                  <a:lnTo>
                    <a:pt x="339" y="689"/>
                  </a:lnTo>
                  <a:lnTo>
                    <a:pt x="339" y="689"/>
                  </a:lnTo>
                  <a:lnTo>
                    <a:pt x="336" y="692"/>
                  </a:lnTo>
                  <a:lnTo>
                    <a:pt x="334" y="692"/>
                  </a:lnTo>
                  <a:lnTo>
                    <a:pt x="331" y="692"/>
                  </a:lnTo>
                  <a:lnTo>
                    <a:pt x="334" y="695"/>
                  </a:lnTo>
                  <a:lnTo>
                    <a:pt x="334" y="697"/>
                  </a:lnTo>
                  <a:lnTo>
                    <a:pt x="336" y="697"/>
                  </a:lnTo>
                  <a:lnTo>
                    <a:pt x="339" y="697"/>
                  </a:lnTo>
                  <a:lnTo>
                    <a:pt x="341" y="700"/>
                  </a:lnTo>
                  <a:lnTo>
                    <a:pt x="347" y="702"/>
                  </a:lnTo>
                  <a:lnTo>
                    <a:pt x="344" y="705"/>
                  </a:lnTo>
                  <a:lnTo>
                    <a:pt x="344" y="702"/>
                  </a:lnTo>
                  <a:lnTo>
                    <a:pt x="341" y="702"/>
                  </a:lnTo>
                  <a:lnTo>
                    <a:pt x="339" y="705"/>
                  </a:lnTo>
                  <a:lnTo>
                    <a:pt x="339" y="707"/>
                  </a:lnTo>
                  <a:lnTo>
                    <a:pt x="339" y="705"/>
                  </a:lnTo>
                  <a:lnTo>
                    <a:pt x="339" y="705"/>
                  </a:lnTo>
                  <a:lnTo>
                    <a:pt x="339" y="705"/>
                  </a:lnTo>
                  <a:lnTo>
                    <a:pt x="336" y="705"/>
                  </a:lnTo>
                  <a:lnTo>
                    <a:pt x="336" y="710"/>
                  </a:lnTo>
                  <a:lnTo>
                    <a:pt x="334" y="712"/>
                  </a:lnTo>
                  <a:lnTo>
                    <a:pt x="331" y="715"/>
                  </a:lnTo>
                  <a:lnTo>
                    <a:pt x="331" y="717"/>
                  </a:lnTo>
                  <a:lnTo>
                    <a:pt x="331" y="717"/>
                  </a:lnTo>
                  <a:lnTo>
                    <a:pt x="334" y="717"/>
                  </a:lnTo>
                  <a:lnTo>
                    <a:pt x="334" y="717"/>
                  </a:lnTo>
                  <a:lnTo>
                    <a:pt x="334" y="720"/>
                  </a:lnTo>
                  <a:lnTo>
                    <a:pt x="326" y="720"/>
                  </a:lnTo>
                  <a:lnTo>
                    <a:pt x="326" y="723"/>
                  </a:lnTo>
                  <a:lnTo>
                    <a:pt x="324" y="720"/>
                  </a:lnTo>
                  <a:lnTo>
                    <a:pt x="321" y="720"/>
                  </a:lnTo>
                  <a:lnTo>
                    <a:pt x="318" y="717"/>
                  </a:lnTo>
                  <a:lnTo>
                    <a:pt x="318" y="717"/>
                  </a:lnTo>
                  <a:lnTo>
                    <a:pt x="316" y="720"/>
                  </a:lnTo>
                  <a:lnTo>
                    <a:pt x="316" y="720"/>
                  </a:lnTo>
                  <a:lnTo>
                    <a:pt x="318" y="720"/>
                  </a:lnTo>
                  <a:lnTo>
                    <a:pt x="321" y="720"/>
                  </a:lnTo>
                  <a:lnTo>
                    <a:pt x="318" y="723"/>
                  </a:lnTo>
                  <a:lnTo>
                    <a:pt x="316" y="723"/>
                  </a:lnTo>
                  <a:lnTo>
                    <a:pt x="316" y="725"/>
                  </a:lnTo>
                  <a:lnTo>
                    <a:pt x="316" y="725"/>
                  </a:lnTo>
                  <a:lnTo>
                    <a:pt x="321" y="725"/>
                  </a:lnTo>
                  <a:lnTo>
                    <a:pt x="326" y="730"/>
                  </a:lnTo>
                  <a:lnTo>
                    <a:pt x="329" y="730"/>
                  </a:lnTo>
                  <a:lnTo>
                    <a:pt x="329" y="733"/>
                  </a:lnTo>
                  <a:lnTo>
                    <a:pt x="331" y="735"/>
                  </a:lnTo>
                  <a:lnTo>
                    <a:pt x="331" y="735"/>
                  </a:lnTo>
                  <a:lnTo>
                    <a:pt x="334" y="735"/>
                  </a:lnTo>
                  <a:lnTo>
                    <a:pt x="336" y="738"/>
                  </a:lnTo>
                  <a:lnTo>
                    <a:pt x="339" y="735"/>
                  </a:lnTo>
                  <a:lnTo>
                    <a:pt x="347" y="743"/>
                  </a:lnTo>
                  <a:lnTo>
                    <a:pt x="349" y="743"/>
                  </a:lnTo>
                  <a:lnTo>
                    <a:pt x="354" y="745"/>
                  </a:lnTo>
                  <a:lnTo>
                    <a:pt x="357" y="745"/>
                  </a:lnTo>
                  <a:lnTo>
                    <a:pt x="367" y="753"/>
                  </a:lnTo>
                  <a:lnTo>
                    <a:pt x="372" y="758"/>
                  </a:lnTo>
                  <a:lnTo>
                    <a:pt x="380" y="763"/>
                  </a:lnTo>
                  <a:lnTo>
                    <a:pt x="382" y="763"/>
                  </a:lnTo>
                  <a:lnTo>
                    <a:pt x="382" y="763"/>
                  </a:lnTo>
                  <a:lnTo>
                    <a:pt x="382" y="761"/>
                  </a:lnTo>
                  <a:lnTo>
                    <a:pt x="385" y="761"/>
                  </a:lnTo>
                  <a:lnTo>
                    <a:pt x="387" y="761"/>
                  </a:lnTo>
                  <a:lnTo>
                    <a:pt x="390" y="761"/>
                  </a:lnTo>
                  <a:lnTo>
                    <a:pt x="392" y="761"/>
                  </a:lnTo>
                  <a:lnTo>
                    <a:pt x="395" y="763"/>
                  </a:lnTo>
                  <a:lnTo>
                    <a:pt x="397" y="763"/>
                  </a:lnTo>
                  <a:lnTo>
                    <a:pt x="400" y="766"/>
                  </a:lnTo>
                  <a:lnTo>
                    <a:pt x="405" y="766"/>
                  </a:lnTo>
                  <a:lnTo>
                    <a:pt x="408" y="768"/>
                  </a:lnTo>
                  <a:lnTo>
                    <a:pt x="410" y="768"/>
                  </a:lnTo>
                  <a:lnTo>
                    <a:pt x="420" y="768"/>
                  </a:lnTo>
                  <a:lnTo>
                    <a:pt x="420" y="768"/>
                  </a:lnTo>
                  <a:lnTo>
                    <a:pt x="420" y="768"/>
                  </a:lnTo>
                  <a:lnTo>
                    <a:pt x="423" y="768"/>
                  </a:lnTo>
                  <a:lnTo>
                    <a:pt x="426" y="768"/>
                  </a:lnTo>
                  <a:lnTo>
                    <a:pt x="428" y="771"/>
                  </a:lnTo>
                  <a:lnTo>
                    <a:pt x="431" y="771"/>
                  </a:lnTo>
                  <a:lnTo>
                    <a:pt x="433" y="768"/>
                  </a:lnTo>
                  <a:lnTo>
                    <a:pt x="436" y="771"/>
                  </a:lnTo>
                  <a:lnTo>
                    <a:pt x="436" y="771"/>
                  </a:lnTo>
                  <a:lnTo>
                    <a:pt x="438" y="771"/>
                  </a:lnTo>
                  <a:lnTo>
                    <a:pt x="438" y="773"/>
                  </a:lnTo>
                  <a:lnTo>
                    <a:pt x="443" y="776"/>
                  </a:lnTo>
                  <a:lnTo>
                    <a:pt x="448" y="776"/>
                  </a:lnTo>
                  <a:lnTo>
                    <a:pt x="448" y="779"/>
                  </a:lnTo>
                  <a:lnTo>
                    <a:pt x="454" y="779"/>
                  </a:lnTo>
                  <a:lnTo>
                    <a:pt x="454" y="779"/>
                  </a:lnTo>
                  <a:lnTo>
                    <a:pt x="454" y="779"/>
                  </a:lnTo>
                  <a:lnTo>
                    <a:pt x="451" y="781"/>
                  </a:lnTo>
                  <a:lnTo>
                    <a:pt x="451" y="781"/>
                  </a:lnTo>
                  <a:lnTo>
                    <a:pt x="454" y="781"/>
                  </a:lnTo>
                  <a:lnTo>
                    <a:pt x="454" y="784"/>
                  </a:lnTo>
                  <a:lnTo>
                    <a:pt x="456" y="784"/>
                  </a:lnTo>
                  <a:lnTo>
                    <a:pt x="456" y="781"/>
                  </a:lnTo>
                  <a:lnTo>
                    <a:pt x="459" y="781"/>
                  </a:lnTo>
                  <a:lnTo>
                    <a:pt x="461" y="781"/>
                  </a:lnTo>
                  <a:lnTo>
                    <a:pt x="464" y="779"/>
                  </a:lnTo>
                  <a:lnTo>
                    <a:pt x="466" y="779"/>
                  </a:lnTo>
                  <a:lnTo>
                    <a:pt x="466" y="779"/>
                  </a:lnTo>
                  <a:lnTo>
                    <a:pt x="469" y="779"/>
                  </a:lnTo>
                  <a:lnTo>
                    <a:pt x="469" y="779"/>
                  </a:lnTo>
                  <a:lnTo>
                    <a:pt x="471" y="781"/>
                  </a:lnTo>
                  <a:lnTo>
                    <a:pt x="471" y="779"/>
                  </a:lnTo>
                  <a:lnTo>
                    <a:pt x="471" y="779"/>
                  </a:lnTo>
                  <a:lnTo>
                    <a:pt x="474" y="779"/>
                  </a:lnTo>
                  <a:lnTo>
                    <a:pt x="476" y="781"/>
                  </a:lnTo>
                  <a:lnTo>
                    <a:pt x="479" y="781"/>
                  </a:lnTo>
                  <a:lnTo>
                    <a:pt x="479" y="781"/>
                  </a:lnTo>
                  <a:lnTo>
                    <a:pt x="482" y="784"/>
                  </a:lnTo>
                  <a:lnTo>
                    <a:pt x="487" y="784"/>
                  </a:lnTo>
                  <a:lnTo>
                    <a:pt x="487" y="784"/>
                  </a:lnTo>
                  <a:lnTo>
                    <a:pt x="489" y="784"/>
                  </a:lnTo>
                  <a:lnTo>
                    <a:pt x="489" y="784"/>
                  </a:lnTo>
                  <a:lnTo>
                    <a:pt x="489" y="786"/>
                  </a:lnTo>
                  <a:lnTo>
                    <a:pt x="489" y="789"/>
                  </a:lnTo>
                  <a:lnTo>
                    <a:pt x="489" y="791"/>
                  </a:lnTo>
                  <a:lnTo>
                    <a:pt x="489" y="791"/>
                  </a:lnTo>
                  <a:lnTo>
                    <a:pt x="492" y="794"/>
                  </a:lnTo>
                  <a:lnTo>
                    <a:pt x="494" y="794"/>
                  </a:lnTo>
                  <a:lnTo>
                    <a:pt x="494" y="794"/>
                  </a:lnTo>
                  <a:lnTo>
                    <a:pt x="497" y="794"/>
                  </a:lnTo>
                  <a:lnTo>
                    <a:pt x="499" y="796"/>
                  </a:lnTo>
                  <a:lnTo>
                    <a:pt x="499" y="796"/>
                  </a:lnTo>
                  <a:lnTo>
                    <a:pt x="499" y="796"/>
                  </a:lnTo>
                  <a:lnTo>
                    <a:pt x="505" y="796"/>
                  </a:lnTo>
                  <a:lnTo>
                    <a:pt x="505" y="796"/>
                  </a:lnTo>
                  <a:lnTo>
                    <a:pt x="507" y="799"/>
                  </a:lnTo>
                  <a:lnTo>
                    <a:pt x="507" y="799"/>
                  </a:lnTo>
                  <a:lnTo>
                    <a:pt x="507" y="799"/>
                  </a:lnTo>
                  <a:lnTo>
                    <a:pt x="507" y="799"/>
                  </a:lnTo>
                  <a:lnTo>
                    <a:pt x="510" y="799"/>
                  </a:lnTo>
                  <a:lnTo>
                    <a:pt x="510" y="799"/>
                  </a:lnTo>
                  <a:lnTo>
                    <a:pt x="512" y="801"/>
                  </a:lnTo>
                  <a:lnTo>
                    <a:pt x="515" y="801"/>
                  </a:lnTo>
                  <a:lnTo>
                    <a:pt x="515" y="804"/>
                  </a:lnTo>
                  <a:lnTo>
                    <a:pt x="515" y="804"/>
                  </a:lnTo>
                  <a:lnTo>
                    <a:pt x="517" y="804"/>
                  </a:lnTo>
                  <a:lnTo>
                    <a:pt x="517" y="807"/>
                  </a:lnTo>
                  <a:lnTo>
                    <a:pt x="520" y="807"/>
                  </a:lnTo>
                  <a:lnTo>
                    <a:pt x="522" y="809"/>
                  </a:lnTo>
                  <a:lnTo>
                    <a:pt x="522" y="812"/>
                  </a:lnTo>
                  <a:lnTo>
                    <a:pt x="527" y="812"/>
                  </a:lnTo>
                  <a:lnTo>
                    <a:pt x="527" y="812"/>
                  </a:lnTo>
                  <a:lnTo>
                    <a:pt x="533" y="812"/>
                  </a:lnTo>
                  <a:lnTo>
                    <a:pt x="533" y="812"/>
                  </a:lnTo>
                  <a:lnTo>
                    <a:pt x="535" y="809"/>
                  </a:lnTo>
                  <a:lnTo>
                    <a:pt x="535" y="807"/>
                  </a:lnTo>
                  <a:lnTo>
                    <a:pt x="538" y="807"/>
                  </a:lnTo>
                  <a:lnTo>
                    <a:pt x="540" y="804"/>
                  </a:lnTo>
                  <a:lnTo>
                    <a:pt x="540" y="804"/>
                  </a:lnTo>
                  <a:lnTo>
                    <a:pt x="540" y="801"/>
                  </a:lnTo>
                  <a:lnTo>
                    <a:pt x="543" y="799"/>
                  </a:lnTo>
                  <a:lnTo>
                    <a:pt x="543" y="799"/>
                  </a:lnTo>
                  <a:lnTo>
                    <a:pt x="540" y="796"/>
                  </a:lnTo>
                  <a:lnTo>
                    <a:pt x="540" y="796"/>
                  </a:lnTo>
                  <a:lnTo>
                    <a:pt x="540" y="796"/>
                  </a:lnTo>
                  <a:lnTo>
                    <a:pt x="538" y="794"/>
                  </a:lnTo>
                  <a:lnTo>
                    <a:pt x="535" y="791"/>
                  </a:lnTo>
                  <a:lnTo>
                    <a:pt x="533" y="786"/>
                  </a:lnTo>
                  <a:lnTo>
                    <a:pt x="527" y="781"/>
                  </a:lnTo>
                  <a:lnTo>
                    <a:pt x="525" y="781"/>
                  </a:lnTo>
                  <a:lnTo>
                    <a:pt x="525" y="781"/>
                  </a:lnTo>
                  <a:lnTo>
                    <a:pt x="525" y="779"/>
                  </a:lnTo>
                  <a:lnTo>
                    <a:pt x="522" y="776"/>
                  </a:lnTo>
                  <a:lnTo>
                    <a:pt x="520" y="773"/>
                  </a:lnTo>
                  <a:lnTo>
                    <a:pt x="520" y="773"/>
                  </a:lnTo>
                  <a:lnTo>
                    <a:pt x="520" y="773"/>
                  </a:lnTo>
                  <a:lnTo>
                    <a:pt x="520" y="768"/>
                  </a:lnTo>
                  <a:lnTo>
                    <a:pt x="517" y="768"/>
                  </a:lnTo>
                  <a:lnTo>
                    <a:pt x="517" y="766"/>
                  </a:lnTo>
                  <a:lnTo>
                    <a:pt x="517" y="761"/>
                  </a:lnTo>
                  <a:lnTo>
                    <a:pt x="517" y="758"/>
                  </a:lnTo>
                  <a:lnTo>
                    <a:pt x="520" y="756"/>
                  </a:lnTo>
                  <a:lnTo>
                    <a:pt x="520" y="753"/>
                  </a:lnTo>
                  <a:lnTo>
                    <a:pt x="517" y="756"/>
                  </a:lnTo>
                  <a:lnTo>
                    <a:pt x="517" y="761"/>
                  </a:lnTo>
                  <a:lnTo>
                    <a:pt x="515" y="756"/>
                  </a:lnTo>
                  <a:lnTo>
                    <a:pt x="512" y="751"/>
                  </a:lnTo>
                  <a:lnTo>
                    <a:pt x="512" y="748"/>
                  </a:lnTo>
                  <a:lnTo>
                    <a:pt x="510" y="748"/>
                  </a:lnTo>
                  <a:lnTo>
                    <a:pt x="507" y="745"/>
                  </a:lnTo>
                  <a:lnTo>
                    <a:pt x="505" y="743"/>
                  </a:lnTo>
                  <a:lnTo>
                    <a:pt x="505" y="743"/>
                  </a:lnTo>
                  <a:lnTo>
                    <a:pt x="499" y="743"/>
                  </a:lnTo>
                  <a:lnTo>
                    <a:pt x="499" y="740"/>
                  </a:lnTo>
                  <a:lnTo>
                    <a:pt x="499" y="740"/>
                  </a:lnTo>
                  <a:lnTo>
                    <a:pt x="499" y="738"/>
                  </a:lnTo>
                  <a:lnTo>
                    <a:pt x="499" y="738"/>
                  </a:lnTo>
                  <a:lnTo>
                    <a:pt x="502" y="735"/>
                  </a:lnTo>
                  <a:lnTo>
                    <a:pt x="502" y="735"/>
                  </a:lnTo>
                  <a:lnTo>
                    <a:pt x="502" y="733"/>
                  </a:lnTo>
                  <a:lnTo>
                    <a:pt x="502" y="733"/>
                  </a:lnTo>
                  <a:lnTo>
                    <a:pt x="505" y="733"/>
                  </a:lnTo>
                  <a:lnTo>
                    <a:pt x="505" y="733"/>
                  </a:lnTo>
                  <a:lnTo>
                    <a:pt x="505" y="730"/>
                  </a:lnTo>
                  <a:lnTo>
                    <a:pt x="505" y="730"/>
                  </a:lnTo>
                  <a:lnTo>
                    <a:pt x="507" y="728"/>
                  </a:lnTo>
                  <a:lnTo>
                    <a:pt x="507" y="725"/>
                  </a:lnTo>
                  <a:lnTo>
                    <a:pt x="507" y="723"/>
                  </a:lnTo>
                  <a:lnTo>
                    <a:pt x="510" y="720"/>
                  </a:lnTo>
                  <a:lnTo>
                    <a:pt x="510" y="717"/>
                  </a:lnTo>
                  <a:lnTo>
                    <a:pt x="510" y="717"/>
                  </a:lnTo>
                  <a:lnTo>
                    <a:pt x="510" y="717"/>
                  </a:lnTo>
                  <a:lnTo>
                    <a:pt x="510" y="717"/>
                  </a:lnTo>
                  <a:lnTo>
                    <a:pt x="510" y="715"/>
                  </a:lnTo>
                  <a:lnTo>
                    <a:pt x="510" y="715"/>
                  </a:lnTo>
                  <a:lnTo>
                    <a:pt x="507" y="712"/>
                  </a:lnTo>
                  <a:lnTo>
                    <a:pt x="510" y="712"/>
                  </a:lnTo>
                  <a:lnTo>
                    <a:pt x="510" y="712"/>
                  </a:lnTo>
                  <a:lnTo>
                    <a:pt x="510" y="712"/>
                  </a:lnTo>
                  <a:lnTo>
                    <a:pt x="512" y="715"/>
                  </a:lnTo>
                  <a:lnTo>
                    <a:pt x="512" y="712"/>
                  </a:lnTo>
                  <a:lnTo>
                    <a:pt x="512" y="712"/>
                  </a:lnTo>
                  <a:lnTo>
                    <a:pt x="515" y="712"/>
                  </a:lnTo>
                  <a:lnTo>
                    <a:pt x="515" y="712"/>
                  </a:lnTo>
                  <a:lnTo>
                    <a:pt x="520" y="712"/>
                  </a:lnTo>
                  <a:lnTo>
                    <a:pt x="520" y="712"/>
                  </a:lnTo>
                  <a:lnTo>
                    <a:pt x="522" y="710"/>
                  </a:lnTo>
                  <a:lnTo>
                    <a:pt x="525" y="707"/>
                  </a:lnTo>
                  <a:lnTo>
                    <a:pt x="527" y="707"/>
                  </a:lnTo>
                  <a:lnTo>
                    <a:pt x="527" y="707"/>
                  </a:lnTo>
                  <a:lnTo>
                    <a:pt x="527" y="707"/>
                  </a:lnTo>
                  <a:lnTo>
                    <a:pt x="530" y="707"/>
                  </a:lnTo>
                  <a:lnTo>
                    <a:pt x="530" y="707"/>
                  </a:lnTo>
                  <a:lnTo>
                    <a:pt x="530" y="707"/>
                  </a:lnTo>
                  <a:lnTo>
                    <a:pt x="530" y="705"/>
                  </a:lnTo>
                  <a:lnTo>
                    <a:pt x="530" y="705"/>
                  </a:lnTo>
                  <a:lnTo>
                    <a:pt x="527" y="702"/>
                  </a:lnTo>
                  <a:lnTo>
                    <a:pt x="530" y="702"/>
                  </a:lnTo>
                  <a:lnTo>
                    <a:pt x="530" y="702"/>
                  </a:lnTo>
                  <a:lnTo>
                    <a:pt x="535" y="702"/>
                  </a:lnTo>
                  <a:lnTo>
                    <a:pt x="535" y="700"/>
                  </a:lnTo>
                  <a:lnTo>
                    <a:pt x="535" y="700"/>
                  </a:lnTo>
                  <a:lnTo>
                    <a:pt x="538" y="700"/>
                  </a:lnTo>
                  <a:lnTo>
                    <a:pt x="538" y="697"/>
                  </a:lnTo>
                  <a:lnTo>
                    <a:pt x="535" y="697"/>
                  </a:lnTo>
                  <a:lnTo>
                    <a:pt x="533" y="695"/>
                  </a:lnTo>
                  <a:lnTo>
                    <a:pt x="527" y="695"/>
                  </a:lnTo>
                  <a:lnTo>
                    <a:pt x="525" y="692"/>
                  </a:lnTo>
                  <a:lnTo>
                    <a:pt x="525" y="692"/>
                  </a:lnTo>
                  <a:lnTo>
                    <a:pt x="525" y="692"/>
                  </a:lnTo>
                  <a:lnTo>
                    <a:pt x="522" y="692"/>
                  </a:lnTo>
                  <a:lnTo>
                    <a:pt x="522" y="689"/>
                  </a:lnTo>
                  <a:lnTo>
                    <a:pt x="522" y="689"/>
                  </a:lnTo>
                  <a:lnTo>
                    <a:pt x="522" y="689"/>
                  </a:lnTo>
                  <a:lnTo>
                    <a:pt x="525" y="689"/>
                  </a:lnTo>
                  <a:lnTo>
                    <a:pt x="525" y="689"/>
                  </a:lnTo>
                  <a:lnTo>
                    <a:pt x="525" y="689"/>
                  </a:lnTo>
                  <a:lnTo>
                    <a:pt x="527" y="689"/>
                  </a:lnTo>
                  <a:lnTo>
                    <a:pt x="530" y="689"/>
                  </a:lnTo>
                  <a:lnTo>
                    <a:pt x="530" y="689"/>
                  </a:lnTo>
                  <a:lnTo>
                    <a:pt x="530" y="687"/>
                  </a:lnTo>
                  <a:lnTo>
                    <a:pt x="527" y="684"/>
                  </a:lnTo>
                  <a:lnTo>
                    <a:pt x="525" y="682"/>
                  </a:lnTo>
                  <a:lnTo>
                    <a:pt x="522" y="677"/>
                  </a:lnTo>
                  <a:lnTo>
                    <a:pt x="520" y="677"/>
                  </a:lnTo>
                  <a:lnTo>
                    <a:pt x="517" y="674"/>
                  </a:lnTo>
                  <a:lnTo>
                    <a:pt x="515" y="669"/>
                  </a:lnTo>
                  <a:lnTo>
                    <a:pt x="512" y="667"/>
                  </a:lnTo>
                  <a:lnTo>
                    <a:pt x="512" y="667"/>
                  </a:lnTo>
                  <a:lnTo>
                    <a:pt x="507" y="667"/>
                  </a:lnTo>
                  <a:lnTo>
                    <a:pt x="502" y="667"/>
                  </a:lnTo>
                  <a:lnTo>
                    <a:pt x="499" y="664"/>
                  </a:lnTo>
                  <a:lnTo>
                    <a:pt x="499" y="667"/>
                  </a:lnTo>
                  <a:lnTo>
                    <a:pt x="497" y="667"/>
                  </a:lnTo>
                  <a:lnTo>
                    <a:pt x="494" y="667"/>
                  </a:lnTo>
                  <a:lnTo>
                    <a:pt x="494" y="664"/>
                  </a:lnTo>
                  <a:lnTo>
                    <a:pt x="492" y="661"/>
                  </a:lnTo>
                  <a:lnTo>
                    <a:pt x="492" y="661"/>
                  </a:lnTo>
                  <a:lnTo>
                    <a:pt x="492" y="659"/>
                  </a:lnTo>
                  <a:lnTo>
                    <a:pt x="492" y="656"/>
                  </a:lnTo>
                  <a:lnTo>
                    <a:pt x="489" y="654"/>
                  </a:lnTo>
                  <a:lnTo>
                    <a:pt x="487" y="654"/>
                  </a:lnTo>
                  <a:lnTo>
                    <a:pt x="484" y="651"/>
                  </a:lnTo>
                  <a:lnTo>
                    <a:pt x="482" y="649"/>
                  </a:lnTo>
                  <a:lnTo>
                    <a:pt x="482" y="644"/>
                  </a:lnTo>
                  <a:lnTo>
                    <a:pt x="484" y="639"/>
                  </a:lnTo>
                  <a:lnTo>
                    <a:pt x="487" y="639"/>
                  </a:lnTo>
                  <a:lnTo>
                    <a:pt x="487" y="636"/>
                  </a:lnTo>
                  <a:lnTo>
                    <a:pt x="487" y="636"/>
                  </a:lnTo>
                  <a:lnTo>
                    <a:pt x="487" y="633"/>
                  </a:lnTo>
                  <a:lnTo>
                    <a:pt x="484" y="633"/>
                  </a:lnTo>
                  <a:lnTo>
                    <a:pt x="482" y="631"/>
                  </a:lnTo>
                  <a:lnTo>
                    <a:pt x="482" y="631"/>
                  </a:lnTo>
                  <a:lnTo>
                    <a:pt x="482" y="628"/>
                  </a:lnTo>
                  <a:lnTo>
                    <a:pt x="482" y="623"/>
                  </a:lnTo>
                  <a:lnTo>
                    <a:pt x="482" y="621"/>
                  </a:lnTo>
                  <a:lnTo>
                    <a:pt x="484" y="618"/>
                  </a:lnTo>
                  <a:lnTo>
                    <a:pt x="487" y="616"/>
                  </a:lnTo>
                  <a:lnTo>
                    <a:pt x="487" y="616"/>
                  </a:lnTo>
                  <a:lnTo>
                    <a:pt x="487" y="613"/>
                  </a:lnTo>
                  <a:lnTo>
                    <a:pt x="487" y="611"/>
                  </a:lnTo>
                  <a:lnTo>
                    <a:pt x="487" y="611"/>
                  </a:lnTo>
                  <a:lnTo>
                    <a:pt x="487" y="611"/>
                  </a:lnTo>
                  <a:lnTo>
                    <a:pt x="489" y="608"/>
                  </a:lnTo>
                  <a:lnTo>
                    <a:pt x="489" y="608"/>
                  </a:lnTo>
                  <a:lnTo>
                    <a:pt x="492" y="608"/>
                  </a:lnTo>
                  <a:lnTo>
                    <a:pt x="492" y="608"/>
                  </a:lnTo>
                  <a:lnTo>
                    <a:pt x="497" y="611"/>
                  </a:lnTo>
                  <a:lnTo>
                    <a:pt x="499" y="616"/>
                  </a:lnTo>
                  <a:lnTo>
                    <a:pt x="502" y="618"/>
                  </a:lnTo>
                  <a:lnTo>
                    <a:pt x="505" y="618"/>
                  </a:lnTo>
                  <a:lnTo>
                    <a:pt x="507" y="621"/>
                  </a:lnTo>
                  <a:lnTo>
                    <a:pt x="507" y="621"/>
                  </a:lnTo>
                  <a:lnTo>
                    <a:pt x="510" y="618"/>
                  </a:lnTo>
                  <a:lnTo>
                    <a:pt x="512" y="618"/>
                  </a:lnTo>
                  <a:lnTo>
                    <a:pt x="515" y="618"/>
                  </a:lnTo>
                  <a:lnTo>
                    <a:pt x="515" y="616"/>
                  </a:lnTo>
                  <a:lnTo>
                    <a:pt x="512" y="613"/>
                  </a:lnTo>
                  <a:lnTo>
                    <a:pt x="512" y="613"/>
                  </a:lnTo>
                  <a:lnTo>
                    <a:pt x="512" y="611"/>
                  </a:lnTo>
                  <a:lnTo>
                    <a:pt x="510" y="608"/>
                  </a:lnTo>
                  <a:lnTo>
                    <a:pt x="510" y="605"/>
                  </a:lnTo>
                  <a:lnTo>
                    <a:pt x="507" y="603"/>
                  </a:lnTo>
                  <a:lnTo>
                    <a:pt x="507" y="603"/>
                  </a:lnTo>
                  <a:lnTo>
                    <a:pt x="510" y="603"/>
                  </a:lnTo>
                  <a:lnTo>
                    <a:pt x="510" y="603"/>
                  </a:lnTo>
                  <a:lnTo>
                    <a:pt x="512" y="603"/>
                  </a:lnTo>
                  <a:lnTo>
                    <a:pt x="515" y="600"/>
                  </a:lnTo>
                  <a:lnTo>
                    <a:pt x="520" y="598"/>
                  </a:lnTo>
                  <a:lnTo>
                    <a:pt x="520" y="595"/>
                  </a:lnTo>
                  <a:lnTo>
                    <a:pt x="520" y="593"/>
                  </a:lnTo>
                  <a:lnTo>
                    <a:pt x="520" y="593"/>
                  </a:lnTo>
                  <a:lnTo>
                    <a:pt x="522" y="593"/>
                  </a:lnTo>
                  <a:lnTo>
                    <a:pt x="525" y="593"/>
                  </a:lnTo>
                  <a:lnTo>
                    <a:pt x="527" y="590"/>
                  </a:lnTo>
                  <a:lnTo>
                    <a:pt x="530" y="590"/>
                  </a:lnTo>
                  <a:lnTo>
                    <a:pt x="533" y="588"/>
                  </a:lnTo>
                  <a:lnTo>
                    <a:pt x="533" y="588"/>
                  </a:lnTo>
                  <a:lnTo>
                    <a:pt x="535" y="588"/>
                  </a:lnTo>
                  <a:lnTo>
                    <a:pt x="535" y="583"/>
                  </a:lnTo>
                  <a:lnTo>
                    <a:pt x="538" y="583"/>
                  </a:lnTo>
                  <a:lnTo>
                    <a:pt x="540" y="580"/>
                  </a:lnTo>
                  <a:lnTo>
                    <a:pt x="540" y="578"/>
                  </a:lnTo>
                  <a:lnTo>
                    <a:pt x="540" y="580"/>
                  </a:lnTo>
                  <a:lnTo>
                    <a:pt x="543" y="580"/>
                  </a:lnTo>
                  <a:lnTo>
                    <a:pt x="545" y="580"/>
                  </a:lnTo>
                  <a:lnTo>
                    <a:pt x="548" y="583"/>
                  </a:lnTo>
                  <a:lnTo>
                    <a:pt x="550" y="583"/>
                  </a:lnTo>
                  <a:lnTo>
                    <a:pt x="550" y="583"/>
                  </a:lnTo>
                  <a:lnTo>
                    <a:pt x="550" y="585"/>
                  </a:lnTo>
                  <a:lnTo>
                    <a:pt x="550" y="585"/>
                  </a:lnTo>
                  <a:lnTo>
                    <a:pt x="553" y="585"/>
                  </a:lnTo>
                  <a:lnTo>
                    <a:pt x="556" y="585"/>
                  </a:lnTo>
                  <a:lnTo>
                    <a:pt x="558" y="583"/>
                  </a:lnTo>
                  <a:lnTo>
                    <a:pt x="561" y="580"/>
                  </a:lnTo>
                  <a:lnTo>
                    <a:pt x="563" y="580"/>
                  </a:lnTo>
                  <a:lnTo>
                    <a:pt x="566" y="580"/>
                  </a:lnTo>
                  <a:lnTo>
                    <a:pt x="568" y="583"/>
                  </a:lnTo>
                  <a:lnTo>
                    <a:pt x="571" y="583"/>
                  </a:lnTo>
                  <a:lnTo>
                    <a:pt x="571" y="585"/>
                  </a:lnTo>
                  <a:lnTo>
                    <a:pt x="573" y="585"/>
                  </a:lnTo>
                  <a:lnTo>
                    <a:pt x="573" y="585"/>
                  </a:lnTo>
                  <a:lnTo>
                    <a:pt x="573" y="583"/>
                  </a:lnTo>
                  <a:lnTo>
                    <a:pt x="573" y="583"/>
                  </a:lnTo>
                  <a:lnTo>
                    <a:pt x="576" y="583"/>
                  </a:lnTo>
                  <a:lnTo>
                    <a:pt x="578" y="585"/>
                  </a:lnTo>
                  <a:lnTo>
                    <a:pt x="581" y="585"/>
                  </a:lnTo>
                  <a:lnTo>
                    <a:pt x="584" y="585"/>
                  </a:lnTo>
                  <a:lnTo>
                    <a:pt x="584" y="583"/>
                  </a:lnTo>
                  <a:lnTo>
                    <a:pt x="586" y="585"/>
                  </a:lnTo>
                  <a:lnTo>
                    <a:pt x="586" y="585"/>
                  </a:lnTo>
                  <a:lnTo>
                    <a:pt x="589" y="585"/>
                  </a:lnTo>
                  <a:lnTo>
                    <a:pt x="591" y="590"/>
                  </a:lnTo>
                  <a:lnTo>
                    <a:pt x="594" y="590"/>
                  </a:lnTo>
                  <a:lnTo>
                    <a:pt x="596" y="590"/>
                  </a:lnTo>
                  <a:lnTo>
                    <a:pt x="599" y="593"/>
                  </a:lnTo>
                  <a:lnTo>
                    <a:pt x="601" y="593"/>
                  </a:lnTo>
                  <a:lnTo>
                    <a:pt x="601" y="595"/>
                  </a:lnTo>
                  <a:lnTo>
                    <a:pt x="604" y="595"/>
                  </a:lnTo>
                  <a:lnTo>
                    <a:pt x="606" y="600"/>
                  </a:lnTo>
                  <a:lnTo>
                    <a:pt x="609" y="603"/>
                  </a:lnTo>
                  <a:lnTo>
                    <a:pt x="609" y="603"/>
                  </a:lnTo>
                  <a:lnTo>
                    <a:pt x="612" y="605"/>
                  </a:lnTo>
                  <a:lnTo>
                    <a:pt x="612" y="605"/>
                  </a:lnTo>
                  <a:lnTo>
                    <a:pt x="612" y="605"/>
                  </a:lnTo>
                  <a:lnTo>
                    <a:pt x="612" y="603"/>
                  </a:lnTo>
                  <a:lnTo>
                    <a:pt x="612" y="603"/>
                  </a:lnTo>
                  <a:lnTo>
                    <a:pt x="612" y="600"/>
                  </a:lnTo>
                  <a:lnTo>
                    <a:pt x="609" y="598"/>
                  </a:lnTo>
                  <a:lnTo>
                    <a:pt x="609" y="595"/>
                  </a:lnTo>
                  <a:lnTo>
                    <a:pt x="609" y="595"/>
                  </a:lnTo>
                  <a:lnTo>
                    <a:pt x="609" y="595"/>
                  </a:lnTo>
                  <a:lnTo>
                    <a:pt x="609" y="595"/>
                  </a:lnTo>
                  <a:lnTo>
                    <a:pt x="612" y="595"/>
                  </a:lnTo>
                  <a:lnTo>
                    <a:pt x="614" y="595"/>
                  </a:lnTo>
                  <a:lnTo>
                    <a:pt x="617" y="598"/>
                  </a:lnTo>
                  <a:lnTo>
                    <a:pt x="622" y="600"/>
                  </a:lnTo>
                  <a:lnTo>
                    <a:pt x="624" y="603"/>
                  </a:lnTo>
                  <a:lnTo>
                    <a:pt x="627" y="603"/>
                  </a:lnTo>
                  <a:lnTo>
                    <a:pt x="629" y="603"/>
                  </a:lnTo>
                  <a:lnTo>
                    <a:pt x="632" y="603"/>
                  </a:lnTo>
                  <a:lnTo>
                    <a:pt x="635" y="603"/>
                  </a:lnTo>
                  <a:lnTo>
                    <a:pt x="637" y="600"/>
                  </a:lnTo>
                  <a:lnTo>
                    <a:pt x="637" y="600"/>
                  </a:lnTo>
                  <a:lnTo>
                    <a:pt x="637" y="598"/>
                  </a:lnTo>
                  <a:lnTo>
                    <a:pt x="640" y="595"/>
                  </a:lnTo>
                  <a:lnTo>
                    <a:pt x="642" y="595"/>
                  </a:lnTo>
                  <a:lnTo>
                    <a:pt x="642" y="595"/>
                  </a:lnTo>
                  <a:lnTo>
                    <a:pt x="645" y="595"/>
                  </a:lnTo>
                  <a:lnTo>
                    <a:pt x="647" y="593"/>
                  </a:lnTo>
                  <a:lnTo>
                    <a:pt x="647" y="593"/>
                  </a:lnTo>
                  <a:lnTo>
                    <a:pt x="650" y="593"/>
                  </a:lnTo>
                  <a:lnTo>
                    <a:pt x="655" y="593"/>
                  </a:lnTo>
                  <a:lnTo>
                    <a:pt x="657" y="595"/>
                  </a:lnTo>
                  <a:lnTo>
                    <a:pt x="660" y="598"/>
                  </a:lnTo>
                  <a:lnTo>
                    <a:pt x="660" y="598"/>
                  </a:lnTo>
                  <a:lnTo>
                    <a:pt x="663" y="595"/>
                  </a:lnTo>
                  <a:lnTo>
                    <a:pt x="663" y="595"/>
                  </a:lnTo>
                  <a:lnTo>
                    <a:pt x="665" y="593"/>
                  </a:lnTo>
                  <a:lnTo>
                    <a:pt x="665" y="593"/>
                  </a:lnTo>
                  <a:lnTo>
                    <a:pt x="665" y="593"/>
                  </a:lnTo>
                  <a:lnTo>
                    <a:pt x="668" y="593"/>
                  </a:lnTo>
                  <a:lnTo>
                    <a:pt x="670" y="593"/>
                  </a:lnTo>
                  <a:lnTo>
                    <a:pt x="670" y="593"/>
                  </a:lnTo>
                  <a:lnTo>
                    <a:pt x="675" y="593"/>
                  </a:lnTo>
                  <a:lnTo>
                    <a:pt x="678" y="595"/>
                  </a:lnTo>
                  <a:lnTo>
                    <a:pt x="680" y="598"/>
                  </a:lnTo>
                  <a:lnTo>
                    <a:pt x="683" y="600"/>
                  </a:lnTo>
                  <a:lnTo>
                    <a:pt x="685" y="600"/>
                  </a:lnTo>
                  <a:lnTo>
                    <a:pt x="688" y="600"/>
                  </a:lnTo>
                  <a:lnTo>
                    <a:pt x="688" y="603"/>
                  </a:lnTo>
                  <a:lnTo>
                    <a:pt x="691" y="603"/>
                  </a:lnTo>
                  <a:lnTo>
                    <a:pt x="696" y="603"/>
                  </a:lnTo>
                  <a:lnTo>
                    <a:pt x="696" y="603"/>
                  </a:lnTo>
                  <a:lnTo>
                    <a:pt x="698" y="603"/>
                  </a:lnTo>
                  <a:lnTo>
                    <a:pt x="698" y="605"/>
                  </a:lnTo>
                  <a:lnTo>
                    <a:pt x="698" y="605"/>
                  </a:lnTo>
                  <a:lnTo>
                    <a:pt x="701" y="605"/>
                  </a:lnTo>
                  <a:lnTo>
                    <a:pt x="703" y="603"/>
                  </a:lnTo>
                  <a:lnTo>
                    <a:pt x="703" y="600"/>
                  </a:lnTo>
                  <a:lnTo>
                    <a:pt x="703" y="598"/>
                  </a:lnTo>
                  <a:lnTo>
                    <a:pt x="703" y="598"/>
                  </a:lnTo>
                  <a:lnTo>
                    <a:pt x="706" y="598"/>
                  </a:lnTo>
                  <a:lnTo>
                    <a:pt x="706" y="598"/>
                  </a:lnTo>
                  <a:lnTo>
                    <a:pt x="708" y="600"/>
                  </a:lnTo>
                  <a:lnTo>
                    <a:pt x="708" y="600"/>
                  </a:lnTo>
                  <a:lnTo>
                    <a:pt x="711" y="600"/>
                  </a:lnTo>
                  <a:lnTo>
                    <a:pt x="714" y="603"/>
                  </a:lnTo>
                  <a:lnTo>
                    <a:pt x="716" y="603"/>
                  </a:lnTo>
                  <a:lnTo>
                    <a:pt x="721" y="600"/>
                  </a:lnTo>
                  <a:lnTo>
                    <a:pt x="726" y="600"/>
                  </a:lnTo>
                  <a:lnTo>
                    <a:pt x="729" y="598"/>
                  </a:lnTo>
                  <a:lnTo>
                    <a:pt x="729" y="595"/>
                  </a:lnTo>
                  <a:lnTo>
                    <a:pt x="729" y="593"/>
                  </a:lnTo>
                  <a:lnTo>
                    <a:pt x="729" y="590"/>
                  </a:lnTo>
                  <a:lnTo>
                    <a:pt x="729" y="588"/>
                  </a:lnTo>
                  <a:lnTo>
                    <a:pt x="724" y="585"/>
                  </a:lnTo>
                  <a:lnTo>
                    <a:pt x="724" y="585"/>
                  </a:lnTo>
                  <a:lnTo>
                    <a:pt x="716" y="583"/>
                  </a:lnTo>
                  <a:lnTo>
                    <a:pt x="716" y="583"/>
                  </a:lnTo>
                  <a:lnTo>
                    <a:pt x="716" y="583"/>
                  </a:lnTo>
                  <a:lnTo>
                    <a:pt x="711" y="580"/>
                  </a:lnTo>
                  <a:lnTo>
                    <a:pt x="706" y="580"/>
                  </a:lnTo>
                  <a:lnTo>
                    <a:pt x="706" y="580"/>
                  </a:lnTo>
                  <a:lnTo>
                    <a:pt x="706" y="578"/>
                  </a:lnTo>
                  <a:lnTo>
                    <a:pt x="703" y="578"/>
                  </a:lnTo>
                  <a:lnTo>
                    <a:pt x="698" y="575"/>
                  </a:lnTo>
                  <a:lnTo>
                    <a:pt x="698" y="575"/>
                  </a:lnTo>
                  <a:lnTo>
                    <a:pt x="698" y="572"/>
                  </a:lnTo>
                  <a:lnTo>
                    <a:pt x="701" y="572"/>
                  </a:lnTo>
                  <a:lnTo>
                    <a:pt x="703" y="570"/>
                  </a:lnTo>
                  <a:lnTo>
                    <a:pt x="703" y="570"/>
                  </a:lnTo>
                  <a:lnTo>
                    <a:pt x="706" y="570"/>
                  </a:lnTo>
                  <a:lnTo>
                    <a:pt x="708" y="567"/>
                  </a:lnTo>
                  <a:lnTo>
                    <a:pt x="711" y="567"/>
                  </a:lnTo>
                  <a:lnTo>
                    <a:pt x="711" y="565"/>
                  </a:lnTo>
                  <a:lnTo>
                    <a:pt x="711" y="565"/>
                  </a:lnTo>
                  <a:lnTo>
                    <a:pt x="706" y="560"/>
                  </a:lnTo>
                  <a:lnTo>
                    <a:pt x="706" y="557"/>
                  </a:lnTo>
                  <a:lnTo>
                    <a:pt x="706" y="557"/>
                  </a:lnTo>
                  <a:lnTo>
                    <a:pt x="706" y="555"/>
                  </a:lnTo>
                  <a:lnTo>
                    <a:pt x="706" y="555"/>
                  </a:lnTo>
                  <a:lnTo>
                    <a:pt x="708" y="552"/>
                  </a:lnTo>
                  <a:lnTo>
                    <a:pt x="708" y="552"/>
                  </a:lnTo>
                  <a:lnTo>
                    <a:pt x="711" y="552"/>
                  </a:lnTo>
                  <a:lnTo>
                    <a:pt x="714" y="552"/>
                  </a:lnTo>
                  <a:lnTo>
                    <a:pt x="716" y="552"/>
                  </a:lnTo>
                  <a:lnTo>
                    <a:pt x="719" y="552"/>
                  </a:lnTo>
                  <a:lnTo>
                    <a:pt x="724" y="552"/>
                  </a:lnTo>
                  <a:lnTo>
                    <a:pt x="724" y="552"/>
                  </a:lnTo>
                  <a:lnTo>
                    <a:pt x="726" y="552"/>
                  </a:lnTo>
                  <a:lnTo>
                    <a:pt x="726" y="552"/>
                  </a:lnTo>
                  <a:lnTo>
                    <a:pt x="726" y="550"/>
                  </a:lnTo>
                  <a:lnTo>
                    <a:pt x="724" y="550"/>
                  </a:lnTo>
                  <a:lnTo>
                    <a:pt x="719" y="547"/>
                  </a:lnTo>
                  <a:lnTo>
                    <a:pt x="716" y="547"/>
                  </a:lnTo>
                  <a:lnTo>
                    <a:pt x="716" y="547"/>
                  </a:lnTo>
                  <a:lnTo>
                    <a:pt x="714" y="547"/>
                  </a:lnTo>
                  <a:lnTo>
                    <a:pt x="711" y="544"/>
                  </a:lnTo>
                  <a:lnTo>
                    <a:pt x="708" y="544"/>
                  </a:lnTo>
                  <a:lnTo>
                    <a:pt x="708" y="544"/>
                  </a:lnTo>
                  <a:lnTo>
                    <a:pt x="708" y="542"/>
                  </a:lnTo>
                  <a:lnTo>
                    <a:pt x="708" y="542"/>
                  </a:lnTo>
                  <a:lnTo>
                    <a:pt x="708" y="542"/>
                  </a:lnTo>
                  <a:lnTo>
                    <a:pt x="711" y="542"/>
                  </a:lnTo>
                  <a:lnTo>
                    <a:pt x="714" y="539"/>
                  </a:lnTo>
                  <a:lnTo>
                    <a:pt x="714" y="539"/>
                  </a:lnTo>
                  <a:lnTo>
                    <a:pt x="714" y="539"/>
                  </a:lnTo>
                  <a:lnTo>
                    <a:pt x="711" y="539"/>
                  </a:lnTo>
                  <a:lnTo>
                    <a:pt x="711" y="539"/>
                  </a:lnTo>
                  <a:lnTo>
                    <a:pt x="711" y="539"/>
                  </a:lnTo>
                  <a:lnTo>
                    <a:pt x="708" y="539"/>
                  </a:lnTo>
                  <a:lnTo>
                    <a:pt x="708" y="539"/>
                  </a:lnTo>
                  <a:lnTo>
                    <a:pt x="706" y="539"/>
                  </a:lnTo>
                  <a:lnTo>
                    <a:pt x="703" y="537"/>
                  </a:lnTo>
                  <a:lnTo>
                    <a:pt x="703" y="537"/>
                  </a:lnTo>
                  <a:lnTo>
                    <a:pt x="703" y="537"/>
                  </a:lnTo>
                  <a:lnTo>
                    <a:pt x="703" y="534"/>
                  </a:lnTo>
                  <a:lnTo>
                    <a:pt x="703" y="534"/>
                  </a:lnTo>
                  <a:lnTo>
                    <a:pt x="703" y="532"/>
                  </a:lnTo>
                  <a:lnTo>
                    <a:pt x="703" y="529"/>
                  </a:lnTo>
                  <a:lnTo>
                    <a:pt x="703" y="529"/>
                  </a:lnTo>
                  <a:lnTo>
                    <a:pt x="706" y="529"/>
                  </a:lnTo>
                  <a:lnTo>
                    <a:pt x="711" y="529"/>
                  </a:lnTo>
                  <a:lnTo>
                    <a:pt x="716" y="532"/>
                  </a:lnTo>
                  <a:lnTo>
                    <a:pt x="716" y="529"/>
                  </a:lnTo>
                  <a:lnTo>
                    <a:pt x="719" y="529"/>
                  </a:lnTo>
                  <a:lnTo>
                    <a:pt x="719" y="529"/>
                  </a:lnTo>
                  <a:lnTo>
                    <a:pt x="726" y="529"/>
                  </a:lnTo>
                  <a:lnTo>
                    <a:pt x="726" y="529"/>
                  </a:lnTo>
                  <a:lnTo>
                    <a:pt x="726" y="529"/>
                  </a:lnTo>
                  <a:lnTo>
                    <a:pt x="734" y="527"/>
                  </a:lnTo>
                  <a:lnTo>
                    <a:pt x="736" y="527"/>
                  </a:lnTo>
                  <a:lnTo>
                    <a:pt x="736" y="527"/>
                  </a:lnTo>
                  <a:lnTo>
                    <a:pt x="739" y="527"/>
                  </a:lnTo>
                  <a:lnTo>
                    <a:pt x="739" y="527"/>
                  </a:lnTo>
                  <a:lnTo>
                    <a:pt x="742" y="524"/>
                  </a:lnTo>
                  <a:lnTo>
                    <a:pt x="744" y="524"/>
                  </a:lnTo>
                  <a:lnTo>
                    <a:pt x="744" y="524"/>
                  </a:lnTo>
                  <a:lnTo>
                    <a:pt x="747" y="524"/>
                  </a:lnTo>
                  <a:lnTo>
                    <a:pt x="749" y="524"/>
                  </a:lnTo>
                  <a:lnTo>
                    <a:pt x="749" y="524"/>
                  </a:lnTo>
                  <a:lnTo>
                    <a:pt x="749" y="524"/>
                  </a:lnTo>
                  <a:lnTo>
                    <a:pt x="752" y="522"/>
                  </a:lnTo>
                  <a:lnTo>
                    <a:pt x="757" y="522"/>
                  </a:lnTo>
                  <a:lnTo>
                    <a:pt x="757" y="522"/>
                  </a:lnTo>
                  <a:lnTo>
                    <a:pt x="759" y="522"/>
                  </a:lnTo>
                  <a:lnTo>
                    <a:pt x="762" y="522"/>
                  </a:lnTo>
                  <a:lnTo>
                    <a:pt x="764" y="522"/>
                  </a:lnTo>
                  <a:lnTo>
                    <a:pt x="764" y="522"/>
                  </a:lnTo>
                  <a:lnTo>
                    <a:pt x="767" y="522"/>
                  </a:lnTo>
                  <a:lnTo>
                    <a:pt x="767" y="522"/>
                  </a:lnTo>
                  <a:lnTo>
                    <a:pt x="767" y="519"/>
                  </a:lnTo>
                  <a:lnTo>
                    <a:pt x="767" y="519"/>
                  </a:lnTo>
                  <a:lnTo>
                    <a:pt x="770" y="516"/>
                  </a:lnTo>
                  <a:lnTo>
                    <a:pt x="770" y="516"/>
                  </a:lnTo>
                  <a:lnTo>
                    <a:pt x="772" y="516"/>
                  </a:lnTo>
                  <a:lnTo>
                    <a:pt x="772" y="516"/>
                  </a:lnTo>
                  <a:lnTo>
                    <a:pt x="775" y="516"/>
                  </a:lnTo>
                  <a:lnTo>
                    <a:pt x="777" y="514"/>
                  </a:lnTo>
                  <a:lnTo>
                    <a:pt x="780" y="516"/>
                  </a:lnTo>
                  <a:lnTo>
                    <a:pt x="782" y="514"/>
                  </a:lnTo>
                  <a:lnTo>
                    <a:pt x="790" y="514"/>
                  </a:lnTo>
                  <a:lnTo>
                    <a:pt x="793" y="514"/>
                  </a:lnTo>
                  <a:lnTo>
                    <a:pt x="798" y="511"/>
                  </a:lnTo>
                  <a:lnTo>
                    <a:pt x="800" y="511"/>
                  </a:lnTo>
                  <a:lnTo>
                    <a:pt x="803" y="511"/>
                  </a:lnTo>
                  <a:lnTo>
                    <a:pt x="808" y="511"/>
                  </a:lnTo>
                  <a:lnTo>
                    <a:pt x="808" y="509"/>
                  </a:lnTo>
                  <a:lnTo>
                    <a:pt x="810" y="509"/>
                  </a:lnTo>
                  <a:lnTo>
                    <a:pt x="813" y="509"/>
                  </a:lnTo>
                  <a:lnTo>
                    <a:pt x="813" y="509"/>
                  </a:lnTo>
                  <a:lnTo>
                    <a:pt x="815" y="509"/>
                  </a:lnTo>
                  <a:lnTo>
                    <a:pt x="815" y="506"/>
                  </a:lnTo>
                  <a:lnTo>
                    <a:pt x="813" y="506"/>
                  </a:lnTo>
                  <a:lnTo>
                    <a:pt x="813" y="504"/>
                  </a:lnTo>
                  <a:lnTo>
                    <a:pt x="815" y="504"/>
                  </a:lnTo>
                  <a:lnTo>
                    <a:pt x="815" y="504"/>
                  </a:lnTo>
                  <a:lnTo>
                    <a:pt x="818" y="504"/>
                  </a:lnTo>
                  <a:lnTo>
                    <a:pt x="821" y="501"/>
                  </a:lnTo>
                  <a:lnTo>
                    <a:pt x="823" y="501"/>
                  </a:lnTo>
                  <a:lnTo>
                    <a:pt x="823" y="499"/>
                  </a:lnTo>
                  <a:lnTo>
                    <a:pt x="828" y="501"/>
                  </a:lnTo>
                  <a:lnTo>
                    <a:pt x="833" y="501"/>
                  </a:lnTo>
                  <a:lnTo>
                    <a:pt x="838" y="501"/>
                  </a:lnTo>
                  <a:lnTo>
                    <a:pt x="841" y="504"/>
                  </a:lnTo>
                  <a:lnTo>
                    <a:pt x="843" y="504"/>
                  </a:lnTo>
                  <a:lnTo>
                    <a:pt x="843" y="504"/>
                  </a:lnTo>
                  <a:lnTo>
                    <a:pt x="846" y="504"/>
                  </a:lnTo>
                  <a:lnTo>
                    <a:pt x="849" y="504"/>
                  </a:lnTo>
                  <a:lnTo>
                    <a:pt x="849" y="504"/>
                  </a:lnTo>
                  <a:lnTo>
                    <a:pt x="849" y="504"/>
                  </a:lnTo>
                  <a:lnTo>
                    <a:pt x="851" y="501"/>
                  </a:lnTo>
                  <a:lnTo>
                    <a:pt x="854" y="501"/>
                  </a:lnTo>
                  <a:lnTo>
                    <a:pt x="856" y="501"/>
                  </a:lnTo>
                  <a:lnTo>
                    <a:pt x="859" y="506"/>
                  </a:lnTo>
                  <a:lnTo>
                    <a:pt x="861" y="509"/>
                  </a:lnTo>
                  <a:lnTo>
                    <a:pt x="866" y="514"/>
                  </a:lnTo>
                  <a:lnTo>
                    <a:pt x="869" y="516"/>
                  </a:lnTo>
                  <a:lnTo>
                    <a:pt x="869" y="519"/>
                  </a:lnTo>
                  <a:lnTo>
                    <a:pt x="869" y="519"/>
                  </a:lnTo>
                  <a:lnTo>
                    <a:pt x="869" y="522"/>
                  </a:lnTo>
                  <a:lnTo>
                    <a:pt x="869" y="524"/>
                  </a:lnTo>
                  <a:lnTo>
                    <a:pt x="869" y="524"/>
                  </a:lnTo>
                  <a:lnTo>
                    <a:pt x="874" y="527"/>
                  </a:lnTo>
                  <a:lnTo>
                    <a:pt x="879" y="527"/>
                  </a:lnTo>
                  <a:lnTo>
                    <a:pt x="882" y="524"/>
                  </a:lnTo>
                  <a:lnTo>
                    <a:pt x="884" y="524"/>
                  </a:lnTo>
                  <a:lnTo>
                    <a:pt x="887" y="524"/>
                  </a:lnTo>
                  <a:lnTo>
                    <a:pt x="887" y="522"/>
                  </a:lnTo>
                  <a:lnTo>
                    <a:pt x="887" y="522"/>
                  </a:lnTo>
                  <a:lnTo>
                    <a:pt x="889" y="524"/>
                  </a:lnTo>
                  <a:lnTo>
                    <a:pt x="889" y="527"/>
                  </a:lnTo>
                  <a:lnTo>
                    <a:pt x="892" y="527"/>
                  </a:lnTo>
                  <a:lnTo>
                    <a:pt x="892" y="529"/>
                  </a:lnTo>
                  <a:lnTo>
                    <a:pt x="894" y="529"/>
                  </a:lnTo>
                  <a:lnTo>
                    <a:pt x="894" y="532"/>
                  </a:lnTo>
                  <a:lnTo>
                    <a:pt x="894" y="529"/>
                  </a:lnTo>
                  <a:lnTo>
                    <a:pt x="897" y="529"/>
                  </a:lnTo>
                  <a:lnTo>
                    <a:pt x="897" y="529"/>
                  </a:lnTo>
                  <a:lnTo>
                    <a:pt x="897" y="529"/>
                  </a:lnTo>
                  <a:lnTo>
                    <a:pt x="894" y="527"/>
                  </a:lnTo>
                  <a:lnTo>
                    <a:pt x="894" y="527"/>
                  </a:lnTo>
                  <a:lnTo>
                    <a:pt x="897" y="527"/>
                  </a:lnTo>
                  <a:lnTo>
                    <a:pt x="897" y="527"/>
                  </a:lnTo>
                  <a:lnTo>
                    <a:pt x="902" y="527"/>
                  </a:lnTo>
                  <a:lnTo>
                    <a:pt x="905" y="529"/>
                  </a:lnTo>
                  <a:lnTo>
                    <a:pt x="907" y="529"/>
                  </a:lnTo>
                  <a:lnTo>
                    <a:pt x="910" y="529"/>
                  </a:lnTo>
                  <a:lnTo>
                    <a:pt x="910" y="529"/>
                  </a:lnTo>
                  <a:lnTo>
                    <a:pt x="912" y="529"/>
                  </a:lnTo>
                  <a:lnTo>
                    <a:pt x="912" y="529"/>
                  </a:lnTo>
                  <a:lnTo>
                    <a:pt x="912" y="529"/>
                  </a:lnTo>
                  <a:lnTo>
                    <a:pt x="915" y="529"/>
                  </a:lnTo>
                  <a:lnTo>
                    <a:pt x="915" y="529"/>
                  </a:lnTo>
                  <a:lnTo>
                    <a:pt x="915" y="529"/>
                  </a:lnTo>
                  <a:lnTo>
                    <a:pt x="915" y="532"/>
                  </a:lnTo>
                  <a:lnTo>
                    <a:pt x="915" y="532"/>
                  </a:lnTo>
                  <a:lnTo>
                    <a:pt x="912" y="534"/>
                  </a:lnTo>
                  <a:lnTo>
                    <a:pt x="912" y="537"/>
                  </a:lnTo>
                  <a:lnTo>
                    <a:pt x="912" y="537"/>
                  </a:lnTo>
                  <a:lnTo>
                    <a:pt x="912" y="539"/>
                  </a:lnTo>
                  <a:lnTo>
                    <a:pt x="915" y="539"/>
                  </a:lnTo>
                  <a:lnTo>
                    <a:pt x="915" y="542"/>
                  </a:lnTo>
                  <a:lnTo>
                    <a:pt x="915" y="542"/>
                  </a:lnTo>
                  <a:lnTo>
                    <a:pt x="915" y="542"/>
                  </a:lnTo>
                  <a:lnTo>
                    <a:pt x="917" y="539"/>
                  </a:lnTo>
                  <a:lnTo>
                    <a:pt x="920" y="537"/>
                  </a:lnTo>
                  <a:lnTo>
                    <a:pt x="922" y="537"/>
                  </a:lnTo>
                  <a:lnTo>
                    <a:pt x="925" y="537"/>
                  </a:lnTo>
                  <a:lnTo>
                    <a:pt x="928" y="539"/>
                  </a:lnTo>
                  <a:lnTo>
                    <a:pt x="930" y="539"/>
                  </a:lnTo>
                  <a:lnTo>
                    <a:pt x="930" y="539"/>
                  </a:lnTo>
                  <a:lnTo>
                    <a:pt x="933" y="539"/>
                  </a:lnTo>
                  <a:lnTo>
                    <a:pt x="933" y="539"/>
                  </a:lnTo>
                  <a:lnTo>
                    <a:pt x="930" y="537"/>
                  </a:lnTo>
                  <a:lnTo>
                    <a:pt x="930" y="537"/>
                  </a:lnTo>
                  <a:lnTo>
                    <a:pt x="935" y="534"/>
                  </a:lnTo>
                  <a:lnTo>
                    <a:pt x="935" y="534"/>
                  </a:lnTo>
                  <a:lnTo>
                    <a:pt x="938" y="532"/>
                  </a:lnTo>
                  <a:lnTo>
                    <a:pt x="938" y="534"/>
                  </a:lnTo>
                  <a:lnTo>
                    <a:pt x="940" y="534"/>
                  </a:lnTo>
                  <a:lnTo>
                    <a:pt x="943" y="532"/>
                  </a:lnTo>
                  <a:lnTo>
                    <a:pt x="943" y="529"/>
                  </a:lnTo>
                  <a:lnTo>
                    <a:pt x="943" y="529"/>
                  </a:lnTo>
                  <a:lnTo>
                    <a:pt x="943" y="529"/>
                  </a:lnTo>
                  <a:lnTo>
                    <a:pt x="943" y="527"/>
                  </a:lnTo>
                  <a:lnTo>
                    <a:pt x="948" y="527"/>
                  </a:lnTo>
                  <a:lnTo>
                    <a:pt x="948" y="527"/>
                  </a:lnTo>
                  <a:lnTo>
                    <a:pt x="951" y="527"/>
                  </a:lnTo>
                  <a:lnTo>
                    <a:pt x="953" y="524"/>
                  </a:lnTo>
                  <a:lnTo>
                    <a:pt x="956" y="522"/>
                  </a:lnTo>
                  <a:lnTo>
                    <a:pt x="961" y="522"/>
                  </a:lnTo>
                  <a:lnTo>
                    <a:pt x="961" y="522"/>
                  </a:lnTo>
                  <a:lnTo>
                    <a:pt x="961" y="522"/>
                  </a:lnTo>
                  <a:lnTo>
                    <a:pt x="963" y="519"/>
                  </a:lnTo>
                  <a:lnTo>
                    <a:pt x="963" y="519"/>
                  </a:lnTo>
                  <a:lnTo>
                    <a:pt x="966" y="522"/>
                  </a:lnTo>
                  <a:lnTo>
                    <a:pt x="963" y="527"/>
                  </a:lnTo>
                  <a:lnTo>
                    <a:pt x="963" y="527"/>
                  </a:lnTo>
                  <a:lnTo>
                    <a:pt x="961" y="527"/>
                  </a:lnTo>
                  <a:lnTo>
                    <a:pt x="961" y="527"/>
                  </a:lnTo>
                  <a:lnTo>
                    <a:pt x="961" y="529"/>
                  </a:lnTo>
                  <a:lnTo>
                    <a:pt x="963" y="529"/>
                  </a:lnTo>
                  <a:lnTo>
                    <a:pt x="963" y="529"/>
                  </a:lnTo>
                  <a:lnTo>
                    <a:pt x="963" y="532"/>
                  </a:lnTo>
                  <a:lnTo>
                    <a:pt x="971" y="534"/>
                  </a:lnTo>
                  <a:lnTo>
                    <a:pt x="976" y="537"/>
                  </a:lnTo>
                  <a:lnTo>
                    <a:pt x="984" y="539"/>
                  </a:lnTo>
                  <a:lnTo>
                    <a:pt x="989" y="542"/>
                  </a:lnTo>
                  <a:lnTo>
                    <a:pt x="991" y="544"/>
                  </a:lnTo>
                  <a:lnTo>
                    <a:pt x="991" y="544"/>
                  </a:lnTo>
                  <a:lnTo>
                    <a:pt x="996" y="550"/>
                  </a:lnTo>
                  <a:lnTo>
                    <a:pt x="1001" y="552"/>
                  </a:lnTo>
                  <a:lnTo>
                    <a:pt x="1009" y="560"/>
                  </a:lnTo>
                  <a:lnTo>
                    <a:pt x="1014" y="565"/>
                  </a:lnTo>
                  <a:lnTo>
                    <a:pt x="1022" y="572"/>
                  </a:lnTo>
                  <a:lnTo>
                    <a:pt x="1027" y="575"/>
                  </a:lnTo>
                  <a:lnTo>
                    <a:pt x="1035" y="583"/>
                  </a:lnTo>
                  <a:lnTo>
                    <a:pt x="1037" y="585"/>
                  </a:lnTo>
                  <a:lnTo>
                    <a:pt x="1042" y="590"/>
                  </a:lnTo>
                  <a:lnTo>
                    <a:pt x="1047" y="595"/>
                  </a:lnTo>
                  <a:lnTo>
                    <a:pt x="1050" y="600"/>
                  </a:lnTo>
                  <a:lnTo>
                    <a:pt x="1052" y="600"/>
                  </a:lnTo>
                  <a:lnTo>
                    <a:pt x="1052" y="598"/>
                  </a:lnTo>
                  <a:lnTo>
                    <a:pt x="1052" y="598"/>
                  </a:lnTo>
                  <a:lnTo>
                    <a:pt x="1052" y="598"/>
                  </a:lnTo>
                  <a:lnTo>
                    <a:pt x="1055" y="595"/>
                  </a:lnTo>
                  <a:lnTo>
                    <a:pt x="1055" y="595"/>
                  </a:lnTo>
                  <a:lnTo>
                    <a:pt x="1055" y="595"/>
                  </a:lnTo>
                  <a:lnTo>
                    <a:pt x="1058" y="595"/>
                  </a:lnTo>
                  <a:lnTo>
                    <a:pt x="1058" y="595"/>
                  </a:lnTo>
                  <a:lnTo>
                    <a:pt x="1055" y="593"/>
                  </a:lnTo>
                  <a:lnTo>
                    <a:pt x="1055" y="593"/>
                  </a:lnTo>
                  <a:lnTo>
                    <a:pt x="1055" y="590"/>
                  </a:lnTo>
                  <a:lnTo>
                    <a:pt x="1055" y="590"/>
                  </a:lnTo>
                  <a:lnTo>
                    <a:pt x="1058" y="590"/>
                  </a:lnTo>
                  <a:lnTo>
                    <a:pt x="1058" y="590"/>
                  </a:lnTo>
                  <a:lnTo>
                    <a:pt x="1058" y="588"/>
                  </a:lnTo>
                  <a:lnTo>
                    <a:pt x="1060" y="588"/>
                  </a:lnTo>
                  <a:lnTo>
                    <a:pt x="1060" y="588"/>
                  </a:lnTo>
                  <a:lnTo>
                    <a:pt x="1063" y="588"/>
                  </a:lnTo>
                  <a:lnTo>
                    <a:pt x="1063" y="590"/>
                  </a:lnTo>
                  <a:lnTo>
                    <a:pt x="1065" y="590"/>
                  </a:lnTo>
                  <a:lnTo>
                    <a:pt x="1065" y="590"/>
                  </a:lnTo>
                  <a:lnTo>
                    <a:pt x="1068" y="590"/>
                  </a:lnTo>
                  <a:lnTo>
                    <a:pt x="1068" y="590"/>
                  </a:lnTo>
                  <a:lnTo>
                    <a:pt x="1068" y="593"/>
                  </a:lnTo>
                  <a:lnTo>
                    <a:pt x="1068" y="595"/>
                  </a:lnTo>
                  <a:lnTo>
                    <a:pt x="1068" y="595"/>
                  </a:lnTo>
                  <a:lnTo>
                    <a:pt x="1070" y="595"/>
                  </a:lnTo>
                  <a:lnTo>
                    <a:pt x="1073" y="595"/>
                  </a:lnTo>
                  <a:lnTo>
                    <a:pt x="1073" y="595"/>
                  </a:lnTo>
                  <a:lnTo>
                    <a:pt x="1075" y="595"/>
                  </a:lnTo>
                  <a:lnTo>
                    <a:pt x="1075" y="598"/>
                  </a:lnTo>
                  <a:lnTo>
                    <a:pt x="1075" y="598"/>
                  </a:lnTo>
                  <a:lnTo>
                    <a:pt x="1075" y="600"/>
                  </a:lnTo>
                  <a:lnTo>
                    <a:pt x="1078" y="600"/>
                  </a:lnTo>
                  <a:lnTo>
                    <a:pt x="1081" y="600"/>
                  </a:lnTo>
                  <a:lnTo>
                    <a:pt x="1083" y="600"/>
                  </a:lnTo>
                  <a:lnTo>
                    <a:pt x="1086" y="600"/>
                  </a:lnTo>
                  <a:lnTo>
                    <a:pt x="1088" y="600"/>
                  </a:lnTo>
                  <a:lnTo>
                    <a:pt x="1091" y="600"/>
                  </a:lnTo>
                  <a:lnTo>
                    <a:pt x="1093" y="600"/>
                  </a:lnTo>
                  <a:lnTo>
                    <a:pt x="1096" y="600"/>
                  </a:lnTo>
                  <a:lnTo>
                    <a:pt x="1096" y="600"/>
                  </a:lnTo>
                  <a:lnTo>
                    <a:pt x="1098" y="598"/>
                  </a:lnTo>
                  <a:lnTo>
                    <a:pt x="1098" y="598"/>
                  </a:lnTo>
                  <a:lnTo>
                    <a:pt x="1098" y="598"/>
                  </a:lnTo>
                  <a:lnTo>
                    <a:pt x="1101" y="598"/>
                  </a:lnTo>
                  <a:lnTo>
                    <a:pt x="1103" y="598"/>
                  </a:lnTo>
                  <a:lnTo>
                    <a:pt x="1103" y="595"/>
                  </a:lnTo>
                  <a:lnTo>
                    <a:pt x="1103" y="595"/>
                  </a:lnTo>
                  <a:lnTo>
                    <a:pt x="1106" y="595"/>
                  </a:lnTo>
                  <a:lnTo>
                    <a:pt x="1109" y="595"/>
                  </a:lnTo>
                  <a:lnTo>
                    <a:pt x="1111" y="595"/>
                  </a:lnTo>
                  <a:lnTo>
                    <a:pt x="1114" y="598"/>
                  </a:lnTo>
                  <a:lnTo>
                    <a:pt x="1119" y="598"/>
                  </a:lnTo>
                  <a:lnTo>
                    <a:pt x="1119" y="600"/>
                  </a:lnTo>
                  <a:lnTo>
                    <a:pt x="1121" y="600"/>
                  </a:lnTo>
                  <a:lnTo>
                    <a:pt x="1124" y="603"/>
                  </a:lnTo>
                  <a:lnTo>
                    <a:pt x="1126" y="605"/>
                  </a:lnTo>
                  <a:lnTo>
                    <a:pt x="1126" y="608"/>
                  </a:lnTo>
                  <a:lnTo>
                    <a:pt x="1129" y="611"/>
                  </a:lnTo>
                  <a:lnTo>
                    <a:pt x="1131" y="611"/>
                  </a:lnTo>
                  <a:lnTo>
                    <a:pt x="1131" y="611"/>
                  </a:lnTo>
                  <a:lnTo>
                    <a:pt x="1134" y="611"/>
                  </a:lnTo>
                  <a:lnTo>
                    <a:pt x="1137" y="613"/>
                  </a:lnTo>
                  <a:lnTo>
                    <a:pt x="1142" y="616"/>
                  </a:lnTo>
                  <a:lnTo>
                    <a:pt x="1144" y="616"/>
                  </a:lnTo>
                  <a:lnTo>
                    <a:pt x="1144" y="616"/>
                  </a:lnTo>
                  <a:lnTo>
                    <a:pt x="1144" y="616"/>
                  </a:lnTo>
                  <a:lnTo>
                    <a:pt x="1144" y="618"/>
                  </a:lnTo>
                  <a:lnTo>
                    <a:pt x="1147" y="618"/>
                  </a:lnTo>
                  <a:lnTo>
                    <a:pt x="1149" y="621"/>
                  </a:lnTo>
                  <a:lnTo>
                    <a:pt x="1149" y="623"/>
                  </a:lnTo>
                  <a:lnTo>
                    <a:pt x="1152" y="623"/>
                  </a:lnTo>
                  <a:lnTo>
                    <a:pt x="1152" y="626"/>
                  </a:lnTo>
                  <a:lnTo>
                    <a:pt x="1154" y="626"/>
                  </a:lnTo>
                  <a:lnTo>
                    <a:pt x="1154" y="626"/>
                  </a:lnTo>
                  <a:lnTo>
                    <a:pt x="1157" y="626"/>
                  </a:lnTo>
                  <a:lnTo>
                    <a:pt x="1165" y="626"/>
                  </a:lnTo>
                  <a:lnTo>
                    <a:pt x="1165" y="626"/>
                  </a:lnTo>
                  <a:lnTo>
                    <a:pt x="1167" y="628"/>
                  </a:lnTo>
                  <a:lnTo>
                    <a:pt x="1167" y="628"/>
                  </a:lnTo>
                  <a:lnTo>
                    <a:pt x="1170" y="628"/>
                  </a:lnTo>
                  <a:lnTo>
                    <a:pt x="1170" y="628"/>
                  </a:lnTo>
                  <a:lnTo>
                    <a:pt x="1172" y="626"/>
                  </a:lnTo>
                  <a:lnTo>
                    <a:pt x="1172" y="626"/>
                  </a:lnTo>
                  <a:lnTo>
                    <a:pt x="1172" y="623"/>
                  </a:lnTo>
                  <a:lnTo>
                    <a:pt x="1175" y="623"/>
                  </a:lnTo>
                  <a:lnTo>
                    <a:pt x="1175" y="621"/>
                  </a:lnTo>
                  <a:lnTo>
                    <a:pt x="1177" y="621"/>
                  </a:lnTo>
                  <a:lnTo>
                    <a:pt x="1177" y="623"/>
                  </a:lnTo>
                  <a:lnTo>
                    <a:pt x="1177" y="623"/>
                  </a:lnTo>
                  <a:lnTo>
                    <a:pt x="1177" y="623"/>
                  </a:lnTo>
                  <a:lnTo>
                    <a:pt x="1177" y="626"/>
                  </a:lnTo>
                  <a:lnTo>
                    <a:pt x="1177" y="626"/>
                  </a:lnTo>
                  <a:lnTo>
                    <a:pt x="1180" y="626"/>
                  </a:lnTo>
                  <a:lnTo>
                    <a:pt x="1182" y="628"/>
                  </a:lnTo>
                  <a:lnTo>
                    <a:pt x="1185" y="631"/>
                  </a:lnTo>
                  <a:lnTo>
                    <a:pt x="1188" y="633"/>
                  </a:lnTo>
                  <a:lnTo>
                    <a:pt x="1188" y="633"/>
                  </a:lnTo>
                  <a:lnTo>
                    <a:pt x="1190" y="633"/>
                  </a:lnTo>
                  <a:lnTo>
                    <a:pt x="1193" y="633"/>
                  </a:lnTo>
                  <a:lnTo>
                    <a:pt x="1193" y="636"/>
                  </a:lnTo>
                  <a:lnTo>
                    <a:pt x="1195" y="636"/>
                  </a:lnTo>
                  <a:lnTo>
                    <a:pt x="1195" y="636"/>
                  </a:lnTo>
                  <a:lnTo>
                    <a:pt x="1198" y="636"/>
                  </a:lnTo>
                  <a:lnTo>
                    <a:pt x="1198" y="636"/>
                  </a:lnTo>
                  <a:lnTo>
                    <a:pt x="1198" y="636"/>
                  </a:lnTo>
                  <a:lnTo>
                    <a:pt x="1200" y="636"/>
                  </a:lnTo>
                  <a:lnTo>
                    <a:pt x="1200" y="636"/>
                  </a:lnTo>
                  <a:lnTo>
                    <a:pt x="1203" y="636"/>
                  </a:lnTo>
                  <a:lnTo>
                    <a:pt x="1203" y="636"/>
                  </a:lnTo>
                  <a:lnTo>
                    <a:pt x="1205" y="636"/>
                  </a:lnTo>
                  <a:lnTo>
                    <a:pt x="1205" y="633"/>
                  </a:lnTo>
                  <a:lnTo>
                    <a:pt x="1205" y="633"/>
                  </a:lnTo>
                  <a:lnTo>
                    <a:pt x="1205" y="633"/>
                  </a:lnTo>
                  <a:lnTo>
                    <a:pt x="1205" y="631"/>
                  </a:lnTo>
                  <a:lnTo>
                    <a:pt x="1205" y="631"/>
                  </a:lnTo>
                  <a:lnTo>
                    <a:pt x="1205" y="628"/>
                  </a:lnTo>
                  <a:lnTo>
                    <a:pt x="1208" y="628"/>
                  </a:lnTo>
                  <a:lnTo>
                    <a:pt x="1210" y="628"/>
                  </a:lnTo>
                  <a:lnTo>
                    <a:pt x="1210" y="628"/>
                  </a:lnTo>
                  <a:lnTo>
                    <a:pt x="1213" y="628"/>
                  </a:lnTo>
                  <a:lnTo>
                    <a:pt x="1213" y="628"/>
                  </a:lnTo>
                  <a:lnTo>
                    <a:pt x="1216" y="628"/>
                  </a:lnTo>
                  <a:lnTo>
                    <a:pt x="1216" y="628"/>
                  </a:lnTo>
                  <a:lnTo>
                    <a:pt x="1218" y="628"/>
                  </a:lnTo>
                  <a:lnTo>
                    <a:pt x="1218" y="628"/>
                  </a:lnTo>
                  <a:lnTo>
                    <a:pt x="1218" y="626"/>
                  </a:lnTo>
                  <a:lnTo>
                    <a:pt x="1218" y="626"/>
                  </a:lnTo>
                  <a:lnTo>
                    <a:pt x="1218" y="628"/>
                  </a:lnTo>
                  <a:lnTo>
                    <a:pt x="1218" y="628"/>
                  </a:lnTo>
                  <a:lnTo>
                    <a:pt x="1221" y="628"/>
                  </a:lnTo>
                  <a:lnTo>
                    <a:pt x="1221" y="628"/>
                  </a:lnTo>
                  <a:lnTo>
                    <a:pt x="1223" y="626"/>
                  </a:lnTo>
                  <a:lnTo>
                    <a:pt x="1223" y="626"/>
                  </a:lnTo>
                  <a:lnTo>
                    <a:pt x="1223" y="626"/>
                  </a:lnTo>
                  <a:lnTo>
                    <a:pt x="1223" y="626"/>
                  </a:lnTo>
                  <a:lnTo>
                    <a:pt x="1226" y="626"/>
                  </a:lnTo>
                  <a:lnTo>
                    <a:pt x="1226" y="623"/>
                  </a:lnTo>
                  <a:lnTo>
                    <a:pt x="1228" y="623"/>
                  </a:lnTo>
                  <a:lnTo>
                    <a:pt x="1228" y="623"/>
                  </a:lnTo>
                  <a:lnTo>
                    <a:pt x="1228" y="623"/>
                  </a:lnTo>
                  <a:lnTo>
                    <a:pt x="1228" y="621"/>
                  </a:lnTo>
                  <a:lnTo>
                    <a:pt x="1228" y="618"/>
                  </a:lnTo>
                  <a:lnTo>
                    <a:pt x="1228" y="618"/>
                  </a:lnTo>
                  <a:lnTo>
                    <a:pt x="1231" y="618"/>
                  </a:lnTo>
                  <a:lnTo>
                    <a:pt x="1233" y="616"/>
                  </a:lnTo>
                  <a:lnTo>
                    <a:pt x="1231" y="616"/>
                  </a:lnTo>
                  <a:lnTo>
                    <a:pt x="1233" y="616"/>
                  </a:lnTo>
                  <a:lnTo>
                    <a:pt x="1233" y="613"/>
                  </a:lnTo>
                  <a:lnTo>
                    <a:pt x="1236" y="613"/>
                  </a:lnTo>
                  <a:lnTo>
                    <a:pt x="1236" y="613"/>
                  </a:lnTo>
                  <a:lnTo>
                    <a:pt x="1236" y="613"/>
                  </a:lnTo>
                  <a:lnTo>
                    <a:pt x="1239" y="611"/>
                  </a:lnTo>
                  <a:lnTo>
                    <a:pt x="1241" y="611"/>
                  </a:lnTo>
                  <a:lnTo>
                    <a:pt x="1244" y="611"/>
                  </a:lnTo>
                  <a:lnTo>
                    <a:pt x="1244" y="611"/>
                  </a:lnTo>
                  <a:lnTo>
                    <a:pt x="1244" y="611"/>
                  </a:lnTo>
                  <a:lnTo>
                    <a:pt x="1244" y="608"/>
                  </a:lnTo>
                  <a:lnTo>
                    <a:pt x="1246" y="608"/>
                  </a:lnTo>
                  <a:lnTo>
                    <a:pt x="1246" y="608"/>
                  </a:lnTo>
                  <a:lnTo>
                    <a:pt x="1249" y="605"/>
                  </a:lnTo>
                  <a:lnTo>
                    <a:pt x="1251" y="605"/>
                  </a:lnTo>
                  <a:lnTo>
                    <a:pt x="1251" y="605"/>
                  </a:lnTo>
                  <a:lnTo>
                    <a:pt x="1251" y="605"/>
                  </a:lnTo>
                  <a:lnTo>
                    <a:pt x="1251" y="605"/>
                  </a:lnTo>
                  <a:lnTo>
                    <a:pt x="1254" y="603"/>
                  </a:lnTo>
                  <a:lnTo>
                    <a:pt x="1254" y="603"/>
                  </a:lnTo>
                  <a:lnTo>
                    <a:pt x="1254" y="603"/>
                  </a:lnTo>
                  <a:lnTo>
                    <a:pt x="1256" y="603"/>
                  </a:lnTo>
                  <a:lnTo>
                    <a:pt x="1256" y="600"/>
                  </a:lnTo>
                  <a:lnTo>
                    <a:pt x="1259" y="600"/>
                  </a:lnTo>
                  <a:lnTo>
                    <a:pt x="1261" y="600"/>
                  </a:lnTo>
                  <a:lnTo>
                    <a:pt x="1264" y="600"/>
                  </a:lnTo>
                  <a:lnTo>
                    <a:pt x="1264" y="600"/>
                  </a:lnTo>
                  <a:lnTo>
                    <a:pt x="1264" y="598"/>
                  </a:lnTo>
                  <a:lnTo>
                    <a:pt x="1264" y="598"/>
                  </a:lnTo>
                  <a:lnTo>
                    <a:pt x="1264" y="598"/>
                  </a:lnTo>
                  <a:lnTo>
                    <a:pt x="1267" y="598"/>
                  </a:lnTo>
                  <a:lnTo>
                    <a:pt x="1269" y="600"/>
                  </a:lnTo>
                  <a:lnTo>
                    <a:pt x="1269" y="600"/>
                  </a:lnTo>
                  <a:lnTo>
                    <a:pt x="1272" y="600"/>
                  </a:lnTo>
                  <a:lnTo>
                    <a:pt x="1272" y="600"/>
                  </a:lnTo>
                  <a:lnTo>
                    <a:pt x="1274" y="600"/>
                  </a:lnTo>
                  <a:lnTo>
                    <a:pt x="1274" y="600"/>
                  </a:lnTo>
                  <a:lnTo>
                    <a:pt x="1274" y="600"/>
                  </a:lnTo>
                  <a:lnTo>
                    <a:pt x="1277" y="600"/>
                  </a:lnTo>
                  <a:lnTo>
                    <a:pt x="1277" y="600"/>
                  </a:lnTo>
                  <a:lnTo>
                    <a:pt x="1277" y="600"/>
                  </a:lnTo>
                  <a:lnTo>
                    <a:pt x="1279" y="603"/>
                  </a:lnTo>
                  <a:lnTo>
                    <a:pt x="1279" y="603"/>
                  </a:lnTo>
                  <a:lnTo>
                    <a:pt x="1282" y="603"/>
                  </a:lnTo>
                  <a:lnTo>
                    <a:pt x="1284" y="603"/>
                  </a:lnTo>
                  <a:lnTo>
                    <a:pt x="1284" y="603"/>
                  </a:lnTo>
                  <a:lnTo>
                    <a:pt x="1287" y="603"/>
                  </a:lnTo>
                  <a:lnTo>
                    <a:pt x="1289" y="603"/>
                  </a:lnTo>
                  <a:lnTo>
                    <a:pt x="1289" y="603"/>
                  </a:lnTo>
                  <a:lnTo>
                    <a:pt x="1292" y="603"/>
                  </a:lnTo>
                  <a:lnTo>
                    <a:pt x="1297" y="603"/>
                  </a:lnTo>
                  <a:lnTo>
                    <a:pt x="1297" y="603"/>
                  </a:lnTo>
                  <a:lnTo>
                    <a:pt x="1300" y="605"/>
                  </a:lnTo>
                  <a:lnTo>
                    <a:pt x="1302" y="605"/>
                  </a:lnTo>
                  <a:lnTo>
                    <a:pt x="1305" y="608"/>
                  </a:lnTo>
                  <a:lnTo>
                    <a:pt x="1305" y="611"/>
                  </a:lnTo>
                  <a:lnTo>
                    <a:pt x="1307" y="611"/>
                  </a:lnTo>
                  <a:lnTo>
                    <a:pt x="1307" y="613"/>
                  </a:lnTo>
                  <a:lnTo>
                    <a:pt x="1307" y="613"/>
                  </a:lnTo>
                  <a:lnTo>
                    <a:pt x="1310" y="613"/>
                  </a:lnTo>
                  <a:lnTo>
                    <a:pt x="1312" y="616"/>
                  </a:lnTo>
                  <a:lnTo>
                    <a:pt x="1312" y="616"/>
                  </a:lnTo>
                  <a:lnTo>
                    <a:pt x="1315" y="616"/>
                  </a:lnTo>
                  <a:lnTo>
                    <a:pt x="1315" y="616"/>
                  </a:lnTo>
                  <a:lnTo>
                    <a:pt x="1315" y="616"/>
                  </a:lnTo>
                  <a:lnTo>
                    <a:pt x="1318" y="616"/>
                  </a:lnTo>
                  <a:lnTo>
                    <a:pt x="1320" y="616"/>
                  </a:lnTo>
                  <a:lnTo>
                    <a:pt x="1320" y="618"/>
                  </a:lnTo>
                  <a:lnTo>
                    <a:pt x="1323" y="618"/>
                  </a:lnTo>
                  <a:lnTo>
                    <a:pt x="1323" y="618"/>
                  </a:lnTo>
                  <a:lnTo>
                    <a:pt x="1325" y="618"/>
                  </a:lnTo>
                  <a:lnTo>
                    <a:pt x="1328" y="618"/>
                  </a:lnTo>
                  <a:lnTo>
                    <a:pt x="1328" y="618"/>
                  </a:lnTo>
                  <a:lnTo>
                    <a:pt x="1330" y="618"/>
                  </a:lnTo>
                  <a:lnTo>
                    <a:pt x="1330" y="618"/>
                  </a:lnTo>
                  <a:lnTo>
                    <a:pt x="1333" y="618"/>
                  </a:lnTo>
                  <a:lnTo>
                    <a:pt x="1333" y="616"/>
                  </a:lnTo>
                  <a:lnTo>
                    <a:pt x="1335" y="616"/>
                  </a:lnTo>
                  <a:lnTo>
                    <a:pt x="1335" y="616"/>
                  </a:lnTo>
                  <a:lnTo>
                    <a:pt x="1335" y="618"/>
                  </a:lnTo>
                  <a:lnTo>
                    <a:pt x="1338" y="618"/>
                  </a:lnTo>
                  <a:lnTo>
                    <a:pt x="1338" y="616"/>
                  </a:lnTo>
                  <a:lnTo>
                    <a:pt x="1338" y="616"/>
                  </a:lnTo>
                  <a:lnTo>
                    <a:pt x="1340" y="616"/>
                  </a:lnTo>
                  <a:lnTo>
                    <a:pt x="1340" y="618"/>
                  </a:lnTo>
                  <a:lnTo>
                    <a:pt x="1343" y="618"/>
                  </a:lnTo>
                  <a:lnTo>
                    <a:pt x="1346" y="618"/>
                  </a:lnTo>
                  <a:lnTo>
                    <a:pt x="1346" y="618"/>
                  </a:lnTo>
                  <a:lnTo>
                    <a:pt x="1346" y="618"/>
                  </a:lnTo>
                  <a:lnTo>
                    <a:pt x="1348" y="618"/>
                  </a:lnTo>
                  <a:lnTo>
                    <a:pt x="1348" y="618"/>
                  </a:lnTo>
                  <a:lnTo>
                    <a:pt x="1351" y="618"/>
                  </a:lnTo>
                  <a:lnTo>
                    <a:pt x="1351" y="618"/>
                  </a:lnTo>
                  <a:lnTo>
                    <a:pt x="1356" y="618"/>
                  </a:lnTo>
                  <a:lnTo>
                    <a:pt x="1358" y="621"/>
                  </a:lnTo>
                  <a:lnTo>
                    <a:pt x="1358" y="621"/>
                  </a:lnTo>
                  <a:lnTo>
                    <a:pt x="1358" y="621"/>
                  </a:lnTo>
                  <a:lnTo>
                    <a:pt x="1361" y="623"/>
                  </a:lnTo>
                  <a:lnTo>
                    <a:pt x="1363" y="623"/>
                  </a:lnTo>
                  <a:lnTo>
                    <a:pt x="1363" y="621"/>
                  </a:lnTo>
                  <a:lnTo>
                    <a:pt x="1366" y="621"/>
                  </a:lnTo>
                  <a:lnTo>
                    <a:pt x="1366" y="618"/>
                  </a:lnTo>
                  <a:lnTo>
                    <a:pt x="1366" y="618"/>
                  </a:lnTo>
                  <a:lnTo>
                    <a:pt x="1368" y="618"/>
                  </a:lnTo>
                  <a:lnTo>
                    <a:pt x="1368" y="618"/>
                  </a:lnTo>
                  <a:lnTo>
                    <a:pt x="1371" y="618"/>
                  </a:lnTo>
                  <a:lnTo>
                    <a:pt x="1371" y="616"/>
                  </a:lnTo>
                  <a:lnTo>
                    <a:pt x="1371" y="616"/>
                  </a:lnTo>
                  <a:lnTo>
                    <a:pt x="1374" y="616"/>
                  </a:lnTo>
                  <a:lnTo>
                    <a:pt x="1374" y="613"/>
                  </a:lnTo>
                  <a:lnTo>
                    <a:pt x="1374" y="613"/>
                  </a:lnTo>
                  <a:lnTo>
                    <a:pt x="1374" y="611"/>
                  </a:lnTo>
                  <a:lnTo>
                    <a:pt x="1374" y="611"/>
                  </a:lnTo>
                  <a:lnTo>
                    <a:pt x="1374" y="608"/>
                  </a:lnTo>
                  <a:lnTo>
                    <a:pt x="1371" y="605"/>
                  </a:lnTo>
                  <a:lnTo>
                    <a:pt x="1371" y="605"/>
                  </a:lnTo>
                  <a:lnTo>
                    <a:pt x="1371" y="605"/>
                  </a:lnTo>
                  <a:lnTo>
                    <a:pt x="1368" y="603"/>
                  </a:lnTo>
                  <a:lnTo>
                    <a:pt x="1366" y="603"/>
                  </a:lnTo>
                  <a:lnTo>
                    <a:pt x="1366" y="603"/>
                  </a:lnTo>
                  <a:lnTo>
                    <a:pt x="1363" y="600"/>
                  </a:lnTo>
                  <a:lnTo>
                    <a:pt x="1363" y="600"/>
                  </a:lnTo>
                  <a:lnTo>
                    <a:pt x="1363" y="598"/>
                  </a:lnTo>
                  <a:lnTo>
                    <a:pt x="1361" y="598"/>
                  </a:lnTo>
                  <a:lnTo>
                    <a:pt x="1361" y="598"/>
                  </a:lnTo>
                  <a:lnTo>
                    <a:pt x="1358" y="595"/>
                  </a:lnTo>
                  <a:lnTo>
                    <a:pt x="1358" y="595"/>
                  </a:lnTo>
                  <a:lnTo>
                    <a:pt x="1358" y="593"/>
                  </a:lnTo>
                  <a:lnTo>
                    <a:pt x="1358" y="590"/>
                  </a:lnTo>
                  <a:lnTo>
                    <a:pt x="1358" y="590"/>
                  </a:lnTo>
                  <a:lnTo>
                    <a:pt x="1358" y="590"/>
                  </a:lnTo>
                  <a:lnTo>
                    <a:pt x="1356" y="588"/>
                  </a:lnTo>
                  <a:lnTo>
                    <a:pt x="1356" y="588"/>
                  </a:lnTo>
                  <a:lnTo>
                    <a:pt x="1356" y="585"/>
                  </a:lnTo>
                  <a:lnTo>
                    <a:pt x="1356" y="585"/>
                  </a:lnTo>
                  <a:lnTo>
                    <a:pt x="1358" y="585"/>
                  </a:lnTo>
                  <a:lnTo>
                    <a:pt x="1358" y="585"/>
                  </a:lnTo>
                  <a:lnTo>
                    <a:pt x="1358" y="583"/>
                  </a:lnTo>
                  <a:lnTo>
                    <a:pt x="1358" y="583"/>
                  </a:lnTo>
                  <a:lnTo>
                    <a:pt x="1358" y="580"/>
                  </a:lnTo>
                  <a:lnTo>
                    <a:pt x="1358" y="580"/>
                  </a:lnTo>
                  <a:lnTo>
                    <a:pt x="1358" y="580"/>
                  </a:lnTo>
                  <a:lnTo>
                    <a:pt x="1363" y="578"/>
                  </a:lnTo>
                  <a:lnTo>
                    <a:pt x="1363" y="575"/>
                  </a:lnTo>
                  <a:lnTo>
                    <a:pt x="1363" y="572"/>
                  </a:lnTo>
                  <a:lnTo>
                    <a:pt x="1363" y="572"/>
                  </a:lnTo>
                  <a:lnTo>
                    <a:pt x="1363" y="570"/>
                  </a:lnTo>
                  <a:lnTo>
                    <a:pt x="1366" y="570"/>
                  </a:lnTo>
                  <a:lnTo>
                    <a:pt x="1368" y="572"/>
                  </a:lnTo>
                  <a:lnTo>
                    <a:pt x="1368" y="572"/>
                  </a:lnTo>
                  <a:lnTo>
                    <a:pt x="1371" y="572"/>
                  </a:lnTo>
                  <a:lnTo>
                    <a:pt x="1376" y="575"/>
                  </a:lnTo>
                  <a:lnTo>
                    <a:pt x="1379" y="575"/>
                  </a:lnTo>
                  <a:lnTo>
                    <a:pt x="1379" y="575"/>
                  </a:lnTo>
                  <a:lnTo>
                    <a:pt x="1381" y="575"/>
                  </a:lnTo>
                  <a:lnTo>
                    <a:pt x="1384" y="578"/>
                  </a:lnTo>
                  <a:lnTo>
                    <a:pt x="1386" y="578"/>
                  </a:lnTo>
                  <a:lnTo>
                    <a:pt x="1389" y="578"/>
                  </a:lnTo>
                  <a:lnTo>
                    <a:pt x="1391" y="578"/>
                  </a:lnTo>
                  <a:lnTo>
                    <a:pt x="1397" y="578"/>
                  </a:lnTo>
                  <a:lnTo>
                    <a:pt x="1397" y="580"/>
                  </a:lnTo>
                  <a:lnTo>
                    <a:pt x="1402" y="580"/>
                  </a:lnTo>
                  <a:lnTo>
                    <a:pt x="1404" y="583"/>
                  </a:lnTo>
                  <a:lnTo>
                    <a:pt x="1409" y="583"/>
                  </a:lnTo>
                  <a:lnTo>
                    <a:pt x="1412" y="583"/>
                  </a:lnTo>
                  <a:lnTo>
                    <a:pt x="1412" y="585"/>
                  </a:lnTo>
                  <a:lnTo>
                    <a:pt x="1414" y="585"/>
                  </a:lnTo>
                  <a:lnTo>
                    <a:pt x="1417" y="585"/>
                  </a:lnTo>
                  <a:lnTo>
                    <a:pt x="1417" y="585"/>
                  </a:lnTo>
                  <a:lnTo>
                    <a:pt x="1422" y="585"/>
                  </a:lnTo>
                  <a:lnTo>
                    <a:pt x="1425" y="585"/>
                  </a:lnTo>
                  <a:lnTo>
                    <a:pt x="1427" y="588"/>
                  </a:lnTo>
                  <a:lnTo>
                    <a:pt x="1430" y="588"/>
                  </a:lnTo>
                  <a:lnTo>
                    <a:pt x="1430" y="588"/>
                  </a:lnTo>
                  <a:lnTo>
                    <a:pt x="1430" y="590"/>
                  </a:lnTo>
                  <a:lnTo>
                    <a:pt x="1432" y="593"/>
                  </a:lnTo>
                  <a:lnTo>
                    <a:pt x="1432" y="593"/>
                  </a:lnTo>
                  <a:lnTo>
                    <a:pt x="1435" y="595"/>
                  </a:lnTo>
                  <a:lnTo>
                    <a:pt x="1435" y="598"/>
                  </a:lnTo>
                  <a:lnTo>
                    <a:pt x="1437" y="598"/>
                  </a:lnTo>
                  <a:lnTo>
                    <a:pt x="1437" y="600"/>
                  </a:lnTo>
                  <a:lnTo>
                    <a:pt x="1437" y="600"/>
                  </a:lnTo>
                  <a:lnTo>
                    <a:pt x="1440" y="600"/>
                  </a:lnTo>
                  <a:lnTo>
                    <a:pt x="1440" y="603"/>
                  </a:lnTo>
                  <a:lnTo>
                    <a:pt x="1440" y="603"/>
                  </a:lnTo>
                  <a:lnTo>
                    <a:pt x="1440" y="603"/>
                  </a:lnTo>
                  <a:lnTo>
                    <a:pt x="1442" y="605"/>
                  </a:lnTo>
                  <a:lnTo>
                    <a:pt x="1442" y="605"/>
                  </a:lnTo>
                  <a:lnTo>
                    <a:pt x="1445" y="605"/>
                  </a:lnTo>
                  <a:lnTo>
                    <a:pt x="1445" y="605"/>
                  </a:lnTo>
                  <a:lnTo>
                    <a:pt x="1450" y="608"/>
                  </a:lnTo>
                  <a:lnTo>
                    <a:pt x="1450" y="608"/>
                  </a:lnTo>
                  <a:lnTo>
                    <a:pt x="1453" y="608"/>
                  </a:lnTo>
                  <a:lnTo>
                    <a:pt x="1458" y="611"/>
                  </a:lnTo>
                  <a:lnTo>
                    <a:pt x="1458" y="611"/>
                  </a:lnTo>
                  <a:lnTo>
                    <a:pt x="1460" y="611"/>
                  </a:lnTo>
                  <a:lnTo>
                    <a:pt x="1463" y="613"/>
                  </a:lnTo>
                  <a:lnTo>
                    <a:pt x="1465" y="613"/>
                  </a:lnTo>
                  <a:lnTo>
                    <a:pt x="1465" y="613"/>
                  </a:lnTo>
                  <a:lnTo>
                    <a:pt x="1468" y="613"/>
                  </a:lnTo>
                  <a:lnTo>
                    <a:pt x="1470" y="613"/>
                  </a:lnTo>
                  <a:lnTo>
                    <a:pt x="1470" y="613"/>
                  </a:lnTo>
                  <a:lnTo>
                    <a:pt x="1473" y="613"/>
                  </a:lnTo>
                  <a:lnTo>
                    <a:pt x="1473" y="613"/>
                  </a:lnTo>
                  <a:lnTo>
                    <a:pt x="1476" y="613"/>
                  </a:lnTo>
                  <a:lnTo>
                    <a:pt x="1478" y="613"/>
                  </a:lnTo>
                  <a:lnTo>
                    <a:pt x="1478" y="611"/>
                  </a:lnTo>
                  <a:lnTo>
                    <a:pt x="1481" y="611"/>
                  </a:lnTo>
                  <a:lnTo>
                    <a:pt x="1481" y="611"/>
                  </a:lnTo>
                  <a:lnTo>
                    <a:pt x="1483" y="611"/>
                  </a:lnTo>
                  <a:lnTo>
                    <a:pt x="1486" y="608"/>
                  </a:lnTo>
                  <a:lnTo>
                    <a:pt x="1488" y="608"/>
                  </a:lnTo>
                  <a:lnTo>
                    <a:pt x="1491" y="608"/>
                  </a:lnTo>
                  <a:lnTo>
                    <a:pt x="1493" y="608"/>
                  </a:lnTo>
                  <a:lnTo>
                    <a:pt x="1493" y="605"/>
                  </a:lnTo>
                  <a:lnTo>
                    <a:pt x="1496" y="605"/>
                  </a:lnTo>
                  <a:lnTo>
                    <a:pt x="1498" y="608"/>
                  </a:lnTo>
                  <a:lnTo>
                    <a:pt x="1501" y="608"/>
                  </a:lnTo>
                  <a:lnTo>
                    <a:pt x="1504" y="608"/>
                  </a:lnTo>
                  <a:lnTo>
                    <a:pt x="1506" y="608"/>
                  </a:lnTo>
                  <a:lnTo>
                    <a:pt x="1509" y="608"/>
                  </a:lnTo>
                  <a:lnTo>
                    <a:pt x="1511" y="611"/>
                  </a:lnTo>
                  <a:lnTo>
                    <a:pt x="1514" y="611"/>
                  </a:lnTo>
                  <a:lnTo>
                    <a:pt x="1519" y="608"/>
                  </a:lnTo>
                  <a:lnTo>
                    <a:pt x="1521" y="611"/>
                  </a:lnTo>
                  <a:lnTo>
                    <a:pt x="1524" y="611"/>
                  </a:lnTo>
                  <a:lnTo>
                    <a:pt x="1526" y="613"/>
                  </a:lnTo>
                  <a:lnTo>
                    <a:pt x="1529" y="616"/>
                  </a:lnTo>
                  <a:lnTo>
                    <a:pt x="1532" y="616"/>
                  </a:lnTo>
                  <a:lnTo>
                    <a:pt x="1534" y="616"/>
                  </a:lnTo>
                  <a:lnTo>
                    <a:pt x="1534" y="616"/>
                  </a:lnTo>
                  <a:lnTo>
                    <a:pt x="1539" y="616"/>
                  </a:lnTo>
                  <a:lnTo>
                    <a:pt x="1544" y="618"/>
                  </a:lnTo>
                  <a:lnTo>
                    <a:pt x="1547" y="618"/>
                  </a:lnTo>
                  <a:lnTo>
                    <a:pt x="1547" y="618"/>
                  </a:lnTo>
                  <a:lnTo>
                    <a:pt x="1547" y="621"/>
                  </a:lnTo>
                  <a:lnTo>
                    <a:pt x="1549" y="623"/>
                  </a:lnTo>
                  <a:lnTo>
                    <a:pt x="1549" y="623"/>
                  </a:lnTo>
                  <a:lnTo>
                    <a:pt x="1549" y="623"/>
                  </a:lnTo>
                  <a:lnTo>
                    <a:pt x="1552" y="623"/>
                  </a:lnTo>
                  <a:lnTo>
                    <a:pt x="1552" y="626"/>
                  </a:lnTo>
                  <a:lnTo>
                    <a:pt x="1555" y="626"/>
                  </a:lnTo>
                  <a:lnTo>
                    <a:pt x="1557" y="626"/>
                  </a:lnTo>
                  <a:lnTo>
                    <a:pt x="1560" y="631"/>
                  </a:lnTo>
                  <a:lnTo>
                    <a:pt x="1562" y="631"/>
                  </a:lnTo>
                  <a:lnTo>
                    <a:pt x="1565" y="631"/>
                  </a:lnTo>
                  <a:lnTo>
                    <a:pt x="1567" y="631"/>
                  </a:lnTo>
                  <a:lnTo>
                    <a:pt x="1570" y="631"/>
                  </a:lnTo>
                  <a:lnTo>
                    <a:pt x="1575" y="631"/>
                  </a:lnTo>
                  <a:lnTo>
                    <a:pt x="1580" y="631"/>
                  </a:lnTo>
                  <a:lnTo>
                    <a:pt x="1583" y="633"/>
                  </a:lnTo>
                  <a:lnTo>
                    <a:pt x="1585" y="633"/>
                  </a:lnTo>
                  <a:lnTo>
                    <a:pt x="1590" y="633"/>
                  </a:lnTo>
                  <a:lnTo>
                    <a:pt x="1595" y="636"/>
                  </a:lnTo>
                  <a:lnTo>
                    <a:pt x="1595" y="633"/>
                  </a:lnTo>
                  <a:lnTo>
                    <a:pt x="1598" y="633"/>
                  </a:lnTo>
                  <a:lnTo>
                    <a:pt x="1600" y="633"/>
                  </a:lnTo>
                  <a:lnTo>
                    <a:pt x="1603" y="636"/>
                  </a:lnTo>
                  <a:lnTo>
                    <a:pt x="1603" y="636"/>
                  </a:lnTo>
                  <a:lnTo>
                    <a:pt x="1606" y="636"/>
                  </a:lnTo>
                  <a:lnTo>
                    <a:pt x="1611" y="631"/>
                  </a:lnTo>
                  <a:lnTo>
                    <a:pt x="1613" y="631"/>
                  </a:lnTo>
                  <a:lnTo>
                    <a:pt x="1613" y="631"/>
                  </a:lnTo>
                  <a:lnTo>
                    <a:pt x="1616" y="631"/>
                  </a:lnTo>
                  <a:lnTo>
                    <a:pt x="1616" y="631"/>
                  </a:lnTo>
                  <a:lnTo>
                    <a:pt x="1618" y="631"/>
                  </a:lnTo>
                  <a:lnTo>
                    <a:pt x="1621" y="631"/>
                  </a:lnTo>
                  <a:lnTo>
                    <a:pt x="1623" y="628"/>
                  </a:lnTo>
                  <a:lnTo>
                    <a:pt x="1626" y="628"/>
                  </a:lnTo>
                  <a:lnTo>
                    <a:pt x="1628" y="628"/>
                  </a:lnTo>
                  <a:lnTo>
                    <a:pt x="1631" y="626"/>
                  </a:lnTo>
                  <a:lnTo>
                    <a:pt x="1634" y="628"/>
                  </a:lnTo>
                  <a:lnTo>
                    <a:pt x="1636" y="626"/>
                  </a:lnTo>
                  <a:lnTo>
                    <a:pt x="1639" y="626"/>
                  </a:lnTo>
                  <a:lnTo>
                    <a:pt x="1639" y="626"/>
                  </a:lnTo>
                  <a:lnTo>
                    <a:pt x="1639" y="623"/>
                  </a:lnTo>
                  <a:lnTo>
                    <a:pt x="1639" y="621"/>
                  </a:lnTo>
                  <a:lnTo>
                    <a:pt x="1641" y="618"/>
                  </a:lnTo>
                  <a:lnTo>
                    <a:pt x="1641" y="618"/>
                  </a:lnTo>
                  <a:lnTo>
                    <a:pt x="1644" y="616"/>
                  </a:lnTo>
                  <a:lnTo>
                    <a:pt x="1646" y="616"/>
                  </a:lnTo>
                  <a:lnTo>
                    <a:pt x="1649" y="613"/>
                  </a:lnTo>
                  <a:lnTo>
                    <a:pt x="1649" y="613"/>
                  </a:lnTo>
                  <a:lnTo>
                    <a:pt x="1651" y="611"/>
                  </a:lnTo>
                  <a:lnTo>
                    <a:pt x="1654" y="611"/>
                  </a:lnTo>
                  <a:lnTo>
                    <a:pt x="1654" y="611"/>
                  </a:lnTo>
                  <a:lnTo>
                    <a:pt x="1659" y="611"/>
                  </a:lnTo>
                  <a:lnTo>
                    <a:pt x="1659" y="611"/>
                  </a:lnTo>
                  <a:lnTo>
                    <a:pt x="1662" y="611"/>
                  </a:lnTo>
                  <a:lnTo>
                    <a:pt x="1664" y="613"/>
                  </a:lnTo>
                  <a:lnTo>
                    <a:pt x="1667" y="613"/>
                  </a:lnTo>
                  <a:lnTo>
                    <a:pt x="1669" y="616"/>
                  </a:lnTo>
                  <a:lnTo>
                    <a:pt x="1674" y="618"/>
                  </a:lnTo>
                  <a:lnTo>
                    <a:pt x="1677" y="618"/>
                  </a:lnTo>
                  <a:lnTo>
                    <a:pt x="1677" y="618"/>
                  </a:lnTo>
                  <a:lnTo>
                    <a:pt x="1679" y="618"/>
                  </a:lnTo>
                  <a:lnTo>
                    <a:pt x="1682" y="618"/>
                  </a:lnTo>
                  <a:lnTo>
                    <a:pt x="1685" y="618"/>
                  </a:lnTo>
                  <a:lnTo>
                    <a:pt x="1685" y="618"/>
                  </a:lnTo>
                  <a:lnTo>
                    <a:pt x="1690" y="616"/>
                  </a:lnTo>
                  <a:lnTo>
                    <a:pt x="1690" y="616"/>
                  </a:lnTo>
                  <a:lnTo>
                    <a:pt x="1692" y="618"/>
                  </a:lnTo>
                  <a:lnTo>
                    <a:pt x="1697" y="618"/>
                  </a:lnTo>
                  <a:lnTo>
                    <a:pt x="1700" y="618"/>
                  </a:lnTo>
                  <a:lnTo>
                    <a:pt x="1700" y="621"/>
                  </a:lnTo>
                  <a:lnTo>
                    <a:pt x="1705" y="623"/>
                  </a:lnTo>
                  <a:lnTo>
                    <a:pt x="1707" y="623"/>
                  </a:lnTo>
                  <a:lnTo>
                    <a:pt x="1713" y="626"/>
                  </a:lnTo>
                  <a:lnTo>
                    <a:pt x="1718" y="626"/>
                  </a:lnTo>
                  <a:lnTo>
                    <a:pt x="1723" y="626"/>
                  </a:lnTo>
                  <a:lnTo>
                    <a:pt x="1725" y="628"/>
                  </a:lnTo>
                  <a:lnTo>
                    <a:pt x="1725" y="628"/>
                  </a:lnTo>
                  <a:lnTo>
                    <a:pt x="1728" y="623"/>
                  </a:lnTo>
                  <a:lnTo>
                    <a:pt x="1730" y="621"/>
                  </a:lnTo>
                  <a:lnTo>
                    <a:pt x="1735" y="618"/>
                  </a:lnTo>
                  <a:lnTo>
                    <a:pt x="1738" y="618"/>
                  </a:lnTo>
                  <a:lnTo>
                    <a:pt x="1741" y="616"/>
                  </a:lnTo>
                  <a:lnTo>
                    <a:pt x="1743" y="616"/>
                  </a:lnTo>
                  <a:lnTo>
                    <a:pt x="1743" y="613"/>
                  </a:lnTo>
                  <a:lnTo>
                    <a:pt x="1741" y="611"/>
                  </a:lnTo>
                  <a:lnTo>
                    <a:pt x="1738" y="608"/>
                  </a:lnTo>
                  <a:lnTo>
                    <a:pt x="1738" y="608"/>
                  </a:lnTo>
                  <a:lnTo>
                    <a:pt x="1735" y="608"/>
                  </a:lnTo>
                  <a:lnTo>
                    <a:pt x="1735" y="608"/>
                  </a:lnTo>
                  <a:lnTo>
                    <a:pt x="1735" y="605"/>
                  </a:lnTo>
                  <a:lnTo>
                    <a:pt x="1735" y="603"/>
                  </a:lnTo>
                  <a:lnTo>
                    <a:pt x="1735" y="603"/>
                  </a:lnTo>
                  <a:lnTo>
                    <a:pt x="1738" y="600"/>
                  </a:lnTo>
                  <a:lnTo>
                    <a:pt x="1735" y="600"/>
                  </a:lnTo>
                  <a:lnTo>
                    <a:pt x="1735" y="598"/>
                  </a:lnTo>
                  <a:lnTo>
                    <a:pt x="1735" y="595"/>
                  </a:lnTo>
                  <a:lnTo>
                    <a:pt x="1735" y="593"/>
                  </a:lnTo>
                  <a:lnTo>
                    <a:pt x="1735" y="593"/>
                  </a:lnTo>
                  <a:lnTo>
                    <a:pt x="1735" y="590"/>
                  </a:lnTo>
                  <a:lnTo>
                    <a:pt x="1735" y="588"/>
                  </a:lnTo>
                  <a:lnTo>
                    <a:pt x="1735" y="585"/>
                  </a:lnTo>
                  <a:lnTo>
                    <a:pt x="1735" y="583"/>
                  </a:lnTo>
                  <a:lnTo>
                    <a:pt x="1735" y="578"/>
                  </a:lnTo>
                  <a:lnTo>
                    <a:pt x="1738" y="575"/>
                  </a:lnTo>
                  <a:lnTo>
                    <a:pt x="1741" y="572"/>
                  </a:lnTo>
                  <a:lnTo>
                    <a:pt x="1741" y="570"/>
                  </a:lnTo>
                  <a:lnTo>
                    <a:pt x="1738" y="567"/>
                  </a:lnTo>
                  <a:lnTo>
                    <a:pt x="1735" y="567"/>
                  </a:lnTo>
                  <a:lnTo>
                    <a:pt x="1733" y="565"/>
                  </a:lnTo>
                  <a:lnTo>
                    <a:pt x="1733" y="562"/>
                  </a:lnTo>
                  <a:lnTo>
                    <a:pt x="1730" y="560"/>
                  </a:lnTo>
                  <a:lnTo>
                    <a:pt x="1728" y="560"/>
                  </a:lnTo>
                  <a:lnTo>
                    <a:pt x="1725" y="560"/>
                  </a:lnTo>
                  <a:lnTo>
                    <a:pt x="1723" y="560"/>
                  </a:lnTo>
                  <a:lnTo>
                    <a:pt x="1720" y="560"/>
                  </a:lnTo>
                  <a:lnTo>
                    <a:pt x="1718" y="557"/>
                  </a:lnTo>
                  <a:lnTo>
                    <a:pt x="1718" y="555"/>
                  </a:lnTo>
                  <a:lnTo>
                    <a:pt x="1720" y="555"/>
                  </a:lnTo>
                  <a:lnTo>
                    <a:pt x="1723" y="552"/>
                  </a:lnTo>
                  <a:lnTo>
                    <a:pt x="1723" y="547"/>
                  </a:lnTo>
                  <a:lnTo>
                    <a:pt x="1725" y="544"/>
                  </a:lnTo>
                  <a:lnTo>
                    <a:pt x="1733" y="544"/>
                  </a:lnTo>
                  <a:lnTo>
                    <a:pt x="1738" y="542"/>
                  </a:lnTo>
                  <a:lnTo>
                    <a:pt x="1743" y="542"/>
                  </a:lnTo>
                  <a:lnTo>
                    <a:pt x="1746" y="539"/>
                  </a:lnTo>
                  <a:lnTo>
                    <a:pt x="1748" y="542"/>
                  </a:lnTo>
                  <a:lnTo>
                    <a:pt x="1751" y="542"/>
                  </a:lnTo>
                  <a:lnTo>
                    <a:pt x="1753" y="542"/>
                  </a:lnTo>
                  <a:lnTo>
                    <a:pt x="1756" y="539"/>
                  </a:lnTo>
                  <a:lnTo>
                    <a:pt x="1758" y="539"/>
                  </a:lnTo>
                  <a:lnTo>
                    <a:pt x="1761" y="539"/>
                  </a:lnTo>
                  <a:lnTo>
                    <a:pt x="1764" y="539"/>
                  </a:lnTo>
                  <a:lnTo>
                    <a:pt x="1766" y="539"/>
                  </a:lnTo>
                  <a:lnTo>
                    <a:pt x="1766" y="539"/>
                  </a:lnTo>
                  <a:lnTo>
                    <a:pt x="1766" y="539"/>
                  </a:lnTo>
                  <a:lnTo>
                    <a:pt x="1766" y="539"/>
                  </a:lnTo>
                  <a:lnTo>
                    <a:pt x="1769" y="539"/>
                  </a:lnTo>
                  <a:lnTo>
                    <a:pt x="1776" y="542"/>
                  </a:lnTo>
                  <a:lnTo>
                    <a:pt x="1779" y="544"/>
                  </a:lnTo>
                  <a:lnTo>
                    <a:pt x="1781" y="542"/>
                  </a:lnTo>
                  <a:lnTo>
                    <a:pt x="1781" y="544"/>
                  </a:lnTo>
                  <a:lnTo>
                    <a:pt x="1784" y="544"/>
                  </a:lnTo>
                  <a:lnTo>
                    <a:pt x="1786" y="547"/>
                  </a:lnTo>
                  <a:lnTo>
                    <a:pt x="1789" y="547"/>
                  </a:lnTo>
                  <a:lnTo>
                    <a:pt x="1794" y="547"/>
                  </a:lnTo>
                  <a:lnTo>
                    <a:pt x="1794" y="547"/>
                  </a:lnTo>
                  <a:lnTo>
                    <a:pt x="1794" y="547"/>
                  </a:lnTo>
                  <a:lnTo>
                    <a:pt x="1797" y="547"/>
                  </a:lnTo>
                  <a:lnTo>
                    <a:pt x="1797" y="547"/>
                  </a:lnTo>
                  <a:lnTo>
                    <a:pt x="1799" y="547"/>
                  </a:lnTo>
                  <a:lnTo>
                    <a:pt x="1804" y="550"/>
                  </a:lnTo>
                  <a:lnTo>
                    <a:pt x="1807" y="550"/>
                  </a:lnTo>
                  <a:lnTo>
                    <a:pt x="1809" y="550"/>
                  </a:lnTo>
                  <a:lnTo>
                    <a:pt x="1809" y="550"/>
                  </a:lnTo>
                  <a:lnTo>
                    <a:pt x="1812" y="552"/>
                  </a:lnTo>
                  <a:lnTo>
                    <a:pt x="1812" y="552"/>
                  </a:lnTo>
                  <a:lnTo>
                    <a:pt x="1812" y="552"/>
                  </a:lnTo>
                  <a:lnTo>
                    <a:pt x="1814" y="555"/>
                  </a:lnTo>
                  <a:lnTo>
                    <a:pt x="1814" y="555"/>
                  </a:lnTo>
                  <a:lnTo>
                    <a:pt x="1817" y="555"/>
                  </a:lnTo>
                  <a:lnTo>
                    <a:pt x="1817" y="555"/>
                  </a:lnTo>
                  <a:lnTo>
                    <a:pt x="1820" y="557"/>
                  </a:lnTo>
                  <a:lnTo>
                    <a:pt x="1822" y="557"/>
                  </a:lnTo>
                  <a:lnTo>
                    <a:pt x="1822" y="557"/>
                  </a:lnTo>
                  <a:lnTo>
                    <a:pt x="1822" y="557"/>
                  </a:lnTo>
                  <a:lnTo>
                    <a:pt x="1822" y="557"/>
                  </a:lnTo>
                  <a:lnTo>
                    <a:pt x="1822" y="560"/>
                  </a:lnTo>
                  <a:lnTo>
                    <a:pt x="1822" y="560"/>
                  </a:lnTo>
                  <a:lnTo>
                    <a:pt x="1825" y="560"/>
                  </a:lnTo>
                  <a:lnTo>
                    <a:pt x="1825" y="560"/>
                  </a:lnTo>
                  <a:lnTo>
                    <a:pt x="1827" y="562"/>
                  </a:lnTo>
                  <a:lnTo>
                    <a:pt x="1827" y="562"/>
                  </a:lnTo>
                  <a:lnTo>
                    <a:pt x="1830" y="562"/>
                  </a:lnTo>
                  <a:lnTo>
                    <a:pt x="1830" y="565"/>
                  </a:lnTo>
                  <a:lnTo>
                    <a:pt x="1832" y="565"/>
                  </a:lnTo>
                  <a:lnTo>
                    <a:pt x="1832" y="565"/>
                  </a:lnTo>
                  <a:lnTo>
                    <a:pt x="1832" y="565"/>
                  </a:lnTo>
                  <a:lnTo>
                    <a:pt x="1835" y="567"/>
                  </a:lnTo>
                  <a:lnTo>
                    <a:pt x="1835" y="567"/>
                  </a:lnTo>
                  <a:lnTo>
                    <a:pt x="1835" y="570"/>
                  </a:lnTo>
                  <a:lnTo>
                    <a:pt x="1837" y="570"/>
                  </a:lnTo>
                  <a:lnTo>
                    <a:pt x="1840" y="572"/>
                  </a:lnTo>
                  <a:lnTo>
                    <a:pt x="1843" y="575"/>
                  </a:lnTo>
                  <a:lnTo>
                    <a:pt x="1845" y="578"/>
                  </a:lnTo>
                  <a:lnTo>
                    <a:pt x="1848" y="580"/>
                  </a:lnTo>
                  <a:lnTo>
                    <a:pt x="1850" y="580"/>
                  </a:lnTo>
                  <a:lnTo>
                    <a:pt x="1850" y="583"/>
                  </a:lnTo>
                  <a:lnTo>
                    <a:pt x="1853" y="583"/>
                  </a:lnTo>
                  <a:lnTo>
                    <a:pt x="1853" y="583"/>
                  </a:lnTo>
                  <a:lnTo>
                    <a:pt x="1853" y="585"/>
                  </a:lnTo>
                  <a:lnTo>
                    <a:pt x="1855" y="585"/>
                  </a:lnTo>
                  <a:lnTo>
                    <a:pt x="1855" y="585"/>
                  </a:lnTo>
                  <a:lnTo>
                    <a:pt x="1855" y="588"/>
                  </a:lnTo>
                  <a:lnTo>
                    <a:pt x="1858" y="588"/>
                  </a:lnTo>
                  <a:lnTo>
                    <a:pt x="1858" y="590"/>
                  </a:lnTo>
                  <a:lnTo>
                    <a:pt x="1860" y="590"/>
                  </a:lnTo>
                  <a:lnTo>
                    <a:pt x="1860" y="593"/>
                  </a:lnTo>
                  <a:lnTo>
                    <a:pt x="1863" y="595"/>
                  </a:lnTo>
                  <a:lnTo>
                    <a:pt x="1871" y="598"/>
                  </a:lnTo>
                  <a:lnTo>
                    <a:pt x="1873" y="600"/>
                  </a:lnTo>
                  <a:lnTo>
                    <a:pt x="1876" y="603"/>
                  </a:lnTo>
                  <a:lnTo>
                    <a:pt x="1876" y="605"/>
                  </a:lnTo>
                  <a:lnTo>
                    <a:pt x="1876" y="605"/>
                  </a:lnTo>
                  <a:lnTo>
                    <a:pt x="1876" y="605"/>
                  </a:lnTo>
                  <a:lnTo>
                    <a:pt x="1878" y="608"/>
                  </a:lnTo>
                  <a:lnTo>
                    <a:pt x="1878" y="608"/>
                  </a:lnTo>
                  <a:lnTo>
                    <a:pt x="1878" y="608"/>
                  </a:lnTo>
                  <a:lnTo>
                    <a:pt x="1881" y="611"/>
                  </a:lnTo>
                  <a:lnTo>
                    <a:pt x="1886" y="613"/>
                  </a:lnTo>
                  <a:lnTo>
                    <a:pt x="1886" y="616"/>
                  </a:lnTo>
                  <a:lnTo>
                    <a:pt x="1886" y="618"/>
                  </a:lnTo>
                  <a:lnTo>
                    <a:pt x="1888" y="618"/>
                  </a:lnTo>
                  <a:lnTo>
                    <a:pt x="1891" y="621"/>
                  </a:lnTo>
                  <a:lnTo>
                    <a:pt x="1893" y="621"/>
                  </a:lnTo>
                  <a:lnTo>
                    <a:pt x="1893" y="623"/>
                  </a:lnTo>
                  <a:lnTo>
                    <a:pt x="1896" y="623"/>
                  </a:lnTo>
                  <a:lnTo>
                    <a:pt x="1899" y="626"/>
                  </a:lnTo>
                  <a:lnTo>
                    <a:pt x="1901" y="626"/>
                  </a:lnTo>
                  <a:lnTo>
                    <a:pt x="1906" y="626"/>
                  </a:lnTo>
                  <a:lnTo>
                    <a:pt x="1911" y="626"/>
                  </a:lnTo>
                  <a:lnTo>
                    <a:pt x="1914" y="626"/>
                  </a:lnTo>
                  <a:lnTo>
                    <a:pt x="1914" y="626"/>
                  </a:lnTo>
                  <a:lnTo>
                    <a:pt x="1916" y="626"/>
                  </a:lnTo>
                  <a:lnTo>
                    <a:pt x="1916" y="628"/>
                  </a:lnTo>
                  <a:lnTo>
                    <a:pt x="1916" y="628"/>
                  </a:lnTo>
                  <a:lnTo>
                    <a:pt x="1919" y="628"/>
                  </a:lnTo>
                  <a:lnTo>
                    <a:pt x="1922" y="628"/>
                  </a:lnTo>
                  <a:lnTo>
                    <a:pt x="1924" y="631"/>
                  </a:lnTo>
                  <a:lnTo>
                    <a:pt x="1924" y="631"/>
                  </a:lnTo>
                  <a:lnTo>
                    <a:pt x="1924" y="631"/>
                  </a:lnTo>
                  <a:lnTo>
                    <a:pt x="1927" y="631"/>
                  </a:lnTo>
                  <a:lnTo>
                    <a:pt x="1927" y="631"/>
                  </a:lnTo>
                  <a:lnTo>
                    <a:pt x="1929" y="631"/>
                  </a:lnTo>
                  <a:lnTo>
                    <a:pt x="1929" y="631"/>
                  </a:lnTo>
                  <a:lnTo>
                    <a:pt x="1929" y="631"/>
                  </a:lnTo>
                  <a:lnTo>
                    <a:pt x="1929" y="631"/>
                  </a:lnTo>
                  <a:lnTo>
                    <a:pt x="1932" y="631"/>
                  </a:lnTo>
                  <a:lnTo>
                    <a:pt x="1934" y="633"/>
                  </a:lnTo>
                  <a:lnTo>
                    <a:pt x="1934" y="633"/>
                  </a:lnTo>
                  <a:lnTo>
                    <a:pt x="1939" y="633"/>
                  </a:lnTo>
                  <a:lnTo>
                    <a:pt x="1947" y="639"/>
                  </a:lnTo>
                  <a:lnTo>
                    <a:pt x="1950" y="641"/>
                  </a:lnTo>
                  <a:lnTo>
                    <a:pt x="1952" y="641"/>
                  </a:lnTo>
                  <a:lnTo>
                    <a:pt x="1957" y="641"/>
                  </a:lnTo>
                  <a:lnTo>
                    <a:pt x="1960" y="644"/>
                  </a:lnTo>
                  <a:lnTo>
                    <a:pt x="1960" y="646"/>
                  </a:lnTo>
                  <a:lnTo>
                    <a:pt x="1960" y="646"/>
                  </a:lnTo>
                  <a:lnTo>
                    <a:pt x="1962" y="649"/>
                  </a:lnTo>
                  <a:lnTo>
                    <a:pt x="1965" y="651"/>
                  </a:lnTo>
                  <a:lnTo>
                    <a:pt x="1965" y="651"/>
                  </a:lnTo>
                  <a:lnTo>
                    <a:pt x="1967" y="651"/>
                  </a:lnTo>
                  <a:lnTo>
                    <a:pt x="1967" y="654"/>
                  </a:lnTo>
                  <a:lnTo>
                    <a:pt x="1970" y="656"/>
                  </a:lnTo>
                  <a:lnTo>
                    <a:pt x="1970" y="659"/>
                  </a:lnTo>
                  <a:lnTo>
                    <a:pt x="1972" y="661"/>
                  </a:lnTo>
                  <a:lnTo>
                    <a:pt x="1975" y="661"/>
                  </a:lnTo>
                  <a:lnTo>
                    <a:pt x="1978" y="664"/>
                  </a:lnTo>
                  <a:lnTo>
                    <a:pt x="1978" y="667"/>
                  </a:lnTo>
                  <a:lnTo>
                    <a:pt x="1980" y="667"/>
                  </a:lnTo>
                  <a:lnTo>
                    <a:pt x="1980" y="667"/>
                  </a:lnTo>
                  <a:lnTo>
                    <a:pt x="1983" y="667"/>
                  </a:lnTo>
                  <a:lnTo>
                    <a:pt x="1985" y="667"/>
                  </a:lnTo>
                  <a:lnTo>
                    <a:pt x="1988" y="667"/>
                  </a:lnTo>
                  <a:lnTo>
                    <a:pt x="1990" y="669"/>
                  </a:lnTo>
                  <a:lnTo>
                    <a:pt x="1995" y="669"/>
                  </a:lnTo>
                  <a:lnTo>
                    <a:pt x="2001" y="667"/>
                  </a:lnTo>
                  <a:lnTo>
                    <a:pt x="2006" y="667"/>
                  </a:lnTo>
                  <a:lnTo>
                    <a:pt x="2006" y="667"/>
                  </a:lnTo>
                  <a:lnTo>
                    <a:pt x="2008" y="667"/>
                  </a:lnTo>
                  <a:lnTo>
                    <a:pt x="2006" y="664"/>
                  </a:lnTo>
                  <a:lnTo>
                    <a:pt x="2008" y="661"/>
                  </a:lnTo>
                  <a:lnTo>
                    <a:pt x="2008" y="661"/>
                  </a:lnTo>
                  <a:lnTo>
                    <a:pt x="2011" y="661"/>
                  </a:lnTo>
                  <a:lnTo>
                    <a:pt x="2011" y="659"/>
                  </a:lnTo>
                  <a:lnTo>
                    <a:pt x="2013" y="659"/>
                  </a:lnTo>
                  <a:lnTo>
                    <a:pt x="2016" y="659"/>
                  </a:lnTo>
                  <a:lnTo>
                    <a:pt x="2018" y="659"/>
                  </a:lnTo>
                  <a:lnTo>
                    <a:pt x="2021" y="659"/>
                  </a:lnTo>
                  <a:lnTo>
                    <a:pt x="2021" y="656"/>
                  </a:lnTo>
                  <a:lnTo>
                    <a:pt x="2023" y="654"/>
                  </a:lnTo>
                  <a:lnTo>
                    <a:pt x="2029" y="654"/>
                  </a:lnTo>
                  <a:lnTo>
                    <a:pt x="2029" y="651"/>
                  </a:lnTo>
                  <a:lnTo>
                    <a:pt x="2031" y="654"/>
                  </a:lnTo>
                  <a:lnTo>
                    <a:pt x="2031" y="654"/>
                  </a:lnTo>
                  <a:lnTo>
                    <a:pt x="2034" y="654"/>
                  </a:lnTo>
                  <a:lnTo>
                    <a:pt x="2039" y="656"/>
                  </a:lnTo>
                  <a:lnTo>
                    <a:pt x="2039" y="656"/>
                  </a:lnTo>
                  <a:lnTo>
                    <a:pt x="2039" y="656"/>
                  </a:lnTo>
                  <a:lnTo>
                    <a:pt x="2039" y="659"/>
                  </a:lnTo>
                  <a:lnTo>
                    <a:pt x="2039" y="659"/>
                  </a:lnTo>
                  <a:lnTo>
                    <a:pt x="2039" y="661"/>
                  </a:lnTo>
                  <a:lnTo>
                    <a:pt x="2041" y="661"/>
                  </a:lnTo>
                  <a:lnTo>
                    <a:pt x="2044" y="664"/>
                  </a:lnTo>
                  <a:lnTo>
                    <a:pt x="2044" y="664"/>
                  </a:lnTo>
                  <a:lnTo>
                    <a:pt x="2046" y="667"/>
                  </a:lnTo>
                  <a:lnTo>
                    <a:pt x="2046" y="669"/>
                  </a:lnTo>
                  <a:lnTo>
                    <a:pt x="2046" y="669"/>
                  </a:lnTo>
                  <a:lnTo>
                    <a:pt x="2046" y="672"/>
                  </a:lnTo>
                  <a:lnTo>
                    <a:pt x="2046" y="672"/>
                  </a:lnTo>
                  <a:lnTo>
                    <a:pt x="2046" y="674"/>
                  </a:lnTo>
                  <a:lnTo>
                    <a:pt x="2044" y="674"/>
                  </a:lnTo>
                  <a:lnTo>
                    <a:pt x="2044" y="674"/>
                  </a:lnTo>
                  <a:lnTo>
                    <a:pt x="2044" y="674"/>
                  </a:lnTo>
                  <a:lnTo>
                    <a:pt x="2044" y="674"/>
                  </a:lnTo>
                  <a:lnTo>
                    <a:pt x="2041" y="674"/>
                  </a:lnTo>
                  <a:lnTo>
                    <a:pt x="2041" y="677"/>
                  </a:lnTo>
                  <a:lnTo>
                    <a:pt x="2044" y="677"/>
                  </a:lnTo>
                  <a:lnTo>
                    <a:pt x="2044" y="679"/>
                  </a:lnTo>
                  <a:lnTo>
                    <a:pt x="2044" y="679"/>
                  </a:lnTo>
                  <a:lnTo>
                    <a:pt x="2044" y="682"/>
                  </a:lnTo>
                  <a:lnTo>
                    <a:pt x="2044" y="684"/>
                  </a:lnTo>
                  <a:lnTo>
                    <a:pt x="2046" y="684"/>
                  </a:lnTo>
                  <a:lnTo>
                    <a:pt x="2046" y="687"/>
                  </a:lnTo>
                  <a:lnTo>
                    <a:pt x="2046" y="687"/>
                  </a:lnTo>
                  <a:lnTo>
                    <a:pt x="2046" y="689"/>
                  </a:lnTo>
                  <a:lnTo>
                    <a:pt x="2049" y="692"/>
                  </a:lnTo>
                  <a:lnTo>
                    <a:pt x="2049" y="695"/>
                  </a:lnTo>
                  <a:lnTo>
                    <a:pt x="2049" y="695"/>
                  </a:lnTo>
                  <a:lnTo>
                    <a:pt x="2049" y="697"/>
                  </a:lnTo>
                  <a:lnTo>
                    <a:pt x="2049" y="697"/>
                  </a:lnTo>
                  <a:lnTo>
                    <a:pt x="2051" y="700"/>
                  </a:lnTo>
                  <a:lnTo>
                    <a:pt x="2051" y="700"/>
                  </a:lnTo>
                  <a:lnTo>
                    <a:pt x="2051" y="700"/>
                  </a:lnTo>
                  <a:lnTo>
                    <a:pt x="2049" y="702"/>
                  </a:lnTo>
                  <a:lnTo>
                    <a:pt x="2049" y="702"/>
                  </a:lnTo>
                  <a:lnTo>
                    <a:pt x="2051" y="705"/>
                  </a:lnTo>
                  <a:lnTo>
                    <a:pt x="2051" y="705"/>
                  </a:lnTo>
                  <a:lnTo>
                    <a:pt x="2051" y="707"/>
                  </a:lnTo>
                  <a:lnTo>
                    <a:pt x="2051" y="707"/>
                  </a:lnTo>
                  <a:lnTo>
                    <a:pt x="2049" y="707"/>
                  </a:lnTo>
                  <a:lnTo>
                    <a:pt x="2049" y="707"/>
                  </a:lnTo>
                  <a:lnTo>
                    <a:pt x="2049" y="710"/>
                  </a:lnTo>
                  <a:lnTo>
                    <a:pt x="2051" y="710"/>
                  </a:lnTo>
                  <a:lnTo>
                    <a:pt x="2051" y="712"/>
                  </a:lnTo>
                  <a:lnTo>
                    <a:pt x="2051" y="712"/>
                  </a:lnTo>
                  <a:lnTo>
                    <a:pt x="2051" y="715"/>
                  </a:lnTo>
                  <a:lnTo>
                    <a:pt x="2051" y="715"/>
                  </a:lnTo>
                  <a:lnTo>
                    <a:pt x="2051" y="715"/>
                  </a:lnTo>
                  <a:lnTo>
                    <a:pt x="2049" y="715"/>
                  </a:lnTo>
                  <a:lnTo>
                    <a:pt x="2049" y="717"/>
                  </a:lnTo>
                  <a:lnTo>
                    <a:pt x="2049" y="720"/>
                  </a:lnTo>
                  <a:lnTo>
                    <a:pt x="2051" y="723"/>
                  </a:lnTo>
                  <a:lnTo>
                    <a:pt x="2051" y="725"/>
                  </a:lnTo>
                  <a:lnTo>
                    <a:pt x="2051" y="725"/>
                  </a:lnTo>
                  <a:lnTo>
                    <a:pt x="2051" y="728"/>
                  </a:lnTo>
                  <a:lnTo>
                    <a:pt x="2049" y="728"/>
                  </a:lnTo>
                  <a:lnTo>
                    <a:pt x="2049" y="725"/>
                  </a:lnTo>
                  <a:lnTo>
                    <a:pt x="2046" y="725"/>
                  </a:lnTo>
                  <a:lnTo>
                    <a:pt x="2044" y="725"/>
                  </a:lnTo>
                  <a:lnTo>
                    <a:pt x="2041" y="725"/>
                  </a:lnTo>
                  <a:lnTo>
                    <a:pt x="2039" y="725"/>
                  </a:lnTo>
                  <a:lnTo>
                    <a:pt x="2034" y="723"/>
                  </a:lnTo>
                  <a:lnTo>
                    <a:pt x="2034" y="723"/>
                  </a:lnTo>
                  <a:lnTo>
                    <a:pt x="2031" y="723"/>
                  </a:lnTo>
                  <a:lnTo>
                    <a:pt x="2029" y="723"/>
                  </a:lnTo>
                  <a:lnTo>
                    <a:pt x="2026" y="720"/>
                  </a:lnTo>
                  <a:lnTo>
                    <a:pt x="2026" y="720"/>
                  </a:lnTo>
                  <a:lnTo>
                    <a:pt x="2026" y="723"/>
                  </a:lnTo>
                  <a:lnTo>
                    <a:pt x="2026" y="723"/>
                  </a:lnTo>
                  <a:lnTo>
                    <a:pt x="2026" y="725"/>
                  </a:lnTo>
                  <a:lnTo>
                    <a:pt x="2026" y="725"/>
                  </a:lnTo>
                  <a:lnTo>
                    <a:pt x="2026" y="728"/>
                  </a:lnTo>
                  <a:lnTo>
                    <a:pt x="2023" y="730"/>
                  </a:lnTo>
                  <a:lnTo>
                    <a:pt x="2021" y="730"/>
                  </a:lnTo>
                  <a:lnTo>
                    <a:pt x="2021" y="730"/>
                  </a:lnTo>
                  <a:lnTo>
                    <a:pt x="2018" y="730"/>
                  </a:lnTo>
                  <a:lnTo>
                    <a:pt x="2018" y="733"/>
                  </a:lnTo>
                  <a:lnTo>
                    <a:pt x="2018" y="733"/>
                  </a:lnTo>
                  <a:lnTo>
                    <a:pt x="2018" y="733"/>
                  </a:lnTo>
                  <a:lnTo>
                    <a:pt x="2018" y="735"/>
                  </a:lnTo>
                  <a:lnTo>
                    <a:pt x="2021" y="738"/>
                  </a:lnTo>
                  <a:lnTo>
                    <a:pt x="2023" y="738"/>
                  </a:lnTo>
                  <a:lnTo>
                    <a:pt x="2026" y="740"/>
                  </a:lnTo>
                  <a:lnTo>
                    <a:pt x="2034" y="751"/>
                  </a:lnTo>
                  <a:lnTo>
                    <a:pt x="2034" y="751"/>
                  </a:lnTo>
                  <a:lnTo>
                    <a:pt x="2036" y="758"/>
                  </a:lnTo>
                  <a:lnTo>
                    <a:pt x="2036" y="758"/>
                  </a:lnTo>
                  <a:lnTo>
                    <a:pt x="2039" y="761"/>
                  </a:lnTo>
                  <a:lnTo>
                    <a:pt x="2039" y="763"/>
                  </a:lnTo>
                  <a:lnTo>
                    <a:pt x="2039" y="763"/>
                  </a:lnTo>
                  <a:lnTo>
                    <a:pt x="2041" y="763"/>
                  </a:lnTo>
                  <a:lnTo>
                    <a:pt x="2041" y="763"/>
                  </a:lnTo>
                  <a:lnTo>
                    <a:pt x="2041" y="766"/>
                  </a:lnTo>
                  <a:lnTo>
                    <a:pt x="2041" y="766"/>
                  </a:lnTo>
                  <a:lnTo>
                    <a:pt x="2041" y="768"/>
                  </a:lnTo>
                  <a:lnTo>
                    <a:pt x="2044" y="771"/>
                  </a:lnTo>
                  <a:lnTo>
                    <a:pt x="2044" y="771"/>
                  </a:lnTo>
                  <a:lnTo>
                    <a:pt x="2044" y="771"/>
                  </a:lnTo>
                  <a:lnTo>
                    <a:pt x="2044" y="773"/>
                  </a:lnTo>
                  <a:lnTo>
                    <a:pt x="2044" y="773"/>
                  </a:lnTo>
                  <a:lnTo>
                    <a:pt x="2044" y="776"/>
                  </a:lnTo>
                  <a:lnTo>
                    <a:pt x="2044" y="776"/>
                  </a:lnTo>
                  <a:lnTo>
                    <a:pt x="2041" y="776"/>
                  </a:lnTo>
                  <a:lnTo>
                    <a:pt x="2041" y="776"/>
                  </a:lnTo>
                  <a:lnTo>
                    <a:pt x="2039" y="776"/>
                  </a:lnTo>
                  <a:lnTo>
                    <a:pt x="2039" y="776"/>
                  </a:lnTo>
                  <a:lnTo>
                    <a:pt x="2036" y="779"/>
                  </a:lnTo>
                  <a:lnTo>
                    <a:pt x="2036" y="779"/>
                  </a:lnTo>
                  <a:lnTo>
                    <a:pt x="2034" y="779"/>
                  </a:lnTo>
                  <a:lnTo>
                    <a:pt x="2034" y="779"/>
                  </a:lnTo>
                  <a:lnTo>
                    <a:pt x="2034" y="779"/>
                  </a:lnTo>
                  <a:lnTo>
                    <a:pt x="2036" y="781"/>
                  </a:lnTo>
                  <a:lnTo>
                    <a:pt x="2036" y="781"/>
                  </a:lnTo>
                  <a:lnTo>
                    <a:pt x="2039" y="781"/>
                  </a:lnTo>
                  <a:lnTo>
                    <a:pt x="2039" y="784"/>
                  </a:lnTo>
                  <a:lnTo>
                    <a:pt x="2039" y="784"/>
                  </a:lnTo>
                  <a:lnTo>
                    <a:pt x="2039" y="784"/>
                  </a:lnTo>
                  <a:lnTo>
                    <a:pt x="2041" y="786"/>
                  </a:lnTo>
                  <a:lnTo>
                    <a:pt x="2044" y="786"/>
                  </a:lnTo>
                  <a:lnTo>
                    <a:pt x="2044" y="789"/>
                  </a:lnTo>
                  <a:lnTo>
                    <a:pt x="2044" y="789"/>
                  </a:lnTo>
                  <a:lnTo>
                    <a:pt x="2044" y="789"/>
                  </a:lnTo>
                  <a:lnTo>
                    <a:pt x="2044" y="784"/>
                  </a:lnTo>
                  <a:lnTo>
                    <a:pt x="2041" y="781"/>
                  </a:lnTo>
                  <a:lnTo>
                    <a:pt x="2041" y="781"/>
                  </a:lnTo>
                  <a:lnTo>
                    <a:pt x="2046" y="781"/>
                  </a:lnTo>
                  <a:lnTo>
                    <a:pt x="2046" y="781"/>
                  </a:lnTo>
                  <a:lnTo>
                    <a:pt x="2049" y="781"/>
                  </a:lnTo>
                  <a:lnTo>
                    <a:pt x="2049" y="779"/>
                  </a:lnTo>
                  <a:lnTo>
                    <a:pt x="2049" y="779"/>
                  </a:lnTo>
                  <a:lnTo>
                    <a:pt x="2051" y="776"/>
                  </a:lnTo>
                  <a:lnTo>
                    <a:pt x="2051" y="773"/>
                  </a:lnTo>
                  <a:lnTo>
                    <a:pt x="2051" y="768"/>
                  </a:lnTo>
                  <a:lnTo>
                    <a:pt x="2054" y="768"/>
                  </a:lnTo>
                  <a:lnTo>
                    <a:pt x="2054" y="766"/>
                  </a:lnTo>
                  <a:lnTo>
                    <a:pt x="2057" y="766"/>
                  </a:lnTo>
                  <a:lnTo>
                    <a:pt x="2057" y="766"/>
                  </a:lnTo>
                  <a:lnTo>
                    <a:pt x="2057" y="768"/>
                  </a:lnTo>
                  <a:lnTo>
                    <a:pt x="2057" y="771"/>
                  </a:lnTo>
                  <a:lnTo>
                    <a:pt x="2057" y="771"/>
                  </a:lnTo>
                  <a:lnTo>
                    <a:pt x="2059" y="771"/>
                  </a:lnTo>
                  <a:lnTo>
                    <a:pt x="2062" y="768"/>
                  </a:lnTo>
                  <a:lnTo>
                    <a:pt x="2062" y="766"/>
                  </a:lnTo>
                  <a:lnTo>
                    <a:pt x="2062" y="768"/>
                  </a:lnTo>
                  <a:lnTo>
                    <a:pt x="2067" y="776"/>
                  </a:lnTo>
                  <a:lnTo>
                    <a:pt x="2069" y="776"/>
                  </a:lnTo>
                  <a:lnTo>
                    <a:pt x="2072" y="776"/>
                  </a:lnTo>
                  <a:lnTo>
                    <a:pt x="2074" y="776"/>
                  </a:lnTo>
                  <a:lnTo>
                    <a:pt x="2077" y="779"/>
                  </a:lnTo>
                  <a:lnTo>
                    <a:pt x="2080" y="779"/>
                  </a:lnTo>
                  <a:lnTo>
                    <a:pt x="2080" y="779"/>
                  </a:lnTo>
                  <a:lnTo>
                    <a:pt x="2082" y="779"/>
                  </a:lnTo>
                  <a:lnTo>
                    <a:pt x="2085" y="781"/>
                  </a:lnTo>
                  <a:lnTo>
                    <a:pt x="2087" y="779"/>
                  </a:lnTo>
                  <a:lnTo>
                    <a:pt x="2090" y="776"/>
                  </a:lnTo>
                  <a:lnTo>
                    <a:pt x="2092" y="776"/>
                  </a:lnTo>
                  <a:lnTo>
                    <a:pt x="2097" y="773"/>
                  </a:lnTo>
                  <a:lnTo>
                    <a:pt x="2097" y="773"/>
                  </a:lnTo>
                  <a:lnTo>
                    <a:pt x="2105" y="766"/>
                  </a:lnTo>
                  <a:lnTo>
                    <a:pt x="2108" y="763"/>
                  </a:lnTo>
                  <a:lnTo>
                    <a:pt x="2110" y="761"/>
                  </a:lnTo>
                  <a:lnTo>
                    <a:pt x="2110" y="758"/>
                  </a:lnTo>
                  <a:lnTo>
                    <a:pt x="2113" y="756"/>
                  </a:lnTo>
                  <a:lnTo>
                    <a:pt x="2113" y="753"/>
                  </a:lnTo>
                  <a:lnTo>
                    <a:pt x="2113" y="753"/>
                  </a:lnTo>
                  <a:lnTo>
                    <a:pt x="2113" y="743"/>
                  </a:lnTo>
                  <a:lnTo>
                    <a:pt x="2113" y="740"/>
                  </a:lnTo>
                  <a:lnTo>
                    <a:pt x="2115" y="740"/>
                  </a:lnTo>
                  <a:lnTo>
                    <a:pt x="2115" y="738"/>
                  </a:lnTo>
                  <a:lnTo>
                    <a:pt x="2115" y="738"/>
                  </a:lnTo>
                  <a:lnTo>
                    <a:pt x="2118" y="733"/>
                  </a:lnTo>
                  <a:lnTo>
                    <a:pt x="2118" y="730"/>
                  </a:lnTo>
                  <a:lnTo>
                    <a:pt x="2118" y="725"/>
                  </a:lnTo>
                  <a:lnTo>
                    <a:pt x="2118" y="723"/>
                  </a:lnTo>
                  <a:lnTo>
                    <a:pt x="2120" y="717"/>
                  </a:lnTo>
                  <a:lnTo>
                    <a:pt x="2123" y="712"/>
                  </a:lnTo>
                  <a:lnTo>
                    <a:pt x="2125" y="710"/>
                  </a:lnTo>
                  <a:lnTo>
                    <a:pt x="2125" y="707"/>
                  </a:lnTo>
                  <a:lnTo>
                    <a:pt x="2128" y="700"/>
                  </a:lnTo>
                  <a:lnTo>
                    <a:pt x="2125" y="695"/>
                  </a:lnTo>
                  <a:lnTo>
                    <a:pt x="2128" y="692"/>
                  </a:lnTo>
                  <a:lnTo>
                    <a:pt x="2125" y="689"/>
                  </a:lnTo>
                  <a:lnTo>
                    <a:pt x="2125" y="684"/>
                  </a:lnTo>
                  <a:lnTo>
                    <a:pt x="2125" y="684"/>
                  </a:lnTo>
                  <a:lnTo>
                    <a:pt x="2123" y="682"/>
                  </a:lnTo>
                  <a:lnTo>
                    <a:pt x="2128" y="674"/>
                  </a:lnTo>
                  <a:lnTo>
                    <a:pt x="2125" y="669"/>
                  </a:lnTo>
                  <a:lnTo>
                    <a:pt x="2125" y="664"/>
                  </a:lnTo>
                  <a:lnTo>
                    <a:pt x="2128" y="661"/>
                  </a:lnTo>
                  <a:lnTo>
                    <a:pt x="2128" y="659"/>
                  </a:lnTo>
                  <a:lnTo>
                    <a:pt x="2128" y="656"/>
                  </a:lnTo>
                  <a:lnTo>
                    <a:pt x="2131" y="654"/>
                  </a:lnTo>
                  <a:lnTo>
                    <a:pt x="2131" y="651"/>
                  </a:lnTo>
                  <a:lnTo>
                    <a:pt x="2131" y="649"/>
                  </a:lnTo>
                  <a:lnTo>
                    <a:pt x="2128" y="644"/>
                  </a:lnTo>
                  <a:lnTo>
                    <a:pt x="2128" y="639"/>
                  </a:lnTo>
                  <a:lnTo>
                    <a:pt x="2125" y="639"/>
                  </a:lnTo>
                  <a:lnTo>
                    <a:pt x="2125" y="639"/>
                  </a:lnTo>
                  <a:lnTo>
                    <a:pt x="2125" y="636"/>
                  </a:lnTo>
                  <a:lnTo>
                    <a:pt x="2123" y="636"/>
                  </a:lnTo>
                  <a:lnTo>
                    <a:pt x="2123" y="633"/>
                  </a:lnTo>
                  <a:lnTo>
                    <a:pt x="2123" y="633"/>
                  </a:lnTo>
                  <a:lnTo>
                    <a:pt x="2123" y="631"/>
                  </a:lnTo>
                  <a:lnTo>
                    <a:pt x="2120" y="626"/>
                  </a:lnTo>
                  <a:lnTo>
                    <a:pt x="2118" y="621"/>
                  </a:lnTo>
                  <a:lnTo>
                    <a:pt x="2115" y="621"/>
                  </a:lnTo>
                  <a:lnTo>
                    <a:pt x="2115" y="618"/>
                  </a:lnTo>
                  <a:lnTo>
                    <a:pt x="2115" y="616"/>
                  </a:lnTo>
                  <a:lnTo>
                    <a:pt x="2115" y="616"/>
                  </a:lnTo>
                  <a:lnTo>
                    <a:pt x="2115" y="616"/>
                  </a:lnTo>
                  <a:lnTo>
                    <a:pt x="2113" y="613"/>
                  </a:lnTo>
                  <a:lnTo>
                    <a:pt x="2113" y="613"/>
                  </a:lnTo>
                  <a:lnTo>
                    <a:pt x="2105" y="605"/>
                  </a:lnTo>
                  <a:lnTo>
                    <a:pt x="2100" y="598"/>
                  </a:lnTo>
                  <a:lnTo>
                    <a:pt x="2100" y="595"/>
                  </a:lnTo>
                  <a:lnTo>
                    <a:pt x="2100" y="593"/>
                  </a:lnTo>
                  <a:lnTo>
                    <a:pt x="2097" y="590"/>
                  </a:lnTo>
                  <a:lnTo>
                    <a:pt x="2097" y="585"/>
                  </a:lnTo>
                  <a:lnTo>
                    <a:pt x="2095" y="580"/>
                  </a:lnTo>
                  <a:lnTo>
                    <a:pt x="2097" y="578"/>
                  </a:lnTo>
                  <a:lnTo>
                    <a:pt x="2097" y="575"/>
                  </a:lnTo>
                  <a:lnTo>
                    <a:pt x="2097" y="575"/>
                  </a:lnTo>
                  <a:lnTo>
                    <a:pt x="2095" y="572"/>
                  </a:lnTo>
                  <a:lnTo>
                    <a:pt x="2095" y="570"/>
                  </a:lnTo>
                  <a:lnTo>
                    <a:pt x="2092" y="567"/>
                  </a:lnTo>
                  <a:lnTo>
                    <a:pt x="2090" y="567"/>
                  </a:lnTo>
                  <a:lnTo>
                    <a:pt x="2087" y="565"/>
                  </a:lnTo>
                  <a:lnTo>
                    <a:pt x="2085" y="562"/>
                  </a:lnTo>
                  <a:lnTo>
                    <a:pt x="2085" y="560"/>
                  </a:lnTo>
                  <a:lnTo>
                    <a:pt x="2082" y="560"/>
                  </a:lnTo>
                  <a:lnTo>
                    <a:pt x="2080" y="555"/>
                  </a:lnTo>
                  <a:lnTo>
                    <a:pt x="2074" y="552"/>
                  </a:lnTo>
                  <a:lnTo>
                    <a:pt x="2069" y="550"/>
                  </a:lnTo>
                  <a:lnTo>
                    <a:pt x="2067" y="550"/>
                  </a:lnTo>
                  <a:lnTo>
                    <a:pt x="2069" y="550"/>
                  </a:lnTo>
                  <a:lnTo>
                    <a:pt x="2074" y="550"/>
                  </a:lnTo>
                  <a:lnTo>
                    <a:pt x="2077" y="550"/>
                  </a:lnTo>
                  <a:lnTo>
                    <a:pt x="2077" y="547"/>
                  </a:lnTo>
                  <a:lnTo>
                    <a:pt x="2074" y="544"/>
                  </a:lnTo>
                  <a:lnTo>
                    <a:pt x="2069" y="544"/>
                  </a:lnTo>
                  <a:lnTo>
                    <a:pt x="2064" y="542"/>
                  </a:lnTo>
                  <a:lnTo>
                    <a:pt x="2064" y="539"/>
                  </a:lnTo>
                  <a:lnTo>
                    <a:pt x="2057" y="539"/>
                  </a:lnTo>
                  <a:lnTo>
                    <a:pt x="2046" y="534"/>
                  </a:lnTo>
                  <a:lnTo>
                    <a:pt x="2041" y="529"/>
                  </a:lnTo>
                  <a:lnTo>
                    <a:pt x="2039" y="529"/>
                  </a:lnTo>
                  <a:lnTo>
                    <a:pt x="2031" y="524"/>
                  </a:lnTo>
                  <a:lnTo>
                    <a:pt x="2029" y="524"/>
                  </a:lnTo>
                  <a:lnTo>
                    <a:pt x="2029" y="524"/>
                  </a:lnTo>
                  <a:lnTo>
                    <a:pt x="2023" y="524"/>
                  </a:lnTo>
                  <a:lnTo>
                    <a:pt x="2018" y="524"/>
                  </a:lnTo>
                  <a:lnTo>
                    <a:pt x="2011" y="522"/>
                  </a:lnTo>
                  <a:lnTo>
                    <a:pt x="2011" y="524"/>
                  </a:lnTo>
                  <a:lnTo>
                    <a:pt x="2011" y="524"/>
                  </a:lnTo>
                  <a:lnTo>
                    <a:pt x="2013" y="527"/>
                  </a:lnTo>
                  <a:lnTo>
                    <a:pt x="2016" y="529"/>
                  </a:lnTo>
                  <a:lnTo>
                    <a:pt x="2018" y="532"/>
                  </a:lnTo>
                  <a:lnTo>
                    <a:pt x="2018" y="534"/>
                  </a:lnTo>
                  <a:lnTo>
                    <a:pt x="2021" y="539"/>
                  </a:lnTo>
                  <a:lnTo>
                    <a:pt x="2018" y="539"/>
                  </a:lnTo>
                  <a:lnTo>
                    <a:pt x="2018" y="539"/>
                  </a:lnTo>
                  <a:lnTo>
                    <a:pt x="2016" y="539"/>
                  </a:lnTo>
                  <a:lnTo>
                    <a:pt x="2016" y="539"/>
                  </a:lnTo>
                  <a:lnTo>
                    <a:pt x="2016" y="537"/>
                  </a:lnTo>
                  <a:lnTo>
                    <a:pt x="2016" y="534"/>
                  </a:lnTo>
                  <a:lnTo>
                    <a:pt x="2013" y="532"/>
                  </a:lnTo>
                  <a:lnTo>
                    <a:pt x="2013" y="529"/>
                  </a:lnTo>
                  <a:lnTo>
                    <a:pt x="2013" y="529"/>
                  </a:lnTo>
                  <a:lnTo>
                    <a:pt x="2011" y="532"/>
                  </a:lnTo>
                  <a:lnTo>
                    <a:pt x="2013" y="534"/>
                  </a:lnTo>
                  <a:lnTo>
                    <a:pt x="2011" y="537"/>
                  </a:lnTo>
                  <a:lnTo>
                    <a:pt x="2006" y="539"/>
                  </a:lnTo>
                  <a:lnTo>
                    <a:pt x="2001" y="539"/>
                  </a:lnTo>
                  <a:lnTo>
                    <a:pt x="1998" y="539"/>
                  </a:lnTo>
                  <a:lnTo>
                    <a:pt x="1998" y="539"/>
                  </a:lnTo>
                  <a:lnTo>
                    <a:pt x="1998" y="537"/>
                  </a:lnTo>
                  <a:lnTo>
                    <a:pt x="2001" y="537"/>
                  </a:lnTo>
                  <a:lnTo>
                    <a:pt x="2001" y="532"/>
                  </a:lnTo>
                  <a:lnTo>
                    <a:pt x="2001" y="532"/>
                  </a:lnTo>
                  <a:lnTo>
                    <a:pt x="2003" y="532"/>
                  </a:lnTo>
                  <a:lnTo>
                    <a:pt x="1998" y="529"/>
                  </a:lnTo>
                  <a:lnTo>
                    <a:pt x="1995" y="529"/>
                  </a:lnTo>
                  <a:lnTo>
                    <a:pt x="1990" y="527"/>
                  </a:lnTo>
                  <a:lnTo>
                    <a:pt x="1990" y="527"/>
                  </a:lnTo>
                  <a:lnTo>
                    <a:pt x="1993" y="527"/>
                  </a:lnTo>
                  <a:lnTo>
                    <a:pt x="1993" y="527"/>
                  </a:lnTo>
                  <a:lnTo>
                    <a:pt x="1993" y="524"/>
                  </a:lnTo>
                  <a:lnTo>
                    <a:pt x="1990" y="524"/>
                  </a:lnTo>
                  <a:lnTo>
                    <a:pt x="1988" y="524"/>
                  </a:lnTo>
                  <a:lnTo>
                    <a:pt x="1985" y="527"/>
                  </a:lnTo>
                  <a:lnTo>
                    <a:pt x="1985" y="527"/>
                  </a:lnTo>
                  <a:lnTo>
                    <a:pt x="1988" y="529"/>
                  </a:lnTo>
                  <a:lnTo>
                    <a:pt x="1990" y="529"/>
                  </a:lnTo>
                  <a:lnTo>
                    <a:pt x="1993" y="534"/>
                  </a:lnTo>
                  <a:lnTo>
                    <a:pt x="1990" y="532"/>
                  </a:lnTo>
                  <a:lnTo>
                    <a:pt x="1988" y="532"/>
                  </a:lnTo>
                  <a:lnTo>
                    <a:pt x="1988" y="534"/>
                  </a:lnTo>
                  <a:lnTo>
                    <a:pt x="1985" y="534"/>
                  </a:lnTo>
                  <a:lnTo>
                    <a:pt x="1983" y="532"/>
                  </a:lnTo>
                  <a:lnTo>
                    <a:pt x="1980" y="529"/>
                  </a:lnTo>
                  <a:lnTo>
                    <a:pt x="1978" y="522"/>
                  </a:lnTo>
                  <a:lnTo>
                    <a:pt x="1975" y="519"/>
                  </a:lnTo>
                  <a:lnTo>
                    <a:pt x="1975" y="516"/>
                  </a:lnTo>
                  <a:lnTo>
                    <a:pt x="1972" y="516"/>
                  </a:lnTo>
                  <a:lnTo>
                    <a:pt x="1970" y="516"/>
                  </a:lnTo>
                  <a:lnTo>
                    <a:pt x="1970" y="516"/>
                  </a:lnTo>
                  <a:lnTo>
                    <a:pt x="1962" y="516"/>
                  </a:lnTo>
                  <a:lnTo>
                    <a:pt x="1957" y="516"/>
                  </a:lnTo>
                  <a:lnTo>
                    <a:pt x="1950" y="514"/>
                  </a:lnTo>
                  <a:lnTo>
                    <a:pt x="1947" y="514"/>
                  </a:lnTo>
                  <a:lnTo>
                    <a:pt x="1944" y="514"/>
                  </a:lnTo>
                  <a:lnTo>
                    <a:pt x="1942" y="511"/>
                  </a:lnTo>
                  <a:lnTo>
                    <a:pt x="1942" y="509"/>
                  </a:lnTo>
                  <a:lnTo>
                    <a:pt x="1942" y="509"/>
                  </a:lnTo>
                  <a:lnTo>
                    <a:pt x="1942" y="506"/>
                  </a:lnTo>
                  <a:lnTo>
                    <a:pt x="1944" y="504"/>
                  </a:lnTo>
                  <a:lnTo>
                    <a:pt x="1950" y="501"/>
                  </a:lnTo>
                  <a:lnTo>
                    <a:pt x="1950" y="496"/>
                  </a:lnTo>
                  <a:lnTo>
                    <a:pt x="1950" y="496"/>
                  </a:lnTo>
                  <a:lnTo>
                    <a:pt x="1955" y="494"/>
                  </a:lnTo>
                  <a:lnTo>
                    <a:pt x="1955" y="491"/>
                  </a:lnTo>
                  <a:lnTo>
                    <a:pt x="1957" y="488"/>
                  </a:lnTo>
                  <a:lnTo>
                    <a:pt x="1957" y="486"/>
                  </a:lnTo>
                  <a:lnTo>
                    <a:pt x="1960" y="483"/>
                  </a:lnTo>
                  <a:lnTo>
                    <a:pt x="1960" y="483"/>
                  </a:lnTo>
                  <a:lnTo>
                    <a:pt x="1962" y="478"/>
                  </a:lnTo>
                  <a:lnTo>
                    <a:pt x="1962" y="476"/>
                  </a:lnTo>
                  <a:lnTo>
                    <a:pt x="1960" y="473"/>
                  </a:lnTo>
                  <a:lnTo>
                    <a:pt x="1960" y="473"/>
                  </a:lnTo>
                  <a:lnTo>
                    <a:pt x="1962" y="466"/>
                  </a:lnTo>
                  <a:lnTo>
                    <a:pt x="1965" y="463"/>
                  </a:lnTo>
                  <a:lnTo>
                    <a:pt x="1965" y="460"/>
                  </a:lnTo>
                  <a:lnTo>
                    <a:pt x="1967" y="458"/>
                  </a:lnTo>
                  <a:lnTo>
                    <a:pt x="1967" y="458"/>
                  </a:lnTo>
                  <a:lnTo>
                    <a:pt x="1967" y="455"/>
                  </a:lnTo>
                  <a:lnTo>
                    <a:pt x="1970" y="455"/>
                  </a:lnTo>
                  <a:lnTo>
                    <a:pt x="1970" y="453"/>
                  </a:lnTo>
                  <a:lnTo>
                    <a:pt x="1970" y="450"/>
                  </a:lnTo>
                  <a:lnTo>
                    <a:pt x="1975" y="448"/>
                  </a:lnTo>
                  <a:lnTo>
                    <a:pt x="1975" y="448"/>
                  </a:lnTo>
                  <a:lnTo>
                    <a:pt x="1970" y="440"/>
                  </a:lnTo>
                  <a:lnTo>
                    <a:pt x="1970" y="438"/>
                  </a:lnTo>
                  <a:lnTo>
                    <a:pt x="1972" y="435"/>
                  </a:lnTo>
                  <a:lnTo>
                    <a:pt x="1975" y="432"/>
                  </a:lnTo>
                  <a:lnTo>
                    <a:pt x="1978" y="430"/>
                  </a:lnTo>
                  <a:lnTo>
                    <a:pt x="1978" y="427"/>
                  </a:lnTo>
                  <a:lnTo>
                    <a:pt x="1978" y="422"/>
                  </a:lnTo>
                  <a:lnTo>
                    <a:pt x="1980" y="420"/>
                  </a:lnTo>
                  <a:lnTo>
                    <a:pt x="1983" y="417"/>
                  </a:lnTo>
                  <a:lnTo>
                    <a:pt x="1988" y="415"/>
                  </a:lnTo>
                  <a:lnTo>
                    <a:pt x="1995" y="415"/>
                  </a:lnTo>
                  <a:lnTo>
                    <a:pt x="1998" y="415"/>
                  </a:lnTo>
                  <a:lnTo>
                    <a:pt x="2003" y="415"/>
                  </a:lnTo>
                  <a:lnTo>
                    <a:pt x="2011" y="415"/>
                  </a:lnTo>
                  <a:lnTo>
                    <a:pt x="2026" y="415"/>
                  </a:lnTo>
                  <a:lnTo>
                    <a:pt x="2031" y="415"/>
                  </a:lnTo>
                  <a:lnTo>
                    <a:pt x="2034" y="417"/>
                  </a:lnTo>
                  <a:lnTo>
                    <a:pt x="2036" y="420"/>
                  </a:lnTo>
                  <a:lnTo>
                    <a:pt x="2039" y="420"/>
                  </a:lnTo>
                  <a:lnTo>
                    <a:pt x="2041" y="417"/>
                  </a:lnTo>
                  <a:lnTo>
                    <a:pt x="2041" y="415"/>
                  </a:lnTo>
                  <a:lnTo>
                    <a:pt x="2041" y="415"/>
                  </a:lnTo>
                  <a:lnTo>
                    <a:pt x="2046" y="415"/>
                  </a:lnTo>
                  <a:lnTo>
                    <a:pt x="2051" y="415"/>
                  </a:lnTo>
                  <a:lnTo>
                    <a:pt x="2062" y="417"/>
                  </a:lnTo>
                  <a:lnTo>
                    <a:pt x="2064" y="417"/>
                  </a:lnTo>
                  <a:lnTo>
                    <a:pt x="2064" y="415"/>
                  </a:lnTo>
                  <a:lnTo>
                    <a:pt x="2069" y="415"/>
                  </a:lnTo>
                  <a:lnTo>
                    <a:pt x="2077" y="417"/>
                  </a:lnTo>
                  <a:lnTo>
                    <a:pt x="2080" y="417"/>
                  </a:lnTo>
                  <a:lnTo>
                    <a:pt x="2082" y="417"/>
                  </a:lnTo>
                  <a:lnTo>
                    <a:pt x="2082" y="415"/>
                  </a:lnTo>
                  <a:lnTo>
                    <a:pt x="2080" y="415"/>
                  </a:lnTo>
                  <a:lnTo>
                    <a:pt x="2080" y="415"/>
                  </a:lnTo>
                  <a:lnTo>
                    <a:pt x="2077" y="415"/>
                  </a:lnTo>
                  <a:lnTo>
                    <a:pt x="2077" y="412"/>
                  </a:lnTo>
                  <a:lnTo>
                    <a:pt x="2080" y="412"/>
                  </a:lnTo>
                  <a:lnTo>
                    <a:pt x="2082" y="412"/>
                  </a:lnTo>
                  <a:lnTo>
                    <a:pt x="2085" y="412"/>
                  </a:lnTo>
                  <a:lnTo>
                    <a:pt x="2082" y="412"/>
                  </a:lnTo>
                  <a:lnTo>
                    <a:pt x="2082" y="412"/>
                  </a:lnTo>
                  <a:lnTo>
                    <a:pt x="2080" y="410"/>
                  </a:lnTo>
                  <a:lnTo>
                    <a:pt x="2080" y="407"/>
                  </a:lnTo>
                  <a:lnTo>
                    <a:pt x="2082" y="407"/>
                  </a:lnTo>
                  <a:lnTo>
                    <a:pt x="2085" y="407"/>
                  </a:lnTo>
                  <a:lnTo>
                    <a:pt x="2097" y="410"/>
                  </a:lnTo>
                  <a:lnTo>
                    <a:pt x="2097" y="410"/>
                  </a:lnTo>
                  <a:lnTo>
                    <a:pt x="2102" y="410"/>
                  </a:lnTo>
                  <a:lnTo>
                    <a:pt x="2105" y="412"/>
                  </a:lnTo>
                  <a:lnTo>
                    <a:pt x="2105" y="412"/>
                  </a:lnTo>
                  <a:lnTo>
                    <a:pt x="2105" y="412"/>
                  </a:lnTo>
                  <a:lnTo>
                    <a:pt x="2105" y="412"/>
                  </a:lnTo>
                  <a:lnTo>
                    <a:pt x="2108" y="412"/>
                  </a:lnTo>
                  <a:lnTo>
                    <a:pt x="2110" y="415"/>
                  </a:lnTo>
                  <a:lnTo>
                    <a:pt x="2110" y="412"/>
                  </a:lnTo>
                  <a:lnTo>
                    <a:pt x="2110" y="412"/>
                  </a:lnTo>
                  <a:lnTo>
                    <a:pt x="2110" y="412"/>
                  </a:lnTo>
                  <a:lnTo>
                    <a:pt x="2110" y="410"/>
                  </a:lnTo>
                  <a:lnTo>
                    <a:pt x="2113" y="412"/>
                  </a:lnTo>
                  <a:lnTo>
                    <a:pt x="2118" y="412"/>
                  </a:lnTo>
                  <a:lnTo>
                    <a:pt x="2120" y="412"/>
                  </a:lnTo>
                  <a:lnTo>
                    <a:pt x="2128" y="417"/>
                  </a:lnTo>
                  <a:lnTo>
                    <a:pt x="2133" y="417"/>
                  </a:lnTo>
                  <a:lnTo>
                    <a:pt x="2136" y="417"/>
                  </a:lnTo>
                  <a:lnTo>
                    <a:pt x="2136" y="417"/>
                  </a:lnTo>
                  <a:lnTo>
                    <a:pt x="2138" y="417"/>
                  </a:lnTo>
                  <a:lnTo>
                    <a:pt x="2136" y="420"/>
                  </a:lnTo>
                  <a:lnTo>
                    <a:pt x="2131" y="420"/>
                  </a:lnTo>
                  <a:lnTo>
                    <a:pt x="2128" y="420"/>
                  </a:lnTo>
                  <a:lnTo>
                    <a:pt x="2123" y="422"/>
                  </a:lnTo>
                  <a:lnTo>
                    <a:pt x="2131" y="425"/>
                  </a:lnTo>
                  <a:lnTo>
                    <a:pt x="2138" y="425"/>
                  </a:lnTo>
                  <a:lnTo>
                    <a:pt x="2143" y="425"/>
                  </a:lnTo>
                  <a:lnTo>
                    <a:pt x="2141" y="422"/>
                  </a:lnTo>
                  <a:lnTo>
                    <a:pt x="2143" y="422"/>
                  </a:lnTo>
                  <a:lnTo>
                    <a:pt x="2146" y="422"/>
                  </a:lnTo>
                  <a:lnTo>
                    <a:pt x="2148" y="425"/>
                  </a:lnTo>
                  <a:lnTo>
                    <a:pt x="2153" y="425"/>
                  </a:lnTo>
                  <a:lnTo>
                    <a:pt x="2156" y="425"/>
                  </a:lnTo>
                  <a:lnTo>
                    <a:pt x="2156" y="422"/>
                  </a:lnTo>
                  <a:lnTo>
                    <a:pt x="2156" y="422"/>
                  </a:lnTo>
                  <a:lnTo>
                    <a:pt x="2159" y="422"/>
                  </a:lnTo>
                  <a:lnTo>
                    <a:pt x="2156" y="420"/>
                  </a:lnTo>
                  <a:lnTo>
                    <a:pt x="2161" y="417"/>
                  </a:lnTo>
                  <a:lnTo>
                    <a:pt x="2166" y="420"/>
                  </a:lnTo>
                  <a:lnTo>
                    <a:pt x="2171" y="422"/>
                  </a:lnTo>
                  <a:lnTo>
                    <a:pt x="2174" y="420"/>
                  </a:lnTo>
                  <a:lnTo>
                    <a:pt x="2174" y="420"/>
                  </a:lnTo>
                  <a:lnTo>
                    <a:pt x="2174" y="420"/>
                  </a:lnTo>
                  <a:lnTo>
                    <a:pt x="2179" y="420"/>
                  </a:lnTo>
                  <a:lnTo>
                    <a:pt x="2181" y="420"/>
                  </a:lnTo>
                  <a:lnTo>
                    <a:pt x="2184" y="420"/>
                  </a:lnTo>
                  <a:lnTo>
                    <a:pt x="2187" y="420"/>
                  </a:lnTo>
                  <a:lnTo>
                    <a:pt x="2184" y="417"/>
                  </a:lnTo>
                  <a:lnTo>
                    <a:pt x="2181" y="415"/>
                  </a:lnTo>
                  <a:lnTo>
                    <a:pt x="2176" y="415"/>
                  </a:lnTo>
                  <a:lnTo>
                    <a:pt x="2169" y="412"/>
                  </a:lnTo>
                  <a:lnTo>
                    <a:pt x="2166" y="412"/>
                  </a:lnTo>
                  <a:lnTo>
                    <a:pt x="2166" y="412"/>
                  </a:lnTo>
                  <a:lnTo>
                    <a:pt x="2164" y="412"/>
                  </a:lnTo>
                  <a:lnTo>
                    <a:pt x="2164" y="412"/>
                  </a:lnTo>
                  <a:lnTo>
                    <a:pt x="2161" y="410"/>
                  </a:lnTo>
                  <a:lnTo>
                    <a:pt x="2161" y="410"/>
                  </a:lnTo>
                  <a:lnTo>
                    <a:pt x="2161" y="407"/>
                  </a:lnTo>
                  <a:lnTo>
                    <a:pt x="2159" y="404"/>
                  </a:lnTo>
                  <a:lnTo>
                    <a:pt x="2159" y="404"/>
                  </a:lnTo>
                  <a:lnTo>
                    <a:pt x="2159" y="404"/>
                  </a:lnTo>
                  <a:lnTo>
                    <a:pt x="2156" y="399"/>
                  </a:lnTo>
                  <a:lnTo>
                    <a:pt x="2159" y="394"/>
                  </a:lnTo>
                  <a:lnTo>
                    <a:pt x="2161" y="392"/>
                  </a:lnTo>
                  <a:lnTo>
                    <a:pt x="2164" y="389"/>
                  </a:lnTo>
                  <a:lnTo>
                    <a:pt x="2164" y="387"/>
                  </a:lnTo>
                  <a:lnTo>
                    <a:pt x="2161" y="382"/>
                  </a:lnTo>
                  <a:lnTo>
                    <a:pt x="2161" y="379"/>
                  </a:lnTo>
                  <a:lnTo>
                    <a:pt x="2164" y="376"/>
                  </a:lnTo>
                  <a:lnTo>
                    <a:pt x="2164" y="376"/>
                  </a:lnTo>
                  <a:lnTo>
                    <a:pt x="2161" y="371"/>
                  </a:lnTo>
                  <a:lnTo>
                    <a:pt x="2161" y="371"/>
                  </a:lnTo>
                  <a:lnTo>
                    <a:pt x="2161" y="369"/>
                  </a:lnTo>
                  <a:lnTo>
                    <a:pt x="2161" y="366"/>
                  </a:lnTo>
                  <a:lnTo>
                    <a:pt x="2164" y="366"/>
                  </a:lnTo>
                  <a:lnTo>
                    <a:pt x="2166" y="364"/>
                  </a:lnTo>
                  <a:lnTo>
                    <a:pt x="2171" y="366"/>
                  </a:lnTo>
                  <a:lnTo>
                    <a:pt x="2176" y="366"/>
                  </a:lnTo>
                  <a:lnTo>
                    <a:pt x="2176" y="366"/>
                  </a:lnTo>
                  <a:lnTo>
                    <a:pt x="2179" y="364"/>
                  </a:lnTo>
                  <a:lnTo>
                    <a:pt x="2181" y="364"/>
                  </a:lnTo>
                  <a:lnTo>
                    <a:pt x="2187" y="364"/>
                  </a:lnTo>
                  <a:lnTo>
                    <a:pt x="2187" y="361"/>
                  </a:lnTo>
                  <a:lnTo>
                    <a:pt x="2189" y="361"/>
                  </a:lnTo>
                  <a:lnTo>
                    <a:pt x="2192" y="364"/>
                  </a:lnTo>
                  <a:lnTo>
                    <a:pt x="2197" y="364"/>
                  </a:lnTo>
                  <a:lnTo>
                    <a:pt x="2197" y="366"/>
                  </a:lnTo>
                  <a:lnTo>
                    <a:pt x="2199" y="366"/>
                  </a:lnTo>
                  <a:lnTo>
                    <a:pt x="2202" y="366"/>
                  </a:lnTo>
                  <a:lnTo>
                    <a:pt x="2204" y="364"/>
                  </a:lnTo>
                  <a:lnTo>
                    <a:pt x="2207" y="364"/>
                  </a:lnTo>
                  <a:lnTo>
                    <a:pt x="2207" y="364"/>
                  </a:lnTo>
                  <a:lnTo>
                    <a:pt x="2210" y="364"/>
                  </a:lnTo>
                  <a:lnTo>
                    <a:pt x="2210" y="366"/>
                  </a:lnTo>
                  <a:lnTo>
                    <a:pt x="2212" y="369"/>
                  </a:lnTo>
                  <a:lnTo>
                    <a:pt x="2215" y="371"/>
                  </a:lnTo>
                  <a:lnTo>
                    <a:pt x="2215" y="374"/>
                  </a:lnTo>
                  <a:lnTo>
                    <a:pt x="2215" y="376"/>
                  </a:lnTo>
                  <a:lnTo>
                    <a:pt x="2217" y="376"/>
                  </a:lnTo>
                  <a:lnTo>
                    <a:pt x="2220" y="379"/>
                  </a:lnTo>
                  <a:lnTo>
                    <a:pt x="2220" y="382"/>
                  </a:lnTo>
                  <a:lnTo>
                    <a:pt x="2222" y="382"/>
                  </a:lnTo>
                  <a:lnTo>
                    <a:pt x="2222" y="382"/>
                  </a:lnTo>
                  <a:lnTo>
                    <a:pt x="2222" y="382"/>
                  </a:lnTo>
                  <a:lnTo>
                    <a:pt x="2225" y="382"/>
                  </a:lnTo>
                  <a:lnTo>
                    <a:pt x="2227" y="382"/>
                  </a:lnTo>
                  <a:lnTo>
                    <a:pt x="2230" y="382"/>
                  </a:lnTo>
                  <a:lnTo>
                    <a:pt x="2230" y="384"/>
                  </a:lnTo>
                  <a:lnTo>
                    <a:pt x="2232" y="387"/>
                  </a:lnTo>
                  <a:lnTo>
                    <a:pt x="2232" y="387"/>
                  </a:lnTo>
                  <a:lnTo>
                    <a:pt x="2235" y="389"/>
                  </a:lnTo>
                  <a:lnTo>
                    <a:pt x="2235" y="389"/>
                  </a:lnTo>
                  <a:lnTo>
                    <a:pt x="2235" y="387"/>
                  </a:lnTo>
                  <a:lnTo>
                    <a:pt x="2238" y="387"/>
                  </a:lnTo>
                  <a:lnTo>
                    <a:pt x="2243" y="387"/>
                  </a:lnTo>
                  <a:lnTo>
                    <a:pt x="2240" y="384"/>
                  </a:lnTo>
                  <a:lnTo>
                    <a:pt x="2240" y="382"/>
                  </a:lnTo>
                  <a:lnTo>
                    <a:pt x="2245" y="371"/>
                  </a:lnTo>
                  <a:lnTo>
                    <a:pt x="2245" y="369"/>
                  </a:lnTo>
                  <a:lnTo>
                    <a:pt x="2248" y="369"/>
                  </a:lnTo>
                  <a:lnTo>
                    <a:pt x="2250" y="369"/>
                  </a:lnTo>
                  <a:lnTo>
                    <a:pt x="2250" y="369"/>
                  </a:lnTo>
                  <a:lnTo>
                    <a:pt x="2250" y="366"/>
                  </a:lnTo>
                  <a:lnTo>
                    <a:pt x="2250" y="366"/>
                  </a:lnTo>
                  <a:lnTo>
                    <a:pt x="2253" y="366"/>
                  </a:lnTo>
                  <a:lnTo>
                    <a:pt x="2255" y="369"/>
                  </a:lnTo>
                  <a:lnTo>
                    <a:pt x="2258" y="371"/>
                  </a:lnTo>
                  <a:lnTo>
                    <a:pt x="2258" y="369"/>
                  </a:lnTo>
                  <a:lnTo>
                    <a:pt x="2258" y="369"/>
                  </a:lnTo>
                  <a:lnTo>
                    <a:pt x="2258" y="369"/>
                  </a:lnTo>
                  <a:lnTo>
                    <a:pt x="2260" y="369"/>
                  </a:lnTo>
                  <a:lnTo>
                    <a:pt x="2258" y="366"/>
                  </a:lnTo>
                  <a:lnTo>
                    <a:pt x="2258" y="366"/>
                  </a:lnTo>
                  <a:lnTo>
                    <a:pt x="2253" y="366"/>
                  </a:lnTo>
                  <a:lnTo>
                    <a:pt x="2250" y="364"/>
                  </a:lnTo>
                  <a:lnTo>
                    <a:pt x="2248" y="359"/>
                  </a:lnTo>
                  <a:lnTo>
                    <a:pt x="2245" y="359"/>
                  </a:lnTo>
                  <a:lnTo>
                    <a:pt x="2245" y="356"/>
                  </a:lnTo>
                  <a:lnTo>
                    <a:pt x="2243" y="354"/>
                  </a:lnTo>
                  <a:lnTo>
                    <a:pt x="2243" y="354"/>
                  </a:lnTo>
                  <a:lnTo>
                    <a:pt x="2243" y="354"/>
                  </a:lnTo>
                  <a:lnTo>
                    <a:pt x="2240" y="351"/>
                  </a:lnTo>
                  <a:lnTo>
                    <a:pt x="2240" y="351"/>
                  </a:lnTo>
                  <a:lnTo>
                    <a:pt x="2240" y="348"/>
                  </a:lnTo>
                  <a:lnTo>
                    <a:pt x="2250" y="346"/>
                  </a:lnTo>
                  <a:lnTo>
                    <a:pt x="2253" y="346"/>
                  </a:lnTo>
                  <a:lnTo>
                    <a:pt x="2255" y="346"/>
                  </a:lnTo>
                  <a:lnTo>
                    <a:pt x="2263" y="348"/>
                  </a:lnTo>
                  <a:lnTo>
                    <a:pt x="2268" y="351"/>
                  </a:lnTo>
                  <a:lnTo>
                    <a:pt x="2273" y="351"/>
                  </a:lnTo>
                  <a:lnTo>
                    <a:pt x="2276" y="351"/>
                  </a:lnTo>
                  <a:lnTo>
                    <a:pt x="2273" y="351"/>
                  </a:lnTo>
                  <a:lnTo>
                    <a:pt x="2271" y="351"/>
                  </a:lnTo>
                  <a:lnTo>
                    <a:pt x="2273" y="354"/>
                  </a:lnTo>
                  <a:lnTo>
                    <a:pt x="2273" y="354"/>
                  </a:lnTo>
                  <a:lnTo>
                    <a:pt x="2271" y="354"/>
                  </a:lnTo>
                  <a:lnTo>
                    <a:pt x="2268" y="351"/>
                  </a:lnTo>
                  <a:lnTo>
                    <a:pt x="2263" y="351"/>
                  </a:lnTo>
                  <a:lnTo>
                    <a:pt x="2260" y="351"/>
                  </a:lnTo>
                  <a:lnTo>
                    <a:pt x="2260" y="354"/>
                  </a:lnTo>
                  <a:lnTo>
                    <a:pt x="2260" y="356"/>
                  </a:lnTo>
                  <a:lnTo>
                    <a:pt x="2263" y="361"/>
                  </a:lnTo>
                  <a:lnTo>
                    <a:pt x="2268" y="364"/>
                  </a:lnTo>
                  <a:lnTo>
                    <a:pt x="2271" y="366"/>
                  </a:lnTo>
                  <a:lnTo>
                    <a:pt x="2271" y="369"/>
                  </a:lnTo>
                  <a:lnTo>
                    <a:pt x="2271" y="369"/>
                  </a:lnTo>
                  <a:lnTo>
                    <a:pt x="2273" y="371"/>
                  </a:lnTo>
                  <a:lnTo>
                    <a:pt x="2276" y="374"/>
                  </a:lnTo>
                  <a:lnTo>
                    <a:pt x="2278" y="374"/>
                  </a:lnTo>
                  <a:lnTo>
                    <a:pt x="2278" y="374"/>
                  </a:lnTo>
                  <a:lnTo>
                    <a:pt x="2281" y="376"/>
                  </a:lnTo>
                  <a:lnTo>
                    <a:pt x="2278" y="379"/>
                  </a:lnTo>
                  <a:lnTo>
                    <a:pt x="2278" y="379"/>
                  </a:lnTo>
                  <a:lnTo>
                    <a:pt x="2278" y="382"/>
                  </a:lnTo>
                  <a:lnTo>
                    <a:pt x="2283" y="384"/>
                  </a:lnTo>
                  <a:lnTo>
                    <a:pt x="2283" y="384"/>
                  </a:lnTo>
                  <a:lnTo>
                    <a:pt x="2283" y="384"/>
                  </a:lnTo>
                  <a:lnTo>
                    <a:pt x="2281" y="387"/>
                  </a:lnTo>
                  <a:lnTo>
                    <a:pt x="2276" y="387"/>
                  </a:lnTo>
                  <a:lnTo>
                    <a:pt x="2276" y="389"/>
                  </a:lnTo>
                  <a:lnTo>
                    <a:pt x="2271" y="392"/>
                  </a:lnTo>
                  <a:lnTo>
                    <a:pt x="2268" y="392"/>
                  </a:lnTo>
                  <a:lnTo>
                    <a:pt x="2268" y="394"/>
                  </a:lnTo>
                  <a:lnTo>
                    <a:pt x="2271" y="397"/>
                  </a:lnTo>
                  <a:lnTo>
                    <a:pt x="2271" y="399"/>
                  </a:lnTo>
                  <a:lnTo>
                    <a:pt x="2268" y="402"/>
                  </a:lnTo>
                  <a:lnTo>
                    <a:pt x="2268" y="404"/>
                  </a:lnTo>
                  <a:lnTo>
                    <a:pt x="2268" y="410"/>
                  </a:lnTo>
                  <a:lnTo>
                    <a:pt x="2266" y="410"/>
                  </a:lnTo>
                  <a:lnTo>
                    <a:pt x="2266" y="412"/>
                  </a:lnTo>
                  <a:lnTo>
                    <a:pt x="2266" y="415"/>
                  </a:lnTo>
                  <a:lnTo>
                    <a:pt x="2263" y="420"/>
                  </a:lnTo>
                  <a:lnTo>
                    <a:pt x="2266" y="427"/>
                  </a:lnTo>
                  <a:lnTo>
                    <a:pt x="2266" y="430"/>
                  </a:lnTo>
                  <a:lnTo>
                    <a:pt x="2266" y="432"/>
                  </a:lnTo>
                  <a:lnTo>
                    <a:pt x="2266" y="432"/>
                  </a:lnTo>
                  <a:lnTo>
                    <a:pt x="2266" y="435"/>
                  </a:lnTo>
                  <a:lnTo>
                    <a:pt x="2263" y="438"/>
                  </a:lnTo>
                  <a:lnTo>
                    <a:pt x="2263" y="440"/>
                  </a:lnTo>
                  <a:lnTo>
                    <a:pt x="2260" y="443"/>
                  </a:lnTo>
                  <a:lnTo>
                    <a:pt x="2263" y="443"/>
                  </a:lnTo>
                  <a:lnTo>
                    <a:pt x="2260" y="443"/>
                  </a:lnTo>
                  <a:lnTo>
                    <a:pt x="2258" y="445"/>
                  </a:lnTo>
                  <a:lnTo>
                    <a:pt x="2253" y="443"/>
                  </a:lnTo>
                  <a:lnTo>
                    <a:pt x="2253" y="448"/>
                  </a:lnTo>
                  <a:lnTo>
                    <a:pt x="2250" y="448"/>
                  </a:lnTo>
                  <a:lnTo>
                    <a:pt x="2245" y="448"/>
                  </a:lnTo>
                  <a:lnTo>
                    <a:pt x="2245" y="448"/>
                  </a:lnTo>
                  <a:lnTo>
                    <a:pt x="2243" y="448"/>
                  </a:lnTo>
                  <a:lnTo>
                    <a:pt x="2243" y="450"/>
                  </a:lnTo>
                  <a:lnTo>
                    <a:pt x="2248" y="450"/>
                  </a:lnTo>
                  <a:lnTo>
                    <a:pt x="2250" y="453"/>
                  </a:lnTo>
                  <a:lnTo>
                    <a:pt x="2250" y="453"/>
                  </a:lnTo>
                  <a:lnTo>
                    <a:pt x="2253" y="455"/>
                  </a:lnTo>
                  <a:lnTo>
                    <a:pt x="2255" y="458"/>
                  </a:lnTo>
                  <a:lnTo>
                    <a:pt x="2255" y="463"/>
                  </a:lnTo>
                  <a:lnTo>
                    <a:pt x="2255" y="466"/>
                  </a:lnTo>
                  <a:lnTo>
                    <a:pt x="2253" y="471"/>
                  </a:lnTo>
                  <a:lnTo>
                    <a:pt x="2253" y="471"/>
                  </a:lnTo>
                  <a:lnTo>
                    <a:pt x="2253" y="471"/>
                  </a:lnTo>
                  <a:lnTo>
                    <a:pt x="2260" y="486"/>
                  </a:lnTo>
                  <a:lnTo>
                    <a:pt x="2266" y="491"/>
                  </a:lnTo>
                  <a:lnTo>
                    <a:pt x="2273" y="501"/>
                  </a:lnTo>
                  <a:lnTo>
                    <a:pt x="2276" y="504"/>
                  </a:lnTo>
                  <a:lnTo>
                    <a:pt x="2283" y="511"/>
                  </a:lnTo>
                  <a:lnTo>
                    <a:pt x="2294" y="519"/>
                  </a:lnTo>
                  <a:lnTo>
                    <a:pt x="2309" y="532"/>
                  </a:lnTo>
                  <a:lnTo>
                    <a:pt x="2311" y="534"/>
                  </a:lnTo>
                  <a:lnTo>
                    <a:pt x="2329" y="552"/>
                  </a:lnTo>
                  <a:lnTo>
                    <a:pt x="2332" y="555"/>
                  </a:lnTo>
                  <a:lnTo>
                    <a:pt x="2334" y="557"/>
                  </a:lnTo>
                  <a:lnTo>
                    <a:pt x="2339" y="560"/>
                  </a:lnTo>
                  <a:lnTo>
                    <a:pt x="2345" y="562"/>
                  </a:lnTo>
                  <a:lnTo>
                    <a:pt x="2347" y="565"/>
                  </a:lnTo>
                  <a:lnTo>
                    <a:pt x="2357" y="575"/>
                  </a:lnTo>
                  <a:lnTo>
                    <a:pt x="2365" y="585"/>
                  </a:lnTo>
                  <a:lnTo>
                    <a:pt x="2368" y="585"/>
                  </a:lnTo>
                  <a:lnTo>
                    <a:pt x="2370" y="588"/>
                  </a:lnTo>
                  <a:lnTo>
                    <a:pt x="2373" y="590"/>
                  </a:lnTo>
                  <a:lnTo>
                    <a:pt x="2375" y="593"/>
                  </a:lnTo>
                  <a:lnTo>
                    <a:pt x="2378" y="593"/>
                  </a:lnTo>
                  <a:lnTo>
                    <a:pt x="2380" y="595"/>
                  </a:lnTo>
                  <a:lnTo>
                    <a:pt x="2380" y="595"/>
                  </a:lnTo>
                  <a:lnTo>
                    <a:pt x="2383" y="590"/>
                  </a:lnTo>
                  <a:lnTo>
                    <a:pt x="2385" y="585"/>
                  </a:lnTo>
                  <a:lnTo>
                    <a:pt x="2383" y="585"/>
                  </a:lnTo>
                  <a:lnTo>
                    <a:pt x="2385" y="583"/>
                  </a:lnTo>
                  <a:lnTo>
                    <a:pt x="2385" y="580"/>
                  </a:lnTo>
                  <a:lnTo>
                    <a:pt x="2388" y="578"/>
                  </a:lnTo>
                  <a:lnTo>
                    <a:pt x="2385" y="570"/>
                  </a:lnTo>
                  <a:lnTo>
                    <a:pt x="2383" y="567"/>
                  </a:lnTo>
                  <a:lnTo>
                    <a:pt x="2383" y="565"/>
                  </a:lnTo>
                  <a:lnTo>
                    <a:pt x="2380" y="562"/>
                  </a:lnTo>
                  <a:lnTo>
                    <a:pt x="2378" y="560"/>
                  </a:lnTo>
                  <a:lnTo>
                    <a:pt x="2378" y="557"/>
                  </a:lnTo>
                  <a:lnTo>
                    <a:pt x="2375" y="555"/>
                  </a:lnTo>
                  <a:lnTo>
                    <a:pt x="2373" y="552"/>
                  </a:lnTo>
                  <a:lnTo>
                    <a:pt x="2370" y="552"/>
                  </a:lnTo>
                  <a:lnTo>
                    <a:pt x="2370" y="550"/>
                  </a:lnTo>
                  <a:lnTo>
                    <a:pt x="2370" y="550"/>
                  </a:lnTo>
                  <a:lnTo>
                    <a:pt x="2373" y="550"/>
                  </a:lnTo>
                  <a:lnTo>
                    <a:pt x="2375" y="552"/>
                  </a:lnTo>
                  <a:lnTo>
                    <a:pt x="2378" y="552"/>
                  </a:lnTo>
                  <a:lnTo>
                    <a:pt x="2378" y="550"/>
                  </a:lnTo>
                  <a:lnTo>
                    <a:pt x="2380" y="550"/>
                  </a:lnTo>
                  <a:lnTo>
                    <a:pt x="2385" y="547"/>
                  </a:lnTo>
                  <a:lnTo>
                    <a:pt x="2388" y="547"/>
                  </a:lnTo>
                  <a:lnTo>
                    <a:pt x="2393" y="550"/>
                  </a:lnTo>
                  <a:lnTo>
                    <a:pt x="2393" y="547"/>
                  </a:lnTo>
                  <a:lnTo>
                    <a:pt x="2390" y="544"/>
                  </a:lnTo>
                  <a:lnTo>
                    <a:pt x="2388" y="542"/>
                  </a:lnTo>
                  <a:lnTo>
                    <a:pt x="2385" y="542"/>
                  </a:lnTo>
                  <a:lnTo>
                    <a:pt x="2385" y="539"/>
                  </a:lnTo>
                  <a:lnTo>
                    <a:pt x="2383" y="537"/>
                  </a:lnTo>
                  <a:lnTo>
                    <a:pt x="2380" y="537"/>
                  </a:lnTo>
                  <a:lnTo>
                    <a:pt x="2378" y="534"/>
                  </a:lnTo>
                  <a:lnTo>
                    <a:pt x="2375" y="529"/>
                  </a:lnTo>
                  <a:lnTo>
                    <a:pt x="2373" y="527"/>
                  </a:lnTo>
                  <a:lnTo>
                    <a:pt x="2373" y="524"/>
                  </a:lnTo>
                  <a:lnTo>
                    <a:pt x="2375" y="524"/>
                  </a:lnTo>
                  <a:lnTo>
                    <a:pt x="2375" y="519"/>
                  </a:lnTo>
                  <a:lnTo>
                    <a:pt x="2378" y="519"/>
                  </a:lnTo>
                  <a:lnTo>
                    <a:pt x="2380" y="516"/>
                  </a:lnTo>
                  <a:lnTo>
                    <a:pt x="2383" y="516"/>
                  </a:lnTo>
                  <a:lnTo>
                    <a:pt x="2388" y="519"/>
                  </a:lnTo>
                  <a:lnTo>
                    <a:pt x="2393" y="519"/>
                  </a:lnTo>
                  <a:lnTo>
                    <a:pt x="2393" y="519"/>
                  </a:lnTo>
                  <a:lnTo>
                    <a:pt x="2396" y="514"/>
                  </a:lnTo>
                  <a:lnTo>
                    <a:pt x="2396" y="514"/>
                  </a:lnTo>
                  <a:lnTo>
                    <a:pt x="2393" y="511"/>
                  </a:lnTo>
                  <a:lnTo>
                    <a:pt x="2388" y="509"/>
                  </a:lnTo>
                  <a:lnTo>
                    <a:pt x="2383" y="504"/>
                  </a:lnTo>
                  <a:lnTo>
                    <a:pt x="2380" y="504"/>
                  </a:lnTo>
                  <a:lnTo>
                    <a:pt x="2378" y="501"/>
                  </a:lnTo>
                  <a:lnTo>
                    <a:pt x="2373" y="496"/>
                  </a:lnTo>
                  <a:lnTo>
                    <a:pt x="2370" y="494"/>
                  </a:lnTo>
                  <a:lnTo>
                    <a:pt x="2370" y="491"/>
                  </a:lnTo>
                  <a:lnTo>
                    <a:pt x="2368" y="483"/>
                  </a:lnTo>
                  <a:lnTo>
                    <a:pt x="2368" y="483"/>
                  </a:lnTo>
                  <a:lnTo>
                    <a:pt x="2370" y="483"/>
                  </a:lnTo>
                  <a:lnTo>
                    <a:pt x="2370" y="481"/>
                  </a:lnTo>
                  <a:lnTo>
                    <a:pt x="2370" y="481"/>
                  </a:lnTo>
                  <a:lnTo>
                    <a:pt x="2368" y="478"/>
                  </a:lnTo>
                  <a:lnTo>
                    <a:pt x="2368" y="476"/>
                  </a:lnTo>
                  <a:lnTo>
                    <a:pt x="2368" y="476"/>
                  </a:lnTo>
                  <a:lnTo>
                    <a:pt x="2373" y="476"/>
                  </a:lnTo>
                  <a:lnTo>
                    <a:pt x="2373" y="476"/>
                  </a:lnTo>
                  <a:lnTo>
                    <a:pt x="2373" y="476"/>
                  </a:lnTo>
                  <a:lnTo>
                    <a:pt x="2375" y="476"/>
                  </a:lnTo>
                  <a:lnTo>
                    <a:pt x="2373" y="478"/>
                  </a:lnTo>
                  <a:lnTo>
                    <a:pt x="2373" y="478"/>
                  </a:lnTo>
                  <a:lnTo>
                    <a:pt x="2373" y="481"/>
                  </a:lnTo>
                  <a:lnTo>
                    <a:pt x="2380" y="486"/>
                  </a:lnTo>
                  <a:lnTo>
                    <a:pt x="2383" y="486"/>
                  </a:lnTo>
                  <a:lnTo>
                    <a:pt x="2383" y="486"/>
                  </a:lnTo>
                  <a:lnTo>
                    <a:pt x="2385" y="483"/>
                  </a:lnTo>
                  <a:lnTo>
                    <a:pt x="2385" y="483"/>
                  </a:lnTo>
                  <a:lnTo>
                    <a:pt x="2385" y="481"/>
                  </a:lnTo>
                  <a:lnTo>
                    <a:pt x="2380" y="476"/>
                  </a:lnTo>
                  <a:lnTo>
                    <a:pt x="2375" y="476"/>
                  </a:lnTo>
                  <a:lnTo>
                    <a:pt x="2373" y="471"/>
                  </a:lnTo>
                  <a:lnTo>
                    <a:pt x="2370" y="471"/>
                  </a:lnTo>
                  <a:lnTo>
                    <a:pt x="2368" y="471"/>
                  </a:lnTo>
                  <a:lnTo>
                    <a:pt x="2368" y="471"/>
                  </a:lnTo>
                  <a:lnTo>
                    <a:pt x="2365" y="471"/>
                  </a:lnTo>
                  <a:lnTo>
                    <a:pt x="2362" y="468"/>
                  </a:lnTo>
                  <a:lnTo>
                    <a:pt x="2362" y="468"/>
                  </a:lnTo>
                  <a:lnTo>
                    <a:pt x="2360" y="466"/>
                  </a:lnTo>
                  <a:lnTo>
                    <a:pt x="2357" y="463"/>
                  </a:lnTo>
                  <a:lnTo>
                    <a:pt x="2352" y="460"/>
                  </a:lnTo>
                  <a:lnTo>
                    <a:pt x="2352" y="460"/>
                  </a:lnTo>
                  <a:lnTo>
                    <a:pt x="2350" y="458"/>
                  </a:lnTo>
                  <a:lnTo>
                    <a:pt x="2352" y="455"/>
                  </a:lnTo>
                  <a:lnTo>
                    <a:pt x="2352" y="453"/>
                  </a:lnTo>
                  <a:lnTo>
                    <a:pt x="2352" y="453"/>
                  </a:lnTo>
                  <a:lnTo>
                    <a:pt x="2350" y="450"/>
                  </a:lnTo>
                  <a:lnTo>
                    <a:pt x="2347" y="448"/>
                  </a:lnTo>
                  <a:lnTo>
                    <a:pt x="2347" y="448"/>
                  </a:lnTo>
                  <a:lnTo>
                    <a:pt x="2337" y="445"/>
                  </a:lnTo>
                  <a:lnTo>
                    <a:pt x="2334" y="445"/>
                  </a:lnTo>
                  <a:lnTo>
                    <a:pt x="2334" y="445"/>
                  </a:lnTo>
                  <a:lnTo>
                    <a:pt x="2337" y="450"/>
                  </a:lnTo>
                  <a:lnTo>
                    <a:pt x="2337" y="450"/>
                  </a:lnTo>
                  <a:lnTo>
                    <a:pt x="2337" y="450"/>
                  </a:lnTo>
                  <a:lnTo>
                    <a:pt x="2334" y="448"/>
                  </a:lnTo>
                  <a:lnTo>
                    <a:pt x="2332" y="448"/>
                  </a:lnTo>
                  <a:lnTo>
                    <a:pt x="2329" y="448"/>
                  </a:lnTo>
                  <a:lnTo>
                    <a:pt x="2327" y="445"/>
                  </a:lnTo>
                  <a:lnTo>
                    <a:pt x="2324" y="445"/>
                  </a:lnTo>
                  <a:lnTo>
                    <a:pt x="2322" y="443"/>
                  </a:lnTo>
                  <a:lnTo>
                    <a:pt x="2319" y="438"/>
                  </a:lnTo>
                  <a:lnTo>
                    <a:pt x="2317" y="435"/>
                  </a:lnTo>
                  <a:lnTo>
                    <a:pt x="2314" y="430"/>
                  </a:lnTo>
                  <a:lnTo>
                    <a:pt x="2317" y="427"/>
                  </a:lnTo>
                  <a:lnTo>
                    <a:pt x="2317" y="425"/>
                  </a:lnTo>
                  <a:lnTo>
                    <a:pt x="2317" y="425"/>
                  </a:lnTo>
                  <a:lnTo>
                    <a:pt x="2317" y="422"/>
                  </a:lnTo>
                  <a:lnTo>
                    <a:pt x="2317" y="422"/>
                  </a:lnTo>
                  <a:lnTo>
                    <a:pt x="2314" y="420"/>
                  </a:lnTo>
                  <a:lnTo>
                    <a:pt x="2314" y="420"/>
                  </a:lnTo>
                  <a:lnTo>
                    <a:pt x="2314" y="420"/>
                  </a:lnTo>
                  <a:lnTo>
                    <a:pt x="2317" y="420"/>
                  </a:lnTo>
                  <a:lnTo>
                    <a:pt x="2314" y="417"/>
                  </a:lnTo>
                  <a:lnTo>
                    <a:pt x="2309" y="412"/>
                  </a:lnTo>
                  <a:lnTo>
                    <a:pt x="2306" y="410"/>
                  </a:lnTo>
                  <a:lnTo>
                    <a:pt x="2306" y="407"/>
                  </a:lnTo>
                  <a:lnTo>
                    <a:pt x="2304" y="404"/>
                  </a:lnTo>
                  <a:lnTo>
                    <a:pt x="2304" y="404"/>
                  </a:lnTo>
                  <a:lnTo>
                    <a:pt x="2306" y="404"/>
                  </a:lnTo>
                  <a:lnTo>
                    <a:pt x="2306" y="402"/>
                  </a:lnTo>
                  <a:lnTo>
                    <a:pt x="2306" y="402"/>
                  </a:lnTo>
                  <a:lnTo>
                    <a:pt x="2306" y="402"/>
                  </a:lnTo>
                  <a:lnTo>
                    <a:pt x="2309" y="402"/>
                  </a:lnTo>
                  <a:lnTo>
                    <a:pt x="2311" y="402"/>
                  </a:lnTo>
                  <a:lnTo>
                    <a:pt x="2314" y="402"/>
                  </a:lnTo>
                  <a:lnTo>
                    <a:pt x="2314" y="404"/>
                  </a:lnTo>
                  <a:lnTo>
                    <a:pt x="2314" y="402"/>
                  </a:lnTo>
                  <a:lnTo>
                    <a:pt x="2314" y="402"/>
                  </a:lnTo>
                  <a:lnTo>
                    <a:pt x="2317" y="402"/>
                  </a:lnTo>
                  <a:lnTo>
                    <a:pt x="2317" y="402"/>
                  </a:lnTo>
                  <a:lnTo>
                    <a:pt x="2322" y="402"/>
                  </a:lnTo>
                  <a:lnTo>
                    <a:pt x="2327" y="404"/>
                  </a:lnTo>
                  <a:lnTo>
                    <a:pt x="2327" y="404"/>
                  </a:lnTo>
                  <a:lnTo>
                    <a:pt x="2329" y="404"/>
                  </a:lnTo>
                  <a:lnTo>
                    <a:pt x="2329" y="404"/>
                  </a:lnTo>
                  <a:lnTo>
                    <a:pt x="2329" y="404"/>
                  </a:lnTo>
                  <a:lnTo>
                    <a:pt x="2327" y="399"/>
                  </a:lnTo>
                  <a:lnTo>
                    <a:pt x="2327" y="399"/>
                  </a:lnTo>
                  <a:lnTo>
                    <a:pt x="2327" y="399"/>
                  </a:lnTo>
                  <a:lnTo>
                    <a:pt x="2329" y="397"/>
                  </a:lnTo>
                  <a:lnTo>
                    <a:pt x="2329" y="397"/>
                  </a:lnTo>
                  <a:lnTo>
                    <a:pt x="2334" y="394"/>
                  </a:lnTo>
                  <a:lnTo>
                    <a:pt x="2334" y="392"/>
                  </a:lnTo>
                  <a:lnTo>
                    <a:pt x="2337" y="392"/>
                  </a:lnTo>
                  <a:lnTo>
                    <a:pt x="2337" y="394"/>
                  </a:lnTo>
                  <a:lnTo>
                    <a:pt x="2339" y="394"/>
                  </a:lnTo>
                  <a:lnTo>
                    <a:pt x="2342" y="399"/>
                  </a:lnTo>
                  <a:lnTo>
                    <a:pt x="2342" y="399"/>
                  </a:lnTo>
                  <a:lnTo>
                    <a:pt x="2345" y="402"/>
                  </a:lnTo>
                  <a:lnTo>
                    <a:pt x="2347" y="404"/>
                  </a:lnTo>
                  <a:lnTo>
                    <a:pt x="2350" y="404"/>
                  </a:lnTo>
                  <a:lnTo>
                    <a:pt x="2350" y="404"/>
                  </a:lnTo>
                  <a:lnTo>
                    <a:pt x="2352" y="404"/>
                  </a:lnTo>
                  <a:lnTo>
                    <a:pt x="2352" y="404"/>
                  </a:lnTo>
                  <a:lnTo>
                    <a:pt x="2350" y="397"/>
                  </a:lnTo>
                  <a:lnTo>
                    <a:pt x="2352" y="394"/>
                  </a:lnTo>
                  <a:lnTo>
                    <a:pt x="2357" y="392"/>
                  </a:lnTo>
                  <a:lnTo>
                    <a:pt x="2357" y="392"/>
                  </a:lnTo>
                  <a:lnTo>
                    <a:pt x="2362" y="389"/>
                  </a:lnTo>
                  <a:lnTo>
                    <a:pt x="2368" y="389"/>
                  </a:lnTo>
                  <a:lnTo>
                    <a:pt x="2373" y="392"/>
                  </a:lnTo>
                  <a:lnTo>
                    <a:pt x="2373" y="389"/>
                  </a:lnTo>
                  <a:lnTo>
                    <a:pt x="2380" y="389"/>
                  </a:lnTo>
                  <a:lnTo>
                    <a:pt x="2383" y="392"/>
                  </a:lnTo>
                  <a:lnTo>
                    <a:pt x="2390" y="394"/>
                  </a:lnTo>
                  <a:lnTo>
                    <a:pt x="2398" y="397"/>
                  </a:lnTo>
                  <a:lnTo>
                    <a:pt x="2398" y="397"/>
                  </a:lnTo>
                  <a:lnTo>
                    <a:pt x="2401" y="397"/>
                  </a:lnTo>
                  <a:lnTo>
                    <a:pt x="2401" y="399"/>
                  </a:lnTo>
                  <a:lnTo>
                    <a:pt x="2403" y="399"/>
                  </a:lnTo>
                  <a:lnTo>
                    <a:pt x="2406" y="402"/>
                  </a:lnTo>
                  <a:lnTo>
                    <a:pt x="2411" y="402"/>
                  </a:lnTo>
                  <a:lnTo>
                    <a:pt x="2413" y="402"/>
                  </a:lnTo>
                  <a:lnTo>
                    <a:pt x="2413" y="402"/>
                  </a:lnTo>
                  <a:lnTo>
                    <a:pt x="2413" y="402"/>
                  </a:lnTo>
                  <a:lnTo>
                    <a:pt x="2408" y="397"/>
                  </a:lnTo>
                  <a:lnTo>
                    <a:pt x="2408" y="394"/>
                  </a:lnTo>
                  <a:lnTo>
                    <a:pt x="2406" y="394"/>
                  </a:lnTo>
                  <a:lnTo>
                    <a:pt x="2406" y="394"/>
                  </a:lnTo>
                  <a:lnTo>
                    <a:pt x="2408" y="392"/>
                  </a:lnTo>
                  <a:lnTo>
                    <a:pt x="2408" y="392"/>
                  </a:lnTo>
                  <a:lnTo>
                    <a:pt x="2413" y="387"/>
                  </a:lnTo>
                  <a:lnTo>
                    <a:pt x="2413" y="384"/>
                  </a:lnTo>
                  <a:lnTo>
                    <a:pt x="2416" y="384"/>
                  </a:lnTo>
                  <a:lnTo>
                    <a:pt x="2416" y="384"/>
                  </a:lnTo>
                  <a:lnTo>
                    <a:pt x="2416" y="384"/>
                  </a:lnTo>
                  <a:lnTo>
                    <a:pt x="2418" y="384"/>
                  </a:lnTo>
                  <a:lnTo>
                    <a:pt x="2418" y="382"/>
                  </a:lnTo>
                  <a:lnTo>
                    <a:pt x="2418" y="379"/>
                  </a:lnTo>
                  <a:lnTo>
                    <a:pt x="2418" y="379"/>
                  </a:lnTo>
                  <a:lnTo>
                    <a:pt x="2416" y="379"/>
                  </a:lnTo>
                  <a:lnTo>
                    <a:pt x="2418" y="376"/>
                  </a:lnTo>
                  <a:lnTo>
                    <a:pt x="2418" y="376"/>
                  </a:lnTo>
                  <a:lnTo>
                    <a:pt x="2418" y="376"/>
                  </a:lnTo>
                  <a:lnTo>
                    <a:pt x="2418" y="376"/>
                  </a:lnTo>
                  <a:lnTo>
                    <a:pt x="2418" y="374"/>
                  </a:lnTo>
                  <a:lnTo>
                    <a:pt x="2418" y="374"/>
                  </a:lnTo>
                  <a:lnTo>
                    <a:pt x="2421" y="376"/>
                  </a:lnTo>
                  <a:lnTo>
                    <a:pt x="2421" y="374"/>
                  </a:lnTo>
                  <a:lnTo>
                    <a:pt x="2418" y="374"/>
                  </a:lnTo>
                  <a:lnTo>
                    <a:pt x="2416" y="371"/>
                  </a:lnTo>
                  <a:lnTo>
                    <a:pt x="2416" y="371"/>
                  </a:lnTo>
                  <a:lnTo>
                    <a:pt x="2421" y="374"/>
                  </a:lnTo>
                  <a:lnTo>
                    <a:pt x="2421" y="374"/>
                  </a:lnTo>
                  <a:lnTo>
                    <a:pt x="2424" y="369"/>
                  </a:lnTo>
                  <a:lnTo>
                    <a:pt x="2421" y="366"/>
                  </a:lnTo>
                  <a:lnTo>
                    <a:pt x="2426" y="366"/>
                  </a:lnTo>
                  <a:lnTo>
                    <a:pt x="2429" y="366"/>
                  </a:lnTo>
                  <a:lnTo>
                    <a:pt x="2431" y="364"/>
                  </a:lnTo>
                  <a:lnTo>
                    <a:pt x="2434" y="364"/>
                  </a:lnTo>
                  <a:lnTo>
                    <a:pt x="2434" y="364"/>
                  </a:lnTo>
                  <a:lnTo>
                    <a:pt x="2434" y="361"/>
                  </a:lnTo>
                  <a:lnTo>
                    <a:pt x="2436" y="361"/>
                  </a:lnTo>
                  <a:lnTo>
                    <a:pt x="2439" y="361"/>
                  </a:lnTo>
                  <a:lnTo>
                    <a:pt x="2439" y="359"/>
                  </a:lnTo>
                  <a:lnTo>
                    <a:pt x="2439" y="359"/>
                  </a:lnTo>
                  <a:lnTo>
                    <a:pt x="2441" y="359"/>
                  </a:lnTo>
                  <a:lnTo>
                    <a:pt x="2441" y="356"/>
                  </a:lnTo>
                  <a:lnTo>
                    <a:pt x="2449" y="354"/>
                  </a:lnTo>
                  <a:lnTo>
                    <a:pt x="2449" y="354"/>
                  </a:lnTo>
                  <a:lnTo>
                    <a:pt x="2452" y="351"/>
                  </a:lnTo>
                  <a:lnTo>
                    <a:pt x="2452" y="351"/>
                  </a:lnTo>
                  <a:lnTo>
                    <a:pt x="2457" y="348"/>
                  </a:lnTo>
                  <a:lnTo>
                    <a:pt x="2457" y="348"/>
                  </a:lnTo>
                  <a:lnTo>
                    <a:pt x="2452" y="348"/>
                  </a:lnTo>
                  <a:lnTo>
                    <a:pt x="2452" y="348"/>
                  </a:lnTo>
                  <a:lnTo>
                    <a:pt x="2449" y="346"/>
                  </a:lnTo>
                  <a:lnTo>
                    <a:pt x="2449" y="346"/>
                  </a:lnTo>
                  <a:lnTo>
                    <a:pt x="2449" y="346"/>
                  </a:lnTo>
                  <a:lnTo>
                    <a:pt x="2449" y="346"/>
                  </a:lnTo>
                  <a:lnTo>
                    <a:pt x="2452" y="346"/>
                  </a:lnTo>
                  <a:lnTo>
                    <a:pt x="2452" y="346"/>
                  </a:lnTo>
                  <a:lnTo>
                    <a:pt x="2452" y="346"/>
                  </a:lnTo>
                  <a:lnTo>
                    <a:pt x="2454" y="346"/>
                  </a:lnTo>
                  <a:lnTo>
                    <a:pt x="2454" y="346"/>
                  </a:lnTo>
                  <a:lnTo>
                    <a:pt x="2454" y="346"/>
                  </a:lnTo>
                  <a:lnTo>
                    <a:pt x="2457" y="348"/>
                  </a:lnTo>
                  <a:lnTo>
                    <a:pt x="2457" y="348"/>
                  </a:lnTo>
                  <a:lnTo>
                    <a:pt x="2459" y="348"/>
                  </a:lnTo>
                  <a:lnTo>
                    <a:pt x="2464" y="348"/>
                  </a:lnTo>
                  <a:lnTo>
                    <a:pt x="2469" y="348"/>
                  </a:lnTo>
                  <a:lnTo>
                    <a:pt x="2490" y="354"/>
                  </a:lnTo>
                  <a:lnTo>
                    <a:pt x="2492" y="354"/>
                  </a:lnTo>
                  <a:lnTo>
                    <a:pt x="2492" y="354"/>
                  </a:lnTo>
                  <a:lnTo>
                    <a:pt x="2492" y="354"/>
                  </a:lnTo>
                  <a:lnTo>
                    <a:pt x="2490" y="351"/>
                  </a:lnTo>
                  <a:lnTo>
                    <a:pt x="2490" y="351"/>
                  </a:lnTo>
                  <a:lnTo>
                    <a:pt x="2490" y="348"/>
                  </a:lnTo>
                  <a:lnTo>
                    <a:pt x="2490" y="346"/>
                  </a:lnTo>
                  <a:lnTo>
                    <a:pt x="2487" y="346"/>
                  </a:lnTo>
                  <a:lnTo>
                    <a:pt x="2485" y="343"/>
                  </a:lnTo>
                  <a:lnTo>
                    <a:pt x="2482" y="343"/>
                  </a:lnTo>
                  <a:lnTo>
                    <a:pt x="2480" y="341"/>
                  </a:lnTo>
                  <a:lnTo>
                    <a:pt x="2477" y="341"/>
                  </a:lnTo>
                  <a:lnTo>
                    <a:pt x="2477" y="338"/>
                  </a:lnTo>
                  <a:lnTo>
                    <a:pt x="2477" y="338"/>
                  </a:lnTo>
                  <a:lnTo>
                    <a:pt x="2475" y="338"/>
                  </a:lnTo>
                  <a:lnTo>
                    <a:pt x="2475" y="336"/>
                  </a:lnTo>
                  <a:lnTo>
                    <a:pt x="2467" y="336"/>
                  </a:lnTo>
                  <a:lnTo>
                    <a:pt x="2462" y="333"/>
                  </a:lnTo>
                  <a:lnTo>
                    <a:pt x="2462" y="333"/>
                  </a:lnTo>
                  <a:lnTo>
                    <a:pt x="2457" y="331"/>
                  </a:lnTo>
                  <a:lnTo>
                    <a:pt x="2457" y="331"/>
                  </a:lnTo>
                  <a:lnTo>
                    <a:pt x="2459" y="331"/>
                  </a:lnTo>
                  <a:lnTo>
                    <a:pt x="2459" y="333"/>
                  </a:lnTo>
                  <a:lnTo>
                    <a:pt x="2457" y="333"/>
                  </a:lnTo>
                  <a:lnTo>
                    <a:pt x="2457" y="331"/>
                  </a:lnTo>
                  <a:lnTo>
                    <a:pt x="2454" y="331"/>
                  </a:lnTo>
                  <a:lnTo>
                    <a:pt x="2454" y="328"/>
                  </a:lnTo>
                  <a:lnTo>
                    <a:pt x="2449" y="328"/>
                  </a:lnTo>
                  <a:lnTo>
                    <a:pt x="2449" y="328"/>
                  </a:lnTo>
                  <a:lnTo>
                    <a:pt x="2449" y="328"/>
                  </a:lnTo>
                  <a:lnTo>
                    <a:pt x="2452" y="328"/>
                  </a:lnTo>
                  <a:lnTo>
                    <a:pt x="2452" y="328"/>
                  </a:lnTo>
                  <a:lnTo>
                    <a:pt x="2447" y="323"/>
                  </a:lnTo>
                  <a:lnTo>
                    <a:pt x="2441" y="321"/>
                  </a:lnTo>
                  <a:lnTo>
                    <a:pt x="2441" y="321"/>
                  </a:lnTo>
                  <a:lnTo>
                    <a:pt x="2439" y="321"/>
                  </a:lnTo>
                  <a:lnTo>
                    <a:pt x="2436" y="318"/>
                  </a:lnTo>
                  <a:lnTo>
                    <a:pt x="2436" y="318"/>
                  </a:lnTo>
                  <a:lnTo>
                    <a:pt x="2431" y="315"/>
                  </a:lnTo>
                  <a:lnTo>
                    <a:pt x="2429" y="313"/>
                  </a:lnTo>
                  <a:lnTo>
                    <a:pt x="2426" y="313"/>
                  </a:lnTo>
                  <a:lnTo>
                    <a:pt x="2426" y="313"/>
                  </a:lnTo>
                  <a:lnTo>
                    <a:pt x="2426" y="315"/>
                  </a:lnTo>
                  <a:lnTo>
                    <a:pt x="2426" y="315"/>
                  </a:lnTo>
                  <a:lnTo>
                    <a:pt x="2424" y="315"/>
                  </a:lnTo>
                  <a:lnTo>
                    <a:pt x="2418" y="313"/>
                  </a:lnTo>
                  <a:lnTo>
                    <a:pt x="2411" y="310"/>
                  </a:lnTo>
                  <a:lnTo>
                    <a:pt x="2408" y="308"/>
                  </a:lnTo>
                  <a:lnTo>
                    <a:pt x="2403" y="305"/>
                  </a:lnTo>
                  <a:lnTo>
                    <a:pt x="2403" y="305"/>
                  </a:lnTo>
                  <a:lnTo>
                    <a:pt x="2401" y="305"/>
                  </a:lnTo>
                  <a:lnTo>
                    <a:pt x="2398" y="305"/>
                  </a:lnTo>
                  <a:lnTo>
                    <a:pt x="2396" y="308"/>
                  </a:lnTo>
                  <a:lnTo>
                    <a:pt x="2396" y="308"/>
                  </a:lnTo>
                  <a:lnTo>
                    <a:pt x="2390" y="305"/>
                  </a:lnTo>
                  <a:lnTo>
                    <a:pt x="2388" y="308"/>
                  </a:lnTo>
                  <a:lnTo>
                    <a:pt x="2388" y="308"/>
                  </a:lnTo>
                  <a:lnTo>
                    <a:pt x="2388" y="308"/>
                  </a:lnTo>
                  <a:lnTo>
                    <a:pt x="2388" y="305"/>
                  </a:lnTo>
                  <a:lnTo>
                    <a:pt x="2385" y="305"/>
                  </a:lnTo>
                  <a:lnTo>
                    <a:pt x="2383" y="303"/>
                  </a:lnTo>
                  <a:lnTo>
                    <a:pt x="2380" y="303"/>
                  </a:lnTo>
                  <a:lnTo>
                    <a:pt x="2378" y="303"/>
                  </a:lnTo>
                  <a:lnTo>
                    <a:pt x="2378" y="303"/>
                  </a:lnTo>
                  <a:lnTo>
                    <a:pt x="2378" y="303"/>
                  </a:lnTo>
                  <a:lnTo>
                    <a:pt x="2375" y="305"/>
                  </a:lnTo>
                  <a:lnTo>
                    <a:pt x="2370" y="305"/>
                  </a:lnTo>
                  <a:lnTo>
                    <a:pt x="2368" y="305"/>
                  </a:lnTo>
                  <a:lnTo>
                    <a:pt x="2362" y="305"/>
                  </a:lnTo>
                  <a:lnTo>
                    <a:pt x="2360" y="305"/>
                  </a:lnTo>
                  <a:lnTo>
                    <a:pt x="2368" y="305"/>
                  </a:lnTo>
                  <a:lnTo>
                    <a:pt x="2370" y="305"/>
                  </a:lnTo>
                  <a:lnTo>
                    <a:pt x="2375" y="303"/>
                  </a:lnTo>
                  <a:lnTo>
                    <a:pt x="2375" y="300"/>
                  </a:lnTo>
                  <a:lnTo>
                    <a:pt x="2385" y="303"/>
                  </a:lnTo>
                  <a:lnTo>
                    <a:pt x="2388" y="303"/>
                  </a:lnTo>
                  <a:lnTo>
                    <a:pt x="2390" y="303"/>
                  </a:lnTo>
                  <a:lnTo>
                    <a:pt x="2396" y="305"/>
                  </a:lnTo>
                  <a:lnTo>
                    <a:pt x="2398" y="305"/>
                  </a:lnTo>
                  <a:lnTo>
                    <a:pt x="2396" y="303"/>
                  </a:lnTo>
                  <a:lnTo>
                    <a:pt x="2393" y="300"/>
                  </a:lnTo>
                  <a:lnTo>
                    <a:pt x="2390" y="300"/>
                  </a:lnTo>
                  <a:lnTo>
                    <a:pt x="2388" y="300"/>
                  </a:lnTo>
                  <a:lnTo>
                    <a:pt x="2383" y="300"/>
                  </a:lnTo>
                  <a:lnTo>
                    <a:pt x="2380" y="300"/>
                  </a:lnTo>
                  <a:lnTo>
                    <a:pt x="2378" y="300"/>
                  </a:lnTo>
                  <a:lnTo>
                    <a:pt x="2378" y="298"/>
                  </a:lnTo>
                  <a:lnTo>
                    <a:pt x="2383" y="300"/>
                  </a:lnTo>
                  <a:lnTo>
                    <a:pt x="2385" y="298"/>
                  </a:lnTo>
                  <a:lnTo>
                    <a:pt x="2393" y="300"/>
                  </a:lnTo>
                  <a:lnTo>
                    <a:pt x="2396" y="300"/>
                  </a:lnTo>
                  <a:lnTo>
                    <a:pt x="2396" y="303"/>
                  </a:lnTo>
                  <a:lnTo>
                    <a:pt x="2403" y="305"/>
                  </a:lnTo>
                  <a:lnTo>
                    <a:pt x="2408" y="305"/>
                  </a:lnTo>
                  <a:lnTo>
                    <a:pt x="2418" y="308"/>
                  </a:lnTo>
                  <a:lnTo>
                    <a:pt x="2424" y="308"/>
                  </a:lnTo>
                  <a:lnTo>
                    <a:pt x="2426" y="308"/>
                  </a:lnTo>
                  <a:lnTo>
                    <a:pt x="2429" y="305"/>
                  </a:lnTo>
                  <a:lnTo>
                    <a:pt x="2431" y="303"/>
                  </a:lnTo>
                  <a:lnTo>
                    <a:pt x="2431" y="303"/>
                  </a:lnTo>
                  <a:lnTo>
                    <a:pt x="2431" y="300"/>
                  </a:lnTo>
                  <a:lnTo>
                    <a:pt x="2434" y="300"/>
                  </a:lnTo>
                  <a:lnTo>
                    <a:pt x="2434" y="298"/>
                  </a:lnTo>
                  <a:lnTo>
                    <a:pt x="2434" y="298"/>
                  </a:lnTo>
                  <a:lnTo>
                    <a:pt x="2434" y="298"/>
                  </a:lnTo>
                  <a:lnTo>
                    <a:pt x="2434" y="295"/>
                  </a:lnTo>
                  <a:lnTo>
                    <a:pt x="2431" y="293"/>
                  </a:lnTo>
                  <a:lnTo>
                    <a:pt x="2431" y="293"/>
                  </a:lnTo>
                  <a:lnTo>
                    <a:pt x="2431" y="290"/>
                  </a:lnTo>
                  <a:lnTo>
                    <a:pt x="2429" y="287"/>
                  </a:lnTo>
                  <a:lnTo>
                    <a:pt x="2429" y="287"/>
                  </a:lnTo>
                  <a:lnTo>
                    <a:pt x="2426" y="287"/>
                  </a:lnTo>
                  <a:lnTo>
                    <a:pt x="2421" y="285"/>
                  </a:lnTo>
                  <a:lnTo>
                    <a:pt x="2418" y="285"/>
                  </a:lnTo>
                  <a:lnTo>
                    <a:pt x="2413" y="282"/>
                  </a:lnTo>
                  <a:lnTo>
                    <a:pt x="2411" y="280"/>
                  </a:lnTo>
                  <a:lnTo>
                    <a:pt x="2408" y="277"/>
                  </a:lnTo>
                  <a:lnTo>
                    <a:pt x="2408" y="277"/>
                  </a:lnTo>
                  <a:lnTo>
                    <a:pt x="2411" y="277"/>
                  </a:lnTo>
                  <a:lnTo>
                    <a:pt x="2413" y="277"/>
                  </a:lnTo>
                  <a:lnTo>
                    <a:pt x="2413" y="277"/>
                  </a:lnTo>
                  <a:lnTo>
                    <a:pt x="2413" y="275"/>
                  </a:lnTo>
                  <a:lnTo>
                    <a:pt x="2411" y="275"/>
                  </a:lnTo>
                  <a:lnTo>
                    <a:pt x="2411" y="275"/>
                  </a:lnTo>
                  <a:lnTo>
                    <a:pt x="2411" y="275"/>
                  </a:lnTo>
                  <a:lnTo>
                    <a:pt x="2411" y="272"/>
                  </a:lnTo>
                  <a:lnTo>
                    <a:pt x="2411" y="272"/>
                  </a:lnTo>
                  <a:lnTo>
                    <a:pt x="2411" y="272"/>
                  </a:lnTo>
                  <a:lnTo>
                    <a:pt x="2416" y="275"/>
                  </a:lnTo>
                  <a:lnTo>
                    <a:pt x="2416" y="277"/>
                  </a:lnTo>
                  <a:lnTo>
                    <a:pt x="2418" y="277"/>
                  </a:lnTo>
                  <a:lnTo>
                    <a:pt x="2421" y="277"/>
                  </a:lnTo>
                  <a:lnTo>
                    <a:pt x="2421" y="277"/>
                  </a:lnTo>
                  <a:lnTo>
                    <a:pt x="2421" y="275"/>
                  </a:lnTo>
                  <a:lnTo>
                    <a:pt x="2418" y="272"/>
                  </a:lnTo>
                  <a:lnTo>
                    <a:pt x="2418" y="272"/>
                  </a:lnTo>
                  <a:lnTo>
                    <a:pt x="2421" y="275"/>
                  </a:lnTo>
                  <a:lnTo>
                    <a:pt x="2424" y="277"/>
                  </a:lnTo>
                  <a:lnTo>
                    <a:pt x="2424" y="277"/>
                  </a:lnTo>
                  <a:lnTo>
                    <a:pt x="2424" y="277"/>
                  </a:lnTo>
                  <a:lnTo>
                    <a:pt x="2426" y="280"/>
                  </a:lnTo>
                  <a:lnTo>
                    <a:pt x="2426" y="280"/>
                  </a:lnTo>
                  <a:lnTo>
                    <a:pt x="2424" y="280"/>
                  </a:lnTo>
                  <a:lnTo>
                    <a:pt x="2424" y="280"/>
                  </a:lnTo>
                  <a:lnTo>
                    <a:pt x="2426" y="282"/>
                  </a:lnTo>
                  <a:lnTo>
                    <a:pt x="2431" y="282"/>
                  </a:lnTo>
                  <a:lnTo>
                    <a:pt x="2434" y="285"/>
                  </a:lnTo>
                  <a:lnTo>
                    <a:pt x="2436" y="285"/>
                  </a:lnTo>
                  <a:lnTo>
                    <a:pt x="2436" y="285"/>
                  </a:lnTo>
                  <a:lnTo>
                    <a:pt x="2439" y="285"/>
                  </a:lnTo>
                  <a:lnTo>
                    <a:pt x="2439" y="287"/>
                  </a:lnTo>
                  <a:lnTo>
                    <a:pt x="2441" y="287"/>
                  </a:lnTo>
                  <a:lnTo>
                    <a:pt x="2444" y="290"/>
                  </a:lnTo>
                  <a:lnTo>
                    <a:pt x="2447" y="290"/>
                  </a:lnTo>
                  <a:lnTo>
                    <a:pt x="2447" y="290"/>
                  </a:lnTo>
                  <a:lnTo>
                    <a:pt x="2457" y="290"/>
                  </a:lnTo>
                  <a:lnTo>
                    <a:pt x="2459" y="290"/>
                  </a:lnTo>
                  <a:lnTo>
                    <a:pt x="2462" y="287"/>
                  </a:lnTo>
                  <a:lnTo>
                    <a:pt x="2464" y="287"/>
                  </a:lnTo>
                  <a:lnTo>
                    <a:pt x="2464" y="287"/>
                  </a:lnTo>
                  <a:lnTo>
                    <a:pt x="2472" y="290"/>
                  </a:lnTo>
                  <a:lnTo>
                    <a:pt x="2482" y="290"/>
                  </a:lnTo>
                  <a:lnTo>
                    <a:pt x="2487" y="293"/>
                  </a:lnTo>
                  <a:lnTo>
                    <a:pt x="2492" y="295"/>
                  </a:lnTo>
                  <a:lnTo>
                    <a:pt x="2495" y="298"/>
                  </a:lnTo>
                  <a:lnTo>
                    <a:pt x="2497" y="300"/>
                  </a:lnTo>
                  <a:lnTo>
                    <a:pt x="2497" y="300"/>
                  </a:lnTo>
                  <a:lnTo>
                    <a:pt x="2503" y="300"/>
                  </a:lnTo>
                  <a:lnTo>
                    <a:pt x="2508" y="303"/>
                  </a:lnTo>
                  <a:lnTo>
                    <a:pt x="2508" y="303"/>
                  </a:lnTo>
                  <a:lnTo>
                    <a:pt x="2510" y="303"/>
                  </a:lnTo>
                  <a:lnTo>
                    <a:pt x="2510" y="305"/>
                  </a:lnTo>
                  <a:lnTo>
                    <a:pt x="2513" y="305"/>
                  </a:lnTo>
                  <a:lnTo>
                    <a:pt x="2515" y="303"/>
                  </a:lnTo>
                  <a:lnTo>
                    <a:pt x="2515" y="303"/>
                  </a:lnTo>
                  <a:lnTo>
                    <a:pt x="2520" y="305"/>
                  </a:lnTo>
                  <a:lnTo>
                    <a:pt x="2526" y="305"/>
                  </a:lnTo>
                  <a:lnTo>
                    <a:pt x="2533" y="308"/>
                  </a:lnTo>
                  <a:lnTo>
                    <a:pt x="2536" y="308"/>
                  </a:lnTo>
                  <a:lnTo>
                    <a:pt x="2543" y="310"/>
                  </a:lnTo>
                  <a:lnTo>
                    <a:pt x="2546" y="313"/>
                  </a:lnTo>
                  <a:lnTo>
                    <a:pt x="2548" y="313"/>
                  </a:lnTo>
                  <a:lnTo>
                    <a:pt x="2551" y="313"/>
                  </a:lnTo>
                  <a:lnTo>
                    <a:pt x="2551" y="313"/>
                  </a:lnTo>
                  <a:lnTo>
                    <a:pt x="2551" y="310"/>
                  </a:lnTo>
                  <a:lnTo>
                    <a:pt x="2551" y="310"/>
                  </a:lnTo>
                  <a:lnTo>
                    <a:pt x="2551" y="310"/>
                  </a:lnTo>
                  <a:lnTo>
                    <a:pt x="2551" y="310"/>
                  </a:lnTo>
                  <a:lnTo>
                    <a:pt x="2554" y="310"/>
                  </a:lnTo>
                  <a:lnTo>
                    <a:pt x="2554" y="313"/>
                  </a:lnTo>
                  <a:lnTo>
                    <a:pt x="2554" y="313"/>
                  </a:lnTo>
                  <a:lnTo>
                    <a:pt x="2559" y="315"/>
                  </a:lnTo>
                  <a:lnTo>
                    <a:pt x="2561" y="315"/>
                  </a:lnTo>
                  <a:lnTo>
                    <a:pt x="2561" y="315"/>
                  </a:lnTo>
                  <a:lnTo>
                    <a:pt x="2561" y="313"/>
                  </a:lnTo>
                  <a:lnTo>
                    <a:pt x="2561" y="313"/>
                  </a:lnTo>
                  <a:lnTo>
                    <a:pt x="2556" y="310"/>
                  </a:lnTo>
                  <a:lnTo>
                    <a:pt x="2556" y="310"/>
                  </a:lnTo>
                  <a:lnTo>
                    <a:pt x="2559" y="310"/>
                  </a:lnTo>
                  <a:lnTo>
                    <a:pt x="2561" y="310"/>
                  </a:lnTo>
                  <a:lnTo>
                    <a:pt x="2564" y="313"/>
                  </a:lnTo>
                  <a:lnTo>
                    <a:pt x="2564" y="313"/>
                  </a:lnTo>
                  <a:lnTo>
                    <a:pt x="2569" y="313"/>
                  </a:lnTo>
                  <a:lnTo>
                    <a:pt x="2569" y="310"/>
                  </a:lnTo>
                  <a:close/>
                  <a:moveTo>
                    <a:pt x="423" y="2"/>
                  </a:moveTo>
                  <a:lnTo>
                    <a:pt x="428" y="2"/>
                  </a:lnTo>
                  <a:lnTo>
                    <a:pt x="441" y="0"/>
                  </a:lnTo>
                  <a:lnTo>
                    <a:pt x="441" y="0"/>
                  </a:lnTo>
                  <a:lnTo>
                    <a:pt x="441" y="0"/>
                  </a:lnTo>
                  <a:lnTo>
                    <a:pt x="438" y="0"/>
                  </a:lnTo>
                  <a:lnTo>
                    <a:pt x="426" y="0"/>
                  </a:lnTo>
                  <a:lnTo>
                    <a:pt x="423" y="0"/>
                  </a:lnTo>
                  <a:lnTo>
                    <a:pt x="423" y="0"/>
                  </a:lnTo>
                  <a:lnTo>
                    <a:pt x="423" y="2"/>
                  </a:lnTo>
                  <a:lnTo>
                    <a:pt x="423" y="2"/>
                  </a:lnTo>
                  <a:lnTo>
                    <a:pt x="423" y="2"/>
                  </a:lnTo>
                  <a:close/>
                  <a:moveTo>
                    <a:pt x="441" y="15"/>
                  </a:moveTo>
                  <a:lnTo>
                    <a:pt x="443" y="15"/>
                  </a:lnTo>
                  <a:lnTo>
                    <a:pt x="443" y="15"/>
                  </a:lnTo>
                  <a:lnTo>
                    <a:pt x="443" y="13"/>
                  </a:lnTo>
                  <a:lnTo>
                    <a:pt x="441" y="13"/>
                  </a:lnTo>
                  <a:lnTo>
                    <a:pt x="441" y="13"/>
                  </a:lnTo>
                  <a:lnTo>
                    <a:pt x="438" y="10"/>
                  </a:lnTo>
                  <a:lnTo>
                    <a:pt x="436" y="10"/>
                  </a:lnTo>
                  <a:lnTo>
                    <a:pt x="433" y="10"/>
                  </a:lnTo>
                  <a:lnTo>
                    <a:pt x="431" y="10"/>
                  </a:lnTo>
                  <a:lnTo>
                    <a:pt x="431" y="10"/>
                  </a:lnTo>
                  <a:lnTo>
                    <a:pt x="426" y="13"/>
                  </a:lnTo>
                  <a:lnTo>
                    <a:pt x="423" y="10"/>
                  </a:lnTo>
                  <a:lnTo>
                    <a:pt x="420" y="13"/>
                  </a:lnTo>
                  <a:lnTo>
                    <a:pt x="426" y="13"/>
                  </a:lnTo>
                  <a:lnTo>
                    <a:pt x="428" y="13"/>
                  </a:lnTo>
                  <a:lnTo>
                    <a:pt x="433" y="15"/>
                  </a:lnTo>
                  <a:lnTo>
                    <a:pt x="438" y="15"/>
                  </a:lnTo>
                  <a:lnTo>
                    <a:pt x="441" y="15"/>
                  </a:lnTo>
                  <a:close/>
                  <a:moveTo>
                    <a:pt x="431" y="20"/>
                  </a:moveTo>
                  <a:lnTo>
                    <a:pt x="426" y="20"/>
                  </a:lnTo>
                  <a:lnTo>
                    <a:pt x="423" y="20"/>
                  </a:lnTo>
                  <a:lnTo>
                    <a:pt x="426" y="20"/>
                  </a:lnTo>
                  <a:lnTo>
                    <a:pt x="428" y="20"/>
                  </a:lnTo>
                  <a:lnTo>
                    <a:pt x="428" y="20"/>
                  </a:lnTo>
                  <a:lnTo>
                    <a:pt x="428" y="23"/>
                  </a:lnTo>
                  <a:lnTo>
                    <a:pt x="431" y="23"/>
                  </a:lnTo>
                  <a:lnTo>
                    <a:pt x="431" y="25"/>
                  </a:lnTo>
                  <a:lnTo>
                    <a:pt x="433" y="25"/>
                  </a:lnTo>
                  <a:lnTo>
                    <a:pt x="438" y="25"/>
                  </a:lnTo>
                  <a:lnTo>
                    <a:pt x="438" y="25"/>
                  </a:lnTo>
                  <a:lnTo>
                    <a:pt x="441" y="23"/>
                  </a:lnTo>
                  <a:lnTo>
                    <a:pt x="443" y="23"/>
                  </a:lnTo>
                  <a:lnTo>
                    <a:pt x="443" y="23"/>
                  </a:lnTo>
                  <a:lnTo>
                    <a:pt x="441" y="23"/>
                  </a:lnTo>
                  <a:lnTo>
                    <a:pt x="443" y="23"/>
                  </a:lnTo>
                  <a:lnTo>
                    <a:pt x="454" y="23"/>
                  </a:lnTo>
                  <a:lnTo>
                    <a:pt x="451" y="20"/>
                  </a:lnTo>
                  <a:lnTo>
                    <a:pt x="448" y="20"/>
                  </a:lnTo>
                  <a:lnTo>
                    <a:pt x="443" y="20"/>
                  </a:lnTo>
                  <a:lnTo>
                    <a:pt x="431" y="20"/>
                  </a:lnTo>
                  <a:close/>
                  <a:moveTo>
                    <a:pt x="451" y="20"/>
                  </a:moveTo>
                  <a:lnTo>
                    <a:pt x="454" y="20"/>
                  </a:lnTo>
                  <a:lnTo>
                    <a:pt x="456" y="20"/>
                  </a:lnTo>
                  <a:lnTo>
                    <a:pt x="461" y="20"/>
                  </a:lnTo>
                  <a:lnTo>
                    <a:pt x="464" y="20"/>
                  </a:lnTo>
                  <a:lnTo>
                    <a:pt x="471" y="20"/>
                  </a:lnTo>
                  <a:lnTo>
                    <a:pt x="474" y="20"/>
                  </a:lnTo>
                  <a:lnTo>
                    <a:pt x="476" y="20"/>
                  </a:lnTo>
                  <a:lnTo>
                    <a:pt x="482" y="18"/>
                  </a:lnTo>
                  <a:lnTo>
                    <a:pt x="482" y="18"/>
                  </a:lnTo>
                  <a:lnTo>
                    <a:pt x="482" y="18"/>
                  </a:lnTo>
                  <a:lnTo>
                    <a:pt x="484" y="18"/>
                  </a:lnTo>
                  <a:lnTo>
                    <a:pt x="484" y="18"/>
                  </a:lnTo>
                  <a:lnTo>
                    <a:pt x="487" y="15"/>
                  </a:lnTo>
                  <a:lnTo>
                    <a:pt x="484" y="15"/>
                  </a:lnTo>
                  <a:lnTo>
                    <a:pt x="484" y="15"/>
                  </a:lnTo>
                  <a:lnTo>
                    <a:pt x="484" y="13"/>
                  </a:lnTo>
                  <a:lnTo>
                    <a:pt x="479" y="13"/>
                  </a:lnTo>
                  <a:lnTo>
                    <a:pt x="476" y="13"/>
                  </a:lnTo>
                  <a:lnTo>
                    <a:pt x="474" y="15"/>
                  </a:lnTo>
                  <a:lnTo>
                    <a:pt x="469" y="15"/>
                  </a:lnTo>
                  <a:lnTo>
                    <a:pt x="464" y="15"/>
                  </a:lnTo>
                  <a:lnTo>
                    <a:pt x="461" y="15"/>
                  </a:lnTo>
                  <a:lnTo>
                    <a:pt x="461" y="15"/>
                  </a:lnTo>
                  <a:lnTo>
                    <a:pt x="459" y="15"/>
                  </a:lnTo>
                  <a:lnTo>
                    <a:pt x="454" y="15"/>
                  </a:lnTo>
                  <a:lnTo>
                    <a:pt x="454" y="15"/>
                  </a:lnTo>
                  <a:lnTo>
                    <a:pt x="454" y="15"/>
                  </a:lnTo>
                  <a:lnTo>
                    <a:pt x="451" y="15"/>
                  </a:lnTo>
                  <a:lnTo>
                    <a:pt x="451" y="15"/>
                  </a:lnTo>
                  <a:lnTo>
                    <a:pt x="451" y="18"/>
                  </a:lnTo>
                  <a:lnTo>
                    <a:pt x="451" y="18"/>
                  </a:lnTo>
                  <a:lnTo>
                    <a:pt x="451" y="20"/>
                  </a:lnTo>
                  <a:close/>
                  <a:moveTo>
                    <a:pt x="436" y="8"/>
                  </a:moveTo>
                  <a:lnTo>
                    <a:pt x="436" y="8"/>
                  </a:lnTo>
                  <a:lnTo>
                    <a:pt x="438" y="8"/>
                  </a:lnTo>
                  <a:lnTo>
                    <a:pt x="441" y="8"/>
                  </a:lnTo>
                  <a:lnTo>
                    <a:pt x="443" y="8"/>
                  </a:lnTo>
                  <a:lnTo>
                    <a:pt x="446" y="8"/>
                  </a:lnTo>
                  <a:lnTo>
                    <a:pt x="443" y="8"/>
                  </a:lnTo>
                  <a:lnTo>
                    <a:pt x="441" y="5"/>
                  </a:lnTo>
                  <a:lnTo>
                    <a:pt x="438" y="5"/>
                  </a:lnTo>
                  <a:lnTo>
                    <a:pt x="436" y="8"/>
                  </a:lnTo>
                  <a:close/>
                  <a:moveTo>
                    <a:pt x="466" y="13"/>
                  </a:moveTo>
                  <a:lnTo>
                    <a:pt x="471" y="13"/>
                  </a:lnTo>
                  <a:lnTo>
                    <a:pt x="474" y="13"/>
                  </a:lnTo>
                  <a:lnTo>
                    <a:pt x="474" y="10"/>
                  </a:lnTo>
                  <a:lnTo>
                    <a:pt x="474" y="10"/>
                  </a:lnTo>
                  <a:lnTo>
                    <a:pt x="461" y="10"/>
                  </a:lnTo>
                  <a:lnTo>
                    <a:pt x="459" y="13"/>
                  </a:lnTo>
                  <a:lnTo>
                    <a:pt x="456" y="13"/>
                  </a:lnTo>
                  <a:lnTo>
                    <a:pt x="456" y="13"/>
                  </a:lnTo>
                  <a:lnTo>
                    <a:pt x="461" y="13"/>
                  </a:lnTo>
                  <a:lnTo>
                    <a:pt x="466" y="13"/>
                  </a:lnTo>
                  <a:close/>
                  <a:moveTo>
                    <a:pt x="397" y="216"/>
                  </a:moveTo>
                  <a:lnTo>
                    <a:pt x="397" y="219"/>
                  </a:lnTo>
                  <a:lnTo>
                    <a:pt x="397" y="219"/>
                  </a:lnTo>
                  <a:lnTo>
                    <a:pt x="397" y="221"/>
                  </a:lnTo>
                  <a:lnTo>
                    <a:pt x="400" y="221"/>
                  </a:lnTo>
                  <a:lnTo>
                    <a:pt x="400" y="224"/>
                  </a:lnTo>
                  <a:lnTo>
                    <a:pt x="403" y="226"/>
                  </a:lnTo>
                  <a:lnTo>
                    <a:pt x="405" y="226"/>
                  </a:lnTo>
                  <a:lnTo>
                    <a:pt x="410" y="226"/>
                  </a:lnTo>
                  <a:lnTo>
                    <a:pt x="413" y="226"/>
                  </a:lnTo>
                  <a:lnTo>
                    <a:pt x="420" y="224"/>
                  </a:lnTo>
                  <a:lnTo>
                    <a:pt x="423" y="221"/>
                  </a:lnTo>
                  <a:lnTo>
                    <a:pt x="423" y="221"/>
                  </a:lnTo>
                  <a:lnTo>
                    <a:pt x="426" y="219"/>
                  </a:lnTo>
                  <a:lnTo>
                    <a:pt x="426" y="219"/>
                  </a:lnTo>
                  <a:lnTo>
                    <a:pt x="426" y="221"/>
                  </a:lnTo>
                  <a:lnTo>
                    <a:pt x="428" y="221"/>
                  </a:lnTo>
                  <a:lnTo>
                    <a:pt x="428" y="221"/>
                  </a:lnTo>
                  <a:lnTo>
                    <a:pt x="426" y="219"/>
                  </a:lnTo>
                  <a:lnTo>
                    <a:pt x="426" y="216"/>
                  </a:lnTo>
                  <a:lnTo>
                    <a:pt x="423" y="216"/>
                  </a:lnTo>
                  <a:lnTo>
                    <a:pt x="410" y="211"/>
                  </a:lnTo>
                  <a:lnTo>
                    <a:pt x="405" y="211"/>
                  </a:lnTo>
                  <a:lnTo>
                    <a:pt x="405" y="211"/>
                  </a:lnTo>
                  <a:lnTo>
                    <a:pt x="400" y="214"/>
                  </a:lnTo>
                  <a:lnTo>
                    <a:pt x="397" y="216"/>
                  </a:lnTo>
                  <a:lnTo>
                    <a:pt x="397" y="216"/>
                  </a:lnTo>
                  <a:close/>
                  <a:moveTo>
                    <a:pt x="456" y="28"/>
                  </a:moveTo>
                  <a:lnTo>
                    <a:pt x="456" y="28"/>
                  </a:lnTo>
                  <a:lnTo>
                    <a:pt x="459" y="28"/>
                  </a:lnTo>
                  <a:lnTo>
                    <a:pt x="464" y="28"/>
                  </a:lnTo>
                  <a:lnTo>
                    <a:pt x="464" y="28"/>
                  </a:lnTo>
                  <a:lnTo>
                    <a:pt x="464" y="25"/>
                  </a:lnTo>
                  <a:lnTo>
                    <a:pt x="459" y="25"/>
                  </a:lnTo>
                  <a:lnTo>
                    <a:pt x="454" y="25"/>
                  </a:lnTo>
                  <a:lnTo>
                    <a:pt x="454" y="25"/>
                  </a:lnTo>
                  <a:lnTo>
                    <a:pt x="454" y="28"/>
                  </a:lnTo>
                  <a:lnTo>
                    <a:pt x="456" y="28"/>
                  </a:lnTo>
                  <a:lnTo>
                    <a:pt x="456" y="28"/>
                  </a:lnTo>
                  <a:close/>
                  <a:moveTo>
                    <a:pt x="405" y="23"/>
                  </a:moveTo>
                  <a:lnTo>
                    <a:pt x="408" y="23"/>
                  </a:lnTo>
                  <a:lnTo>
                    <a:pt x="405" y="23"/>
                  </a:lnTo>
                  <a:lnTo>
                    <a:pt x="405" y="23"/>
                  </a:lnTo>
                  <a:lnTo>
                    <a:pt x="403" y="23"/>
                  </a:lnTo>
                  <a:lnTo>
                    <a:pt x="403" y="23"/>
                  </a:lnTo>
                  <a:lnTo>
                    <a:pt x="400" y="23"/>
                  </a:lnTo>
                  <a:lnTo>
                    <a:pt x="403" y="23"/>
                  </a:lnTo>
                  <a:lnTo>
                    <a:pt x="405" y="23"/>
                  </a:lnTo>
                  <a:close/>
                  <a:moveTo>
                    <a:pt x="479" y="2"/>
                  </a:moveTo>
                  <a:lnTo>
                    <a:pt x="482" y="2"/>
                  </a:lnTo>
                  <a:lnTo>
                    <a:pt x="484" y="2"/>
                  </a:lnTo>
                  <a:lnTo>
                    <a:pt x="492" y="2"/>
                  </a:lnTo>
                  <a:lnTo>
                    <a:pt x="494" y="2"/>
                  </a:lnTo>
                  <a:lnTo>
                    <a:pt x="494" y="2"/>
                  </a:lnTo>
                  <a:lnTo>
                    <a:pt x="494" y="2"/>
                  </a:lnTo>
                  <a:lnTo>
                    <a:pt x="494" y="2"/>
                  </a:lnTo>
                  <a:lnTo>
                    <a:pt x="482" y="2"/>
                  </a:lnTo>
                  <a:lnTo>
                    <a:pt x="476" y="2"/>
                  </a:lnTo>
                  <a:lnTo>
                    <a:pt x="474" y="2"/>
                  </a:lnTo>
                  <a:lnTo>
                    <a:pt x="479" y="2"/>
                  </a:lnTo>
                  <a:lnTo>
                    <a:pt x="479" y="2"/>
                  </a:lnTo>
                  <a:close/>
                  <a:moveTo>
                    <a:pt x="413" y="25"/>
                  </a:moveTo>
                  <a:lnTo>
                    <a:pt x="413" y="25"/>
                  </a:lnTo>
                  <a:lnTo>
                    <a:pt x="418" y="25"/>
                  </a:lnTo>
                  <a:lnTo>
                    <a:pt x="428" y="25"/>
                  </a:lnTo>
                  <a:lnTo>
                    <a:pt x="428" y="25"/>
                  </a:lnTo>
                  <a:lnTo>
                    <a:pt x="428" y="25"/>
                  </a:lnTo>
                  <a:lnTo>
                    <a:pt x="428" y="23"/>
                  </a:lnTo>
                  <a:lnTo>
                    <a:pt x="428" y="23"/>
                  </a:lnTo>
                  <a:lnTo>
                    <a:pt x="426" y="23"/>
                  </a:lnTo>
                  <a:lnTo>
                    <a:pt x="426" y="20"/>
                  </a:lnTo>
                  <a:lnTo>
                    <a:pt x="420" y="20"/>
                  </a:lnTo>
                  <a:lnTo>
                    <a:pt x="420" y="23"/>
                  </a:lnTo>
                  <a:lnTo>
                    <a:pt x="413" y="23"/>
                  </a:lnTo>
                  <a:lnTo>
                    <a:pt x="413" y="23"/>
                  </a:lnTo>
                  <a:lnTo>
                    <a:pt x="415" y="23"/>
                  </a:lnTo>
                  <a:lnTo>
                    <a:pt x="413" y="25"/>
                  </a:lnTo>
                  <a:lnTo>
                    <a:pt x="413" y="25"/>
                  </a:lnTo>
                  <a:close/>
                  <a:moveTo>
                    <a:pt x="492" y="13"/>
                  </a:moveTo>
                  <a:lnTo>
                    <a:pt x="489" y="15"/>
                  </a:lnTo>
                  <a:lnTo>
                    <a:pt x="489" y="15"/>
                  </a:lnTo>
                  <a:lnTo>
                    <a:pt x="492" y="15"/>
                  </a:lnTo>
                  <a:lnTo>
                    <a:pt x="497" y="15"/>
                  </a:lnTo>
                  <a:lnTo>
                    <a:pt x="499" y="15"/>
                  </a:lnTo>
                  <a:lnTo>
                    <a:pt x="499" y="15"/>
                  </a:lnTo>
                  <a:lnTo>
                    <a:pt x="515" y="15"/>
                  </a:lnTo>
                  <a:lnTo>
                    <a:pt x="520" y="15"/>
                  </a:lnTo>
                  <a:lnTo>
                    <a:pt x="522" y="13"/>
                  </a:lnTo>
                  <a:lnTo>
                    <a:pt x="522" y="13"/>
                  </a:lnTo>
                  <a:lnTo>
                    <a:pt x="522" y="13"/>
                  </a:lnTo>
                  <a:lnTo>
                    <a:pt x="522" y="10"/>
                  </a:lnTo>
                  <a:lnTo>
                    <a:pt x="520" y="10"/>
                  </a:lnTo>
                  <a:lnTo>
                    <a:pt x="517" y="10"/>
                  </a:lnTo>
                  <a:lnTo>
                    <a:pt x="515" y="10"/>
                  </a:lnTo>
                  <a:lnTo>
                    <a:pt x="512" y="10"/>
                  </a:lnTo>
                  <a:lnTo>
                    <a:pt x="510" y="10"/>
                  </a:lnTo>
                  <a:lnTo>
                    <a:pt x="507" y="10"/>
                  </a:lnTo>
                  <a:lnTo>
                    <a:pt x="507" y="10"/>
                  </a:lnTo>
                  <a:lnTo>
                    <a:pt x="507" y="10"/>
                  </a:lnTo>
                  <a:lnTo>
                    <a:pt x="507" y="13"/>
                  </a:lnTo>
                  <a:lnTo>
                    <a:pt x="507" y="13"/>
                  </a:lnTo>
                  <a:lnTo>
                    <a:pt x="505" y="13"/>
                  </a:lnTo>
                  <a:lnTo>
                    <a:pt x="499" y="13"/>
                  </a:lnTo>
                  <a:lnTo>
                    <a:pt x="494" y="13"/>
                  </a:lnTo>
                  <a:lnTo>
                    <a:pt x="492" y="13"/>
                  </a:lnTo>
                  <a:close/>
                  <a:moveTo>
                    <a:pt x="403" y="10"/>
                  </a:moveTo>
                  <a:lnTo>
                    <a:pt x="408" y="8"/>
                  </a:lnTo>
                  <a:lnTo>
                    <a:pt x="410" y="10"/>
                  </a:lnTo>
                  <a:lnTo>
                    <a:pt x="410" y="10"/>
                  </a:lnTo>
                  <a:lnTo>
                    <a:pt x="413" y="10"/>
                  </a:lnTo>
                  <a:lnTo>
                    <a:pt x="415" y="8"/>
                  </a:lnTo>
                  <a:lnTo>
                    <a:pt x="420" y="10"/>
                  </a:lnTo>
                  <a:lnTo>
                    <a:pt x="423" y="10"/>
                  </a:lnTo>
                  <a:lnTo>
                    <a:pt x="428" y="10"/>
                  </a:lnTo>
                  <a:lnTo>
                    <a:pt x="428" y="10"/>
                  </a:lnTo>
                  <a:lnTo>
                    <a:pt x="428" y="8"/>
                  </a:lnTo>
                  <a:lnTo>
                    <a:pt x="428" y="8"/>
                  </a:lnTo>
                  <a:lnTo>
                    <a:pt x="426" y="8"/>
                  </a:lnTo>
                  <a:lnTo>
                    <a:pt x="433" y="8"/>
                  </a:lnTo>
                  <a:lnTo>
                    <a:pt x="433" y="5"/>
                  </a:lnTo>
                  <a:lnTo>
                    <a:pt x="433" y="5"/>
                  </a:lnTo>
                  <a:lnTo>
                    <a:pt x="428" y="5"/>
                  </a:lnTo>
                  <a:lnTo>
                    <a:pt x="426" y="5"/>
                  </a:lnTo>
                  <a:lnTo>
                    <a:pt x="423" y="5"/>
                  </a:lnTo>
                  <a:lnTo>
                    <a:pt x="423" y="5"/>
                  </a:lnTo>
                  <a:lnTo>
                    <a:pt x="420" y="5"/>
                  </a:lnTo>
                  <a:lnTo>
                    <a:pt x="418" y="5"/>
                  </a:lnTo>
                  <a:lnTo>
                    <a:pt x="415" y="5"/>
                  </a:lnTo>
                  <a:lnTo>
                    <a:pt x="413" y="5"/>
                  </a:lnTo>
                  <a:lnTo>
                    <a:pt x="413" y="5"/>
                  </a:lnTo>
                  <a:lnTo>
                    <a:pt x="408" y="8"/>
                  </a:lnTo>
                  <a:lnTo>
                    <a:pt x="405" y="8"/>
                  </a:lnTo>
                  <a:lnTo>
                    <a:pt x="400" y="8"/>
                  </a:lnTo>
                  <a:lnTo>
                    <a:pt x="397" y="8"/>
                  </a:lnTo>
                  <a:lnTo>
                    <a:pt x="400" y="8"/>
                  </a:lnTo>
                  <a:lnTo>
                    <a:pt x="403" y="10"/>
                  </a:lnTo>
                  <a:close/>
                  <a:moveTo>
                    <a:pt x="372" y="23"/>
                  </a:moveTo>
                  <a:lnTo>
                    <a:pt x="372" y="23"/>
                  </a:lnTo>
                  <a:lnTo>
                    <a:pt x="372" y="25"/>
                  </a:lnTo>
                  <a:lnTo>
                    <a:pt x="375" y="25"/>
                  </a:lnTo>
                  <a:lnTo>
                    <a:pt x="382" y="25"/>
                  </a:lnTo>
                  <a:lnTo>
                    <a:pt x="385" y="23"/>
                  </a:lnTo>
                  <a:lnTo>
                    <a:pt x="387" y="23"/>
                  </a:lnTo>
                  <a:lnTo>
                    <a:pt x="387" y="23"/>
                  </a:lnTo>
                  <a:lnTo>
                    <a:pt x="382" y="23"/>
                  </a:lnTo>
                  <a:lnTo>
                    <a:pt x="380" y="20"/>
                  </a:lnTo>
                  <a:lnTo>
                    <a:pt x="380" y="20"/>
                  </a:lnTo>
                  <a:lnTo>
                    <a:pt x="377" y="20"/>
                  </a:lnTo>
                  <a:lnTo>
                    <a:pt x="372" y="20"/>
                  </a:lnTo>
                  <a:lnTo>
                    <a:pt x="372" y="23"/>
                  </a:lnTo>
                  <a:lnTo>
                    <a:pt x="372" y="23"/>
                  </a:lnTo>
                  <a:lnTo>
                    <a:pt x="369" y="23"/>
                  </a:lnTo>
                  <a:lnTo>
                    <a:pt x="367" y="23"/>
                  </a:lnTo>
                  <a:lnTo>
                    <a:pt x="367" y="23"/>
                  </a:lnTo>
                  <a:lnTo>
                    <a:pt x="369" y="23"/>
                  </a:lnTo>
                  <a:lnTo>
                    <a:pt x="372" y="23"/>
                  </a:lnTo>
                  <a:close/>
                  <a:moveTo>
                    <a:pt x="280" y="18"/>
                  </a:moveTo>
                  <a:lnTo>
                    <a:pt x="283" y="18"/>
                  </a:lnTo>
                  <a:lnTo>
                    <a:pt x="285" y="18"/>
                  </a:lnTo>
                  <a:lnTo>
                    <a:pt x="288" y="18"/>
                  </a:lnTo>
                  <a:lnTo>
                    <a:pt x="288" y="20"/>
                  </a:lnTo>
                  <a:lnTo>
                    <a:pt x="290" y="20"/>
                  </a:lnTo>
                  <a:lnTo>
                    <a:pt x="293" y="20"/>
                  </a:lnTo>
                  <a:lnTo>
                    <a:pt x="293" y="20"/>
                  </a:lnTo>
                  <a:lnTo>
                    <a:pt x="296" y="18"/>
                  </a:lnTo>
                  <a:lnTo>
                    <a:pt x="296" y="18"/>
                  </a:lnTo>
                  <a:lnTo>
                    <a:pt x="301" y="18"/>
                  </a:lnTo>
                  <a:lnTo>
                    <a:pt x="301" y="18"/>
                  </a:lnTo>
                  <a:lnTo>
                    <a:pt x="301" y="18"/>
                  </a:lnTo>
                  <a:lnTo>
                    <a:pt x="303" y="18"/>
                  </a:lnTo>
                  <a:lnTo>
                    <a:pt x="303" y="18"/>
                  </a:lnTo>
                  <a:lnTo>
                    <a:pt x="306" y="18"/>
                  </a:lnTo>
                  <a:lnTo>
                    <a:pt x="306" y="15"/>
                  </a:lnTo>
                  <a:lnTo>
                    <a:pt x="306" y="15"/>
                  </a:lnTo>
                  <a:lnTo>
                    <a:pt x="308" y="15"/>
                  </a:lnTo>
                  <a:lnTo>
                    <a:pt x="311" y="18"/>
                  </a:lnTo>
                  <a:lnTo>
                    <a:pt x="318" y="18"/>
                  </a:lnTo>
                  <a:lnTo>
                    <a:pt x="318" y="18"/>
                  </a:lnTo>
                  <a:lnTo>
                    <a:pt x="318" y="15"/>
                  </a:lnTo>
                  <a:lnTo>
                    <a:pt x="316" y="15"/>
                  </a:lnTo>
                  <a:lnTo>
                    <a:pt x="316" y="15"/>
                  </a:lnTo>
                  <a:lnTo>
                    <a:pt x="313" y="15"/>
                  </a:lnTo>
                  <a:lnTo>
                    <a:pt x="313" y="15"/>
                  </a:lnTo>
                  <a:lnTo>
                    <a:pt x="308" y="15"/>
                  </a:lnTo>
                  <a:lnTo>
                    <a:pt x="303" y="15"/>
                  </a:lnTo>
                  <a:lnTo>
                    <a:pt x="301" y="15"/>
                  </a:lnTo>
                  <a:lnTo>
                    <a:pt x="298" y="15"/>
                  </a:lnTo>
                  <a:lnTo>
                    <a:pt x="296" y="15"/>
                  </a:lnTo>
                  <a:lnTo>
                    <a:pt x="290" y="15"/>
                  </a:lnTo>
                  <a:lnTo>
                    <a:pt x="275" y="18"/>
                  </a:lnTo>
                  <a:lnTo>
                    <a:pt x="273" y="18"/>
                  </a:lnTo>
                  <a:lnTo>
                    <a:pt x="275" y="18"/>
                  </a:lnTo>
                  <a:lnTo>
                    <a:pt x="280" y="18"/>
                  </a:lnTo>
                  <a:close/>
                  <a:moveTo>
                    <a:pt x="326" y="265"/>
                  </a:moveTo>
                  <a:lnTo>
                    <a:pt x="326" y="265"/>
                  </a:lnTo>
                  <a:lnTo>
                    <a:pt x="326" y="265"/>
                  </a:lnTo>
                  <a:lnTo>
                    <a:pt x="329" y="267"/>
                  </a:lnTo>
                  <a:lnTo>
                    <a:pt x="329" y="267"/>
                  </a:lnTo>
                  <a:lnTo>
                    <a:pt x="329" y="265"/>
                  </a:lnTo>
                  <a:lnTo>
                    <a:pt x="329" y="265"/>
                  </a:lnTo>
                  <a:lnTo>
                    <a:pt x="326" y="265"/>
                  </a:lnTo>
                  <a:lnTo>
                    <a:pt x="326" y="265"/>
                  </a:lnTo>
                  <a:close/>
                  <a:moveTo>
                    <a:pt x="2225" y="702"/>
                  </a:moveTo>
                  <a:lnTo>
                    <a:pt x="2225" y="702"/>
                  </a:lnTo>
                  <a:lnTo>
                    <a:pt x="2225" y="700"/>
                  </a:lnTo>
                  <a:lnTo>
                    <a:pt x="2222" y="697"/>
                  </a:lnTo>
                  <a:lnTo>
                    <a:pt x="2222" y="697"/>
                  </a:lnTo>
                  <a:lnTo>
                    <a:pt x="2220" y="692"/>
                  </a:lnTo>
                  <a:lnTo>
                    <a:pt x="2215" y="689"/>
                  </a:lnTo>
                  <a:lnTo>
                    <a:pt x="2215" y="687"/>
                  </a:lnTo>
                  <a:lnTo>
                    <a:pt x="2212" y="687"/>
                  </a:lnTo>
                  <a:lnTo>
                    <a:pt x="2212" y="687"/>
                  </a:lnTo>
                  <a:lnTo>
                    <a:pt x="2210" y="687"/>
                  </a:lnTo>
                  <a:lnTo>
                    <a:pt x="2210" y="687"/>
                  </a:lnTo>
                  <a:lnTo>
                    <a:pt x="2204" y="682"/>
                  </a:lnTo>
                  <a:lnTo>
                    <a:pt x="2199" y="679"/>
                  </a:lnTo>
                  <a:lnTo>
                    <a:pt x="2197" y="677"/>
                  </a:lnTo>
                  <a:lnTo>
                    <a:pt x="2197" y="674"/>
                  </a:lnTo>
                  <a:lnTo>
                    <a:pt x="2194" y="674"/>
                  </a:lnTo>
                  <a:lnTo>
                    <a:pt x="2194" y="674"/>
                  </a:lnTo>
                  <a:lnTo>
                    <a:pt x="2192" y="674"/>
                  </a:lnTo>
                  <a:lnTo>
                    <a:pt x="2189" y="672"/>
                  </a:lnTo>
                  <a:lnTo>
                    <a:pt x="2187" y="669"/>
                  </a:lnTo>
                  <a:lnTo>
                    <a:pt x="2184" y="667"/>
                  </a:lnTo>
                  <a:lnTo>
                    <a:pt x="2181" y="664"/>
                  </a:lnTo>
                  <a:lnTo>
                    <a:pt x="2179" y="659"/>
                  </a:lnTo>
                  <a:lnTo>
                    <a:pt x="2179" y="656"/>
                  </a:lnTo>
                  <a:lnTo>
                    <a:pt x="2174" y="641"/>
                  </a:lnTo>
                  <a:lnTo>
                    <a:pt x="2171" y="636"/>
                  </a:lnTo>
                  <a:lnTo>
                    <a:pt x="2171" y="633"/>
                  </a:lnTo>
                  <a:lnTo>
                    <a:pt x="2174" y="633"/>
                  </a:lnTo>
                  <a:lnTo>
                    <a:pt x="2176" y="633"/>
                  </a:lnTo>
                  <a:lnTo>
                    <a:pt x="2181" y="631"/>
                  </a:lnTo>
                  <a:lnTo>
                    <a:pt x="2181" y="631"/>
                  </a:lnTo>
                  <a:lnTo>
                    <a:pt x="2187" y="633"/>
                  </a:lnTo>
                  <a:lnTo>
                    <a:pt x="2187" y="633"/>
                  </a:lnTo>
                  <a:lnTo>
                    <a:pt x="2189" y="633"/>
                  </a:lnTo>
                  <a:lnTo>
                    <a:pt x="2194" y="636"/>
                  </a:lnTo>
                  <a:lnTo>
                    <a:pt x="2199" y="639"/>
                  </a:lnTo>
                  <a:lnTo>
                    <a:pt x="2202" y="641"/>
                  </a:lnTo>
                  <a:lnTo>
                    <a:pt x="2204" y="644"/>
                  </a:lnTo>
                  <a:lnTo>
                    <a:pt x="2207" y="646"/>
                  </a:lnTo>
                  <a:lnTo>
                    <a:pt x="2210" y="646"/>
                  </a:lnTo>
                  <a:lnTo>
                    <a:pt x="2207" y="644"/>
                  </a:lnTo>
                  <a:lnTo>
                    <a:pt x="2204" y="641"/>
                  </a:lnTo>
                  <a:lnTo>
                    <a:pt x="2202" y="641"/>
                  </a:lnTo>
                  <a:lnTo>
                    <a:pt x="2197" y="639"/>
                  </a:lnTo>
                  <a:lnTo>
                    <a:pt x="2194" y="633"/>
                  </a:lnTo>
                  <a:lnTo>
                    <a:pt x="2192" y="631"/>
                  </a:lnTo>
                  <a:lnTo>
                    <a:pt x="2189" y="628"/>
                  </a:lnTo>
                  <a:lnTo>
                    <a:pt x="2187" y="626"/>
                  </a:lnTo>
                  <a:lnTo>
                    <a:pt x="2181" y="623"/>
                  </a:lnTo>
                  <a:lnTo>
                    <a:pt x="2176" y="618"/>
                  </a:lnTo>
                  <a:lnTo>
                    <a:pt x="2166" y="611"/>
                  </a:lnTo>
                  <a:lnTo>
                    <a:pt x="2161" y="605"/>
                  </a:lnTo>
                  <a:lnTo>
                    <a:pt x="2146" y="590"/>
                  </a:lnTo>
                  <a:lnTo>
                    <a:pt x="2146" y="588"/>
                  </a:lnTo>
                  <a:lnTo>
                    <a:pt x="2143" y="588"/>
                  </a:lnTo>
                  <a:lnTo>
                    <a:pt x="2143" y="585"/>
                  </a:lnTo>
                  <a:lnTo>
                    <a:pt x="2141" y="585"/>
                  </a:lnTo>
                  <a:lnTo>
                    <a:pt x="2138" y="583"/>
                  </a:lnTo>
                  <a:lnTo>
                    <a:pt x="2136" y="583"/>
                  </a:lnTo>
                  <a:lnTo>
                    <a:pt x="2136" y="580"/>
                  </a:lnTo>
                  <a:lnTo>
                    <a:pt x="2133" y="578"/>
                  </a:lnTo>
                  <a:lnTo>
                    <a:pt x="2131" y="575"/>
                  </a:lnTo>
                  <a:lnTo>
                    <a:pt x="2128" y="575"/>
                  </a:lnTo>
                  <a:lnTo>
                    <a:pt x="2125" y="570"/>
                  </a:lnTo>
                  <a:lnTo>
                    <a:pt x="2120" y="565"/>
                  </a:lnTo>
                  <a:lnTo>
                    <a:pt x="2120" y="562"/>
                  </a:lnTo>
                  <a:lnTo>
                    <a:pt x="2120" y="562"/>
                  </a:lnTo>
                  <a:lnTo>
                    <a:pt x="2120" y="562"/>
                  </a:lnTo>
                  <a:lnTo>
                    <a:pt x="2118" y="560"/>
                  </a:lnTo>
                  <a:lnTo>
                    <a:pt x="2118" y="557"/>
                  </a:lnTo>
                  <a:lnTo>
                    <a:pt x="2113" y="552"/>
                  </a:lnTo>
                  <a:lnTo>
                    <a:pt x="2108" y="547"/>
                  </a:lnTo>
                  <a:lnTo>
                    <a:pt x="2108" y="547"/>
                  </a:lnTo>
                  <a:lnTo>
                    <a:pt x="2105" y="544"/>
                  </a:lnTo>
                  <a:lnTo>
                    <a:pt x="2100" y="539"/>
                  </a:lnTo>
                  <a:lnTo>
                    <a:pt x="2090" y="534"/>
                  </a:lnTo>
                  <a:lnTo>
                    <a:pt x="2090" y="534"/>
                  </a:lnTo>
                  <a:lnTo>
                    <a:pt x="2090" y="532"/>
                  </a:lnTo>
                  <a:lnTo>
                    <a:pt x="2087" y="529"/>
                  </a:lnTo>
                  <a:lnTo>
                    <a:pt x="2087" y="529"/>
                  </a:lnTo>
                  <a:lnTo>
                    <a:pt x="2087" y="527"/>
                  </a:lnTo>
                  <a:lnTo>
                    <a:pt x="2085" y="527"/>
                  </a:lnTo>
                  <a:lnTo>
                    <a:pt x="2077" y="522"/>
                  </a:lnTo>
                  <a:lnTo>
                    <a:pt x="2074" y="522"/>
                  </a:lnTo>
                  <a:lnTo>
                    <a:pt x="2077" y="522"/>
                  </a:lnTo>
                  <a:lnTo>
                    <a:pt x="2077" y="524"/>
                  </a:lnTo>
                  <a:lnTo>
                    <a:pt x="2074" y="524"/>
                  </a:lnTo>
                  <a:lnTo>
                    <a:pt x="2072" y="524"/>
                  </a:lnTo>
                  <a:lnTo>
                    <a:pt x="2077" y="527"/>
                  </a:lnTo>
                  <a:lnTo>
                    <a:pt x="2082" y="529"/>
                  </a:lnTo>
                  <a:lnTo>
                    <a:pt x="2085" y="532"/>
                  </a:lnTo>
                  <a:lnTo>
                    <a:pt x="2087" y="534"/>
                  </a:lnTo>
                  <a:lnTo>
                    <a:pt x="2087" y="534"/>
                  </a:lnTo>
                  <a:lnTo>
                    <a:pt x="2087" y="534"/>
                  </a:lnTo>
                  <a:lnTo>
                    <a:pt x="2090" y="537"/>
                  </a:lnTo>
                  <a:lnTo>
                    <a:pt x="2087" y="537"/>
                  </a:lnTo>
                  <a:lnTo>
                    <a:pt x="2087" y="539"/>
                  </a:lnTo>
                  <a:lnTo>
                    <a:pt x="2090" y="539"/>
                  </a:lnTo>
                  <a:lnTo>
                    <a:pt x="2090" y="542"/>
                  </a:lnTo>
                  <a:lnTo>
                    <a:pt x="2090" y="542"/>
                  </a:lnTo>
                  <a:lnTo>
                    <a:pt x="2087" y="542"/>
                  </a:lnTo>
                  <a:lnTo>
                    <a:pt x="2087" y="542"/>
                  </a:lnTo>
                  <a:lnTo>
                    <a:pt x="2085" y="539"/>
                  </a:lnTo>
                  <a:lnTo>
                    <a:pt x="2082" y="539"/>
                  </a:lnTo>
                  <a:lnTo>
                    <a:pt x="2080" y="542"/>
                  </a:lnTo>
                  <a:lnTo>
                    <a:pt x="2080" y="542"/>
                  </a:lnTo>
                  <a:lnTo>
                    <a:pt x="2080" y="544"/>
                  </a:lnTo>
                  <a:lnTo>
                    <a:pt x="2085" y="547"/>
                  </a:lnTo>
                  <a:lnTo>
                    <a:pt x="2087" y="550"/>
                  </a:lnTo>
                  <a:lnTo>
                    <a:pt x="2090" y="555"/>
                  </a:lnTo>
                  <a:lnTo>
                    <a:pt x="2095" y="560"/>
                  </a:lnTo>
                  <a:lnTo>
                    <a:pt x="2095" y="562"/>
                  </a:lnTo>
                  <a:lnTo>
                    <a:pt x="2095" y="565"/>
                  </a:lnTo>
                  <a:lnTo>
                    <a:pt x="2095" y="567"/>
                  </a:lnTo>
                  <a:lnTo>
                    <a:pt x="2102" y="575"/>
                  </a:lnTo>
                  <a:lnTo>
                    <a:pt x="2105" y="575"/>
                  </a:lnTo>
                  <a:lnTo>
                    <a:pt x="2108" y="578"/>
                  </a:lnTo>
                  <a:lnTo>
                    <a:pt x="2108" y="578"/>
                  </a:lnTo>
                  <a:lnTo>
                    <a:pt x="2108" y="578"/>
                  </a:lnTo>
                  <a:lnTo>
                    <a:pt x="2108" y="580"/>
                  </a:lnTo>
                  <a:lnTo>
                    <a:pt x="2110" y="580"/>
                  </a:lnTo>
                  <a:lnTo>
                    <a:pt x="2115" y="583"/>
                  </a:lnTo>
                  <a:lnTo>
                    <a:pt x="2118" y="585"/>
                  </a:lnTo>
                  <a:lnTo>
                    <a:pt x="2123" y="590"/>
                  </a:lnTo>
                  <a:lnTo>
                    <a:pt x="2128" y="595"/>
                  </a:lnTo>
                  <a:lnTo>
                    <a:pt x="2128" y="598"/>
                  </a:lnTo>
                  <a:lnTo>
                    <a:pt x="2128" y="600"/>
                  </a:lnTo>
                  <a:lnTo>
                    <a:pt x="2131" y="603"/>
                  </a:lnTo>
                  <a:lnTo>
                    <a:pt x="2133" y="605"/>
                  </a:lnTo>
                  <a:lnTo>
                    <a:pt x="2138" y="611"/>
                  </a:lnTo>
                  <a:lnTo>
                    <a:pt x="2138" y="611"/>
                  </a:lnTo>
                  <a:lnTo>
                    <a:pt x="2148" y="626"/>
                  </a:lnTo>
                  <a:lnTo>
                    <a:pt x="2151" y="628"/>
                  </a:lnTo>
                  <a:lnTo>
                    <a:pt x="2151" y="631"/>
                  </a:lnTo>
                  <a:lnTo>
                    <a:pt x="2156" y="636"/>
                  </a:lnTo>
                  <a:lnTo>
                    <a:pt x="2156" y="639"/>
                  </a:lnTo>
                  <a:lnTo>
                    <a:pt x="2156" y="644"/>
                  </a:lnTo>
                  <a:lnTo>
                    <a:pt x="2159" y="646"/>
                  </a:lnTo>
                  <a:lnTo>
                    <a:pt x="2159" y="646"/>
                  </a:lnTo>
                  <a:lnTo>
                    <a:pt x="2164" y="651"/>
                  </a:lnTo>
                  <a:lnTo>
                    <a:pt x="2169" y="654"/>
                  </a:lnTo>
                  <a:lnTo>
                    <a:pt x="2174" y="661"/>
                  </a:lnTo>
                  <a:lnTo>
                    <a:pt x="2174" y="664"/>
                  </a:lnTo>
                  <a:lnTo>
                    <a:pt x="2174" y="664"/>
                  </a:lnTo>
                  <a:lnTo>
                    <a:pt x="2176" y="667"/>
                  </a:lnTo>
                  <a:lnTo>
                    <a:pt x="2176" y="669"/>
                  </a:lnTo>
                  <a:lnTo>
                    <a:pt x="2176" y="672"/>
                  </a:lnTo>
                  <a:lnTo>
                    <a:pt x="2181" y="674"/>
                  </a:lnTo>
                  <a:lnTo>
                    <a:pt x="2181" y="677"/>
                  </a:lnTo>
                  <a:lnTo>
                    <a:pt x="2184" y="679"/>
                  </a:lnTo>
                  <a:lnTo>
                    <a:pt x="2187" y="682"/>
                  </a:lnTo>
                  <a:lnTo>
                    <a:pt x="2187" y="689"/>
                  </a:lnTo>
                  <a:lnTo>
                    <a:pt x="2192" y="695"/>
                  </a:lnTo>
                  <a:lnTo>
                    <a:pt x="2197" y="702"/>
                  </a:lnTo>
                  <a:lnTo>
                    <a:pt x="2197" y="702"/>
                  </a:lnTo>
                  <a:lnTo>
                    <a:pt x="2199" y="705"/>
                  </a:lnTo>
                  <a:lnTo>
                    <a:pt x="2202" y="707"/>
                  </a:lnTo>
                  <a:lnTo>
                    <a:pt x="2202" y="707"/>
                  </a:lnTo>
                  <a:lnTo>
                    <a:pt x="2202" y="705"/>
                  </a:lnTo>
                  <a:lnTo>
                    <a:pt x="2202" y="702"/>
                  </a:lnTo>
                  <a:lnTo>
                    <a:pt x="2199" y="697"/>
                  </a:lnTo>
                  <a:lnTo>
                    <a:pt x="2199" y="695"/>
                  </a:lnTo>
                  <a:lnTo>
                    <a:pt x="2199" y="692"/>
                  </a:lnTo>
                  <a:lnTo>
                    <a:pt x="2199" y="692"/>
                  </a:lnTo>
                  <a:lnTo>
                    <a:pt x="2199" y="689"/>
                  </a:lnTo>
                  <a:lnTo>
                    <a:pt x="2202" y="689"/>
                  </a:lnTo>
                  <a:lnTo>
                    <a:pt x="2202" y="689"/>
                  </a:lnTo>
                  <a:lnTo>
                    <a:pt x="2204" y="689"/>
                  </a:lnTo>
                  <a:lnTo>
                    <a:pt x="2204" y="692"/>
                  </a:lnTo>
                  <a:lnTo>
                    <a:pt x="2207" y="692"/>
                  </a:lnTo>
                  <a:lnTo>
                    <a:pt x="2210" y="692"/>
                  </a:lnTo>
                  <a:lnTo>
                    <a:pt x="2215" y="692"/>
                  </a:lnTo>
                  <a:lnTo>
                    <a:pt x="2217" y="695"/>
                  </a:lnTo>
                  <a:lnTo>
                    <a:pt x="2220" y="697"/>
                  </a:lnTo>
                  <a:lnTo>
                    <a:pt x="2222" y="700"/>
                  </a:lnTo>
                  <a:lnTo>
                    <a:pt x="2225" y="705"/>
                  </a:lnTo>
                  <a:lnTo>
                    <a:pt x="2225" y="705"/>
                  </a:lnTo>
                  <a:lnTo>
                    <a:pt x="2225" y="702"/>
                  </a:lnTo>
                  <a:close/>
                  <a:moveTo>
                    <a:pt x="321" y="20"/>
                  </a:moveTo>
                  <a:lnTo>
                    <a:pt x="318" y="18"/>
                  </a:lnTo>
                  <a:lnTo>
                    <a:pt x="316" y="18"/>
                  </a:lnTo>
                  <a:lnTo>
                    <a:pt x="316" y="18"/>
                  </a:lnTo>
                  <a:lnTo>
                    <a:pt x="313" y="18"/>
                  </a:lnTo>
                  <a:lnTo>
                    <a:pt x="311" y="18"/>
                  </a:lnTo>
                  <a:lnTo>
                    <a:pt x="308" y="20"/>
                  </a:lnTo>
                  <a:lnTo>
                    <a:pt x="306" y="20"/>
                  </a:lnTo>
                  <a:lnTo>
                    <a:pt x="298" y="23"/>
                  </a:lnTo>
                  <a:lnTo>
                    <a:pt x="298" y="23"/>
                  </a:lnTo>
                  <a:lnTo>
                    <a:pt x="301" y="23"/>
                  </a:lnTo>
                  <a:lnTo>
                    <a:pt x="303" y="25"/>
                  </a:lnTo>
                  <a:lnTo>
                    <a:pt x="306" y="25"/>
                  </a:lnTo>
                  <a:lnTo>
                    <a:pt x="306" y="25"/>
                  </a:lnTo>
                  <a:lnTo>
                    <a:pt x="308" y="23"/>
                  </a:lnTo>
                  <a:lnTo>
                    <a:pt x="311" y="23"/>
                  </a:lnTo>
                  <a:lnTo>
                    <a:pt x="313" y="23"/>
                  </a:lnTo>
                  <a:lnTo>
                    <a:pt x="313" y="23"/>
                  </a:lnTo>
                  <a:lnTo>
                    <a:pt x="311" y="25"/>
                  </a:lnTo>
                  <a:lnTo>
                    <a:pt x="311" y="25"/>
                  </a:lnTo>
                  <a:lnTo>
                    <a:pt x="313" y="25"/>
                  </a:lnTo>
                  <a:lnTo>
                    <a:pt x="316" y="25"/>
                  </a:lnTo>
                  <a:lnTo>
                    <a:pt x="316" y="25"/>
                  </a:lnTo>
                  <a:lnTo>
                    <a:pt x="316" y="25"/>
                  </a:lnTo>
                  <a:lnTo>
                    <a:pt x="316" y="25"/>
                  </a:lnTo>
                  <a:lnTo>
                    <a:pt x="321" y="25"/>
                  </a:lnTo>
                  <a:lnTo>
                    <a:pt x="321" y="25"/>
                  </a:lnTo>
                  <a:lnTo>
                    <a:pt x="321" y="25"/>
                  </a:lnTo>
                  <a:lnTo>
                    <a:pt x="321" y="25"/>
                  </a:lnTo>
                  <a:lnTo>
                    <a:pt x="321" y="23"/>
                  </a:lnTo>
                  <a:lnTo>
                    <a:pt x="324" y="25"/>
                  </a:lnTo>
                  <a:lnTo>
                    <a:pt x="326" y="25"/>
                  </a:lnTo>
                  <a:lnTo>
                    <a:pt x="326" y="25"/>
                  </a:lnTo>
                  <a:lnTo>
                    <a:pt x="326" y="23"/>
                  </a:lnTo>
                  <a:lnTo>
                    <a:pt x="326" y="23"/>
                  </a:lnTo>
                  <a:lnTo>
                    <a:pt x="326" y="23"/>
                  </a:lnTo>
                  <a:lnTo>
                    <a:pt x="326" y="23"/>
                  </a:lnTo>
                  <a:lnTo>
                    <a:pt x="324" y="23"/>
                  </a:lnTo>
                  <a:lnTo>
                    <a:pt x="321" y="23"/>
                  </a:lnTo>
                  <a:lnTo>
                    <a:pt x="324" y="23"/>
                  </a:lnTo>
                  <a:lnTo>
                    <a:pt x="324" y="20"/>
                  </a:lnTo>
                  <a:lnTo>
                    <a:pt x="334" y="20"/>
                  </a:lnTo>
                  <a:lnTo>
                    <a:pt x="336" y="20"/>
                  </a:lnTo>
                  <a:lnTo>
                    <a:pt x="334" y="20"/>
                  </a:lnTo>
                  <a:lnTo>
                    <a:pt x="336" y="20"/>
                  </a:lnTo>
                  <a:lnTo>
                    <a:pt x="341" y="18"/>
                  </a:lnTo>
                  <a:lnTo>
                    <a:pt x="349" y="18"/>
                  </a:lnTo>
                  <a:lnTo>
                    <a:pt x="352" y="18"/>
                  </a:lnTo>
                  <a:lnTo>
                    <a:pt x="357" y="18"/>
                  </a:lnTo>
                  <a:lnTo>
                    <a:pt x="354" y="15"/>
                  </a:lnTo>
                  <a:lnTo>
                    <a:pt x="354" y="15"/>
                  </a:lnTo>
                  <a:lnTo>
                    <a:pt x="344" y="13"/>
                  </a:lnTo>
                  <a:lnTo>
                    <a:pt x="344" y="13"/>
                  </a:lnTo>
                  <a:lnTo>
                    <a:pt x="339" y="13"/>
                  </a:lnTo>
                  <a:lnTo>
                    <a:pt x="336" y="13"/>
                  </a:lnTo>
                  <a:lnTo>
                    <a:pt x="336" y="13"/>
                  </a:lnTo>
                  <a:lnTo>
                    <a:pt x="329" y="15"/>
                  </a:lnTo>
                  <a:lnTo>
                    <a:pt x="326" y="15"/>
                  </a:lnTo>
                  <a:lnTo>
                    <a:pt x="324" y="15"/>
                  </a:lnTo>
                  <a:lnTo>
                    <a:pt x="326" y="18"/>
                  </a:lnTo>
                  <a:lnTo>
                    <a:pt x="326" y="18"/>
                  </a:lnTo>
                  <a:lnTo>
                    <a:pt x="326" y="20"/>
                  </a:lnTo>
                  <a:lnTo>
                    <a:pt x="321" y="20"/>
                  </a:lnTo>
                  <a:close/>
                  <a:moveTo>
                    <a:pt x="53" y="511"/>
                  </a:moveTo>
                  <a:lnTo>
                    <a:pt x="53" y="511"/>
                  </a:lnTo>
                  <a:lnTo>
                    <a:pt x="51" y="509"/>
                  </a:lnTo>
                  <a:lnTo>
                    <a:pt x="48" y="509"/>
                  </a:lnTo>
                  <a:lnTo>
                    <a:pt x="48" y="506"/>
                  </a:lnTo>
                  <a:lnTo>
                    <a:pt x="43" y="506"/>
                  </a:lnTo>
                  <a:lnTo>
                    <a:pt x="41" y="506"/>
                  </a:lnTo>
                  <a:lnTo>
                    <a:pt x="41" y="506"/>
                  </a:lnTo>
                  <a:lnTo>
                    <a:pt x="36" y="506"/>
                  </a:lnTo>
                  <a:lnTo>
                    <a:pt x="33" y="504"/>
                  </a:lnTo>
                  <a:lnTo>
                    <a:pt x="31" y="504"/>
                  </a:lnTo>
                  <a:lnTo>
                    <a:pt x="28" y="504"/>
                  </a:lnTo>
                  <a:lnTo>
                    <a:pt x="28" y="501"/>
                  </a:lnTo>
                  <a:lnTo>
                    <a:pt x="25" y="501"/>
                  </a:lnTo>
                  <a:lnTo>
                    <a:pt x="25" y="501"/>
                  </a:lnTo>
                  <a:lnTo>
                    <a:pt x="25" y="506"/>
                  </a:lnTo>
                  <a:lnTo>
                    <a:pt x="25" y="509"/>
                  </a:lnTo>
                  <a:lnTo>
                    <a:pt x="23" y="509"/>
                  </a:lnTo>
                  <a:lnTo>
                    <a:pt x="20" y="509"/>
                  </a:lnTo>
                  <a:lnTo>
                    <a:pt x="18" y="509"/>
                  </a:lnTo>
                  <a:lnTo>
                    <a:pt x="15" y="509"/>
                  </a:lnTo>
                  <a:lnTo>
                    <a:pt x="15" y="509"/>
                  </a:lnTo>
                  <a:lnTo>
                    <a:pt x="20" y="504"/>
                  </a:lnTo>
                  <a:lnTo>
                    <a:pt x="20" y="501"/>
                  </a:lnTo>
                  <a:lnTo>
                    <a:pt x="20" y="501"/>
                  </a:lnTo>
                  <a:lnTo>
                    <a:pt x="18" y="504"/>
                  </a:lnTo>
                  <a:lnTo>
                    <a:pt x="15" y="506"/>
                  </a:lnTo>
                  <a:lnTo>
                    <a:pt x="13" y="509"/>
                  </a:lnTo>
                  <a:lnTo>
                    <a:pt x="13" y="509"/>
                  </a:lnTo>
                  <a:lnTo>
                    <a:pt x="8" y="509"/>
                  </a:lnTo>
                  <a:lnTo>
                    <a:pt x="5" y="509"/>
                  </a:lnTo>
                  <a:lnTo>
                    <a:pt x="5" y="511"/>
                  </a:lnTo>
                  <a:lnTo>
                    <a:pt x="5" y="514"/>
                  </a:lnTo>
                  <a:lnTo>
                    <a:pt x="2" y="516"/>
                  </a:lnTo>
                  <a:lnTo>
                    <a:pt x="2" y="516"/>
                  </a:lnTo>
                  <a:lnTo>
                    <a:pt x="0" y="519"/>
                  </a:lnTo>
                  <a:lnTo>
                    <a:pt x="0" y="519"/>
                  </a:lnTo>
                  <a:lnTo>
                    <a:pt x="5" y="519"/>
                  </a:lnTo>
                  <a:lnTo>
                    <a:pt x="10" y="522"/>
                  </a:lnTo>
                  <a:lnTo>
                    <a:pt x="18" y="522"/>
                  </a:lnTo>
                  <a:lnTo>
                    <a:pt x="25" y="522"/>
                  </a:lnTo>
                  <a:lnTo>
                    <a:pt x="33" y="522"/>
                  </a:lnTo>
                  <a:lnTo>
                    <a:pt x="43" y="522"/>
                  </a:lnTo>
                  <a:lnTo>
                    <a:pt x="51" y="522"/>
                  </a:lnTo>
                  <a:lnTo>
                    <a:pt x="53" y="522"/>
                  </a:lnTo>
                  <a:lnTo>
                    <a:pt x="51" y="522"/>
                  </a:lnTo>
                  <a:lnTo>
                    <a:pt x="51" y="519"/>
                  </a:lnTo>
                  <a:lnTo>
                    <a:pt x="51" y="516"/>
                  </a:lnTo>
                  <a:lnTo>
                    <a:pt x="51" y="516"/>
                  </a:lnTo>
                  <a:lnTo>
                    <a:pt x="53" y="511"/>
                  </a:lnTo>
                  <a:close/>
                  <a:moveTo>
                    <a:pt x="385" y="20"/>
                  </a:moveTo>
                  <a:lnTo>
                    <a:pt x="390" y="20"/>
                  </a:lnTo>
                  <a:lnTo>
                    <a:pt x="392" y="20"/>
                  </a:lnTo>
                  <a:lnTo>
                    <a:pt x="392" y="20"/>
                  </a:lnTo>
                  <a:lnTo>
                    <a:pt x="392" y="18"/>
                  </a:lnTo>
                  <a:lnTo>
                    <a:pt x="390" y="18"/>
                  </a:lnTo>
                  <a:lnTo>
                    <a:pt x="387" y="18"/>
                  </a:lnTo>
                  <a:lnTo>
                    <a:pt x="385" y="18"/>
                  </a:lnTo>
                  <a:lnTo>
                    <a:pt x="385" y="18"/>
                  </a:lnTo>
                  <a:lnTo>
                    <a:pt x="385" y="18"/>
                  </a:lnTo>
                  <a:lnTo>
                    <a:pt x="385" y="20"/>
                  </a:lnTo>
                  <a:lnTo>
                    <a:pt x="385" y="20"/>
                  </a:lnTo>
                  <a:lnTo>
                    <a:pt x="385" y="20"/>
                  </a:lnTo>
                  <a:close/>
                  <a:moveTo>
                    <a:pt x="390" y="15"/>
                  </a:moveTo>
                  <a:lnTo>
                    <a:pt x="390" y="15"/>
                  </a:lnTo>
                  <a:lnTo>
                    <a:pt x="392" y="15"/>
                  </a:lnTo>
                  <a:lnTo>
                    <a:pt x="392" y="15"/>
                  </a:lnTo>
                  <a:lnTo>
                    <a:pt x="397" y="15"/>
                  </a:lnTo>
                  <a:lnTo>
                    <a:pt x="403" y="15"/>
                  </a:lnTo>
                  <a:lnTo>
                    <a:pt x="408" y="18"/>
                  </a:lnTo>
                  <a:lnTo>
                    <a:pt x="408" y="18"/>
                  </a:lnTo>
                  <a:lnTo>
                    <a:pt x="413" y="18"/>
                  </a:lnTo>
                  <a:lnTo>
                    <a:pt x="420" y="18"/>
                  </a:lnTo>
                  <a:lnTo>
                    <a:pt x="428" y="15"/>
                  </a:lnTo>
                  <a:lnTo>
                    <a:pt x="431" y="15"/>
                  </a:lnTo>
                  <a:lnTo>
                    <a:pt x="428" y="15"/>
                  </a:lnTo>
                  <a:lnTo>
                    <a:pt x="418" y="13"/>
                  </a:lnTo>
                  <a:lnTo>
                    <a:pt x="413" y="13"/>
                  </a:lnTo>
                  <a:lnTo>
                    <a:pt x="408" y="13"/>
                  </a:lnTo>
                  <a:lnTo>
                    <a:pt x="400" y="13"/>
                  </a:lnTo>
                  <a:lnTo>
                    <a:pt x="390" y="10"/>
                  </a:lnTo>
                  <a:lnTo>
                    <a:pt x="390" y="10"/>
                  </a:lnTo>
                  <a:lnTo>
                    <a:pt x="387" y="13"/>
                  </a:lnTo>
                  <a:lnTo>
                    <a:pt x="387" y="13"/>
                  </a:lnTo>
                  <a:lnTo>
                    <a:pt x="385" y="13"/>
                  </a:lnTo>
                  <a:lnTo>
                    <a:pt x="385" y="13"/>
                  </a:lnTo>
                  <a:lnTo>
                    <a:pt x="385" y="15"/>
                  </a:lnTo>
                  <a:lnTo>
                    <a:pt x="390" y="15"/>
                  </a:lnTo>
                  <a:close/>
                  <a:moveTo>
                    <a:pt x="336" y="10"/>
                  </a:moveTo>
                  <a:lnTo>
                    <a:pt x="339" y="10"/>
                  </a:lnTo>
                  <a:lnTo>
                    <a:pt x="341" y="10"/>
                  </a:lnTo>
                  <a:lnTo>
                    <a:pt x="341" y="10"/>
                  </a:lnTo>
                  <a:lnTo>
                    <a:pt x="341" y="10"/>
                  </a:lnTo>
                  <a:lnTo>
                    <a:pt x="344" y="10"/>
                  </a:lnTo>
                  <a:lnTo>
                    <a:pt x="341" y="10"/>
                  </a:lnTo>
                  <a:lnTo>
                    <a:pt x="341" y="10"/>
                  </a:lnTo>
                  <a:lnTo>
                    <a:pt x="339" y="10"/>
                  </a:lnTo>
                  <a:lnTo>
                    <a:pt x="339" y="10"/>
                  </a:lnTo>
                  <a:lnTo>
                    <a:pt x="339" y="10"/>
                  </a:lnTo>
                  <a:lnTo>
                    <a:pt x="339" y="10"/>
                  </a:lnTo>
                  <a:lnTo>
                    <a:pt x="336" y="10"/>
                  </a:lnTo>
                  <a:lnTo>
                    <a:pt x="336" y="10"/>
                  </a:lnTo>
                  <a:lnTo>
                    <a:pt x="336" y="10"/>
                  </a:lnTo>
                  <a:close/>
                  <a:moveTo>
                    <a:pt x="2113" y="422"/>
                  </a:moveTo>
                  <a:lnTo>
                    <a:pt x="2115" y="422"/>
                  </a:lnTo>
                  <a:lnTo>
                    <a:pt x="2115" y="422"/>
                  </a:lnTo>
                  <a:lnTo>
                    <a:pt x="2118" y="422"/>
                  </a:lnTo>
                  <a:lnTo>
                    <a:pt x="2115" y="420"/>
                  </a:lnTo>
                  <a:lnTo>
                    <a:pt x="2115" y="420"/>
                  </a:lnTo>
                  <a:lnTo>
                    <a:pt x="2115" y="422"/>
                  </a:lnTo>
                  <a:lnTo>
                    <a:pt x="2113" y="422"/>
                  </a:lnTo>
                  <a:lnTo>
                    <a:pt x="2113" y="422"/>
                  </a:lnTo>
                  <a:close/>
                  <a:moveTo>
                    <a:pt x="357" y="25"/>
                  </a:moveTo>
                  <a:lnTo>
                    <a:pt x="352" y="25"/>
                  </a:lnTo>
                  <a:lnTo>
                    <a:pt x="349" y="25"/>
                  </a:lnTo>
                  <a:lnTo>
                    <a:pt x="347" y="25"/>
                  </a:lnTo>
                  <a:lnTo>
                    <a:pt x="341" y="28"/>
                  </a:lnTo>
                  <a:lnTo>
                    <a:pt x="347" y="28"/>
                  </a:lnTo>
                  <a:lnTo>
                    <a:pt x="354" y="28"/>
                  </a:lnTo>
                  <a:lnTo>
                    <a:pt x="359" y="28"/>
                  </a:lnTo>
                  <a:lnTo>
                    <a:pt x="359" y="28"/>
                  </a:lnTo>
                  <a:lnTo>
                    <a:pt x="359" y="28"/>
                  </a:lnTo>
                  <a:lnTo>
                    <a:pt x="357" y="28"/>
                  </a:lnTo>
                  <a:lnTo>
                    <a:pt x="357" y="28"/>
                  </a:lnTo>
                  <a:lnTo>
                    <a:pt x="357" y="28"/>
                  </a:lnTo>
                  <a:lnTo>
                    <a:pt x="357" y="25"/>
                  </a:lnTo>
                  <a:close/>
                  <a:moveTo>
                    <a:pt x="344" y="25"/>
                  </a:moveTo>
                  <a:lnTo>
                    <a:pt x="341" y="23"/>
                  </a:lnTo>
                  <a:lnTo>
                    <a:pt x="339" y="23"/>
                  </a:lnTo>
                  <a:lnTo>
                    <a:pt x="334" y="25"/>
                  </a:lnTo>
                  <a:lnTo>
                    <a:pt x="334" y="25"/>
                  </a:lnTo>
                  <a:lnTo>
                    <a:pt x="341" y="25"/>
                  </a:lnTo>
                  <a:lnTo>
                    <a:pt x="341" y="25"/>
                  </a:lnTo>
                  <a:lnTo>
                    <a:pt x="341" y="25"/>
                  </a:lnTo>
                  <a:lnTo>
                    <a:pt x="344" y="25"/>
                  </a:lnTo>
                  <a:lnTo>
                    <a:pt x="344" y="25"/>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23" name="Freeform 1641">
              <a:extLst>
                <a:ext uri="{FF2B5EF4-FFF2-40B4-BE49-F238E27FC236}">
                  <a16:creationId xmlns:a16="http://schemas.microsoft.com/office/drawing/2014/main" id="{3B59ECBB-7C39-2143-B460-E03C33B4A63F}"/>
                </a:ext>
              </a:extLst>
            </p:cNvPr>
            <p:cNvSpPr>
              <a:spLocks/>
            </p:cNvSpPr>
            <p:nvPr/>
          </p:nvSpPr>
          <p:spPr bwMode="auto">
            <a:xfrm>
              <a:off x="6429739" y="4383452"/>
              <a:ext cx="253540" cy="250268"/>
            </a:xfrm>
            <a:custGeom>
              <a:avLst/>
              <a:gdLst>
                <a:gd name="T0" fmla="*/ 153 w 155"/>
                <a:gd name="T1" fmla="*/ 49 h 153"/>
                <a:gd name="T2" fmla="*/ 153 w 155"/>
                <a:gd name="T3" fmla="*/ 31 h 153"/>
                <a:gd name="T4" fmla="*/ 155 w 155"/>
                <a:gd name="T5" fmla="*/ 23 h 153"/>
                <a:gd name="T6" fmla="*/ 150 w 155"/>
                <a:gd name="T7" fmla="*/ 23 h 153"/>
                <a:gd name="T8" fmla="*/ 140 w 155"/>
                <a:gd name="T9" fmla="*/ 18 h 153"/>
                <a:gd name="T10" fmla="*/ 125 w 155"/>
                <a:gd name="T11" fmla="*/ 10 h 153"/>
                <a:gd name="T12" fmla="*/ 115 w 155"/>
                <a:gd name="T13" fmla="*/ 8 h 153"/>
                <a:gd name="T14" fmla="*/ 104 w 155"/>
                <a:gd name="T15" fmla="*/ 8 h 153"/>
                <a:gd name="T16" fmla="*/ 102 w 155"/>
                <a:gd name="T17" fmla="*/ 0 h 153"/>
                <a:gd name="T18" fmla="*/ 87 w 155"/>
                <a:gd name="T19" fmla="*/ 0 h 153"/>
                <a:gd name="T20" fmla="*/ 76 w 155"/>
                <a:gd name="T21" fmla="*/ 5 h 153"/>
                <a:gd name="T22" fmla="*/ 74 w 155"/>
                <a:gd name="T23" fmla="*/ 10 h 153"/>
                <a:gd name="T24" fmla="*/ 71 w 155"/>
                <a:gd name="T25" fmla="*/ 21 h 153"/>
                <a:gd name="T26" fmla="*/ 59 w 155"/>
                <a:gd name="T27" fmla="*/ 26 h 153"/>
                <a:gd name="T28" fmla="*/ 48 w 155"/>
                <a:gd name="T29" fmla="*/ 36 h 153"/>
                <a:gd name="T30" fmla="*/ 36 w 155"/>
                <a:gd name="T31" fmla="*/ 51 h 153"/>
                <a:gd name="T32" fmla="*/ 23 w 155"/>
                <a:gd name="T33" fmla="*/ 51 h 153"/>
                <a:gd name="T34" fmla="*/ 13 w 155"/>
                <a:gd name="T35" fmla="*/ 51 h 153"/>
                <a:gd name="T36" fmla="*/ 8 w 155"/>
                <a:gd name="T37" fmla="*/ 49 h 153"/>
                <a:gd name="T38" fmla="*/ 0 w 155"/>
                <a:gd name="T39" fmla="*/ 49 h 153"/>
                <a:gd name="T40" fmla="*/ 3 w 155"/>
                <a:gd name="T41" fmla="*/ 54 h 153"/>
                <a:gd name="T42" fmla="*/ 5 w 155"/>
                <a:gd name="T43" fmla="*/ 59 h 153"/>
                <a:gd name="T44" fmla="*/ 10 w 155"/>
                <a:gd name="T45" fmla="*/ 69 h 153"/>
                <a:gd name="T46" fmla="*/ 15 w 155"/>
                <a:gd name="T47" fmla="*/ 74 h 153"/>
                <a:gd name="T48" fmla="*/ 18 w 155"/>
                <a:gd name="T49" fmla="*/ 84 h 153"/>
                <a:gd name="T50" fmla="*/ 25 w 155"/>
                <a:gd name="T51" fmla="*/ 92 h 153"/>
                <a:gd name="T52" fmla="*/ 36 w 155"/>
                <a:gd name="T53" fmla="*/ 99 h 153"/>
                <a:gd name="T54" fmla="*/ 41 w 155"/>
                <a:gd name="T55" fmla="*/ 105 h 153"/>
                <a:gd name="T56" fmla="*/ 43 w 155"/>
                <a:gd name="T57" fmla="*/ 110 h 153"/>
                <a:gd name="T58" fmla="*/ 48 w 155"/>
                <a:gd name="T59" fmla="*/ 110 h 153"/>
                <a:gd name="T60" fmla="*/ 48 w 155"/>
                <a:gd name="T61" fmla="*/ 115 h 153"/>
                <a:gd name="T62" fmla="*/ 48 w 155"/>
                <a:gd name="T63" fmla="*/ 122 h 153"/>
                <a:gd name="T64" fmla="*/ 51 w 155"/>
                <a:gd name="T65" fmla="*/ 130 h 153"/>
                <a:gd name="T66" fmla="*/ 54 w 155"/>
                <a:gd name="T67" fmla="*/ 135 h 153"/>
                <a:gd name="T68" fmla="*/ 69 w 155"/>
                <a:gd name="T69" fmla="*/ 138 h 153"/>
                <a:gd name="T70" fmla="*/ 74 w 155"/>
                <a:gd name="T71" fmla="*/ 140 h 153"/>
                <a:gd name="T72" fmla="*/ 74 w 155"/>
                <a:gd name="T73" fmla="*/ 143 h 153"/>
                <a:gd name="T74" fmla="*/ 76 w 155"/>
                <a:gd name="T75" fmla="*/ 145 h 153"/>
                <a:gd name="T76" fmla="*/ 79 w 155"/>
                <a:gd name="T77" fmla="*/ 148 h 153"/>
                <a:gd name="T78" fmla="*/ 92 w 155"/>
                <a:gd name="T79" fmla="*/ 148 h 153"/>
                <a:gd name="T80" fmla="*/ 107 w 155"/>
                <a:gd name="T81" fmla="*/ 150 h 153"/>
                <a:gd name="T82" fmla="*/ 117 w 155"/>
                <a:gd name="T83" fmla="*/ 153 h 153"/>
                <a:gd name="T84" fmla="*/ 125 w 155"/>
                <a:gd name="T85" fmla="*/ 148 h 153"/>
                <a:gd name="T86" fmla="*/ 133 w 155"/>
                <a:gd name="T87" fmla="*/ 138 h 153"/>
                <a:gd name="T88" fmla="*/ 140 w 155"/>
                <a:gd name="T89" fmla="*/ 127 h 153"/>
                <a:gd name="T90" fmla="*/ 143 w 155"/>
                <a:gd name="T91" fmla="*/ 120 h 153"/>
                <a:gd name="T92" fmla="*/ 143 w 155"/>
                <a:gd name="T93" fmla="*/ 112 h 153"/>
                <a:gd name="T94" fmla="*/ 148 w 155"/>
                <a:gd name="T95" fmla="*/ 107 h 153"/>
                <a:gd name="T96" fmla="*/ 153 w 155"/>
                <a:gd name="T97" fmla="*/ 97 h 153"/>
                <a:gd name="T98" fmla="*/ 150 w 155"/>
                <a:gd name="T99" fmla="*/ 92 h 153"/>
                <a:gd name="T100" fmla="*/ 150 w 155"/>
                <a:gd name="T101" fmla="*/ 82 h 153"/>
                <a:gd name="T102" fmla="*/ 150 w 155"/>
                <a:gd name="T103" fmla="*/ 77 h 153"/>
                <a:gd name="T104" fmla="*/ 148 w 155"/>
                <a:gd name="T105" fmla="*/ 74 h 153"/>
                <a:gd name="T106" fmla="*/ 150 w 155"/>
                <a:gd name="T107" fmla="*/ 71 h 153"/>
                <a:gd name="T108" fmla="*/ 153 w 155"/>
                <a:gd name="T109" fmla="*/ 66 h 153"/>
                <a:gd name="T110" fmla="*/ 155 w 155"/>
                <a:gd name="T111" fmla="*/ 6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5" h="153">
                  <a:moveTo>
                    <a:pt x="153" y="56"/>
                  </a:moveTo>
                  <a:lnTo>
                    <a:pt x="153" y="54"/>
                  </a:lnTo>
                  <a:lnTo>
                    <a:pt x="153" y="49"/>
                  </a:lnTo>
                  <a:lnTo>
                    <a:pt x="155" y="41"/>
                  </a:lnTo>
                  <a:lnTo>
                    <a:pt x="155" y="36"/>
                  </a:lnTo>
                  <a:lnTo>
                    <a:pt x="153" y="31"/>
                  </a:lnTo>
                  <a:lnTo>
                    <a:pt x="153" y="28"/>
                  </a:lnTo>
                  <a:lnTo>
                    <a:pt x="155" y="26"/>
                  </a:lnTo>
                  <a:lnTo>
                    <a:pt x="155" y="23"/>
                  </a:lnTo>
                  <a:lnTo>
                    <a:pt x="153" y="23"/>
                  </a:lnTo>
                  <a:lnTo>
                    <a:pt x="153" y="23"/>
                  </a:lnTo>
                  <a:lnTo>
                    <a:pt x="150" y="23"/>
                  </a:lnTo>
                  <a:lnTo>
                    <a:pt x="148" y="21"/>
                  </a:lnTo>
                  <a:lnTo>
                    <a:pt x="145" y="18"/>
                  </a:lnTo>
                  <a:lnTo>
                    <a:pt x="140" y="18"/>
                  </a:lnTo>
                  <a:lnTo>
                    <a:pt x="135" y="18"/>
                  </a:lnTo>
                  <a:lnTo>
                    <a:pt x="130" y="13"/>
                  </a:lnTo>
                  <a:lnTo>
                    <a:pt x="125" y="10"/>
                  </a:lnTo>
                  <a:lnTo>
                    <a:pt x="125" y="10"/>
                  </a:lnTo>
                  <a:lnTo>
                    <a:pt x="122" y="8"/>
                  </a:lnTo>
                  <a:lnTo>
                    <a:pt x="115" y="8"/>
                  </a:lnTo>
                  <a:lnTo>
                    <a:pt x="110" y="8"/>
                  </a:lnTo>
                  <a:lnTo>
                    <a:pt x="104" y="8"/>
                  </a:lnTo>
                  <a:lnTo>
                    <a:pt x="104" y="8"/>
                  </a:lnTo>
                  <a:lnTo>
                    <a:pt x="104" y="3"/>
                  </a:lnTo>
                  <a:lnTo>
                    <a:pt x="104" y="0"/>
                  </a:lnTo>
                  <a:lnTo>
                    <a:pt x="102" y="0"/>
                  </a:lnTo>
                  <a:lnTo>
                    <a:pt x="97" y="0"/>
                  </a:lnTo>
                  <a:lnTo>
                    <a:pt x="92" y="0"/>
                  </a:lnTo>
                  <a:lnTo>
                    <a:pt x="87" y="0"/>
                  </a:lnTo>
                  <a:lnTo>
                    <a:pt x="82" y="3"/>
                  </a:lnTo>
                  <a:lnTo>
                    <a:pt x="79" y="5"/>
                  </a:lnTo>
                  <a:lnTo>
                    <a:pt x="76" y="5"/>
                  </a:lnTo>
                  <a:lnTo>
                    <a:pt x="74" y="8"/>
                  </a:lnTo>
                  <a:lnTo>
                    <a:pt x="74" y="8"/>
                  </a:lnTo>
                  <a:lnTo>
                    <a:pt x="74" y="10"/>
                  </a:lnTo>
                  <a:lnTo>
                    <a:pt x="74" y="16"/>
                  </a:lnTo>
                  <a:lnTo>
                    <a:pt x="74" y="18"/>
                  </a:lnTo>
                  <a:lnTo>
                    <a:pt x="71" y="21"/>
                  </a:lnTo>
                  <a:lnTo>
                    <a:pt x="71" y="21"/>
                  </a:lnTo>
                  <a:lnTo>
                    <a:pt x="64" y="23"/>
                  </a:lnTo>
                  <a:lnTo>
                    <a:pt x="59" y="26"/>
                  </a:lnTo>
                  <a:lnTo>
                    <a:pt x="56" y="28"/>
                  </a:lnTo>
                  <a:lnTo>
                    <a:pt x="51" y="31"/>
                  </a:lnTo>
                  <a:lnTo>
                    <a:pt x="48" y="36"/>
                  </a:lnTo>
                  <a:lnTo>
                    <a:pt x="46" y="41"/>
                  </a:lnTo>
                  <a:lnTo>
                    <a:pt x="41" y="46"/>
                  </a:lnTo>
                  <a:lnTo>
                    <a:pt x="36" y="51"/>
                  </a:lnTo>
                  <a:lnTo>
                    <a:pt x="31" y="54"/>
                  </a:lnTo>
                  <a:lnTo>
                    <a:pt x="28" y="54"/>
                  </a:lnTo>
                  <a:lnTo>
                    <a:pt x="23" y="51"/>
                  </a:lnTo>
                  <a:lnTo>
                    <a:pt x="18" y="51"/>
                  </a:lnTo>
                  <a:lnTo>
                    <a:pt x="15" y="51"/>
                  </a:lnTo>
                  <a:lnTo>
                    <a:pt x="13" y="51"/>
                  </a:lnTo>
                  <a:lnTo>
                    <a:pt x="10" y="49"/>
                  </a:lnTo>
                  <a:lnTo>
                    <a:pt x="10" y="49"/>
                  </a:lnTo>
                  <a:lnTo>
                    <a:pt x="8" y="49"/>
                  </a:lnTo>
                  <a:lnTo>
                    <a:pt x="5" y="49"/>
                  </a:lnTo>
                  <a:lnTo>
                    <a:pt x="3" y="49"/>
                  </a:lnTo>
                  <a:lnTo>
                    <a:pt x="0" y="49"/>
                  </a:lnTo>
                  <a:lnTo>
                    <a:pt x="0" y="51"/>
                  </a:lnTo>
                  <a:lnTo>
                    <a:pt x="0" y="51"/>
                  </a:lnTo>
                  <a:lnTo>
                    <a:pt x="3" y="54"/>
                  </a:lnTo>
                  <a:lnTo>
                    <a:pt x="3" y="56"/>
                  </a:lnTo>
                  <a:lnTo>
                    <a:pt x="5" y="56"/>
                  </a:lnTo>
                  <a:lnTo>
                    <a:pt x="5" y="59"/>
                  </a:lnTo>
                  <a:lnTo>
                    <a:pt x="5" y="61"/>
                  </a:lnTo>
                  <a:lnTo>
                    <a:pt x="8" y="64"/>
                  </a:lnTo>
                  <a:lnTo>
                    <a:pt x="10" y="69"/>
                  </a:lnTo>
                  <a:lnTo>
                    <a:pt x="13" y="69"/>
                  </a:lnTo>
                  <a:lnTo>
                    <a:pt x="13" y="71"/>
                  </a:lnTo>
                  <a:lnTo>
                    <a:pt x="15" y="74"/>
                  </a:lnTo>
                  <a:lnTo>
                    <a:pt x="15" y="77"/>
                  </a:lnTo>
                  <a:lnTo>
                    <a:pt x="15" y="77"/>
                  </a:lnTo>
                  <a:lnTo>
                    <a:pt x="18" y="84"/>
                  </a:lnTo>
                  <a:lnTo>
                    <a:pt x="18" y="87"/>
                  </a:lnTo>
                  <a:lnTo>
                    <a:pt x="20" y="89"/>
                  </a:lnTo>
                  <a:lnTo>
                    <a:pt x="25" y="92"/>
                  </a:lnTo>
                  <a:lnTo>
                    <a:pt x="28" y="97"/>
                  </a:lnTo>
                  <a:lnTo>
                    <a:pt x="33" y="99"/>
                  </a:lnTo>
                  <a:lnTo>
                    <a:pt x="36" y="99"/>
                  </a:lnTo>
                  <a:lnTo>
                    <a:pt x="38" y="99"/>
                  </a:lnTo>
                  <a:lnTo>
                    <a:pt x="38" y="102"/>
                  </a:lnTo>
                  <a:lnTo>
                    <a:pt x="41" y="105"/>
                  </a:lnTo>
                  <a:lnTo>
                    <a:pt x="41" y="107"/>
                  </a:lnTo>
                  <a:lnTo>
                    <a:pt x="41" y="110"/>
                  </a:lnTo>
                  <a:lnTo>
                    <a:pt x="43" y="110"/>
                  </a:lnTo>
                  <a:lnTo>
                    <a:pt x="46" y="110"/>
                  </a:lnTo>
                  <a:lnTo>
                    <a:pt x="48" y="110"/>
                  </a:lnTo>
                  <a:lnTo>
                    <a:pt x="48" y="110"/>
                  </a:lnTo>
                  <a:lnTo>
                    <a:pt x="48" y="112"/>
                  </a:lnTo>
                  <a:lnTo>
                    <a:pt x="48" y="115"/>
                  </a:lnTo>
                  <a:lnTo>
                    <a:pt x="48" y="115"/>
                  </a:lnTo>
                  <a:lnTo>
                    <a:pt x="48" y="117"/>
                  </a:lnTo>
                  <a:lnTo>
                    <a:pt x="48" y="120"/>
                  </a:lnTo>
                  <a:lnTo>
                    <a:pt x="48" y="122"/>
                  </a:lnTo>
                  <a:lnTo>
                    <a:pt x="48" y="125"/>
                  </a:lnTo>
                  <a:lnTo>
                    <a:pt x="51" y="127"/>
                  </a:lnTo>
                  <a:lnTo>
                    <a:pt x="51" y="130"/>
                  </a:lnTo>
                  <a:lnTo>
                    <a:pt x="54" y="133"/>
                  </a:lnTo>
                  <a:lnTo>
                    <a:pt x="54" y="133"/>
                  </a:lnTo>
                  <a:lnTo>
                    <a:pt x="54" y="135"/>
                  </a:lnTo>
                  <a:lnTo>
                    <a:pt x="56" y="135"/>
                  </a:lnTo>
                  <a:lnTo>
                    <a:pt x="64" y="135"/>
                  </a:lnTo>
                  <a:lnTo>
                    <a:pt x="69" y="138"/>
                  </a:lnTo>
                  <a:lnTo>
                    <a:pt x="71" y="138"/>
                  </a:lnTo>
                  <a:lnTo>
                    <a:pt x="74" y="138"/>
                  </a:lnTo>
                  <a:lnTo>
                    <a:pt x="74" y="140"/>
                  </a:lnTo>
                  <a:lnTo>
                    <a:pt x="74" y="140"/>
                  </a:lnTo>
                  <a:lnTo>
                    <a:pt x="74" y="143"/>
                  </a:lnTo>
                  <a:lnTo>
                    <a:pt x="74" y="143"/>
                  </a:lnTo>
                  <a:lnTo>
                    <a:pt x="74" y="145"/>
                  </a:lnTo>
                  <a:lnTo>
                    <a:pt x="74" y="145"/>
                  </a:lnTo>
                  <a:lnTo>
                    <a:pt x="76" y="145"/>
                  </a:lnTo>
                  <a:lnTo>
                    <a:pt x="79" y="145"/>
                  </a:lnTo>
                  <a:lnTo>
                    <a:pt x="79" y="148"/>
                  </a:lnTo>
                  <a:lnTo>
                    <a:pt x="79" y="148"/>
                  </a:lnTo>
                  <a:lnTo>
                    <a:pt x="82" y="148"/>
                  </a:lnTo>
                  <a:lnTo>
                    <a:pt x="87" y="148"/>
                  </a:lnTo>
                  <a:lnTo>
                    <a:pt x="92" y="148"/>
                  </a:lnTo>
                  <a:lnTo>
                    <a:pt x="97" y="150"/>
                  </a:lnTo>
                  <a:lnTo>
                    <a:pt x="102" y="150"/>
                  </a:lnTo>
                  <a:lnTo>
                    <a:pt x="107" y="150"/>
                  </a:lnTo>
                  <a:lnTo>
                    <a:pt x="110" y="150"/>
                  </a:lnTo>
                  <a:lnTo>
                    <a:pt x="115" y="150"/>
                  </a:lnTo>
                  <a:lnTo>
                    <a:pt x="117" y="153"/>
                  </a:lnTo>
                  <a:lnTo>
                    <a:pt x="117" y="153"/>
                  </a:lnTo>
                  <a:lnTo>
                    <a:pt x="120" y="150"/>
                  </a:lnTo>
                  <a:lnTo>
                    <a:pt x="125" y="148"/>
                  </a:lnTo>
                  <a:lnTo>
                    <a:pt x="127" y="143"/>
                  </a:lnTo>
                  <a:lnTo>
                    <a:pt x="130" y="140"/>
                  </a:lnTo>
                  <a:lnTo>
                    <a:pt x="133" y="138"/>
                  </a:lnTo>
                  <a:lnTo>
                    <a:pt x="138" y="133"/>
                  </a:lnTo>
                  <a:lnTo>
                    <a:pt x="140" y="130"/>
                  </a:lnTo>
                  <a:lnTo>
                    <a:pt x="140" y="127"/>
                  </a:lnTo>
                  <a:lnTo>
                    <a:pt x="140" y="127"/>
                  </a:lnTo>
                  <a:lnTo>
                    <a:pt x="140" y="125"/>
                  </a:lnTo>
                  <a:lnTo>
                    <a:pt x="143" y="120"/>
                  </a:lnTo>
                  <a:lnTo>
                    <a:pt x="143" y="117"/>
                  </a:lnTo>
                  <a:lnTo>
                    <a:pt x="143" y="115"/>
                  </a:lnTo>
                  <a:lnTo>
                    <a:pt x="143" y="112"/>
                  </a:lnTo>
                  <a:lnTo>
                    <a:pt x="143" y="112"/>
                  </a:lnTo>
                  <a:lnTo>
                    <a:pt x="148" y="110"/>
                  </a:lnTo>
                  <a:lnTo>
                    <a:pt x="148" y="107"/>
                  </a:lnTo>
                  <a:lnTo>
                    <a:pt x="150" y="105"/>
                  </a:lnTo>
                  <a:lnTo>
                    <a:pt x="153" y="97"/>
                  </a:lnTo>
                  <a:lnTo>
                    <a:pt x="153" y="97"/>
                  </a:lnTo>
                  <a:lnTo>
                    <a:pt x="153" y="94"/>
                  </a:lnTo>
                  <a:lnTo>
                    <a:pt x="153" y="94"/>
                  </a:lnTo>
                  <a:lnTo>
                    <a:pt x="150" y="92"/>
                  </a:lnTo>
                  <a:lnTo>
                    <a:pt x="150" y="89"/>
                  </a:lnTo>
                  <a:lnTo>
                    <a:pt x="150" y="84"/>
                  </a:lnTo>
                  <a:lnTo>
                    <a:pt x="150" y="82"/>
                  </a:lnTo>
                  <a:lnTo>
                    <a:pt x="150" y="79"/>
                  </a:lnTo>
                  <a:lnTo>
                    <a:pt x="150" y="79"/>
                  </a:lnTo>
                  <a:lnTo>
                    <a:pt x="150" y="77"/>
                  </a:lnTo>
                  <a:lnTo>
                    <a:pt x="150" y="77"/>
                  </a:lnTo>
                  <a:lnTo>
                    <a:pt x="148" y="77"/>
                  </a:lnTo>
                  <a:lnTo>
                    <a:pt x="148" y="74"/>
                  </a:lnTo>
                  <a:lnTo>
                    <a:pt x="148" y="71"/>
                  </a:lnTo>
                  <a:lnTo>
                    <a:pt x="148" y="71"/>
                  </a:lnTo>
                  <a:lnTo>
                    <a:pt x="150" y="71"/>
                  </a:lnTo>
                  <a:lnTo>
                    <a:pt x="153" y="69"/>
                  </a:lnTo>
                  <a:lnTo>
                    <a:pt x="153" y="69"/>
                  </a:lnTo>
                  <a:lnTo>
                    <a:pt x="153" y="66"/>
                  </a:lnTo>
                  <a:lnTo>
                    <a:pt x="153" y="64"/>
                  </a:lnTo>
                  <a:lnTo>
                    <a:pt x="155" y="61"/>
                  </a:lnTo>
                  <a:lnTo>
                    <a:pt x="155" y="61"/>
                  </a:lnTo>
                  <a:lnTo>
                    <a:pt x="155" y="59"/>
                  </a:lnTo>
                  <a:lnTo>
                    <a:pt x="153" y="56"/>
                  </a:lnTo>
                  <a:close/>
                </a:path>
              </a:pathLst>
            </a:custGeom>
            <a:solidFill>
              <a:srgbClr val="FFC000"/>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24" name="Freeform 1642">
              <a:extLst>
                <a:ext uri="{FF2B5EF4-FFF2-40B4-BE49-F238E27FC236}">
                  <a16:creationId xmlns:a16="http://schemas.microsoft.com/office/drawing/2014/main" id="{717822B6-6DA7-ED4A-A915-BAF70DE76AA5}"/>
                </a:ext>
              </a:extLst>
            </p:cNvPr>
            <p:cNvSpPr>
              <a:spLocks/>
            </p:cNvSpPr>
            <p:nvPr/>
          </p:nvSpPr>
          <p:spPr bwMode="auto">
            <a:xfrm>
              <a:off x="6325052" y="4105377"/>
              <a:ext cx="387670" cy="366405"/>
            </a:xfrm>
            <a:custGeom>
              <a:avLst/>
              <a:gdLst>
                <a:gd name="T0" fmla="*/ 235 w 237"/>
                <a:gd name="T1" fmla="*/ 53 h 224"/>
                <a:gd name="T2" fmla="*/ 230 w 237"/>
                <a:gd name="T3" fmla="*/ 43 h 224"/>
                <a:gd name="T4" fmla="*/ 227 w 237"/>
                <a:gd name="T5" fmla="*/ 33 h 224"/>
                <a:gd name="T6" fmla="*/ 222 w 237"/>
                <a:gd name="T7" fmla="*/ 33 h 224"/>
                <a:gd name="T8" fmla="*/ 219 w 237"/>
                <a:gd name="T9" fmla="*/ 25 h 224"/>
                <a:gd name="T10" fmla="*/ 207 w 237"/>
                <a:gd name="T11" fmla="*/ 20 h 224"/>
                <a:gd name="T12" fmla="*/ 199 w 237"/>
                <a:gd name="T13" fmla="*/ 18 h 224"/>
                <a:gd name="T14" fmla="*/ 194 w 237"/>
                <a:gd name="T15" fmla="*/ 12 h 224"/>
                <a:gd name="T16" fmla="*/ 181 w 237"/>
                <a:gd name="T17" fmla="*/ 7 h 224"/>
                <a:gd name="T18" fmla="*/ 166 w 237"/>
                <a:gd name="T19" fmla="*/ 2 h 224"/>
                <a:gd name="T20" fmla="*/ 143 w 237"/>
                <a:gd name="T21" fmla="*/ 10 h 224"/>
                <a:gd name="T22" fmla="*/ 135 w 237"/>
                <a:gd name="T23" fmla="*/ 20 h 224"/>
                <a:gd name="T24" fmla="*/ 135 w 237"/>
                <a:gd name="T25" fmla="*/ 38 h 224"/>
                <a:gd name="T26" fmla="*/ 135 w 237"/>
                <a:gd name="T27" fmla="*/ 56 h 224"/>
                <a:gd name="T28" fmla="*/ 130 w 237"/>
                <a:gd name="T29" fmla="*/ 76 h 224"/>
                <a:gd name="T30" fmla="*/ 138 w 237"/>
                <a:gd name="T31" fmla="*/ 89 h 224"/>
                <a:gd name="T32" fmla="*/ 151 w 237"/>
                <a:gd name="T33" fmla="*/ 96 h 224"/>
                <a:gd name="T34" fmla="*/ 153 w 237"/>
                <a:gd name="T35" fmla="*/ 91 h 224"/>
                <a:gd name="T36" fmla="*/ 158 w 237"/>
                <a:gd name="T37" fmla="*/ 102 h 224"/>
                <a:gd name="T38" fmla="*/ 158 w 237"/>
                <a:gd name="T39" fmla="*/ 119 h 224"/>
                <a:gd name="T40" fmla="*/ 153 w 237"/>
                <a:gd name="T41" fmla="*/ 114 h 224"/>
                <a:gd name="T42" fmla="*/ 143 w 237"/>
                <a:gd name="T43" fmla="*/ 117 h 224"/>
                <a:gd name="T44" fmla="*/ 135 w 237"/>
                <a:gd name="T45" fmla="*/ 107 h 224"/>
                <a:gd name="T46" fmla="*/ 130 w 237"/>
                <a:gd name="T47" fmla="*/ 99 h 224"/>
                <a:gd name="T48" fmla="*/ 115 w 237"/>
                <a:gd name="T49" fmla="*/ 94 h 224"/>
                <a:gd name="T50" fmla="*/ 107 w 237"/>
                <a:gd name="T51" fmla="*/ 79 h 224"/>
                <a:gd name="T52" fmla="*/ 102 w 237"/>
                <a:gd name="T53" fmla="*/ 84 h 224"/>
                <a:gd name="T54" fmla="*/ 92 w 237"/>
                <a:gd name="T55" fmla="*/ 86 h 224"/>
                <a:gd name="T56" fmla="*/ 74 w 237"/>
                <a:gd name="T57" fmla="*/ 81 h 224"/>
                <a:gd name="T58" fmla="*/ 69 w 237"/>
                <a:gd name="T59" fmla="*/ 74 h 224"/>
                <a:gd name="T60" fmla="*/ 64 w 237"/>
                <a:gd name="T61" fmla="*/ 71 h 224"/>
                <a:gd name="T62" fmla="*/ 51 w 237"/>
                <a:gd name="T63" fmla="*/ 74 h 224"/>
                <a:gd name="T64" fmla="*/ 49 w 237"/>
                <a:gd name="T65" fmla="*/ 66 h 224"/>
                <a:gd name="T66" fmla="*/ 41 w 237"/>
                <a:gd name="T67" fmla="*/ 61 h 224"/>
                <a:gd name="T68" fmla="*/ 44 w 237"/>
                <a:gd name="T69" fmla="*/ 74 h 224"/>
                <a:gd name="T70" fmla="*/ 41 w 237"/>
                <a:gd name="T71" fmla="*/ 86 h 224"/>
                <a:gd name="T72" fmla="*/ 41 w 237"/>
                <a:gd name="T73" fmla="*/ 104 h 224"/>
                <a:gd name="T74" fmla="*/ 3 w 237"/>
                <a:gd name="T75" fmla="*/ 109 h 224"/>
                <a:gd name="T76" fmla="*/ 0 w 237"/>
                <a:gd name="T77" fmla="*/ 150 h 224"/>
                <a:gd name="T78" fmla="*/ 5 w 237"/>
                <a:gd name="T79" fmla="*/ 191 h 224"/>
                <a:gd name="T80" fmla="*/ 21 w 237"/>
                <a:gd name="T81" fmla="*/ 206 h 224"/>
                <a:gd name="T82" fmla="*/ 46 w 237"/>
                <a:gd name="T83" fmla="*/ 211 h 224"/>
                <a:gd name="T84" fmla="*/ 67 w 237"/>
                <a:gd name="T85" fmla="*/ 219 h 224"/>
                <a:gd name="T86" fmla="*/ 79 w 237"/>
                <a:gd name="T87" fmla="*/ 221 h 224"/>
                <a:gd name="T88" fmla="*/ 105 w 237"/>
                <a:gd name="T89" fmla="*/ 216 h 224"/>
                <a:gd name="T90" fmla="*/ 128 w 237"/>
                <a:gd name="T91" fmla="*/ 193 h 224"/>
                <a:gd name="T92" fmla="*/ 138 w 237"/>
                <a:gd name="T93" fmla="*/ 178 h 224"/>
                <a:gd name="T94" fmla="*/ 156 w 237"/>
                <a:gd name="T95" fmla="*/ 170 h 224"/>
                <a:gd name="T96" fmla="*/ 166 w 237"/>
                <a:gd name="T97" fmla="*/ 163 h 224"/>
                <a:gd name="T98" fmla="*/ 171 w 237"/>
                <a:gd name="T99" fmla="*/ 152 h 224"/>
                <a:gd name="T100" fmla="*/ 194 w 237"/>
                <a:gd name="T101" fmla="*/ 145 h 224"/>
                <a:gd name="T102" fmla="*/ 212 w 237"/>
                <a:gd name="T103" fmla="*/ 137 h 224"/>
                <a:gd name="T104" fmla="*/ 222 w 237"/>
                <a:gd name="T105" fmla="*/ 132 h 224"/>
                <a:gd name="T106" fmla="*/ 219 w 237"/>
                <a:gd name="T107" fmla="*/ 127 h 224"/>
                <a:gd name="T108" fmla="*/ 217 w 237"/>
                <a:gd name="T109" fmla="*/ 124 h 224"/>
                <a:gd name="T110" fmla="*/ 219 w 237"/>
                <a:gd name="T111" fmla="*/ 117 h 224"/>
                <a:gd name="T112" fmla="*/ 222 w 237"/>
                <a:gd name="T113" fmla="*/ 107 h 224"/>
                <a:gd name="T114" fmla="*/ 230 w 237"/>
                <a:gd name="T115" fmla="*/ 99 h 224"/>
                <a:gd name="T116" fmla="*/ 230 w 237"/>
                <a:gd name="T117" fmla="*/ 94 h 224"/>
                <a:gd name="T118" fmla="*/ 227 w 237"/>
                <a:gd name="T119" fmla="*/ 76 h 224"/>
                <a:gd name="T120" fmla="*/ 230 w 237"/>
                <a:gd name="T121" fmla="*/ 6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37" h="224">
                  <a:moveTo>
                    <a:pt x="230" y="61"/>
                  </a:moveTo>
                  <a:lnTo>
                    <a:pt x="232" y="58"/>
                  </a:lnTo>
                  <a:lnTo>
                    <a:pt x="232" y="58"/>
                  </a:lnTo>
                  <a:lnTo>
                    <a:pt x="237" y="56"/>
                  </a:lnTo>
                  <a:lnTo>
                    <a:pt x="237" y="53"/>
                  </a:lnTo>
                  <a:lnTo>
                    <a:pt x="235" y="53"/>
                  </a:lnTo>
                  <a:lnTo>
                    <a:pt x="235" y="51"/>
                  </a:lnTo>
                  <a:lnTo>
                    <a:pt x="235" y="48"/>
                  </a:lnTo>
                  <a:lnTo>
                    <a:pt x="235" y="46"/>
                  </a:lnTo>
                  <a:lnTo>
                    <a:pt x="232" y="46"/>
                  </a:lnTo>
                  <a:lnTo>
                    <a:pt x="232" y="43"/>
                  </a:lnTo>
                  <a:lnTo>
                    <a:pt x="230" y="43"/>
                  </a:lnTo>
                  <a:lnTo>
                    <a:pt x="230" y="40"/>
                  </a:lnTo>
                  <a:lnTo>
                    <a:pt x="230" y="38"/>
                  </a:lnTo>
                  <a:lnTo>
                    <a:pt x="230" y="38"/>
                  </a:lnTo>
                  <a:lnTo>
                    <a:pt x="227" y="35"/>
                  </a:lnTo>
                  <a:lnTo>
                    <a:pt x="227" y="33"/>
                  </a:lnTo>
                  <a:lnTo>
                    <a:pt x="227" y="33"/>
                  </a:lnTo>
                  <a:lnTo>
                    <a:pt x="227" y="33"/>
                  </a:lnTo>
                  <a:lnTo>
                    <a:pt x="225" y="33"/>
                  </a:lnTo>
                  <a:lnTo>
                    <a:pt x="225" y="33"/>
                  </a:lnTo>
                  <a:lnTo>
                    <a:pt x="225" y="33"/>
                  </a:lnTo>
                  <a:lnTo>
                    <a:pt x="225" y="33"/>
                  </a:lnTo>
                  <a:lnTo>
                    <a:pt x="222" y="33"/>
                  </a:lnTo>
                  <a:lnTo>
                    <a:pt x="222" y="30"/>
                  </a:lnTo>
                  <a:lnTo>
                    <a:pt x="222" y="30"/>
                  </a:lnTo>
                  <a:lnTo>
                    <a:pt x="222" y="28"/>
                  </a:lnTo>
                  <a:lnTo>
                    <a:pt x="222" y="28"/>
                  </a:lnTo>
                  <a:lnTo>
                    <a:pt x="219" y="28"/>
                  </a:lnTo>
                  <a:lnTo>
                    <a:pt x="219" y="25"/>
                  </a:lnTo>
                  <a:lnTo>
                    <a:pt x="217" y="25"/>
                  </a:lnTo>
                  <a:lnTo>
                    <a:pt x="214" y="23"/>
                  </a:lnTo>
                  <a:lnTo>
                    <a:pt x="212" y="23"/>
                  </a:lnTo>
                  <a:lnTo>
                    <a:pt x="209" y="23"/>
                  </a:lnTo>
                  <a:lnTo>
                    <a:pt x="207" y="23"/>
                  </a:lnTo>
                  <a:lnTo>
                    <a:pt x="207" y="20"/>
                  </a:lnTo>
                  <a:lnTo>
                    <a:pt x="204" y="20"/>
                  </a:lnTo>
                  <a:lnTo>
                    <a:pt x="202" y="20"/>
                  </a:lnTo>
                  <a:lnTo>
                    <a:pt x="202" y="20"/>
                  </a:lnTo>
                  <a:lnTo>
                    <a:pt x="202" y="18"/>
                  </a:lnTo>
                  <a:lnTo>
                    <a:pt x="202" y="18"/>
                  </a:lnTo>
                  <a:lnTo>
                    <a:pt x="199" y="18"/>
                  </a:lnTo>
                  <a:lnTo>
                    <a:pt x="199" y="18"/>
                  </a:lnTo>
                  <a:lnTo>
                    <a:pt x="197" y="18"/>
                  </a:lnTo>
                  <a:lnTo>
                    <a:pt x="197" y="18"/>
                  </a:lnTo>
                  <a:lnTo>
                    <a:pt x="197" y="15"/>
                  </a:lnTo>
                  <a:lnTo>
                    <a:pt x="194" y="15"/>
                  </a:lnTo>
                  <a:lnTo>
                    <a:pt x="194" y="12"/>
                  </a:lnTo>
                  <a:lnTo>
                    <a:pt x="191" y="10"/>
                  </a:lnTo>
                  <a:lnTo>
                    <a:pt x="191" y="10"/>
                  </a:lnTo>
                  <a:lnTo>
                    <a:pt x="186" y="10"/>
                  </a:lnTo>
                  <a:lnTo>
                    <a:pt x="184" y="10"/>
                  </a:lnTo>
                  <a:lnTo>
                    <a:pt x="184" y="7"/>
                  </a:lnTo>
                  <a:lnTo>
                    <a:pt x="181" y="7"/>
                  </a:lnTo>
                  <a:lnTo>
                    <a:pt x="181" y="5"/>
                  </a:lnTo>
                  <a:lnTo>
                    <a:pt x="179" y="2"/>
                  </a:lnTo>
                  <a:lnTo>
                    <a:pt x="179" y="0"/>
                  </a:lnTo>
                  <a:lnTo>
                    <a:pt x="176" y="0"/>
                  </a:lnTo>
                  <a:lnTo>
                    <a:pt x="171" y="2"/>
                  </a:lnTo>
                  <a:lnTo>
                    <a:pt x="166" y="2"/>
                  </a:lnTo>
                  <a:lnTo>
                    <a:pt x="158" y="5"/>
                  </a:lnTo>
                  <a:lnTo>
                    <a:pt x="153" y="5"/>
                  </a:lnTo>
                  <a:lnTo>
                    <a:pt x="148" y="5"/>
                  </a:lnTo>
                  <a:lnTo>
                    <a:pt x="143" y="7"/>
                  </a:lnTo>
                  <a:lnTo>
                    <a:pt x="140" y="7"/>
                  </a:lnTo>
                  <a:lnTo>
                    <a:pt x="143" y="10"/>
                  </a:lnTo>
                  <a:lnTo>
                    <a:pt x="143" y="12"/>
                  </a:lnTo>
                  <a:lnTo>
                    <a:pt x="140" y="12"/>
                  </a:lnTo>
                  <a:lnTo>
                    <a:pt x="140" y="15"/>
                  </a:lnTo>
                  <a:lnTo>
                    <a:pt x="138" y="18"/>
                  </a:lnTo>
                  <a:lnTo>
                    <a:pt x="138" y="20"/>
                  </a:lnTo>
                  <a:lnTo>
                    <a:pt x="135" y="20"/>
                  </a:lnTo>
                  <a:lnTo>
                    <a:pt x="133" y="23"/>
                  </a:lnTo>
                  <a:lnTo>
                    <a:pt x="130" y="23"/>
                  </a:lnTo>
                  <a:lnTo>
                    <a:pt x="130" y="25"/>
                  </a:lnTo>
                  <a:lnTo>
                    <a:pt x="135" y="30"/>
                  </a:lnTo>
                  <a:lnTo>
                    <a:pt x="135" y="33"/>
                  </a:lnTo>
                  <a:lnTo>
                    <a:pt x="135" y="38"/>
                  </a:lnTo>
                  <a:lnTo>
                    <a:pt x="135" y="40"/>
                  </a:lnTo>
                  <a:lnTo>
                    <a:pt x="135" y="43"/>
                  </a:lnTo>
                  <a:lnTo>
                    <a:pt x="135" y="48"/>
                  </a:lnTo>
                  <a:lnTo>
                    <a:pt x="135" y="51"/>
                  </a:lnTo>
                  <a:lnTo>
                    <a:pt x="135" y="53"/>
                  </a:lnTo>
                  <a:lnTo>
                    <a:pt x="135" y="56"/>
                  </a:lnTo>
                  <a:lnTo>
                    <a:pt x="133" y="58"/>
                  </a:lnTo>
                  <a:lnTo>
                    <a:pt x="133" y="63"/>
                  </a:lnTo>
                  <a:lnTo>
                    <a:pt x="133" y="66"/>
                  </a:lnTo>
                  <a:lnTo>
                    <a:pt x="130" y="71"/>
                  </a:lnTo>
                  <a:lnTo>
                    <a:pt x="130" y="76"/>
                  </a:lnTo>
                  <a:lnTo>
                    <a:pt x="130" y="76"/>
                  </a:lnTo>
                  <a:lnTo>
                    <a:pt x="130" y="79"/>
                  </a:lnTo>
                  <a:lnTo>
                    <a:pt x="130" y="79"/>
                  </a:lnTo>
                  <a:lnTo>
                    <a:pt x="133" y="81"/>
                  </a:lnTo>
                  <a:lnTo>
                    <a:pt x="133" y="84"/>
                  </a:lnTo>
                  <a:lnTo>
                    <a:pt x="133" y="84"/>
                  </a:lnTo>
                  <a:lnTo>
                    <a:pt x="138" y="89"/>
                  </a:lnTo>
                  <a:lnTo>
                    <a:pt x="140" y="89"/>
                  </a:lnTo>
                  <a:lnTo>
                    <a:pt x="143" y="91"/>
                  </a:lnTo>
                  <a:lnTo>
                    <a:pt x="143" y="94"/>
                  </a:lnTo>
                  <a:lnTo>
                    <a:pt x="146" y="94"/>
                  </a:lnTo>
                  <a:lnTo>
                    <a:pt x="148" y="96"/>
                  </a:lnTo>
                  <a:lnTo>
                    <a:pt x="151" y="96"/>
                  </a:lnTo>
                  <a:lnTo>
                    <a:pt x="153" y="96"/>
                  </a:lnTo>
                  <a:lnTo>
                    <a:pt x="153" y="96"/>
                  </a:lnTo>
                  <a:lnTo>
                    <a:pt x="153" y="94"/>
                  </a:lnTo>
                  <a:lnTo>
                    <a:pt x="153" y="94"/>
                  </a:lnTo>
                  <a:lnTo>
                    <a:pt x="153" y="91"/>
                  </a:lnTo>
                  <a:lnTo>
                    <a:pt x="153" y="91"/>
                  </a:lnTo>
                  <a:lnTo>
                    <a:pt x="156" y="91"/>
                  </a:lnTo>
                  <a:lnTo>
                    <a:pt x="158" y="91"/>
                  </a:lnTo>
                  <a:lnTo>
                    <a:pt x="158" y="91"/>
                  </a:lnTo>
                  <a:lnTo>
                    <a:pt x="158" y="94"/>
                  </a:lnTo>
                  <a:lnTo>
                    <a:pt x="158" y="96"/>
                  </a:lnTo>
                  <a:lnTo>
                    <a:pt x="158" y="102"/>
                  </a:lnTo>
                  <a:lnTo>
                    <a:pt x="158" y="107"/>
                  </a:lnTo>
                  <a:lnTo>
                    <a:pt x="158" y="109"/>
                  </a:lnTo>
                  <a:lnTo>
                    <a:pt x="158" y="114"/>
                  </a:lnTo>
                  <a:lnTo>
                    <a:pt x="158" y="117"/>
                  </a:lnTo>
                  <a:lnTo>
                    <a:pt x="158" y="119"/>
                  </a:lnTo>
                  <a:lnTo>
                    <a:pt x="158" y="119"/>
                  </a:lnTo>
                  <a:lnTo>
                    <a:pt x="156" y="119"/>
                  </a:lnTo>
                  <a:lnTo>
                    <a:pt x="156" y="119"/>
                  </a:lnTo>
                  <a:lnTo>
                    <a:pt x="156" y="117"/>
                  </a:lnTo>
                  <a:lnTo>
                    <a:pt x="156" y="117"/>
                  </a:lnTo>
                  <a:lnTo>
                    <a:pt x="153" y="114"/>
                  </a:lnTo>
                  <a:lnTo>
                    <a:pt x="153" y="114"/>
                  </a:lnTo>
                  <a:lnTo>
                    <a:pt x="151" y="114"/>
                  </a:lnTo>
                  <a:lnTo>
                    <a:pt x="151" y="117"/>
                  </a:lnTo>
                  <a:lnTo>
                    <a:pt x="148" y="117"/>
                  </a:lnTo>
                  <a:lnTo>
                    <a:pt x="146" y="119"/>
                  </a:lnTo>
                  <a:lnTo>
                    <a:pt x="143" y="119"/>
                  </a:lnTo>
                  <a:lnTo>
                    <a:pt x="143" y="117"/>
                  </a:lnTo>
                  <a:lnTo>
                    <a:pt x="140" y="117"/>
                  </a:lnTo>
                  <a:lnTo>
                    <a:pt x="140" y="114"/>
                  </a:lnTo>
                  <a:lnTo>
                    <a:pt x="140" y="112"/>
                  </a:lnTo>
                  <a:lnTo>
                    <a:pt x="138" y="109"/>
                  </a:lnTo>
                  <a:lnTo>
                    <a:pt x="138" y="107"/>
                  </a:lnTo>
                  <a:lnTo>
                    <a:pt x="135" y="107"/>
                  </a:lnTo>
                  <a:lnTo>
                    <a:pt x="135" y="107"/>
                  </a:lnTo>
                  <a:lnTo>
                    <a:pt x="133" y="107"/>
                  </a:lnTo>
                  <a:lnTo>
                    <a:pt x="133" y="104"/>
                  </a:lnTo>
                  <a:lnTo>
                    <a:pt x="133" y="102"/>
                  </a:lnTo>
                  <a:lnTo>
                    <a:pt x="130" y="99"/>
                  </a:lnTo>
                  <a:lnTo>
                    <a:pt x="130" y="99"/>
                  </a:lnTo>
                  <a:lnTo>
                    <a:pt x="130" y="96"/>
                  </a:lnTo>
                  <a:lnTo>
                    <a:pt x="128" y="96"/>
                  </a:lnTo>
                  <a:lnTo>
                    <a:pt x="123" y="94"/>
                  </a:lnTo>
                  <a:lnTo>
                    <a:pt x="120" y="94"/>
                  </a:lnTo>
                  <a:lnTo>
                    <a:pt x="118" y="94"/>
                  </a:lnTo>
                  <a:lnTo>
                    <a:pt x="115" y="94"/>
                  </a:lnTo>
                  <a:lnTo>
                    <a:pt x="115" y="91"/>
                  </a:lnTo>
                  <a:lnTo>
                    <a:pt x="112" y="91"/>
                  </a:lnTo>
                  <a:lnTo>
                    <a:pt x="112" y="89"/>
                  </a:lnTo>
                  <a:lnTo>
                    <a:pt x="110" y="86"/>
                  </a:lnTo>
                  <a:lnTo>
                    <a:pt x="107" y="81"/>
                  </a:lnTo>
                  <a:lnTo>
                    <a:pt x="107" y="79"/>
                  </a:lnTo>
                  <a:lnTo>
                    <a:pt x="105" y="76"/>
                  </a:lnTo>
                  <a:lnTo>
                    <a:pt x="105" y="79"/>
                  </a:lnTo>
                  <a:lnTo>
                    <a:pt x="105" y="79"/>
                  </a:lnTo>
                  <a:lnTo>
                    <a:pt x="102" y="79"/>
                  </a:lnTo>
                  <a:lnTo>
                    <a:pt x="102" y="84"/>
                  </a:lnTo>
                  <a:lnTo>
                    <a:pt x="102" y="84"/>
                  </a:lnTo>
                  <a:lnTo>
                    <a:pt x="102" y="84"/>
                  </a:lnTo>
                  <a:lnTo>
                    <a:pt x="100" y="86"/>
                  </a:lnTo>
                  <a:lnTo>
                    <a:pt x="100" y="86"/>
                  </a:lnTo>
                  <a:lnTo>
                    <a:pt x="97" y="86"/>
                  </a:lnTo>
                  <a:lnTo>
                    <a:pt x="95" y="86"/>
                  </a:lnTo>
                  <a:lnTo>
                    <a:pt x="92" y="86"/>
                  </a:lnTo>
                  <a:lnTo>
                    <a:pt x="89" y="86"/>
                  </a:lnTo>
                  <a:lnTo>
                    <a:pt x="84" y="84"/>
                  </a:lnTo>
                  <a:lnTo>
                    <a:pt x="84" y="84"/>
                  </a:lnTo>
                  <a:lnTo>
                    <a:pt x="82" y="84"/>
                  </a:lnTo>
                  <a:lnTo>
                    <a:pt x="79" y="84"/>
                  </a:lnTo>
                  <a:lnTo>
                    <a:pt x="74" y="81"/>
                  </a:lnTo>
                  <a:lnTo>
                    <a:pt x="72" y="81"/>
                  </a:lnTo>
                  <a:lnTo>
                    <a:pt x="72" y="79"/>
                  </a:lnTo>
                  <a:lnTo>
                    <a:pt x="72" y="79"/>
                  </a:lnTo>
                  <a:lnTo>
                    <a:pt x="69" y="79"/>
                  </a:lnTo>
                  <a:lnTo>
                    <a:pt x="69" y="76"/>
                  </a:lnTo>
                  <a:lnTo>
                    <a:pt x="69" y="74"/>
                  </a:lnTo>
                  <a:lnTo>
                    <a:pt x="69" y="71"/>
                  </a:lnTo>
                  <a:lnTo>
                    <a:pt x="69" y="68"/>
                  </a:lnTo>
                  <a:lnTo>
                    <a:pt x="69" y="68"/>
                  </a:lnTo>
                  <a:lnTo>
                    <a:pt x="67" y="68"/>
                  </a:lnTo>
                  <a:lnTo>
                    <a:pt x="67" y="68"/>
                  </a:lnTo>
                  <a:lnTo>
                    <a:pt x="64" y="71"/>
                  </a:lnTo>
                  <a:lnTo>
                    <a:pt x="61" y="71"/>
                  </a:lnTo>
                  <a:lnTo>
                    <a:pt x="59" y="71"/>
                  </a:lnTo>
                  <a:lnTo>
                    <a:pt x="56" y="71"/>
                  </a:lnTo>
                  <a:lnTo>
                    <a:pt x="56" y="71"/>
                  </a:lnTo>
                  <a:lnTo>
                    <a:pt x="54" y="74"/>
                  </a:lnTo>
                  <a:lnTo>
                    <a:pt x="51" y="74"/>
                  </a:lnTo>
                  <a:lnTo>
                    <a:pt x="51" y="74"/>
                  </a:lnTo>
                  <a:lnTo>
                    <a:pt x="49" y="74"/>
                  </a:lnTo>
                  <a:lnTo>
                    <a:pt x="51" y="71"/>
                  </a:lnTo>
                  <a:lnTo>
                    <a:pt x="51" y="71"/>
                  </a:lnTo>
                  <a:lnTo>
                    <a:pt x="51" y="66"/>
                  </a:lnTo>
                  <a:lnTo>
                    <a:pt x="49" y="66"/>
                  </a:lnTo>
                  <a:lnTo>
                    <a:pt x="46" y="66"/>
                  </a:lnTo>
                  <a:lnTo>
                    <a:pt x="46" y="63"/>
                  </a:lnTo>
                  <a:lnTo>
                    <a:pt x="46" y="63"/>
                  </a:lnTo>
                  <a:lnTo>
                    <a:pt x="44" y="61"/>
                  </a:lnTo>
                  <a:lnTo>
                    <a:pt x="44" y="61"/>
                  </a:lnTo>
                  <a:lnTo>
                    <a:pt x="41" y="61"/>
                  </a:lnTo>
                  <a:lnTo>
                    <a:pt x="44" y="63"/>
                  </a:lnTo>
                  <a:lnTo>
                    <a:pt x="44" y="68"/>
                  </a:lnTo>
                  <a:lnTo>
                    <a:pt x="44" y="71"/>
                  </a:lnTo>
                  <a:lnTo>
                    <a:pt x="44" y="74"/>
                  </a:lnTo>
                  <a:lnTo>
                    <a:pt x="44" y="74"/>
                  </a:lnTo>
                  <a:lnTo>
                    <a:pt x="44" y="74"/>
                  </a:lnTo>
                  <a:lnTo>
                    <a:pt x="44" y="76"/>
                  </a:lnTo>
                  <a:lnTo>
                    <a:pt x="44" y="76"/>
                  </a:lnTo>
                  <a:lnTo>
                    <a:pt x="41" y="79"/>
                  </a:lnTo>
                  <a:lnTo>
                    <a:pt x="44" y="81"/>
                  </a:lnTo>
                  <a:lnTo>
                    <a:pt x="41" y="84"/>
                  </a:lnTo>
                  <a:lnTo>
                    <a:pt x="41" y="86"/>
                  </a:lnTo>
                  <a:lnTo>
                    <a:pt x="41" y="89"/>
                  </a:lnTo>
                  <a:lnTo>
                    <a:pt x="44" y="94"/>
                  </a:lnTo>
                  <a:lnTo>
                    <a:pt x="44" y="96"/>
                  </a:lnTo>
                  <a:lnTo>
                    <a:pt x="41" y="99"/>
                  </a:lnTo>
                  <a:lnTo>
                    <a:pt x="41" y="102"/>
                  </a:lnTo>
                  <a:lnTo>
                    <a:pt x="41" y="104"/>
                  </a:lnTo>
                  <a:lnTo>
                    <a:pt x="41" y="104"/>
                  </a:lnTo>
                  <a:lnTo>
                    <a:pt x="41" y="109"/>
                  </a:lnTo>
                  <a:lnTo>
                    <a:pt x="41" y="109"/>
                  </a:lnTo>
                  <a:lnTo>
                    <a:pt x="41" y="109"/>
                  </a:lnTo>
                  <a:lnTo>
                    <a:pt x="39" y="109"/>
                  </a:lnTo>
                  <a:lnTo>
                    <a:pt x="3" y="109"/>
                  </a:lnTo>
                  <a:lnTo>
                    <a:pt x="3" y="112"/>
                  </a:lnTo>
                  <a:lnTo>
                    <a:pt x="3" y="119"/>
                  </a:lnTo>
                  <a:lnTo>
                    <a:pt x="3" y="127"/>
                  </a:lnTo>
                  <a:lnTo>
                    <a:pt x="3" y="135"/>
                  </a:lnTo>
                  <a:lnTo>
                    <a:pt x="3" y="142"/>
                  </a:lnTo>
                  <a:lnTo>
                    <a:pt x="0" y="150"/>
                  </a:lnTo>
                  <a:lnTo>
                    <a:pt x="0" y="158"/>
                  </a:lnTo>
                  <a:lnTo>
                    <a:pt x="0" y="165"/>
                  </a:lnTo>
                  <a:lnTo>
                    <a:pt x="0" y="170"/>
                  </a:lnTo>
                  <a:lnTo>
                    <a:pt x="0" y="175"/>
                  </a:lnTo>
                  <a:lnTo>
                    <a:pt x="3" y="183"/>
                  </a:lnTo>
                  <a:lnTo>
                    <a:pt x="5" y="191"/>
                  </a:lnTo>
                  <a:lnTo>
                    <a:pt x="5" y="191"/>
                  </a:lnTo>
                  <a:lnTo>
                    <a:pt x="8" y="193"/>
                  </a:lnTo>
                  <a:lnTo>
                    <a:pt x="10" y="196"/>
                  </a:lnTo>
                  <a:lnTo>
                    <a:pt x="13" y="198"/>
                  </a:lnTo>
                  <a:lnTo>
                    <a:pt x="16" y="201"/>
                  </a:lnTo>
                  <a:lnTo>
                    <a:pt x="21" y="206"/>
                  </a:lnTo>
                  <a:lnTo>
                    <a:pt x="26" y="211"/>
                  </a:lnTo>
                  <a:lnTo>
                    <a:pt x="28" y="216"/>
                  </a:lnTo>
                  <a:lnTo>
                    <a:pt x="33" y="213"/>
                  </a:lnTo>
                  <a:lnTo>
                    <a:pt x="36" y="213"/>
                  </a:lnTo>
                  <a:lnTo>
                    <a:pt x="41" y="211"/>
                  </a:lnTo>
                  <a:lnTo>
                    <a:pt x="46" y="211"/>
                  </a:lnTo>
                  <a:lnTo>
                    <a:pt x="46" y="211"/>
                  </a:lnTo>
                  <a:lnTo>
                    <a:pt x="56" y="211"/>
                  </a:lnTo>
                  <a:lnTo>
                    <a:pt x="59" y="213"/>
                  </a:lnTo>
                  <a:lnTo>
                    <a:pt x="61" y="213"/>
                  </a:lnTo>
                  <a:lnTo>
                    <a:pt x="61" y="213"/>
                  </a:lnTo>
                  <a:lnTo>
                    <a:pt x="67" y="219"/>
                  </a:lnTo>
                  <a:lnTo>
                    <a:pt x="69" y="219"/>
                  </a:lnTo>
                  <a:lnTo>
                    <a:pt x="72" y="219"/>
                  </a:lnTo>
                  <a:lnTo>
                    <a:pt x="74" y="219"/>
                  </a:lnTo>
                  <a:lnTo>
                    <a:pt x="74" y="219"/>
                  </a:lnTo>
                  <a:lnTo>
                    <a:pt x="77" y="221"/>
                  </a:lnTo>
                  <a:lnTo>
                    <a:pt x="79" y="221"/>
                  </a:lnTo>
                  <a:lnTo>
                    <a:pt x="82" y="221"/>
                  </a:lnTo>
                  <a:lnTo>
                    <a:pt x="87" y="221"/>
                  </a:lnTo>
                  <a:lnTo>
                    <a:pt x="92" y="224"/>
                  </a:lnTo>
                  <a:lnTo>
                    <a:pt x="95" y="224"/>
                  </a:lnTo>
                  <a:lnTo>
                    <a:pt x="100" y="221"/>
                  </a:lnTo>
                  <a:lnTo>
                    <a:pt x="105" y="216"/>
                  </a:lnTo>
                  <a:lnTo>
                    <a:pt x="110" y="211"/>
                  </a:lnTo>
                  <a:lnTo>
                    <a:pt x="112" y="206"/>
                  </a:lnTo>
                  <a:lnTo>
                    <a:pt x="115" y="201"/>
                  </a:lnTo>
                  <a:lnTo>
                    <a:pt x="120" y="198"/>
                  </a:lnTo>
                  <a:lnTo>
                    <a:pt x="123" y="196"/>
                  </a:lnTo>
                  <a:lnTo>
                    <a:pt x="128" y="193"/>
                  </a:lnTo>
                  <a:lnTo>
                    <a:pt x="135" y="191"/>
                  </a:lnTo>
                  <a:lnTo>
                    <a:pt x="135" y="191"/>
                  </a:lnTo>
                  <a:lnTo>
                    <a:pt x="138" y="188"/>
                  </a:lnTo>
                  <a:lnTo>
                    <a:pt x="138" y="186"/>
                  </a:lnTo>
                  <a:lnTo>
                    <a:pt x="138" y="180"/>
                  </a:lnTo>
                  <a:lnTo>
                    <a:pt x="138" y="178"/>
                  </a:lnTo>
                  <a:lnTo>
                    <a:pt x="138" y="178"/>
                  </a:lnTo>
                  <a:lnTo>
                    <a:pt x="140" y="175"/>
                  </a:lnTo>
                  <a:lnTo>
                    <a:pt x="143" y="175"/>
                  </a:lnTo>
                  <a:lnTo>
                    <a:pt x="146" y="173"/>
                  </a:lnTo>
                  <a:lnTo>
                    <a:pt x="151" y="170"/>
                  </a:lnTo>
                  <a:lnTo>
                    <a:pt x="156" y="170"/>
                  </a:lnTo>
                  <a:lnTo>
                    <a:pt x="161" y="170"/>
                  </a:lnTo>
                  <a:lnTo>
                    <a:pt x="166" y="170"/>
                  </a:lnTo>
                  <a:lnTo>
                    <a:pt x="168" y="170"/>
                  </a:lnTo>
                  <a:lnTo>
                    <a:pt x="168" y="165"/>
                  </a:lnTo>
                  <a:lnTo>
                    <a:pt x="168" y="163"/>
                  </a:lnTo>
                  <a:lnTo>
                    <a:pt x="166" y="163"/>
                  </a:lnTo>
                  <a:lnTo>
                    <a:pt x="166" y="160"/>
                  </a:lnTo>
                  <a:lnTo>
                    <a:pt x="166" y="158"/>
                  </a:lnTo>
                  <a:lnTo>
                    <a:pt x="166" y="155"/>
                  </a:lnTo>
                  <a:lnTo>
                    <a:pt x="166" y="155"/>
                  </a:lnTo>
                  <a:lnTo>
                    <a:pt x="171" y="152"/>
                  </a:lnTo>
                  <a:lnTo>
                    <a:pt x="171" y="152"/>
                  </a:lnTo>
                  <a:lnTo>
                    <a:pt x="174" y="150"/>
                  </a:lnTo>
                  <a:lnTo>
                    <a:pt x="179" y="150"/>
                  </a:lnTo>
                  <a:lnTo>
                    <a:pt x="184" y="147"/>
                  </a:lnTo>
                  <a:lnTo>
                    <a:pt x="189" y="147"/>
                  </a:lnTo>
                  <a:lnTo>
                    <a:pt x="191" y="145"/>
                  </a:lnTo>
                  <a:lnTo>
                    <a:pt x="194" y="145"/>
                  </a:lnTo>
                  <a:lnTo>
                    <a:pt x="197" y="142"/>
                  </a:lnTo>
                  <a:lnTo>
                    <a:pt x="202" y="142"/>
                  </a:lnTo>
                  <a:lnTo>
                    <a:pt x="202" y="140"/>
                  </a:lnTo>
                  <a:lnTo>
                    <a:pt x="204" y="140"/>
                  </a:lnTo>
                  <a:lnTo>
                    <a:pt x="207" y="140"/>
                  </a:lnTo>
                  <a:lnTo>
                    <a:pt x="212" y="137"/>
                  </a:lnTo>
                  <a:lnTo>
                    <a:pt x="219" y="135"/>
                  </a:lnTo>
                  <a:lnTo>
                    <a:pt x="222" y="135"/>
                  </a:lnTo>
                  <a:lnTo>
                    <a:pt x="225" y="132"/>
                  </a:lnTo>
                  <a:lnTo>
                    <a:pt x="225" y="130"/>
                  </a:lnTo>
                  <a:lnTo>
                    <a:pt x="225" y="132"/>
                  </a:lnTo>
                  <a:lnTo>
                    <a:pt x="222" y="132"/>
                  </a:lnTo>
                  <a:lnTo>
                    <a:pt x="222" y="132"/>
                  </a:lnTo>
                  <a:lnTo>
                    <a:pt x="222" y="132"/>
                  </a:lnTo>
                  <a:lnTo>
                    <a:pt x="222" y="132"/>
                  </a:lnTo>
                  <a:lnTo>
                    <a:pt x="222" y="132"/>
                  </a:lnTo>
                  <a:lnTo>
                    <a:pt x="219" y="130"/>
                  </a:lnTo>
                  <a:lnTo>
                    <a:pt x="219" y="127"/>
                  </a:lnTo>
                  <a:lnTo>
                    <a:pt x="217" y="127"/>
                  </a:lnTo>
                  <a:lnTo>
                    <a:pt x="217" y="127"/>
                  </a:lnTo>
                  <a:lnTo>
                    <a:pt x="217" y="127"/>
                  </a:lnTo>
                  <a:lnTo>
                    <a:pt x="217" y="124"/>
                  </a:lnTo>
                  <a:lnTo>
                    <a:pt x="217" y="124"/>
                  </a:lnTo>
                  <a:lnTo>
                    <a:pt x="217" y="124"/>
                  </a:lnTo>
                  <a:lnTo>
                    <a:pt x="214" y="124"/>
                  </a:lnTo>
                  <a:lnTo>
                    <a:pt x="214" y="122"/>
                  </a:lnTo>
                  <a:lnTo>
                    <a:pt x="217" y="122"/>
                  </a:lnTo>
                  <a:lnTo>
                    <a:pt x="217" y="122"/>
                  </a:lnTo>
                  <a:lnTo>
                    <a:pt x="219" y="119"/>
                  </a:lnTo>
                  <a:lnTo>
                    <a:pt x="219" y="117"/>
                  </a:lnTo>
                  <a:lnTo>
                    <a:pt x="219" y="114"/>
                  </a:lnTo>
                  <a:lnTo>
                    <a:pt x="222" y="114"/>
                  </a:lnTo>
                  <a:lnTo>
                    <a:pt x="222" y="114"/>
                  </a:lnTo>
                  <a:lnTo>
                    <a:pt x="222" y="112"/>
                  </a:lnTo>
                  <a:lnTo>
                    <a:pt x="222" y="109"/>
                  </a:lnTo>
                  <a:lnTo>
                    <a:pt x="222" y="107"/>
                  </a:lnTo>
                  <a:lnTo>
                    <a:pt x="222" y="107"/>
                  </a:lnTo>
                  <a:lnTo>
                    <a:pt x="222" y="104"/>
                  </a:lnTo>
                  <a:lnTo>
                    <a:pt x="222" y="102"/>
                  </a:lnTo>
                  <a:lnTo>
                    <a:pt x="222" y="102"/>
                  </a:lnTo>
                  <a:lnTo>
                    <a:pt x="227" y="99"/>
                  </a:lnTo>
                  <a:lnTo>
                    <a:pt x="230" y="99"/>
                  </a:lnTo>
                  <a:lnTo>
                    <a:pt x="230" y="96"/>
                  </a:lnTo>
                  <a:lnTo>
                    <a:pt x="232" y="96"/>
                  </a:lnTo>
                  <a:lnTo>
                    <a:pt x="232" y="94"/>
                  </a:lnTo>
                  <a:lnTo>
                    <a:pt x="232" y="94"/>
                  </a:lnTo>
                  <a:lnTo>
                    <a:pt x="230" y="94"/>
                  </a:lnTo>
                  <a:lnTo>
                    <a:pt x="230" y="94"/>
                  </a:lnTo>
                  <a:lnTo>
                    <a:pt x="227" y="89"/>
                  </a:lnTo>
                  <a:lnTo>
                    <a:pt x="230" y="84"/>
                  </a:lnTo>
                  <a:lnTo>
                    <a:pt x="230" y="81"/>
                  </a:lnTo>
                  <a:lnTo>
                    <a:pt x="230" y="79"/>
                  </a:lnTo>
                  <a:lnTo>
                    <a:pt x="227" y="79"/>
                  </a:lnTo>
                  <a:lnTo>
                    <a:pt x="227" y="76"/>
                  </a:lnTo>
                  <a:lnTo>
                    <a:pt x="227" y="76"/>
                  </a:lnTo>
                  <a:lnTo>
                    <a:pt x="227" y="74"/>
                  </a:lnTo>
                  <a:lnTo>
                    <a:pt x="227" y="74"/>
                  </a:lnTo>
                  <a:lnTo>
                    <a:pt x="230" y="68"/>
                  </a:lnTo>
                  <a:lnTo>
                    <a:pt x="230" y="68"/>
                  </a:lnTo>
                  <a:lnTo>
                    <a:pt x="230" y="66"/>
                  </a:lnTo>
                  <a:lnTo>
                    <a:pt x="230" y="63"/>
                  </a:lnTo>
                  <a:lnTo>
                    <a:pt x="227" y="61"/>
                  </a:lnTo>
                  <a:lnTo>
                    <a:pt x="227" y="61"/>
                  </a:lnTo>
                  <a:lnTo>
                    <a:pt x="230" y="61"/>
                  </a:lnTo>
                  <a:lnTo>
                    <a:pt x="230" y="61"/>
                  </a:lnTo>
                  <a:close/>
                </a:path>
              </a:pathLst>
            </a:custGeom>
            <a:solidFill>
              <a:srgbClr val="FFC000"/>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25" name="Freeform 1643">
              <a:extLst>
                <a:ext uri="{FF2B5EF4-FFF2-40B4-BE49-F238E27FC236}">
                  <a16:creationId xmlns:a16="http://schemas.microsoft.com/office/drawing/2014/main" id="{11F07AE3-230B-CD47-9528-B138069FE43C}"/>
                </a:ext>
              </a:extLst>
            </p:cNvPr>
            <p:cNvSpPr>
              <a:spLocks noEditPoints="1"/>
            </p:cNvSpPr>
            <p:nvPr/>
          </p:nvSpPr>
          <p:spPr bwMode="auto">
            <a:xfrm>
              <a:off x="6997340" y="3092856"/>
              <a:ext cx="395848" cy="250268"/>
            </a:xfrm>
            <a:custGeom>
              <a:avLst/>
              <a:gdLst>
                <a:gd name="T0" fmla="*/ 226 w 242"/>
                <a:gd name="T1" fmla="*/ 145 h 153"/>
                <a:gd name="T2" fmla="*/ 219 w 242"/>
                <a:gd name="T3" fmla="*/ 145 h 153"/>
                <a:gd name="T4" fmla="*/ 221 w 242"/>
                <a:gd name="T5" fmla="*/ 153 h 153"/>
                <a:gd name="T6" fmla="*/ 239 w 242"/>
                <a:gd name="T7" fmla="*/ 151 h 153"/>
                <a:gd name="T8" fmla="*/ 5 w 242"/>
                <a:gd name="T9" fmla="*/ 120 h 153"/>
                <a:gd name="T10" fmla="*/ 5 w 242"/>
                <a:gd name="T11" fmla="*/ 120 h 153"/>
                <a:gd name="T12" fmla="*/ 5 w 242"/>
                <a:gd name="T13" fmla="*/ 115 h 153"/>
                <a:gd name="T14" fmla="*/ 5 w 242"/>
                <a:gd name="T15" fmla="*/ 115 h 153"/>
                <a:gd name="T16" fmla="*/ 0 w 242"/>
                <a:gd name="T17" fmla="*/ 84 h 153"/>
                <a:gd name="T18" fmla="*/ 0 w 242"/>
                <a:gd name="T19" fmla="*/ 82 h 153"/>
                <a:gd name="T20" fmla="*/ 201 w 242"/>
                <a:gd name="T21" fmla="*/ 41 h 153"/>
                <a:gd name="T22" fmla="*/ 196 w 242"/>
                <a:gd name="T23" fmla="*/ 34 h 153"/>
                <a:gd name="T24" fmla="*/ 193 w 242"/>
                <a:gd name="T25" fmla="*/ 23 h 153"/>
                <a:gd name="T26" fmla="*/ 188 w 242"/>
                <a:gd name="T27" fmla="*/ 16 h 153"/>
                <a:gd name="T28" fmla="*/ 186 w 242"/>
                <a:gd name="T29" fmla="*/ 6 h 153"/>
                <a:gd name="T30" fmla="*/ 173 w 242"/>
                <a:gd name="T31" fmla="*/ 3 h 153"/>
                <a:gd name="T32" fmla="*/ 150 w 242"/>
                <a:gd name="T33" fmla="*/ 6 h 153"/>
                <a:gd name="T34" fmla="*/ 127 w 242"/>
                <a:gd name="T35" fmla="*/ 11 h 153"/>
                <a:gd name="T36" fmla="*/ 112 w 242"/>
                <a:gd name="T37" fmla="*/ 18 h 153"/>
                <a:gd name="T38" fmla="*/ 102 w 242"/>
                <a:gd name="T39" fmla="*/ 31 h 153"/>
                <a:gd name="T40" fmla="*/ 94 w 242"/>
                <a:gd name="T41" fmla="*/ 44 h 153"/>
                <a:gd name="T42" fmla="*/ 86 w 242"/>
                <a:gd name="T43" fmla="*/ 49 h 153"/>
                <a:gd name="T44" fmla="*/ 79 w 242"/>
                <a:gd name="T45" fmla="*/ 41 h 153"/>
                <a:gd name="T46" fmla="*/ 63 w 242"/>
                <a:gd name="T47" fmla="*/ 41 h 153"/>
                <a:gd name="T48" fmla="*/ 51 w 242"/>
                <a:gd name="T49" fmla="*/ 36 h 153"/>
                <a:gd name="T50" fmla="*/ 38 w 242"/>
                <a:gd name="T51" fmla="*/ 39 h 153"/>
                <a:gd name="T52" fmla="*/ 28 w 242"/>
                <a:gd name="T53" fmla="*/ 39 h 153"/>
                <a:gd name="T54" fmla="*/ 23 w 242"/>
                <a:gd name="T55" fmla="*/ 39 h 153"/>
                <a:gd name="T56" fmla="*/ 17 w 242"/>
                <a:gd name="T57" fmla="*/ 36 h 153"/>
                <a:gd name="T58" fmla="*/ 12 w 242"/>
                <a:gd name="T59" fmla="*/ 36 h 153"/>
                <a:gd name="T60" fmla="*/ 12 w 242"/>
                <a:gd name="T61" fmla="*/ 41 h 153"/>
                <a:gd name="T62" fmla="*/ 10 w 242"/>
                <a:gd name="T63" fmla="*/ 49 h 153"/>
                <a:gd name="T64" fmla="*/ 10 w 242"/>
                <a:gd name="T65" fmla="*/ 54 h 153"/>
                <a:gd name="T66" fmla="*/ 7 w 242"/>
                <a:gd name="T67" fmla="*/ 59 h 153"/>
                <a:gd name="T68" fmla="*/ 5 w 242"/>
                <a:gd name="T69" fmla="*/ 84 h 153"/>
                <a:gd name="T70" fmla="*/ 2 w 242"/>
                <a:gd name="T71" fmla="*/ 84 h 153"/>
                <a:gd name="T72" fmla="*/ 7 w 242"/>
                <a:gd name="T73" fmla="*/ 95 h 153"/>
                <a:gd name="T74" fmla="*/ 7 w 242"/>
                <a:gd name="T75" fmla="*/ 97 h 153"/>
                <a:gd name="T76" fmla="*/ 10 w 242"/>
                <a:gd name="T77" fmla="*/ 107 h 153"/>
                <a:gd name="T78" fmla="*/ 15 w 242"/>
                <a:gd name="T79" fmla="*/ 123 h 153"/>
                <a:gd name="T80" fmla="*/ 20 w 242"/>
                <a:gd name="T81" fmla="*/ 145 h 153"/>
                <a:gd name="T82" fmla="*/ 30 w 242"/>
                <a:gd name="T83" fmla="*/ 145 h 153"/>
                <a:gd name="T84" fmla="*/ 43 w 242"/>
                <a:gd name="T85" fmla="*/ 143 h 153"/>
                <a:gd name="T86" fmla="*/ 53 w 242"/>
                <a:gd name="T87" fmla="*/ 140 h 153"/>
                <a:gd name="T88" fmla="*/ 63 w 242"/>
                <a:gd name="T89" fmla="*/ 130 h 153"/>
                <a:gd name="T90" fmla="*/ 84 w 242"/>
                <a:gd name="T91" fmla="*/ 128 h 153"/>
                <a:gd name="T92" fmla="*/ 99 w 242"/>
                <a:gd name="T93" fmla="*/ 123 h 153"/>
                <a:gd name="T94" fmla="*/ 109 w 242"/>
                <a:gd name="T95" fmla="*/ 115 h 153"/>
                <a:gd name="T96" fmla="*/ 122 w 242"/>
                <a:gd name="T97" fmla="*/ 115 h 153"/>
                <a:gd name="T98" fmla="*/ 130 w 242"/>
                <a:gd name="T99" fmla="*/ 105 h 153"/>
                <a:gd name="T100" fmla="*/ 147 w 242"/>
                <a:gd name="T101" fmla="*/ 97 h 153"/>
                <a:gd name="T102" fmla="*/ 168 w 242"/>
                <a:gd name="T103" fmla="*/ 89 h 153"/>
                <a:gd name="T104" fmla="*/ 183 w 242"/>
                <a:gd name="T105" fmla="*/ 82 h 153"/>
                <a:gd name="T106" fmla="*/ 191 w 242"/>
                <a:gd name="T107" fmla="*/ 77 h 153"/>
                <a:gd name="T108" fmla="*/ 193 w 242"/>
                <a:gd name="T109" fmla="*/ 64 h 153"/>
                <a:gd name="T110" fmla="*/ 206 w 242"/>
                <a:gd name="T111" fmla="*/ 5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42" h="153">
                  <a:moveTo>
                    <a:pt x="234" y="145"/>
                  </a:moveTo>
                  <a:lnTo>
                    <a:pt x="229" y="145"/>
                  </a:lnTo>
                  <a:lnTo>
                    <a:pt x="226" y="145"/>
                  </a:lnTo>
                  <a:lnTo>
                    <a:pt x="226" y="145"/>
                  </a:lnTo>
                  <a:lnTo>
                    <a:pt x="224" y="145"/>
                  </a:lnTo>
                  <a:lnTo>
                    <a:pt x="221" y="143"/>
                  </a:lnTo>
                  <a:lnTo>
                    <a:pt x="219" y="145"/>
                  </a:lnTo>
                  <a:lnTo>
                    <a:pt x="219" y="145"/>
                  </a:lnTo>
                  <a:lnTo>
                    <a:pt x="219" y="148"/>
                  </a:lnTo>
                  <a:lnTo>
                    <a:pt x="216" y="148"/>
                  </a:lnTo>
                  <a:lnTo>
                    <a:pt x="221" y="151"/>
                  </a:lnTo>
                  <a:lnTo>
                    <a:pt x="221" y="153"/>
                  </a:lnTo>
                  <a:lnTo>
                    <a:pt x="224" y="153"/>
                  </a:lnTo>
                  <a:lnTo>
                    <a:pt x="234" y="153"/>
                  </a:lnTo>
                  <a:lnTo>
                    <a:pt x="237" y="151"/>
                  </a:lnTo>
                  <a:lnTo>
                    <a:pt x="239" y="151"/>
                  </a:lnTo>
                  <a:lnTo>
                    <a:pt x="239" y="148"/>
                  </a:lnTo>
                  <a:lnTo>
                    <a:pt x="242" y="148"/>
                  </a:lnTo>
                  <a:lnTo>
                    <a:pt x="234" y="145"/>
                  </a:lnTo>
                  <a:close/>
                  <a:moveTo>
                    <a:pt x="5" y="120"/>
                  </a:moveTo>
                  <a:lnTo>
                    <a:pt x="5" y="123"/>
                  </a:lnTo>
                  <a:lnTo>
                    <a:pt x="5" y="123"/>
                  </a:lnTo>
                  <a:lnTo>
                    <a:pt x="5" y="120"/>
                  </a:lnTo>
                  <a:lnTo>
                    <a:pt x="5" y="120"/>
                  </a:lnTo>
                  <a:lnTo>
                    <a:pt x="5" y="120"/>
                  </a:lnTo>
                  <a:close/>
                  <a:moveTo>
                    <a:pt x="5" y="115"/>
                  </a:moveTo>
                  <a:lnTo>
                    <a:pt x="5" y="115"/>
                  </a:lnTo>
                  <a:lnTo>
                    <a:pt x="5" y="115"/>
                  </a:lnTo>
                  <a:lnTo>
                    <a:pt x="5" y="112"/>
                  </a:lnTo>
                  <a:lnTo>
                    <a:pt x="5" y="115"/>
                  </a:lnTo>
                  <a:lnTo>
                    <a:pt x="5" y="115"/>
                  </a:lnTo>
                  <a:lnTo>
                    <a:pt x="5" y="115"/>
                  </a:lnTo>
                  <a:close/>
                  <a:moveTo>
                    <a:pt x="0" y="82"/>
                  </a:moveTo>
                  <a:lnTo>
                    <a:pt x="0" y="84"/>
                  </a:lnTo>
                  <a:lnTo>
                    <a:pt x="0" y="87"/>
                  </a:lnTo>
                  <a:lnTo>
                    <a:pt x="0" y="84"/>
                  </a:lnTo>
                  <a:lnTo>
                    <a:pt x="0" y="84"/>
                  </a:lnTo>
                  <a:lnTo>
                    <a:pt x="2" y="84"/>
                  </a:lnTo>
                  <a:lnTo>
                    <a:pt x="0" y="82"/>
                  </a:lnTo>
                  <a:lnTo>
                    <a:pt x="0" y="82"/>
                  </a:lnTo>
                  <a:close/>
                  <a:moveTo>
                    <a:pt x="206" y="49"/>
                  </a:moveTo>
                  <a:lnTo>
                    <a:pt x="203" y="46"/>
                  </a:lnTo>
                  <a:lnTo>
                    <a:pt x="201" y="44"/>
                  </a:lnTo>
                  <a:lnTo>
                    <a:pt x="201" y="41"/>
                  </a:lnTo>
                  <a:lnTo>
                    <a:pt x="201" y="41"/>
                  </a:lnTo>
                  <a:lnTo>
                    <a:pt x="198" y="39"/>
                  </a:lnTo>
                  <a:lnTo>
                    <a:pt x="198" y="36"/>
                  </a:lnTo>
                  <a:lnTo>
                    <a:pt x="196" y="34"/>
                  </a:lnTo>
                  <a:lnTo>
                    <a:pt x="196" y="31"/>
                  </a:lnTo>
                  <a:lnTo>
                    <a:pt x="196" y="28"/>
                  </a:lnTo>
                  <a:lnTo>
                    <a:pt x="193" y="26"/>
                  </a:lnTo>
                  <a:lnTo>
                    <a:pt x="193" y="23"/>
                  </a:lnTo>
                  <a:lnTo>
                    <a:pt x="191" y="21"/>
                  </a:lnTo>
                  <a:lnTo>
                    <a:pt x="191" y="21"/>
                  </a:lnTo>
                  <a:lnTo>
                    <a:pt x="191" y="18"/>
                  </a:lnTo>
                  <a:lnTo>
                    <a:pt x="188" y="16"/>
                  </a:lnTo>
                  <a:lnTo>
                    <a:pt x="188" y="13"/>
                  </a:lnTo>
                  <a:lnTo>
                    <a:pt x="186" y="11"/>
                  </a:lnTo>
                  <a:lnTo>
                    <a:pt x="186" y="8"/>
                  </a:lnTo>
                  <a:lnTo>
                    <a:pt x="186" y="6"/>
                  </a:lnTo>
                  <a:lnTo>
                    <a:pt x="183" y="3"/>
                  </a:lnTo>
                  <a:lnTo>
                    <a:pt x="183" y="0"/>
                  </a:lnTo>
                  <a:lnTo>
                    <a:pt x="178" y="3"/>
                  </a:lnTo>
                  <a:lnTo>
                    <a:pt x="173" y="3"/>
                  </a:lnTo>
                  <a:lnTo>
                    <a:pt x="168" y="3"/>
                  </a:lnTo>
                  <a:lnTo>
                    <a:pt x="163" y="6"/>
                  </a:lnTo>
                  <a:lnTo>
                    <a:pt x="158" y="6"/>
                  </a:lnTo>
                  <a:lnTo>
                    <a:pt x="150" y="6"/>
                  </a:lnTo>
                  <a:lnTo>
                    <a:pt x="145" y="8"/>
                  </a:lnTo>
                  <a:lnTo>
                    <a:pt x="140" y="8"/>
                  </a:lnTo>
                  <a:lnTo>
                    <a:pt x="132" y="8"/>
                  </a:lnTo>
                  <a:lnTo>
                    <a:pt x="127" y="11"/>
                  </a:lnTo>
                  <a:lnTo>
                    <a:pt x="124" y="11"/>
                  </a:lnTo>
                  <a:lnTo>
                    <a:pt x="122" y="13"/>
                  </a:lnTo>
                  <a:lnTo>
                    <a:pt x="117" y="16"/>
                  </a:lnTo>
                  <a:lnTo>
                    <a:pt x="112" y="18"/>
                  </a:lnTo>
                  <a:lnTo>
                    <a:pt x="109" y="21"/>
                  </a:lnTo>
                  <a:lnTo>
                    <a:pt x="107" y="26"/>
                  </a:lnTo>
                  <a:lnTo>
                    <a:pt x="104" y="26"/>
                  </a:lnTo>
                  <a:lnTo>
                    <a:pt x="102" y="31"/>
                  </a:lnTo>
                  <a:lnTo>
                    <a:pt x="99" y="34"/>
                  </a:lnTo>
                  <a:lnTo>
                    <a:pt x="96" y="36"/>
                  </a:lnTo>
                  <a:lnTo>
                    <a:pt x="96" y="39"/>
                  </a:lnTo>
                  <a:lnTo>
                    <a:pt x="94" y="44"/>
                  </a:lnTo>
                  <a:lnTo>
                    <a:pt x="94" y="46"/>
                  </a:lnTo>
                  <a:lnTo>
                    <a:pt x="91" y="46"/>
                  </a:lnTo>
                  <a:lnTo>
                    <a:pt x="89" y="49"/>
                  </a:lnTo>
                  <a:lnTo>
                    <a:pt x="86" y="49"/>
                  </a:lnTo>
                  <a:lnTo>
                    <a:pt x="84" y="46"/>
                  </a:lnTo>
                  <a:lnTo>
                    <a:pt x="81" y="41"/>
                  </a:lnTo>
                  <a:lnTo>
                    <a:pt x="81" y="41"/>
                  </a:lnTo>
                  <a:lnTo>
                    <a:pt x="79" y="41"/>
                  </a:lnTo>
                  <a:lnTo>
                    <a:pt x="76" y="41"/>
                  </a:lnTo>
                  <a:lnTo>
                    <a:pt x="74" y="41"/>
                  </a:lnTo>
                  <a:lnTo>
                    <a:pt x="68" y="41"/>
                  </a:lnTo>
                  <a:lnTo>
                    <a:pt x="63" y="41"/>
                  </a:lnTo>
                  <a:lnTo>
                    <a:pt x="58" y="41"/>
                  </a:lnTo>
                  <a:lnTo>
                    <a:pt x="56" y="39"/>
                  </a:lnTo>
                  <a:lnTo>
                    <a:pt x="51" y="39"/>
                  </a:lnTo>
                  <a:lnTo>
                    <a:pt x="51" y="36"/>
                  </a:lnTo>
                  <a:lnTo>
                    <a:pt x="48" y="36"/>
                  </a:lnTo>
                  <a:lnTo>
                    <a:pt x="45" y="36"/>
                  </a:lnTo>
                  <a:lnTo>
                    <a:pt x="40" y="36"/>
                  </a:lnTo>
                  <a:lnTo>
                    <a:pt x="38" y="39"/>
                  </a:lnTo>
                  <a:lnTo>
                    <a:pt x="33" y="39"/>
                  </a:lnTo>
                  <a:lnTo>
                    <a:pt x="30" y="39"/>
                  </a:lnTo>
                  <a:lnTo>
                    <a:pt x="28" y="39"/>
                  </a:lnTo>
                  <a:lnTo>
                    <a:pt x="28" y="39"/>
                  </a:lnTo>
                  <a:lnTo>
                    <a:pt x="25" y="39"/>
                  </a:lnTo>
                  <a:lnTo>
                    <a:pt x="25" y="39"/>
                  </a:lnTo>
                  <a:lnTo>
                    <a:pt x="25" y="39"/>
                  </a:lnTo>
                  <a:lnTo>
                    <a:pt x="23" y="39"/>
                  </a:lnTo>
                  <a:lnTo>
                    <a:pt x="20" y="39"/>
                  </a:lnTo>
                  <a:lnTo>
                    <a:pt x="20" y="36"/>
                  </a:lnTo>
                  <a:lnTo>
                    <a:pt x="17" y="36"/>
                  </a:lnTo>
                  <a:lnTo>
                    <a:pt x="17" y="36"/>
                  </a:lnTo>
                  <a:lnTo>
                    <a:pt x="15" y="36"/>
                  </a:lnTo>
                  <a:lnTo>
                    <a:pt x="15" y="36"/>
                  </a:lnTo>
                  <a:lnTo>
                    <a:pt x="12" y="36"/>
                  </a:lnTo>
                  <a:lnTo>
                    <a:pt x="12" y="36"/>
                  </a:lnTo>
                  <a:lnTo>
                    <a:pt x="10" y="39"/>
                  </a:lnTo>
                  <a:lnTo>
                    <a:pt x="10" y="39"/>
                  </a:lnTo>
                  <a:lnTo>
                    <a:pt x="12" y="41"/>
                  </a:lnTo>
                  <a:lnTo>
                    <a:pt x="12" y="41"/>
                  </a:lnTo>
                  <a:lnTo>
                    <a:pt x="10" y="41"/>
                  </a:lnTo>
                  <a:lnTo>
                    <a:pt x="10" y="44"/>
                  </a:lnTo>
                  <a:lnTo>
                    <a:pt x="10" y="46"/>
                  </a:lnTo>
                  <a:lnTo>
                    <a:pt x="10" y="49"/>
                  </a:lnTo>
                  <a:lnTo>
                    <a:pt x="10" y="51"/>
                  </a:lnTo>
                  <a:lnTo>
                    <a:pt x="10" y="51"/>
                  </a:lnTo>
                  <a:lnTo>
                    <a:pt x="10" y="51"/>
                  </a:lnTo>
                  <a:lnTo>
                    <a:pt x="10" y="54"/>
                  </a:lnTo>
                  <a:lnTo>
                    <a:pt x="10" y="54"/>
                  </a:lnTo>
                  <a:lnTo>
                    <a:pt x="10" y="56"/>
                  </a:lnTo>
                  <a:lnTo>
                    <a:pt x="7" y="56"/>
                  </a:lnTo>
                  <a:lnTo>
                    <a:pt x="7" y="59"/>
                  </a:lnTo>
                  <a:lnTo>
                    <a:pt x="5" y="61"/>
                  </a:lnTo>
                  <a:lnTo>
                    <a:pt x="5" y="69"/>
                  </a:lnTo>
                  <a:lnTo>
                    <a:pt x="2" y="77"/>
                  </a:lnTo>
                  <a:lnTo>
                    <a:pt x="5" y="84"/>
                  </a:lnTo>
                  <a:lnTo>
                    <a:pt x="5" y="84"/>
                  </a:lnTo>
                  <a:lnTo>
                    <a:pt x="5" y="87"/>
                  </a:lnTo>
                  <a:lnTo>
                    <a:pt x="2" y="84"/>
                  </a:lnTo>
                  <a:lnTo>
                    <a:pt x="2" y="84"/>
                  </a:lnTo>
                  <a:lnTo>
                    <a:pt x="2" y="87"/>
                  </a:lnTo>
                  <a:lnTo>
                    <a:pt x="5" y="89"/>
                  </a:lnTo>
                  <a:lnTo>
                    <a:pt x="7" y="92"/>
                  </a:lnTo>
                  <a:lnTo>
                    <a:pt x="7" y="95"/>
                  </a:lnTo>
                  <a:lnTo>
                    <a:pt x="7" y="95"/>
                  </a:lnTo>
                  <a:lnTo>
                    <a:pt x="7" y="95"/>
                  </a:lnTo>
                  <a:lnTo>
                    <a:pt x="7" y="97"/>
                  </a:lnTo>
                  <a:lnTo>
                    <a:pt x="7" y="97"/>
                  </a:lnTo>
                  <a:lnTo>
                    <a:pt x="10" y="102"/>
                  </a:lnTo>
                  <a:lnTo>
                    <a:pt x="10" y="102"/>
                  </a:lnTo>
                  <a:lnTo>
                    <a:pt x="10" y="105"/>
                  </a:lnTo>
                  <a:lnTo>
                    <a:pt x="10" y="107"/>
                  </a:lnTo>
                  <a:lnTo>
                    <a:pt x="12" y="110"/>
                  </a:lnTo>
                  <a:lnTo>
                    <a:pt x="12" y="115"/>
                  </a:lnTo>
                  <a:lnTo>
                    <a:pt x="15" y="117"/>
                  </a:lnTo>
                  <a:lnTo>
                    <a:pt x="15" y="123"/>
                  </a:lnTo>
                  <a:lnTo>
                    <a:pt x="15" y="123"/>
                  </a:lnTo>
                  <a:lnTo>
                    <a:pt x="15" y="133"/>
                  </a:lnTo>
                  <a:lnTo>
                    <a:pt x="20" y="140"/>
                  </a:lnTo>
                  <a:lnTo>
                    <a:pt x="20" y="145"/>
                  </a:lnTo>
                  <a:lnTo>
                    <a:pt x="23" y="143"/>
                  </a:lnTo>
                  <a:lnTo>
                    <a:pt x="28" y="145"/>
                  </a:lnTo>
                  <a:lnTo>
                    <a:pt x="30" y="145"/>
                  </a:lnTo>
                  <a:lnTo>
                    <a:pt x="30" y="145"/>
                  </a:lnTo>
                  <a:lnTo>
                    <a:pt x="33" y="145"/>
                  </a:lnTo>
                  <a:lnTo>
                    <a:pt x="35" y="145"/>
                  </a:lnTo>
                  <a:lnTo>
                    <a:pt x="38" y="145"/>
                  </a:lnTo>
                  <a:lnTo>
                    <a:pt x="43" y="143"/>
                  </a:lnTo>
                  <a:lnTo>
                    <a:pt x="45" y="143"/>
                  </a:lnTo>
                  <a:lnTo>
                    <a:pt x="48" y="143"/>
                  </a:lnTo>
                  <a:lnTo>
                    <a:pt x="51" y="143"/>
                  </a:lnTo>
                  <a:lnTo>
                    <a:pt x="53" y="140"/>
                  </a:lnTo>
                  <a:lnTo>
                    <a:pt x="53" y="138"/>
                  </a:lnTo>
                  <a:lnTo>
                    <a:pt x="58" y="135"/>
                  </a:lnTo>
                  <a:lnTo>
                    <a:pt x="61" y="133"/>
                  </a:lnTo>
                  <a:lnTo>
                    <a:pt x="63" y="130"/>
                  </a:lnTo>
                  <a:lnTo>
                    <a:pt x="68" y="128"/>
                  </a:lnTo>
                  <a:lnTo>
                    <a:pt x="74" y="128"/>
                  </a:lnTo>
                  <a:lnTo>
                    <a:pt x="81" y="128"/>
                  </a:lnTo>
                  <a:lnTo>
                    <a:pt x="84" y="128"/>
                  </a:lnTo>
                  <a:lnTo>
                    <a:pt x="86" y="128"/>
                  </a:lnTo>
                  <a:lnTo>
                    <a:pt x="89" y="125"/>
                  </a:lnTo>
                  <a:lnTo>
                    <a:pt x="94" y="125"/>
                  </a:lnTo>
                  <a:lnTo>
                    <a:pt x="99" y="123"/>
                  </a:lnTo>
                  <a:lnTo>
                    <a:pt x="102" y="117"/>
                  </a:lnTo>
                  <a:lnTo>
                    <a:pt x="107" y="115"/>
                  </a:lnTo>
                  <a:lnTo>
                    <a:pt x="107" y="115"/>
                  </a:lnTo>
                  <a:lnTo>
                    <a:pt x="109" y="115"/>
                  </a:lnTo>
                  <a:lnTo>
                    <a:pt x="114" y="115"/>
                  </a:lnTo>
                  <a:lnTo>
                    <a:pt x="119" y="115"/>
                  </a:lnTo>
                  <a:lnTo>
                    <a:pt x="122" y="115"/>
                  </a:lnTo>
                  <a:lnTo>
                    <a:pt x="122" y="115"/>
                  </a:lnTo>
                  <a:lnTo>
                    <a:pt x="124" y="112"/>
                  </a:lnTo>
                  <a:lnTo>
                    <a:pt x="127" y="110"/>
                  </a:lnTo>
                  <a:lnTo>
                    <a:pt x="130" y="107"/>
                  </a:lnTo>
                  <a:lnTo>
                    <a:pt x="130" y="105"/>
                  </a:lnTo>
                  <a:lnTo>
                    <a:pt x="132" y="105"/>
                  </a:lnTo>
                  <a:lnTo>
                    <a:pt x="135" y="100"/>
                  </a:lnTo>
                  <a:lnTo>
                    <a:pt x="140" y="100"/>
                  </a:lnTo>
                  <a:lnTo>
                    <a:pt x="147" y="97"/>
                  </a:lnTo>
                  <a:lnTo>
                    <a:pt x="153" y="95"/>
                  </a:lnTo>
                  <a:lnTo>
                    <a:pt x="155" y="95"/>
                  </a:lnTo>
                  <a:lnTo>
                    <a:pt x="158" y="92"/>
                  </a:lnTo>
                  <a:lnTo>
                    <a:pt x="168" y="89"/>
                  </a:lnTo>
                  <a:lnTo>
                    <a:pt x="175" y="87"/>
                  </a:lnTo>
                  <a:lnTo>
                    <a:pt x="181" y="84"/>
                  </a:lnTo>
                  <a:lnTo>
                    <a:pt x="181" y="84"/>
                  </a:lnTo>
                  <a:lnTo>
                    <a:pt x="183" y="82"/>
                  </a:lnTo>
                  <a:lnTo>
                    <a:pt x="183" y="82"/>
                  </a:lnTo>
                  <a:lnTo>
                    <a:pt x="186" y="79"/>
                  </a:lnTo>
                  <a:lnTo>
                    <a:pt x="188" y="79"/>
                  </a:lnTo>
                  <a:lnTo>
                    <a:pt x="191" y="77"/>
                  </a:lnTo>
                  <a:lnTo>
                    <a:pt x="191" y="74"/>
                  </a:lnTo>
                  <a:lnTo>
                    <a:pt x="191" y="72"/>
                  </a:lnTo>
                  <a:lnTo>
                    <a:pt x="191" y="67"/>
                  </a:lnTo>
                  <a:lnTo>
                    <a:pt x="193" y="64"/>
                  </a:lnTo>
                  <a:lnTo>
                    <a:pt x="196" y="61"/>
                  </a:lnTo>
                  <a:lnTo>
                    <a:pt x="198" y="59"/>
                  </a:lnTo>
                  <a:lnTo>
                    <a:pt x="209" y="54"/>
                  </a:lnTo>
                  <a:lnTo>
                    <a:pt x="206" y="51"/>
                  </a:lnTo>
                  <a:lnTo>
                    <a:pt x="206" y="49"/>
                  </a:lnTo>
                  <a:close/>
                </a:path>
              </a:pathLst>
            </a:custGeom>
            <a:solidFill>
              <a:srgbClr val="FFC000"/>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26" name="Freeform 1644">
              <a:extLst>
                <a:ext uri="{FF2B5EF4-FFF2-40B4-BE49-F238E27FC236}">
                  <a16:creationId xmlns:a16="http://schemas.microsoft.com/office/drawing/2014/main" id="{45268A66-BE08-EC4F-A656-118C7B2446AB}"/>
                </a:ext>
              </a:extLst>
            </p:cNvPr>
            <p:cNvSpPr>
              <a:spLocks/>
            </p:cNvSpPr>
            <p:nvPr/>
          </p:nvSpPr>
          <p:spPr bwMode="auto">
            <a:xfrm>
              <a:off x="5062263" y="2772252"/>
              <a:ext cx="282983" cy="255175"/>
            </a:xfrm>
            <a:custGeom>
              <a:avLst/>
              <a:gdLst>
                <a:gd name="T0" fmla="*/ 84 w 173"/>
                <a:gd name="T1" fmla="*/ 0 h 156"/>
                <a:gd name="T2" fmla="*/ 84 w 173"/>
                <a:gd name="T3" fmla="*/ 6 h 156"/>
                <a:gd name="T4" fmla="*/ 79 w 173"/>
                <a:gd name="T5" fmla="*/ 18 h 156"/>
                <a:gd name="T6" fmla="*/ 74 w 173"/>
                <a:gd name="T7" fmla="*/ 23 h 156"/>
                <a:gd name="T8" fmla="*/ 64 w 173"/>
                <a:gd name="T9" fmla="*/ 28 h 156"/>
                <a:gd name="T10" fmla="*/ 59 w 173"/>
                <a:gd name="T11" fmla="*/ 34 h 156"/>
                <a:gd name="T12" fmla="*/ 56 w 173"/>
                <a:gd name="T13" fmla="*/ 41 h 156"/>
                <a:gd name="T14" fmla="*/ 54 w 173"/>
                <a:gd name="T15" fmla="*/ 49 h 156"/>
                <a:gd name="T16" fmla="*/ 48 w 173"/>
                <a:gd name="T17" fmla="*/ 56 h 156"/>
                <a:gd name="T18" fmla="*/ 48 w 173"/>
                <a:gd name="T19" fmla="*/ 67 h 156"/>
                <a:gd name="T20" fmla="*/ 41 w 173"/>
                <a:gd name="T21" fmla="*/ 72 h 156"/>
                <a:gd name="T22" fmla="*/ 31 w 173"/>
                <a:gd name="T23" fmla="*/ 84 h 156"/>
                <a:gd name="T24" fmla="*/ 26 w 173"/>
                <a:gd name="T25" fmla="*/ 90 h 156"/>
                <a:gd name="T26" fmla="*/ 28 w 173"/>
                <a:gd name="T27" fmla="*/ 90 h 156"/>
                <a:gd name="T28" fmla="*/ 28 w 173"/>
                <a:gd name="T29" fmla="*/ 87 h 156"/>
                <a:gd name="T30" fmla="*/ 28 w 173"/>
                <a:gd name="T31" fmla="*/ 90 h 156"/>
                <a:gd name="T32" fmla="*/ 26 w 173"/>
                <a:gd name="T33" fmla="*/ 97 h 156"/>
                <a:gd name="T34" fmla="*/ 20 w 173"/>
                <a:gd name="T35" fmla="*/ 105 h 156"/>
                <a:gd name="T36" fmla="*/ 20 w 173"/>
                <a:gd name="T37" fmla="*/ 107 h 156"/>
                <a:gd name="T38" fmla="*/ 18 w 173"/>
                <a:gd name="T39" fmla="*/ 115 h 156"/>
                <a:gd name="T40" fmla="*/ 10 w 173"/>
                <a:gd name="T41" fmla="*/ 123 h 156"/>
                <a:gd name="T42" fmla="*/ 5 w 173"/>
                <a:gd name="T43" fmla="*/ 133 h 156"/>
                <a:gd name="T44" fmla="*/ 3 w 173"/>
                <a:gd name="T45" fmla="*/ 143 h 156"/>
                <a:gd name="T46" fmla="*/ 3 w 173"/>
                <a:gd name="T47" fmla="*/ 156 h 156"/>
                <a:gd name="T48" fmla="*/ 3 w 173"/>
                <a:gd name="T49" fmla="*/ 151 h 156"/>
                <a:gd name="T50" fmla="*/ 5 w 173"/>
                <a:gd name="T51" fmla="*/ 146 h 156"/>
                <a:gd name="T52" fmla="*/ 10 w 173"/>
                <a:gd name="T53" fmla="*/ 146 h 156"/>
                <a:gd name="T54" fmla="*/ 20 w 173"/>
                <a:gd name="T55" fmla="*/ 146 h 156"/>
                <a:gd name="T56" fmla="*/ 28 w 173"/>
                <a:gd name="T57" fmla="*/ 146 h 156"/>
                <a:gd name="T58" fmla="*/ 38 w 173"/>
                <a:gd name="T59" fmla="*/ 146 h 156"/>
                <a:gd name="T60" fmla="*/ 46 w 173"/>
                <a:gd name="T61" fmla="*/ 146 h 156"/>
                <a:gd name="T62" fmla="*/ 56 w 173"/>
                <a:gd name="T63" fmla="*/ 146 h 156"/>
                <a:gd name="T64" fmla="*/ 66 w 173"/>
                <a:gd name="T65" fmla="*/ 146 h 156"/>
                <a:gd name="T66" fmla="*/ 74 w 173"/>
                <a:gd name="T67" fmla="*/ 146 h 156"/>
                <a:gd name="T68" fmla="*/ 82 w 173"/>
                <a:gd name="T69" fmla="*/ 146 h 156"/>
                <a:gd name="T70" fmla="*/ 82 w 173"/>
                <a:gd name="T71" fmla="*/ 138 h 156"/>
                <a:gd name="T72" fmla="*/ 82 w 173"/>
                <a:gd name="T73" fmla="*/ 133 h 156"/>
                <a:gd name="T74" fmla="*/ 82 w 173"/>
                <a:gd name="T75" fmla="*/ 125 h 156"/>
                <a:gd name="T76" fmla="*/ 82 w 173"/>
                <a:gd name="T77" fmla="*/ 120 h 156"/>
                <a:gd name="T78" fmla="*/ 82 w 173"/>
                <a:gd name="T79" fmla="*/ 118 h 156"/>
                <a:gd name="T80" fmla="*/ 79 w 173"/>
                <a:gd name="T81" fmla="*/ 112 h 156"/>
                <a:gd name="T82" fmla="*/ 82 w 173"/>
                <a:gd name="T83" fmla="*/ 110 h 156"/>
                <a:gd name="T84" fmla="*/ 87 w 173"/>
                <a:gd name="T85" fmla="*/ 105 h 156"/>
                <a:gd name="T86" fmla="*/ 92 w 173"/>
                <a:gd name="T87" fmla="*/ 100 h 156"/>
                <a:gd name="T88" fmla="*/ 97 w 173"/>
                <a:gd name="T89" fmla="*/ 100 h 156"/>
                <a:gd name="T90" fmla="*/ 102 w 173"/>
                <a:gd name="T91" fmla="*/ 97 h 156"/>
                <a:gd name="T92" fmla="*/ 105 w 173"/>
                <a:gd name="T93" fmla="*/ 95 h 156"/>
                <a:gd name="T94" fmla="*/ 105 w 173"/>
                <a:gd name="T95" fmla="*/ 87 h 156"/>
                <a:gd name="T96" fmla="*/ 105 w 173"/>
                <a:gd name="T97" fmla="*/ 82 h 156"/>
                <a:gd name="T98" fmla="*/ 105 w 173"/>
                <a:gd name="T99" fmla="*/ 74 h 156"/>
                <a:gd name="T100" fmla="*/ 105 w 173"/>
                <a:gd name="T101" fmla="*/ 69 h 156"/>
                <a:gd name="T102" fmla="*/ 105 w 173"/>
                <a:gd name="T103" fmla="*/ 64 h 156"/>
                <a:gd name="T104" fmla="*/ 105 w 173"/>
                <a:gd name="T105" fmla="*/ 56 h 156"/>
                <a:gd name="T106" fmla="*/ 105 w 173"/>
                <a:gd name="T107" fmla="*/ 51 h 156"/>
                <a:gd name="T108" fmla="*/ 105 w 173"/>
                <a:gd name="T109" fmla="*/ 44 h 156"/>
                <a:gd name="T110" fmla="*/ 105 w 173"/>
                <a:gd name="T111" fmla="*/ 39 h 156"/>
                <a:gd name="T112" fmla="*/ 122 w 173"/>
                <a:gd name="T113" fmla="*/ 39 h 156"/>
                <a:gd name="T114" fmla="*/ 153 w 173"/>
                <a:gd name="T115" fmla="*/ 39 h 156"/>
                <a:gd name="T116" fmla="*/ 171 w 173"/>
                <a:gd name="T117" fmla="*/ 36 h 156"/>
                <a:gd name="T118" fmla="*/ 171 w 173"/>
                <a:gd name="T119" fmla="*/ 26 h 156"/>
                <a:gd name="T120" fmla="*/ 171 w 173"/>
                <a:gd name="T121" fmla="*/ 18 h 156"/>
                <a:gd name="T122" fmla="*/ 171 w 173"/>
                <a:gd name="T123" fmla="*/ 8 h 156"/>
                <a:gd name="T124" fmla="*/ 173 w 173"/>
                <a:gd name="T125"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3" h="156">
                  <a:moveTo>
                    <a:pt x="84" y="0"/>
                  </a:moveTo>
                  <a:lnTo>
                    <a:pt x="84" y="0"/>
                  </a:lnTo>
                  <a:lnTo>
                    <a:pt x="84" y="0"/>
                  </a:lnTo>
                  <a:lnTo>
                    <a:pt x="84" y="6"/>
                  </a:lnTo>
                  <a:lnTo>
                    <a:pt x="79" y="13"/>
                  </a:lnTo>
                  <a:lnTo>
                    <a:pt x="79" y="18"/>
                  </a:lnTo>
                  <a:lnTo>
                    <a:pt x="77" y="21"/>
                  </a:lnTo>
                  <a:lnTo>
                    <a:pt x="74" y="23"/>
                  </a:lnTo>
                  <a:lnTo>
                    <a:pt x="69" y="28"/>
                  </a:lnTo>
                  <a:lnTo>
                    <a:pt x="64" y="28"/>
                  </a:lnTo>
                  <a:lnTo>
                    <a:pt x="61" y="31"/>
                  </a:lnTo>
                  <a:lnTo>
                    <a:pt x="59" y="34"/>
                  </a:lnTo>
                  <a:lnTo>
                    <a:pt x="59" y="34"/>
                  </a:lnTo>
                  <a:lnTo>
                    <a:pt x="56" y="41"/>
                  </a:lnTo>
                  <a:lnTo>
                    <a:pt x="56" y="44"/>
                  </a:lnTo>
                  <a:lnTo>
                    <a:pt x="54" y="49"/>
                  </a:lnTo>
                  <a:lnTo>
                    <a:pt x="51" y="51"/>
                  </a:lnTo>
                  <a:lnTo>
                    <a:pt x="48" y="56"/>
                  </a:lnTo>
                  <a:lnTo>
                    <a:pt x="48" y="64"/>
                  </a:lnTo>
                  <a:lnTo>
                    <a:pt x="48" y="67"/>
                  </a:lnTo>
                  <a:lnTo>
                    <a:pt x="46" y="72"/>
                  </a:lnTo>
                  <a:lnTo>
                    <a:pt x="41" y="72"/>
                  </a:lnTo>
                  <a:lnTo>
                    <a:pt x="33" y="82"/>
                  </a:lnTo>
                  <a:lnTo>
                    <a:pt x="31" y="84"/>
                  </a:lnTo>
                  <a:lnTo>
                    <a:pt x="28" y="87"/>
                  </a:lnTo>
                  <a:lnTo>
                    <a:pt x="26" y="90"/>
                  </a:lnTo>
                  <a:lnTo>
                    <a:pt x="26" y="92"/>
                  </a:lnTo>
                  <a:lnTo>
                    <a:pt x="28" y="90"/>
                  </a:lnTo>
                  <a:lnTo>
                    <a:pt x="28" y="90"/>
                  </a:lnTo>
                  <a:lnTo>
                    <a:pt x="28" y="87"/>
                  </a:lnTo>
                  <a:lnTo>
                    <a:pt x="31" y="90"/>
                  </a:lnTo>
                  <a:lnTo>
                    <a:pt x="28" y="90"/>
                  </a:lnTo>
                  <a:lnTo>
                    <a:pt x="26" y="95"/>
                  </a:lnTo>
                  <a:lnTo>
                    <a:pt x="26" y="97"/>
                  </a:lnTo>
                  <a:lnTo>
                    <a:pt x="23" y="102"/>
                  </a:lnTo>
                  <a:lnTo>
                    <a:pt x="20" y="105"/>
                  </a:lnTo>
                  <a:lnTo>
                    <a:pt x="20" y="105"/>
                  </a:lnTo>
                  <a:lnTo>
                    <a:pt x="20" y="107"/>
                  </a:lnTo>
                  <a:lnTo>
                    <a:pt x="18" y="110"/>
                  </a:lnTo>
                  <a:lnTo>
                    <a:pt x="18" y="115"/>
                  </a:lnTo>
                  <a:lnTo>
                    <a:pt x="13" y="123"/>
                  </a:lnTo>
                  <a:lnTo>
                    <a:pt x="10" y="123"/>
                  </a:lnTo>
                  <a:lnTo>
                    <a:pt x="8" y="125"/>
                  </a:lnTo>
                  <a:lnTo>
                    <a:pt x="5" y="133"/>
                  </a:lnTo>
                  <a:lnTo>
                    <a:pt x="3" y="143"/>
                  </a:lnTo>
                  <a:lnTo>
                    <a:pt x="3" y="143"/>
                  </a:lnTo>
                  <a:lnTo>
                    <a:pt x="0" y="156"/>
                  </a:lnTo>
                  <a:lnTo>
                    <a:pt x="3" y="156"/>
                  </a:lnTo>
                  <a:lnTo>
                    <a:pt x="3" y="153"/>
                  </a:lnTo>
                  <a:lnTo>
                    <a:pt x="3" y="151"/>
                  </a:lnTo>
                  <a:lnTo>
                    <a:pt x="3" y="148"/>
                  </a:lnTo>
                  <a:lnTo>
                    <a:pt x="5" y="146"/>
                  </a:lnTo>
                  <a:lnTo>
                    <a:pt x="8" y="146"/>
                  </a:lnTo>
                  <a:lnTo>
                    <a:pt x="10" y="146"/>
                  </a:lnTo>
                  <a:lnTo>
                    <a:pt x="15" y="146"/>
                  </a:lnTo>
                  <a:lnTo>
                    <a:pt x="20" y="146"/>
                  </a:lnTo>
                  <a:lnTo>
                    <a:pt x="26" y="146"/>
                  </a:lnTo>
                  <a:lnTo>
                    <a:pt x="28" y="146"/>
                  </a:lnTo>
                  <a:lnTo>
                    <a:pt x="33" y="146"/>
                  </a:lnTo>
                  <a:lnTo>
                    <a:pt x="38" y="146"/>
                  </a:lnTo>
                  <a:lnTo>
                    <a:pt x="43" y="146"/>
                  </a:lnTo>
                  <a:lnTo>
                    <a:pt x="46" y="146"/>
                  </a:lnTo>
                  <a:lnTo>
                    <a:pt x="51" y="146"/>
                  </a:lnTo>
                  <a:lnTo>
                    <a:pt x="56" y="146"/>
                  </a:lnTo>
                  <a:lnTo>
                    <a:pt x="61" y="146"/>
                  </a:lnTo>
                  <a:lnTo>
                    <a:pt x="66" y="146"/>
                  </a:lnTo>
                  <a:lnTo>
                    <a:pt x="69" y="146"/>
                  </a:lnTo>
                  <a:lnTo>
                    <a:pt x="74" y="146"/>
                  </a:lnTo>
                  <a:lnTo>
                    <a:pt x="79" y="146"/>
                  </a:lnTo>
                  <a:lnTo>
                    <a:pt x="82" y="146"/>
                  </a:lnTo>
                  <a:lnTo>
                    <a:pt x="82" y="140"/>
                  </a:lnTo>
                  <a:lnTo>
                    <a:pt x="82" y="138"/>
                  </a:lnTo>
                  <a:lnTo>
                    <a:pt x="82" y="135"/>
                  </a:lnTo>
                  <a:lnTo>
                    <a:pt x="82" y="133"/>
                  </a:lnTo>
                  <a:lnTo>
                    <a:pt x="82" y="130"/>
                  </a:lnTo>
                  <a:lnTo>
                    <a:pt x="82" y="125"/>
                  </a:lnTo>
                  <a:lnTo>
                    <a:pt x="82" y="123"/>
                  </a:lnTo>
                  <a:lnTo>
                    <a:pt x="82" y="120"/>
                  </a:lnTo>
                  <a:lnTo>
                    <a:pt x="82" y="118"/>
                  </a:lnTo>
                  <a:lnTo>
                    <a:pt x="82" y="118"/>
                  </a:lnTo>
                  <a:lnTo>
                    <a:pt x="79" y="112"/>
                  </a:lnTo>
                  <a:lnTo>
                    <a:pt x="79" y="112"/>
                  </a:lnTo>
                  <a:lnTo>
                    <a:pt x="79" y="110"/>
                  </a:lnTo>
                  <a:lnTo>
                    <a:pt x="82" y="110"/>
                  </a:lnTo>
                  <a:lnTo>
                    <a:pt x="82" y="107"/>
                  </a:lnTo>
                  <a:lnTo>
                    <a:pt x="87" y="105"/>
                  </a:lnTo>
                  <a:lnTo>
                    <a:pt x="89" y="102"/>
                  </a:lnTo>
                  <a:lnTo>
                    <a:pt x="92" y="100"/>
                  </a:lnTo>
                  <a:lnTo>
                    <a:pt x="92" y="100"/>
                  </a:lnTo>
                  <a:lnTo>
                    <a:pt x="97" y="100"/>
                  </a:lnTo>
                  <a:lnTo>
                    <a:pt x="99" y="97"/>
                  </a:lnTo>
                  <a:lnTo>
                    <a:pt x="102" y="97"/>
                  </a:lnTo>
                  <a:lnTo>
                    <a:pt x="102" y="97"/>
                  </a:lnTo>
                  <a:lnTo>
                    <a:pt x="105" y="95"/>
                  </a:lnTo>
                  <a:lnTo>
                    <a:pt x="105" y="90"/>
                  </a:lnTo>
                  <a:lnTo>
                    <a:pt x="105" y="87"/>
                  </a:lnTo>
                  <a:lnTo>
                    <a:pt x="105" y="84"/>
                  </a:lnTo>
                  <a:lnTo>
                    <a:pt x="105" y="82"/>
                  </a:lnTo>
                  <a:lnTo>
                    <a:pt x="105" y="79"/>
                  </a:lnTo>
                  <a:lnTo>
                    <a:pt x="105" y="74"/>
                  </a:lnTo>
                  <a:lnTo>
                    <a:pt x="105" y="72"/>
                  </a:lnTo>
                  <a:lnTo>
                    <a:pt x="105" y="69"/>
                  </a:lnTo>
                  <a:lnTo>
                    <a:pt x="105" y="67"/>
                  </a:lnTo>
                  <a:lnTo>
                    <a:pt x="105" y="64"/>
                  </a:lnTo>
                  <a:lnTo>
                    <a:pt x="105" y="59"/>
                  </a:lnTo>
                  <a:lnTo>
                    <a:pt x="105" y="56"/>
                  </a:lnTo>
                  <a:lnTo>
                    <a:pt x="105" y="54"/>
                  </a:lnTo>
                  <a:lnTo>
                    <a:pt x="105" y="51"/>
                  </a:lnTo>
                  <a:lnTo>
                    <a:pt x="105" y="46"/>
                  </a:lnTo>
                  <a:lnTo>
                    <a:pt x="105" y="44"/>
                  </a:lnTo>
                  <a:lnTo>
                    <a:pt x="105" y="41"/>
                  </a:lnTo>
                  <a:lnTo>
                    <a:pt x="105" y="39"/>
                  </a:lnTo>
                  <a:lnTo>
                    <a:pt x="120" y="39"/>
                  </a:lnTo>
                  <a:lnTo>
                    <a:pt x="122" y="39"/>
                  </a:lnTo>
                  <a:lnTo>
                    <a:pt x="148" y="39"/>
                  </a:lnTo>
                  <a:lnTo>
                    <a:pt x="153" y="39"/>
                  </a:lnTo>
                  <a:lnTo>
                    <a:pt x="171" y="39"/>
                  </a:lnTo>
                  <a:lnTo>
                    <a:pt x="171" y="36"/>
                  </a:lnTo>
                  <a:lnTo>
                    <a:pt x="171" y="31"/>
                  </a:lnTo>
                  <a:lnTo>
                    <a:pt x="171" y="26"/>
                  </a:lnTo>
                  <a:lnTo>
                    <a:pt x="171" y="21"/>
                  </a:lnTo>
                  <a:lnTo>
                    <a:pt x="171" y="18"/>
                  </a:lnTo>
                  <a:lnTo>
                    <a:pt x="171" y="13"/>
                  </a:lnTo>
                  <a:lnTo>
                    <a:pt x="171" y="8"/>
                  </a:lnTo>
                  <a:lnTo>
                    <a:pt x="173" y="6"/>
                  </a:lnTo>
                  <a:lnTo>
                    <a:pt x="173" y="0"/>
                  </a:lnTo>
                  <a:lnTo>
                    <a:pt x="84"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27" name="Freeform 1645">
              <a:extLst>
                <a:ext uri="{FF2B5EF4-FFF2-40B4-BE49-F238E27FC236}">
                  <a16:creationId xmlns:a16="http://schemas.microsoft.com/office/drawing/2014/main" id="{11698842-ECFC-BB47-AD30-2D51119846CE}"/>
                </a:ext>
              </a:extLst>
            </p:cNvPr>
            <p:cNvSpPr>
              <a:spLocks noEditPoints="1"/>
            </p:cNvSpPr>
            <p:nvPr/>
          </p:nvSpPr>
          <p:spPr bwMode="auto">
            <a:xfrm>
              <a:off x="8901338" y="2935826"/>
              <a:ext cx="284618" cy="544701"/>
            </a:xfrm>
            <a:custGeom>
              <a:avLst/>
              <a:gdLst>
                <a:gd name="T0" fmla="*/ 69 w 174"/>
                <a:gd name="T1" fmla="*/ 292 h 333"/>
                <a:gd name="T2" fmla="*/ 69 w 174"/>
                <a:gd name="T3" fmla="*/ 295 h 333"/>
                <a:gd name="T4" fmla="*/ 102 w 174"/>
                <a:gd name="T5" fmla="*/ 58 h 333"/>
                <a:gd name="T6" fmla="*/ 97 w 174"/>
                <a:gd name="T7" fmla="*/ 56 h 333"/>
                <a:gd name="T8" fmla="*/ 110 w 174"/>
                <a:gd name="T9" fmla="*/ 51 h 333"/>
                <a:gd name="T10" fmla="*/ 171 w 174"/>
                <a:gd name="T11" fmla="*/ 241 h 333"/>
                <a:gd name="T12" fmla="*/ 168 w 174"/>
                <a:gd name="T13" fmla="*/ 216 h 333"/>
                <a:gd name="T14" fmla="*/ 158 w 174"/>
                <a:gd name="T15" fmla="*/ 188 h 333"/>
                <a:gd name="T16" fmla="*/ 140 w 174"/>
                <a:gd name="T17" fmla="*/ 163 h 333"/>
                <a:gd name="T18" fmla="*/ 130 w 174"/>
                <a:gd name="T19" fmla="*/ 157 h 333"/>
                <a:gd name="T20" fmla="*/ 102 w 174"/>
                <a:gd name="T21" fmla="*/ 127 h 333"/>
                <a:gd name="T22" fmla="*/ 87 w 174"/>
                <a:gd name="T23" fmla="*/ 109 h 333"/>
                <a:gd name="T24" fmla="*/ 82 w 174"/>
                <a:gd name="T25" fmla="*/ 86 h 333"/>
                <a:gd name="T26" fmla="*/ 97 w 174"/>
                <a:gd name="T27" fmla="*/ 56 h 333"/>
                <a:gd name="T28" fmla="*/ 102 w 174"/>
                <a:gd name="T29" fmla="*/ 53 h 333"/>
                <a:gd name="T30" fmla="*/ 115 w 174"/>
                <a:gd name="T31" fmla="*/ 40 h 333"/>
                <a:gd name="T32" fmla="*/ 102 w 174"/>
                <a:gd name="T33" fmla="*/ 35 h 333"/>
                <a:gd name="T34" fmla="*/ 92 w 174"/>
                <a:gd name="T35" fmla="*/ 30 h 333"/>
                <a:gd name="T36" fmla="*/ 87 w 174"/>
                <a:gd name="T37" fmla="*/ 15 h 333"/>
                <a:gd name="T38" fmla="*/ 79 w 174"/>
                <a:gd name="T39" fmla="*/ 10 h 333"/>
                <a:gd name="T40" fmla="*/ 64 w 174"/>
                <a:gd name="T41" fmla="*/ 5 h 333"/>
                <a:gd name="T42" fmla="*/ 51 w 174"/>
                <a:gd name="T43" fmla="*/ 2 h 333"/>
                <a:gd name="T44" fmla="*/ 41 w 174"/>
                <a:gd name="T45" fmla="*/ 12 h 333"/>
                <a:gd name="T46" fmla="*/ 28 w 174"/>
                <a:gd name="T47" fmla="*/ 12 h 333"/>
                <a:gd name="T48" fmla="*/ 21 w 174"/>
                <a:gd name="T49" fmla="*/ 15 h 333"/>
                <a:gd name="T50" fmla="*/ 8 w 174"/>
                <a:gd name="T51" fmla="*/ 12 h 333"/>
                <a:gd name="T52" fmla="*/ 0 w 174"/>
                <a:gd name="T53" fmla="*/ 23 h 333"/>
                <a:gd name="T54" fmla="*/ 13 w 174"/>
                <a:gd name="T55" fmla="*/ 35 h 333"/>
                <a:gd name="T56" fmla="*/ 18 w 174"/>
                <a:gd name="T57" fmla="*/ 40 h 333"/>
                <a:gd name="T58" fmla="*/ 36 w 174"/>
                <a:gd name="T59" fmla="*/ 58 h 333"/>
                <a:gd name="T60" fmla="*/ 54 w 174"/>
                <a:gd name="T61" fmla="*/ 61 h 333"/>
                <a:gd name="T62" fmla="*/ 56 w 174"/>
                <a:gd name="T63" fmla="*/ 68 h 333"/>
                <a:gd name="T64" fmla="*/ 59 w 174"/>
                <a:gd name="T65" fmla="*/ 81 h 333"/>
                <a:gd name="T66" fmla="*/ 46 w 174"/>
                <a:gd name="T67" fmla="*/ 89 h 333"/>
                <a:gd name="T68" fmla="*/ 61 w 174"/>
                <a:gd name="T69" fmla="*/ 102 h 333"/>
                <a:gd name="T70" fmla="*/ 74 w 174"/>
                <a:gd name="T71" fmla="*/ 114 h 333"/>
                <a:gd name="T72" fmla="*/ 89 w 174"/>
                <a:gd name="T73" fmla="*/ 132 h 333"/>
                <a:gd name="T74" fmla="*/ 105 w 174"/>
                <a:gd name="T75" fmla="*/ 150 h 333"/>
                <a:gd name="T76" fmla="*/ 112 w 174"/>
                <a:gd name="T77" fmla="*/ 157 h 333"/>
                <a:gd name="T78" fmla="*/ 120 w 174"/>
                <a:gd name="T79" fmla="*/ 170 h 333"/>
                <a:gd name="T80" fmla="*/ 130 w 174"/>
                <a:gd name="T81" fmla="*/ 183 h 333"/>
                <a:gd name="T82" fmla="*/ 130 w 174"/>
                <a:gd name="T83" fmla="*/ 198 h 333"/>
                <a:gd name="T84" fmla="*/ 135 w 174"/>
                <a:gd name="T85" fmla="*/ 221 h 333"/>
                <a:gd name="T86" fmla="*/ 133 w 174"/>
                <a:gd name="T87" fmla="*/ 249 h 333"/>
                <a:gd name="T88" fmla="*/ 118 w 174"/>
                <a:gd name="T89" fmla="*/ 257 h 333"/>
                <a:gd name="T90" fmla="*/ 107 w 174"/>
                <a:gd name="T91" fmla="*/ 262 h 333"/>
                <a:gd name="T92" fmla="*/ 105 w 174"/>
                <a:gd name="T93" fmla="*/ 275 h 333"/>
                <a:gd name="T94" fmla="*/ 105 w 174"/>
                <a:gd name="T95" fmla="*/ 282 h 333"/>
                <a:gd name="T96" fmla="*/ 92 w 174"/>
                <a:gd name="T97" fmla="*/ 282 h 333"/>
                <a:gd name="T98" fmla="*/ 82 w 174"/>
                <a:gd name="T99" fmla="*/ 290 h 333"/>
                <a:gd name="T100" fmla="*/ 84 w 174"/>
                <a:gd name="T101" fmla="*/ 297 h 333"/>
                <a:gd name="T102" fmla="*/ 87 w 174"/>
                <a:gd name="T103" fmla="*/ 320 h 333"/>
                <a:gd name="T104" fmla="*/ 112 w 174"/>
                <a:gd name="T105" fmla="*/ 315 h 333"/>
                <a:gd name="T106" fmla="*/ 120 w 174"/>
                <a:gd name="T107" fmla="*/ 310 h 333"/>
                <a:gd name="T108" fmla="*/ 123 w 174"/>
                <a:gd name="T109" fmla="*/ 303 h 333"/>
                <a:gd name="T110" fmla="*/ 123 w 174"/>
                <a:gd name="T111" fmla="*/ 295 h 333"/>
                <a:gd name="T112" fmla="*/ 128 w 174"/>
                <a:gd name="T113" fmla="*/ 292 h 333"/>
                <a:gd name="T114" fmla="*/ 135 w 174"/>
                <a:gd name="T115" fmla="*/ 292 h 333"/>
                <a:gd name="T116" fmla="*/ 161 w 174"/>
                <a:gd name="T117" fmla="*/ 275 h 333"/>
                <a:gd name="T118" fmla="*/ 168 w 174"/>
                <a:gd name="T119" fmla="*/ 259 h 333"/>
                <a:gd name="T120" fmla="*/ 171 w 174"/>
                <a:gd name="T121" fmla="*/ 247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4" h="333">
                  <a:moveTo>
                    <a:pt x="123" y="331"/>
                  </a:moveTo>
                  <a:lnTo>
                    <a:pt x="123" y="333"/>
                  </a:lnTo>
                  <a:lnTo>
                    <a:pt x="123" y="333"/>
                  </a:lnTo>
                  <a:lnTo>
                    <a:pt x="125" y="331"/>
                  </a:lnTo>
                  <a:lnTo>
                    <a:pt x="125" y="331"/>
                  </a:lnTo>
                  <a:lnTo>
                    <a:pt x="125" y="331"/>
                  </a:lnTo>
                  <a:lnTo>
                    <a:pt x="123" y="331"/>
                  </a:lnTo>
                  <a:close/>
                  <a:moveTo>
                    <a:pt x="69" y="295"/>
                  </a:moveTo>
                  <a:lnTo>
                    <a:pt x="69" y="292"/>
                  </a:lnTo>
                  <a:lnTo>
                    <a:pt x="69" y="292"/>
                  </a:lnTo>
                  <a:lnTo>
                    <a:pt x="69" y="292"/>
                  </a:lnTo>
                  <a:lnTo>
                    <a:pt x="67" y="292"/>
                  </a:lnTo>
                  <a:lnTo>
                    <a:pt x="67" y="292"/>
                  </a:lnTo>
                  <a:lnTo>
                    <a:pt x="67" y="295"/>
                  </a:lnTo>
                  <a:lnTo>
                    <a:pt x="67" y="297"/>
                  </a:lnTo>
                  <a:lnTo>
                    <a:pt x="69" y="300"/>
                  </a:lnTo>
                  <a:lnTo>
                    <a:pt x="69" y="300"/>
                  </a:lnTo>
                  <a:lnTo>
                    <a:pt x="69" y="300"/>
                  </a:lnTo>
                  <a:lnTo>
                    <a:pt x="69" y="297"/>
                  </a:lnTo>
                  <a:lnTo>
                    <a:pt x="69" y="295"/>
                  </a:lnTo>
                  <a:close/>
                  <a:moveTo>
                    <a:pt x="130" y="292"/>
                  </a:moveTo>
                  <a:lnTo>
                    <a:pt x="130" y="292"/>
                  </a:lnTo>
                  <a:lnTo>
                    <a:pt x="130" y="295"/>
                  </a:lnTo>
                  <a:lnTo>
                    <a:pt x="133" y="292"/>
                  </a:lnTo>
                  <a:lnTo>
                    <a:pt x="133" y="292"/>
                  </a:lnTo>
                  <a:lnTo>
                    <a:pt x="133" y="292"/>
                  </a:lnTo>
                  <a:lnTo>
                    <a:pt x="130" y="292"/>
                  </a:lnTo>
                  <a:close/>
                  <a:moveTo>
                    <a:pt x="100" y="56"/>
                  </a:moveTo>
                  <a:lnTo>
                    <a:pt x="100" y="56"/>
                  </a:lnTo>
                  <a:lnTo>
                    <a:pt x="102" y="58"/>
                  </a:lnTo>
                  <a:lnTo>
                    <a:pt x="102" y="58"/>
                  </a:lnTo>
                  <a:lnTo>
                    <a:pt x="102" y="58"/>
                  </a:lnTo>
                  <a:lnTo>
                    <a:pt x="102" y="56"/>
                  </a:lnTo>
                  <a:lnTo>
                    <a:pt x="102" y="56"/>
                  </a:lnTo>
                  <a:lnTo>
                    <a:pt x="102" y="56"/>
                  </a:lnTo>
                  <a:lnTo>
                    <a:pt x="100" y="56"/>
                  </a:lnTo>
                  <a:close/>
                  <a:moveTo>
                    <a:pt x="97" y="53"/>
                  </a:moveTo>
                  <a:lnTo>
                    <a:pt x="97" y="56"/>
                  </a:lnTo>
                  <a:lnTo>
                    <a:pt x="97" y="56"/>
                  </a:lnTo>
                  <a:lnTo>
                    <a:pt x="97" y="56"/>
                  </a:lnTo>
                  <a:lnTo>
                    <a:pt x="100" y="56"/>
                  </a:lnTo>
                  <a:lnTo>
                    <a:pt x="97" y="56"/>
                  </a:lnTo>
                  <a:lnTo>
                    <a:pt x="97" y="53"/>
                  </a:lnTo>
                  <a:close/>
                  <a:moveTo>
                    <a:pt x="110" y="53"/>
                  </a:moveTo>
                  <a:lnTo>
                    <a:pt x="110" y="53"/>
                  </a:lnTo>
                  <a:lnTo>
                    <a:pt x="110" y="53"/>
                  </a:lnTo>
                  <a:lnTo>
                    <a:pt x="110" y="53"/>
                  </a:lnTo>
                  <a:lnTo>
                    <a:pt x="112" y="53"/>
                  </a:lnTo>
                  <a:lnTo>
                    <a:pt x="112" y="51"/>
                  </a:lnTo>
                  <a:lnTo>
                    <a:pt x="110" y="51"/>
                  </a:lnTo>
                  <a:lnTo>
                    <a:pt x="110" y="53"/>
                  </a:lnTo>
                  <a:close/>
                  <a:moveTo>
                    <a:pt x="110" y="48"/>
                  </a:moveTo>
                  <a:lnTo>
                    <a:pt x="110" y="46"/>
                  </a:lnTo>
                  <a:lnTo>
                    <a:pt x="107" y="46"/>
                  </a:lnTo>
                  <a:lnTo>
                    <a:pt x="107" y="51"/>
                  </a:lnTo>
                  <a:lnTo>
                    <a:pt x="110" y="51"/>
                  </a:lnTo>
                  <a:lnTo>
                    <a:pt x="112" y="48"/>
                  </a:lnTo>
                  <a:lnTo>
                    <a:pt x="110" y="48"/>
                  </a:lnTo>
                  <a:close/>
                  <a:moveTo>
                    <a:pt x="171" y="239"/>
                  </a:moveTo>
                  <a:lnTo>
                    <a:pt x="171" y="241"/>
                  </a:lnTo>
                  <a:lnTo>
                    <a:pt x="174" y="244"/>
                  </a:lnTo>
                  <a:lnTo>
                    <a:pt x="174" y="239"/>
                  </a:lnTo>
                  <a:lnTo>
                    <a:pt x="171" y="234"/>
                  </a:lnTo>
                  <a:lnTo>
                    <a:pt x="171" y="234"/>
                  </a:lnTo>
                  <a:lnTo>
                    <a:pt x="168" y="229"/>
                  </a:lnTo>
                  <a:lnTo>
                    <a:pt x="168" y="226"/>
                  </a:lnTo>
                  <a:lnTo>
                    <a:pt x="168" y="224"/>
                  </a:lnTo>
                  <a:lnTo>
                    <a:pt x="166" y="221"/>
                  </a:lnTo>
                  <a:lnTo>
                    <a:pt x="166" y="213"/>
                  </a:lnTo>
                  <a:lnTo>
                    <a:pt x="168" y="216"/>
                  </a:lnTo>
                  <a:lnTo>
                    <a:pt x="168" y="213"/>
                  </a:lnTo>
                  <a:lnTo>
                    <a:pt x="166" y="211"/>
                  </a:lnTo>
                  <a:lnTo>
                    <a:pt x="166" y="208"/>
                  </a:lnTo>
                  <a:lnTo>
                    <a:pt x="166" y="208"/>
                  </a:lnTo>
                  <a:lnTo>
                    <a:pt x="163" y="206"/>
                  </a:lnTo>
                  <a:lnTo>
                    <a:pt x="163" y="203"/>
                  </a:lnTo>
                  <a:lnTo>
                    <a:pt x="161" y="198"/>
                  </a:lnTo>
                  <a:lnTo>
                    <a:pt x="161" y="196"/>
                  </a:lnTo>
                  <a:lnTo>
                    <a:pt x="158" y="193"/>
                  </a:lnTo>
                  <a:lnTo>
                    <a:pt x="158" y="188"/>
                  </a:lnTo>
                  <a:lnTo>
                    <a:pt x="156" y="183"/>
                  </a:lnTo>
                  <a:lnTo>
                    <a:pt x="153" y="180"/>
                  </a:lnTo>
                  <a:lnTo>
                    <a:pt x="153" y="178"/>
                  </a:lnTo>
                  <a:lnTo>
                    <a:pt x="151" y="178"/>
                  </a:lnTo>
                  <a:lnTo>
                    <a:pt x="148" y="175"/>
                  </a:lnTo>
                  <a:lnTo>
                    <a:pt x="146" y="170"/>
                  </a:lnTo>
                  <a:lnTo>
                    <a:pt x="143" y="168"/>
                  </a:lnTo>
                  <a:lnTo>
                    <a:pt x="140" y="165"/>
                  </a:lnTo>
                  <a:lnTo>
                    <a:pt x="140" y="165"/>
                  </a:lnTo>
                  <a:lnTo>
                    <a:pt x="140" y="163"/>
                  </a:lnTo>
                  <a:lnTo>
                    <a:pt x="140" y="163"/>
                  </a:lnTo>
                  <a:lnTo>
                    <a:pt x="140" y="163"/>
                  </a:lnTo>
                  <a:lnTo>
                    <a:pt x="138" y="163"/>
                  </a:lnTo>
                  <a:lnTo>
                    <a:pt x="138" y="160"/>
                  </a:lnTo>
                  <a:lnTo>
                    <a:pt x="135" y="157"/>
                  </a:lnTo>
                  <a:lnTo>
                    <a:pt x="135" y="157"/>
                  </a:lnTo>
                  <a:lnTo>
                    <a:pt x="133" y="157"/>
                  </a:lnTo>
                  <a:lnTo>
                    <a:pt x="133" y="157"/>
                  </a:lnTo>
                  <a:lnTo>
                    <a:pt x="133" y="157"/>
                  </a:lnTo>
                  <a:lnTo>
                    <a:pt x="130" y="157"/>
                  </a:lnTo>
                  <a:lnTo>
                    <a:pt x="130" y="155"/>
                  </a:lnTo>
                  <a:lnTo>
                    <a:pt x="125" y="152"/>
                  </a:lnTo>
                  <a:lnTo>
                    <a:pt x="125" y="152"/>
                  </a:lnTo>
                  <a:lnTo>
                    <a:pt x="125" y="150"/>
                  </a:lnTo>
                  <a:lnTo>
                    <a:pt x="120" y="147"/>
                  </a:lnTo>
                  <a:lnTo>
                    <a:pt x="118" y="145"/>
                  </a:lnTo>
                  <a:lnTo>
                    <a:pt x="115" y="142"/>
                  </a:lnTo>
                  <a:lnTo>
                    <a:pt x="110" y="137"/>
                  </a:lnTo>
                  <a:lnTo>
                    <a:pt x="107" y="135"/>
                  </a:lnTo>
                  <a:lnTo>
                    <a:pt x="102" y="127"/>
                  </a:lnTo>
                  <a:lnTo>
                    <a:pt x="97" y="127"/>
                  </a:lnTo>
                  <a:lnTo>
                    <a:pt x="97" y="124"/>
                  </a:lnTo>
                  <a:lnTo>
                    <a:pt x="100" y="127"/>
                  </a:lnTo>
                  <a:lnTo>
                    <a:pt x="100" y="122"/>
                  </a:lnTo>
                  <a:lnTo>
                    <a:pt x="100" y="122"/>
                  </a:lnTo>
                  <a:lnTo>
                    <a:pt x="97" y="119"/>
                  </a:lnTo>
                  <a:lnTo>
                    <a:pt x="95" y="114"/>
                  </a:lnTo>
                  <a:lnTo>
                    <a:pt x="92" y="114"/>
                  </a:lnTo>
                  <a:lnTo>
                    <a:pt x="89" y="112"/>
                  </a:lnTo>
                  <a:lnTo>
                    <a:pt x="87" y="109"/>
                  </a:lnTo>
                  <a:lnTo>
                    <a:pt x="84" y="107"/>
                  </a:lnTo>
                  <a:lnTo>
                    <a:pt x="84" y="107"/>
                  </a:lnTo>
                  <a:lnTo>
                    <a:pt x="82" y="104"/>
                  </a:lnTo>
                  <a:lnTo>
                    <a:pt x="82" y="102"/>
                  </a:lnTo>
                  <a:lnTo>
                    <a:pt x="79" y="99"/>
                  </a:lnTo>
                  <a:lnTo>
                    <a:pt x="79" y="96"/>
                  </a:lnTo>
                  <a:lnTo>
                    <a:pt x="82" y="94"/>
                  </a:lnTo>
                  <a:lnTo>
                    <a:pt x="82" y="91"/>
                  </a:lnTo>
                  <a:lnTo>
                    <a:pt x="82" y="89"/>
                  </a:lnTo>
                  <a:lnTo>
                    <a:pt x="82" y="86"/>
                  </a:lnTo>
                  <a:lnTo>
                    <a:pt x="82" y="84"/>
                  </a:lnTo>
                  <a:lnTo>
                    <a:pt x="84" y="76"/>
                  </a:lnTo>
                  <a:lnTo>
                    <a:pt x="84" y="76"/>
                  </a:lnTo>
                  <a:lnTo>
                    <a:pt x="87" y="76"/>
                  </a:lnTo>
                  <a:lnTo>
                    <a:pt x="92" y="71"/>
                  </a:lnTo>
                  <a:lnTo>
                    <a:pt x="92" y="68"/>
                  </a:lnTo>
                  <a:lnTo>
                    <a:pt x="95" y="66"/>
                  </a:lnTo>
                  <a:lnTo>
                    <a:pt x="92" y="63"/>
                  </a:lnTo>
                  <a:lnTo>
                    <a:pt x="97" y="58"/>
                  </a:lnTo>
                  <a:lnTo>
                    <a:pt x="97" y="56"/>
                  </a:lnTo>
                  <a:lnTo>
                    <a:pt x="95" y="53"/>
                  </a:lnTo>
                  <a:lnTo>
                    <a:pt x="95" y="53"/>
                  </a:lnTo>
                  <a:lnTo>
                    <a:pt x="95" y="53"/>
                  </a:lnTo>
                  <a:lnTo>
                    <a:pt x="95" y="53"/>
                  </a:lnTo>
                  <a:lnTo>
                    <a:pt x="97" y="53"/>
                  </a:lnTo>
                  <a:lnTo>
                    <a:pt x="97" y="53"/>
                  </a:lnTo>
                  <a:lnTo>
                    <a:pt x="100" y="53"/>
                  </a:lnTo>
                  <a:lnTo>
                    <a:pt x="100" y="53"/>
                  </a:lnTo>
                  <a:lnTo>
                    <a:pt x="100" y="53"/>
                  </a:lnTo>
                  <a:lnTo>
                    <a:pt x="102" y="53"/>
                  </a:lnTo>
                  <a:lnTo>
                    <a:pt x="102" y="53"/>
                  </a:lnTo>
                  <a:lnTo>
                    <a:pt x="105" y="53"/>
                  </a:lnTo>
                  <a:lnTo>
                    <a:pt x="107" y="51"/>
                  </a:lnTo>
                  <a:lnTo>
                    <a:pt x="107" y="48"/>
                  </a:lnTo>
                  <a:lnTo>
                    <a:pt x="107" y="48"/>
                  </a:lnTo>
                  <a:lnTo>
                    <a:pt x="107" y="46"/>
                  </a:lnTo>
                  <a:lnTo>
                    <a:pt x="110" y="46"/>
                  </a:lnTo>
                  <a:lnTo>
                    <a:pt x="112" y="43"/>
                  </a:lnTo>
                  <a:lnTo>
                    <a:pt x="112" y="43"/>
                  </a:lnTo>
                  <a:lnTo>
                    <a:pt x="115" y="40"/>
                  </a:lnTo>
                  <a:lnTo>
                    <a:pt x="118" y="40"/>
                  </a:lnTo>
                  <a:lnTo>
                    <a:pt x="118" y="40"/>
                  </a:lnTo>
                  <a:lnTo>
                    <a:pt x="118" y="40"/>
                  </a:lnTo>
                  <a:lnTo>
                    <a:pt x="115" y="38"/>
                  </a:lnTo>
                  <a:lnTo>
                    <a:pt x="112" y="38"/>
                  </a:lnTo>
                  <a:lnTo>
                    <a:pt x="110" y="38"/>
                  </a:lnTo>
                  <a:lnTo>
                    <a:pt x="107" y="38"/>
                  </a:lnTo>
                  <a:lnTo>
                    <a:pt x="107" y="38"/>
                  </a:lnTo>
                  <a:lnTo>
                    <a:pt x="105" y="38"/>
                  </a:lnTo>
                  <a:lnTo>
                    <a:pt x="102" y="35"/>
                  </a:lnTo>
                  <a:lnTo>
                    <a:pt x="102" y="35"/>
                  </a:lnTo>
                  <a:lnTo>
                    <a:pt x="100" y="33"/>
                  </a:lnTo>
                  <a:lnTo>
                    <a:pt x="97" y="33"/>
                  </a:lnTo>
                  <a:lnTo>
                    <a:pt x="97" y="33"/>
                  </a:lnTo>
                  <a:lnTo>
                    <a:pt x="97" y="30"/>
                  </a:lnTo>
                  <a:lnTo>
                    <a:pt x="97" y="30"/>
                  </a:lnTo>
                  <a:lnTo>
                    <a:pt x="95" y="30"/>
                  </a:lnTo>
                  <a:lnTo>
                    <a:pt x="92" y="30"/>
                  </a:lnTo>
                  <a:lnTo>
                    <a:pt x="92" y="30"/>
                  </a:lnTo>
                  <a:lnTo>
                    <a:pt x="92" y="30"/>
                  </a:lnTo>
                  <a:lnTo>
                    <a:pt x="89" y="30"/>
                  </a:lnTo>
                  <a:lnTo>
                    <a:pt x="89" y="28"/>
                  </a:lnTo>
                  <a:lnTo>
                    <a:pt x="89" y="25"/>
                  </a:lnTo>
                  <a:lnTo>
                    <a:pt x="89" y="23"/>
                  </a:lnTo>
                  <a:lnTo>
                    <a:pt x="89" y="23"/>
                  </a:lnTo>
                  <a:lnTo>
                    <a:pt x="87" y="23"/>
                  </a:lnTo>
                  <a:lnTo>
                    <a:pt x="87" y="23"/>
                  </a:lnTo>
                  <a:lnTo>
                    <a:pt x="87" y="20"/>
                  </a:lnTo>
                  <a:lnTo>
                    <a:pt x="87" y="18"/>
                  </a:lnTo>
                  <a:lnTo>
                    <a:pt x="87" y="15"/>
                  </a:lnTo>
                  <a:lnTo>
                    <a:pt x="87" y="15"/>
                  </a:lnTo>
                  <a:lnTo>
                    <a:pt x="89" y="15"/>
                  </a:lnTo>
                  <a:lnTo>
                    <a:pt x="89" y="12"/>
                  </a:lnTo>
                  <a:lnTo>
                    <a:pt x="89" y="12"/>
                  </a:lnTo>
                  <a:lnTo>
                    <a:pt x="87" y="10"/>
                  </a:lnTo>
                  <a:lnTo>
                    <a:pt x="84" y="10"/>
                  </a:lnTo>
                  <a:lnTo>
                    <a:pt x="84" y="10"/>
                  </a:lnTo>
                  <a:lnTo>
                    <a:pt x="82" y="10"/>
                  </a:lnTo>
                  <a:lnTo>
                    <a:pt x="79" y="10"/>
                  </a:lnTo>
                  <a:lnTo>
                    <a:pt x="79" y="10"/>
                  </a:lnTo>
                  <a:lnTo>
                    <a:pt x="77" y="7"/>
                  </a:lnTo>
                  <a:lnTo>
                    <a:pt x="77" y="7"/>
                  </a:lnTo>
                  <a:lnTo>
                    <a:pt x="74" y="7"/>
                  </a:lnTo>
                  <a:lnTo>
                    <a:pt x="74" y="7"/>
                  </a:lnTo>
                  <a:lnTo>
                    <a:pt x="74" y="7"/>
                  </a:lnTo>
                  <a:lnTo>
                    <a:pt x="72" y="7"/>
                  </a:lnTo>
                  <a:lnTo>
                    <a:pt x="72" y="7"/>
                  </a:lnTo>
                  <a:lnTo>
                    <a:pt x="69" y="7"/>
                  </a:lnTo>
                  <a:lnTo>
                    <a:pt x="67" y="5"/>
                  </a:lnTo>
                  <a:lnTo>
                    <a:pt x="64" y="5"/>
                  </a:lnTo>
                  <a:lnTo>
                    <a:pt x="64" y="5"/>
                  </a:lnTo>
                  <a:lnTo>
                    <a:pt x="64" y="2"/>
                  </a:lnTo>
                  <a:lnTo>
                    <a:pt x="61" y="2"/>
                  </a:lnTo>
                  <a:lnTo>
                    <a:pt x="59" y="0"/>
                  </a:lnTo>
                  <a:lnTo>
                    <a:pt x="59" y="0"/>
                  </a:lnTo>
                  <a:lnTo>
                    <a:pt x="59" y="0"/>
                  </a:lnTo>
                  <a:lnTo>
                    <a:pt x="56" y="0"/>
                  </a:lnTo>
                  <a:lnTo>
                    <a:pt x="54" y="2"/>
                  </a:lnTo>
                  <a:lnTo>
                    <a:pt x="51" y="2"/>
                  </a:lnTo>
                  <a:lnTo>
                    <a:pt x="51" y="2"/>
                  </a:lnTo>
                  <a:lnTo>
                    <a:pt x="51" y="5"/>
                  </a:lnTo>
                  <a:lnTo>
                    <a:pt x="51" y="7"/>
                  </a:lnTo>
                  <a:lnTo>
                    <a:pt x="51" y="7"/>
                  </a:lnTo>
                  <a:lnTo>
                    <a:pt x="49" y="10"/>
                  </a:lnTo>
                  <a:lnTo>
                    <a:pt x="49" y="10"/>
                  </a:lnTo>
                  <a:lnTo>
                    <a:pt x="49" y="10"/>
                  </a:lnTo>
                  <a:lnTo>
                    <a:pt x="46" y="10"/>
                  </a:lnTo>
                  <a:lnTo>
                    <a:pt x="46" y="10"/>
                  </a:lnTo>
                  <a:lnTo>
                    <a:pt x="44" y="12"/>
                  </a:lnTo>
                  <a:lnTo>
                    <a:pt x="41" y="12"/>
                  </a:lnTo>
                  <a:lnTo>
                    <a:pt x="41" y="12"/>
                  </a:lnTo>
                  <a:lnTo>
                    <a:pt x="39" y="10"/>
                  </a:lnTo>
                  <a:lnTo>
                    <a:pt x="39" y="10"/>
                  </a:lnTo>
                  <a:lnTo>
                    <a:pt x="36" y="12"/>
                  </a:lnTo>
                  <a:lnTo>
                    <a:pt x="36" y="15"/>
                  </a:lnTo>
                  <a:lnTo>
                    <a:pt x="36" y="15"/>
                  </a:lnTo>
                  <a:lnTo>
                    <a:pt x="36" y="18"/>
                  </a:lnTo>
                  <a:lnTo>
                    <a:pt x="36" y="18"/>
                  </a:lnTo>
                  <a:lnTo>
                    <a:pt x="33" y="18"/>
                  </a:lnTo>
                  <a:lnTo>
                    <a:pt x="28" y="12"/>
                  </a:lnTo>
                  <a:lnTo>
                    <a:pt x="28" y="12"/>
                  </a:lnTo>
                  <a:lnTo>
                    <a:pt x="28" y="12"/>
                  </a:lnTo>
                  <a:lnTo>
                    <a:pt x="26" y="15"/>
                  </a:lnTo>
                  <a:lnTo>
                    <a:pt x="26" y="15"/>
                  </a:lnTo>
                  <a:lnTo>
                    <a:pt x="26" y="15"/>
                  </a:lnTo>
                  <a:lnTo>
                    <a:pt x="23" y="12"/>
                  </a:lnTo>
                  <a:lnTo>
                    <a:pt x="23" y="12"/>
                  </a:lnTo>
                  <a:lnTo>
                    <a:pt x="21" y="12"/>
                  </a:lnTo>
                  <a:lnTo>
                    <a:pt x="21" y="12"/>
                  </a:lnTo>
                  <a:lnTo>
                    <a:pt x="21" y="15"/>
                  </a:lnTo>
                  <a:lnTo>
                    <a:pt x="18" y="15"/>
                  </a:lnTo>
                  <a:lnTo>
                    <a:pt x="18" y="18"/>
                  </a:lnTo>
                  <a:lnTo>
                    <a:pt x="18" y="18"/>
                  </a:lnTo>
                  <a:lnTo>
                    <a:pt x="18" y="20"/>
                  </a:lnTo>
                  <a:lnTo>
                    <a:pt x="16" y="20"/>
                  </a:lnTo>
                  <a:lnTo>
                    <a:pt x="16" y="18"/>
                  </a:lnTo>
                  <a:lnTo>
                    <a:pt x="13" y="18"/>
                  </a:lnTo>
                  <a:lnTo>
                    <a:pt x="13" y="15"/>
                  </a:lnTo>
                  <a:lnTo>
                    <a:pt x="10" y="15"/>
                  </a:lnTo>
                  <a:lnTo>
                    <a:pt x="8" y="12"/>
                  </a:lnTo>
                  <a:lnTo>
                    <a:pt x="5" y="12"/>
                  </a:lnTo>
                  <a:lnTo>
                    <a:pt x="5" y="12"/>
                  </a:lnTo>
                  <a:lnTo>
                    <a:pt x="5" y="12"/>
                  </a:lnTo>
                  <a:lnTo>
                    <a:pt x="5" y="12"/>
                  </a:lnTo>
                  <a:lnTo>
                    <a:pt x="3" y="15"/>
                  </a:lnTo>
                  <a:lnTo>
                    <a:pt x="3" y="18"/>
                  </a:lnTo>
                  <a:lnTo>
                    <a:pt x="3" y="18"/>
                  </a:lnTo>
                  <a:lnTo>
                    <a:pt x="0" y="20"/>
                  </a:lnTo>
                  <a:lnTo>
                    <a:pt x="0" y="20"/>
                  </a:lnTo>
                  <a:lnTo>
                    <a:pt x="0" y="23"/>
                  </a:lnTo>
                  <a:lnTo>
                    <a:pt x="3" y="25"/>
                  </a:lnTo>
                  <a:lnTo>
                    <a:pt x="8" y="28"/>
                  </a:lnTo>
                  <a:lnTo>
                    <a:pt x="8" y="30"/>
                  </a:lnTo>
                  <a:lnTo>
                    <a:pt x="10" y="30"/>
                  </a:lnTo>
                  <a:lnTo>
                    <a:pt x="10" y="33"/>
                  </a:lnTo>
                  <a:lnTo>
                    <a:pt x="13" y="35"/>
                  </a:lnTo>
                  <a:lnTo>
                    <a:pt x="13" y="35"/>
                  </a:lnTo>
                  <a:lnTo>
                    <a:pt x="13" y="38"/>
                  </a:lnTo>
                  <a:lnTo>
                    <a:pt x="13" y="38"/>
                  </a:lnTo>
                  <a:lnTo>
                    <a:pt x="13" y="35"/>
                  </a:lnTo>
                  <a:lnTo>
                    <a:pt x="16" y="35"/>
                  </a:lnTo>
                  <a:lnTo>
                    <a:pt x="16" y="33"/>
                  </a:lnTo>
                  <a:lnTo>
                    <a:pt x="16" y="33"/>
                  </a:lnTo>
                  <a:lnTo>
                    <a:pt x="16" y="35"/>
                  </a:lnTo>
                  <a:lnTo>
                    <a:pt x="18" y="35"/>
                  </a:lnTo>
                  <a:lnTo>
                    <a:pt x="18" y="35"/>
                  </a:lnTo>
                  <a:lnTo>
                    <a:pt x="18" y="35"/>
                  </a:lnTo>
                  <a:lnTo>
                    <a:pt x="18" y="38"/>
                  </a:lnTo>
                  <a:lnTo>
                    <a:pt x="18" y="38"/>
                  </a:lnTo>
                  <a:lnTo>
                    <a:pt x="18" y="40"/>
                  </a:lnTo>
                  <a:lnTo>
                    <a:pt x="18" y="43"/>
                  </a:lnTo>
                  <a:lnTo>
                    <a:pt x="18" y="46"/>
                  </a:lnTo>
                  <a:lnTo>
                    <a:pt x="18" y="46"/>
                  </a:lnTo>
                  <a:lnTo>
                    <a:pt x="18" y="48"/>
                  </a:lnTo>
                  <a:lnTo>
                    <a:pt x="23" y="56"/>
                  </a:lnTo>
                  <a:lnTo>
                    <a:pt x="26" y="56"/>
                  </a:lnTo>
                  <a:lnTo>
                    <a:pt x="31" y="58"/>
                  </a:lnTo>
                  <a:lnTo>
                    <a:pt x="33" y="58"/>
                  </a:lnTo>
                  <a:lnTo>
                    <a:pt x="36" y="58"/>
                  </a:lnTo>
                  <a:lnTo>
                    <a:pt x="36" y="58"/>
                  </a:lnTo>
                  <a:lnTo>
                    <a:pt x="39" y="56"/>
                  </a:lnTo>
                  <a:lnTo>
                    <a:pt x="39" y="56"/>
                  </a:lnTo>
                  <a:lnTo>
                    <a:pt x="44" y="53"/>
                  </a:lnTo>
                  <a:lnTo>
                    <a:pt x="44" y="53"/>
                  </a:lnTo>
                  <a:lnTo>
                    <a:pt x="46" y="53"/>
                  </a:lnTo>
                  <a:lnTo>
                    <a:pt x="49" y="56"/>
                  </a:lnTo>
                  <a:lnTo>
                    <a:pt x="51" y="58"/>
                  </a:lnTo>
                  <a:lnTo>
                    <a:pt x="54" y="58"/>
                  </a:lnTo>
                  <a:lnTo>
                    <a:pt x="54" y="61"/>
                  </a:lnTo>
                  <a:lnTo>
                    <a:pt x="54" y="61"/>
                  </a:lnTo>
                  <a:lnTo>
                    <a:pt x="54" y="63"/>
                  </a:lnTo>
                  <a:lnTo>
                    <a:pt x="51" y="63"/>
                  </a:lnTo>
                  <a:lnTo>
                    <a:pt x="51" y="63"/>
                  </a:lnTo>
                  <a:lnTo>
                    <a:pt x="51" y="66"/>
                  </a:lnTo>
                  <a:lnTo>
                    <a:pt x="51" y="66"/>
                  </a:lnTo>
                  <a:lnTo>
                    <a:pt x="54" y="66"/>
                  </a:lnTo>
                  <a:lnTo>
                    <a:pt x="56" y="66"/>
                  </a:lnTo>
                  <a:lnTo>
                    <a:pt x="56" y="68"/>
                  </a:lnTo>
                  <a:lnTo>
                    <a:pt x="56" y="68"/>
                  </a:lnTo>
                  <a:lnTo>
                    <a:pt x="56" y="68"/>
                  </a:lnTo>
                  <a:lnTo>
                    <a:pt x="56" y="71"/>
                  </a:lnTo>
                  <a:lnTo>
                    <a:pt x="59" y="71"/>
                  </a:lnTo>
                  <a:lnTo>
                    <a:pt x="61" y="71"/>
                  </a:lnTo>
                  <a:lnTo>
                    <a:pt x="61" y="71"/>
                  </a:lnTo>
                  <a:lnTo>
                    <a:pt x="61" y="74"/>
                  </a:lnTo>
                  <a:lnTo>
                    <a:pt x="64" y="74"/>
                  </a:lnTo>
                  <a:lnTo>
                    <a:pt x="61" y="76"/>
                  </a:lnTo>
                  <a:lnTo>
                    <a:pt x="61" y="76"/>
                  </a:lnTo>
                  <a:lnTo>
                    <a:pt x="61" y="79"/>
                  </a:lnTo>
                  <a:lnTo>
                    <a:pt x="59" y="81"/>
                  </a:lnTo>
                  <a:lnTo>
                    <a:pt x="56" y="84"/>
                  </a:lnTo>
                  <a:lnTo>
                    <a:pt x="56" y="84"/>
                  </a:lnTo>
                  <a:lnTo>
                    <a:pt x="51" y="81"/>
                  </a:lnTo>
                  <a:lnTo>
                    <a:pt x="49" y="81"/>
                  </a:lnTo>
                  <a:lnTo>
                    <a:pt x="46" y="81"/>
                  </a:lnTo>
                  <a:lnTo>
                    <a:pt x="46" y="81"/>
                  </a:lnTo>
                  <a:lnTo>
                    <a:pt x="46" y="84"/>
                  </a:lnTo>
                  <a:lnTo>
                    <a:pt x="46" y="84"/>
                  </a:lnTo>
                  <a:lnTo>
                    <a:pt x="46" y="86"/>
                  </a:lnTo>
                  <a:lnTo>
                    <a:pt x="46" y="89"/>
                  </a:lnTo>
                  <a:lnTo>
                    <a:pt x="46" y="89"/>
                  </a:lnTo>
                  <a:lnTo>
                    <a:pt x="44" y="89"/>
                  </a:lnTo>
                  <a:lnTo>
                    <a:pt x="44" y="91"/>
                  </a:lnTo>
                  <a:lnTo>
                    <a:pt x="46" y="91"/>
                  </a:lnTo>
                  <a:lnTo>
                    <a:pt x="46" y="91"/>
                  </a:lnTo>
                  <a:lnTo>
                    <a:pt x="49" y="94"/>
                  </a:lnTo>
                  <a:lnTo>
                    <a:pt x="56" y="99"/>
                  </a:lnTo>
                  <a:lnTo>
                    <a:pt x="59" y="99"/>
                  </a:lnTo>
                  <a:lnTo>
                    <a:pt x="59" y="102"/>
                  </a:lnTo>
                  <a:lnTo>
                    <a:pt x="61" y="102"/>
                  </a:lnTo>
                  <a:lnTo>
                    <a:pt x="69" y="104"/>
                  </a:lnTo>
                  <a:lnTo>
                    <a:pt x="72" y="104"/>
                  </a:lnTo>
                  <a:lnTo>
                    <a:pt x="72" y="107"/>
                  </a:lnTo>
                  <a:lnTo>
                    <a:pt x="72" y="107"/>
                  </a:lnTo>
                  <a:lnTo>
                    <a:pt x="72" y="107"/>
                  </a:lnTo>
                  <a:lnTo>
                    <a:pt x="72" y="109"/>
                  </a:lnTo>
                  <a:lnTo>
                    <a:pt x="72" y="109"/>
                  </a:lnTo>
                  <a:lnTo>
                    <a:pt x="72" y="112"/>
                  </a:lnTo>
                  <a:lnTo>
                    <a:pt x="72" y="112"/>
                  </a:lnTo>
                  <a:lnTo>
                    <a:pt x="74" y="114"/>
                  </a:lnTo>
                  <a:lnTo>
                    <a:pt x="77" y="117"/>
                  </a:lnTo>
                  <a:lnTo>
                    <a:pt x="77" y="117"/>
                  </a:lnTo>
                  <a:lnTo>
                    <a:pt x="79" y="117"/>
                  </a:lnTo>
                  <a:lnTo>
                    <a:pt x="79" y="119"/>
                  </a:lnTo>
                  <a:lnTo>
                    <a:pt x="82" y="119"/>
                  </a:lnTo>
                  <a:lnTo>
                    <a:pt x="82" y="122"/>
                  </a:lnTo>
                  <a:lnTo>
                    <a:pt x="84" y="124"/>
                  </a:lnTo>
                  <a:lnTo>
                    <a:pt x="84" y="127"/>
                  </a:lnTo>
                  <a:lnTo>
                    <a:pt x="87" y="127"/>
                  </a:lnTo>
                  <a:lnTo>
                    <a:pt x="89" y="132"/>
                  </a:lnTo>
                  <a:lnTo>
                    <a:pt x="92" y="132"/>
                  </a:lnTo>
                  <a:lnTo>
                    <a:pt x="92" y="135"/>
                  </a:lnTo>
                  <a:lnTo>
                    <a:pt x="97" y="137"/>
                  </a:lnTo>
                  <a:lnTo>
                    <a:pt x="100" y="140"/>
                  </a:lnTo>
                  <a:lnTo>
                    <a:pt x="102" y="142"/>
                  </a:lnTo>
                  <a:lnTo>
                    <a:pt x="102" y="142"/>
                  </a:lnTo>
                  <a:lnTo>
                    <a:pt x="102" y="145"/>
                  </a:lnTo>
                  <a:lnTo>
                    <a:pt x="105" y="145"/>
                  </a:lnTo>
                  <a:lnTo>
                    <a:pt x="105" y="147"/>
                  </a:lnTo>
                  <a:lnTo>
                    <a:pt x="105" y="150"/>
                  </a:lnTo>
                  <a:lnTo>
                    <a:pt x="107" y="152"/>
                  </a:lnTo>
                  <a:lnTo>
                    <a:pt x="107" y="152"/>
                  </a:lnTo>
                  <a:lnTo>
                    <a:pt x="107" y="155"/>
                  </a:lnTo>
                  <a:lnTo>
                    <a:pt x="110" y="155"/>
                  </a:lnTo>
                  <a:lnTo>
                    <a:pt x="110" y="155"/>
                  </a:lnTo>
                  <a:lnTo>
                    <a:pt x="110" y="155"/>
                  </a:lnTo>
                  <a:lnTo>
                    <a:pt x="112" y="152"/>
                  </a:lnTo>
                  <a:lnTo>
                    <a:pt x="112" y="155"/>
                  </a:lnTo>
                  <a:lnTo>
                    <a:pt x="112" y="157"/>
                  </a:lnTo>
                  <a:lnTo>
                    <a:pt x="112" y="157"/>
                  </a:lnTo>
                  <a:lnTo>
                    <a:pt x="115" y="157"/>
                  </a:lnTo>
                  <a:lnTo>
                    <a:pt x="118" y="160"/>
                  </a:lnTo>
                  <a:lnTo>
                    <a:pt x="120" y="163"/>
                  </a:lnTo>
                  <a:lnTo>
                    <a:pt x="123" y="163"/>
                  </a:lnTo>
                  <a:lnTo>
                    <a:pt x="123" y="165"/>
                  </a:lnTo>
                  <a:lnTo>
                    <a:pt x="123" y="165"/>
                  </a:lnTo>
                  <a:lnTo>
                    <a:pt x="125" y="165"/>
                  </a:lnTo>
                  <a:lnTo>
                    <a:pt x="125" y="168"/>
                  </a:lnTo>
                  <a:lnTo>
                    <a:pt x="123" y="168"/>
                  </a:lnTo>
                  <a:lnTo>
                    <a:pt x="120" y="170"/>
                  </a:lnTo>
                  <a:lnTo>
                    <a:pt x="120" y="170"/>
                  </a:lnTo>
                  <a:lnTo>
                    <a:pt x="120" y="170"/>
                  </a:lnTo>
                  <a:lnTo>
                    <a:pt x="123" y="173"/>
                  </a:lnTo>
                  <a:lnTo>
                    <a:pt x="123" y="175"/>
                  </a:lnTo>
                  <a:lnTo>
                    <a:pt x="125" y="175"/>
                  </a:lnTo>
                  <a:lnTo>
                    <a:pt x="128" y="178"/>
                  </a:lnTo>
                  <a:lnTo>
                    <a:pt x="128" y="180"/>
                  </a:lnTo>
                  <a:lnTo>
                    <a:pt x="130" y="180"/>
                  </a:lnTo>
                  <a:lnTo>
                    <a:pt x="130" y="183"/>
                  </a:lnTo>
                  <a:lnTo>
                    <a:pt x="130" y="183"/>
                  </a:lnTo>
                  <a:lnTo>
                    <a:pt x="130" y="185"/>
                  </a:lnTo>
                  <a:lnTo>
                    <a:pt x="130" y="188"/>
                  </a:lnTo>
                  <a:lnTo>
                    <a:pt x="128" y="188"/>
                  </a:lnTo>
                  <a:lnTo>
                    <a:pt x="128" y="188"/>
                  </a:lnTo>
                  <a:lnTo>
                    <a:pt x="130" y="191"/>
                  </a:lnTo>
                  <a:lnTo>
                    <a:pt x="130" y="191"/>
                  </a:lnTo>
                  <a:lnTo>
                    <a:pt x="130" y="193"/>
                  </a:lnTo>
                  <a:lnTo>
                    <a:pt x="130" y="196"/>
                  </a:lnTo>
                  <a:lnTo>
                    <a:pt x="130" y="196"/>
                  </a:lnTo>
                  <a:lnTo>
                    <a:pt x="130" y="198"/>
                  </a:lnTo>
                  <a:lnTo>
                    <a:pt x="130" y="201"/>
                  </a:lnTo>
                  <a:lnTo>
                    <a:pt x="128" y="203"/>
                  </a:lnTo>
                  <a:lnTo>
                    <a:pt x="128" y="203"/>
                  </a:lnTo>
                  <a:lnTo>
                    <a:pt x="128" y="208"/>
                  </a:lnTo>
                  <a:lnTo>
                    <a:pt x="128" y="208"/>
                  </a:lnTo>
                  <a:lnTo>
                    <a:pt x="128" y="211"/>
                  </a:lnTo>
                  <a:lnTo>
                    <a:pt x="130" y="211"/>
                  </a:lnTo>
                  <a:lnTo>
                    <a:pt x="130" y="216"/>
                  </a:lnTo>
                  <a:lnTo>
                    <a:pt x="133" y="219"/>
                  </a:lnTo>
                  <a:lnTo>
                    <a:pt x="135" y="221"/>
                  </a:lnTo>
                  <a:lnTo>
                    <a:pt x="135" y="224"/>
                  </a:lnTo>
                  <a:lnTo>
                    <a:pt x="133" y="229"/>
                  </a:lnTo>
                  <a:lnTo>
                    <a:pt x="133" y="234"/>
                  </a:lnTo>
                  <a:lnTo>
                    <a:pt x="133" y="236"/>
                  </a:lnTo>
                  <a:lnTo>
                    <a:pt x="135" y="236"/>
                  </a:lnTo>
                  <a:lnTo>
                    <a:pt x="135" y="241"/>
                  </a:lnTo>
                  <a:lnTo>
                    <a:pt x="135" y="244"/>
                  </a:lnTo>
                  <a:lnTo>
                    <a:pt x="135" y="247"/>
                  </a:lnTo>
                  <a:lnTo>
                    <a:pt x="135" y="249"/>
                  </a:lnTo>
                  <a:lnTo>
                    <a:pt x="133" y="249"/>
                  </a:lnTo>
                  <a:lnTo>
                    <a:pt x="133" y="252"/>
                  </a:lnTo>
                  <a:lnTo>
                    <a:pt x="133" y="249"/>
                  </a:lnTo>
                  <a:lnTo>
                    <a:pt x="130" y="249"/>
                  </a:lnTo>
                  <a:lnTo>
                    <a:pt x="130" y="249"/>
                  </a:lnTo>
                  <a:lnTo>
                    <a:pt x="128" y="249"/>
                  </a:lnTo>
                  <a:lnTo>
                    <a:pt x="125" y="252"/>
                  </a:lnTo>
                  <a:lnTo>
                    <a:pt x="125" y="254"/>
                  </a:lnTo>
                  <a:lnTo>
                    <a:pt x="120" y="254"/>
                  </a:lnTo>
                  <a:lnTo>
                    <a:pt x="120" y="257"/>
                  </a:lnTo>
                  <a:lnTo>
                    <a:pt x="118" y="257"/>
                  </a:lnTo>
                  <a:lnTo>
                    <a:pt x="115" y="257"/>
                  </a:lnTo>
                  <a:lnTo>
                    <a:pt x="115" y="257"/>
                  </a:lnTo>
                  <a:lnTo>
                    <a:pt x="115" y="259"/>
                  </a:lnTo>
                  <a:lnTo>
                    <a:pt x="115" y="262"/>
                  </a:lnTo>
                  <a:lnTo>
                    <a:pt x="115" y="264"/>
                  </a:lnTo>
                  <a:lnTo>
                    <a:pt x="115" y="264"/>
                  </a:lnTo>
                  <a:lnTo>
                    <a:pt x="112" y="264"/>
                  </a:lnTo>
                  <a:lnTo>
                    <a:pt x="110" y="262"/>
                  </a:lnTo>
                  <a:lnTo>
                    <a:pt x="107" y="262"/>
                  </a:lnTo>
                  <a:lnTo>
                    <a:pt x="107" y="262"/>
                  </a:lnTo>
                  <a:lnTo>
                    <a:pt x="105" y="264"/>
                  </a:lnTo>
                  <a:lnTo>
                    <a:pt x="105" y="264"/>
                  </a:lnTo>
                  <a:lnTo>
                    <a:pt x="105" y="264"/>
                  </a:lnTo>
                  <a:lnTo>
                    <a:pt x="102" y="264"/>
                  </a:lnTo>
                  <a:lnTo>
                    <a:pt x="102" y="264"/>
                  </a:lnTo>
                  <a:lnTo>
                    <a:pt x="102" y="267"/>
                  </a:lnTo>
                  <a:lnTo>
                    <a:pt x="105" y="267"/>
                  </a:lnTo>
                  <a:lnTo>
                    <a:pt x="105" y="269"/>
                  </a:lnTo>
                  <a:lnTo>
                    <a:pt x="105" y="272"/>
                  </a:lnTo>
                  <a:lnTo>
                    <a:pt x="105" y="275"/>
                  </a:lnTo>
                  <a:lnTo>
                    <a:pt x="110" y="277"/>
                  </a:lnTo>
                  <a:lnTo>
                    <a:pt x="110" y="277"/>
                  </a:lnTo>
                  <a:lnTo>
                    <a:pt x="110" y="280"/>
                  </a:lnTo>
                  <a:lnTo>
                    <a:pt x="110" y="282"/>
                  </a:lnTo>
                  <a:lnTo>
                    <a:pt x="110" y="285"/>
                  </a:lnTo>
                  <a:lnTo>
                    <a:pt x="110" y="285"/>
                  </a:lnTo>
                  <a:lnTo>
                    <a:pt x="107" y="282"/>
                  </a:lnTo>
                  <a:lnTo>
                    <a:pt x="107" y="282"/>
                  </a:lnTo>
                  <a:lnTo>
                    <a:pt x="105" y="282"/>
                  </a:lnTo>
                  <a:lnTo>
                    <a:pt x="105" y="282"/>
                  </a:lnTo>
                  <a:lnTo>
                    <a:pt x="105" y="280"/>
                  </a:lnTo>
                  <a:lnTo>
                    <a:pt x="102" y="280"/>
                  </a:lnTo>
                  <a:lnTo>
                    <a:pt x="102" y="280"/>
                  </a:lnTo>
                  <a:lnTo>
                    <a:pt x="100" y="280"/>
                  </a:lnTo>
                  <a:lnTo>
                    <a:pt x="97" y="280"/>
                  </a:lnTo>
                  <a:lnTo>
                    <a:pt x="95" y="280"/>
                  </a:lnTo>
                  <a:lnTo>
                    <a:pt x="95" y="280"/>
                  </a:lnTo>
                  <a:lnTo>
                    <a:pt x="95" y="282"/>
                  </a:lnTo>
                  <a:lnTo>
                    <a:pt x="95" y="282"/>
                  </a:lnTo>
                  <a:lnTo>
                    <a:pt x="92" y="282"/>
                  </a:lnTo>
                  <a:lnTo>
                    <a:pt x="89" y="282"/>
                  </a:lnTo>
                  <a:lnTo>
                    <a:pt x="87" y="282"/>
                  </a:lnTo>
                  <a:lnTo>
                    <a:pt x="89" y="285"/>
                  </a:lnTo>
                  <a:lnTo>
                    <a:pt x="89" y="285"/>
                  </a:lnTo>
                  <a:lnTo>
                    <a:pt x="89" y="285"/>
                  </a:lnTo>
                  <a:lnTo>
                    <a:pt x="87" y="287"/>
                  </a:lnTo>
                  <a:lnTo>
                    <a:pt x="87" y="287"/>
                  </a:lnTo>
                  <a:lnTo>
                    <a:pt x="84" y="290"/>
                  </a:lnTo>
                  <a:lnTo>
                    <a:pt x="84" y="290"/>
                  </a:lnTo>
                  <a:lnTo>
                    <a:pt x="82" y="290"/>
                  </a:lnTo>
                  <a:lnTo>
                    <a:pt x="79" y="290"/>
                  </a:lnTo>
                  <a:lnTo>
                    <a:pt x="79" y="292"/>
                  </a:lnTo>
                  <a:lnTo>
                    <a:pt x="77" y="292"/>
                  </a:lnTo>
                  <a:lnTo>
                    <a:pt x="77" y="292"/>
                  </a:lnTo>
                  <a:lnTo>
                    <a:pt x="79" y="295"/>
                  </a:lnTo>
                  <a:lnTo>
                    <a:pt x="82" y="295"/>
                  </a:lnTo>
                  <a:lnTo>
                    <a:pt x="82" y="297"/>
                  </a:lnTo>
                  <a:lnTo>
                    <a:pt x="82" y="297"/>
                  </a:lnTo>
                  <a:lnTo>
                    <a:pt x="84" y="297"/>
                  </a:lnTo>
                  <a:lnTo>
                    <a:pt x="84" y="297"/>
                  </a:lnTo>
                  <a:lnTo>
                    <a:pt x="87" y="300"/>
                  </a:lnTo>
                  <a:lnTo>
                    <a:pt x="89" y="300"/>
                  </a:lnTo>
                  <a:lnTo>
                    <a:pt x="89" y="300"/>
                  </a:lnTo>
                  <a:lnTo>
                    <a:pt x="92" y="303"/>
                  </a:lnTo>
                  <a:lnTo>
                    <a:pt x="92" y="303"/>
                  </a:lnTo>
                  <a:lnTo>
                    <a:pt x="92" y="305"/>
                  </a:lnTo>
                  <a:lnTo>
                    <a:pt x="89" y="305"/>
                  </a:lnTo>
                  <a:lnTo>
                    <a:pt x="87" y="305"/>
                  </a:lnTo>
                  <a:lnTo>
                    <a:pt x="87" y="310"/>
                  </a:lnTo>
                  <a:lnTo>
                    <a:pt x="87" y="320"/>
                  </a:lnTo>
                  <a:lnTo>
                    <a:pt x="87" y="328"/>
                  </a:lnTo>
                  <a:lnTo>
                    <a:pt x="89" y="331"/>
                  </a:lnTo>
                  <a:lnTo>
                    <a:pt x="87" y="333"/>
                  </a:lnTo>
                  <a:lnTo>
                    <a:pt x="89" y="333"/>
                  </a:lnTo>
                  <a:lnTo>
                    <a:pt x="95" y="333"/>
                  </a:lnTo>
                  <a:lnTo>
                    <a:pt x="95" y="331"/>
                  </a:lnTo>
                  <a:lnTo>
                    <a:pt x="97" y="328"/>
                  </a:lnTo>
                  <a:lnTo>
                    <a:pt x="100" y="325"/>
                  </a:lnTo>
                  <a:lnTo>
                    <a:pt x="100" y="323"/>
                  </a:lnTo>
                  <a:lnTo>
                    <a:pt x="112" y="315"/>
                  </a:lnTo>
                  <a:lnTo>
                    <a:pt x="115" y="315"/>
                  </a:lnTo>
                  <a:lnTo>
                    <a:pt x="115" y="313"/>
                  </a:lnTo>
                  <a:lnTo>
                    <a:pt x="112" y="310"/>
                  </a:lnTo>
                  <a:lnTo>
                    <a:pt x="112" y="310"/>
                  </a:lnTo>
                  <a:lnTo>
                    <a:pt x="105" y="303"/>
                  </a:lnTo>
                  <a:lnTo>
                    <a:pt x="107" y="303"/>
                  </a:lnTo>
                  <a:lnTo>
                    <a:pt x="115" y="310"/>
                  </a:lnTo>
                  <a:lnTo>
                    <a:pt x="118" y="313"/>
                  </a:lnTo>
                  <a:lnTo>
                    <a:pt x="120" y="313"/>
                  </a:lnTo>
                  <a:lnTo>
                    <a:pt x="120" y="310"/>
                  </a:lnTo>
                  <a:lnTo>
                    <a:pt x="120" y="310"/>
                  </a:lnTo>
                  <a:lnTo>
                    <a:pt x="120" y="308"/>
                  </a:lnTo>
                  <a:lnTo>
                    <a:pt x="120" y="305"/>
                  </a:lnTo>
                  <a:lnTo>
                    <a:pt x="112" y="297"/>
                  </a:lnTo>
                  <a:lnTo>
                    <a:pt x="112" y="297"/>
                  </a:lnTo>
                  <a:lnTo>
                    <a:pt x="118" y="303"/>
                  </a:lnTo>
                  <a:lnTo>
                    <a:pt x="120" y="305"/>
                  </a:lnTo>
                  <a:lnTo>
                    <a:pt x="120" y="305"/>
                  </a:lnTo>
                  <a:lnTo>
                    <a:pt x="123" y="305"/>
                  </a:lnTo>
                  <a:lnTo>
                    <a:pt x="123" y="303"/>
                  </a:lnTo>
                  <a:lnTo>
                    <a:pt x="123" y="303"/>
                  </a:lnTo>
                  <a:lnTo>
                    <a:pt x="123" y="300"/>
                  </a:lnTo>
                  <a:lnTo>
                    <a:pt x="125" y="300"/>
                  </a:lnTo>
                  <a:lnTo>
                    <a:pt x="125" y="297"/>
                  </a:lnTo>
                  <a:lnTo>
                    <a:pt x="123" y="297"/>
                  </a:lnTo>
                  <a:lnTo>
                    <a:pt x="120" y="297"/>
                  </a:lnTo>
                  <a:lnTo>
                    <a:pt x="118" y="295"/>
                  </a:lnTo>
                  <a:lnTo>
                    <a:pt x="118" y="295"/>
                  </a:lnTo>
                  <a:lnTo>
                    <a:pt x="123" y="295"/>
                  </a:lnTo>
                  <a:lnTo>
                    <a:pt x="123" y="295"/>
                  </a:lnTo>
                  <a:lnTo>
                    <a:pt x="125" y="295"/>
                  </a:lnTo>
                  <a:lnTo>
                    <a:pt x="125" y="292"/>
                  </a:lnTo>
                  <a:lnTo>
                    <a:pt x="123" y="292"/>
                  </a:lnTo>
                  <a:lnTo>
                    <a:pt x="123" y="292"/>
                  </a:lnTo>
                  <a:lnTo>
                    <a:pt x="120" y="292"/>
                  </a:lnTo>
                  <a:lnTo>
                    <a:pt x="120" y="292"/>
                  </a:lnTo>
                  <a:lnTo>
                    <a:pt x="123" y="290"/>
                  </a:lnTo>
                  <a:lnTo>
                    <a:pt x="125" y="292"/>
                  </a:lnTo>
                  <a:lnTo>
                    <a:pt x="128" y="292"/>
                  </a:lnTo>
                  <a:lnTo>
                    <a:pt x="128" y="292"/>
                  </a:lnTo>
                  <a:lnTo>
                    <a:pt x="128" y="292"/>
                  </a:lnTo>
                  <a:lnTo>
                    <a:pt x="128" y="287"/>
                  </a:lnTo>
                  <a:lnTo>
                    <a:pt x="128" y="287"/>
                  </a:lnTo>
                  <a:lnTo>
                    <a:pt x="128" y="287"/>
                  </a:lnTo>
                  <a:lnTo>
                    <a:pt x="128" y="290"/>
                  </a:lnTo>
                  <a:lnTo>
                    <a:pt x="130" y="290"/>
                  </a:lnTo>
                  <a:lnTo>
                    <a:pt x="133" y="292"/>
                  </a:lnTo>
                  <a:lnTo>
                    <a:pt x="133" y="292"/>
                  </a:lnTo>
                  <a:lnTo>
                    <a:pt x="133" y="292"/>
                  </a:lnTo>
                  <a:lnTo>
                    <a:pt x="135" y="292"/>
                  </a:lnTo>
                  <a:lnTo>
                    <a:pt x="138" y="290"/>
                  </a:lnTo>
                  <a:lnTo>
                    <a:pt x="140" y="290"/>
                  </a:lnTo>
                  <a:lnTo>
                    <a:pt x="146" y="285"/>
                  </a:lnTo>
                  <a:lnTo>
                    <a:pt x="148" y="285"/>
                  </a:lnTo>
                  <a:lnTo>
                    <a:pt x="151" y="282"/>
                  </a:lnTo>
                  <a:lnTo>
                    <a:pt x="151" y="282"/>
                  </a:lnTo>
                  <a:lnTo>
                    <a:pt x="153" y="280"/>
                  </a:lnTo>
                  <a:lnTo>
                    <a:pt x="156" y="277"/>
                  </a:lnTo>
                  <a:lnTo>
                    <a:pt x="158" y="275"/>
                  </a:lnTo>
                  <a:lnTo>
                    <a:pt x="161" y="275"/>
                  </a:lnTo>
                  <a:lnTo>
                    <a:pt x="163" y="272"/>
                  </a:lnTo>
                  <a:lnTo>
                    <a:pt x="166" y="272"/>
                  </a:lnTo>
                  <a:lnTo>
                    <a:pt x="166" y="269"/>
                  </a:lnTo>
                  <a:lnTo>
                    <a:pt x="166" y="267"/>
                  </a:lnTo>
                  <a:lnTo>
                    <a:pt x="168" y="264"/>
                  </a:lnTo>
                  <a:lnTo>
                    <a:pt x="168" y="264"/>
                  </a:lnTo>
                  <a:lnTo>
                    <a:pt x="171" y="262"/>
                  </a:lnTo>
                  <a:lnTo>
                    <a:pt x="171" y="262"/>
                  </a:lnTo>
                  <a:lnTo>
                    <a:pt x="168" y="259"/>
                  </a:lnTo>
                  <a:lnTo>
                    <a:pt x="168" y="259"/>
                  </a:lnTo>
                  <a:lnTo>
                    <a:pt x="168" y="257"/>
                  </a:lnTo>
                  <a:lnTo>
                    <a:pt x="168" y="257"/>
                  </a:lnTo>
                  <a:lnTo>
                    <a:pt x="171" y="257"/>
                  </a:lnTo>
                  <a:lnTo>
                    <a:pt x="171" y="257"/>
                  </a:lnTo>
                  <a:lnTo>
                    <a:pt x="171" y="259"/>
                  </a:lnTo>
                  <a:lnTo>
                    <a:pt x="171" y="257"/>
                  </a:lnTo>
                  <a:lnTo>
                    <a:pt x="171" y="257"/>
                  </a:lnTo>
                  <a:lnTo>
                    <a:pt x="168" y="254"/>
                  </a:lnTo>
                  <a:lnTo>
                    <a:pt x="168" y="247"/>
                  </a:lnTo>
                  <a:lnTo>
                    <a:pt x="171" y="247"/>
                  </a:lnTo>
                  <a:lnTo>
                    <a:pt x="168" y="241"/>
                  </a:lnTo>
                  <a:lnTo>
                    <a:pt x="168" y="241"/>
                  </a:lnTo>
                  <a:lnTo>
                    <a:pt x="171" y="239"/>
                  </a:lnTo>
                  <a:close/>
                </a:path>
              </a:pathLst>
            </a:custGeom>
            <a:solidFill>
              <a:schemeClr val="bg2">
                <a:lumMod val="60000"/>
                <a:lumOff val="40000"/>
              </a:schemeClr>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28" name="Freeform 1646">
              <a:extLst>
                <a:ext uri="{FF2B5EF4-FFF2-40B4-BE49-F238E27FC236}">
                  <a16:creationId xmlns:a16="http://schemas.microsoft.com/office/drawing/2014/main" id="{A721A9A0-DA39-6A47-BE78-224AD87B28A5}"/>
                </a:ext>
              </a:extLst>
            </p:cNvPr>
            <p:cNvSpPr>
              <a:spLocks noEditPoints="1"/>
            </p:cNvSpPr>
            <p:nvPr/>
          </p:nvSpPr>
          <p:spPr bwMode="auto">
            <a:xfrm>
              <a:off x="3207338" y="3348031"/>
              <a:ext cx="441649" cy="428563"/>
            </a:xfrm>
            <a:custGeom>
              <a:avLst/>
              <a:gdLst>
                <a:gd name="T0" fmla="*/ 250 w 270"/>
                <a:gd name="T1" fmla="*/ 73 h 262"/>
                <a:gd name="T2" fmla="*/ 252 w 270"/>
                <a:gd name="T3" fmla="*/ 68 h 262"/>
                <a:gd name="T4" fmla="*/ 163 w 270"/>
                <a:gd name="T5" fmla="*/ 28 h 262"/>
                <a:gd name="T6" fmla="*/ 189 w 270"/>
                <a:gd name="T7" fmla="*/ 30 h 262"/>
                <a:gd name="T8" fmla="*/ 186 w 270"/>
                <a:gd name="T9" fmla="*/ 25 h 262"/>
                <a:gd name="T10" fmla="*/ 262 w 270"/>
                <a:gd name="T11" fmla="*/ 81 h 262"/>
                <a:gd name="T12" fmla="*/ 237 w 270"/>
                <a:gd name="T13" fmla="*/ 84 h 262"/>
                <a:gd name="T14" fmla="*/ 247 w 270"/>
                <a:gd name="T15" fmla="*/ 71 h 262"/>
                <a:gd name="T16" fmla="*/ 237 w 270"/>
                <a:gd name="T17" fmla="*/ 53 h 262"/>
                <a:gd name="T18" fmla="*/ 232 w 270"/>
                <a:gd name="T19" fmla="*/ 56 h 262"/>
                <a:gd name="T20" fmla="*/ 224 w 270"/>
                <a:gd name="T21" fmla="*/ 53 h 262"/>
                <a:gd name="T22" fmla="*/ 219 w 270"/>
                <a:gd name="T23" fmla="*/ 45 h 262"/>
                <a:gd name="T24" fmla="*/ 214 w 270"/>
                <a:gd name="T25" fmla="*/ 43 h 262"/>
                <a:gd name="T26" fmla="*/ 224 w 270"/>
                <a:gd name="T27" fmla="*/ 35 h 262"/>
                <a:gd name="T28" fmla="*/ 199 w 270"/>
                <a:gd name="T29" fmla="*/ 35 h 262"/>
                <a:gd name="T30" fmla="*/ 191 w 270"/>
                <a:gd name="T31" fmla="*/ 40 h 262"/>
                <a:gd name="T32" fmla="*/ 150 w 270"/>
                <a:gd name="T33" fmla="*/ 43 h 262"/>
                <a:gd name="T34" fmla="*/ 107 w 270"/>
                <a:gd name="T35" fmla="*/ 38 h 262"/>
                <a:gd name="T36" fmla="*/ 94 w 270"/>
                <a:gd name="T37" fmla="*/ 17 h 262"/>
                <a:gd name="T38" fmla="*/ 74 w 270"/>
                <a:gd name="T39" fmla="*/ 5 h 262"/>
                <a:gd name="T40" fmla="*/ 66 w 270"/>
                <a:gd name="T41" fmla="*/ 12 h 262"/>
                <a:gd name="T42" fmla="*/ 66 w 270"/>
                <a:gd name="T43" fmla="*/ 17 h 262"/>
                <a:gd name="T44" fmla="*/ 38 w 270"/>
                <a:gd name="T45" fmla="*/ 38 h 262"/>
                <a:gd name="T46" fmla="*/ 43 w 270"/>
                <a:gd name="T47" fmla="*/ 68 h 262"/>
                <a:gd name="T48" fmla="*/ 31 w 270"/>
                <a:gd name="T49" fmla="*/ 63 h 262"/>
                <a:gd name="T50" fmla="*/ 38 w 270"/>
                <a:gd name="T51" fmla="*/ 35 h 262"/>
                <a:gd name="T52" fmla="*/ 31 w 270"/>
                <a:gd name="T53" fmla="*/ 17 h 262"/>
                <a:gd name="T54" fmla="*/ 43 w 270"/>
                <a:gd name="T55" fmla="*/ 7 h 262"/>
                <a:gd name="T56" fmla="*/ 15 w 270"/>
                <a:gd name="T57" fmla="*/ 30 h 262"/>
                <a:gd name="T58" fmla="*/ 0 w 270"/>
                <a:gd name="T59" fmla="*/ 66 h 262"/>
                <a:gd name="T60" fmla="*/ 8 w 270"/>
                <a:gd name="T61" fmla="*/ 71 h 262"/>
                <a:gd name="T62" fmla="*/ 18 w 270"/>
                <a:gd name="T63" fmla="*/ 94 h 262"/>
                <a:gd name="T64" fmla="*/ 18 w 270"/>
                <a:gd name="T65" fmla="*/ 109 h 262"/>
                <a:gd name="T66" fmla="*/ 41 w 270"/>
                <a:gd name="T67" fmla="*/ 119 h 262"/>
                <a:gd name="T68" fmla="*/ 59 w 270"/>
                <a:gd name="T69" fmla="*/ 119 h 262"/>
                <a:gd name="T70" fmla="*/ 76 w 270"/>
                <a:gd name="T71" fmla="*/ 137 h 262"/>
                <a:gd name="T72" fmla="*/ 104 w 270"/>
                <a:gd name="T73" fmla="*/ 135 h 262"/>
                <a:gd name="T74" fmla="*/ 110 w 270"/>
                <a:gd name="T75" fmla="*/ 147 h 262"/>
                <a:gd name="T76" fmla="*/ 107 w 270"/>
                <a:gd name="T77" fmla="*/ 175 h 262"/>
                <a:gd name="T78" fmla="*/ 115 w 270"/>
                <a:gd name="T79" fmla="*/ 198 h 262"/>
                <a:gd name="T80" fmla="*/ 107 w 270"/>
                <a:gd name="T81" fmla="*/ 213 h 262"/>
                <a:gd name="T82" fmla="*/ 117 w 270"/>
                <a:gd name="T83" fmla="*/ 221 h 262"/>
                <a:gd name="T84" fmla="*/ 120 w 270"/>
                <a:gd name="T85" fmla="*/ 236 h 262"/>
                <a:gd name="T86" fmla="*/ 132 w 270"/>
                <a:gd name="T87" fmla="*/ 259 h 262"/>
                <a:gd name="T88" fmla="*/ 148 w 270"/>
                <a:gd name="T89" fmla="*/ 254 h 262"/>
                <a:gd name="T90" fmla="*/ 155 w 270"/>
                <a:gd name="T91" fmla="*/ 257 h 262"/>
                <a:gd name="T92" fmla="*/ 171 w 270"/>
                <a:gd name="T93" fmla="*/ 244 h 262"/>
                <a:gd name="T94" fmla="*/ 181 w 270"/>
                <a:gd name="T95" fmla="*/ 234 h 262"/>
                <a:gd name="T96" fmla="*/ 194 w 270"/>
                <a:gd name="T97" fmla="*/ 221 h 262"/>
                <a:gd name="T98" fmla="*/ 181 w 270"/>
                <a:gd name="T99" fmla="*/ 213 h 262"/>
                <a:gd name="T100" fmla="*/ 168 w 270"/>
                <a:gd name="T101" fmla="*/ 185 h 262"/>
                <a:gd name="T102" fmla="*/ 178 w 270"/>
                <a:gd name="T103" fmla="*/ 183 h 262"/>
                <a:gd name="T104" fmla="*/ 191 w 270"/>
                <a:gd name="T105" fmla="*/ 188 h 262"/>
                <a:gd name="T106" fmla="*/ 209 w 270"/>
                <a:gd name="T107" fmla="*/ 188 h 262"/>
                <a:gd name="T108" fmla="*/ 227 w 270"/>
                <a:gd name="T109" fmla="*/ 183 h 262"/>
                <a:gd name="T110" fmla="*/ 245 w 270"/>
                <a:gd name="T111" fmla="*/ 173 h 262"/>
                <a:gd name="T112" fmla="*/ 250 w 270"/>
                <a:gd name="T113" fmla="*/ 160 h 262"/>
                <a:gd name="T114" fmla="*/ 242 w 270"/>
                <a:gd name="T115" fmla="*/ 137 h 262"/>
                <a:gd name="T116" fmla="*/ 245 w 270"/>
                <a:gd name="T117" fmla="*/ 124 h 262"/>
                <a:gd name="T118" fmla="*/ 257 w 270"/>
                <a:gd name="T119" fmla="*/ 119 h 262"/>
                <a:gd name="T120" fmla="*/ 252 w 270"/>
                <a:gd name="T121" fmla="*/ 112 h 262"/>
                <a:gd name="T122" fmla="*/ 257 w 270"/>
                <a:gd name="T123" fmla="*/ 99 h 262"/>
                <a:gd name="T124" fmla="*/ 270 w 270"/>
                <a:gd name="T125" fmla="*/ 89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0" h="262">
                  <a:moveTo>
                    <a:pt x="250" y="71"/>
                  </a:moveTo>
                  <a:lnTo>
                    <a:pt x="247" y="71"/>
                  </a:lnTo>
                  <a:lnTo>
                    <a:pt x="245" y="73"/>
                  </a:lnTo>
                  <a:lnTo>
                    <a:pt x="245" y="73"/>
                  </a:lnTo>
                  <a:lnTo>
                    <a:pt x="245" y="76"/>
                  </a:lnTo>
                  <a:lnTo>
                    <a:pt x="247" y="76"/>
                  </a:lnTo>
                  <a:lnTo>
                    <a:pt x="247" y="76"/>
                  </a:lnTo>
                  <a:lnTo>
                    <a:pt x="250" y="73"/>
                  </a:lnTo>
                  <a:lnTo>
                    <a:pt x="250" y="73"/>
                  </a:lnTo>
                  <a:lnTo>
                    <a:pt x="250" y="71"/>
                  </a:lnTo>
                  <a:lnTo>
                    <a:pt x="250" y="71"/>
                  </a:lnTo>
                  <a:lnTo>
                    <a:pt x="250" y="71"/>
                  </a:lnTo>
                  <a:close/>
                  <a:moveTo>
                    <a:pt x="250" y="68"/>
                  </a:moveTo>
                  <a:lnTo>
                    <a:pt x="250" y="68"/>
                  </a:lnTo>
                  <a:lnTo>
                    <a:pt x="247" y="68"/>
                  </a:lnTo>
                  <a:lnTo>
                    <a:pt x="247" y="71"/>
                  </a:lnTo>
                  <a:lnTo>
                    <a:pt x="250" y="68"/>
                  </a:lnTo>
                  <a:lnTo>
                    <a:pt x="252" y="68"/>
                  </a:lnTo>
                  <a:lnTo>
                    <a:pt x="252" y="68"/>
                  </a:lnTo>
                  <a:lnTo>
                    <a:pt x="252" y="68"/>
                  </a:lnTo>
                  <a:lnTo>
                    <a:pt x="252" y="68"/>
                  </a:lnTo>
                  <a:lnTo>
                    <a:pt x="250" y="68"/>
                  </a:lnTo>
                  <a:lnTo>
                    <a:pt x="250" y="68"/>
                  </a:lnTo>
                  <a:close/>
                  <a:moveTo>
                    <a:pt x="163" y="30"/>
                  </a:moveTo>
                  <a:lnTo>
                    <a:pt x="166" y="30"/>
                  </a:lnTo>
                  <a:lnTo>
                    <a:pt x="166" y="28"/>
                  </a:lnTo>
                  <a:lnTo>
                    <a:pt x="163" y="28"/>
                  </a:lnTo>
                  <a:lnTo>
                    <a:pt x="161" y="28"/>
                  </a:lnTo>
                  <a:lnTo>
                    <a:pt x="161" y="28"/>
                  </a:lnTo>
                  <a:lnTo>
                    <a:pt x="163" y="30"/>
                  </a:lnTo>
                  <a:lnTo>
                    <a:pt x="163" y="30"/>
                  </a:lnTo>
                  <a:close/>
                  <a:moveTo>
                    <a:pt x="186" y="28"/>
                  </a:moveTo>
                  <a:lnTo>
                    <a:pt x="186" y="28"/>
                  </a:lnTo>
                  <a:lnTo>
                    <a:pt x="186" y="30"/>
                  </a:lnTo>
                  <a:lnTo>
                    <a:pt x="189" y="30"/>
                  </a:lnTo>
                  <a:lnTo>
                    <a:pt x="189" y="30"/>
                  </a:lnTo>
                  <a:lnTo>
                    <a:pt x="191" y="30"/>
                  </a:lnTo>
                  <a:lnTo>
                    <a:pt x="194" y="28"/>
                  </a:lnTo>
                  <a:lnTo>
                    <a:pt x="194" y="28"/>
                  </a:lnTo>
                  <a:lnTo>
                    <a:pt x="194" y="25"/>
                  </a:lnTo>
                  <a:lnTo>
                    <a:pt x="191" y="23"/>
                  </a:lnTo>
                  <a:lnTo>
                    <a:pt x="189" y="25"/>
                  </a:lnTo>
                  <a:lnTo>
                    <a:pt x="189" y="28"/>
                  </a:lnTo>
                  <a:lnTo>
                    <a:pt x="186" y="28"/>
                  </a:lnTo>
                  <a:lnTo>
                    <a:pt x="186" y="25"/>
                  </a:lnTo>
                  <a:lnTo>
                    <a:pt x="186" y="25"/>
                  </a:lnTo>
                  <a:lnTo>
                    <a:pt x="183" y="25"/>
                  </a:lnTo>
                  <a:lnTo>
                    <a:pt x="183" y="25"/>
                  </a:lnTo>
                  <a:lnTo>
                    <a:pt x="181" y="28"/>
                  </a:lnTo>
                  <a:lnTo>
                    <a:pt x="181" y="28"/>
                  </a:lnTo>
                  <a:lnTo>
                    <a:pt x="186" y="28"/>
                  </a:lnTo>
                  <a:close/>
                  <a:moveTo>
                    <a:pt x="270" y="89"/>
                  </a:moveTo>
                  <a:lnTo>
                    <a:pt x="265" y="84"/>
                  </a:lnTo>
                  <a:lnTo>
                    <a:pt x="262" y="81"/>
                  </a:lnTo>
                  <a:lnTo>
                    <a:pt x="260" y="81"/>
                  </a:lnTo>
                  <a:lnTo>
                    <a:pt x="257" y="81"/>
                  </a:lnTo>
                  <a:lnTo>
                    <a:pt x="257" y="84"/>
                  </a:lnTo>
                  <a:lnTo>
                    <a:pt x="250" y="81"/>
                  </a:lnTo>
                  <a:lnTo>
                    <a:pt x="250" y="81"/>
                  </a:lnTo>
                  <a:lnTo>
                    <a:pt x="245" y="84"/>
                  </a:lnTo>
                  <a:lnTo>
                    <a:pt x="242" y="84"/>
                  </a:lnTo>
                  <a:lnTo>
                    <a:pt x="240" y="86"/>
                  </a:lnTo>
                  <a:lnTo>
                    <a:pt x="237" y="84"/>
                  </a:lnTo>
                  <a:lnTo>
                    <a:pt x="237" y="84"/>
                  </a:lnTo>
                  <a:lnTo>
                    <a:pt x="234" y="81"/>
                  </a:lnTo>
                  <a:lnTo>
                    <a:pt x="242" y="81"/>
                  </a:lnTo>
                  <a:lnTo>
                    <a:pt x="242" y="79"/>
                  </a:lnTo>
                  <a:lnTo>
                    <a:pt x="245" y="76"/>
                  </a:lnTo>
                  <a:lnTo>
                    <a:pt x="245" y="73"/>
                  </a:lnTo>
                  <a:lnTo>
                    <a:pt x="245" y="73"/>
                  </a:lnTo>
                  <a:lnTo>
                    <a:pt x="245" y="71"/>
                  </a:lnTo>
                  <a:lnTo>
                    <a:pt x="247" y="71"/>
                  </a:lnTo>
                  <a:lnTo>
                    <a:pt x="247" y="68"/>
                  </a:lnTo>
                  <a:lnTo>
                    <a:pt x="247" y="68"/>
                  </a:lnTo>
                  <a:lnTo>
                    <a:pt x="250" y="66"/>
                  </a:lnTo>
                  <a:lnTo>
                    <a:pt x="252" y="63"/>
                  </a:lnTo>
                  <a:lnTo>
                    <a:pt x="250" y="63"/>
                  </a:lnTo>
                  <a:lnTo>
                    <a:pt x="247" y="61"/>
                  </a:lnTo>
                  <a:lnTo>
                    <a:pt x="242" y="58"/>
                  </a:lnTo>
                  <a:lnTo>
                    <a:pt x="242" y="58"/>
                  </a:lnTo>
                  <a:lnTo>
                    <a:pt x="237" y="53"/>
                  </a:lnTo>
                  <a:lnTo>
                    <a:pt x="237" y="53"/>
                  </a:lnTo>
                  <a:lnTo>
                    <a:pt x="234" y="53"/>
                  </a:lnTo>
                  <a:lnTo>
                    <a:pt x="232" y="53"/>
                  </a:lnTo>
                  <a:lnTo>
                    <a:pt x="232" y="56"/>
                  </a:lnTo>
                  <a:lnTo>
                    <a:pt x="232" y="56"/>
                  </a:lnTo>
                  <a:lnTo>
                    <a:pt x="232" y="58"/>
                  </a:lnTo>
                  <a:lnTo>
                    <a:pt x="232" y="58"/>
                  </a:lnTo>
                  <a:lnTo>
                    <a:pt x="232" y="56"/>
                  </a:lnTo>
                  <a:lnTo>
                    <a:pt x="232" y="56"/>
                  </a:lnTo>
                  <a:lnTo>
                    <a:pt x="232" y="56"/>
                  </a:lnTo>
                  <a:lnTo>
                    <a:pt x="229" y="53"/>
                  </a:lnTo>
                  <a:lnTo>
                    <a:pt x="227" y="51"/>
                  </a:lnTo>
                  <a:lnTo>
                    <a:pt x="227" y="51"/>
                  </a:lnTo>
                  <a:lnTo>
                    <a:pt x="227" y="51"/>
                  </a:lnTo>
                  <a:lnTo>
                    <a:pt x="224" y="51"/>
                  </a:lnTo>
                  <a:lnTo>
                    <a:pt x="224" y="51"/>
                  </a:lnTo>
                  <a:lnTo>
                    <a:pt x="224" y="53"/>
                  </a:lnTo>
                  <a:lnTo>
                    <a:pt x="224" y="53"/>
                  </a:lnTo>
                  <a:lnTo>
                    <a:pt x="224" y="53"/>
                  </a:lnTo>
                  <a:lnTo>
                    <a:pt x="224" y="53"/>
                  </a:lnTo>
                  <a:lnTo>
                    <a:pt x="224" y="53"/>
                  </a:lnTo>
                  <a:lnTo>
                    <a:pt x="222" y="53"/>
                  </a:lnTo>
                  <a:lnTo>
                    <a:pt x="222" y="56"/>
                  </a:lnTo>
                  <a:lnTo>
                    <a:pt x="222" y="56"/>
                  </a:lnTo>
                  <a:lnTo>
                    <a:pt x="222" y="56"/>
                  </a:lnTo>
                  <a:lnTo>
                    <a:pt x="219" y="51"/>
                  </a:lnTo>
                  <a:lnTo>
                    <a:pt x="219" y="45"/>
                  </a:lnTo>
                  <a:lnTo>
                    <a:pt x="217" y="45"/>
                  </a:lnTo>
                  <a:lnTo>
                    <a:pt x="217" y="45"/>
                  </a:lnTo>
                  <a:lnTo>
                    <a:pt x="217" y="45"/>
                  </a:lnTo>
                  <a:lnTo>
                    <a:pt x="217" y="48"/>
                  </a:lnTo>
                  <a:lnTo>
                    <a:pt x="214" y="48"/>
                  </a:lnTo>
                  <a:lnTo>
                    <a:pt x="214" y="48"/>
                  </a:lnTo>
                  <a:lnTo>
                    <a:pt x="214" y="48"/>
                  </a:lnTo>
                  <a:lnTo>
                    <a:pt x="214" y="45"/>
                  </a:lnTo>
                  <a:lnTo>
                    <a:pt x="214" y="43"/>
                  </a:lnTo>
                  <a:lnTo>
                    <a:pt x="214" y="43"/>
                  </a:lnTo>
                  <a:lnTo>
                    <a:pt x="214" y="40"/>
                  </a:lnTo>
                  <a:lnTo>
                    <a:pt x="211" y="40"/>
                  </a:lnTo>
                  <a:lnTo>
                    <a:pt x="211" y="40"/>
                  </a:lnTo>
                  <a:lnTo>
                    <a:pt x="211" y="38"/>
                  </a:lnTo>
                  <a:lnTo>
                    <a:pt x="211" y="38"/>
                  </a:lnTo>
                  <a:lnTo>
                    <a:pt x="214" y="38"/>
                  </a:lnTo>
                  <a:lnTo>
                    <a:pt x="222" y="38"/>
                  </a:lnTo>
                  <a:lnTo>
                    <a:pt x="224" y="35"/>
                  </a:lnTo>
                  <a:lnTo>
                    <a:pt x="227" y="35"/>
                  </a:lnTo>
                  <a:lnTo>
                    <a:pt x="229" y="35"/>
                  </a:lnTo>
                  <a:lnTo>
                    <a:pt x="232" y="33"/>
                  </a:lnTo>
                  <a:lnTo>
                    <a:pt x="224" y="35"/>
                  </a:lnTo>
                  <a:lnTo>
                    <a:pt x="214" y="33"/>
                  </a:lnTo>
                  <a:lnTo>
                    <a:pt x="209" y="33"/>
                  </a:lnTo>
                  <a:lnTo>
                    <a:pt x="209" y="33"/>
                  </a:lnTo>
                  <a:lnTo>
                    <a:pt x="204" y="33"/>
                  </a:lnTo>
                  <a:lnTo>
                    <a:pt x="199" y="35"/>
                  </a:lnTo>
                  <a:lnTo>
                    <a:pt x="191" y="35"/>
                  </a:lnTo>
                  <a:lnTo>
                    <a:pt x="186" y="35"/>
                  </a:lnTo>
                  <a:lnTo>
                    <a:pt x="183" y="35"/>
                  </a:lnTo>
                  <a:lnTo>
                    <a:pt x="183" y="38"/>
                  </a:lnTo>
                  <a:lnTo>
                    <a:pt x="186" y="38"/>
                  </a:lnTo>
                  <a:lnTo>
                    <a:pt x="191" y="38"/>
                  </a:lnTo>
                  <a:lnTo>
                    <a:pt x="194" y="38"/>
                  </a:lnTo>
                  <a:lnTo>
                    <a:pt x="194" y="40"/>
                  </a:lnTo>
                  <a:lnTo>
                    <a:pt x="191" y="40"/>
                  </a:lnTo>
                  <a:lnTo>
                    <a:pt x="186" y="40"/>
                  </a:lnTo>
                  <a:lnTo>
                    <a:pt x="171" y="48"/>
                  </a:lnTo>
                  <a:lnTo>
                    <a:pt x="168" y="48"/>
                  </a:lnTo>
                  <a:lnTo>
                    <a:pt x="168" y="48"/>
                  </a:lnTo>
                  <a:lnTo>
                    <a:pt x="166" y="48"/>
                  </a:lnTo>
                  <a:lnTo>
                    <a:pt x="161" y="48"/>
                  </a:lnTo>
                  <a:lnTo>
                    <a:pt x="158" y="45"/>
                  </a:lnTo>
                  <a:lnTo>
                    <a:pt x="155" y="45"/>
                  </a:lnTo>
                  <a:lnTo>
                    <a:pt x="150" y="43"/>
                  </a:lnTo>
                  <a:lnTo>
                    <a:pt x="148" y="40"/>
                  </a:lnTo>
                  <a:lnTo>
                    <a:pt x="148" y="38"/>
                  </a:lnTo>
                  <a:lnTo>
                    <a:pt x="148" y="38"/>
                  </a:lnTo>
                  <a:lnTo>
                    <a:pt x="143" y="35"/>
                  </a:lnTo>
                  <a:lnTo>
                    <a:pt x="130" y="35"/>
                  </a:lnTo>
                  <a:lnTo>
                    <a:pt x="125" y="38"/>
                  </a:lnTo>
                  <a:lnTo>
                    <a:pt x="117" y="38"/>
                  </a:lnTo>
                  <a:lnTo>
                    <a:pt x="112" y="40"/>
                  </a:lnTo>
                  <a:lnTo>
                    <a:pt x="107" y="38"/>
                  </a:lnTo>
                  <a:lnTo>
                    <a:pt x="104" y="38"/>
                  </a:lnTo>
                  <a:lnTo>
                    <a:pt x="102" y="35"/>
                  </a:lnTo>
                  <a:lnTo>
                    <a:pt x="102" y="33"/>
                  </a:lnTo>
                  <a:lnTo>
                    <a:pt x="104" y="30"/>
                  </a:lnTo>
                  <a:lnTo>
                    <a:pt x="102" y="28"/>
                  </a:lnTo>
                  <a:lnTo>
                    <a:pt x="102" y="25"/>
                  </a:lnTo>
                  <a:lnTo>
                    <a:pt x="102" y="23"/>
                  </a:lnTo>
                  <a:lnTo>
                    <a:pt x="97" y="20"/>
                  </a:lnTo>
                  <a:lnTo>
                    <a:pt x="94" y="17"/>
                  </a:lnTo>
                  <a:lnTo>
                    <a:pt x="89" y="17"/>
                  </a:lnTo>
                  <a:lnTo>
                    <a:pt x="87" y="15"/>
                  </a:lnTo>
                  <a:lnTo>
                    <a:pt x="79" y="15"/>
                  </a:lnTo>
                  <a:lnTo>
                    <a:pt x="79" y="15"/>
                  </a:lnTo>
                  <a:lnTo>
                    <a:pt x="76" y="17"/>
                  </a:lnTo>
                  <a:lnTo>
                    <a:pt x="76" y="15"/>
                  </a:lnTo>
                  <a:lnTo>
                    <a:pt x="74" y="12"/>
                  </a:lnTo>
                  <a:lnTo>
                    <a:pt x="74" y="7"/>
                  </a:lnTo>
                  <a:lnTo>
                    <a:pt x="74" y="5"/>
                  </a:lnTo>
                  <a:lnTo>
                    <a:pt x="74" y="2"/>
                  </a:lnTo>
                  <a:lnTo>
                    <a:pt x="74" y="2"/>
                  </a:lnTo>
                  <a:lnTo>
                    <a:pt x="71" y="0"/>
                  </a:lnTo>
                  <a:lnTo>
                    <a:pt x="69" y="2"/>
                  </a:lnTo>
                  <a:lnTo>
                    <a:pt x="66" y="2"/>
                  </a:lnTo>
                  <a:lnTo>
                    <a:pt x="66" y="5"/>
                  </a:lnTo>
                  <a:lnTo>
                    <a:pt x="66" y="7"/>
                  </a:lnTo>
                  <a:lnTo>
                    <a:pt x="66" y="10"/>
                  </a:lnTo>
                  <a:lnTo>
                    <a:pt x="66" y="12"/>
                  </a:lnTo>
                  <a:lnTo>
                    <a:pt x="66" y="12"/>
                  </a:lnTo>
                  <a:lnTo>
                    <a:pt x="71" y="12"/>
                  </a:lnTo>
                  <a:lnTo>
                    <a:pt x="74" y="12"/>
                  </a:lnTo>
                  <a:lnTo>
                    <a:pt x="74" y="15"/>
                  </a:lnTo>
                  <a:lnTo>
                    <a:pt x="74" y="17"/>
                  </a:lnTo>
                  <a:lnTo>
                    <a:pt x="71" y="17"/>
                  </a:lnTo>
                  <a:lnTo>
                    <a:pt x="69" y="15"/>
                  </a:lnTo>
                  <a:lnTo>
                    <a:pt x="69" y="15"/>
                  </a:lnTo>
                  <a:lnTo>
                    <a:pt x="66" y="17"/>
                  </a:lnTo>
                  <a:lnTo>
                    <a:pt x="66" y="17"/>
                  </a:lnTo>
                  <a:lnTo>
                    <a:pt x="59" y="20"/>
                  </a:lnTo>
                  <a:lnTo>
                    <a:pt x="53" y="23"/>
                  </a:lnTo>
                  <a:lnTo>
                    <a:pt x="43" y="28"/>
                  </a:lnTo>
                  <a:lnTo>
                    <a:pt x="41" y="28"/>
                  </a:lnTo>
                  <a:lnTo>
                    <a:pt x="41" y="30"/>
                  </a:lnTo>
                  <a:lnTo>
                    <a:pt x="38" y="33"/>
                  </a:lnTo>
                  <a:lnTo>
                    <a:pt x="38" y="35"/>
                  </a:lnTo>
                  <a:lnTo>
                    <a:pt x="38" y="38"/>
                  </a:lnTo>
                  <a:lnTo>
                    <a:pt x="38" y="40"/>
                  </a:lnTo>
                  <a:lnTo>
                    <a:pt x="41" y="43"/>
                  </a:lnTo>
                  <a:lnTo>
                    <a:pt x="43" y="45"/>
                  </a:lnTo>
                  <a:lnTo>
                    <a:pt x="43" y="51"/>
                  </a:lnTo>
                  <a:lnTo>
                    <a:pt x="46" y="53"/>
                  </a:lnTo>
                  <a:lnTo>
                    <a:pt x="46" y="56"/>
                  </a:lnTo>
                  <a:lnTo>
                    <a:pt x="46" y="61"/>
                  </a:lnTo>
                  <a:lnTo>
                    <a:pt x="46" y="66"/>
                  </a:lnTo>
                  <a:lnTo>
                    <a:pt x="43" y="68"/>
                  </a:lnTo>
                  <a:lnTo>
                    <a:pt x="41" y="68"/>
                  </a:lnTo>
                  <a:lnTo>
                    <a:pt x="41" y="71"/>
                  </a:lnTo>
                  <a:lnTo>
                    <a:pt x="36" y="71"/>
                  </a:lnTo>
                  <a:lnTo>
                    <a:pt x="33" y="71"/>
                  </a:lnTo>
                  <a:lnTo>
                    <a:pt x="33" y="71"/>
                  </a:lnTo>
                  <a:lnTo>
                    <a:pt x="33" y="68"/>
                  </a:lnTo>
                  <a:lnTo>
                    <a:pt x="31" y="66"/>
                  </a:lnTo>
                  <a:lnTo>
                    <a:pt x="31" y="66"/>
                  </a:lnTo>
                  <a:lnTo>
                    <a:pt x="31" y="63"/>
                  </a:lnTo>
                  <a:lnTo>
                    <a:pt x="31" y="63"/>
                  </a:lnTo>
                  <a:lnTo>
                    <a:pt x="28" y="61"/>
                  </a:lnTo>
                  <a:lnTo>
                    <a:pt x="28" y="58"/>
                  </a:lnTo>
                  <a:lnTo>
                    <a:pt x="25" y="53"/>
                  </a:lnTo>
                  <a:lnTo>
                    <a:pt x="28" y="48"/>
                  </a:lnTo>
                  <a:lnTo>
                    <a:pt x="31" y="45"/>
                  </a:lnTo>
                  <a:lnTo>
                    <a:pt x="33" y="43"/>
                  </a:lnTo>
                  <a:lnTo>
                    <a:pt x="36" y="40"/>
                  </a:lnTo>
                  <a:lnTo>
                    <a:pt x="38" y="35"/>
                  </a:lnTo>
                  <a:lnTo>
                    <a:pt x="38" y="33"/>
                  </a:lnTo>
                  <a:lnTo>
                    <a:pt x="36" y="30"/>
                  </a:lnTo>
                  <a:lnTo>
                    <a:pt x="36" y="28"/>
                  </a:lnTo>
                  <a:lnTo>
                    <a:pt x="36" y="28"/>
                  </a:lnTo>
                  <a:lnTo>
                    <a:pt x="36" y="28"/>
                  </a:lnTo>
                  <a:lnTo>
                    <a:pt x="33" y="25"/>
                  </a:lnTo>
                  <a:lnTo>
                    <a:pt x="33" y="23"/>
                  </a:lnTo>
                  <a:lnTo>
                    <a:pt x="31" y="17"/>
                  </a:lnTo>
                  <a:lnTo>
                    <a:pt x="31" y="17"/>
                  </a:lnTo>
                  <a:lnTo>
                    <a:pt x="31" y="15"/>
                  </a:lnTo>
                  <a:lnTo>
                    <a:pt x="33" y="12"/>
                  </a:lnTo>
                  <a:lnTo>
                    <a:pt x="33" y="12"/>
                  </a:lnTo>
                  <a:lnTo>
                    <a:pt x="41" y="10"/>
                  </a:lnTo>
                  <a:lnTo>
                    <a:pt x="43" y="10"/>
                  </a:lnTo>
                  <a:lnTo>
                    <a:pt x="43" y="10"/>
                  </a:lnTo>
                  <a:lnTo>
                    <a:pt x="43" y="7"/>
                  </a:lnTo>
                  <a:lnTo>
                    <a:pt x="43" y="7"/>
                  </a:lnTo>
                  <a:lnTo>
                    <a:pt x="43" y="7"/>
                  </a:lnTo>
                  <a:lnTo>
                    <a:pt x="41" y="10"/>
                  </a:lnTo>
                  <a:lnTo>
                    <a:pt x="36" y="10"/>
                  </a:lnTo>
                  <a:lnTo>
                    <a:pt x="31" y="12"/>
                  </a:lnTo>
                  <a:lnTo>
                    <a:pt x="31" y="12"/>
                  </a:lnTo>
                  <a:lnTo>
                    <a:pt x="25" y="23"/>
                  </a:lnTo>
                  <a:lnTo>
                    <a:pt x="20" y="25"/>
                  </a:lnTo>
                  <a:lnTo>
                    <a:pt x="18" y="25"/>
                  </a:lnTo>
                  <a:lnTo>
                    <a:pt x="18" y="28"/>
                  </a:lnTo>
                  <a:lnTo>
                    <a:pt x="15" y="30"/>
                  </a:lnTo>
                  <a:lnTo>
                    <a:pt x="15" y="33"/>
                  </a:lnTo>
                  <a:lnTo>
                    <a:pt x="10" y="38"/>
                  </a:lnTo>
                  <a:lnTo>
                    <a:pt x="10" y="45"/>
                  </a:lnTo>
                  <a:lnTo>
                    <a:pt x="8" y="48"/>
                  </a:lnTo>
                  <a:lnTo>
                    <a:pt x="8" y="56"/>
                  </a:lnTo>
                  <a:lnTo>
                    <a:pt x="5" y="58"/>
                  </a:lnTo>
                  <a:lnTo>
                    <a:pt x="5" y="61"/>
                  </a:lnTo>
                  <a:lnTo>
                    <a:pt x="3" y="63"/>
                  </a:lnTo>
                  <a:lnTo>
                    <a:pt x="0" y="66"/>
                  </a:lnTo>
                  <a:lnTo>
                    <a:pt x="0" y="68"/>
                  </a:lnTo>
                  <a:lnTo>
                    <a:pt x="0" y="68"/>
                  </a:lnTo>
                  <a:lnTo>
                    <a:pt x="0" y="68"/>
                  </a:lnTo>
                  <a:lnTo>
                    <a:pt x="3" y="68"/>
                  </a:lnTo>
                  <a:lnTo>
                    <a:pt x="5" y="68"/>
                  </a:lnTo>
                  <a:lnTo>
                    <a:pt x="5" y="66"/>
                  </a:lnTo>
                  <a:lnTo>
                    <a:pt x="8" y="68"/>
                  </a:lnTo>
                  <a:lnTo>
                    <a:pt x="8" y="68"/>
                  </a:lnTo>
                  <a:lnTo>
                    <a:pt x="8" y="71"/>
                  </a:lnTo>
                  <a:lnTo>
                    <a:pt x="10" y="68"/>
                  </a:lnTo>
                  <a:lnTo>
                    <a:pt x="10" y="71"/>
                  </a:lnTo>
                  <a:lnTo>
                    <a:pt x="13" y="76"/>
                  </a:lnTo>
                  <a:lnTo>
                    <a:pt x="13" y="81"/>
                  </a:lnTo>
                  <a:lnTo>
                    <a:pt x="15" y="84"/>
                  </a:lnTo>
                  <a:lnTo>
                    <a:pt x="18" y="86"/>
                  </a:lnTo>
                  <a:lnTo>
                    <a:pt x="18" y="89"/>
                  </a:lnTo>
                  <a:lnTo>
                    <a:pt x="18" y="91"/>
                  </a:lnTo>
                  <a:lnTo>
                    <a:pt x="18" y="94"/>
                  </a:lnTo>
                  <a:lnTo>
                    <a:pt x="18" y="94"/>
                  </a:lnTo>
                  <a:lnTo>
                    <a:pt x="15" y="96"/>
                  </a:lnTo>
                  <a:lnTo>
                    <a:pt x="15" y="99"/>
                  </a:lnTo>
                  <a:lnTo>
                    <a:pt x="15" y="101"/>
                  </a:lnTo>
                  <a:lnTo>
                    <a:pt x="15" y="104"/>
                  </a:lnTo>
                  <a:lnTo>
                    <a:pt x="15" y="107"/>
                  </a:lnTo>
                  <a:lnTo>
                    <a:pt x="15" y="107"/>
                  </a:lnTo>
                  <a:lnTo>
                    <a:pt x="18" y="109"/>
                  </a:lnTo>
                  <a:lnTo>
                    <a:pt x="18" y="109"/>
                  </a:lnTo>
                  <a:lnTo>
                    <a:pt x="20" y="109"/>
                  </a:lnTo>
                  <a:lnTo>
                    <a:pt x="20" y="112"/>
                  </a:lnTo>
                  <a:lnTo>
                    <a:pt x="23" y="117"/>
                  </a:lnTo>
                  <a:lnTo>
                    <a:pt x="25" y="117"/>
                  </a:lnTo>
                  <a:lnTo>
                    <a:pt x="25" y="119"/>
                  </a:lnTo>
                  <a:lnTo>
                    <a:pt x="28" y="117"/>
                  </a:lnTo>
                  <a:lnTo>
                    <a:pt x="33" y="117"/>
                  </a:lnTo>
                  <a:lnTo>
                    <a:pt x="36" y="117"/>
                  </a:lnTo>
                  <a:lnTo>
                    <a:pt x="41" y="119"/>
                  </a:lnTo>
                  <a:lnTo>
                    <a:pt x="41" y="119"/>
                  </a:lnTo>
                  <a:lnTo>
                    <a:pt x="43" y="119"/>
                  </a:lnTo>
                  <a:lnTo>
                    <a:pt x="48" y="117"/>
                  </a:lnTo>
                  <a:lnTo>
                    <a:pt x="51" y="117"/>
                  </a:lnTo>
                  <a:lnTo>
                    <a:pt x="51" y="117"/>
                  </a:lnTo>
                  <a:lnTo>
                    <a:pt x="53" y="117"/>
                  </a:lnTo>
                  <a:lnTo>
                    <a:pt x="56" y="117"/>
                  </a:lnTo>
                  <a:lnTo>
                    <a:pt x="56" y="119"/>
                  </a:lnTo>
                  <a:lnTo>
                    <a:pt x="59" y="119"/>
                  </a:lnTo>
                  <a:lnTo>
                    <a:pt x="61" y="119"/>
                  </a:lnTo>
                  <a:lnTo>
                    <a:pt x="61" y="119"/>
                  </a:lnTo>
                  <a:lnTo>
                    <a:pt x="64" y="119"/>
                  </a:lnTo>
                  <a:lnTo>
                    <a:pt x="66" y="124"/>
                  </a:lnTo>
                  <a:lnTo>
                    <a:pt x="69" y="129"/>
                  </a:lnTo>
                  <a:lnTo>
                    <a:pt x="71" y="135"/>
                  </a:lnTo>
                  <a:lnTo>
                    <a:pt x="74" y="137"/>
                  </a:lnTo>
                  <a:lnTo>
                    <a:pt x="74" y="137"/>
                  </a:lnTo>
                  <a:lnTo>
                    <a:pt x="76" y="137"/>
                  </a:lnTo>
                  <a:lnTo>
                    <a:pt x="76" y="137"/>
                  </a:lnTo>
                  <a:lnTo>
                    <a:pt x="79" y="140"/>
                  </a:lnTo>
                  <a:lnTo>
                    <a:pt x="79" y="137"/>
                  </a:lnTo>
                  <a:lnTo>
                    <a:pt x="82" y="137"/>
                  </a:lnTo>
                  <a:lnTo>
                    <a:pt x="84" y="137"/>
                  </a:lnTo>
                  <a:lnTo>
                    <a:pt x="89" y="137"/>
                  </a:lnTo>
                  <a:lnTo>
                    <a:pt x="94" y="137"/>
                  </a:lnTo>
                  <a:lnTo>
                    <a:pt x="102" y="137"/>
                  </a:lnTo>
                  <a:lnTo>
                    <a:pt x="104" y="135"/>
                  </a:lnTo>
                  <a:lnTo>
                    <a:pt x="107" y="135"/>
                  </a:lnTo>
                  <a:lnTo>
                    <a:pt x="110" y="135"/>
                  </a:lnTo>
                  <a:lnTo>
                    <a:pt x="112" y="135"/>
                  </a:lnTo>
                  <a:lnTo>
                    <a:pt x="115" y="137"/>
                  </a:lnTo>
                  <a:lnTo>
                    <a:pt x="115" y="137"/>
                  </a:lnTo>
                  <a:lnTo>
                    <a:pt x="115" y="140"/>
                  </a:lnTo>
                  <a:lnTo>
                    <a:pt x="115" y="142"/>
                  </a:lnTo>
                  <a:lnTo>
                    <a:pt x="112" y="145"/>
                  </a:lnTo>
                  <a:lnTo>
                    <a:pt x="110" y="147"/>
                  </a:lnTo>
                  <a:lnTo>
                    <a:pt x="110" y="150"/>
                  </a:lnTo>
                  <a:lnTo>
                    <a:pt x="110" y="152"/>
                  </a:lnTo>
                  <a:lnTo>
                    <a:pt x="107" y="155"/>
                  </a:lnTo>
                  <a:lnTo>
                    <a:pt x="107" y="157"/>
                  </a:lnTo>
                  <a:lnTo>
                    <a:pt x="107" y="160"/>
                  </a:lnTo>
                  <a:lnTo>
                    <a:pt x="107" y="165"/>
                  </a:lnTo>
                  <a:lnTo>
                    <a:pt x="104" y="170"/>
                  </a:lnTo>
                  <a:lnTo>
                    <a:pt x="104" y="175"/>
                  </a:lnTo>
                  <a:lnTo>
                    <a:pt x="107" y="175"/>
                  </a:lnTo>
                  <a:lnTo>
                    <a:pt x="107" y="178"/>
                  </a:lnTo>
                  <a:lnTo>
                    <a:pt x="107" y="180"/>
                  </a:lnTo>
                  <a:lnTo>
                    <a:pt x="107" y="183"/>
                  </a:lnTo>
                  <a:lnTo>
                    <a:pt x="107" y="185"/>
                  </a:lnTo>
                  <a:lnTo>
                    <a:pt x="110" y="190"/>
                  </a:lnTo>
                  <a:lnTo>
                    <a:pt x="110" y="190"/>
                  </a:lnTo>
                  <a:lnTo>
                    <a:pt x="112" y="193"/>
                  </a:lnTo>
                  <a:lnTo>
                    <a:pt x="112" y="193"/>
                  </a:lnTo>
                  <a:lnTo>
                    <a:pt x="115" y="198"/>
                  </a:lnTo>
                  <a:lnTo>
                    <a:pt x="115" y="201"/>
                  </a:lnTo>
                  <a:lnTo>
                    <a:pt x="115" y="201"/>
                  </a:lnTo>
                  <a:lnTo>
                    <a:pt x="115" y="201"/>
                  </a:lnTo>
                  <a:lnTo>
                    <a:pt x="115" y="201"/>
                  </a:lnTo>
                  <a:lnTo>
                    <a:pt x="112" y="206"/>
                  </a:lnTo>
                  <a:lnTo>
                    <a:pt x="104" y="211"/>
                  </a:lnTo>
                  <a:lnTo>
                    <a:pt x="104" y="213"/>
                  </a:lnTo>
                  <a:lnTo>
                    <a:pt x="104" y="213"/>
                  </a:lnTo>
                  <a:lnTo>
                    <a:pt x="107" y="213"/>
                  </a:lnTo>
                  <a:lnTo>
                    <a:pt x="107" y="213"/>
                  </a:lnTo>
                  <a:lnTo>
                    <a:pt x="110" y="213"/>
                  </a:lnTo>
                  <a:lnTo>
                    <a:pt x="110" y="213"/>
                  </a:lnTo>
                  <a:lnTo>
                    <a:pt x="110" y="216"/>
                  </a:lnTo>
                  <a:lnTo>
                    <a:pt x="110" y="216"/>
                  </a:lnTo>
                  <a:lnTo>
                    <a:pt x="112" y="216"/>
                  </a:lnTo>
                  <a:lnTo>
                    <a:pt x="115" y="218"/>
                  </a:lnTo>
                  <a:lnTo>
                    <a:pt x="115" y="221"/>
                  </a:lnTo>
                  <a:lnTo>
                    <a:pt x="117" y="221"/>
                  </a:lnTo>
                  <a:lnTo>
                    <a:pt x="117" y="224"/>
                  </a:lnTo>
                  <a:lnTo>
                    <a:pt x="117" y="224"/>
                  </a:lnTo>
                  <a:lnTo>
                    <a:pt x="117" y="226"/>
                  </a:lnTo>
                  <a:lnTo>
                    <a:pt x="117" y="229"/>
                  </a:lnTo>
                  <a:lnTo>
                    <a:pt x="120" y="229"/>
                  </a:lnTo>
                  <a:lnTo>
                    <a:pt x="120" y="231"/>
                  </a:lnTo>
                  <a:lnTo>
                    <a:pt x="120" y="231"/>
                  </a:lnTo>
                  <a:lnTo>
                    <a:pt x="120" y="234"/>
                  </a:lnTo>
                  <a:lnTo>
                    <a:pt x="120" y="236"/>
                  </a:lnTo>
                  <a:lnTo>
                    <a:pt x="122" y="239"/>
                  </a:lnTo>
                  <a:lnTo>
                    <a:pt x="122" y="241"/>
                  </a:lnTo>
                  <a:lnTo>
                    <a:pt x="122" y="241"/>
                  </a:lnTo>
                  <a:lnTo>
                    <a:pt x="122" y="244"/>
                  </a:lnTo>
                  <a:lnTo>
                    <a:pt x="122" y="246"/>
                  </a:lnTo>
                  <a:lnTo>
                    <a:pt x="122" y="249"/>
                  </a:lnTo>
                  <a:lnTo>
                    <a:pt x="122" y="249"/>
                  </a:lnTo>
                  <a:lnTo>
                    <a:pt x="127" y="254"/>
                  </a:lnTo>
                  <a:lnTo>
                    <a:pt x="132" y="259"/>
                  </a:lnTo>
                  <a:lnTo>
                    <a:pt x="135" y="259"/>
                  </a:lnTo>
                  <a:lnTo>
                    <a:pt x="135" y="259"/>
                  </a:lnTo>
                  <a:lnTo>
                    <a:pt x="138" y="259"/>
                  </a:lnTo>
                  <a:lnTo>
                    <a:pt x="140" y="259"/>
                  </a:lnTo>
                  <a:lnTo>
                    <a:pt x="140" y="259"/>
                  </a:lnTo>
                  <a:lnTo>
                    <a:pt x="143" y="257"/>
                  </a:lnTo>
                  <a:lnTo>
                    <a:pt x="145" y="257"/>
                  </a:lnTo>
                  <a:lnTo>
                    <a:pt x="148" y="254"/>
                  </a:lnTo>
                  <a:lnTo>
                    <a:pt x="148" y="254"/>
                  </a:lnTo>
                  <a:lnTo>
                    <a:pt x="148" y="254"/>
                  </a:lnTo>
                  <a:lnTo>
                    <a:pt x="150" y="257"/>
                  </a:lnTo>
                  <a:lnTo>
                    <a:pt x="150" y="257"/>
                  </a:lnTo>
                  <a:lnTo>
                    <a:pt x="150" y="259"/>
                  </a:lnTo>
                  <a:lnTo>
                    <a:pt x="150" y="262"/>
                  </a:lnTo>
                  <a:lnTo>
                    <a:pt x="150" y="262"/>
                  </a:lnTo>
                  <a:lnTo>
                    <a:pt x="153" y="259"/>
                  </a:lnTo>
                  <a:lnTo>
                    <a:pt x="153" y="257"/>
                  </a:lnTo>
                  <a:lnTo>
                    <a:pt x="155" y="257"/>
                  </a:lnTo>
                  <a:lnTo>
                    <a:pt x="158" y="254"/>
                  </a:lnTo>
                  <a:lnTo>
                    <a:pt x="158" y="252"/>
                  </a:lnTo>
                  <a:lnTo>
                    <a:pt x="161" y="252"/>
                  </a:lnTo>
                  <a:lnTo>
                    <a:pt x="163" y="249"/>
                  </a:lnTo>
                  <a:lnTo>
                    <a:pt x="166" y="249"/>
                  </a:lnTo>
                  <a:lnTo>
                    <a:pt x="166" y="249"/>
                  </a:lnTo>
                  <a:lnTo>
                    <a:pt x="168" y="246"/>
                  </a:lnTo>
                  <a:lnTo>
                    <a:pt x="171" y="246"/>
                  </a:lnTo>
                  <a:lnTo>
                    <a:pt x="171" y="244"/>
                  </a:lnTo>
                  <a:lnTo>
                    <a:pt x="171" y="244"/>
                  </a:lnTo>
                  <a:lnTo>
                    <a:pt x="173" y="244"/>
                  </a:lnTo>
                  <a:lnTo>
                    <a:pt x="176" y="244"/>
                  </a:lnTo>
                  <a:lnTo>
                    <a:pt x="178" y="241"/>
                  </a:lnTo>
                  <a:lnTo>
                    <a:pt x="178" y="241"/>
                  </a:lnTo>
                  <a:lnTo>
                    <a:pt x="181" y="236"/>
                  </a:lnTo>
                  <a:lnTo>
                    <a:pt x="181" y="234"/>
                  </a:lnTo>
                  <a:lnTo>
                    <a:pt x="181" y="234"/>
                  </a:lnTo>
                  <a:lnTo>
                    <a:pt x="181" y="234"/>
                  </a:lnTo>
                  <a:lnTo>
                    <a:pt x="183" y="231"/>
                  </a:lnTo>
                  <a:lnTo>
                    <a:pt x="183" y="231"/>
                  </a:lnTo>
                  <a:lnTo>
                    <a:pt x="189" y="231"/>
                  </a:lnTo>
                  <a:lnTo>
                    <a:pt x="191" y="229"/>
                  </a:lnTo>
                  <a:lnTo>
                    <a:pt x="191" y="229"/>
                  </a:lnTo>
                  <a:lnTo>
                    <a:pt x="194" y="229"/>
                  </a:lnTo>
                  <a:lnTo>
                    <a:pt x="194" y="226"/>
                  </a:lnTo>
                  <a:lnTo>
                    <a:pt x="194" y="224"/>
                  </a:lnTo>
                  <a:lnTo>
                    <a:pt x="194" y="221"/>
                  </a:lnTo>
                  <a:lnTo>
                    <a:pt x="191" y="221"/>
                  </a:lnTo>
                  <a:lnTo>
                    <a:pt x="189" y="221"/>
                  </a:lnTo>
                  <a:lnTo>
                    <a:pt x="183" y="221"/>
                  </a:lnTo>
                  <a:lnTo>
                    <a:pt x="181" y="221"/>
                  </a:lnTo>
                  <a:lnTo>
                    <a:pt x="181" y="221"/>
                  </a:lnTo>
                  <a:lnTo>
                    <a:pt x="181" y="218"/>
                  </a:lnTo>
                  <a:lnTo>
                    <a:pt x="181" y="218"/>
                  </a:lnTo>
                  <a:lnTo>
                    <a:pt x="181" y="216"/>
                  </a:lnTo>
                  <a:lnTo>
                    <a:pt x="181" y="213"/>
                  </a:lnTo>
                  <a:lnTo>
                    <a:pt x="178" y="208"/>
                  </a:lnTo>
                  <a:lnTo>
                    <a:pt x="178" y="203"/>
                  </a:lnTo>
                  <a:lnTo>
                    <a:pt x="178" y="201"/>
                  </a:lnTo>
                  <a:lnTo>
                    <a:pt x="178" y="198"/>
                  </a:lnTo>
                  <a:lnTo>
                    <a:pt x="178" y="196"/>
                  </a:lnTo>
                  <a:lnTo>
                    <a:pt x="176" y="193"/>
                  </a:lnTo>
                  <a:lnTo>
                    <a:pt x="171" y="188"/>
                  </a:lnTo>
                  <a:lnTo>
                    <a:pt x="168" y="185"/>
                  </a:lnTo>
                  <a:lnTo>
                    <a:pt x="168" y="185"/>
                  </a:lnTo>
                  <a:lnTo>
                    <a:pt x="166" y="180"/>
                  </a:lnTo>
                  <a:lnTo>
                    <a:pt x="166" y="180"/>
                  </a:lnTo>
                  <a:lnTo>
                    <a:pt x="168" y="180"/>
                  </a:lnTo>
                  <a:lnTo>
                    <a:pt x="168" y="180"/>
                  </a:lnTo>
                  <a:lnTo>
                    <a:pt x="171" y="183"/>
                  </a:lnTo>
                  <a:lnTo>
                    <a:pt x="171" y="183"/>
                  </a:lnTo>
                  <a:lnTo>
                    <a:pt x="171" y="183"/>
                  </a:lnTo>
                  <a:lnTo>
                    <a:pt x="178" y="183"/>
                  </a:lnTo>
                  <a:lnTo>
                    <a:pt x="178" y="183"/>
                  </a:lnTo>
                  <a:lnTo>
                    <a:pt x="178" y="183"/>
                  </a:lnTo>
                  <a:lnTo>
                    <a:pt x="181" y="185"/>
                  </a:lnTo>
                  <a:lnTo>
                    <a:pt x="181" y="188"/>
                  </a:lnTo>
                  <a:lnTo>
                    <a:pt x="181" y="188"/>
                  </a:lnTo>
                  <a:lnTo>
                    <a:pt x="183" y="188"/>
                  </a:lnTo>
                  <a:lnTo>
                    <a:pt x="189" y="188"/>
                  </a:lnTo>
                  <a:lnTo>
                    <a:pt x="189" y="188"/>
                  </a:lnTo>
                  <a:lnTo>
                    <a:pt x="191" y="188"/>
                  </a:lnTo>
                  <a:lnTo>
                    <a:pt x="191" y="188"/>
                  </a:lnTo>
                  <a:lnTo>
                    <a:pt x="194" y="188"/>
                  </a:lnTo>
                  <a:lnTo>
                    <a:pt x="196" y="188"/>
                  </a:lnTo>
                  <a:lnTo>
                    <a:pt x="196" y="188"/>
                  </a:lnTo>
                  <a:lnTo>
                    <a:pt x="199" y="190"/>
                  </a:lnTo>
                  <a:lnTo>
                    <a:pt x="201" y="193"/>
                  </a:lnTo>
                  <a:lnTo>
                    <a:pt x="204" y="196"/>
                  </a:lnTo>
                  <a:lnTo>
                    <a:pt x="206" y="196"/>
                  </a:lnTo>
                  <a:lnTo>
                    <a:pt x="206" y="193"/>
                  </a:lnTo>
                  <a:lnTo>
                    <a:pt x="209" y="188"/>
                  </a:lnTo>
                  <a:lnTo>
                    <a:pt x="209" y="185"/>
                  </a:lnTo>
                  <a:lnTo>
                    <a:pt x="209" y="185"/>
                  </a:lnTo>
                  <a:lnTo>
                    <a:pt x="211" y="185"/>
                  </a:lnTo>
                  <a:lnTo>
                    <a:pt x="211" y="185"/>
                  </a:lnTo>
                  <a:lnTo>
                    <a:pt x="214" y="183"/>
                  </a:lnTo>
                  <a:lnTo>
                    <a:pt x="214" y="183"/>
                  </a:lnTo>
                  <a:lnTo>
                    <a:pt x="219" y="183"/>
                  </a:lnTo>
                  <a:lnTo>
                    <a:pt x="222" y="183"/>
                  </a:lnTo>
                  <a:lnTo>
                    <a:pt x="227" y="183"/>
                  </a:lnTo>
                  <a:lnTo>
                    <a:pt x="232" y="180"/>
                  </a:lnTo>
                  <a:lnTo>
                    <a:pt x="234" y="178"/>
                  </a:lnTo>
                  <a:lnTo>
                    <a:pt x="234" y="175"/>
                  </a:lnTo>
                  <a:lnTo>
                    <a:pt x="237" y="175"/>
                  </a:lnTo>
                  <a:lnTo>
                    <a:pt x="240" y="175"/>
                  </a:lnTo>
                  <a:lnTo>
                    <a:pt x="242" y="175"/>
                  </a:lnTo>
                  <a:lnTo>
                    <a:pt x="242" y="175"/>
                  </a:lnTo>
                  <a:lnTo>
                    <a:pt x="242" y="175"/>
                  </a:lnTo>
                  <a:lnTo>
                    <a:pt x="245" y="173"/>
                  </a:lnTo>
                  <a:lnTo>
                    <a:pt x="245" y="170"/>
                  </a:lnTo>
                  <a:lnTo>
                    <a:pt x="247" y="170"/>
                  </a:lnTo>
                  <a:lnTo>
                    <a:pt x="247" y="168"/>
                  </a:lnTo>
                  <a:lnTo>
                    <a:pt x="250" y="168"/>
                  </a:lnTo>
                  <a:lnTo>
                    <a:pt x="250" y="165"/>
                  </a:lnTo>
                  <a:lnTo>
                    <a:pt x="252" y="165"/>
                  </a:lnTo>
                  <a:lnTo>
                    <a:pt x="252" y="162"/>
                  </a:lnTo>
                  <a:lnTo>
                    <a:pt x="250" y="162"/>
                  </a:lnTo>
                  <a:lnTo>
                    <a:pt x="250" y="160"/>
                  </a:lnTo>
                  <a:lnTo>
                    <a:pt x="250" y="160"/>
                  </a:lnTo>
                  <a:lnTo>
                    <a:pt x="250" y="160"/>
                  </a:lnTo>
                  <a:lnTo>
                    <a:pt x="245" y="152"/>
                  </a:lnTo>
                  <a:lnTo>
                    <a:pt x="240" y="147"/>
                  </a:lnTo>
                  <a:lnTo>
                    <a:pt x="237" y="142"/>
                  </a:lnTo>
                  <a:lnTo>
                    <a:pt x="237" y="142"/>
                  </a:lnTo>
                  <a:lnTo>
                    <a:pt x="237" y="140"/>
                  </a:lnTo>
                  <a:lnTo>
                    <a:pt x="240" y="137"/>
                  </a:lnTo>
                  <a:lnTo>
                    <a:pt x="242" y="137"/>
                  </a:lnTo>
                  <a:lnTo>
                    <a:pt x="242" y="137"/>
                  </a:lnTo>
                  <a:lnTo>
                    <a:pt x="242" y="132"/>
                  </a:lnTo>
                  <a:lnTo>
                    <a:pt x="242" y="129"/>
                  </a:lnTo>
                  <a:lnTo>
                    <a:pt x="242" y="129"/>
                  </a:lnTo>
                  <a:lnTo>
                    <a:pt x="240" y="127"/>
                  </a:lnTo>
                  <a:lnTo>
                    <a:pt x="242" y="127"/>
                  </a:lnTo>
                  <a:lnTo>
                    <a:pt x="242" y="124"/>
                  </a:lnTo>
                  <a:lnTo>
                    <a:pt x="242" y="124"/>
                  </a:lnTo>
                  <a:lnTo>
                    <a:pt x="245" y="124"/>
                  </a:lnTo>
                  <a:lnTo>
                    <a:pt x="247" y="124"/>
                  </a:lnTo>
                  <a:lnTo>
                    <a:pt x="247" y="124"/>
                  </a:lnTo>
                  <a:lnTo>
                    <a:pt x="247" y="122"/>
                  </a:lnTo>
                  <a:lnTo>
                    <a:pt x="247" y="122"/>
                  </a:lnTo>
                  <a:lnTo>
                    <a:pt x="250" y="124"/>
                  </a:lnTo>
                  <a:lnTo>
                    <a:pt x="252" y="122"/>
                  </a:lnTo>
                  <a:lnTo>
                    <a:pt x="252" y="122"/>
                  </a:lnTo>
                  <a:lnTo>
                    <a:pt x="257" y="119"/>
                  </a:lnTo>
                  <a:lnTo>
                    <a:pt x="257" y="119"/>
                  </a:lnTo>
                  <a:lnTo>
                    <a:pt x="257" y="117"/>
                  </a:lnTo>
                  <a:lnTo>
                    <a:pt x="257" y="114"/>
                  </a:lnTo>
                  <a:lnTo>
                    <a:pt x="257" y="114"/>
                  </a:lnTo>
                  <a:lnTo>
                    <a:pt x="257" y="114"/>
                  </a:lnTo>
                  <a:lnTo>
                    <a:pt x="255" y="114"/>
                  </a:lnTo>
                  <a:lnTo>
                    <a:pt x="255" y="114"/>
                  </a:lnTo>
                  <a:lnTo>
                    <a:pt x="252" y="114"/>
                  </a:lnTo>
                  <a:lnTo>
                    <a:pt x="252" y="114"/>
                  </a:lnTo>
                  <a:lnTo>
                    <a:pt x="252" y="112"/>
                  </a:lnTo>
                  <a:lnTo>
                    <a:pt x="252" y="112"/>
                  </a:lnTo>
                  <a:lnTo>
                    <a:pt x="252" y="109"/>
                  </a:lnTo>
                  <a:lnTo>
                    <a:pt x="252" y="107"/>
                  </a:lnTo>
                  <a:lnTo>
                    <a:pt x="252" y="107"/>
                  </a:lnTo>
                  <a:lnTo>
                    <a:pt x="252" y="104"/>
                  </a:lnTo>
                  <a:lnTo>
                    <a:pt x="252" y="104"/>
                  </a:lnTo>
                  <a:lnTo>
                    <a:pt x="255" y="101"/>
                  </a:lnTo>
                  <a:lnTo>
                    <a:pt x="255" y="99"/>
                  </a:lnTo>
                  <a:lnTo>
                    <a:pt x="257" y="99"/>
                  </a:lnTo>
                  <a:lnTo>
                    <a:pt x="260" y="99"/>
                  </a:lnTo>
                  <a:lnTo>
                    <a:pt x="260" y="96"/>
                  </a:lnTo>
                  <a:lnTo>
                    <a:pt x="262" y="96"/>
                  </a:lnTo>
                  <a:lnTo>
                    <a:pt x="265" y="94"/>
                  </a:lnTo>
                  <a:lnTo>
                    <a:pt x="265" y="91"/>
                  </a:lnTo>
                  <a:lnTo>
                    <a:pt x="268" y="91"/>
                  </a:lnTo>
                  <a:lnTo>
                    <a:pt x="270" y="89"/>
                  </a:lnTo>
                  <a:lnTo>
                    <a:pt x="270" y="89"/>
                  </a:lnTo>
                  <a:lnTo>
                    <a:pt x="270" y="89"/>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29" name="Freeform 1647">
              <a:extLst>
                <a:ext uri="{FF2B5EF4-FFF2-40B4-BE49-F238E27FC236}">
                  <a16:creationId xmlns:a16="http://schemas.microsoft.com/office/drawing/2014/main" id="{B8A843A9-6344-B745-84A4-370F45DA0828}"/>
                </a:ext>
              </a:extLst>
            </p:cNvPr>
            <p:cNvSpPr>
              <a:spLocks/>
            </p:cNvSpPr>
            <p:nvPr/>
          </p:nvSpPr>
          <p:spPr bwMode="auto">
            <a:xfrm>
              <a:off x="6012627" y="2243909"/>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30" name="Freeform 1648">
              <a:extLst>
                <a:ext uri="{FF2B5EF4-FFF2-40B4-BE49-F238E27FC236}">
                  <a16:creationId xmlns:a16="http://schemas.microsoft.com/office/drawing/2014/main" id="{6355A62D-3A8B-7E4E-8582-2E7EBE2E4C58}"/>
                </a:ext>
              </a:extLst>
            </p:cNvPr>
            <p:cNvSpPr>
              <a:spLocks noEditPoints="1"/>
            </p:cNvSpPr>
            <p:nvPr/>
          </p:nvSpPr>
          <p:spPr bwMode="auto">
            <a:xfrm>
              <a:off x="11035974" y="4308208"/>
              <a:ext cx="67066" cy="246997"/>
            </a:xfrm>
            <a:custGeom>
              <a:avLst/>
              <a:gdLst>
                <a:gd name="T0" fmla="*/ 36 w 41"/>
                <a:gd name="T1" fmla="*/ 148 h 151"/>
                <a:gd name="T2" fmla="*/ 38 w 41"/>
                <a:gd name="T3" fmla="*/ 151 h 151"/>
                <a:gd name="T4" fmla="*/ 33 w 41"/>
                <a:gd name="T5" fmla="*/ 130 h 151"/>
                <a:gd name="T6" fmla="*/ 31 w 41"/>
                <a:gd name="T7" fmla="*/ 133 h 151"/>
                <a:gd name="T8" fmla="*/ 33 w 41"/>
                <a:gd name="T9" fmla="*/ 135 h 151"/>
                <a:gd name="T10" fmla="*/ 33 w 41"/>
                <a:gd name="T11" fmla="*/ 130 h 151"/>
                <a:gd name="T12" fmla="*/ 33 w 41"/>
                <a:gd name="T13" fmla="*/ 115 h 151"/>
                <a:gd name="T14" fmla="*/ 31 w 41"/>
                <a:gd name="T15" fmla="*/ 112 h 151"/>
                <a:gd name="T16" fmla="*/ 28 w 41"/>
                <a:gd name="T17" fmla="*/ 120 h 151"/>
                <a:gd name="T18" fmla="*/ 36 w 41"/>
                <a:gd name="T19" fmla="*/ 120 h 151"/>
                <a:gd name="T20" fmla="*/ 26 w 41"/>
                <a:gd name="T21" fmla="*/ 89 h 151"/>
                <a:gd name="T22" fmla="*/ 23 w 41"/>
                <a:gd name="T23" fmla="*/ 89 h 151"/>
                <a:gd name="T24" fmla="*/ 18 w 41"/>
                <a:gd name="T25" fmla="*/ 92 h 151"/>
                <a:gd name="T26" fmla="*/ 21 w 41"/>
                <a:gd name="T27" fmla="*/ 92 h 151"/>
                <a:gd name="T28" fmla="*/ 23 w 41"/>
                <a:gd name="T29" fmla="*/ 95 h 151"/>
                <a:gd name="T30" fmla="*/ 26 w 41"/>
                <a:gd name="T31" fmla="*/ 92 h 151"/>
                <a:gd name="T32" fmla="*/ 28 w 41"/>
                <a:gd name="T33" fmla="*/ 72 h 151"/>
                <a:gd name="T34" fmla="*/ 26 w 41"/>
                <a:gd name="T35" fmla="*/ 69 h 151"/>
                <a:gd name="T36" fmla="*/ 23 w 41"/>
                <a:gd name="T37" fmla="*/ 69 h 151"/>
                <a:gd name="T38" fmla="*/ 23 w 41"/>
                <a:gd name="T39" fmla="*/ 72 h 151"/>
                <a:gd name="T40" fmla="*/ 28 w 41"/>
                <a:gd name="T41" fmla="*/ 72 h 151"/>
                <a:gd name="T42" fmla="*/ 23 w 41"/>
                <a:gd name="T43" fmla="*/ 59 h 151"/>
                <a:gd name="T44" fmla="*/ 21 w 41"/>
                <a:gd name="T45" fmla="*/ 59 h 151"/>
                <a:gd name="T46" fmla="*/ 28 w 41"/>
                <a:gd name="T47" fmla="*/ 62 h 151"/>
                <a:gd name="T48" fmla="*/ 28 w 41"/>
                <a:gd name="T49" fmla="*/ 59 h 151"/>
                <a:gd name="T50" fmla="*/ 23 w 41"/>
                <a:gd name="T51" fmla="*/ 59 h 151"/>
                <a:gd name="T52" fmla="*/ 15 w 41"/>
                <a:gd name="T53" fmla="*/ 59 h 151"/>
                <a:gd name="T54" fmla="*/ 13 w 41"/>
                <a:gd name="T55" fmla="*/ 56 h 151"/>
                <a:gd name="T56" fmla="*/ 10 w 41"/>
                <a:gd name="T57" fmla="*/ 51 h 151"/>
                <a:gd name="T58" fmla="*/ 8 w 41"/>
                <a:gd name="T59" fmla="*/ 51 h 151"/>
                <a:gd name="T60" fmla="*/ 8 w 41"/>
                <a:gd name="T61" fmla="*/ 56 h 151"/>
                <a:gd name="T62" fmla="*/ 10 w 41"/>
                <a:gd name="T63" fmla="*/ 59 h 151"/>
                <a:gd name="T64" fmla="*/ 10 w 41"/>
                <a:gd name="T65" fmla="*/ 64 h 151"/>
                <a:gd name="T66" fmla="*/ 13 w 41"/>
                <a:gd name="T67" fmla="*/ 64 h 151"/>
                <a:gd name="T68" fmla="*/ 18 w 41"/>
                <a:gd name="T69" fmla="*/ 62 h 151"/>
                <a:gd name="T70" fmla="*/ 10 w 41"/>
                <a:gd name="T71" fmla="*/ 46 h 151"/>
                <a:gd name="T72" fmla="*/ 8 w 41"/>
                <a:gd name="T73" fmla="*/ 46 h 151"/>
                <a:gd name="T74" fmla="*/ 28 w 41"/>
                <a:gd name="T75" fmla="*/ 54 h 151"/>
                <a:gd name="T76" fmla="*/ 28 w 41"/>
                <a:gd name="T77" fmla="*/ 41 h 151"/>
                <a:gd name="T78" fmla="*/ 28 w 41"/>
                <a:gd name="T79" fmla="*/ 51 h 151"/>
                <a:gd name="T80" fmla="*/ 21 w 41"/>
                <a:gd name="T81" fmla="*/ 41 h 151"/>
                <a:gd name="T82" fmla="*/ 26 w 41"/>
                <a:gd name="T83" fmla="*/ 36 h 151"/>
                <a:gd name="T84" fmla="*/ 31 w 41"/>
                <a:gd name="T85" fmla="*/ 39 h 151"/>
                <a:gd name="T86" fmla="*/ 31 w 41"/>
                <a:gd name="T87" fmla="*/ 31 h 151"/>
                <a:gd name="T88" fmla="*/ 31 w 41"/>
                <a:gd name="T89" fmla="*/ 39 h 151"/>
                <a:gd name="T90" fmla="*/ 10 w 41"/>
                <a:gd name="T91" fmla="*/ 41 h 151"/>
                <a:gd name="T92" fmla="*/ 10 w 41"/>
                <a:gd name="T93" fmla="*/ 34 h 151"/>
                <a:gd name="T94" fmla="*/ 10 w 41"/>
                <a:gd name="T95" fmla="*/ 28 h 151"/>
                <a:gd name="T96" fmla="*/ 8 w 41"/>
                <a:gd name="T97" fmla="*/ 34 h 151"/>
                <a:gd name="T98" fmla="*/ 3 w 41"/>
                <a:gd name="T99" fmla="*/ 34 h 151"/>
                <a:gd name="T100" fmla="*/ 3 w 41"/>
                <a:gd name="T101" fmla="*/ 23 h 151"/>
                <a:gd name="T102" fmla="*/ 0 w 41"/>
                <a:gd name="T103" fmla="*/ 28 h 151"/>
                <a:gd name="T104" fmla="*/ 0 w 41"/>
                <a:gd name="T105" fmla="*/ 44 h 151"/>
                <a:gd name="T106" fmla="*/ 3 w 41"/>
                <a:gd name="T107" fmla="*/ 46 h 151"/>
                <a:gd name="T108" fmla="*/ 10 w 41"/>
                <a:gd name="T109" fmla="*/ 41 h 151"/>
                <a:gd name="T110" fmla="*/ 23 w 41"/>
                <a:gd name="T111" fmla="*/ 13 h 151"/>
                <a:gd name="T112" fmla="*/ 21 w 41"/>
                <a:gd name="T113" fmla="*/ 13 h 151"/>
                <a:gd name="T114" fmla="*/ 21 w 41"/>
                <a:gd name="T115" fmla="*/ 16 h 151"/>
                <a:gd name="T116" fmla="*/ 23 w 41"/>
                <a:gd name="T117" fmla="*/ 6 h 151"/>
                <a:gd name="T118" fmla="*/ 23 w 41"/>
                <a:gd name="T119" fmla="*/ 3 h 151"/>
                <a:gd name="T120" fmla="*/ 21 w 41"/>
                <a:gd name="T121" fmla="*/ 3 h 151"/>
                <a:gd name="T122" fmla="*/ 23 w 41"/>
                <a:gd name="T123" fmla="*/ 6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1" h="151">
                  <a:moveTo>
                    <a:pt x="38" y="148"/>
                  </a:moveTo>
                  <a:lnTo>
                    <a:pt x="38" y="148"/>
                  </a:lnTo>
                  <a:lnTo>
                    <a:pt x="36" y="148"/>
                  </a:lnTo>
                  <a:lnTo>
                    <a:pt x="36" y="148"/>
                  </a:lnTo>
                  <a:lnTo>
                    <a:pt x="38" y="151"/>
                  </a:lnTo>
                  <a:lnTo>
                    <a:pt x="38" y="151"/>
                  </a:lnTo>
                  <a:lnTo>
                    <a:pt x="41" y="148"/>
                  </a:lnTo>
                  <a:lnTo>
                    <a:pt x="38" y="148"/>
                  </a:lnTo>
                  <a:close/>
                  <a:moveTo>
                    <a:pt x="33" y="130"/>
                  </a:moveTo>
                  <a:lnTo>
                    <a:pt x="33" y="130"/>
                  </a:lnTo>
                  <a:lnTo>
                    <a:pt x="31" y="130"/>
                  </a:lnTo>
                  <a:lnTo>
                    <a:pt x="31" y="133"/>
                  </a:lnTo>
                  <a:lnTo>
                    <a:pt x="31" y="135"/>
                  </a:lnTo>
                  <a:lnTo>
                    <a:pt x="31" y="135"/>
                  </a:lnTo>
                  <a:lnTo>
                    <a:pt x="33" y="135"/>
                  </a:lnTo>
                  <a:lnTo>
                    <a:pt x="36" y="133"/>
                  </a:lnTo>
                  <a:lnTo>
                    <a:pt x="33" y="133"/>
                  </a:lnTo>
                  <a:lnTo>
                    <a:pt x="33" y="130"/>
                  </a:lnTo>
                  <a:close/>
                  <a:moveTo>
                    <a:pt x="33" y="117"/>
                  </a:moveTo>
                  <a:lnTo>
                    <a:pt x="36" y="117"/>
                  </a:lnTo>
                  <a:lnTo>
                    <a:pt x="33" y="115"/>
                  </a:lnTo>
                  <a:lnTo>
                    <a:pt x="33" y="112"/>
                  </a:lnTo>
                  <a:lnTo>
                    <a:pt x="33" y="112"/>
                  </a:lnTo>
                  <a:lnTo>
                    <a:pt x="31" y="112"/>
                  </a:lnTo>
                  <a:lnTo>
                    <a:pt x="31" y="115"/>
                  </a:lnTo>
                  <a:lnTo>
                    <a:pt x="28" y="117"/>
                  </a:lnTo>
                  <a:lnTo>
                    <a:pt x="28" y="120"/>
                  </a:lnTo>
                  <a:lnTo>
                    <a:pt x="33" y="123"/>
                  </a:lnTo>
                  <a:lnTo>
                    <a:pt x="33" y="123"/>
                  </a:lnTo>
                  <a:lnTo>
                    <a:pt x="36" y="120"/>
                  </a:lnTo>
                  <a:lnTo>
                    <a:pt x="36" y="117"/>
                  </a:lnTo>
                  <a:lnTo>
                    <a:pt x="33" y="117"/>
                  </a:lnTo>
                  <a:close/>
                  <a:moveTo>
                    <a:pt x="26" y="89"/>
                  </a:moveTo>
                  <a:lnTo>
                    <a:pt x="23" y="89"/>
                  </a:lnTo>
                  <a:lnTo>
                    <a:pt x="23" y="89"/>
                  </a:lnTo>
                  <a:lnTo>
                    <a:pt x="23" y="89"/>
                  </a:lnTo>
                  <a:lnTo>
                    <a:pt x="21" y="89"/>
                  </a:lnTo>
                  <a:lnTo>
                    <a:pt x="21" y="92"/>
                  </a:lnTo>
                  <a:lnTo>
                    <a:pt x="18" y="92"/>
                  </a:lnTo>
                  <a:lnTo>
                    <a:pt x="18" y="92"/>
                  </a:lnTo>
                  <a:lnTo>
                    <a:pt x="21" y="92"/>
                  </a:lnTo>
                  <a:lnTo>
                    <a:pt x="21" y="92"/>
                  </a:lnTo>
                  <a:lnTo>
                    <a:pt x="21" y="92"/>
                  </a:lnTo>
                  <a:lnTo>
                    <a:pt x="21" y="95"/>
                  </a:lnTo>
                  <a:lnTo>
                    <a:pt x="23" y="95"/>
                  </a:lnTo>
                  <a:lnTo>
                    <a:pt x="26" y="95"/>
                  </a:lnTo>
                  <a:lnTo>
                    <a:pt x="26" y="92"/>
                  </a:lnTo>
                  <a:lnTo>
                    <a:pt x="26" y="92"/>
                  </a:lnTo>
                  <a:lnTo>
                    <a:pt x="26" y="89"/>
                  </a:lnTo>
                  <a:close/>
                  <a:moveTo>
                    <a:pt x="28" y="72"/>
                  </a:moveTo>
                  <a:lnTo>
                    <a:pt x="28" y="72"/>
                  </a:lnTo>
                  <a:lnTo>
                    <a:pt x="26" y="69"/>
                  </a:lnTo>
                  <a:lnTo>
                    <a:pt x="26" y="69"/>
                  </a:lnTo>
                  <a:lnTo>
                    <a:pt x="26" y="69"/>
                  </a:lnTo>
                  <a:lnTo>
                    <a:pt x="26" y="67"/>
                  </a:lnTo>
                  <a:lnTo>
                    <a:pt x="23" y="67"/>
                  </a:lnTo>
                  <a:lnTo>
                    <a:pt x="23" y="69"/>
                  </a:lnTo>
                  <a:lnTo>
                    <a:pt x="23" y="69"/>
                  </a:lnTo>
                  <a:lnTo>
                    <a:pt x="23" y="72"/>
                  </a:lnTo>
                  <a:lnTo>
                    <a:pt x="23" y="72"/>
                  </a:lnTo>
                  <a:lnTo>
                    <a:pt x="23" y="72"/>
                  </a:lnTo>
                  <a:lnTo>
                    <a:pt x="26" y="72"/>
                  </a:lnTo>
                  <a:lnTo>
                    <a:pt x="28" y="72"/>
                  </a:lnTo>
                  <a:lnTo>
                    <a:pt x="28" y="72"/>
                  </a:lnTo>
                  <a:lnTo>
                    <a:pt x="28" y="72"/>
                  </a:lnTo>
                  <a:close/>
                  <a:moveTo>
                    <a:pt x="23" y="59"/>
                  </a:moveTo>
                  <a:lnTo>
                    <a:pt x="23" y="59"/>
                  </a:lnTo>
                  <a:lnTo>
                    <a:pt x="21" y="59"/>
                  </a:lnTo>
                  <a:lnTo>
                    <a:pt x="21" y="59"/>
                  </a:lnTo>
                  <a:lnTo>
                    <a:pt x="23" y="62"/>
                  </a:lnTo>
                  <a:lnTo>
                    <a:pt x="26" y="62"/>
                  </a:lnTo>
                  <a:lnTo>
                    <a:pt x="28" y="62"/>
                  </a:lnTo>
                  <a:lnTo>
                    <a:pt x="28" y="62"/>
                  </a:lnTo>
                  <a:lnTo>
                    <a:pt x="28" y="59"/>
                  </a:lnTo>
                  <a:lnTo>
                    <a:pt x="28" y="59"/>
                  </a:lnTo>
                  <a:lnTo>
                    <a:pt x="26" y="56"/>
                  </a:lnTo>
                  <a:lnTo>
                    <a:pt x="26" y="56"/>
                  </a:lnTo>
                  <a:lnTo>
                    <a:pt x="23" y="59"/>
                  </a:lnTo>
                  <a:close/>
                  <a:moveTo>
                    <a:pt x="18" y="62"/>
                  </a:moveTo>
                  <a:lnTo>
                    <a:pt x="15" y="62"/>
                  </a:lnTo>
                  <a:lnTo>
                    <a:pt x="15" y="59"/>
                  </a:lnTo>
                  <a:lnTo>
                    <a:pt x="15" y="59"/>
                  </a:lnTo>
                  <a:lnTo>
                    <a:pt x="13" y="56"/>
                  </a:lnTo>
                  <a:lnTo>
                    <a:pt x="13" y="56"/>
                  </a:lnTo>
                  <a:lnTo>
                    <a:pt x="13" y="56"/>
                  </a:lnTo>
                  <a:lnTo>
                    <a:pt x="10" y="56"/>
                  </a:lnTo>
                  <a:lnTo>
                    <a:pt x="10" y="51"/>
                  </a:lnTo>
                  <a:lnTo>
                    <a:pt x="10" y="51"/>
                  </a:lnTo>
                  <a:lnTo>
                    <a:pt x="8" y="51"/>
                  </a:lnTo>
                  <a:lnTo>
                    <a:pt x="8" y="51"/>
                  </a:lnTo>
                  <a:lnTo>
                    <a:pt x="5" y="56"/>
                  </a:lnTo>
                  <a:lnTo>
                    <a:pt x="8" y="56"/>
                  </a:lnTo>
                  <a:lnTo>
                    <a:pt x="8" y="56"/>
                  </a:lnTo>
                  <a:lnTo>
                    <a:pt x="10" y="56"/>
                  </a:lnTo>
                  <a:lnTo>
                    <a:pt x="10" y="56"/>
                  </a:lnTo>
                  <a:lnTo>
                    <a:pt x="10" y="59"/>
                  </a:lnTo>
                  <a:lnTo>
                    <a:pt x="10" y="62"/>
                  </a:lnTo>
                  <a:lnTo>
                    <a:pt x="10" y="64"/>
                  </a:lnTo>
                  <a:lnTo>
                    <a:pt x="10" y="64"/>
                  </a:lnTo>
                  <a:lnTo>
                    <a:pt x="10" y="67"/>
                  </a:lnTo>
                  <a:lnTo>
                    <a:pt x="10" y="67"/>
                  </a:lnTo>
                  <a:lnTo>
                    <a:pt x="13" y="64"/>
                  </a:lnTo>
                  <a:lnTo>
                    <a:pt x="15" y="64"/>
                  </a:lnTo>
                  <a:lnTo>
                    <a:pt x="18" y="64"/>
                  </a:lnTo>
                  <a:lnTo>
                    <a:pt x="18" y="62"/>
                  </a:lnTo>
                  <a:lnTo>
                    <a:pt x="18" y="62"/>
                  </a:lnTo>
                  <a:close/>
                  <a:moveTo>
                    <a:pt x="8" y="49"/>
                  </a:moveTo>
                  <a:lnTo>
                    <a:pt x="10" y="46"/>
                  </a:lnTo>
                  <a:lnTo>
                    <a:pt x="10" y="46"/>
                  </a:lnTo>
                  <a:lnTo>
                    <a:pt x="8" y="46"/>
                  </a:lnTo>
                  <a:lnTo>
                    <a:pt x="8" y="46"/>
                  </a:lnTo>
                  <a:lnTo>
                    <a:pt x="8" y="49"/>
                  </a:lnTo>
                  <a:close/>
                  <a:moveTo>
                    <a:pt x="28" y="54"/>
                  </a:moveTo>
                  <a:lnTo>
                    <a:pt x="28" y="54"/>
                  </a:lnTo>
                  <a:lnTo>
                    <a:pt x="28" y="51"/>
                  </a:lnTo>
                  <a:lnTo>
                    <a:pt x="28" y="51"/>
                  </a:lnTo>
                  <a:lnTo>
                    <a:pt x="28" y="41"/>
                  </a:lnTo>
                  <a:lnTo>
                    <a:pt x="28" y="41"/>
                  </a:lnTo>
                  <a:lnTo>
                    <a:pt x="28" y="46"/>
                  </a:lnTo>
                  <a:lnTo>
                    <a:pt x="28" y="51"/>
                  </a:lnTo>
                  <a:lnTo>
                    <a:pt x="28" y="54"/>
                  </a:lnTo>
                  <a:close/>
                  <a:moveTo>
                    <a:pt x="21" y="41"/>
                  </a:moveTo>
                  <a:lnTo>
                    <a:pt x="21" y="41"/>
                  </a:lnTo>
                  <a:lnTo>
                    <a:pt x="23" y="41"/>
                  </a:lnTo>
                  <a:lnTo>
                    <a:pt x="23" y="41"/>
                  </a:lnTo>
                  <a:lnTo>
                    <a:pt x="26" y="36"/>
                  </a:lnTo>
                  <a:lnTo>
                    <a:pt x="23" y="39"/>
                  </a:lnTo>
                  <a:lnTo>
                    <a:pt x="21" y="41"/>
                  </a:lnTo>
                  <a:close/>
                  <a:moveTo>
                    <a:pt x="31" y="39"/>
                  </a:moveTo>
                  <a:lnTo>
                    <a:pt x="31" y="36"/>
                  </a:lnTo>
                  <a:lnTo>
                    <a:pt x="31" y="31"/>
                  </a:lnTo>
                  <a:lnTo>
                    <a:pt x="31" y="31"/>
                  </a:lnTo>
                  <a:lnTo>
                    <a:pt x="31" y="31"/>
                  </a:lnTo>
                  <a:lnTo>
                    <a:pt x="28" y="39"/>
                  </a:lnTo>
                  <a:lnTo>
                    <a:pt x="31" y="39"/>
                  </a:lnTo>
                  <a:lnTo>
                    <a:pt x="31" y="39"/>
                  </a:lnTo>
                  <a:close/>
                  <a:moveTo>
                    <a:pt x="10" y="41"/>
                  </a:moveTo>
                  <a:lnTo>
                    <a:pt x="10" y="41"/>
                  </a:lnTo>
                  <a:lnTo>
                    <a:pt x="10" y="39"/>
                  </a:lnTo>
                  <a:lnTo>
                    <a:pt x="10" y="34"/>
                  </a:lnTo>
                  <a:lnTo>
                    <a:pt x="10" y="34"/>
                  </a:lnTo>
                  <a:lnTo>
                    <a:pt x="10" y="34"/>
                  </a:lnTo>
                  <a:lnTo>
                    <a:pt x="10" y="31"/>
                  </a:lnTo>
                  <a:lnTo>
                    <a:pt x="10" y="28"/>
                  </a:lnTo>
                  <a:lnTo>
                    <a:pt x="8" y="28"/>
                  </a:lnTo>
                  <a:lnTo>
                    <a:pt x="8" y="28"/>
                  </a:lnTo>
                  <a:lnTo>
                    <a:pt x="8" y="34"/>
                  </a:lnTo>
                  <a:lnTo>
                    <a:pt x="5" y="34"/>
                  </a:lnTo>
                  <a:lnTo>
                    <a:pt x="5" y="34"/>
                  </a:lnTo>
                  <a:lnTo>
                    <a:pt x="3" y="34"/>
                  </a:lnTo>
                  <a:lnTo>
                    <a:pt x="3" y="26"/>
                  </a:lnTo>
                  <a:lnTo>
                    <a:pt x="3" y="26"/>
                  </a:lnTo>
                  <a:lnTo>
                    <a:pt x="3" y="23"/>
                  </a:lnTo>
                  <a:lnTo>
                    <a:pt x="0" y="23"/>
                  </a:lnTo>
                  <a:lnTo>
                    <a:pt x="0" y="26"/>
                  </a:lnTo>
                  <a:lnTo>
                    <a:pt x="0" y="28"/>
                  </a:lnTo>
                  <a:lnTo>
                    <a:pt x="0" y="36"/>
                  </a:lnTo>
                  <a:lnTo>
                    <a:pt x="0" y="41"/>
                  </a:lnTo>
                  <a:lnTo>
                    <a:pt x="0" y="44"/>
                  </a:lnTo>
                  <a:lnTo>
                    <a:pt x="0" y="44"/>
                  </a:lnTo>
                  <a:lnTo>
                    <a:pt x="0" y="46"/>
                  </a:lnTo>
                  <a:lnTo>
                    <a:pt x="3" y="46"/>
                  </a:lnTo>
                  <a:lnTo>
                    <a:pt x="5" y="44"/>
                  </a:lnTo>
                  <a:lnTo>
                    <a:pt x="8" y="44"/>
                  </a:lnTo>
                  <a:lnTo>
                    <a:pt x="10" y="41"/>
                  </a:lnTo>
                  <a:close/>
                  <a:moveTo>
                    <a:pt x="21" y="16"/>
                  </a:moveTo>
                  <a:lnTo>
                    <a:pt x="23" y="13"/>
                  </a:lnTo>
                  <a:lnTo>
                    <a:pt x="23" y="13"/>
                  </a:lnTo>
                  <a:lnTo>
                    <a:pt x="21" y="11"/>
                  </a:lnTo>
                  <a:lnTo>
                    <a:pt x="21" y="13"/>
                  </a:lnTo>
                  <a:lnTo>
                    <a:pt x="21" y="13"/>
                  </a:lnTo>
                  <a:lnTo>
                    <a:pt x="18" y="16"/>
                  </a:lnTo>
                  <a:lnTo>
                    <a:pt x="21" y="16"/>
                  </a:lnTo>
                  <a:lnTo>
                    <a:pt x="21" y="16"/>
                  </a:lnTo>
                  <a:close/>
                  <a:moveTo>
                    <a:pt x="23" y="6"/>
                  </a:moveTo>
                  <a:lnTo>
                    <a:pt x="23" y="6"/>
                  </a:lnTo>
                  <a:lnTo>
                    <a:pt x="23" y="6"/>
                  </a:lnTo>
                  <a:lnTo>
                    <a:pt x="23" y="6"/>
                  </a:lnTo>
                  <a:lnTo>
                    <a:pt x="23" y="6"/>
                  </a:lnTo>
                  <a:lnTo>
                    <a:pt x="23" y="3"/>
                  </a:lnTo>
                  <a:lnTo>
                    <a:pt x="23" y="3"/>
                  </a:lnTo>
                  <a:lnTo>
                    <a:pt x="23" y="0"/>
                  </a:lnTo>
                  <a:lnTo>
                    <a:pt x="21" y="3"/>
                  </a:lnTo>
                  <a:lnTo>
                    <a:pt x="21" y="3"/>
                  </a:lnTo>
                  <a:lnTo>
                    <a:pt x="21" y="6"/>
                  </a:lnTo>
                  <a:lnTo>
                    <a:pt x="23" y="6"/>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31" name="Freeform 1649">
              <a:extLst>
                <a:ext uri="{FF2B5EF4-FFF2-40B4-BE49-F238E27FC236}">
                  <a16:creationId xmlns:a16="http://schemas.microsoft.com/office/drawing/2014/main" id="{F672BB59-E772-A048-8772-AD3E4B6BE3B2}"/>
                </a:ext>
              </a:extLst>
            </p:cNvPr>
            <p:cNvSpPr>
              <a:spLocks noEditPoints="1"/>
            </p:cNvSpPr>
            <p:nvPr/>
          </p:nvSpPr>
          <p:spPr bwMode="auto">
            <a:xfrm>
              <a:off x="7296680" y="2111415"/>
              <a:ext cx="549608" cy="307518"/>
            </a:xfrm>
            <a:custGeom>
              <a:avLst/>
              <a:gdLst>
                <a:gd name="T0" fmla="*/ 303 w 336"/>
                <a:gd name="T1" fmla="*/ 122 h 188"/>
                <a:gd name="T2" fmla="*/ 301 w 336"/>
                <a:gd name="T3" fmla="*/ 125 h 188"/>
                <a:gd name="T4" fmla="*/ 303 w 336"/>
                <a:gd name="T5" fmla="*/ 125 h 188"/>
                <a:gd name="T6" fmla="*/ 321 w 336"/>
                <a:gd name="T7" fmla="*/ 102 h 188"/>
                <a:gd name="T8" fmla="*/ 311 w 336"/>
                <a:gd name="T9" fmla="*/ 99 h 188"/>
                <a:gd name="T10" fmla="*/ 303 w 336"/>
                <a:gd name="T11" fmla="*/ 92 h 188"/>
                <a:gd name="T12" fmla="*/ 298 w 336"/>
                <a:gd name="T13" fmla="*/ 99 h 188"/>
                <a:gd name="T14" fmla="*/ 283 w 336"/>
                <a:gd name="T15" fmla="*/ 94 h 188"/>
                <a:gd name="T16" fmla="*/ 286 w 336"/>
                <a:gd name="T17" fmla="*/ 81 h 188"/>
                <a:gd name="T18" fmla="*/ 288 w 336"/>
                <a:gd name="T19" fmla="*/ 74 h 188"/>
                <a:gd name="T20" fmla="*/ 278 w 336"/>
                <a:gd name="T21" fmla="*/ 79 h 188"/>
                <a:gd name="T22" fmla="*/ 260 w 336"/>
                <a:gd name="T23" fmla="*/ 92 h 188"/>
                <a:gd name="T24" fmla="*/ 252 w 336"/>
                <a:gd name="T25" fmla="*/ 107 h 188"/>
                <a:gd name="T26" fmla="*/ 242 w 336"/>
                <a:gd name="T27" fmla="*/ 104 h 188"/>
                <a:gd name="T28" fmla="*/ 229 w 336"/>
                <a:gd name="T29" fmla="*/ 99 h 188"/>
                <a:gd name="T30" fmla="*/ 209 w 336"/>
                <a:gd name="T31" fmla="*/ 89 h 188"/>
                <a:gd name="T32" fmla="*/ 196 w 336"/>
                <a:gd name="T33" fmla="*/ 69 h 188"/>
                <a:gd name="T34" fmla="*/ 184 w 336"/>
                <a:gd name="T35" fmla="*/ 53 h 188"/>
                <a:gd name="T36" fmla="*/ 163 w 336"/>
                <a:gd name="T37" fmla="*/ 46 h 188"/>
                <a:gd name="T38" fmla="*/ 135 w 336"/>
                <a:gd name="T39" fmla="*/ 46 h 188"/>
                <a:gd name="T40" fmla="*/ 105 w 336"/>
                <a:gd name="T41" fmla="*/ 38 h 188"/>
                <a:gd name="T42" fmla="*/ 82 w 336"/>
                <a:gd name="T43" fmla="*/ 23 h 188"/>
                <a:gd name="T44" fmla="*/ 54 w 336"/>
                <a:gd name="T45" fmla="*/ 5 h 188"/>
                <a:gd name="T46" fmla="*/ 26 w 336"/>
                <a:gd name="T47" fmla="*/ 5 h 188"/>
                <a:gd name="T48" fmla="*/ 0 w 336"/>
                <a:gd name="T49" fmla="*/ 20 h 188"/>
                <a:gd name="T50" fmla="*/ 10 w 336"/>
                <a:gd name="T51" fmla="*/ 69 h 188"/>
                <a:gd name="T52" fmla="*/ 36 w 336"/>
                <a:gd name="T53" fmla="*/ 97 h 188"/>
                <a:gd name="T54" fmla="*/ 33 w 336"/>
                <a:gd name="T55" fmla="*/ 81 h 188"/>
                <a:gd name="T56" fmla="*/ 49 w 336"/>
                <a:gd name="T57" fmla="*/ 71 h 188"/>
                <a:gd name="T58" fmla="*/ 56 w 336"/>
                <a:gd name="T59" fmla="*/ 74 h 188"/>
                <a:gd name="T60" fmla="*/ 51 w 336"/>
                <a:gd name="T61" fmla="*/ 66 h 188"/>
                <a:gd name="T62" fmla="*/ 69 w 336"/>
                <a:gd name="T63" fmla="*/ 69 h 188"/>
                <a:gd name="T64" fmla="*/ 87 w 336"/>
                <a:gd name="T65" fmla="*/ 76 h 188"/>
                <a:gd name="T66" fmla="*/ 92 w 336"/>
                <a:gd name="T67" fmla="*/ 84 h 188"/>
                <a:gd name="T68" fmla="*/ 92 w 336"/>
                <a:gd name="T69" fmla="*/ 94 h 188"/>
                <a:gd name="T70" fmla="*/ 115 w 336"/>
                <a:gd name="T71" fmla="*/ 99 h 188"/>
                <a:gd name="T72" fmla="*/ 130 w 336"/>
                <a:gd name="T73" fmla="*/ 104 h 188"/>
                <a:gd name="T74" fmla="*/ 156 w 336"/>
                <a:gd name="T75" fmla="*/ 132 h 188"/>
                <a:gd name="T76" fmla="*/ 189 w 336"/>
                <a:gd name="T77" fmla="*/ 153 h 188"/>
                <a:gd name="T78" fmla="*/ 219 w 336"/>
                <a:gd name="T79" fmla="*/ 163 h 188"/>
                <a:gd name="T80" fmla="*/ 229 w 336"/>
                <a:gd name="T81" fmla="*/ 178 h 188"/>
                <a:gd name="T82" fmla="*/ 252 w 336"/>
                <a:gd name="T83" fmla="*/ 186 h 188"/>
                <a:gd name="T84" fmla="*/ 260 w 336"/>
                <a:gd name="T85" fmla="*/ 170 h 188"/>
                <a:gd name="T86" fmla="*/ 252 w 336"/>
                <a:gd name="T87" fmla="*/ 153 h 188"/>
                <a:gd name="T88" fmla="*/ 245 w 336"/>
                <a:gd name="T89" fmla="*/ 142 h 188"/>
                <a:gd name="T90" fmla="*/ 242 w 336"/>
                <a:gd name="T91" fmla="*/ 132 h 188"/>
                <a:gd name="T92" fmla="*/ 257 w 336"/>
                <a:gd name="T93" fmla="*/ 127 h 188"/>
                <a:gd name="T94" fmla="*/ 263 w 336"/>
                <a:gd name="T95" fmla="*/ 125 h 188"/>
                <a:gd name="T96" fmla="*/ 260 w 336"/>
                <a:gd name="T97" fmla="*/ 122 h 188"/>
                <a:gd name="T98" fmla="*/ 268 w 336"/>
                <a:gd name="T99" fmla="*/ 117 h 188"/>
                <a:gd name="T100" fmla="*/ 273 w 336"/>
                <a:gd name="T101" fmla="*/ 109 h 188"/>
                <a:gd name="T102" fmla="*/ 288 w 336"/>
                <a:gd name="T103" fmla="*/ 104 h 188"/>
                <a:gd name="T104" fmla="*/ 288 w 336"/>
                <a:gd name="T105" fmla="*/ 112 h 188"/>
                <a:gd name="T106" fmla="*/ 293 w 336"/>
                <a:gd name="T107" fmla="*/ 120 h 188"/>
                <a:gd name="T108" fmla="*/ 311 w 336"/>
                <a:gd name="T109" fmla="*/ 120 h 188"/>
                <a:gd name="T110" fmla="*/ 319 w 336"/>
                <a:gd name="T111" fmla="*/ 114 h 188"/>
                <a:gd name="T112" fmla="*/ 324 w 336"/>
                <a:gd name="T113" fmla="*/ 112 h 188"/>
                <a:gd name="T114" fmla="*/ 288 w 336"/>
                <a:gd name="T115" fmla="*/ 10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36" h="188">
                  <a:moveTo>
                    <a:pt x="316" y="122"/>
                  </a:moveTo>
                  <a:lnTo>
                    <a:pt x="314" y="122"/>
                  </a:lnTo>
                  <a:lnTo>
                    <a:pt x="314" y="125"/>
                  </a:lnTo>
                  <a:lnTo>
                    <a:pt x="314" y="125"/>
                  </a:lnTo>
                  <a:lnTo>
                    <a:pt x="314" y="125"/>
                  </a:lnTo>
                  <a:lnTo>
                    <a:pt x="316" y="125"/>
                  </a:lnTo>
                  <a:lnTo>
                    <a:pt x="316" y="125"/>
                  </a:lnTo>
                  <a:lnTo>
                    <a:pt x="316" y="122"/>
                  </a:lnTo>
                  <a:lnTo>
                    <a:pt x="316" y="122"/>
                  </a:lnTo>
                  <a:close/>
                  <a:moveTo>
                    <a:pt x="303" y="122"/>
                  </a:moveTo>
                  <a:lnTo>
                    <a:pt x="303" y="125"/>
                  </a:lnTo>
                  <a:lnTo>
                    <a:pt x="306" y="125"/>
                  </a:lnTo>
                  <a:lnTo>
                    <a:pt x="303" y="122"/>
                  </a:lnTo>
                  <a:close/>
                  <a:moveTo>
                    <a:pt x="303" y="125"/>
                  </a:moveTo>
                  <a:lnTo>
                    <a:pt x="301" y="122"/>
                  </a:lnTo>
                  <a:lnTo>
                    <a:pt x="301" y="122"/>
                  </a:lnTo>
                  <a:lnTo>
                    <a:pt x="301" y="122"/>
                  </a:lnTo>
                  <a:lnTo>
                    <a:pt x="298" y="122"/>
                  </a:lnTo>
                  <a:lnTo>
                    <a:pt x="298" y="122"/>
                  </a:lnTo>
                  <a:lnTo>
                    <a:pt x="301" y="125"/>
                  </a:lnTo>
                  <a:lnTo>
                    <a:pt x="301" y="125"/>
                  </a:lnTo>
                  <a:lnTo>
                    <a:pt x="301" y="122"/>
                  </a:lnTo>
                  <a:lnTo>
                    <a:pt x="301" y="122"/>
                  </a:lnTo>
                  <a:lnTo>
                    <a:pt x="301" y="125"/>
                  </a:lnTo>
                  <a:lnTo>
                    <a:pt x="301" y="125"/>
                  </a:lnTo>
                  <a:lnTo>
                    <a:pt x="303" y="125"/>
                  </a:lnTo>
                  <a:lnTo>
                    <a:pt x="303" y="125"/>
                  </a:lnTo>
                  <a:lnTo>
                    <a:pt x="306" y="125"/>
                  </a:lnTo>
                  <a:lnTo>
                    <a:pt x="306" y="125"/>
                  </a:lnTo>
                  <a:lnTo>
                    <a:pt x="303" y="125"/>
                  </a:lnTo>
                  <a:lnTo>
                    <a:pt x="303" y="125"/>
                  </a:lnTo>
                  <a:close/>
                  <a:moveTo>
                    <a:pt x="336" y="107"/>
                  </a:moveTo>
                  <a:lnTo>
                    <a:pt x="331" y="104"/>
                  </a:lnTo>
                  <a:lnTo>
                    <a:pt x="331" y="107"/>
                  </a:lnTo>
                  <a:lnTo>
                    <a:pt x="331" y="107"/>
                  </a:lnTo>
                  <a:lnTo>
                    <a:pt x="329" y="104"/>
                  </a:lnTo>
                  <a:lnTo>
                    <a:pt x="326" y="104"/>
                  </a:lnTo>
                  <a:lnTo>
                    <a:pt x="326" y="104"/>
                  </a:lnTo>
                  <a:lnTo>
                    <a:pt x="324" y="102"/>
                  </a:lnTo>
                  <a:lnTo>
                    <a:pt x="321" y="102"/>
                  </a:lnTo>
                  <a:lnTo>
                    <a:pt x="319" y="102"/>
                  </a:lnTo>
                  <a:lnTo>
                    <a:pt x="319" y="102"/>
                  </a:lnTo>
                  <a:lnTo>
                    <a:pt x="316" y="102"/>
                  </a:lnTo>
                  <a:lnTo>
                    <a:pt x="316" y="102"/>
                  </a:lnTo>
                  <a:lnTo>
                    <a:pt x="316" y="102"/>
                  </a:lnTo>
                  <a:lnTo>
                    <a:pt x="316" y="99"/>
                  </a:lnTo>
                  <a:lnTo>
                    <a:pt x="316" y="99"/>
                  </a:lnTo>
                  <a:lnTo>
                    <a:pt x="314" y="99"/>
                  </a:lnTo>
                  <a:lnTo>
                    <a:pt x="314" y="99"/>
                  </a:lnTo>
                  <a:lnTo>
                    <a:pt x="311" y="99"/>
                  </a:lnTo>
                  <a:lnTo>
                    <a:pt x="311" y="99"/>
                  </a:lnTo>
                  <a:lnTo>
                    <a:pt x="308" y="97"/>
                  </a:lnTo>
                  <a:lnTo>
                    <a:pt x="308" y="94"/>
                  </a:lnTo>
                  <a:lnTo>
                    <a:pt x="306" y="94"/>
                  </a:lnTo>
                  <a:lnTo>
                    <a:pt x="306" y="92"/>
                  </a:lnTo>
                  <a:lnTo>
                    <a:pt x="306" y="92"/>
                  </a:lnTo>
                  <a:lnTo>
                    <a:pt x="306" y="92"/>
                  </a:lnTo>
                  <a:lnTo>
                    <a:pt x="303" y="92"/>
                  </a:lnTo>
                  <a:lnTo>
                    <a:pt x="303" y="92"/>
                  </a:lnTo>
                  <a:lnTo>
                    <a:pt x="303" y="92"/>
                  </a:lnTo>
                  <a:lnTo>
                    <a:pt x="303" y="92"/>
                  </a:lnTo>
                  <a:lnTo>
                    <a:pt x="303" y="92"/>
                  </a:lnTo>
                  <a:lnTo>
                    <a:pt x="303" y="94"/>
                  </a:lnTo>
                  <a:lnTo>
                    <a:pt x="303" y="94"/>
                  </a:lnTo>
                  <a:lnTo>
                    <a:pt x="303" y="97"/>
                  </a:lnTo>
                  <a:lnTo>
                    <a:pt x="303" y="97"/>
                  </a:lnTo>
                  <a:lnTo>
                    <a:pt x="301" y="94"/>
                  </a:lnTo>
                  <a:lnTo>
                    <a:pt x="301" y="99"/>
                  </a:lnTo>
                  <a:lnTo>
                    <a:pt x="301" y="99"/>
                  </a:lnTo>
                  <a:lnTo>
                    <a:pt x="298" y="99"/>
                  </a:lnTo>
                  <a:lnTo>
                    <a:pt x="298" y="99"/>
                  </a:lnTo>
                  <a:lnTo>
                    <a:pt x="296" y="99"/>
                  </a:lnTo>
                  <a:lnTo>
                    <a:pt x="293" y="99"/>
                  </a:lnTo>
                  <a:lnTo>
                    <a:pt x="293" y="99"/>
                  </a:lnTo>
                  <a:lnTo>
                    <a:pt x="291" y="97"/>
                  </a:lnTo>
                  <a:lnTo>
                    <a:pt x="291" y="97"/>
                  </a:lnTo>
                  <a:lnTo>
                    <a:pt x="288" y="94"/>
                  </a:lnTo>
                  <a:lnTo>
                    <a:pt x="286" y="92"/>
                  </a:lnTo>
                  <a:lnTo>
                    <a:pt x="286" y="92"/>
                  </a:lnTo>
                  <a:lnTo>
                    <a:pt x="283" y="94"/>
                  </a:lnTo>
                  <a:lnTo>
                    <a:pt x="280" y="92"/>
                  </a:lnTo>
                  <a:lnTo>
                    <a:pt x="278" y="92"/>
                  </a:lnTo>
                  <a:lnTo>
                    <a:pt x="278" y="92"/>
                  </a:lnTo>
                  <a:lnTo>
                    <a:pt x="275" y="92"/>
                  </a:lnTo>
                  <a:lnTo>
                    <a:pt x="275" y="89"/>
                  </a:lnTo>
                  <a:lnTo>
                    <a:pt x="280" y="86"/>
                  </a:lnTo>
                  <a:lnTo>
                    <a:pt x="283" y="84"/>
                  </a:lnTo>
                  <a:lnTo>
                    <a:pt x="283" y="84"/>
                  </a:lnTo>
                  <a:lnTo>
                    <a:pt x="286" y="81"/>
                  </a:lnTo>
                  <a:lnTo>
                    <a:pt x="286" y="81"/>
                  </a:lnTo>
                  <a:lnTo>
                    <a:pt x="286" y="79"/>
                  </a:lnTo>
                  <a:lnTo>
                    <a:pt x="286" y="79"/>
                  </a:lnTo>
                  <a:lnTo>
                    <a:pt x="288" y="79"/>
                  </a:lnTo>
                  <a:lnTo>
                    <a:pt x="288" y="79"/>
                  </a:lnTo>
                  <a:lnTo>
                    <a:pt x="293" y="76"/>
                  </a:lnTo>
                  <a:lnTo>
                    <a:pt x="293" y="76"/>
                  </a:lnTo>
                  <a:lnTo>
                    <a:pt x="291" y="76"/>
                  </a:lnTo>
                  <a:lnTo>
                    <a:pt x="291" y="74"/>
                  </a:lnTo>
                  <a:lnTo>
                    <a:pt x="288" y="74"/>
                  </a:lnTo>
                  <a:lnTo>
                    <a:pt x="288" y="74"/>
                  </a:lnTo>
                  <a:lnTo>
                    <a:pt x="286" y="74"/>
                  </a:lnTo>
                  <a:lnTo>
                    <a:pt x="286" y="76"/>
                  </a:lnTo>
                  <a:lnTo>
                    <a:pt x="283" y="76"/>
                  </a:lnTo>
                  <a:lnTo>
                    <a:pt x="283" y="76"/>
                  </a:lnTo>
                  <a:lnTo>
                    <a:pt x="283" y="79"/>
                  </a:lnTo>
                  <a:lnTo>
                    <a:pt x="280" y="79"/>
                  </a:lnTo>
                  <a:lnTo>
                    <a:pt x="280" y="79"/>
                  </a:lnTo>
                  <a:lnTo>
                    <a:pt x="280" y="79"/>
                  </a:lnTo>
                  <a:lnTo>
                    <a:pt x="278" y="79"/>
                  </a:lnTo>
                  <a:lnTo>
                    <a:pt x="278" y="79"/>
                  </a:lnTo>
                  <a:lnTo>
                    <a:pt x="275" y="79"/>
                  </a:lnTo>
                  <a:lnTo>
                    <a:pt x="275" y="81"/>
                  </a:lnTo>
                  <a:lnTo>
                    <a:pt x="273" y="84"/>
                  </a:lnTo>
                  <a:lnTo>
                    <a:pt x="270" y="86"/>
                  </a:lnTo>
                  <a:lnTo>
                    <a:pt x="268" y="86"/>
                  </a:lnTo>
                  <a:lnTo>
                    <a:pt x="265" y="86"/>
                  </a:lnTo>
                  <a:lnTo>
                    <a:pt x="265" y="89"/>
                  </a:lnTo>
                  <a:lnTo>
                    <a:pt x="263" y="92"/>
                  </a:lnTo>
                  <a:lnTo>
                    <a:pt x="263" y="92"/>
                  </a:lnTo>
                  <a:lnTo>
                    <a:pt x="260" y="92"/>
                  </a:lnTo>
                  <a:lnTo>
                    <a:pt x="257" y="94"/>
                  </a:lnTo>
                  <a:lnTo>
                    <a:pt x="257" y="94"/>
                  </a:lnTo>
                  <a:lnTo>
                    <a:pt x="257" y="97"/>
                  </a:lnTo>
                  <a:lnTo>
                    <a:pt x="257" y="97"/>
                  </a:lnTo>
                  <a:lnTo>
                    <a:pt x="255" y="99"/>
                  </a:lnTo>
                  <a:lnTo>
                    <a:pt x="252" y="102"/>
                  </a:lnTo>
                  <a:lnTo>
                    <a:pt x="252" y="104"/>
                  </a:lnTo>
                  <a:lnTo>
                    <a:pt x="250" y="104"/>
                  </a:lnTo>
                  <a:lnTo>
                    <a:pt x="250" y="107"/>
                  </a:lnTo>
                  <a:lnTo>
                    <a:pt x="252" y="107"/>
                  </a:lnTo>
                  <a:lnTo>
                    <a:pt x="252" y="109"/>
                  </a:lnTo>
                  <a:lnTo>
                    <a:pt x="252" y="109"/>
                  </a:lnTo>
                  <a:lnTo>
                    <a:pt x="252" y="112"/>
                  </a:lnTo>
                  <a:lnTo>
                    <a:pt x="250" y="112"/>
                  </a:lnTo>
                  <a:lnTo>
                    <a:pt x="250" y="112"/>
                  </a:lnTo>
                  <a:lnTo>
                    <a:pt x="247" y="109"/>
                  </a:lnTo>
                  <a:lnTo>
                    <a:pt x="245" y="109"/>
                  </a:lnTo>
                  <a:lnTo>
                    <a:pt x="242" y="107"/>
                  </a:lnTo>
                  <a:lnTo>
                    <a:pt x="242" y="107"/>
                  </a:lnTo>
                  <a:lnTo>
                    <a:pt x="242" y="104"/>
                  </a:lnTo>
                  <a:lnTo>
                    <a:pt x="242" y="104"/>
                  </a:lnTo>
                  <a:lnTo>
                    <a:pt x="242" y="102"/>
                  </a:lnTo>
                  <a:lnTo>
                    <a:pt x="240" y="102"/>
                  </a:lnTo>
                  <a:lnTo>
                    <a:pt x="240" y="99"/>
                  </a:lnTo>
                  <a:lnTo>
                    <a:pt x="240" y="99"/>
                  </a:lnTo>
                  <a:lnTo>
                    <a:pt x="237" y="99"/>
                  </a:lnTo>
                  <a:lnTo>
                    <a:pt x="237" y="99"/>
                  </a:lnTo>
                  <a:lnTo>
                    <a:pt x="235" y="99"/>
                  </a:lnTo>
                  <a:lnTo>
                    <a:pt x="235" y="99"/>
                  </a:lnTo>
                  <a:lnTo>
                    <a:pt x="229" y="99"/>
                  </a:lnTo>
                  <a:lnTo>
                    <a:pt x="227" y="99"/>
                  </a:lnTo>
                  <a:lnTo>
                    <a:pt x="224" y="99"/>
                  </a:lnTo>
                  <a:lnTo>
                    <a:pt x="222" y="99"/>
                  </a:lnTo>
                  <a:lnTo>
                    <a:pt x="217" y="99"/>
                  </a:lnTo>
                  <a:lnTo>
                    <a:pt x="217" y="99"/>
                  </a:lnTo>
                  <a:lnTo>
                    <a:pt x="214" y="99"/>
                  </a:lnTo>
                  <a:lnTo>
                    <a:pt x="214" y="97"/>
                  </a:lnTo>
                  <a:lnTo>
                    <a:pt x="212" y="94"/>
                  </a:lnTo>
                  <a:lnTo>
                    <a:pt x="212" y="92"/>
                  </a:lnTo>
                  <a:lnTo>
                    <a:pt x="209" y="89"/>
                  </a:lnTo>
                  <a:lnTo>
                    <a:pt x="209" y="86"/>
                  </a:lnTo>
                  <a:lnTo>
                    <a:pt x="207" y="81"/>
                  </a:lnTo>
                  <a:lnTo>
                    <a:pt x="207" y="81"/>
                  </a:lnTo>
                  <a:lnTo>
                    <a:pt x="204" y="81"/>
                  </a:lnTo>
                  <a:lnTo>
                    <a:pt x="201" y="81"/>
                  </a:lnTo>
                  <a:lnTo>
                    <a:pt x="196" y="79"/>
                  </a:lnTo>
                  <a:lnTo>
                    <a:pt x="196" y="79"/>
                  </a:lnTo>
                  <a:lnTo>
                    <a:pt x="196" y="76"/>
                  </a:lnTo>
                  <a:lnTo>
                    <a:pt x="196" y="74"/>
                  </a:lnTo>
                  <a:lnTo>
                    <a:pt x="196" y="69"/>
                  </a:lnTo>
                  <a:lnTo>
                    <a:pt x="194" y="66"/>
                  </a:lnTo>
                  <a:lnTo>
                    <a:pt x="194" y="64"/>
                  </a:lnTo>
                  <a:lnTo>
                    <a:pt x="194" y="61"/>
                  </a:lnTo>
                  <a:lnTo>
                    <a:pt x="194" y="58"/>
                  </a:lnTo>
                  <a:lnTo>
                    <a:pt x="191" y="58"/>
                  </a:lnTo>
                  <a:lnTo>
                    <a:pt x="191" y="61"/>
                  </a:lnTo>
                  <a:lnTo>
                    <a:pt x="189" y="61"/>
                  </a:lnTo>
                  <a:lnTo>
                    <a:pt x="186" y="58"/>
                  </a:lnTo>
                  <a:lnTo>
                    <a:pt x="186" y="56"/>
                  </a:lnTo>
                  <a:lnTo>
                    <a:pt x="184" y="53"/>
                  </a:lnTo>
                  <a:lnTo>
                    <a:pt x="181" y="51"/>
                  </a:lnTo>
                  <a:lnTo>
                    <a:pt x="178" y="51"/>
                  </a:lnTo>
                  <a:lnTo>
                    <a:pt x="176" y="48"/>
                  </a:lnTo>
                  <a:lnTo>
                    <a:pt x="173" y="48"/>
                  </a:lnTo>
                  <a:lnTo>
                    <a:pt x="171" y="46"/>
                  </a:lnTo>
                  <a:lnTo>
                    <a:pt x="171" y="43"/>
                  </a:lnTo>
                  <a:lnTo>
                    <a:pt x="168" y="43"/>
                  </a:lnTo>
                  <a:lnTo>
                    <a:pt x="166" y="43"/>
                  </a:lnTo>
                  <a:lnTo>
                    <a:pt x="163" y="43"/>
                  </a:lnTo>
                  <a:lnTo>
                    <a:pt x="163" y="46"/>
                  </a:lnTo>
                  <a:lnTo>
                    <a:pt x="161" y="46"/>
                  </a:lnTo>
                  <a:lnTo>
                    <a:pt x="161" y="46"/>
                  </a:lnTo>
                  <a:lnTo>
                    <a:pt x="158" y="46"/>
                  </a:lnTo>
                  <a:lnTo>
                    <a:pt x="156" y="46"/>
                  </a:lnTo>
                  <a:lnTo>
                    <a:pt x="153" y="46"/>
                  </a:lnTo>
                  <a:lnTo>
                    <a:pt x="148" y="46"/>
                  </a:lnTo>
                  <a:lnTo>
                    <a:pt x="145" y="46"/>
                  </a:lnTo>
                  <a:lnTo>
                    <a:pt x="143" y="46"/>
                  </a:lnTo>
                  <a:lnTo>
                    <a:pt x="138" y="43"/>
                  </a:lnTo>
                  <a:lnTo>
                    <a:pt x="135" y="46"/>
                  </a:lnTo>
                  <a:lnTo>
                    <a:pt x="130" y="46"/>
                  </a:lnTo>
                  <a:lnTo>
                    <a:pt x="128" y="46"/>
                  </a:lnTo>
                  <a:lnTo>
                    <a:pt x="125" y="46"/>
                  </a:lnTo>
                  <a:lnTo>
                    <a:pt x="120" y="46"/>
                  </a:lnTo>
                  <a:lnTo>
                    <a:pt x="117" y="48"/>
                  </a:lnTo>
                  <a:lnTo>
                    <a:pt x="115" y="48"/>
                  </a:lnTo>
                  <a:lnTo>
                    <a:pt x="115" y="46"/>
                  </a:lnTo>
                  <a:lnTo>
                    <a:pt x="110" y="43"/>
                  </a:lnTo>
                  <a:lnTo>
                    <a:pt x="107" y="41"/>
                  </a:lnTo>
                  <a:lnTo>
                    <a:pt x="105" y="38"/>
                  </a:lnTo>
                  <a:lnTo>
                    <a:pt x="102" y="36"/>
                  </a:lnTo>
                  <a:lnTo>
                    <a:pt x="99" y="36"/>
                  </a:lnTo>
                  <a:lnTo>
                    <a:pt x="97" y="33"/>
                  </a:lnTo>
                  <a:lnTo>
                    <a:pt x="94" y="30"/>
                  </a:lnTo>
                  <a:lnTo>
                    <a:pt x="94" y="28"/>
                  </a:lnTo>
                  <a:lnTo>
                    <a:pt x="94" y="28"/>
                  </a:lnTo>
                  <a:lnTo>
                    <a:pt x="92" y="25"/>
                  </a:lnTo>
                  <a:lnTo>
                    <a:pt x="87" y="25"/>
                  </a:lnTo>
                  <a:lnTo>
                    <a:pt x="84" y="23"/>
                  </a:lnTo>
                  <a:lnTo>
                    <a:pt x="82" y="23"/>
                  </a:lnTo>
                  <a:lnTo>
                    <a:pt x="79" y="20"/>
                  </a:lnTo>
                  <a:lnTo>
                    <a:pt x="77" y="18"/>
                  </a:lnTo>
                  <a:lnTo>
                    <a:pt x="74" y="18"/>
                  </a:lnTo>
                  <a:lnTo>
                    <a:pt x="71" y="15"/>
                  </a:lnTo>
                  <a:lnTo>
                    <a:pt x="69" y="15"/>
                  </a:lnTo>
                  <a:lnTo>
                    <a:pt x="64" y="10"/>
                  </a:lnTo>
                  <a:lnTo>
                    <a:pt x="61" y="10"/>
                  </a:lnTo>
                  <a:lnTo>
                    <a:pt x="59" y="8"/>
                  </a:lnTo>
                  <a:lnTo>
                    <a:pt x="56" y="8"/>
                  </a:lnTo>
                  <a:lnTo>
                    <a:pt x="54" y="5"/>
                  </a:lnTo>
                  <a:lnTo>
                    <a:pt x="51" y="5"/>
                  </a:lnTo>
                  <a:lnTo>
                    <a:pt x="49" y="2"/>
                  </a:lnTo>
                  <a:lnTo>
                    <a:pt x="46" y="0"/>
                  </a:lnTo>
                  <a:lnTo>
                    <a:pt x="43" y="0"/>
                  </a:lnTo>
                  <a:lnTo>
                    <a:pt x="41" y="0"/>
                  </a:lnTo>
                  <a:lnTo>
                    <a:pt x="38" y="0"/>
                  </a:lnTo>
                  <a:lnTo>
                    <a:pt x="36" y="2"/>
                  </a:lnTo>
                  <a:lnTo>
                    <a:pt x="33" y="2"/>
                  </a:lnTo>
                  <a:lnTo>
                    <a:pt x="28" y="5"/>
                  </a:lnTo>
                  <a:lnTo>
                    <a:pt x="26" y="5"/>
                  </a:lnTo>
                  <a:lnTo>
                    <a:pt x="23" y="5"/>
                  </a:lnTo>
                  <a:lnTo>
                    <a:pt x="20" y="8"/>
                  </a:lnTo>
                  <a:lnTo>
                    <a:pt x="15" y="8"/>
                  </a:lnTo>
                  <a:lnTo>
                    <a:pt x="13" y="8"/>
                  </a:lnTo>
                  <a:lnTo>
                    <a:pt x="10" y="10"/>
                  </a:lnTo>
                  <a:lnTo>
                    <a:pt x="8" y="10"/>
                  </a:lnTo>
                  <a:lnTo>
                    <a:pt x="5" y="10"/>
                  </a:lnTo>
                  <a:lnTo>
                    <a:pt x="3" y="13"/>
                  </a:lnTo>
                  <a:lnTo>
                    <a:pt x="0" y="15"/>
                  </a:lnTo>
                  <a:lnTo>
                    <a:pt x="0" y="20"/>
                  </a:lnTo>
                  <a:lnTo>
                    <a:pt x="3" y="25"/>
                  </a:lnTo>
                  <a:lnTo>
                    <a:pt x="3" y="30"/>
                  </a:lnTo>
                  <a:lnTo>
                    <a:pt x="3" y="36"/>
                  </a:lnTo>
                  <a:lnTo>
                    <a:pt x="5" y="41"/>
                  </a:lnTo>
                  <a:lnTo>
                    <a:pt x="5" y="46"/>
                  </a:lnTo>
                  <a:lnTo>
                    <a:pt x="8" y="51"/>
                  </a:lnTo>
                  <a:lnTo>
                    <a:pt x="8" y="56"/>
                  </a:lnTo>
                  <a:lnTo>
                    <a:pt x="10" y="58"/>
                  </a:lnTo>
                  <a:lnTo>
                    <a:pt x="10" y="64"/>
                  </a:lnTo>
                  <a:lnTo>
                    <a:pt x="10" y="69"/>
                  </a:lnTo>
                  <a:lnTo>
                    <a:pt x="13" y="74"/>
                  </a:lnTo>
                  <a:lnTo>
                    <a:pt x="13" y="79"/>
                  </a:lnTo>
                  <a:lnTo>
                    <a:pt x="15" y="84"/>
                  </a:lnTo>
                  <a:lnTo>
                    <a:pt x="15" y="89"/>
                  </a:lnTo>
                  <a:lnTo>
                    <a:pt x="15" y="94"/>
                  </a:lnTo>
                  <a:lnTo>
                    <a:pt x="20" y="97"/>
                  </a:lnTo>
                  <a:lnTo>
                    <a:pt x="26" y="97"/>
                  </a:lnTo>
                  <a:lnTo>
                    <a:pt x="31" y="97"/>
                  </a:lnTo>
                  <a:lnTo>
                    <a:pt x="33" y="97"/>
                  </a:lnTo>
                  <a:lnTo>
                    <a:pt x="36" y="97"/>
                  </a:lnTo>
                  <a:lnTo>
                    <a:pt x="36" y="97"/>
                  </a:lnTo>
                  <a:lnTo>
                    <a:pt x="36" y="97"/>
                  </a:lnTo>
                  <a:lnTo>
                    <a:pt x="38" y="94"/>
                  </a:lnTo>
                  <a:lnTo>
                    <a:pt x="38" y="94"/>
                  </a:lnTo>
                  <a:lnTo>
                    <a:pt x="38" y="94"/>
                  </a:lnTo>
                  <a:lnTo>
                    <a:pt x="36" y="94"/>
                  </a:lnTo>
                  <a:lnTo>
                    <a:pt x="36" y="92"/>
                  </a:lnTo>
                  <a:lnTo>
                    <a:pt x="33" y="86"/>
                  </a:lnTo>
                  <a:lnTo>
                    <a:pt x="33" y="84"/>
                  </a:lnTo>
                  <a:lnTo>
                    <a:pt x="33" y="81"/>
                  </a:lnTo>
                  <a:lnTo>
                    <a:pt x="36" y="81"/>
                  </a:lnTo>
                  <a:lnTo>
                    <a:pt x="36" y="79"/>
                  </a:lnTo>
                  <a:lnTo>
                    <a:pt x="36" y="76"/>
                  </a:lnTo>
                  <a:lnTo>
                    <a:pt x="38" y="76"/>
                  </a:lnTo>
                  <a:lnTo>
                    <a:pt x="43" y="76"/>
                  </a:lnTo>
                  <a:lnTo>
                    <a:pt x="46" y="76"/>
                  </a:lnTo>
                  <a:lnTo>
                    <a:pt x="46" y="76"/>
                  </a:lnTo>
                  <a:lnTo>
                    <a:pt x="49" y="74"/>
                  </a:lnTo>
                  <a:lnTo>
                    <a:pt x="49" y="71"/>
                  </a:lnTo>
                  <a:lnTo>
                    <a:pt x="49" y="71"/>
                  </a:lnTo>
                  <a:lnTo>
                    <a:pt x="49" y="69"/>
                  </a:lnTo>
                  <a:lnTo>
                    <a:pt x="49" y="69"/>
                  </a:lnTo>
                  <a:lnTo>
                    <a:pt x="51" y="71"/>
                  </a:lnTo>
                  <a:lnTo>
                    <a:pt x="54" y="71"/>
                  </a:lnTo>
                  <a:lnTo>
                    <a:pt x="54" y="71"/>
                  </a:lnTo>
                  <a:lnTo>
                    <a:pt x="54" y="71"/>
                  </a:lnTo>
                  <a:lnTo>
                    <a:pt x="56" y="74"/>
                  </a:lnTo>
                  <a:lnTo>
                    <a:pt x="56" y="74"/>
                  </a:lnTo>
                  <a:lnTo>
                    <a:pt x="56" y="74"/>
                  </a:lnTo>
                  <a:lnTo>
                    <a:pt x="56" y="74"/>
                  </a:lnTo>
                  <a:lnTo>
                    <a:pt x="59" y="74"/>
                  </a:lnTo>
                  <a:lnTo>
                    <a:pt x="59" y="74"/>
                  </a:lnTo>
                  <a:lnTo>
                    <a:pt x="59" y="74"/>
                  </a:lnTo>
                  <a:lnTo>
                    <a:pt x="59" y="74"/>
                  </a:lnTo>
                  <a:lnTo>
                    <a:pt x="56" y="71"/>
                  </a:lnTo>
                  <a:lnTo>
                    <a:pt x="54" y="69"/>
                  </a:lnTo>
                  <a:lnTo>
                    <a:pt x="51" y="69"/>
                  </a:lnTo>
                  <a:lnTo>
                    <a:pt x="51" y="66"/>
                  </a:lnTo>
                  <a:lnTo>
                    <a:pt x="51" y="66"/>
                  </a:lnTo>
                  <a:lnTo>
                    <a:pt x="51" y="66"/>
                  </a:lnTo>
                  <a:lnTo>
                    <a:pt x="51" y="66"/>
                  </a:lnTo>
                  <a:lnTo>
                    <a:pt x="54" y="66"/>
                  </a:lnTo>
                  <a:lnTo>
                    <a:pt x="56" y="66"/>
                  </a:lnTo>
                  <a:lnTo>
                    <a:pt x="56" y="66"/>
                  </a:lnTo>
                  <a:lnTo>
                    <a:pt x="59" y="64"/>
                  </a:lnTo>
                  <a:lnTo>
                    <a:pt x="61" y="66"/>
                  </a:lnTo>
                  <a:lnTo>
                    <a:pt x="64" y="69"/>
                  </a:lnTo>
                  <a:lnTo>
                    <a:pt x="64" y="69"/>
                  </a:lnTo>
                  <a:lnTo>
                    <a:pt x="66" y="69"/>
                  </a:lnTo>
                  <a:lnTo>
                    <a:pt x="69" y="69"/>
                  </a:lnTo>
                  <a:lnTo>
                    <a:pt x="69" y="69"/>
                  </a:lnTo>
                  <a:lnTo>
                    <a:pt x="71" y="69"/>
                  </a:lnTo>
                  <a:lnTo>
                    <a:pt x="71" y="71"/>
                  </a:lnTo>
                  <a:lnTo>
                    <a:pt x="74" y="74"/>
                  </a:lnTo>
                  <a:lnTo>
                    <a:pt x="77" y="74"/>
                  </a:lnTo>
                  <a:lnTo>
                    <a:pt x="82" y="74"/>
                  </a:lnTo>
                  <a:lnTo>
                    <a:pt x="84" y="74"/>
                  </a:lnTo>
                  <a:lnTo>
                    <a:pt x="84" y="74"/>
                  </a:lnTo>
                  <a:lnTo>
                    <a:pt x="87" y="76"/>
                  </a:lnTo>
                  <a:lnTo>
                    <a:pt x="87" y="76"/>
                  </a:lnTo>
                  <a:lnTo>
                    <a:pt x="87" y="76"/>
                  </a:lnTo>
                  <a:lnTo>
                    <a:pt x="87" y="76"/>
                  </a:lnTo>
                  <a:lnTo>
                    <a:pt x="87" y="79"/>
                  </a:lnTo>
                  <a:lnTo>
                    <a:pt x="87" y="79"/>
                  </a:lnTo>
                  <a:lnTo>
                    <a:pt x="87" y="81"/>
                  </a:lnTo>
                  <a:lnTo>
                    <a:pt x="87" y="81"/>
                  </a:lnTo>
                  <a:lnTo>
                    <a:pt x="87" y="81"/>
                  </a:lnTo>
                  <a:lnTo>
                    <a:pt x="89" y="81"/>
                  </a:lnTo>
                  <a:lnTo>
                    <a:pt x="92" y="84"/>
                  </a:lnTo>
                  <a:lnTo>
                    <a:pt x="92" y="84"/>
                  </a:lnTo>
                  <a:lnTo>
                    <a:pt x="92" y="84"/>
                  </a:lnTo>
                  <a:lnTo>
                    <a:pt x="92" y="84"/>
                  </a:lnTo>
                  <a:lnTo>
                    <a:pt x="89" y="84"/>
                  </a:lnTo>
                  <a:lnTo>
                    <a:pt x="89" y="86"/>
                  </a:lnTo>
                  <a:lnTo>
                    <a:pt x="89" y="86"/>
                  </a:lnTo>
                  <a:lnTo>
                    <a:pt x="92" y="89"/>
                  </a:lnTo>
                  <a:lnTo>
                    <a:pt x="92" y="89"/>
                  </a:lnTo>
                  <a:lnTo>
                    <a:pt x="92" y="89"/>
                  </a:lnTo>
                  <a:lnTo>
                    <a:pt x="92" y="92"/>
                  </a:lnTo>
                  <a:lnTo>
                    <a:pt x="92" y="94"/>
                  </a:lnTo>
                  <a:lnTo>
                    <a:pt x="92" y="94"/>
                  </a:lnTo>
                  <a:lnTo>
                    <a:pt x="94" y="94"/>
                  </a:lnTo>
                  <a:lnTo>
                    <a:pt x="99" y="97"/>
                  </a:lnTo>
                  <a:lnTo>
                    <a:pt x="99" y="97"/>
                  </a:lnTo>
                  <a:lnTo>
                    <a:pt x="105" y="97"/>
                  </a:lnTo>
                  <a:lnTo>
                    <a:pt x="107" y="97"/>
                  </a:lnTo>
                  <a:lnTo>
                    <a:pt x="107" y="97"/>
                  </a:lnTo>
                  <a:lnTo>
                    <a:pt x="112" y="97"/>
                  </a:lnTo>
                  <a:lnTo>
                    <a:pt x="112" y="99"/>
                  </a:lnTo>
                  <a:lnTo>
                    <a:pt x="115" y="99"/>
                  </a:lnTo>
                  <a:lnTo>
                    <a:pt x="115" y="99"/>
                  </a:lnTo>
                  <a:lnTo>
                    <a:pt x="117" y="97"/>
                  </a:lnTo>
                  <a:lnTo>
                    <a:pt x="117" y="97"/>
                  </a:lnTo>
                  <a:lnTo>
                    <a:pt x="117" y="97"/>
                  </a:lnTo>
                  <a:lnTo>
                    <a:pt x="117" y="97"/>
                  </a:lnTo>
                  <a:lnTo>
                    <a:pt x="122" y="97"/>
                  </a:lnTo>
                  <a:lnTo>
                    <a:pt x="125" y="99"/>
                  </a:lnTo>
                  <a:lnTo>
                    <a:pt x="128" y="99"/>
                  </a:lnTo>
                  <a:lnTo>
                    <a:pt x="128" y="102"/>
                  </a:lnTo>
                  <a:lnTo>
                    <a:pt x="130" y="104"/>
                  </a:lnTo>
                  <a:lnTo>
                    <a:pt x="133" y="109"/>
                  </a:lnTo>
                  <a:lnTo>
                    <a:pt x="135" y="112"/>
                  </a:lnTo>
                  <a:lnTo>
                    <a:pt x="138" y="114"/>
                  </a:lnTo>
                  <a:lnTo>
                    <a:pt x="140" y="117"/>
                  </a:lnTo>
                  <a:lnTo>
                    <a:pt x="143" y="125"/>
                  </a:lnTo>
                  <a:lnTo>
                    <a:pt x="143" y="125"/>
                  </a:lnTo>
                  <a:lnTo>
                    <a:pt x="143" y="125"/>
                  </a:lnTo>
                  <a:lnTo>
                    <a:pt x="148" y="127"/>
                  </a:lnTo>
                  <a:lnTo>
                    <a:pt x="153" y="130"/>
                  </a:lnTo>
                  <a:lnTo>
                    <a:pt x="156" y="132"/>
                  </a:lnTo>
                  <a:lnTo>
                    <a:pt x="161" y="135"/>
                  </a:lnTo>
                  <a:lnTo>
                    <a:pt x="166" y="137"/>
                  </a:lnTo>
                  <a:lnTo>
                    <a:pt x="171" y="142"/>
                  </a:lnTo>
                  <a:lnTo>
                    <a:pt x="171" y="142"/>
                  </a:lnTo>
                  <a:lnTo>
                    <a:pt x="176" y="145"/>
                  </a:lnTo>
                  <a:lnTo>
                    <a:pt x="178" y="147"/>
                  </a:lnTo>
                  <a:lnTo>
                    <a:pt x="181" y="145"/>
                  </a:lnTo>
                  <a:lnTo>
                    <a:pt x="186" y="150"/>
                  </a:lnTo>
                  <a:lnTo>
                    <a:pt x="189" y="150"/>
                  </a:lnTo>
                  <a:lnTo>
                    <a:pt x="189" y="153"/>
                  </a:lnTo>
                  <a:lnTo>
                    <a:pt x="194" y="153"/>
                  </a:lnTo>
                  <a:lnTo>
                    <a:pt x="199" y="155"/>
                  </a:lnTo>
                  <a:lnTo>
                    <a:pt x="204" y="160"/>
                  </a:lnTo>
                  <a:lnTo>
                    <a:pt x="209" y="163"/>
                  </a:lnTo>
                  <a:lnTo>
                    <a:pt x="212" y="163"/>
                  </a:lnTo>
                  <a:lnTo>
                    <a:pt x="212" y="163"/>
                  </a:lnTo>
                  <a:lnTo>
                    <a:pt x="212" y="163"/>
                  </a:lnTo>
                  <a:lnTo>
                    <a:pt x="214" y="163"/>
                  </a:lnTo>
                  <a:lnTo>
                    <a:pt x="217" y="163"/>
                  </a:lnTo>
                  <a:lnTo>
                    <a:pt x="219" y="163"/>
                  </a:lnTo>
                  <a:lnTo>
                    <a:pt x="219" y="165"/>
                  </a:lnTo>
                  <a:lnTo>
                    <a:pt x="222" y="165"/>
                  </a:lnTo>
                  <a:lnTo>
                    <a:pt x="224" y="168"/>
                  </a:lnTo>
                  <a:lnTo>
                    <a:pt x="224" y="168"/>
                  </a:lnTo>
                  <a:lnTo>
                    <a:pt x="229" y="168"/>
                  </a:lnTo>
                  <a:lnTo>
                    <a:pt x="229" y="168"/>
                  </a:lnTo>
                  <a:lnTo>
                    <a:pt x="229" y="170"/>
                  </a:lnTo>
                  <a:lnTo>
                    <a:pt x="229" y="170"/>
                  </a:lnTo>
                  <a:lnTo>
                    <a:pt x="229" y="173"/>
                  </a:lnTo>
                  <a:lnTo>
                    <a:pt x="229" y="178"/>
                  </a:lnTo>
                  <a:lnTo>
                    <a:pt x="229" y="181"/>
                  </a:lnTo>
                  <a:lnTo>
                    <a:pt x="232" y="183"/>
                  </a:lnTo>
                  <a:lnTo>
                    <a:pt x="237" y="183"/>
                  </a:lnTo>
                  <a:lnTo>
                    <a:pt x="242" y="183"/>
                  </a:lnTo>
                  <a:lnTo>
                    <a:pt x="245" y="186"/>
                  </a:lnTo>
                  <a:lnTo>
                    <a:pt x="247" y="186"/>
                  </a:lnTo>
                  <a:lnTo>
                    <a:pt x="247" y="186"/>
                  </a:lnTo>
                  <a:lnTo>
                    <a:pt x="250" y="186"/>
                  </a:lnTo>
                  <a:lnTo>
                    <a:pt x="250" y="186"/>
                  </a:lnTo>
                  <a:lnTo>
                    <a:pt x="252" y="186"/>
                  </a:lnTo>
                  <a:lnTo>
                    <a:pt x="252" y="186"/>
                  </a:lnTo>
                  <a:lnTo>
                    <a:pt x="255" y="188"/>
                  </a:lnTo>
                  <a:lnTo>
                    <a:pt x="255" y="188"/>
                  </a:lnTo>
                  <a:lnTo>
                    <a:pt x="255" y="186"/>
                  </a:lnTo>
                  <a:lnTo>
                    <a:pt x="255" y="181"/>
                  </a:lnTo>
                  <a:lnTo>
                    <a:pt x="255" y="178"/>
                  </a:lnTo>
                  <a:lnTo>
                    <a:pt x="257" y="175"/>
                  </a:lnTo>
                  <a:lnTo>
                    <a:pt x="257" y="173"/>
                  </a:lnTo>
                  <a:lnTo>
                    <a:pt x="260" y="170"/>
                  </a:lnTo>
                  <a:lnTo>
                    <a:pt x="260" y="170"/>
                  </a:lnTo>
                  <a:lnTo>
                    <a:pt x="260" y="168"/>
                  </a:lnTo>
                  <a:lnTo>
                    <a:pt x="260" y="165"/>
                  </a:lnTo>
                  <a:lnTo>
                    <a:pt x="260" y="165"/>
                  </a:lnTo>
                  <a:lnTo>
                    <a:pt x="260" y="163"/>
                  </a:lnTo>
                  <a:lnTo>
                    <a:pt x="260" y="163"/>
                  </a:lnTo>
                  <a:lnTo>
                    <a:pt x="257" y="163"/>
                  </a:lnTo>
                  <a:lnTo>
                    <a:pt x="255" y="160"/>
                  </a:lnTo>
                  <a:lnTo>
                    <a:pt x="255" y="158"/>
                  </a:lnTo>
                  <a:lnTo>
                    <a:pt x="252" y="155"/>
                  </a:lnTo>
                  <a:lnTo>
                    <a:pt x="252" y="153"/>
                  </a:lnTo>
                  <a:lnTo>
                    <a:pt x="252" y="147"/>
                  </a:lnTo>
                  <a:lnTo>
                    <a:pt x="252" y="147"/>
                  </a:lnTo>
                  <a:lnTo>
                    <a:pt x="252" y="147"/>
                  </a:lnTo>
                  <a:lnTo>
                    <a:pt x="252" y="145"/>
                  </a:lnTo>
                  <a:lnTo>
                    <a:pt x="250" y="145"/>
                  </a:lnTo>
                  <a:lnTo>
                    <a:pt x="247" y="145"/>
                  </a:lnTo>
                  <a:lnTo>
                    <a:pt x="247" y="145"/>
                  </a:lnTo>
                  <a:lnTo>
                    <a:pt x="245" y="145"/>
                  </a:lnTo>
                  <a:lnTo>
                    <a:pt x="245" y="145"/>
                  </a:lnTo>
                  <a:lnTo>
                    <a:pt x="245" y="142"/>
                  </a:lnTo>
                  <a:lnTo>
                    <a:pt x="242" y="142"/>
                  </a:lnTo>
                  <a:lnTo>
                    <a:pt x="242" y="142"/>
                  </a:lnTo>
                  <a:lnTo>
                    <a:pt x="237" y="140"/>
                  </a:lnTo>
                  <a:lnTo>
                    <a:pt x="237" y="140"/>
                  </a:lnTo>
                  <a:lnTo>
                    <a:pt x="237" y="140"/>
                  </a:lnTo>
                  <a:lnTo>
                    <a:pt x="237" y="135"/>
                  </a:lnTo>
                  <a:lnTo>
                    <a:pt x="237" y="135"/>
                  </a:lnTo>
                  <a:lnTo>
                    <a:pt x="237" y="135"/>
                  </a:lnTo>
                  <a:lnTo>
                    <a:pt x="240" y="132"/>
                  </a:lnTo>
                  <a:lnTo>
                    <a:pt x="242" y="132"/>
                  </a:lnTo>
                  <a:lnTo>
                    <a:pt x="245" y="132"/>
                  </a:lnTo>
                  <a:lnTo>
                    <a:pt x="250" y="132"/>
                  </a:lnTo>
                  <a:lnTo>
                    <a:pt x="252" y="132"/>
                  </a:lnTo>
                  <a:lnTo>
                    <a:pt x="252" y="132"/>
                  </a:lnTo>
                  <a:lnTo>
                    <a:pt x="255" y="135"/>
                  </a:lnTo>
                  <a:lnTo>
                    <a:pt x="255" y="132"/>
                  </a:lnTo>
                  <a:lnTo>
                    <a:pt x="257" y="132"/>
                  </a:lnTo>
                  <a:lnTo>
                    <a:pt x="257" y="132"/>
                  </a:lnTo>
                  <a:lnTo>
                    <a:pt x="257" y="130"/>
                  </a:lnTo>
                  <a:lnTo>
                    <a:pt x="257" y="127"/>
                  </a:lnTo>
                  <a:lnTo>
                    <a:pt x="257" y="127"/>
                  </a:lnTo>
                  <a:lnTo>
                    <a:pt x="260" y="127"/>
                  </a:lnTo>
                  <a:lnTo>
                    <a:pt x="260" y="127"/>
                  </a:lnTo>
                  <a:lnTo>
                    <a:pt x="260" y="125"/>
                  </a:lnTo>
                  <a:lnTo>
                    <a:pt x="260" y="125"/>
                  </a:lnTo>
                  <a:lnTo>
                    <a:pt x="260" y="125"/>
                  </a:lnTo>
                  <a:lnTo>
                    <a:pt x="260" y="125"/>
                  </a:lnTo>
                  <a:lnTo>
                    <a:pt x="263" y="125"/>
                  </a:lnTo>
                  <a:lnTo>
                    <a:pt x="263" y="125"/>
                  </a:lnTo>
                  <a:lnTo>
                    <a:pt x="263" y="125"/>
                  </a:lnTo>
                  <a:lnTo>
                    <a:pt x="260" y="125"/>
                  </a:lnTo>
                  <a:lnTo>
                    <a:pt x="260" y="125"/>
                  </a:lnTo>
                  <a:lnTo>
                    <a:pt x="260" y="125"/>
                  </a:lnTo>
                  <a:lnTo>
                    <a:pt x="260" y="125"/>
                  </a:lnTo>
                  <a:lnTo>
                    <a:pt x="263" y="122"/>
                  </a:lnTo>
                  <a:lnTo>
                    <a:pt x="263" y="122"/>
                  </a:lnTo>
                  <a:lnTo>
                    <a:pt x="263" y="122"/>
                  </a:lnTo>
                  <a:lnTo>
                    <a:pt x="263" y="122"/>
                  </a:lnTo>
                  <a:lnTo>
                    <a:pt x="263" y="122"/>
                  </a:lnTo>
                  <a:lnTo>
                    <a:pt x="260" y="122"/>
                  </a:lnTo>
                  <a:lnTo>
                    <a:pt x="257" y="122"/>
                  </a:lnTo>
                  <a:lnTo>
                    <a:pt x="255" y="122"/>
                  </a:lnTo>
                  <a:lnTo>
                    <a:pt x="255" y="122"/>
                  </a:lnTo>
                  <a:lnTo>
                    <a:pt x="255" y="120"/>
                  </a:lnTo>
                  <a:lnTo>
                    <a:pt x="263" y="120"/>
                  </a:lnTo>
                  <a:lnTo>
                    <a:pt x="265" y="120"/>
                  </a:lnTo>
                  <a:lnTo>
                    <a:pt x="268" y="120"/>
                  </a:lnTo>
                  <a:lnTo>
                    <a:pt x="268" y="120"/>
                  </a:lnTo>
                  <a:lnTo>
                    <a:pt x="265" y="117"/>
                  </a:lnTo>
                  <a:lnTo>
                    <a:pt x="268" y="117"/>
                  </a:lnTo>
                  <a:lnTo>
                    <a:pt x="268" y="117"/>
                  </a:lnTo>
                  <a:lnTo>
                    <a:pt x="265" y="112"/>
                  </a:lnTo>
                  <a:lnTo>
                    <a:pt x="265" y="112"/>
                  </a:lnTo>
                  <a:lnTo>
                    <a:pt x="265" y="109"/>
                  </a:lnTo>
                  <a:lnTo>
                    <a:pt x="265" y="109"/>
                  </a:lnTo>
                  <a:lnTo>
                    <a:pt x="265" y="107"/>
                  </a:lnTo>
                  <a:lnTo>
                    <a:pt x="268" y="107"/>
                  </a:lnTo>
                  <a:lnTo>
                    <a:pt x="268" y="107"/>
                  </a:lnTo>
                  <a:lnTo>
                    <a:pt x="270" y="109"/>
                  </a:lnTo>
                  <a:lnTo>
                    <a:pt x="273" y="109"/>
                  </a:lnTo>
                  <a:lnTo>
                    <a:pt x="273" y="109"/>
                  </a:lnTo>
                  <a:lnTo>
                    <a:pt x="275" y="109"/>
                  </a:lnTo>
                  <a:lnTo>
                    <a:pt x="278" y="107"/>
                  </a:lnTo>
                  <a:lnTo>
                    <a:pt x="280" y="107"/>
                  </a:lnTo>
                  <a:lnTo>
                    <a:pt x="283" y="104"/>
                  </a:lnTo>
                  <a:lnTo>
                    <a:pt x="283" y="104"/>
                  </a:lnTo>
                  <a:lnTo>
                    <a:pt x="283" y="102"/>
                  </a:lnTo>
                  <a:lnTo>
                    <a:pt x="283" y="102"/>
                  </a:lnTo>
                  <a:lnTo>
                    <a:pt x="286" y="102"/>
                  </a:lnTo>
                  <a:lnTo>
                    <a:pt x="288" y="104"/>
                  </a:lnTo>
                  <a:lnTo>
                    <a:pt x="291" y="107"/>
                  </a:lnTo>
                  <a:lnTo>
                    <a:pt x="291" y="107"/>
                  </a:lnTo>
                  <a:lnTo>
                    <a:pt x="291" y="107"/>
                  </a:lnTo>
                  <a:lnTo>
                    <a:pt x="291" y="107"/>
                  </a:lnTo>
                  <a:lnTo>
                    <a:pt x="291" y="109"/>
                  </a:lnTo>
                  <a:lnTo>
                    <a:pt x="293" y="109"/>
                  </a:lnTo>
                  <a:lnTo>
                    <a:pt x="291" y="109"/>
                  </a:lnTo>
                  <a:lnTo>
                    <a:pt x="291" y="109"/>
                  </a:lnTo>
                  <a:lnTo>
                    <a:pt x="291" y="109"/>
                  </a:lnTo>
                  <a:lnTo>
                    <a:pt x="288" y="112"/>
                  </a:lnTo>
                  <a:lnTo>
                    <a:pt x="286" y="114"/>
                  </a:lnTo>
                  <a:lnTo>
                    <a:pt x="286" y="114"/>
                  </a:lnTo>
                  <a:lnTo>
                    <a:pt x="286" y="114"/>
                  </a:lnTo>
                  <a:lnTo>
                    <a:pt x="288" y="117"/>
                  </a:lnTo>
                  <a:lnTo>
                    <a:pt x="288" y="117"/>
                  </a:lnTo>
                  <a:lnTo>
                    <a:pt x="288" y="117"/>
                  </a:lnTo>
                  <a:lnTo>
                    <a:pt x="291" y="117"/>
                  </a:lnTo>
                  <a:lnTo>
                    <a:pt x="291" y="120"/>
                  </a:lnTo>
                  <a:lnTo>
                    <a:pt x="293" y="120"/>
                  </a:lnTo>
                  <a:lnTo>
                    <a:pt x="293" y="120"/>
                  </a:lnTo>
                  <a:lnTo>
                    <a:pt x="298" y="120"/>
                  </a:lnTo>
                  <a:lnTo>
                    <a:pt x="298" y="120"/>
                  </a:lnTo>
                  <a:lnTo>
                    <a:pt x="298" y="120"/>
                  </a:lnTo>
                  <a:lnTo>
                    <a:pt x="301" y="120"/>
                  </a:lnTo>
                  <a:lnTo>
                    <a:pt x="306" y="120"/>
                  </a:lnTo>
                  <a:lnTo>
                    <a:pt x="306" y="120"/>
                  </a:lnTo>
                  <a:lnTo>
                    <a:pt x="308" y="120"/>
                  </a:lnTo>
                  <a:lnTo>
                    <a:pt x="308" y="120"/>
                  </a:lnTo>
                  <a:lnTo>
                    <a:pt x="311" y="120"/>
                  </a:lnTo>
                  <a:lnTo>
                    <a:pt x="311" y="120"/>
                  </a:lnTo>
                  <a:lnTo>
                    <a:pt x="311" y="120"/>
                  </a:lnTo>
                  <a:lnTo>
                    <a:pt x="311" y="120"/>
                  </a:lnTo>
                  <a:lnTo>
                    <a:pt x="314" y="122"/>
                  </a:lnTo>
                  <a:lnTo>
                    <a:pt x="314" y="120"/>
                  </a:lnTo>
                  <a:lnTo>
                    <a:pt x="316" y="120"/>
                  </a:lnTo>
                  <a:lnTo>
                    <a:pt x="316" y="120"/>
                  </a:lnTo>
                  <a:lnTo>
                    <a:pt x="316" y="120"/>
                  </a:lnTo>
                  <a:lnTo>
                    <a:pt x="316" y="117"/>
                  </a:lnTo>
                  <a:lnTo>
                    <a:pt x="319" y="117"/>
                  </a:lnTo>
                  <a:lnTo>
                    <a:pt x="319" y="114"/>
                  </a:lnTo>
                  <a:lnTo>
                    <a:pt x="321" y="114"/>
                  </a:lnTo>
                  <a:lnTo>
                    <a:pt x="321" y="114"/>
                  </a:lnTo>
                  <a:lnTo>
                    <a:pt x="321" y="114"/>
                  </a:lnTo>
                  <a:lnTo>
                    <a:pt x="321" y="114"/>
                  </a:lnTo>
                  <a:lnTo>
                    <a:pt x="324" y="114"/>
                  </a:lnTo>
                  <a:lnTo>
                    <a:pt x="324" y="114"/>
                  </a:lnTo>
                  <a:lnTo>
                    <a:pt x="324" y="114"/>
                  </a:lnTo>
                  <a:lnTo>
                    <a:pt x="324" y="112"/>
                  </a:lnTo>
                  <a:lnTo>
                    <a:pt x="324" y="112"/>
                  </a:lnTo>
                  <a:lnTo>
                    <a:pt x="324" y="112"/>
                  </a:lnTo>
                  <a:lnTo>
                    <a:pt x="324" y="112"/>
                  </a:lnTo>
                  <a:lnTo>
                    <a:pt x="326" y="112"/>
                  </a:lnTo>
                  <a:lnTo>
                    <a:pt x="326" y="112"/>
                  </a:lnTo>
                  <a:lnTo>
                    <a:pt x="329" y="112"/>
                  </a:lnTo>
                  <a:lnTo>
                    <a:pt x="329" y="112"/>
                  </a:lnTo>
                  <a:lnTo>
                    <a:pt x="329" y="109"/>
                  </a:lnTo>
                  <a:lnTo>
                    <a:pt x="334" y="107"/>
                  </a:lnTo>
                  <a:lnTo>
                    <a:pt x="336" y="107"/>
                  </a:lnTo>
                  <a:lnTo>
                    <a:pt x="336" y="107"/>
                  </a:lnTo>
                  <a:close/>
                  <a:moveTo>
                    <a:pt x="288" y="104"/>
                  </a:moveTo>
                  <a:lnTo>
                    <a:pt x="288" y="102"/>
                  </a:lnTo>
                  <a:lnTo>
                    <a:pt x="286" y="102"/>
                  </a:lnTo>
                  <a:lnTo>
                    <a:pt x="288" y="102"/>
                  </a:lnTo>
                  <a:lnTo>
                    <a:pt x="288" y="102"/>
                  </a:lnTo>
                  <a:lnTo>
                    <a:pt x="288" y="104"/>
                  </a:lnTo>
                  <a:lnTo>
                    <a:pt x="288" y="104"/>
                  </a:lnTo>
                  <a:lnTo>
                    <a:pt x="288" y="104"/>
                  </a:lnTo>
                  <a:close/>
                </a:path>
              </a:pathLst>
            </a:custGeom>
            <a:solidFill>
              <a:srgbClr val="FFC000"/>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32" name="Freeform 1650">
              <a:extLst>
                <a:ext uri="{FF2B5EF4-FFF2-40B4-BE49-F238E27FC236}">
                  <a16:creationId xmlns:a16="http://schemas.microsoft.com/office/drawing/2014/main" id="{5DBDE5BD-AB23-4B41-B217-D7C6D199A24A}"/>
                </a:ext>
              </a:extLst>
            </p:cNvPr>
            <p:cNvSpPr>
              <a:spLocks/>
            </p:cNvSpPr>
            <p:nvPr/>
          </p:nvSpPr>
          <p:spPr bwMode="auto">
            <a:xfrm>
              <a:off x="3799474" y="4919974"/>
              <a:ext cx="166845" cy="179931"/>
            </a:xfrm>
            <a:custGeom>
              <a:avLst/>
              <a:gdLst>
                <a:gd name="T0" fmla="*/ 97 w 102"/>
                <a:gd name="T1" fmla="*/ 79 h 110"/>
                <a:gd name="T2" fmla="*/ 94 w 102"/>
                <a:gd name="T3" fmla="*/ 69 h 110"/>
                <a:gd name="T4" fmla="*/ 97 w 102"/>
                <a:gd name="T5" fmla="*/ 67 h 110"/>
                <a:gd name="T6" fmla="*/ 102 w 102"/>
                <a:gd name="T7" fmla="*/ 59 h 110"/>
                <a:gd name="T8" fmla="*/ 97 w 102"/>
                <a:gd name="T9" fmla="*/ 56 h 110"/>
                <a:gd name="T10" fmla="*/ 89 w 102"/>
                <a:gd name="T11" fmla="*/ 49 h 110"/>
                <a:gd name="T12" fmla="*/ 87 w 102"/>
                <a:gd name="T13" fmla="*/ 44 h 110"/>
                <a:gd name="T14" fmla="*/ 81 w 102"/>
                <a:gd name="T15" fmla="*/ 41 h 110"/>
                <a:gd name="T16" fmla="*/ 76 w 102"/>
                <a:gd name="T17" fmla="*/ 39 h 110"/>
                <a:gd name="T18" fmla="*/ 69 w 102"/>
                <a:gd name="T19" fmla="*/ 34 h 110"/>
                <a:gd name="T20" fmla="*/ 58 w 102"/>
                <a:gd name="T21" fmla="*/ 26 h 110"/>
                <a:gd name="T22" fmla="*/ 53 w 102"/>
                <a:gd name="T23" fmla="*/ 26 h 110"/>
                <a:gd name="T24" fmla="*/ 51 w 102"/>
                <a:gd name="T25" fmla="*/ 23 h 110"/>
                <a:gd name="T26" fmla="*/ 46 w 102"/>
                <a:gd name="T27" fmla="*/ 18 h 110"/>
                <a:gd name="T28" fmla="*/ 43 w 102"/>
                <a:gd name="T29" fmla="*/ 18 h 110"/>
                <a:gd name="T30" fmla="*/ 43 w 102"/>
                <a:gd name="T31" fmla="*/ 21 h 110"/>
                <a:gd name="T32" fmla="*/ 38 w 102"/>
                <a:gd name="T33" fmla="*/ 21 h 110"/>
                <a:gd name="T34" fmla="*/ 38 w 102"/>
                <a:gd name="T35" fmla="*/ 21 h 110"/>
                <a:gd name="T36" fmla="*/ 36 w 102"/>
                <a:gd name="T37" fmla="*/ 13 h 110"/>
                <a:gd name="T38" fmla="*/ 20 w 102"/>
                <a:gd name="T39" fmla="*/ 3 h 110"/>
                <a:gd name="T40" fmla="*/ 15 w 102"/>
                <a:gd name="T41" fmla="*/ 0 h 110"/>
                <a:gd name="T42" fmla="*/ 13 w 102"/>
                <a:gd name="T43" fmla="*/ 3 h 110"/>
                <a:gd name="T44" fmla="*/ 2 w 102"/>
                <a:gd name="T45" fmla="*/ 3 h 110"/>
                <a:gd name="T46" fmla="*/ 2 w 102"/>
                <a:gd name="T47" fmla="*/ 6 h 110"/>
                <a:gd name="T48" fmla="*/ 2 w 102"/>
                <a:gd name="T49" fmla="*/ 13 h 110"/>
                <a:gd name="T50" fmla="*/ 2 w 102"/>
                <a:gd name="T51" fmla="*/ 18 h 110"/>
                <a:gd name="T52" fmla="*/ 2 w 102"/>
                <a:gd name="T53" fmla="*/ 23 h 110"/>
                <a:gd name="T54" fmla="*/ 0 w 102"/>
                <a:gd name="T55" fmla="*/ 28 h 110"/>
                <a:gd name="T56" fmla="*/ 2 w 102"/>
                <a:gd name="T57" fmla="*/ 34 h 110"/>
                <a:gd name="T58" fmla="*/ 2 w 102"/>
                <a:gd name="T59" fmla="*/ 39 h 110"/>
                <a:gd name="T60" fmla="*/ 0 w 102"/>
                <a:gd name="T61" fmla="*/ 41 h 110"/>
                <a:gd name="T62" fmla="*/ 2 w 102"/>
                <a:gd name="T63" fmla="*/ 46 h 110"/>
                <a:gd name="T64" fmla="*/ 2 w 102"/>
                <a:gd name="T65" fmla="*/ 51 h 110"/>
                <a:gd name="T66" fmla="*/ 5 w 102"/>
                <a:gd name="T67" fmla="*/ 59 h 110"/>
                <a:gd name="T68" fmla="*/ 8 w 102"/>
                <a:gd name="T69" fmla="*/ 67 h 110"/>
                <a:gd name="T70" fmla="*/ 2 w 102"/>
                <a:gd name="T71" fmla="*/ 69 h 110"/>
                <a:gd name="T72" fmla="*/ 5 w 102"/>
                <a:gd name="T73" fmla="*/ 82 h 110"/>
                <a:gd name="T74" fmla="*/ 15 w 102"/>
                <a:gd name="T75" fmla="*/ 95 h 110"/>
                <a:gd name="T76" fmla="*/ 20 w 102"/>
                <a:gd name="T77" fmla="*/ 100 h 110"/>
                <a:gd name="T78" fmla="*/ 38 w 102"/>
                <a:gd name="T79" fmla="*/ 105 h 110"/>
                <a:gd name="T80" fmla="*/ 51 w 102"/>
                <a:gd name="T81" fmla="*/ 110 h 110"/>
                <a:gd name="T82" fmla="*/ 58 w 102"/>
                <a:gd name="T83" fmla="*/ 107 h 110"/>
                <a:gd name="T84" fmla="*/ 71 w 102"/>
                <a:gd name="T85" fmla="*/ 110 h 110"/>
                <a:gd name="T86" fmla="*/ 87 w 102"/>
                <a:gd name="T87" fmla="*/ 105 h 110"/>
                <a:gd name="T88" fmla="*/ 92 w 102"/>
                <a:gd name="T89" fmla="*/ 100 h 110"/>
                <a:gd name="T90" fmla="*/ 99 w 102"/>
                <a:gd name="T91" fmla="*/ 90 h 110"/>
                <a:gd name="T92" fmla="*/ 102 w 102"/>
                <a:gd name="T93" fmla="*/ 82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2" h="110">
                  <a:moveTo>
                    <a:pt x="99" y="82"/>
                  </a:moveTo>
                  <a:lnTo>
                    <a:pt x="97" y="82"/>
                  </a:lnTo>
                  <a:lnTo>
                    <a:pt x="97" y="79"/>
                  </a:lnTo>
                  <a:lnTo>
                    <a:pt x="97" y="79"/>
                  </a:lnTo>
                  <a:lnTo>
                    <a:pt x="97" y="77"/>
                  </a:lnTo>
                  <a:lnTo>
                    <a:pt x="94" y="69"/>
                  </a:lnTo>
                  <a:lnTo>
                    <a:pt x="94" y="69"/>
                  </a:lnTo>
                  <a:lnTo>
                    <a:pt x="97" y="67"/>
                  </a:lnTo>
                  <a:lnTo>
                    <a:pt x="97" y="67"/>
                  </a:lnTo>
                  <a:lnTo>
                    <a:pt x="99" y="64"/>
                  </a:lnTo>
                  <a:lnTo>
                    <a:pt x="99" y="62"/>
                  </a:lnTo>
                  <a:lnTo>
                    <a:pt x="102" y="59"/>
                  </a:lnTo>
                  <a:lnTo>
                    <a:pt x="99" y="59"/>
                  </a:lnTo>
                  <a:lnTo>
                    <a:pt x="99" y="56"/>
                  </a:lnTo>
                  <a:lnTo>
                    <a:pt x="97" y="56"/>
                  </a:lnTo>
                  <a:lnTo>
                    <a:pt x="92" y="54"/>
                  </a:lnTo>
                  <a:lnTo>
                    <a:pt x="89" y="51"/>
                  </a:lnTo>
                  <a:lnTo>
                    <a:pt x="89" y="49"/>
                  </a:lnTo>
                  <a:lnTo>
                    <a:pt x="87" y="46"/>
                  </a:lnTo>
                  <a:lnTo>
                    <a:pt x="87" y="46"/>
                  </a:lnTo>
                  <a:lnTo>
                    <a:pt x="87" y="44"/>
                  </a:lnTo>
                  <a:lnTo>
                    <a:pt x="84" y="44"/>
                  </a:lnTo>
                  <a:lnTo>
                    <a:pt x="84" y="44"/>
                  </a:lnTo>
                  <a:lnTo>
                    <a:pt x="81" y="41"/>
                  </a:lnTo>
                  <a:lnTo>
                    <a:pt x="81" y="41"/>
                  </a:lnTo>
                  <a:lnTo>
                    <a:pt x="79" y="41"/>
                  </a:lnTo>
                  <a:lnTo>
                    <a:pt x="76" y="39"/>
                  </a:lnTo>
                  <a:lnTo>
                    <a:pt x="74" y="36"/>
                  </a:lnTo>
                  <a:lnTo>
                    <a:pt x="71" y="34"/>
                  </a:lnTo>
                  <a:lnTo>
                    <a:pt x="69" y="34"/>
                  </a:lnTo>
                  <a:lnTo>
                    <a:pt x="66" y="31"/>
                  </a:lnTo>
                  <a:lnTo>
                    <a:pt x="61" y="28"/>
                  </a:lnTo>
                  <a:lnTo>
                    <a:pt x="58" y="26"/>
                  </a:lnTo>
                  <a:lnTo>
                    <a:pt x="56" y="28"/>
                  </a:lnTo>
                  <a:lnTo>
                    <a:pt x="56" y="26"/>
                  </a:lnTo>
                  <a:lnTo>
                    <a:pt x="53" y="26"/>
                  </a:lnTo>
                  <a:lnTo>
                    <a:pt x="53" y="23"/>
                  </a:lnTo>
                  <a:lnTo>
                    <a:pt x="51" y="23"/>
                  </a:lnTo>
                  <a:lnTo>
                    <a:pt x="51" y="23"/>
                  </a:lnTo>
                  <a:lnTo>
                    <a:pt x="51" y="21"/>
                  </a:lnTo>
                  <a:lnTo>
                    <a:pt x="48" y="18"/>
                  </a:lnTo>
                  <a:lnTo>
                    <a:pt x="46" y="18"/>
                  </a:lnTo>
                  <a:lnTo>
                    <a:pt x="46" y="16"/>
                  </a:lnTo>
                  <a:lnTo>
                    <a:pt x="46" y="18"/>
                  </a:lnTo>
                  <a:lnTo>
                    <a:pt x="43" y="18"/>
                  </a:lnTo>
                  <a:lnTo>
                    <a:pt x="43" y="18"/>
                  </a:lnTo>
                  <a:lnTo>
                    <a:pt x="43" y="18"/>
                  </a:lnTo>
                  <a:lnTo>
                    <a:pt x="43" y="21"/>
                  </a:lnTo>
                  <a:lnTo>
                    <a:pt x="41" y="21"/>
                  </a:lnTo>
                  <a:lnTo>
                    <a:pt x="41" y="21"/>
                  </a:lnTo>
                  <a:lnTo>
                    <a:pt x="38" y="21"/>
                  </a:lnTo>
                  <a:lnTo>
                    <a:pt x="38" y="21"/>
                  </a:lnTo>
                  <a:lnTo>
                    <a:pt x="38" y="21"/>
                  </a:lnTo>
                  <a:lnTo>
                    <a:pt x="38" y="21"/>
                  </a:lnTo>
                  <a:lnTo>
                    <a:pt x="38" y="16"/>
                  </a:lnTo>
                  <a:lnTo>
                    <a:pt x="36" y="16"/>
                  </a:lnTo>
                  <a:lnTo>
                    <a:pt x="36" y="13"/>
                  </a:lnTo>
                  <a:lnTo>
                    <a:pt x="33" y="11"/>
                  </a:lnTo>
                  <a:lnTo>
                    <a:pt x="28" y="8"/>
                  </a:lnTo>
                  <a:lnTo>
                    <a:pt x="20" y="3"/>
                  </a:lnTo>
                  <a:lnTo>
                    <a:pt x="18" y="0"/>
                  </a:lnTo>
                  <a:lnTo>
                    <a:pt x="15" y="0"/>
                  </a:lnTo>
                  <a:lnTo>
                    <a:pt x="15" y="0"/>
                  </a:lnTo>
                  <a:lnTo>
                    <a:pt x="13" y="0"/>
                  </a:lnTo>
                  <a:lnTo>
                    <a:pt x="13" y="3"/>
                  </a:lnTo>
                  <a:lnTo>
                    <a:pt x="13" y="3"/>
                  </a:lnTo>
                  <a:lnTo>
                    <a:pt x="8" y="3"/>
                  </a:lnTo>
                  <a:lnTo>
                    <a:pt x="5" y="3"/>
                  </a:lnTo>
                  <a:lnTo>
                    <a:pt x="2" y="3"/>
                  </a:lnTo>
                  <a:lnTo>
                    <a:pt x="2" y="3"/>
                  </a:lnTo>
                  <a:lnTo>
                    <a:pt x="2" y="6"/>
                  </a:lnTo>
                  <a:lnTo>
                    <a:pt x="2" y="6"/>
                  </a:lnTo>
                  <a:lnTo>
                    <a:pt x="0" y="8"/>
                  </a:lnTo>
                  <a:lnTo>
                    <a:pt x="0" y="11"/>
                  </a:lnTo>
                  <a:lnTo>
                    <a:pt x="2" y="13"/>
                  </a:lnTo>
                  <a:lnTo>
                    <a:pt x="2" y="18"/>
                  </a:lnTo>
                  <a:lnTo>
                    <a:pt x="2" y="18"/>
                  </a:lnTo>
                  <a:lnTo>
                    <a:pt x="2" y="18"/>
                  </a:lnTo>
                  <a:lnTo>
                    <a:pt x="2" y="21"/>
                  </a:lnTo>
                  <a:lnTo>
                    <a:pt x="2" y="21"/>
                  </a:lnTo>
                  <a:lnTo>
                    <a:pt x="2" y="23"/>
                  </a:lnTo>
                  <a:lnTo>
                    <a:pt x="2" y="26"/>
                  </a:lnTo>
                  <a:lnTo>
                    <a:pt x="2" y="26"/>
                  </a:lnTo>
                  <a:lnTo>
                    <a:pt x="0" y="28"/>
                  </a:lnTo>
                  <a:lnTo>
                    <a:pt x="0" y="31"/>
                  </a:lnTo>
                  <a:lnTo>
                    <a:pt x="2" y="34"/>
                  </a:lnTo>
                  <a:lnTo>
                    <a:pt x="2" y="34"/>
                  </a:lnTo>
                  <a:lnTo>
                    <a:pt x="2" y="34"/>
                  </a:lnTo>
                  <a:lnTo>
                    <a:pt x="2" y="36"/>
                  </a:lnTo>
                  <a:lnTo>
                    <a:pt x="2" y="39"/>
                  </a:lnTo>
                  <a:lnTo>
                    <a:pt x="2" y="39"/>
                  </a:lnTo>
                  <a:lnTo>
                    <a:pt x="0" y="41"/>
                  </a:lnTo>
                  <a:lnTo>
                    <a:pt x="0" y="41"/>
                  </a:lnTo>
                  <a:lnTo>
                    <a:pt x="0" y="44"/>
                  </a:lnTo>
                  <a:lnTo>
                    <a:pt x="2" y="44"/>
                  </a:lnTo>
                  <a:lnTo>
                    <a:pt x="2" y="46"/>
                  </a:lnTo>
                  <a:lnTo>
                    <a:pt x="2" y="46"/>
                  </a:lnTo>
                  <a:lnTo>
                    <a:pt x="2" y="49"/>
                  </a:lnTo>
                  <a:lnTo>
                    <a:pt x="2" y="51"/>
                  </a:lnTo>
                  <a:lnTo>
                    <a:pt x="2" y="54"/>
                  </a:lnTo>
                  <a:lnTo>
                    <a:pt x="5" y="56"/>
                  </a:lnTo>
                  <a:lnTo>
                    <a:pt x="5" y="59"/>
                  </a:lnTo>
                  <a:lnTo>
                    <a:pt x="8" y="64"/>
                  </a:lnTo>
                  <a:lnTo>
                    <a:pt x="8" y="64"/>
                  </a:lnTo>
                  <a:lnTo>
                    <a:pt x="8" y="67"/>
                  </a:lnTo>
                  <a:lnTo>
                    <a:pt x="5" y="69"/>
                  </a:lnTo>
                  <a:lnTo>
                    <a:pt x="5" y="69"/>
                  </a:lnTo>
                  <a:lnTo>
                    <a:pt x="2" y="69"/>
                  </a:lnTo>
                  <a:lnTo>
                    <a:pt x="2" y="72"/>
                  </a:lnTo>
                  <a:lnTo>
                    <a:pt x="2" y="77"/>
                  </a:lnTo>
                  <a:lnTo>
                    <a:pt x="5" y="82"/>
                  </a:lnTo>
                  <a:lnTo>
                    <a:pt x="5" y="87"/>
                  </a:lnTo>
                  <a:lnTo>
                    <a:pt x="10" y="90"/>
                  </a:lnTo>
                  <a:lnTo>
                    <a:pt x="15" y="95"/>
                  </a:lnTo>
                  <a:lnTo>
                    <a:pt x="18" y="97"/>
                  </a:lnTo>
                  <a:lnTo>
                    <a:pt x="18" y="100"/>
                  </a:lnTo>
                  <a:lnTo>
                    <a:pt x="20" y="100"/>
                  </a:lnTo>
                  <a:lnTo>
                    <a:pt x="25" y="100"/>
                  </a:lnTo>
                  <a:lnTo>
                    <a:pt x="33" y="100"/>
                  </a:lnTo>
                  <a:lnTo>
                    <a:pt x="38" y="105"/>
                  </a:lnTo>
                  <a:lnTo>
                    <a:pt x="48" y="105"/>
                  </a:lnTo>
                  <a:lnTo>
                    <a:pt x="48" y="107"/>
                  </a:lnTo>
                  <a:lnTo>
                    <a:pt x="51" y="110"/>
                  </a:lnTo>
                  <a:lnTo>
                    <a:pt x="53" y="110"/>
                  </a:lnTo>
                  <a:lnTo>
                    <a:pt x="53" y="110"/>
                  </a:lnTo>
                  <a:lnTo>
                    <a:pt x="58" y="107"/>
                  </a:lnTo>
                  <a:lnTo>
                    <a:pt x="61" y="105"/>
                  </a:lnTo>
                  <a:lnTo>
                    <a:pt x="69" y="107"/>
                  </a:lnTo>
                  <a:lnTo>
                    <a:pt x="71" y="110"/>
                  </a:lnTo>
                  <a:lnTo>
                    <a:pt x="74" y="110"/>
                  </a:lnTo>
                  <a:lnTo>
                    <a:pt x="76" y="110"/>
                  </a:lnTo>
                  <a:lnTo>
                    <a:pt x="87" y="105"/>
                  </a:lnTo>
                  <a:lnTo>
                    <a:pt x="89" y="105"/>
                  </a:lnTo>
                  <a:lnTo>
                    <a:pt x="89" y="105"/>
                  </a:lnTo>
                  <a:lnTo>
                    <a:pt x="92" y="100"/>
                  </a:lnTo>
                  <a:lnTo>
                    <a:pt x="97" y="97"/>
                  </a:lnTo>
                  <a:lnTo>
                    <a:pt x="97" y="95"/>
                  </a:lnTo>
                  <a:lnTo>
                    <a:pt x="99" y="90"/>
                  </a:lnTo>
                  <a:lnTo>
                    <a:pt x="99" y="84"/>
                  </a:lnTo>
                  <a:lnTo>
                    <a:pt x="99" y="84"/>
                  </a:lnTo>
                  <a:lnTo>
                    <a:pt x="102" y="82"/>
                  </a:lnTo>
                  <a:lnTo>
                    <a:pt x="99" y="82"/>
                  </a:lnTo>
                  <a:lnTo>
                    <a:pt x="99" y="8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33" name="Freeform 1651">
              <a:extLst>
                <a:ext uri="{FF2B5EF4-FFF2-40B4-BE49-F238E27FC236}">
                  <a16:creationId xmlns:a16="http://schemas.microsoft.com/office/drawing/2014/main" id="{404BC470-451B-3A4A-A666-77790B21EFF1}"/>
                </a:ext>
              </a:extLst>
            </p:cNvPr>
            <p:cNvSpPr>
              <a:spLocks/>
            </p:cNvSpPr>
            <p:nvPr/>
          </p:nvSpPr>
          <p:spPr bwMode="auto">
            <a:xfrm>
              <a:off x="1390035" y="1640322"/>
              <a:ext cx="21265" cy="8179"/>
            </a:xfrm>
            <a:custGeom>
              <a:avLst/>
              <a:gdLst>
                <a:gd name="T0" fmla="*/ 2 w 13"/>
                <a:gd name="T1" fmla="*/ 5 h 5"/>
                <a:gd name="T2" fmla="*/ 13 w 13"/>
                <a:gd name="T3" fmla="*/ 0 h 5"/>
                <a:gd name="T4" fmla="*/ 10 w 13"/>
                <a:gd name="T5" fmla="*/ 0 h 5"/>
                <a:gd name="T6" fmla="*/ 5 w 13"/>
                <a:gd name="T7" fmla="*/ 0 h 5"/>
                <a:gd name="T8" fmla="*/ 2 w 13"/>
                <a:gd name="T9" fmla="*/ 3 h 5"/>
                <a:gd name="T10" fmla="*/ 2 w 13"/>
                <a:gd name="T11" fmla="*/ 3 h 5"/>
                <a:gd name="T12" fmla="*/ 0 w 13"/>
                <a:gd name="T13" fmla="*/ 5 h 5"/>
                <a:gd name="T14" fmla="*/ 2 w 13"/>
                <a:gd name="T15" fmla="*/ 5 h 5"/>
                <a:gd name="T16" fmla="*/ 2 w 13"/>
                <a:gd name="T1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5">
                  <a:moveTo>
                    <a:pt x="2" y="5"/>
                  </a:moveTo>
                  <a:lnTo>
                    <a:pt x="13" y="0"/>
                  </a:lnTo>
                  <a:lnTo>
                    <a:pt x="10" y="0"/>
                  </a:lnTo>
                  <a:lnTo>
                    <a:pt x="5" y="0"/>
                  </a:lnTo>
                  <a:lnTo>
                    <a:pt x="2" y="3"/>
                  </a:lnTo>
                  <a:lnTo>
                    <a:pt x="2" y="3"/>
                  </a:lnTo>
                  <a:lnTo>
                    <a:pt x="0" y="5"/>
                  </a:lnTo>
                  <a:lnTo>
                    <a:pt x="2" y="5"/>
                  </a:lnTo>
                  <a:lnTo>
                    <a:pt x="2" y="5"/>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34" name="Freeform 1652">
              <a:extLst>
                <a:ext uri="{FF2B5EF4-FFF2-40B4-BE49-F238E27FC236}">
                  <a16:creationId xmlns:a16="http://schemas.microsoft.com/office/drawing/2014/main" id="{AA9372F3-EFEF-5047-BE3D-DBAB0B0B07DD}"/>
                </a:ext>
              </a:extLst>
            </p:cNvPr>
            <p:cNvSpPr>
              <a:spLocks/>
            </p:cNvSpPr>
            <p:nvPr/>
          </p:nvSpPr>
          <p:spPr bwMode="auto">
            <a:xfrm>
              <a:off x="2106487" y="2006727"/>
              <a:ext cx="8179" cy="16357"/>
            </a:xfrm>
            <a:custGeom>
              <a:avLst/>
              <a:gdLst>
                <a:gd name="T0" fmla="*/ 5 w 5"/>
                <a:gd name="T1" fmla="*/ 3 h 10"/>
                <a:gd name="T2" fmla="*/ 5 w 5"/>
                <a:gd name="T3" fmla="*/ 3 h 10"/>
                <a:gd name="T4" fmla="*/ 5 w 5"/>
                <a:gd name="T5" fmla="*/ 3 h 10"/>
                <a:gd name="T6" fmla="*/ 5 w 5"/>
                <a:gd name="T7" fmla="*/ 0 h 10"/>
                <a:gd name="T8" fmla="*/ 5 w 5"/>
                <a:gd name="T9" fmla="*/ 0 h 10"/>
                <a:gd name="T10" fmla="*/ 3 w 5"/>
                <a:gd name="T11" fmla="*/ 3 h 10"/>
                <a:gd name="T12" fmla="*/ 0 w 5"/>
                <a:gd name="T13" fmla="*/ 3 h 10"/>
                <a:gd name="T14" fmla="*/ 0 w 5"/>
                <a:gd name="T15" fmla="*/ 5 h 10"/>
                <a:gd name="T16" fmla="*/ 0 w 5"/>
                <a:gd name="T17" fmla="*/ 5 h 10"/>
                <a:gd name="T18" fmla="*/ 0 w 5"/>
                <a:gd name="T19" fmla="*/ 5 h 10"/>
                <a:gd name="T20" fmla="*/ 0 w 5"/>
                <a:gd name="T21" fmla="*/ 5 h 10"/>
                <a:gd name="T22" fmla="*/ 0 w 5"/>
                <a:gd name="T23" fmla="*/ 5 h 10"/>
                <a:gd name="T24" fmla="*/ 0 w 5"/>
                <a:gd name="T25" fmla="*/ 8 h 10"/>
                <a:gd name="T26" fmla="*/ 0 w 5"/>
                <a:gd name="T27" fmla="*/ 8 h 10"/>
                <a:gd name="T28" fmla="*/ 0 w 5"/>
                <a:gd name="T29" fmla="*/ 8 h 10"/>
                <a:gd name="T30" fmla="*/ 0 w 5"/>
                <a:gd name="T31" fmla="*/ 10 h 10"/>
                <a:gd name="T32" fmla="*/ 0 w 5"/>
                <a:gd name="T33" fmla="*/ 10 h 10"/>
                <a:gd name="T34" fmla="*/ 0 w 5"/>
                <a:gd name="T35" fmla="*/ 10 h 10"/>
                <a:gd name="T36" fmla="*/ 0 w 5"/>
                <a:gd name="T37" fmla="*/ 10 h 10"/>
                <a:gd name="T38" fmla="*/ 0 w 5"/>
                <a:gd name="T39" fmla="*/ 10 h 10"/>
                <a:gd name="T40" fmla="*/ 3 w 5"/>
                <a:gd name="T41" fmla="*/ 10 h 10"/>
                <a:gd name="T42" fmla="*/ 3 w 5"/>
                <a:gd name="T43" fmla="*/ 10 h 10"/>
                <a:gd name="T44" fmla="*/ 3 w 5"/>
                <a:gd name="T45" fmla="*/ 10 h 10"/>
                <a:gd name="T46" fmla="*/ 3 w 5"/>
                <a:gd name="T47" fmla="*/ 8 h 10"/>
                <a:gd name="T48" fmla="*/ 0 w 5"/>
                <a:gd name="T49" fmla="*/ 10 h 10"/>
                <a:gd name="T50" fmla="*/ 3 w 5"/>
                <a:gd name="T51" fmla="*/ 5 h 10"/>
                <a:gd name="T52" fmla="*/ 3 w 5"/>
                <a:gd name="T53" fmla="*/ 5 h 10"/>
                <a:gd name="T54" fmla="*/ 3 w 5"/>
                <a:gd name="T55" fmla="*/ 5 h 10"/>
                <a:gd name="T56" fmla="*/ 0 w 5"/>
                <a:gd name="T57" fmla="*/ 5 h 10"/>
                <a:gd name="T58" fmla="*/ 0 w 5"/>
                <a:gd name="T59" fmla="*/ 5 h 10"/>
                <a:gd name="T60" fmla="*/ 5 w 5"/>
                <a:gd name="T61" fmla="*/ 3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 h="10">
                  <a:moveTo>
                    <a:pt x="5" y="3"/>
                  </a:moveTo>
                  <a:lnTo>
                    <a:pt x="5" y="3"/>
                  </a:lnTo>
                  <a:lnTo>
                    <a:pt x="5" y="3"/>
                  </a:lnTo>
                  <a:lnTo>
                    <a:pt x="5" y="0"/>
                  </a:lnTo>
                  <a:lnTo>
                    <a:pt x="5" y="0"/>
                  </a:lnTo>
                  <a:lnTo>
                    <a:pt x="3" y="3"/>
                  </a:lnTo>
                  <a:lnTo>
                    <a:pt x="0" y="3"/>
                  </a:lnTo>
                  <a:lnTo>
                    <a:pt x="0" y="5"/>
                  </a:lnTo>
                  <a:lnTo>
                    <a:pt x="0" y="5"/>
                  </a:lnTo>
                  <a:lnTo>
                    <a:pt x="0" y="5"/>
                  </a:lnTo>
                  <a:lnTo>
                    <a:pt x="0" y="5"/>
                  </a:lnTo>
                  <a:lnTo>
                    <a:pt x="0" y="5"/>
                  </a:lnTo>
                  <a:lnTo>
                    <a:pt x="0" y="8"/>
                  </a:lnTo>
                  <a:lnTo>
                    <a:pt x="0" y="8"/>
                  </a:lnTo>
                  <a:lnTo>
                    <a:pt x="0" y="8"/>
                  </a:lnTo>
                  <a:lnTo>
                    <a:pt x="0" y="10"/>
                  </a:lnTo>
                  <a:lnTo>
                    <a:pt x="0" y="10"/>
                  </a:lnTo>
                  <a:lnTo>
                    <a:pt x="0" y="10"/>
                  </a:lnTo>
                  <a:lnTo>
                    <a:pt x="0" y="10"/>
                  </a:lnTo>
                  <a:lnTo>
                    <a:pt x="0" y="10"/>
                  </a:lnTo>
                  <a:lnTo>
                    <a:pt x="3" y="10"/>
                  </a:lnTo>
                  <a:lnTo>
                    <a:pt x="3" y="10"/>
                  </a:lnTo>
                  <a:lnTo>
                    <a:pt x="3" y="10"/>
                  </a:lnTo>
                  <a:lnTo>
                    <a:pt x="3" y="8"/>
                  </a:lnTo>
                  <a:lnTo>
                    <a:pt x="0" y="10"/>
                  </a:lnTo>
                  <a:lnTo>
                    <a:pt x="3" y="5"/>
                  </a:lnTo>
                  <a:lnTo>
                    <a:pt x="3" y="5"/>
                  </a:lnTo>
                  <a:lnTo>
                    <a:pt x="3" y="5"/>
                  </a:lnTo>
                  <a:lnTo>
                    <a:pt x="0" y="5"/>
                  </a:lnTo>
                  <a:lnTo>
                    <a:pt x="0" y="5"/>
                  </a:lnTo>
                  <a:lnTo>
                    <a:pt x="5" y="3"/>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35" name="Freeform 1653">
              <a:extLst>
                <a:ext uri="{FF2B5EF4-FFF2-40B4-BE49-F238E27FC236}">
                  <a16:creationId xmlns:a16="http://schemas.microsoft.com/office/drawing/2014/main" id="{04040F10-0387-F04F-B305-69C2C4BBF557}"/>
                </a:ext>
              </a:extLst>
            </p:cNvPr>
            <p:cNvSpPr>
              <a:spLocks/>
            </p:cNvSpPr>
            <p:nvPr/>
          </p:nvSpPr>
          <p:spPr bwMode="auto">
            <a:xfrm>
              <a:off x="1893842" y="2535070"/>
              <a:ext cx="13086" cy="4908"/>
            </a:xfrm>
            <a:custGeom>
              <a:avLst/>
              <a:gdLst>
                <a:gd name="T0" fmla="*/ 5 w 8"/>
                <a:gd name="T1" fmla="*/ 0 h 3"/>
                <a:gd name="T2" fmla="*/ 3 w 8"/>
                <a:gd name="T3" fmla="*/ 0 h 3"/>
                <a:gd name="T4" fmla="*/ 0 w 8"/>
                <a:gd name="T5" fmla="*/ 0 h 3"/>
                <a:gd name="T6" fmla="*/ 3 w 8"/>
                <a:gd name="T7" fmla="*/ 0 h 3"/>
                <a:gd name="T8" fmla="*/ 0 w 8"/>
                <a:gd name="T9" fmla="*/ 3 h 3"/>
                <a:gd name="T10" fmla="*/ 3 w 8"/>
                <a:gd name="T11" fmla="*/ 3 h 3"/>
                <a:gd name="T12" fmla="*/ 8 w 8"/>
                <a:gd name="T13" fmla="*/ 0 h 3"/>
                <a:gd name="T14" fmla="*/ 8 w 8"/>
                <a:gd name="T15" fmla="*/ 0 h 3"/>
                <a:gd name="T16" fmla="*/ 8 w 8"/>
                <a:gd name="T17" fmla="*/ 0 h 3"/>
                <a:gd name="T18" fmla="*/ 5 w 8"/>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 h="3">
                  <a:moveTo>
                    <a:pt x="5" y="0"/>
                  </a:moveTo>
                  <a:lnTo>
                    <a:pt x="3" y="0"/>
                  </a:lnTo>
                  <a:lnTo>
                    <a:pt x="0" y="0"/>
                  </a:lnTo>
                  <a:lnTo>
                    <a:pt x="3" y="0"/>
                  </a:lnTo>
                  <a:lnTo>
                    <a:pt x="0" y="3"/>
                  </a:lnTo>
                  <a:lnTo>
                    <a:pt x="3" y="3"/>
                  </a:lnTo>
                  <a:lnTo>
                    <a:pt x="8" y="0"/>
                  </a:lnTo>
                  <a:lnTo>
                    <a:pt x="8" y="0"/>
                  </a:lnTo>
                  <a:lnTo>
                    <a:pt x="8" y="0"/>
                  </a:lnTo>
                  <a:lnTo>
                    <a:pt x="5"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36" name="Freeform 1654">
              <a:extLst>
                <a:ext uri="{FF2B5EF4-FFF2-40B4-BE49-F238E27FC236}">
                  <a16:creationId xmlns:a16="http://schemas.microsoft.com/office/drawing/2014/main" id="{98ECD401-322F-8941-9F93-6D0D6E93ED5D}"/>
                </a:ext>
              </a:extLst>
            </p:cNvPr>
            <p:cNvSpPr>
              <a:spLocks/>
            </p:cNvSpPr>
            <p:nvPr/>
          </p:nvSpPr>
          <p:spPr bwMode="auto">
            <a:xfrm>
              <a:off x="2111394" y="1998548"/>
              <a:ext cx="3271" cy="4908"/>
            </a:xfrm>
            <a:custGeom>
              <a:avLst/>
              <a:gdLst>
                <a:gd name="T0" fmla="*/ 2 w 2"/>
                <a:gd name="T1" fmla="*/ 0 h 3"/>
                <a:gd name="T2" fmla="*/ 2 w 2"/>
                <a:gd name="T3" fmla="*/ 0 h 3"/>
                <a:gd name="T4" fmla="*/ 2 w 2"/>
                <a:gd name="T5" fmla="*/ 0 h 3"/>
                <a:gd name="T6" fmla="*/ 2 w 2"/>
                <a:gd name="T7" fmla="*/ 0 h 3"/>
                <a:gd name="T8" fmla="*/ 0 w 2"/>
                <a:gd name="T9" fmla="*/ 0 h 3"/>
                <a:gd name="T10" fmla="*/ 0 w 2"/>
                <a:gd name="T11" fmla="*/ 0 h 3"/>
                <a:gd name="T12" fmla="*/ 0 w 2"/>
                <a:gd name="T13" fmla="*/ 0 h 3"/>
                <a:gd name="T14" fmla="*/ 0 w 2"/>
                <a:gd name="T15" fmla="*/ 3 h 3"/>
                <a:gd name="T16" fmla="*/ 0 w 2"/>
                <a:gd name="T17" fmla="*/ 0 h 3"/>
                <a:gd name="T18" fmla="*/ 2 w 2"/>
                <a:gd name="T19" fmla="*/ 0 h 3"/>
                <a:gd name="T20" fmla="*/ 2 w 2"/>
                <a:gd name="T21" fmla="*/ 0 h 3"/>
                <a:gd name="T22" fmla="*/ 2 w 2"/>
                <a:gd name="T23" fmla="*/ 0 h 3"/>
                <a:gd name="T24" fmla="*/ 2 w 2"/>
                <a:gd name="T25" fmla="*/ 0 h 3"/>
                <a:gd name="T26" fmla="*/ 2 w 2"/>
                <a:gd name="T2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3">
                  <a:moveTo>
                    <a:pt x="2" y="0"/>
                  </a:moveTo>
                  <a:lnTo>
                    <a:pt x="2" y="0"/>
                  </a:lnTo>
                  <a:lnTo>
                    <a:pt x="2" y="0"/>
                  </a:lnTo>
                  <a:lnTo>
                    <a:pt x="2" y="0"/>
                  </a:lnTo>
                  <a:lnTo>
                    <a:pt x="0" y="0"/>
                  </a:lnTo>
                  <a:lnTo>
                    <a:pt x="0" y="0"/>
                  </a:lnTo>
                  <a:lnTo>
                    <a:pt x="0" y="0"/>
                  </a:lnTo>
                  <a:lnTo>
                    <a:pt x="0" y="3"/>
                  </a:lnTo>
                  <a:lnTo>
                    <a:pt x="0" y="0"/>
                  </a:lnTo>
                  <a:lnTo>
                    <a:pt x="2" y="0"/>
                  </a:lnTo>
                  <a:lnTo>
                    <a:pt x="2" y="0"/>
                  </a:lnTo>
                  <a:lnTo>
                    <a:pt x="2" y="0"/>
                  </a:lnTo>
                  <a:lnTo>
                    <a:pt x="2" y="0"/>
                  </a:lnTo>
                  <a:lnTo>
                    <a:pt x="2"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37" name="Freeform 1655">
              <a:extLst>
                <a:ext uri="{FF2B5EF4-FFF2-40B4-BE49-F238E27FC236}">
                  <a16:creationId xmlns:a16="http://schemas.microsoft.com/office/drawing/2014/main" id="{35CDE06F-B738-CA48-96B9-731603A9EF36}"/>
                </a:ext>
              </a:extLst>
            </p:cNvPr>
            <p:cNvSpPr>
              <a:spLocks/>
            </p:cNvSpPr>
            <p:nvPr/>
          </p:nvSpPr>
          <p:spPr bwMode="auto">
            <a:xfrm>
              <a:off x="2057415" y="1740102"/>
              <a:ext cx="37622" cy="26172"/>
            </a:xfrm>
            <a:custGeom>
              <a:avLst/>
              <a:gdLst>
                <a:gd name="T0" fmla="*/ 7 w 23"/>
                <a:gd name="T1" fmla="*/ 13 h 16"/>
                <a:gd name="T2" fmla="*/ 7 w 23"/>
                <a:gd name="T3" fmla="*/ 13 h 16"/>
                <a:gd name="T4" fmla="*/ 7 w 23"/>
                <a:gd name="T5" fmla="*/ 13 h 16"/>
                <a:gd name="T6" fmla="*/ 7 w 23"/>
                <a:gd name="T7" fmla="*/ 13 h 16"/>
                <a:gd name="T8" fmla="*/ 7 w 23"/>
                <a:gd name="T9" fmla="*/ 16 h 16"/>
                <a:gd name="T10" fmla="*/ 10 w 23"/>
                <a:gd name="T11" fmla="*/ 16 h 16"/>
                <a:gd name="T12" fmla="*/ 12 w 23"/>
                <a:gd name="T13" fmla="*/ 13 h 16"/>
                <a:gd name="T14" fmla="*/ 15 w 23"/>
                <a:gd name="T15" fmla="*/ 11 h 16"/>
                <a:gd name="T16" fmla="*/ 17 w 23"/>
                <a:gd name="T17" fmla="*/ 11 h 16"/>
                <a:gd name="T18" fmla="*/ 20 w 23"/>
                <a:gd name="T19" fmla="*/ 8 h 16"/>
                <a:gd name="T20" fmla="*/ 23 w 23"/>
                <a:gd name="T21" fmla="*/ 6 h 16"/>
                <a:gd name="T22" fmla="*/ 23 w 23"/>
                <a:gd name="T23" fmla="*/ 6 h 16"/>
                <a:gd name="T24" fmla="*/ 23 w 23"/>
                <a:gd name="T25" fmla="*/ 0 h 16"/>
                <a:gd name="T26" fmla="*/ 23 w 23"/>
                <a:gd name="T27" fmla="*/ 0 h 16"/>
                <a:gd name="T28" fmla="*/ 23 w 23"/>
                <a:gd name="T29" fmla="*/ 0 h 16"/>
                <a:gd name="T30" fmla="*/ 15 w 23"/>
                <a:gd name="T31" fmla="*/ 3 h 16"/>
                <a:gd name="T32" fmla="*/ 10 w 23"/>
                <a:gd name="T33" fmla="*/ 8 h 16"/>
                <a:gd name="T34" fmla="*/ 5 w 23"/>
                <a:gd name="T35" fmla="*/ 8 h 16"/>
                <a:gd name="T36" fmla="*/ 2 w 23"/>
                <a:gd name="T37" fmla="*/ 11 h 16"/>
                <a:gd name="T38" fmla="*/ 2 w 23"/>
                <a:gd name="T39" fmla="*/ 13 h 16"/>
                <a:gd name="T40" fmla="*/ 0 w 23"/>
                <a:gd name="T41" fmla="*/ 16 h 16"/>
                <a:gd name="T42" fmla="*/ 0 w 23"/>
                <a:gd name="T43" fmla="*/ 16 h 16"/>
                <a:gd name="T44" fmla="*/ 0 w 23"/>
                <a:gd name="T45" fmla="*/ 16 h 16"/>
                <a:gd name="T46" fmla="*/ 2 w 23"/>
                <a:gd name="T47" fmla="*/ 13 h 16"/>
                <a:gd name="T48" fmla="*/ 7 w 23"/>
                <a:gd name="T49" fmla="*/ 13 h 16"/>
                <a:gd name="T50" fmla="*/ 7 w 23"/>
                <a:gd name="T51" fmla="*/ 13 h 16"/>
                <a:gd name="T52" fmla="*/ 10 w 23"/>
                <a:gd name="T53" fmla="*/ 11 h 16"/>
                <a:gd name="T54" fmla="*/ 7 w 23"/>
                <a:gd name="T55" fmla="*/ 13 h 16"/>
                <a:gd name="T56" fmla="*/ 7 w 23"/>
                <a:gd name="T57" fmla="*/ 13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3" h="16">
                  <a:moveTo>
                    <a:pt x="7" y="13"/>
                  </a:moveTo>
                  <a:lnTo>
                    <a:pt x="7" y="13"/>
                  </a:lnTo>
                  <a:lnTo>
                    <a:pt x="7" y="13"/>
                  </a:lnTo>
                  <a:lnTo>
                    <a:pt x="7" y="13"/>
                  </a:lnTo>
                  <a:lnTo>
                    <a:pt x="7" y="16"/>
                  </a:lnTo>
                  <a:lnTo>
                    <a:pt x="10" y="16"/>
                  </a:lnTo>
                  <a:lnTo>
                    <a:pt x="12" y="13"/>
                  </a:lnTo>
                  <a:lnTo>
                    <a:pt x="15" y="11"/>
                  </a:lnTo>
                  <a:lnTo>
                    <a:pt x="17" y="11"/>
                  </a:lnTo>
                  <a:lnTo>
                    <a:pt x="20" y="8"/>
                  </a:lnTo>
                  <a:lnTo>
                    <a:pt x="23" y="6"/>
                  </a:lnTo>
                  <a:lnTo>
                    <a:pt x="23" y="6"/>
                  </a:lnTo>
                  <a:lnTo>
                    <a:pt x="23" y="0"/>
                  </a:lnTo>
                  <a:lnTo>
                    <a:pt x="23" y="0"/>
                  </a:lnTo>
                  <a:lnTo>
                    <a:pt x="23" y="0"/>
                  </a:lnTo>
                  <a:lnTo>
                    <a:pt x="15" y="3"/>
                  </a:lnTo>
                  <a:lnTo>
                    <a:pt x="10" y="8"/>
                  </a:lnTo>
                  <a:lnTo>
                    <a:pt x="5" y="8"/>
                  </a:lnTo>
                  <a:lnTo>
                    <a:pt x="2" y="11"/>
                  </a:lnTo>
                  <a:lnTo>
                    <a:pt x="2" y="13"/>
                  </a:lnTo>
                  <a:lnTo>
                    <a:pt x="0" y="16"/>
                  </a:lnTo>
                  <a:lnTo>
                    <a:pt x="0" y="16"/>
                  </a:lnTo>
                  <a:lnTo>
                    <a:pt x="0" y="16"/>
                  </a:lnTo>
                  <a:lnTo>
                    <a:pt x="2" y="13"/>
                  </a:lnTo>
                  <a:lnTo>
                    <a:pt x="7" y="13"/>
                  </a:lnTo>
                  <a:lnTo>
                    <a:pt x="7" y="13"/>
                  </a:lnTo>
                  <a:lnTo>
                    <a:pt x="10" y="11"/>
                  </a:lnTo>
                  <a:lnTo>
                    <a:pt x="7" y="13"/>
                  </a:lnTo>
                  <a:lnTo>
                    <a:pt x="7" y="13"/>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38" name="Freeform 1656">
              <a:extLst>
                <a:ext uri="{FF2B5EF4-FFF2-40B4-BE49-F238E27FC236}">
                  <a16:creationId xmlns:a16="http://schemas.microsoft.com/office/drawing/2014/main" id="{3169DF75-6EBD-DE4C-A38C-A65BD855BCA9}"/>
                </a:ext>
              </a:extLst>
            </p:cNvPr>
            <p:cNvSpPr>
              <a:spLocks/>
            </p:cNvSpPr>
            <p:nvPr/>
          </p:nvSpPr>
          <p:spPr bwMode="auto">
            <a:xfrm>
              <a:off x="1177389" y="1228117"/>
              <a:ext cx="1184273" cy="554515"/>
            </a:xfrm>
            <a:custGeom>
              <a:avLst/>
              <a:gdLst>
                <a:gd name="T0" fmla="*/ 436 w 724"/>
                <a:gd name="T1" fmla="*/ 222 h 339"/>
                <a:gd name="T2" fmla="*/ 484 w 724"/>
                <a:gd name="T3" fmla="*/ 227 h 339"/>
                <a:gd name="T4" fmla="*/ 515 w 724"/>
                <a:gd name="T5" fmla="*/ 229 h 339"/>
                <a:gd name="T6" fmla="*/ 512 w 724"/>
                <a:gd name="T7" fmla="*/ 247 h 339"/>
                <a:gd name="T8" fmla="*/ 535 w 724"/>
                <a:gd name="T9" fmla="*/ 255 h 339"/>
                <a:gd name="T10" fmla="*/ 543 w 724"/>
                <a:gd name="T11" fmla="*/ 252 h 339"/>
                <a:gd name="T12" fmla="*/ 548 w 724"/>
                <a:gd name="T13" fmla="*/ 263 h 339"/>
                <a:gd name="T14" fmla="*/ 558 w 724"/>
                <a:gd name="T15" fmla="*/ 263 h 339"/>
                <a:gd name="T16" fmla="*/ 563 w 724"/>
                <a:gd name="T17" fmla="*/ 273 h 339"/>
                <a:gd name="T18" fmla="*/ 555 w 724"/>
                <a:gd name="T19" fmla="*/ 298 h 339"/>
                <a:gd name="T20" fmla="*/ 548 w 724"/>
                <a:gd name="T21" fmla="*/ 316 h 339"/>
                <a:gd name="T22" fmla="*/ 548 w 724"/>
                <a:gd name="T23" fmla="*/ 339 h 339"/>
                <a:gd name="T24" fmla="*/ 573 w 724"/>
                <a:gd name="T25" fmla="*/ 303 h 339"/>
                <a:gd name="T26" fmla="*/ 576 w 724"/>
                <a:gd name="T27" fmla="*/ 265 h 339"/>
                <a:gd name="T28" fmla="*/ 573 w 724"/>
                <a:gd name="T29" fmla="*/ 232 h 339"/>
                <a:gd name="T30" fmla="*/ 522 w 724"/>
                <a:gd name="T31" fmla="*/ 232 h 339"/>
                <a:gd name="T32" fmla="*/ 558 w 724"/>
                <a:gd name="T33" fmla="*/ 166 h 339"/>
                <a:gd name="T34" fmla="*/ 721 w 724"/>
                <a:gd name="T35" fmla="*/ 34 h 339"/>
                <a:gd name="T36" fmla="*/ 642 w 724"/>
                <a:gd name="T37" fmla="*/ 21 h 339"/>
                <a:gd name="T38" fmla="*/ 586 w 724"/>
                <a:gd name="T39" fmla="*/ 16 h 339"/>
                <a:gd name="T40" fmla="*/ 543 w 724"/>
                <a:gd name="T41" fmla="*/ 11 h 339"/>
                <a:gd name="T42" fmla="*/ 492 w 724"/>
                <a:gd name="T43" fmla="*/ 13 h 339"/>
                <a:gd name="T44" fmla="*/ 464 w 724"/>
                <a:gd name="T45" fmla="*/ 21 h 339"/>
                <a:gd name="T46" fmla="*/ 367 w 724"/>
                <a:gd name="T47" fmla="*/ 49 h 339"/>
                <a:gd name="T48" fmla="*/ 336 w 724"/>
                <a:gd name="T49" fmla="*/ 84 h 339"/>
                <a:gd name="T50" fmla="*/ 334 w 724"/>
                <a:gd name="T51" fmla="*/ 95 h 339"/>
                <a:gd name="T52" fmla="*/ 313 w 724"/>
                <a:gd name="T53" fmla="*/ 105 h 339"/>
                <a:gd name="T54" fmla="*/ 267 w 724"/>
                <a:gd name="T55" fmla="*/ 102 h 339"/>
                <a:gd name="T56" fmla="*/ 232 w 724"/>
                <a:gd name="T57" fmla="*/ 120 h 339"/>
                <a:gd name="T58" fmla="*/ 239 w 724"/>
                <a:gd name="T59" fmla="*/ 133 h 339"/>
                <a:gd name="T60" fmla="*/ 298 w 724"/>
                <a:gd name="T61" fmla="*/ 130 h 339"/>
                <a:gd name="T62" fmla="*/ 227 w 724"/>
                <a:gd name="T63" fmla="*/ 161 h 339"/>
                <a:gd name="T64" fmla="*/ 183 w 724"/>
                <a:gd name="T65" fmla="*/ 168 h 339"/>
                <a:gd name="T66" fmla="*/ 137 w 724"/>
                <a:gd name="T67" fmla="*/ 191 h 339"/>
                <a:gd name="T68" fmla="*/ 135 w 724"/>
                <a:gd name="T69" fmla="*/ 201 h 339"/>
                <a:gd name="T70" fmla="*/ 143 w 724"/>
                <a:gd name="T71" fmla="*/ 212 h 339"/>
                <a:gd name="T72" fmla="*/ 117 w 724"/>
                <a:gd name="T73" fmla="*/ 229 h 339"/>
                <a:gd name="T74" fmla="*/ 145 w 724"/>
                <a:gd name="T75" fmla="*/ 232 h 339"/>
                <a:gd name="T76" fmla="*/ 150 w 724"/>
                <a:gd name="T77" fmla="*/ 247 h 339"/>
                <a:gd name="T78" fmla="*/ 186 w 724"/>
                <a:gd name="T79" fmla="*/ 247 h 339"/>
                <a:gd name="T80" fmla="*/ 176 w 724"/>
                <a:gd name="T81" fmla="*/ 265 h 339"/>
                <a:gd name="T82" fmla="*/ 127 w 724"/>
                <a:gd name="T83" fmla="*/ 291 h 339"/>
                <a:gd name="T84" fmla="*/ 71 w 724"/>
                <a:gd name="T85" fmla="*/ 316 h 339"/>
                <a:gd name="T86" fmla="*/ 23 w 724"/>
                <a:gd name="T87" fmla="*/ 326 h 339"/>
                <a:gd name="T88" fmla="*/ 15 w 724"/>
                <a:gd name="T89" fmla="*/ 331 h 339"/>
                <a:gd name="T90" fmla="*/ 53 w 724"/>
                <a:gd name="T91" fmla="*/ 321 h 339"/>
                <a:gd name="T92" fmla="*/ 76 w 724"/>
                <a:gd name="T93" fmla="*/ 316 h 339"/>
                <a:gd name="T94" fmla="*/ 117 w 724"/>
                <a:gd name="T95" fmla="*/ 308 h 339"/>
                <a:gd name="T96" fmla="*/ 143 w 724"/>
                <a:gd name="T97" fmla="*/ 296 h 339"/>
                <a:gd name="T98" fmla="*/ 183 w 724"/>
                <a:gd name="T99" fmla="*/ 280 h 339"/>
                <a:gd name="T100" fmla="*/ 239 w 724"/>
                <a:gd name="T101" fmla="*/ 263 h 339"/>
                <a:gd name="T102" fmla="*/ 278 w 724"/>
                <a:gd name="T103" fmla="*/ 235 h 339"/>
                <a:gd name="T104" fmla="*/ 303 w 724"/>
                <a:gd name="T105" fmla="*/ 222 h 339"/>
                <a:gd name="T106" fmla="*/ 369 w 724"/>
                <a:gd name="T107" fmla="*/ 199 h 339"/>
                <a:gd name="T108" fmla="*/ 380 w 724"/>
                <a:gd name="T109" fmla="*/ 209 h 339"/>
                <a:gd name="T110" fmla="*/ 313 w 724"/>
                <a:gd name="T111" fmla="*/ 235 h 339"/>
                <a:gd name="T112" fmla="*/ 311 w 724"/>
                <a:gd name="T113" fmla="*/ 242 h 339"/>
                <a:gd name="T114" fmla="*/ 346 w 724"/>
                <a:gd name="T115" fmla="*/ 232 h 339"/>
                <a:gd name="T116" fmla="*/ 380 w 724"/>
                <a:gd name="T117" fmla="*/ 222 h 339"/>
                <a:gd name="T118" fmla="*/ 387 w 724"/>
                <a:gd name="T119" fmla="*/ 212 h 339"/>
                <a:gd name="T120" fmla="*/ 402 w 724"/>
                <a:gd name="T121" fmla="*/ 209 h 339"/>
                <a:gd name="T122" fmla="*/ 423 w 724"/>
                <a:gd name="T123" fmla="*/ 209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24" h="339">
                  <a:moveTo>
                    <a:pt x="423" y="212"/>
                  </a:moveTo>
                  <a:lnTo>
                    <a:pt x="423" y="212"/>
                  </a:lnTo>
                  <a:lnTo>
                    <a:pt x="423" y="212"/>
                  </a:lnTo>
                  <a:lnTo>
                    <a:pt x="423" y="212"/>
                  </a:lnTo>
                  <a:lnTo>
                    <a:pt x="423" y="214"/>
                  </a:lnTo>
                  <a:lnTo>
                    <a:pt x="431" y="214"/>
                  </a:lnTo>
                  <a:lnTo>
                    <a:pt x="428" y="214"/>
                  </a:lnTo>
                  <a:lnTo>
                    <a:pt x="425" y="217"/>
                  </a:lnTo>
                  <a:lnTo>
                    <a:pt x="425" y="217"/>
                  </a:lnTo>
                  <a:lnTo>
                    <a:pt x="423" y="217"/>
                  </a:lnTo>
                  <a:lnTo>
                    <a:pt x="423" y="217"/>
                  </a:lnTo>
                  <a:lnTo>
                    <a:pt x="425" y="217"/>
                  </a:lnTo>
                  <a:lnTo>
                    <a:pt x="425" y="219"/>
                  </a:lnTo>
                  <a:lnTo>
                    <a:pt x="428" y="219"/>
                  </a:lnTo>
                  <a:lnTo>
                    <a:pt x="431" y="219"/>
                  </a:lnTo>
                  <a:lnTo>
                    <a:pt x="433" y="219"/>
                  </a:lnTo>
                  <a:lnTo>
                    <a:pt x="436" y="217"/>
                  </a:lnTo>
                  <a:lnTo>
                    <a:pt x="438" y="217"/>
                  </a:lnTo>
                  <a:lnTo>
                    <a:pt x="441" y="214"/>
                  </a:lnTo>
                  <a:lnTo>
                    <a:pt x="446" y="214"/>
                  </a:lnTo>
                  <a:lnTo>
                    <a:pt x="446" y="214"/>
                  </a:lnTo>
                  <a:lnTo>
                    <a:pt x="443" y="214"/>
                  </a:lnTo>
                  <a:lnTo>
                    <a:pt x="441" y="217"/>
                  </a:lnTo>
                  <a:lnTo>
                    <a:pt x="438" y="217"/>
                  </a:lnTo>
                  <a:lnTo>
                    <a:pt x="436" y="219"/>
                  </a:lnTo>
                  <a:lnTo>
                    <a:pt x="436" y="222"/>
                  </a:lnTo>
                  <a:lnTo>
                    <a:pt x="436" y="222"/>
                  </a:lnTo>
                  <a:lnTo>
                    <a:pt x="436" y="222"/>
                  </a:lnTo>
                  <a:lnTo>
                    <a:pt x="436" y="222"/>
                  </a:lnTo>
                  <a:lnTo>
                    <a:pt x="438" y="222"/>
                  </a:lnTo>
                  <a:lnTo>
                    <a:pt x="441" y="224"/>
                  </a:lnTo>
                  <a:lnTo>
                    <a:pt x="441" y="224"/>
                  </a:lnTo>
                  <a:lnTo>
                    <a:pt x="441" y="224"/>
                  </a:lnTo>
                  <a:lnTo>
                    <a:pt x="441" y="227"/>
                  </a:lnTo>
                  <a:lnTo>
                    <a:pt x="441" y="227"/>
                  </a:lnTo>
                  <a:lnTo>
                    <a:pt x="438" y="227"/>
                  </a:lnTo>
                  <a:lnTo>
                    <a:pt x="441" y="227"/>
                  </a:lnTo>
                  <a:lnTo>
                    <a:pt x="446" y="227"/>
                  </a:lnTo>
                  <a:lnTo>
                    <a:pt x="451" y="227"/>
                  </a:lnTo>
                  <a:lnTo>
                    <a:pt x="461" y="224"/>
                  </a:lnTo>
                  <a:lnTo>
                    <a:pt x="466" y="224"/>
                  </a:lnTo>
                  <a:lnTo>
                    <a:pt x="471" y="227"/>
                  </a:lnTo>
                  <a:lnTo>
                    <a:pt x="479" y="227"/>
                  </a:lnTo>
                  <a:lnTo>
                    <a:pt x="482" y="227"/>
                  </a:lnTo>
                  <a:lnTo>
                    <a:pt x="482" y="227"/>
                  </a:lnTo>
                  <a:lnTo>
                    <a:pt x="484" y="227"/>
                  </a:lnTo>
                  <a:lnTo>
                    <a:pt x="484" y="224"/>
                  </a:lnTo>
                  <a:lnTo>
                    <a:pt x="484" y="224"/>
                  </a:lnTo>
                  <a:lnTo>
                    <a:pt x="487" y="224"/>
                  </a:lnTo>
                  <a:lnTo>
                    <a:pt x="487" y="224"/>
                  </a:lnTo>
                  <a:lnTo>
                    <a:pt x="487" y="224"/>
                  </a:lnTo>
                  <a:lnTo>
                    <a:pt x="484" y="227"/>
                  </a:lnTo>
                  <a:lnTo>
                    <a:pt x="484" y="227"/>
                  </a:lnTo>
                  <a:lnTo>
                    <a:pt x="482" y="229"/>
                  </a:lnTo>
                  <a:lnTo>
                    <a:pt x="482" y="229"/>
                  </a:lnTo>
                  <a:lnTo>
                    <a:pt x="487" y="232"/>
                  </a:lnTo>
                  <a:lnTo>
                    <a:pt x="489" y="232"/>
                  </a:lnTo>
                  <a:lnTo>
                    <a:pt x="492" y="232"/>
                  </a:lnTo>
                  <a:lnTo>
                    <a:pt x="497" y="232"/>
                  </a:lnTo>
                  <a:lnTo>
                    <a:pt x="502" y="232"/>
                  </a:lnTo>
                  <a:lnTo>
                    <a:pt x="504" y="229"/>
                  </a:lnTo>
                  <a:lnTo>
                    <a:pt x="512" y="227"/>
                  </a:lnTo>
                  <a:lnTo>
                    <a:pt x="515" y="227"/>
                  </a:lnTo>
                  <a:lnTo>
                    <a:pt x="515" y="227"/>
                  </a:lnTo>
                  <a:lnTo>
                    <a:pt x="515" y="227"/>
                  </a:lnTo>
                  <a:lnTo>
                    <a:pt x="515" y="229"/>
                  </a:lnTo>
                  <a:lnTo>
                    <a:pt x="517" y="229"/>
                  </a:lnTo>
                  <a:lnTo>
                    <a:pt x="517" y="232"/>
                  </a:lnTo>
                  <a:lnTo>
                    <a:pt x="515" y="229"/>
                  </a:lnTo>
                  <a:lnTo>
                    <a:pt x="515" y="232"/>
                  </a:lnTo>
                  <a:lnTo>
                    <a:pt x="512" y="232"/>
                  </a:lnTo>
                  <a:lnTo>
                    <a:pt x="512" y="232"/>
                  </a:lnTo>
                  <a:lnTo>
                    <a:pt x="510" y="235"/>
                  </a:lnTo>
                  <a:lnTo>
                    <a:pt x="510" y="235"/>
                  </a:lnTo>
                  <a:lnTo>
                    <a:pt x="507" y="235"/>
                  </a:lnTo>
                  <a:lnTo>
                    <a:pt x="510" y="232"/>
                  </a:lnTo>
                  <a:lnTo>
                    <a:pt x="512" y="229"/>
                  </a:lnTo>
                  <a:lnTo>
                    <a:pt x="515" y="229"/>
                  </a:lnTo>
                  <a:lnTo>
                    <a:pt x="512" y="227"/>
                  </a:lnTo>
                  <a:lnTo>
                    <a:pt x="512" y="227"/>
                  </a:lnTo>
                  <a:lnTo>
                    <a:pt x="512" y="227"/>
                  </a:lnTo>
                  <a:lnTo>
                    <a:pt x="512" y="229"/>
                  </a:lnTo>
                  <a:lnTo>
                    <a:pt x="510" y="229"/>
                  </a:lnTo>
                  <a:lnTo>
                    <a:pt x="510" y="229"/>
                  </a:lnTo>
                  <a:lnTo>
                    <a:pt x="510" y="229"/>
                  </a:lnTo>
                  <a:lnTo>
                    <a:pt x="507" y="232"/>
                  </a:lnTo>
                  <a:lnTo>
                    <a:pt x="507" y="232"/>
                  </a:lnTo>
                  <a:lnTo>
                    <a:pt x="507" y="235"/>
                  </a:lnTo>
                  <a:lnTo>
                    <a:pt x="502" y="235"/>
                  </a:lnTo>
                  <a:lnTo>
                    <a:pt x="502" y="235"/>
                  </a:lnTo>
                  <a:lnTo>
                    <a:pt x="499" y="237"/>
                  </a:lnTo>
                  <a:lnTo>
                    <a:pt x="499" y="237"/>
                  </a:lnTo>
                  <a:lnTo>
                    <a:pt x="499" y="237"/>
                  </a:lnTo>
                  <a:lnTo>
                    <a:pt x="499" y="237"/>
                  </a:lnTo>
                  <a:lnTo>
                    <a:pt x="499" y="240"/>
                  </a:lnTo>
                  <a:lnTo>
                    <a:pt x="502" y="240"/>
                  </a:lnTo>
                  <a:lnTo>
                    <a:pt x="507" y="242"/>
                  </a:lnTo>
                  <a:lnTo>
                    <a:pt x="507" y="245"/>
                  </a:lnTo>
                  <a:lnTo>
                    <a:pt x="510" y="245"/>
                  </a:lnTo>
                  <a:lnTo>
                    <a:pt x="510" y="245"/>
                  </a:lnTo>
                  <a:lnTo>
                    <a:pt x="510" y="245"/>
                  </a:lnTo>
                  <a:lnTo>
                    <a:pt x="510" y="245"/>
                  </a:lnTo>
                  <a:lnTo>
                    <a:pt x="510" y="245"/>
                  </a:lnTo>
                  <a:lnTo>
                    <a:pt x="512" y="247"/>
                  </a:lnTo>
                  <a:lnTo>
                    <a:pt x="512" y="247"/>
                  </a:lnTo>
                  <a:lnTo>
                    <a:pt x="512" y="250"/>
                  </a:lnTo>
                  <a:lnTo>
                    <a:pt x="512" y="250"/>
                  </a:lnTo>
                  <a:lnTo>
                    <a:pt x="512" y="252"/>
                  </a:lnTo>
                  <a:lnTo>
                    <a:pt x="512" y="252"/>
                  </a:lnTo>
                  <a:lnTo>
                    <a:pt x="512" y="255"/>
                  </a:lnTo>
                  <a:lnTo>
                    <a:pt x="512" y="255"/>
                  </a:lnTo>
                  <a:lnTo>
                    <a:pt x="515" y="255"/>
                  </a:lnTo>
                  <a:lnTo>
                    <a:pt x="515" y="255"/>
                  </a:lnTo>
                  <a:lnTo>
                    <a:pt x="512" y="257"/>
                  </a:lnTo>
                  <a:lnTo>
                    <a:pt x="512" y="257"/>
                  </a:lnTo>
                  <a:lnTo>
                    <a:pt x="517" y="260"/>
                  </a:lnTo>
                  <a:lnTo>
                    <a:pt x="520" y="263"/>
                  </a:lnTo>
                  <a:lnTo>
                    <a:pt x="520" y="263"/>
                  </a:lnTo>
                  <a:lnTo>
                    <a:pt x="522" y="265"/>
                  </a:lnTo>
                  <a:lnTo>
                    <a:pt x="522" y="265"/>
                  </a:lnTo>
                  <a:lnTo>
                    <a:pt x="525" y="263"/>
                  </a:lnTo>
                  <a:lnTo>
                    <a:pt x="530" y="263"/>
                  </a:lnTo>
                  <a:lnTo>
                    <a:pt x="532" y="263"/>
                  </a:lnTo>
                  <a:lnTo>
                    <a:pt x="532" y="260"/>
                  </a:lnTo>
                  <a:lnTo>
                    <a:pt x="535" y="260"/>
                  </a:lnTo>
                  <a:lnTo>
                    <a:pt x="535" y="257"/>
                  </a:lnTo>
                  <a:lnTo>
                    <a:pt x="535" y="257"/>
                  </a:lnTo>
                  <a:lnTo>
                    <a:pt x="535" y="255"/>
                  </a:lnTo>
                  <a:lnTo>
                    <a:pt x="532" y="255"/>
                  </a:lnTo>
                  <a:lnTo>
                    <a:pt x="535" y="255"/>
                  </a:lnTo>
                  <a:lnTo>
                    <a:pt x="535" y="255"/>
                  </a:lnTo>
                  <a:lnTo>
                    <a:pt x="532" y="252"/>
                  </a:lnTo>
                  <a:lnTo>
                    <a:pt x="532" y="252"/>
                  </a:lnTo>
                  <a:lnTo>
                    <a:pt x="532" y="252"/>
                  </a:lnTo>
                  <a:lnTo>
                    <a:pt x="532" y="252"/>
                  </a:lnTo>
                  <a:lnTo>
                    <a:pt x="532" y="252"/>
                  </a:lnTo>
                  <a:lnTo>
                    <a:pt x="530" y="250"/>
                  </a:lnTo>
                  <a:lnTo>
                    <a:pt x="530" y="250"/>
                  </a:lnTo>
                  <a:lnTo>
                    <a:pt x="527" y="250"/>
                  </a:lnTo>
                  <a:lnTo>
                    <a:pt x="527" y="250"/>
                  </a:lnTo>
                  <a:lnTo>
                    <a:pt x="530" y="250"/>
                  </a:lnTo>
                  <a:lnTo>
                    <a:pt x="530" y="250"/>
                  </a:lnTo>
                  <a:lnTo>
                    <a:pt x="532" y="250"/>
                  </a:lnTo>
                  <a:lnTo>
                    <a:pt x="532" y="247"/>
                  </a:lnTo>
                  <a:lnTo>
                    <a:pt x="532" y="247"/>
                  </a:lnTo>
                  <a:lnTo>
                    <a:pt x="532" y="247"/>
                  </a:lnTo>
                  <a:lnTo>
                    <a:pt x="538" y="250"/>
                  </a:lnTo>
                  <a:lnTo>
                    <a:pt x="538" y="250"/>
                  </a:lnTo>
                  <a:lnTo>
                    <a:pt x="538" y="250"/>
                  </a:lnTo>
                  <a:lnTo>
                    <a:pt x="538" y="252"/>
                  </a:lnTo>
                  <a:lnTo>
                    <a:pt x="538" y="252"/>
                  </a:lnTo>
                  <a:lnTo>
                    <a:pt x="538" y="252"/>
                  </a:lnTo>
                  <a:lnTo>
                    <a:pt x="538" y="252"/>
                  </a:lnTo>
                  <a:lnTo>
                    <a:pt x="540" y="252"/>
                  </a:lnTo>
                  <a:lnTo>
                    <a:pt x="540" y="252"/>
                  </a:lnTo>
                  <a:lnTo>
                    <a:pt x="543" y="252"/>
                  </a:lnTo>
                  <a:lnTo>
                    <a:pt x="543" y="250"/>
                  </a:lnTo>
                  <a:lnTo>
                    <a:pt x="543" y="250"/>
                  </a:lnTo>
                  <a:lnTo>
                    <a:pt x="543" y="250"/>
                  </a:lnTo>
                  <a:lnTo>
                    <a:pt x="545" y="247"/>
                  </a:lnTo>
                  <a:lnTo>
                    <a:pt x="545" y="247"/>
                  </a:lnTo>
                  <a:lnTo>
                    <a:pt x="545" y="247"/>
                  </a:lnTo>
                  <a:lnTo>
                    <a:pt x="545" y="250"/>
                  </a:lnTo>
                  <a:lnTo>
                    <a:pt x="545" y="250"/>
                  </a:lnTo>
                  <a:lnTo>
                    <a:pt x="548" y="250"/>
                  </a:lnTo>
                  <a:lnTo>
                    <a:pt x="548" y="250"/>
                  </a:lnTo>
                  <a:lnTo>
                    <a:pt x="543" y="252"/>
                  </a:lnTo>
                  <a:lnTo>
                    <a:pt x="543" y="252"/>
                  </a:lnTo>
                  <a:lnTo>
                    <a:pt x="540" y="255"/>
                  </a:lnTo>
                  <a:lnTo>
                    <a:pt x="540" y="257"/>
                  </a:lnTo>
                  <a:lnTo>
                    <a:pt x="538" y="260"/>
                  </a:lnTo>
                  <a:lnTo>
                    <a:pt x="535" y="260"/>
                  </a:lnTo>
                  <a:lnTo>
                    <a:pt x="535" y="260"/>
                  </a:lnTo>
                  <a:lnTo>
                    <a:pt x="543" y="260"/>
                  </a:lnTo>
                  <a:lnTo>
                    <a:pt x="543" y="260"/>
                  </a:lnTo>
                  <a:lnTo>
                    <a:pt x="543" y="263"/>
                  </a:lnTo>
                  <a:lnTo>
                    <a:pt x="543" y="263"/>
                  </a:lnTo>
                  <a:lnTo>
                    <a:pt x="545" y="265"/>
                  </a:lnTo>
                  <a:lnTo>
                    <a:pt x="545" y="265"/>
                  </a:lnTo>
                  <a:lnTo>
                    <a:pt x="548" y="263"/>
                  </a:lnTo>
                  <a:lnTo>
                    <a:pt x="548" y="263"/>
                  </a:lnTo>
                  <a:lnTo>
                    <a:pt x="548" y="263"/>
                  </a:lnTo>
                  <a:lnTo>
                    <a:pt x="550" y="257"/>
                  </a:lnTo>
                  <a:lnTo>
                    <a:pt x="553" y="257"/>
                  </a:lnTo>
                  <a:lnTo>
                    <a:pt x="553" y="255"/>
                  </a:lnTo>
                  <a:lnTo>
                    <a:pt x="555" y="252"/>
                  </a:lnTo>
                  <a:lnTo>
                    <a:pt x="555" y="250"/>
                  </a:lnTo>
                  <a:lnTo>
                    <a:pt x="561" y="247"/>
                  </a:lnTo>
                  <a:lnTo>
                    <a:pt x="561" y="245"/>
                  </a:lnTo>
                  <a:lnTo>
                    <a:pt x="561" y="245"/>
                  </a:lnTo>
                  <a:lnTo>
                    <a:pt x="563" y="245"/>
                  </a:lnTo>
                  <a:lnTo>
                    <a:pt x="563" y="242"/>
                  </a:lnTo>
                  <a:lnTo>
                    <a:pt x="563" y="242"/>
                  </a:lnTo>
                  <a:lnTo>
                    <a:pt x="563" y="242"/>
                  </a:lnTo>
                  <a:lnTo>
                    <a:pt x="566" y="240"/>
                  </a:lnTo>
                  <a:lnTo>
                    <a:pt x="568" y="240"/>
                  </a:lnTo>
                  <a:lnTo>
                    <a:pt x="568" y="240"/>
                  </a:lnTo>
                  <a:lnTo>
                    <a:pt x="566" y="242"/>
                  </a:lnTo>
                  <a:lnTo>
                    <a:pt x="563" y="242"/>
                  </a:lnTo>
                  <a:lnTo>
                    <a:pt x="563" y="247"/>
                  </a:lnTo>
                  <a:lnTo>
                    <a:pt x="558" y="252"/>
                  </a:lnTo>
                  <a:lnTo>
                    <a:pt x="558" y="252"/>
                  </a:lnTo>
                  <a:lnTo>
                    <a:pt x="558" y="252"/>
                  </a:lnTo>
                  <a:lnTo>
                    <a:pt x="558" y="252"/>
                  </a:lnTo>
                  <a:lnTo>
                    <a:pt x="558" y="255"/>
                  </a:lnTo>
                  <a:lnTo>
                    <a:pt x="555" y="260"/>
                  </a:lnTo>
                  <a:lnTo>
                    <a:pt x="555" y="260"/>
                  </a:lnTo>
                  <a:lnTo>
                    <a:pt x="558" y="263"/>
                  </a:lnTo>
                  <a:lnTo>
                    <a:pt x="561" y="263"/>
                  </a:lnTo>
                  <a:lnTo>
                    <a:pt x="561" y="265"/>
                  </a:lnTo>
                  <a:lnTo>
                    <a:pt x="561" y="265"/>
                  </a:lnTo>
                  <a:lnTo>
                    <a:pt x="563" y="263"/>
                  </a:lnTo>
                  <a:lnTo>
                    <a:pt x="566" y="260"/>
                  </a:lnTo>
                  <a:lnTo>
                    <a:pt x="571" y="257"/>
                  </a:lnTo>
                  <a:lnTo>
                    <a:pt x="571" y="257"/>
                  </a:lnTo>
                  <a:lnTo>
                    <a:pt x="571" y="257"/>
                  </a:lnTo>
                  <a:lnTo>
                    <a:pt x="571" y="257"/>
                  </a:lnTo>
                  <a:lnTo>
                    <a:pt x="571" y="260"/>
                  </a:lnTo>
                  <a:lnTo>
                    <a:pt x="563" y="263"/>
                  </a:lnTo>
                  <a:lnTo>
                    <a:pt x="563" y="265"/>
                  </a:lnTo>
                  <a:lnTo>
                    <a:pt x="561" y="268"/>
                  </a:lnTo>
                  <a:lnTo>
                    <a:pt x="561" y="268"/>
                  </a:lnTo>
                  <a:lnTo>
                    <a:pt x="561" y="270"/>
                  </a:lnTo>
                  <a:lnTo>
                    <a:pt x="561" y="270"/>
                  </a:lnTo>
                  <a:lnTo>
                    <a:pt x="561" y="273"/>
                  </a:lnTo>
                  <a:lnTo>
                    <a:pt x="561" y="273"/>
                  </a:lnTo>
                  <a:lnTo>
                    <a:pt x="561" y="273"/>
                  </a:lnTo>
                  <a:lnTo>
                    <a:pt x="561" y="273"/>
                  </a:lnTo>
                  <a:lnTo>
                    <a:pt x="563" y="270"/>
                  </a:lnTo>
                  <a:lnTo>
                    <a:pt x="566" y="270"/>
                  </a:lnTo>
                  <a:lnTo>
                    <a:pt x="568" y="273"/>
                  </a:lnTo>
                  <a:lnTo>
                    <a:pt x="568" y="273"/>
                  </a:lnTo>
                  <a:lnTo>
                    <a:pt x="563" y="273"/>
                  </a:lnTo>
                  <a:lnTo>
                    <a:pt x="563" y="273"/>
                  </a:lnTo>
                  <a:lnTo>
                    <a:pt x="563" y="273"/>
                  </a:lnTo>
                  <a:lnTo>
                    <a:pt x="561" y="273"/>
                  </a:lnTo>
                  <a:lnTo>
                    <a:pt x="563" y="275"/>
                  </a:lnTo>
                  <a:lnTo>
                    <a:pt x="563" y="278"/>
                  </a:lnTo>
                  <a:lnTo>
                    <a:pt x="563" y="278"/>
                  </a:lnTo>
                  <a:lnTo>
                    <a:pt x="561" y="278"/>
                  </a:lnTo>
                  <a:lnTo>
                    <a:pt x="558" y="275"/>
                  </a:lnTo>
                  <a:lnTo>
                    <a:pt x="558" y="275"/>
                  </a:lnTo>
                  <a:lnTo>
                    <a:pt x="558" y="275"/>
                  </a:lnTo>
                  <a:lnTo>
                    <a:pt x="555" y="278"/>
                  </a:lnTo>
                  <a:lnTo>
                    <a:pt x="555" y="278"/>
                  </a:lnTo>
                  <a:lnTo>
                    <a:pt x="553" y="283"/>
                  </a:lnTo>
                  <a:lnTo>
                    <a:pt x="550" y="285"/>
                  </a:lnTo>
                  <a:lnTo>
                    <a:pt x="555" y="288"/>
                  </a:lnTo>
                  <a:lnTo>
                    <a:pt x="558" y="288"/>
                  </a:lnTo>
                  <a:lnTo>
                    <a:pt x="558" y="291"/>
                  </a:lnTo>
                  <a:lnTo>
                    <a:pt x="555" y="291"/>
                  </a:lnTo>
                  <a:lnTo>
                    <a:pt x="555" y="291"/>
                  </a:lnTo>
                  <a:lnTo>
                    <a:pt x="555" y="293"/>
                  </a:lnTo>
                  <a:lnTo>
                    <a:pt x="555" y="293"/>
                  </a:lnTo>
                  <a:lnTo>
                    <a:pt x="555" y="296"/>
                  </a:lnTo>
                  <a:lnTo>
                    <a:pt x="558" y="296"/>
                  </a:lnTo>
                  <a:lnTo>
                    <a:pt x="555" y="298"/>
                  </a:lnTo>
                  <a:lnTo>
                    <a:pt x="555" y="298"/>
                  </a:lnTo>
                  <a:lnTo>
                    <a:pt x="555" y="298"/>
                  </a:lnTo>
                  <a:lnTo>
                    <a:pt x="555" y="298"/>
                  </a:lnTo>
                  <a:lnTo>
                    <a:pt x="555" y="301"/>
                  </a:lnTo>
                  <a:lnTo>
                    <a:pt x="555" y="301"/>
                  </a:lnTo>
                  <a:lnTo>
                    <a:pt x="555" y="301"/>
                  </a:lnTo>
                  <a:lnTo>
                    <a:pt x="555" y="303"/>
                  </a:lnTo>
                  <a:lnTo>
                    <a:pt x="555" y="303"/>
                  </a:lnTo>
                  <a:lnTo>
                    <a:pt x="558" y="303"/>
                  </a:lnTo>
                  <a:lnTo>
                    <a:pt x="558" y="306"/>
                  </a:lnTo>
                  <a:lnTo>
                    <a:pt x="555" y="306"/>
                  </a:lnTo>
                  <a:lnTo>
                    <a:pt x="555" y="306"/>
                  </a:lnTo>
                  <a:lnTo>
                    <a:pt x="558" y="306"/>
                  </a:lnTo>
                  <a:lnTo>
                    <a:pt x="561" y="308"/>
                  </a:lnTo>
                  <a:lnTo>
                    <a:pt x="558" y="308"/>
                  </a:lnTo>
                  <a:lnTo>
                    <a:pt x="555" y="308"/>
                  </a:lnTo>
                  <a:lnTo>
                    <a:pt x="548" y="313"/>
                  </a:lnTo>
                  <a:lnTo>
                    <a:pt x="545" y="316"/>
                  </a:lnTo>
                  <a:lnTo>
                    <a:pt x="543" y="316"/>
                  </a:lnTo>
                  <a:lnTo>
                    <a:pt x="540" y="316"/>
                  </a:lnTo>
                  <a:lnTo>
                    <a:pt x="540" y="319"/>
                  </a:lnTo>
                  <a:lnTo>
                    <a:pt x="538" y="321"/>
                  </a:lnTo>
                  <a:lnTo>
                    <a:pt x="538" y="321"/>
                  </a:lnTo>
                  <a:lnTo>
                    <a:pt x="540" y="321"/>
                  </a:lnTo>
                  <a:lnTo>
                    <a:pt x="540" y="321"/>
                  </a:lnTo>
                  <a:lnTo>
                    <a:pt x="545" y="319"/>
                  </a:lnTo>
                  <a:lnTo>
                    <a:pt x="548" y="316"/>
                  </a:lnTo>
                  <a:lnTo>
                    <a:pt x="548" y="316"/>
                  </a:lnTo>
                  <a:lnTo>
                    <a:pt x="548" y="316"/>
                  </a:lnTo>
                  <a:lnTo>
                    <a:pt x="550" y="316"/>
                  </a:lnTo>
                  <a:lnTo>
                    <a:pt x="550" y="313"/>
                  </a:lnTo>
                  <a:lnTo>
                    <a:pt x="550" y="313"/>
                  </a:lnTo>
                  <a:lnTo>
                    <a:pt x="555" y="313"/>
                  </a:lnTo>
                  <a:lnTo>
                    <a:pt x="561" y="311"/>
                  </a:lnTo>
                  <a:lnTo>
                    <a:pt x="568" y="311"/>
                  </a:lnTo>
                  <a:lnTo>
                    <a:pt x="566" y="311"/>
                  </a:lnTo>
                  <a:lnTo>
                    <a:pt x="563" y="311"/>
                  </a:lnTo>
                  <a:lnTo>
                    <a:pt x="563" y="313"/>
                  </a:lnTo>
                  <a:lnTo>
                    <a:pt x="563" y="316"/>
                  </a:lnTo>
                  <a:lnTo>
                    <a:pt x="563" y="316"/>
                  </a:lnTo>
                  <a:lnTo>
                    <a:pt x="561" y="319"/>
                  </a:lnTo>
                  <a:lnTo>
                    <a:pt x="558" y="321"/>
                  </a:lnTo>
                  <a:lnTo>
                    <a:pt x="558" y="324"/>
                  </a:lnTo>
                  <a:lnTo>
                    <a:pt x="555" y="326"/>
                  </a:lnTo>
                  <a:lnTo>
                    <a:pt x="555" y="326"/>
                  </a:lnTo>
                  <a:lnTo>
                    <a:pt x="555" y="326"/>
                  </a:lnTo>
                  <a:lnTo>
                    <a:pt x="555" y="326"/>
                  </a:lnTo>
                  <a:lnTo>
                    <a:pt x="550" y="329"/>
                  </a:lnTo>
                  <a:lnTo>
                    <a:pt x="548" y="329"/>
                  </a:lnTo>
                  <a:lnTo>
                    <a:pt x="548" y="329"/>
                  </a:lnTo>
                  <a:lnTo>
                    <a:pt x="548" y="331"/>
                  </a:lnTo>
                  <a:lnTo>
                    <a:pt x="545" y="334"/>
                  </a:lnTo>
                  <a:lnTo>
                    <a:pt x="545" y="336"/>
                  </a:lnTo>
                  <a:lnTo>
                    <a:pt x="548" y="336"/>
                  </a:lnTo>
                  <a:lnTo>
                    <a:pt x="548" y="339"/>
                  </a:lnTo>
                  <a:lnTo>
                    <a:pt x="550" y="336"/>
                  </a:lnTo>
                  <a:lnTo>
                    <a:pt x="555" y="334"/>
                  </a:lnTo>
                  <a:lnTo>
                    <a:pt x="561" y="331"/>
                  </a:lnTo>
                  <a:lnTo>
                    <a:pt x="561" y="331"/>
                  </a:lnTo>
                  <a:lnTo>
                    <a:pt x="563" y="329"/>
                  </a:lnTo>
                  <a:lnTo>
                    <a:pt x="568" y="326"/>
                  </a:lnTo>
                  <a:lnTo>
                    <a:pt x="568" y="326"/>
                  </a:lnTo>
                  <a:lnTo>
                    <a:pt x="571" y="324"/>
                  </a:lnTo>
                  <a:lnTo>
                    <a:pt x="571" y="321"/>
                  </a:lnTo>
                  <a:lnTo>
                    <a:pt x="573" y="321"/>
                  </a:lnTo>
                  <a:lnTo>
                    <a:pt x="573" y="319"/>
                  </a:lnTo>
                  <a:lnTo>
                    <a:pt x="576" y="319"/>
                  </a:lnTo>
                  <a:lnTo>
                    <a:pt x="576" y="316"/>
                  </a:lnTo>
                  <a:lnTo>
                    <a:pt x="578" y="316"/>
                  </a:lnTo>
                  <a:lnTo>
                    <a:pt x="581" y="313"/>
                  </a:lnTo>
                  <a:lnTo>
                    <a:pt x="581" y="313"/>
                  </a:lnTo>
                  <a:lnTo>
                    <a:pt x="583" y="311"/>
                  </a:lnTo>
                  <a:lnTo>
                    <a:pt x="583" y="311"/>
                  </a:lnTo>
                  <a:lnTo>
                    <a:pt x="583" y="308"/>
                  </a:lnTo>
                  <a:lnTo>
                    <a:pt x="581" y="311"/>
                  </a:lnTo>
                  <a:lnTo>
                    <a:pt x="578" y="308"/>
                  </a:lnTo>
                  <a:lnTo>
                    <a:pt x="578" y="306"/>
                  </a:lnTo>
                  <a:lnTo>
                    <a:pt x="578" y="306"/>
                  </a:lnTo>
                  <a:lnTo>
                    <a:pt x="578" y="303"/>
                  </a:lnTo>
                  <a:lnTo>
                    <a:pt x="576" y="303"/>
                  </a:lnTo>
                  <a:lnTo>
                    <a:pt x="573" y="303"/>
                  </a:lnTo>
                  <a:lnTo>
                    <a:pt x="573" y="301"/>
                  </a:lnTo>
                  <a:lnTo>
                    <a:pt x="571" y="301"/>
                  </a:lnTo>
                  <a:lnTo>
                    <a:pt x="571" y="301"/>
                  </a:lnTo>
                  <a:lnTo>
                    <a:pt x="568" y="298"/>
                  </a:lnTo>
                  <a:lnTo>
                    <a:pt x="568" y="298"/>
                  </a:lnTo>
                  <a:lnTo>
                    <a:pt x="566" y="298"/>
                  </a:lnTo>
                  <a:lnTo>
                    <a:pt x="566" y="298"/>
                  </a:lnTo>
                  <a:lnTo>
                    <a:pt x="566" y="296"/>
                  </a:lnTo>
                  <a:lnTo>
                    <a:pt x="568" y="296"/>
                  </a:lnTo>
                  <a:lnTo>
                    <a:pt x="568" y="293"/>
                  </a:lnTo>
                  <a:lnTo>
                    <a:pt x="566" y="293"/>
                  </a:lnTo>
                  <a:lnTo>
                    <a:pt x="568" y="291"/>
                  </a:lnTo>
                  <a:lnTo>
                    <a:pt x="571" y="291"/>
                  </a:lnTo>
                  <a:lnTo>
                    <a:pt x="568" y="288"/>
                  </a:lnTo>
                  <a:lnTo>
                    <a:pt x="566" y="288"/>
                  </a:lnTo>
                  <a:lnTo>
                    <a:pt x="568" y="288"/>
                  </a:lnTo>
                  <a:lnTo>
                    <a:pt x="571" y="285"/>
                  </a:lnTo>
                  <a:lnTo>
                    <a:pt x="571" y="285"/>
                  </a:lnTo>
                  <a:lnTo>
                    <a:pt x="571" y="280"/>
                  </a:lnTo>
                  <a:lnTo>
                    <a:pt x="571" y="280"/>
                  </a:lnTo>
                  <a:lnTo>
                    <a:pt x="573" y="278"/>
                  </a:lnTo>
                  <a:lnTo>
                    <a:pt x="573" y="273"/>
                  </a:lnTo>
                  <a:lnTo>
                    <a:pt x="573" y="273"/>
                  </a:lnTo>
                  <a:lnTo>
                    <a:pt x="573" y="270"/>
                  </a:lnTo>
                  <a:lnTo>
                    <a:pt x="573" y="268"/>
                  </a:lnTo>
                  <a:lnTo>
                    <a:pt x="576" y="265"/>
                  </a:lnTo>
                  <a:lnTo>
                    <a:pt x="576" y="263"/>
                  </a:lnTo>
                  <a:lnTo>
                    <a:pt x="576" y="260"/>
                  </a:lnTo>
                  <a:lnTo>
                    <a:pt x="576" y="257"/>
                  </a:lnTo>
                  <a:lnTo>
                    <a:pt x="576" y="257"/>
                  </a:lnTo>
                  <a:lnTo>
                    <a:pt x="576" y="255"/>
                  </a:lnTo>
                  <a:lnTo>
                    <a:pt x="576" y="252"/>
                  </a:lnTo>
                  <a:lnTo>
                    <a:pt x="573" y="252"/>
                  </a:lnTo>
                  <a:lnTo>
                    <a:pt x="573" y="252"/>
                  </a:lnTo>
                  <a:lnTo>
                    <a:pt x="573" y="250"/>
                  </a:lnTo>
                  <a:lnTo>
                    <a:pt x="573" y="250"/>
                  </a:lnTo>
                  <a:lnTo>
                    <a:pt x="573" y="250"/>
                  </a:lnTo>
                  <a:lnTo>
                    <a:pt x="573" y="247"/>
                  </a:lnTo>
                  <a:lnTo>
                    <a:pt x="573" y="247"/>
                  </a:lnTo>
                  <a:lnTo>
                    <a:pt x="576" y="247"/>
                  </a:lnTo>
                  <a:lnTo>
                    <a:pt x="573" y="245"/>
                  </a:lnTo>
                  <a:lnTo>
                    <a:pt x="573" y="245"/>
                  </a:lnTo>
                  <a:lnTo>
                    <a:pt x="573" y="242"/>
                  </a:lnTo>
                  <a:lnTo>
                    <a:pt x="571" y="242"/>
                  </a:lnTo>
                  <a:lnTo>
                    <a:pt x="571" y="242"/>
                  </a:lnTo>
                  <a:lnTo>
                    <a:pt x="573" y="240"/>
                  </a:lnTo>
                  <a:lnTo>
                    <a:pt x="573" y="237"/>
                  </a:lnTo>
                  <a:lnTo>
                    <a:pt x="576" y="237"/>
                  </a:lnTo>
                  <a:lnTo>
                    <a:pt x="576" y="237"/>
                  </a:lnTo>
                  <a:lnTo>
                    <a:pt x="576" y="235"/>
                  </a:lnTo>
                  <a:lnTo>
                    <a:pt x="573" y="232"/>
                  </a:lnTo>
                  <a:lnTo>
                    <a:pt x="573" y="232"/>
                  </a:lnTo>
                  <a:lnTo>
                    <a:pt x="568" y="232"/>
                  </a:lnTo>
                  <a:lnTo>
                    <a:pt x="563" y="235"/>
                  </a:lnTo>
                  <a:lnTo>
                    <a:pt x="561" y="235"/>
                  </a:lnTo>
                  <a:lnTo>
                    <a:pt x="555" y="235"/>
                  </a:lnTo>
                  <a:lnTo>
                    <a:pt x="555" y="237"/>
                  </a:lnTo>
                  <a:lnTo>
                    <a:pt x="553" y="237"/>
                  </a:lnTo>
                  <a:lnTo>
                    <a:pt x="553" y="240"/>
                  </a:lnTo>
                  <a:lnTo>
                    <a:pt x="550" y="240"/>
                  </a:lnTo>
                  <a:lnTo>
                    <a:pt x="545" y="242"/>
                  </a:lnTo>
                  <a:lnTo>
                    <a:pt x="543" y="245"/>
                  </a:lnTo>
                  <a:lnTo>
                    <a:pt x="538" y="245"/>
                  </a:lnTo>
                  <a:lnTo>
                    <a:pt x="535" y="245"/>
                  </a:lnTo>
                  <a:lnTo>
                    <a:pt x="530" y="247"/>
                  </a:lnTo>
                  <a:lnTo>
                    <a:pt x="527" y="247"/>
                  </a:lnTo>
                  <a:lnTo>
                    <a:pt x="522" y="250"/>
                  </a:lnTo>
                  <a:lnTo>
                    <a:pt x="520" y="250"/>
                  </a:lnTo>
                  <a:lnTo>
                    <a:pt x="522" y="247"/>
                  </a:lnTo>
                  <a:lnTo>
                    <a:pt x="525" y="245"/>
                  </a:lnTo>
                  <a:lnTo>
                    <a:pt x="527" y="242"/>
                  </a:lnTo>
                  <a:lnTo>
                    <a:pt x="527" y="242"/>
                  </a:lnTo>
                  <a:lnTo>
                    <a:pt x="525" y="240"/>
                  </a:lnTo>
                  <a:lnTo>
                    <a:pt x="525" y="240"/>
                  </a:lnTo>
                  <a:lnTo>
                    <a:pt x="525" y="237"/>
                  </a:lnTo>
                  <a:lnTo>
                    <a:pt x="525" y="235"/>
                  </a:lnTo>
                  <a:lnTo>
                    <a:pt x="522" y="235"/>
                  </a:lnTo>
                  <a:lnTo>
                    <a:pt x="522" y="232"/>
                  </a:lnTo>
                  <a:lnTo>
                    <a:pt x="525" y="229"/>
                  </a:lnTo>
                  <a:lnTo>
                    <a:pt x="522" y="229"/>
                  </a:lnTo>
                  <a:lnTo>
                    <a:pt x="520" y="227"/>
                  </a:lnTo>
                  <a:lnTo>
                    <a:pt x="520" y="224"/>
                  </a:lnTo>
                  <a:lnTo>
                    <a:pt x="522" y="224"/>
                  </a:lnTo>
                  <a:lnTo>
                    <a:pt x="527" y="222"/>
                  </a:lnTo>
                  <a:lnTo>
                    <a:pt x="527" y="219"/>
                  </a:lnTo>
                  <a:lnTo>
                    <a:pt x="525" y="219"/>
                  </a:lnTo>
                  <a:lnTo>
                    <a:pt x="522" y="219"/>
                  </a:lnTo>
                  <a:lnTo>
                    <a:pt x="517" y="219"/>
                  </a:lnTo>
                  <a:lnTo>
                    <a:pt x="515" y="222"/>
                  </a:lnTo>
                  <a:lnTo>
                    <a:pt x="510" y="224"/>
                  </a:lnTo>
                  <a:lnTo>
                    <a:pt x="507" y="222"/>
                  </a:lnTo>
                  <a:lnTo>
                    <a:pt x="504" y="222"/>
                  </a:lnTo>
                  <a:lnTo>
                    <a:pt x="502" y="222"/>
                  </a:lnTo>
                  <a:lnTo>
                    <a:pt x="499" y="222"/>
                  </a:lnTo>
                  <a:lnTo>
                    <a:pt x="497" y="222"/>
                  </a:lnTo>
                  <a:lnTo>
                    <a:pt x="502" y="214"/>
                  </a:lnTo>
                  <a:lnTo>
                    <a:pt x="510" y="209"/>
                  </a:lnTo>
                  <a:lnTo>
                    <a:pt x="517" y="204"/>
                  </a:lnTo>
                  <a:lnTo>
                    <a:pt x="525" y="196"/>
                  </a:lnTo>
                  <a:lnTo>
                    <a:pt x="530" y="191"/>
                  </a:lnTo>
                  <a:lnTo>
                    <a:pt x="538" y="184"/>
                  </a:lnTo>
                  <a:lnTo>
                    <a:pt x="545" y="179"/>
                  </a:lnTo>
                  <a:lnTo>
                    <a:pt x="550" y="173"/>
                  </a:lnTo>
                  <a:lnTo>
                    <a:pt x="558" y="166"/>
                  </a:lnTo>
                  <a:lnTo>
                    <a:pt x="566" y="161"/>
                  </a:lnTo>
                  <a:lnTo>
                    <a:pt x="573" y="156"/>
                  </a:lnTo>
                  <a:lnTo>
                    <a:pt x="578" y="148"/>
                  </a:lnTo>
                  <a:lnTo>
                    <a:pt x="586" y="143"/>
                  </a:lnTo>
                  <a:lnTo>
                    <a:pt x="594" y="138"/>
                  </a:lnTo>
                  <a:lnTo>
                    <a:pt x="601" y="130"/>
                  </a:lnTo>
                  <a:lnTo>
                    <a:pt x="606" y="125"/>
                  </a:lnTo>
                  <a:lnTo>
                    <a:pt x="614" y="120"/>
                  </a:lnTo>
                  <a:lnTo>
                    <a:pt x="622" y="115"/>
                  </a:lnTo>
                  <a:lnTo>
                    <a:pt x="629" y="107"/>
                  </a:lnTo>
                  <a:lnTo>
                    <a:pt x="637" y="102"/>
                  </a:lnTo>
                  <a:lnTo>
                    <a:pt x="645" y="97"/>
                  </a:lnTo>
                  <a:lnTo>
                    <a:pt x="650" y="92"/>
                  </a:lnTo>
                  <a:lnTo>
                    <a:pt x="657" y="84"/>
                  </a:lnTo>
                  <a:lnTo>
                    <a:pt x="665" y="79"/>
                  </a:lnTo>
                  <a:lnTo>
                    <a:pt x="673" y="74"/>
                  </a:lnTo>
                  <a:lnTo>
                    <a:pt x="680" y="69"/>
                  </a:lnTo>
                  <a:lnTo>
                    <a:pt x="688" y="62"/>
                  </a:lnTo>
                  <a:lnTo>
                    <a:pt x="696" y="56"/>
                  </a:lnTo>
                  <a:lnTo>
                    <a:pt x="703" y="51"/>
                  </a:lnTo>
                  <a:lnTo>
                    <a:pt x="711" y="46"/>
                  </a:lnTo>
                  <a:lnTo>
                    <a:pt x="719" y="39"/>
                  </a:lnTo>
                  <a:lnTo>
                    <a:pt x="724" y="34"/>
                  </a:lnTo>
                  <a:lnTo>
                    <a:pt x="724" y="34"/>
                  </a:lnTo>
                  <a:lnTo>
                    <a:pt x="721" y="34"/>
                  </a:lnTo>
                  <a:lnTo>
                    <a:pt x="721" y="34"/>
                  </a:lnTo>
                  <a:lnTo>
                    <a:pt x="719" y="34"/>
                  </a:lnTo>
                  <a:lnTo>
                    <a:pt x="719" y="34"/>
                  </a:lnTo>
                  <a:lnTo>
                    <a:pt x="719" y="31"/>
                  </a:lnTo>
                  <a:lnTo>
                    <a:pt x="711" y="31"/>
                  </a:lnTo>
                  <a:lnTo>
                    <a:pt x="711" y="28"/>
                  </a:lnTo>
                  <a:lnTo>
                    <a:pt x="711" y="26"/>
                  </a:lnTo>
                  <a:lnTo>
                    <a:pt x="706" y="26"/>
                  </a:lnTo>
                  <a:lnTo>
                    <a:pt x="703" y="26"/>
                  </a:lnTo>
                  <a:lnTo>
                    <a:pt x="703" y="26"/>
                  </a:lnTo>
                  <a:lnTo>
                    <a:pt x="701" y="26"/>
                  </a:lnTo>
                  <a:lnTo>
                    <a:pt x="698" y="26"/>
                  </a:lnTo>
                  <a:lnTo>
                    <a:pt x="690" y="26"/>
                  </a:lnTo>
                  <a:lnTo>
                    <a:pt x="685" y="26"/>
                  </a:lnTo>
                  <a:lnTo>
                    <a:pt x="680" y="28"/>
                  </a:lnTo>
                  <a:lnTo>
                    <a:pt x="673" y="28"/>
                  </a:lnTo>
                  <a:lnTo>
                    <a:pt x="673" y="26"/>
                  </a:lnTo>
                  <a:lnTo>
                    <a:pt x="670" y="26"/>
                  </a:lnTo>
                  <a:lnTo>
                    <a:pt x="668" y="23"/>
                  </a:lnTo>
                  <a:lnTo>
                    <a:pt x="665" y="26"/>
                  </a:lnTo>
                  <a:lnTo>
                    <a:pt x="662" y="23"/>
                  </a:lnTo>
                  <a:lnTo>
                    <a:pt x="655" y="23"/>
                  </a:lnTo>
                  <a:lnTo>
                    <a:pt x="650" y="23"/>
                  </a:lnTo>
                  <a:lnTo>
                    <a:pt x="642" y="23"/>
                  </a:lnTo>
                  <a:lnTo>
                    <a:pt x="642" y="23"/>
                  </a:lnTo>
                  <a:lnTo>
                    <a:pt x="642" y="21"/>
                  </a:lnTo>
                  <a:lnTo>
                    <a:pt x="642" y="21"/>
                  </a:lnTo>
                  <a:lnTo>
                    <a:pt x="640" y="21"/>
                  </a:lnTo>
                  <a:lnTo>
                    <a:pt x="640" y="21"/>
                  </a:lnTo>
                  <a:lnTo>
                    <a:pt x="637" y="21"/>
                  </a:lnTo>
                  <a:lnTo>
                    <a:pt x="634" y="21"/>
                  </a:lnTo>
                  <a:lnTo>
                    <a:pt x="634" y="21"/>
                  </a:lnTo>
                  <a:lnTo>
                    <a:pt x="632" y="21"/>
                  </a:lnTo>
                  <a:lnTo>
                    <a:pt x="629" y="18"/>
                  </a:lnTo>
                  <a:lnTo>
                    <a:pt x="627" y="18"/>
                  </a:lnTo>
                  <a:lnTo>
                    <a:pt x="624" y="18"/>
                  </a:lnTo>
                  <a:lnTo>
                    <a:pt x="619" y="18"/>
                  </a:lnTo>
                  <a:lnTo>
                    <a:pt x="614" y="18"/>
                  </a:lnTo>
                  <a:lnTo>
                    <a:pt x="611" y="18"/>
                  </a:lnTo>
                  <a:lnTo>
                    <a:pt x="611" y="18"/>
                  </a:lnTo>
                  <a:lnTo>
                    <a:pt x="609" y="18"/>
                  </a:lnTo>
                  <a:lnTo>
                    <a:pt x="609" y="18"/>
                  </a:lnTo>
                  <a:lnTo>
                    <a:pt x="604" y="18"/>
                  </a:lnTo>
                  <a:lnTo>
                    <a:pt x="601" y="18"/>
                  </a:lnTo>
                  <a:lnTo>
                    <a:pt x="599" y="21"/>
                  </a:lnTo>
                  <a:lnTo>
                    <a:pt x="589" y="18"/>
                  </a:lnTo>
                  <a:lnTo>
                    <a:pt x="591" y="18"/>
                  </a:lnTo>
                  <a:lnTo>
                    <a:pt x="594" y="18"/>
                  </a:lnTo>
                  <a:lnTo>
                    <a:pt x="594" y="18"/>
                  </a:lnTo>
                  <a:lnTo>
                    <a:pt x="589" y="18"/>
                  </a:lnTo>
                  <a:lnTo>
                    <a:pt x="586" y="16"/>
                  </a:lnTo>
                  <a:lnTo>
                    <a:pt x="589" y="16"/>
                  </a:lnTo>
                  <a:lnTo>
                    <a:pt x="586" y="16"/>
                  </a:lnTo>
                  <a:lnTo>
                    <a:pt x="586" y="16"/>
                  </a:lnTo>
                  <a:lnTo>
                    <a:pt x="589" y="13"/>
                  </a:lnTo>
                  <a:lnTo>
                    <a:pt x="594" y="13"/>
                  </a:lnTo>
                  <a:lnTo>
                    <a:pt x="594" y="11"/>
                  </a:lnTo>
                  <a:lnTo>
                    <a:pt x="594" y="11"/>
                  </a:lnTo>
                  <a:lnTo>
                    <a:pt x="591" y="11"/>
                  </a:lnTo>
                  <a:lnTo>
                    <a:pt x="589" y="11"/>
                  </a:lnTo>
                  <a:lnTo>
                    <a:pt x="583" y="11"/>
                  </a:lnTo>
                  <a:lnTo>
                    <a:pt x="578" y="11"/>
                  </a:lnTo>
                  <a:lnTo>
                    <a:pt x="576" y="11"/>
                  </a:lnTo>
                  <a:lnTo>
                    <a:pt x="573" y="11"/>
                  </a:lnTo>
                  <a:lnTo>
                    <a:pt x="566" y="13"/>
                  </a:lnTo>
                  <a:lnTo>
                    <a:pt x="563" y="11"/>
                  </a:lnTo>
                  <a:lnTo>
                    <a:pt x="561" y="11"/>
                  </a:lnTo>
                  <a:lnTo>
                    <a:pt x="561" y="11"/>
                  </a:lnTo>
                  <a:lnTo>
                    <a:pt x="563" y="11"/>
                  </a:lnTo>
                  <a:lnTo>
                    <a:pt x="566" y="8"/>
                  </a:lnTo>
                  <a:lnTo>
                    <a:pt x="563" y="8"/>
                  </a:lnTo>
                  <a:lnTo>
                    <a:pt x="563" y="8"/>
                  </a:lnTo>
                  <a:lnTo>
                    <a:pt x="561" y="8"/>
                  </a:lnTo>
                  <a:lnTo>
                    <a:pt x="561" y="8"/>
                  </a:lnTo>
                  <a:lnTo>
                    <a:pt x="555" y="8"/>
                  </a:lnTo>
                  <a:lnTo>
                    <a:pt x="548" y="11"/>
                  </a:lnTo>
                  <a:lnTo>
                    <a:pt x="545" y="11"/>
                  </a:lnTo>
                  <a:lnTo>
                    <a:pt x="543" y="13"/>
                  </a:lnTo>
                  <a:lnTo>
                    <a:pt x="543" y="11"/>
                  </a:lnTo>
                  <a:lnTo>
                    <a:pt x="543" y="11"/>
                  </a:lnTo>
                  <a:lnTo>
                    <a:pt x="543" y="11"/>
                  </a:lnTo>
                  <a:lnTo>
                    <a:pt x="548" y="8"/>
                  </a:lnTo>
                  <a:lnTo>
                    <a:pt x="553" y="8"/>
                  </a:lnTo>
                  <a:lnTo>
                    <a:pt x="555" y="6"/>
                  </a:lnTo>
                  <a:lnTo>
                    <a:pt x="555" y="6"/>
                  </a:lnTo>
                  <a:lnTo>
                    <a:pt x="555" y="6"/>
                  </a:lnTo>
                  <a:lnTo>
                    <a:pt x="548" y="3"/>
                  </a:lnTo>
                  <a:lnTo>
                    <a:pt x="548" y="3"/>
                  </a:lnTo>
                  <a:lnTo>
                    <a:pt x="550" y="3"/>
                  </a:lnTo>
                  <a:lnTo>
                    <a:pt x="553" y="0"/>
                  </a:lnTo>
                  <a:lnTo>
                    <a:pt x="550" y="0"/>
                  </a:lnTo>
                  <a:lnTo>
                    <a:pt x="545" y="3"/>
                  </a:lnTo>
                  <a:lnTo>
                    <a:pt x="540" y="6"/>
                  </a:lnTo>
                  <a:lnTo>
                    <a:pt x="532" y="8"/>
                  </a:lnTo>
                  <a:lnTo>
                    <a:pt x="527" y="8"/>
                  </a:lnTo>
                  <a:lnTo>
                    <a:pt x="522" y="11"/>
                  </a:lnTo>
                  <a:lnTo>
                    <a:pt x="515" y="11"/>
                  </a:lnTo>
                  <a:lnTo>
                    <a:pt x="512" y="11"/>
                  </a:lnTo>
                  <a:lnTo>
                    <a:pt x="507" y="11"/>
                  </a:lnTo>
                  <a:lnTo>
                    <a:pt x="504" y="13"/>
                  </a:lnTo>
                  <a:lnTo>
                    <a:pt x="502" y="13"/>
                  </a:lnTo>
                  <a:lnTo>
                    <a:pt x="497" y="13"/>
                  </a:lnTo>
                  <a:lnTo>
                    <a:pt x="494" y="13"/>
                  </a:lnTo>
                  <a:lnTo>
                    <a:pt x="492" y="13"/>
                  </a:lnTo>
                  <a:lnTo>
                    <a:pt x="492" y="13"/>
                  </a:lnTo>
                  <a:lnTo>
                    <a:pt x="492" y="13"/>
                  </a:lnTo>
                  <a:lnTo>
                    <a:pt x="494" y="13"/>
                  </a:lnTo>
                  <a:lnTo>
                    <a:pt x="497" y="13"/>
                  </a:lnTo>
                  <a:lnTo>
                    <a:pt x="497" y="11"/>
                  </a:lnTo>
                  <a:lnTo>
                    <a:pt x="497" y="11"/>
                  </a:lnTo>
                  <a:lnTo>
                    <a:pt x="494" y="11"/>
                  </a:lnTo>
                  <a:lnTo>
                    <a:pt x="487" y="13"/>
                  </a:lnTo>
                  <a:lnTo>
                    <a:pt x="476" y="16"/>
                  </a:lnTo>
                  <a:lnTo>
                    <a:pt x="479" y="16"/>
                  </a:lnTo>
                  <a:lnTo>
                    <a:pt x="479" y="18"/>
                  </a:lnTo>
                  <a:lnTo>
                    <a:pt x="484" y="18"/>
                  </a:lnTo>
                  <a:lnTo>
                    <a:pt x="479" y="18"/>
                  </a:lnTo>
                  <a:lnTo>
                    <a:pt x="476" y="18"/>
                  </a:lnTo>
                  <a:lnTo>
                    <a:pt x="474" y="18"/>
                  </a:lnTo>
                  <a:lnTo>
                    <a:pt x="474" y="21"/>
                  </a:lnTo>
                  <a:lnTo>
                    <a:pt x="471" y="21"/>
                  </a:lnTo>
                  <a:lnTo>
                    <a:pt x="469" y="23"/>
                  </a:lnTo>
                  <a:lnTo>
                    <a:pt x="471" y="21"/>
                  </a:lnTo>
                  <a:lnTo>
                    <a:pt x="469" y="21"/>
                  </a:lnTo>
                  <a:lnTo>
                    <a:pt x="471" y="18"/>
                  </a:lnTo>
                  <a:lnTo>
                    <a:pt x="471" y="18"/>
                  </a:lnTo>
                  <a:lnTo>
                    <a:pt x="476" y="16"/>
                  </a:lnTo>
                  <a:lnTo>
                    <a:pt x="476" y="16"/>
                  </a:lnTo>
                  <a:lnTo>
                    <a:pt x="474" y="16"/>
                  </a:lnTo>
                  <a:lnTo>
                    <a:pt x="464" y="18"/>
                  </a:lnTo>
                  <a:lnTo>
                    <a:pt x="464" y="21"/>
                  </a:lnTo>
                  <a:lnTo>
                    <a:pt x="453" y="21"/>
                  </a:lnTo>
                  <a:lnTo>
                    <a:pt x="443" y="23"/>
                  </a:lnTo>
                  <a:lnTo>
                    <a:pt x="441" y="23"/>
                  </a:lnTo>
                  <a:lnTo>
                    <a:pt x="436" y="23"/>
                  </a:lnTo>
                  <a:lnTo>
                    <a:pt x="433" y="23"/>
                  </a:lnTo>
                  <a:lnTo>
                    <a:pt x="436" y="23"/>
                  </a:lnTo>
                  <a:lnTo>
                    <a:pt x="438" y="23"/>
                  </a:lnTo>
                  <a:lnTo>
                    <a:pt x="441" y="23"/>
                  </a:lnTo>
                  <a:lnTo>
                    <a:pt x="441" y="23"/>
                  </a:lnTo>
                  <a:lnTo>
                    <a:pt x="441" y="23"/>
                  </a:lnTo>
                  <a:lnTo>
                    <a:pt x="441" y="23"/>
                  </a:lnTo>
                  <a:lnTo>
                    <a:pt x="443" y="21"/>
                  </a:lnTo>
                  <a:lnTo>
                    <a:pt x="438" y="23"/>
                  </a:lnTo>
                  <a:lnTo>
                    <a:pt x="436" y="23"/>
                  </a:lnTo>
                  <a:lnTo>
                    <a:pt x="428" y="26"/>
                  </a:lnTo>
                  <a:lnTo>
                    <a:pt x="410" y="31"/>
                  </a:lnTo>
                  <a:lnTo>
                    <a:pt x="402" y="36"/>
                  </a:lnTo>
                  <a:lnTo>
                    <a:pt x="397" y="39"/>
                  </a:lnTo>
                  <a:lnTo>
                    <a:pt x="395" y="39"/>
                  </a:lnTo>
                  <a:lnTo>
                    <a:pt x="395" y="39"/>
                  </a:lnTo>
                  <a:lnTo>
                    <a:pt x="395" y="39"/>
                  </a:lnTo>
                  <a:lnTo>
                    <a:pt x="392" y="41"/>
                  </a:lnTo>
                  <a:lnTo>
                    <a:pt x="385" y="44"/>
                  </a:lnTo>
                  <a:lnTo>
                    <a:pt x="374" y="46"/>
                  </a:lnTo>
                  <a:lnTo>
                    <a:pt x="369" y="46"/>
                  </a:lnTo>
                  <a:lnTo>
                    <a:pt x="367" y="49"/>
                  </a:lnTo>
                  <a:lnTo>
                    <a:pt x="357" y="49"/>
                  </a:lnTo>
                  <a:lnTo>
                    <a:pt x="354" y="49"/>
                  </a:lnTo>
                  <a:lnTo>
                    <a:pt x="346" y="49"/>
                  </a:lnTo>
                  <a:lnTo>
                    <a:pt x="336" y="49"/>
                  </a:lnTo>
                  <a:lnTo>
                    <a:pt x="334" y="51"/>
                  </a:lnTo>
                  <a:lnTo>
                    <a:pt x="326" y="54"/>
                  </a:lnTo>
                  <a:lnTo>
                    <a:pt x="321" y="59"/>
                  </a:lnTo>
                  <a:lnTo>
                    <a:pt x="318" y="59"/>
                  </a:lnTo>
                  <a:lnTo>
                    <a:pt x="316" y="59"/>
                  </a:lnTo>
                  <a:lnTo>
                    <a:pt x="313" y="59"/>
                  </a:lnTo>
                  <a:lnTo>
                    <a:pt x="318" y="59"/>
                  </a:lnTo>
                  <a:lnTo>
                    <a:pt x="316" y="59"/>
                  </a:lnTo>
                  <a:lnTo>
                    <a:pt x="313" y="59"/>
                  </a:lnTo>
                  <a:lnTo>
                    <a:pt x="313" y="59"/>
                  </a:lnTo>
                  <a:lnTo>
                    <a:pt x="316" y="59"/>
                  </a:lnTo>
                  <a:lnTo>
                    <a:pt x="318" y="62"/>
                  </a:lnTo>
                  <a:lnTo>
                    <a:pt x="318" y="64"/>
                  </a:lnTo>
                  <a:lnTo>
                    <a:pt x="323" y="64"/>
                  </a:lnTo>
                  <a:lnTo>
                    <a:pt x="329" y="74"/>
                  </a:lnTo>
                  <a:lnTo>
                    <a:pt x="329" y="77"/>
                  </a:lnTo>
                  <a:lnTo>
                    <a:pt x="323" y="79"/>
                  </a:lnTo>
                  <a:lnTo>
                    <a:pt x="323" y="82"/>
                  </a:lnTo>
                  <a:lnTo>
                    <a:pt x="323" y="84"/>
                  </a:lnTo>
                  <a:lnTo>
                    <a:pt x="329" y="84"/>
                  </a:lnTo>
                  <a:lnTo>
                    <a:pt x="334" y="84"/>
                  </a:lnTo>
                  <a:lnTo>
                    <a:pt x="336" y="84"/>
                  </a:lnTo>
                  <a:lnTo>
                    <a:pt x="341" y="84"/>
                  </a:lnTo>
                  <a:lnTo>
                    <a:pt x="339" y="84"/>
                  </a:lnTo>
                  <a:lnTo>
                    <a:pt x="339" y="84"/>
                  </a:lnTo>
                  <a:lnTo>
                    <a:pt x="346" y="84"/>
                  </a:lnTo>
                  <a:lnTo>
                    <a:pt x="349" y="84"/>
                  </a:lnTo>
                  <a:lnTo>
                    <a:pt x="349" y="87"/>
                  </a:lnTo>
                  <a:lnTo>
                    <a:pt x="346" y="87"/>
                  </a:lnTo>
                  <a:lnTo>
                    <a:pt x="339" y="90"/>
                  </a:lnTo>
                  <a:lnTo>
                    <a:pt x="336" y="92"/>
                  </a:lnTo>
                  <a:lnTo>
                    <a:pt x="339" y="92"/>
                  </a:lnTo>
                  <a:lnTo>
                    <a:pt x="339" y="95"/>
                  </a:lnTo>
                  <a:lnTo>
                    <a:pt x="339" y="95"/>
                  </a:lnTo>
                  <a:lnTo>
                    <a:pt x="349" y="92"/>
                  </a:lnTo>
                  <a:lnTo>
                    <a:pt x="352" y="92"/>
                  </a:lnTo>
                  <a:lnTo>
                    <a:pt x="354" y="92"/>
                  </a:lnTo>
                  <a:lnTo>
                    <a:pt x="357" y="92"/>
                  </a:lnTo>
                  <a:lnTo>
                    <a:pt x="357" y="95"/>
                  </a:lnTo>
                  <a:lnTo>
                    <a:pt x="357" y="95"/>
                  </a:lnTo>
                  <a:lnTo>
                    <a:pt x="354" y="97"/>
                  </a:lnTo>
                  <a:lnTo>
                    <a:pt x="346" y="97"/>
                  </a:lnTo>
                  <a:lnTo>
                    <a:pt x="344" y="97"/>
                  </a:lnTo>
                  <a:lnTo>
                    <a:pt x="344" y="95"/>
                  </a:lnTo>
                  <a:lnTo>
                    <a:pt x="341" y="95"/>
                  </a:lnTo>
                  <a:lnTo>
                    <a:pt x="339" y="95"/>
                  </a:lnTo>
                  <a:lnTo>
                    <a:pt x="334" y="97"/>
                  </a:lnTo>
                  <a:lnTo>
                    <a:pt x="334" y="95"/>
                  </a:lnTo>
                  <a:lnTo>
                    <a:pt x="334" y="92"/>
                  </a:lnTo>
                  <a:lnTo>
                    <a:pt x="336" y="90"/>
                  </a:lnTo>
                  <a:lnTo>
                    <a:pt x="336" y="90"/>
                  </a:lnTo>
                  <a:lnTo>
                    <a:pt x="339" y="87"/>
                  </a:lnTo>
                  <a:lnTo>
                    <a:pt x="336" y="87"/>
                  </a:lnTo>
                  <a:lnTo>
                    <a:pt x="334" y="87"/>
                  </a:lnTo>
                  <a:lnTo>
                    <a:pt x="331" y="87"/>
                  </a:lnTo>
                  <a:lnTo>
                    <a:pt x="331" y="90"/>
                  </a:lnTo>
                  <a:lnTo>
                    <a:pt x="329" y="90"/>
                  </a:lnTo>
                  <a:lnTo>
                    <a:pt x="331" y="90"/>
                  </a:lnTo>
                  <a:lnTo>
                    <a:pt x="331" y="92"/>
                  </a:lnTo>
                  <a:lnTo>
                    <a:pt x="331" y="95"/>
                  </a:lnTo>
                  <a:lnTo>
                    <a:pt x="329" y="97"/>
                  </a:lnTo>
                  <a:lnTo>
                    <a:pt x="329" y="97"/>
                  </a:lnTo>
                  <a:lnTo>
                    <a:pt x="334" y="97"/>
                  </a:lnTo>
                  <a:lnTo>
                    <a:pt x="339" y="100"/>
                  </a:lnTo>
                  <a:lnTo>
                    <a:pt x="339" y="100"/>
                  </a:lnTo>
                  <a:lnTo>
                    <a:pt x="336" y="102"/>
                  </a:lnTo>
                  <a:lnTo>
                    <a:pt x="336" y="100"/>
                  </a:lnTo>
                  <a:lnTo>
                    <a:pt x="334" y="100"/>
                  </a:lnTo>
                  <a:lnTo>
                    <a:pt x="331" y="100"/>
                  </a:lnTo>
                  <a:lnTo>
                    <a:pt x="331" y="100"/>
                  </a:lnTo>
                  <a:lnTo>
                    <a:pt x="329" y="100"/>
                  </a:lnTo>
                  <a:lnTo>
                    <a:pt x="321" y="105"/>
                  </a:lnTo>
                  <a:lnTo>
                    <a:pt x="318" y="105"/>
                  </a:lnTo>
                  <a:lnTo>
                    <a:pt x="313" y="105"/>
                  </a:lnTo>
                  <a:lnTo>
                    <a:pt x="308" y="105"/>
                  </a:lnTo>
                  <a:lnTo>
                    <a:pt x="306" y="105"/>
                  </a:lnTo>
                  <a:lnTo>
                    <a:pt x="306" y="102"/>
                  </a:lnTo>
                  <a:lnTo>
                    <a:pt x="301" y="105"/>
                  </a:lnTo>
                  <a:lnTo>
                    <a:pt x="293" y="105"/>
                  </a:lnTo>
                  <a:lnTo>
                    <a:pt x="290" y="100"/>
                  </a:lnTo>
                  <a:lnTo>
                    <a:pt x="293" y="100"/>
                  </a:lnTo>
                  <a:lnTo>
                    <a:pt x="295" y="100"/>
                  </a:lnTo>
                  <a:lnTo>
                    <a:pt x="298" y="97"/>
                  </a:lnTo>
                  <a:lnTo>
                    <a:pt x="303" y="95"/>
                  </a:lnTo>
                  <a:lnTo>
                    <a:pt x="303" y="95"/>
                  </a:lnTo>
                  <a:lnTo>
                    <a:pt x="303" y="95"/>
                  </a:lnTo>
                  <a:lnTo>
                    <a:pt x="303" y="95"/>
                  </a:lnTo>
                  <a:lnTo>
                    <a:pt x="306" y="95"/>
                  </a:lnTo>
                  <a:lnTo>
                    <a:pt x="308" y="95"/>
                  </a:lnTo>
                  <a:lnTo>
                    <a:pt x="306" y="92"/>
                  </a:lnTo>
                  <a:lnTo>
                    <a:pt x="301" y="92"/>
                  </a:lnTo>
                  <a:lnTo>
                    <a:pt x="295" y="95"/>
                  </a:lnTo>
                  <a:lnTo>
                    <a:pt x="290" y="95"/>
                  </a:lnTo>
                  <a:lnTo>
                    <a:pt x="283" y="97"/>
                  </a:lnTo>
                  <a:lnTo>
                    <a:pt x="280" y="97"/>
                  </a:lnTo>
                  <a:lnTo>
                    <a:pt x="275" y="97"/>
                  </a:lnTo>
                  <a:lnTo>
                    <a:pt x="267" y="100"/>
                  </a:lnTo>
                  <a:lnTo>
                    <a:pt x="265" y="100"/>
                  </a:lnTo>
                  <a:lnTo>
                    <a:pt x="265" y="100"/>
                  </a:lnTo>
                  <a:lnTo>
                    <a:pt x="267" y="102"/>
                  </a:lnTo>
                  <a:lnTo>
                    <a:pt x="265" y="102"/>
                  </a:lnTo>
                  <a:lnTo>
                    <a:pt x="265" y="102"/>
                  </a:lnTo>
                  <a:lnTo>
                    <a:pt x="262" y="102"/>
                  </a:lnTo>
                  <a:lnTo>
                    <a:pt x="257" y="102"/>
                  </a:lnTo>
                  <a:lnTo>
                    <a:pt x="257" y="102"/>
                  </a:lnTo>
                  <a:lnTo>
                    <a:pt x="257" y="102"/>
                  </a:lnTo>
                  <a:lnTo>
                    <a:pt x="252" y="102"/>
                  </a:lnTo>
                  <a:lnTo>
                    <a:pt x="250" y="102"/>
                  </a:lnTo>
                  <a:lnTo>
                    <a:pt x="244" y="105"/>
                  </a:lnTo>
                  <a:lnTo>
                    <a:pt x="239" y="105"/>
                  </a:lnTo>
                  <a:lnTo>
                    <a:pt x="237" y="107"/>
                  </a:lnTo>
                  <a:lnTo>
                    <a:pt x="234" y="107"/>
                  </a:lnTo>
                  <a:lnTo>
                    <a:pt x="229" y="107"/>
                  </a:lnTo>
                  <a:lnTo>
                    <a:pt x="224" y="110"/>
                  </a:lnTo>
                  <a:lnTo>
                    <a:pt x="216" y="112"/>
                  </a:lnTo>
                  <a:lnTo>
                    <a:pt x="216" y="110"/>
                  </a:lnTo>
                  <a:lnTo>
                    <a:pt x="219" y="110"/>
                  </a:lnTo>
                  <a:lnTo>
                    <a:pt x="216" y="110"/>
                  </a:lnTo>
                  <a:lnTo>
                    <a:pt x="214" y="112"/>
                  </a:lnTo>
                  <a:lnTo>
                    <a:pt x="211" y="112"/>
                  </a:lnTo>
                  <a:lnTo>
                    <a:pt x="211" y="115"/>
                  </a:lnTo>
                  <a:lnTo>
                    <a:pt x="216" y="118"/>
                  </a:lnTo>
                  <a:lnTo>
                    <a:pt x="227" y="118"/>
                  </a:lnTo>
                  <a:lnTo>
                    <a:pt x="227" y="118"/>
                  </a:lnTo>
                  <a:lnTo>
                    <a:pt x="232" y="120"/>
                  </a:lnTo>
                  <a:lnTo>
                    <a:pt x="232" y="120"/>
                  </a:lnTo>
                  <a:lnTo>
                    <a:pt x="232" y="120"/>
                  </a:lnTo>
                  <a:lnTo>
                    <a:pt x="229" y="120"/>
                  </a:lnTo>
                  <a:lnTo>
                    <a:pt x="227" y="120"/>
                  </a:lnTo>
                  <a:lnTo>
                    <a:pt x="222" y="123"/>
                  </a:lnTo>
                  <a:lnTo>
                    <a:pt x="219" y="123"/>
                  </a:lnTo>
                  <a:lnTo>
                    <a:pt x="216" y="123"/>
                  </a:lnTo>
                  <a:lnTo>
                    <a:pt x="216" y="123"/>
                  </a:lnTo>
                  <a:lnTo>
                    <a:pt x="216" y="123"/>
                  </a:lnTo>
                  <a:lnTo>
                    <a:pt x="216" y="123"/>
                  </a:lnTo>
                  <a:lnTo>
                    <a:pt x="216" y="125"/>
                  </a:lnTo>
                  <a:lnTo>
                    <a:pt x="219" y="128"/>
                  </a:lnTo>
                  <a:lnTo>
                    <a:pt x="216" y="128"/>
                  </a:lnTo>
                  <a:lnTo>
                    <a:pt x="214" y="130"/>
                  </a:lnTo>
                  <a:lnTo>
                    <a:pt x="211" y="130"/>
                  </a:lnTo>
                  <a:lnTo>
                    <a:pt x="211" y="133"/>
                  </a:lnTo>
                  <a:lnTo>
                    <a:pt x="211" y="133"/>
                  </a:lnTo>
                  <a:lnTo>
                    <a:pt x="222" y="135"/>
                  </a:lnTo>
                  <a:lnTo>
                    <a:pt x="224" y="135"/>
                  </a:lnTo>
                  <a:lnTo>
                    <a:pt x="227" y="135"/>
                  </a:lnTo>
                  <a:lnTo>
                    <a:pt x="229" y="135"/>
                  </a:lnTo>
                  <a:lnTo>
                    <a:pt x="229" y="135"/>
                  </a:lnTo>
                  <a:lnTo>
                    <a:pt x="232" y="135"/>
                  </a:lnTo>
                  <a:lnTo>
                    <a:pt x="232" y="135"/>
                  </a:lnTo>
                  <a:lnTo>
                    <a:pt x="232" y="135"/>
                  </a:lnTo>
                  <a:lnTo>
                    <a:pt x="232" y="135"/>
                  </a:lnTo>
                  <a:lnTo>
                    <a:pt x="239" y="133"/>
                  </a:lnTo>
                  <a:lnTo>
                    <a:pt x="250" y="133"/>
                  </a:lnTo>
                  <a:lnTo>
                    <a:pt x="252" y="135"/>
                  </a:lnTo>
                  <a:lnTo>
                    <a:pt x="255" y="135"/>
                  </a:lnTo>
                  <a:lnTo>
                    <a:pt x="255" y="138"/>
                  </a:lnTo>
                  <a:lnTo>
                    <a:pt x="257" y="135"/>
                  </a:lnTo>
                  <a:lnTo>
                    <a:pt x="257" y="135"/>
                  </a:lnTo>
                  <a:lnTo>
                    <a:pt x="257" y="135"/>
                  </a:lnTo>
                  <a:lnTo>
                    <a:pt x="257" y="133"/>
                  </a:lnTo>
                  <a:lnTo>
                    <a:pt x="257" y="133"/>
                  </a:lnTo>
                  <a:lnTo>
                    <a:pt x="260" y="133"/>
                  </a:lnTo>
                  <a:lnTo>
                    <a:pt x="260" y="135"/>
                  </a:lnTo>
                  <a:lnTo>
                    <a:pt x="257" y="138"/>
                  </a:lnTo>
                  <a:lnTo>
                    <a:pt x="260" y="138"/>
                  </a:lnTo>
                  <a:lnTo>
                    <a:pt x="262" y="135"/>
                  </a:lnTo>
                  <a:lnTo>
                    <a:pt x="273" y="133"/>
                  </a:lnTo>
                  <a:lnTo>
                    <a:pt x="275" y="133"/>
                  </a:lnTo>
                  <a:lnTo>
                    <a:pt x="283" y="130"/>
                  </a:lnTo>
                  <a:lnTo>
                    <a:pt x="285" y="128"/>
                  </a:lnTo>
                  <a:lnTo>
                    <a:pt x="288" y="130"/>
                  </a:lnTo>
                  <a:lnTo>
                    <a:pt x="290" y="130"/>
                  </a:lnTo>
                  <a:lnTo>
                    <a:pt x="298" y="128"/>
                  </a:lnTo>
                  <a:lnTo>
                    <a:pt x="298" y="128"/>
                  </a:lnTo>
                  <a:lnTo>
                    <a:pt x="298" y="128"/>
                  </a:lnTo>
                  <a:lnTo>
                    <a:pt x="298" y="128"/>
                  </a:lnTo>
                  <a:lnTo>
                    <a:pt x="298" y="130"/>
                  </a:lnTo>
                  <a:lnTo>
                    <a:pt x="298" y="130"/>
                  </a:lnTo>
                  <a:lnTo>
                    <a:pt x="295" y="130"/>
                  </a:lnTo>
                  <a:lnTo>
                    <a:pt x="293" y="133"/>
                  </a:lnTo>
                  <a:lnTo>
                    <a:pt x="293" y="133"/>
                  </a:lnTo>
                  <a:lnTo>
                    <a:pt x="290" y="135"/>
                  </a:lnTo>
                  <a:lnTo>
                    <a:pt x="285" y="135"/>
                  </a:lnTo>
                  <a:lnTo>
                    <a:pt x="283" y="135"/>
                  </a:lnTo>
                  <a:lnTo>
                    <a:pt x="280" y="135"/>
                  </a:lnTo>
                  <a:lnTo>
                    <a:pt x="283" y="135"/>
                  </a:lnTo>
                  <a:lnTo>
                    <a:pt x="283" y="138"/>
                  </a:lnTo>
                  <a:lnTo>
                    <a:pt x="283" y="140"/>
                  </a:lnTo>
                  <a:lnTo>
                    <a:pt x="278" y="146"/>
                  </a:lnTo>
                  <a:lnTo>
                    <a:pt x="275" y="146"/>
                  </a:lnTo>
                  <a:lnTo>
                    <a:pt x="275" y="148"/>
                  </a:lnTo>
                  <a:lnTo>
                    <a:pt x="270" y="151"/>
                  </a:lnTo>
                  <a:lnTo>
                    <a:pt x="267" y="153"/>
                  </a:lnTo>
                  <a:lnTo>
                    <a:pt x="262" y="153"/>
                  </a:lnTo>
                  <a:lnTo>
                    <a:pt x="257" y="156"/>
                  </a:lnTo>
                  <a:lnTo>
                    <a:pt x="252" y="156"/>
                  </a:lnTo>
                  <a:lnTo>
                    <a:pt x="244" y="156"/>
                  </a:lnTo>
                  <a:lnTo>
                    <a:pt x="244" y="156"/>
                  </a:lnTo>
                  <a:lnTo>
                    <a:pt x="244" y="156"/>
                  </a:lnTo>
                  <a:lnTo>
                    <a:pt x="244" y="156"/>
                  </a:lnTo>
                  <a:lnTo>
                    <a:pt x="242" y="156"/>
                  </a:lnTo>
                  <a:lnTo>
                    <a:pt x="239" y="156"/>
                  </a:lnTo>
                  <a:lnTo>
                    <a:pt x="229" y="161"/>
                  </a:lnTo>
                  <a:lnTo>
                    <a:pt x="227" y="161"/>
                  </a:lnTo>
                  <a:lnTo>
                    <a:pt x="222" y="163"/>
                  </a:lnTo>
                  <a:lnTo>
                    <a:pt x="219" y="163"/>
                  </a:lnTo>
                  <a:lnTo>
                    <a:pt x="214" y="163"/>
                  </a:lnTo>
                  <a:lnTo>
                    <a:pt x="211" y="163"/>
                  </a:lnTo>
                  <a:lnTo>
                    <a:pt x="214" y="163"/>
                  </a:lnTo>
                  <a:lnTo>
                    <a:pt x="211" y="163"/>
                  </a:lnTo>
                  <a:lnTo>
                    <a:pt x="209" y="163"/>
                  </a:lnTo>
                  <a:lnTo>
                    <a:pt x="206" y="166"/>
                  </a:lnTo>
                  <a:lnTo>
                    <a:pt x="206" y="166"/>
                  </a:lnTo>
                  <a:lnTo>
                    <a:pt x="206" y="163"/>
                  </a:lnTo>
                  <a:lnTo>
                    <a:pt x="209" y="163"/>
                  </a:lnTo>
                  <a:lnTo>
                    <a:pt x="209" y="163"/>
                  </a:lnTo>
                  <a:lnTo>
                    <a:pt x="211" y="163"/>
                  </a:lnTo>
                  <a:lnTo>
                    <a:pt x="211" y="161"/>
                  </a:lnTo>
                  <a:lnTo>
                    <a:pt x="209" y="161"/>
                  </a:lnTo>
                  <a:lnTo>
                    <a:pt x="206" y="161"/>
                  </a:lnTo>
                  <a:lnTo>
                    <a:pt x="201" y="161"/>
                  </a:lnTo>
                  <a:lnTo>
                    <a:pt x="199" y="161"/>
                  </a:lnTo>
                  <a:lnTo>
                    <a:pt x="196" y="163"/>
                  </a:lnTo>
                  <a:lnTo>
                    <a:pt x="196" y="163"/>
                  </a:lnTo>
                  <a:lnTo>
                    <a:pt x="196" y="166"/>
                  </a:lnTo>
                  <a:lnTo>
                    <a:pt x="196" y="166"/>
                  </a:lnTo>
                  <a:lnTo>
                    <a:pt x="191" y="166"/>
                  </a:lnTo>
                  <a:lnTo>
                    <a:pt x="188" y="166"/>
                  </a:lnTo>
                  <a:lnTo>
                    <a:pt x="186" y="166"/>
                  </a:lnTo>
                  <a:lnTo>
                    <a:pt x="183" y="168"/>
                  </a:lnTo>
                  <a:lnTo>
                    <a:pt x="181" y="171"/>
                  </a:lnTo>
                  <a:lnTo>
                    <a:pt x="178" y="173"/>
                  </a:lnTo>
                  <a:lnTo>
                    <a:pt x="181" y="171"/>
                  </a:lnTo>
                  <a:lnTo>
                    <a:pt x="183" y="171"/>
                  </a:lnTo>
                  <a:lnTo>
                    <a:pt x="183" y="171"/>
                  </a:lnTo>
                  <a:lnTo>
                    <a:pt x="181" y="173"/>
                  </a:lnTo>
                  <a:lnTo>
                    <a:pt x="176" y="173"/>
                  </a:lnTo>
                  <a:lnTo>
                    <a:pt x="176" y="176"/>
                  </a:lnTo>
                  <a:lnTo>
                    <a:pt x="176" y="176"/>
                  </a:lnTo>
                  <a:lnTo>
                    <a:pt x="176" y="176"/>
                  </a:lnTo>
                  <a:lnTo>
                    <a:pt x="173" y="176"/>
                  </a:lnTo>
                  <a:lnTo>
                    <a:pt x="173" y="176"/>
                  </a:lnTo>
                  <a:lnTo>
                    <a:pt x="171" y="176"/>
                  </a:lnTo>
                  <a:lnTo>
                    <a:pt x="168" y="176"/>
                  </a:lnTo>
                  <a:lnTo>
                    <a:pt x="160" y="179"/>
                  </a:lnTo>
                  <a:lnTo>
                    <a:pt x="150" y="184"/>
                  </a:lnTo>
                  <a:lnTo>
                    <a:pt x="148" y="186"/>
                  </a:lnTo>
                  <a:lnTo>
                    <a:pt x="145" y="186"/>
                  </a:lnTo>
                  <a:lnTo>
                    <a:pt x="145" y="186"/>
                  </a:lnTo>
                  <a:lnTo>
                    <a:pt x="145" y="189"/>
                  </a:lnTo>
                  <a:lnTo>
                    <a:pt x="140" y="189"/>
                  </a:lnTo>
                  <a:lnTo>
                    <a:pt x="137" y="189"/>
                  </a:lnTo>
                  <a:lnTo>
                    <a:pt x="135" y="189"/>
                  </a:lnTo>
                  <a:lnTo>
                    <a:pt x="135" y="191"/>
                  </a:lnTo>
                  <a:lnTo>
                    <a:pt x="137" y="191"/>
                  </a:lnTo>
                  <a:lnTo>
                    <a:pt x="137" y="191"/>
                  </a:lnTo>
                  <a:lnTo>
                    <a:pt x="132" y="194"/>
                  </a:lnTo>
                  <a:lnTo>
                    <a:pt x="130" y="194"/>
                  </a:lnTo>
                  <a:lnTo>
                    <a:pt x="130" y="194"/>
                  </a:lnTo>
                  <a:lnTo>
                    <a:pt x="130" y="194"/>
                  </a:lnTo>
                  <a:lnTo>
                    <a:pt x="127" y="196"/>
                  </a:lnTo>
                  <a:lnTo>
                    <a:pt x="127" y="196"/>
                  </a:lnTo>
                  <a:lnTo>
                    <a:pt x="130" y="194"/>
                  </a:lnTo>
                  <a:lnTo>
                    <a:pt x="132" y="196"/>
                  </a:lnTo>
                  <a:lnTo>
                    <a:pt x="132" y="196"/>
                  </a:lnTo>
                  <a:lnTo>
                    <a:pt x="127" y="199"/>
                  </a:lnTo>
                  <a:lnTo>
                    <a:pt x="127" y="199"/>
                  </a:lnTo>
                  <a:lnTo>
                    <a:pt x="127" y="201"/>
                  </a:lnTo>
                  <a:lnTo>
                    <a:pt x="125" y="204"/>
                  </a:lnTo>
                  <a:lnTo>
                    <a:pt x="125" y="204"/>
                  </a:lnTo>
                  <a:lnTo>
                    <a:pt x="125" y="204"/>
                  </a:lnTo>
                  <a:lnTo>
                    <a:pt x="127" y="204"/>
                  </a:lnTo>
                  <a:lnTo>
                    <a:pt x="130" y="204"/>
                  </a:lnTo>
                  <a:lnTo>
                    <a:pt x="130" y="201"/>
                  </a:lnTo>
                  <a:lnTo>
                    <a:pt x="132" y="201"/>
                  </a:lnTo>
                  <a:lnTo>
                    <a:pt x="135" y="201"/>
                  </a:lnTo>
                  <a:lnTo>
                    <a:pt x="135" y="201"/>
                  </a:lnTo>
                  <a:lnTo>
                    <a:pt x="132" y="201"/>
                  </a:lnTo>
                  <a:lnTo>
                    <a:pt x="130" y="201"/>
                  </a:lnTo>
                  <a:lnTo>
                    <a:pt x="132" y="204"/>
                  </a:lnTo>
                  <a:lnTo>
                    <a:pt x="132" y="204"/>
                  </a:lnTo>
                  <a:lnTo>
                    <a:pt x="135" y="201"/>
                  </a:lnTo>
                  <a:lnTo>
                    <a:pt x="135" y="201"/>
                  </a:lnTo>
                  <a:lnTo>
                    <a:pt x="132" y="204"/>
                  </a:lnTo>
                  <a:lnTo>
                    <a:pt x="132" y="204"/>
                  </a:lnTo>
                  <a:lnTo>
                    <a:pt x="135" y="204"/>
                  </a:lnTo>
                  <a:lnTo>
                    <a:pt x="135" y="204"/>
                  </a:lnTo>
                  <a:lnTo>
                    <a:pt x="135" y="204"/>
                  </a:lnTo>
                  <a:lnTo>
                    <a:pt x="132" y="207"/>
                  </a:lnTo>
                  <a:lnTo>
                    <a:pt x="127" y="207"/>
                  </a:lnTo>
                  <a:lnTo>
                    <a:pt x="127" y="207"/>
                  </a:lnTo>
                  <a:lnTo>
                    <a:pt x="127" y="209"/>
                  </a:lnTo>
                  <a:lnTo>
                    <a:pt x="132" y="209"/>
                  </a:lnTo>
                  <a:lnTo>
                    <a:pt x="137" y="209"/>
                  </a:lnTo>
                  <a:lnTo>
                    <a:pt x="143" y="209"/>
                  </a:lnTo>
                  <a:lnTo>
                    <a:pt x="150" y="207"/>
                  </a:lnTo>
                  <a:lnTo>
                    <a:pt x="150" y="207"/>
                  </a:lnTo>
                  <a:lnTo>
                    <a:pt x="150" y="209"/>
                  </a:lnTo>
                  <a:lnTo>
                    <a:pt x="150" y="209"/>
                  </a:lnTo>
                  <a:lnTo>
                    <a:pt x="145" y="209"/>
                  </a:lnTo>
                  <a:lnTo>
                    <a:pt x="145" y="209"/>
                  </a:lnTo>
                  <a:lnTo>
                    <a:pt x="148" y="209"/>
                  </a:lnTo>
                  <a:lnTo>
                    <a:pt x="150" y="212"/>
                  </a:lnTo>
                  <a:lnTo>
                    <a:pt x="150" y="212"/>
                  </a:lnTo>
                  <a:lnTo>
                    <a:pt x="145" y="214"/>
                  </a:lnTo>
                  <a:lnTo>
                    <a:pt x="140" y="214"/>
                  </a:lnTo>
                  <a:lnTo>
                    <a:pt x="140" y="214"/>
                  </a:lnTo>
                  <a:lnTo>
                    <a:pt x="143" y="212"/>
                  </a:lnTo>
                  <a:lnTo>
                    <a:pt x="143" y="212"/>
                  </a:lnTo>
                  <a:lnTo>
                    <a:pt x="140" y="212"/>
                  </a:lnTo>
                  <a:lnTo>
                    <a:pt x="137" y="212"/>
                  </a:lnTo>
                  <a:lnTo>
                    <a:pt x="132" y="214"/>
                  </a:lnTo>
                  <a:lnTo>
                    <a:pt x="130" y="214"/>
                  </a:lnTo>
                  <a:lnTo>
                    <a:pt x="132" y="214"/>
                  </a:lnTo>
                  <a:lnTo>
                    <a:pt x="135" y="212"/>
                  </a:lnTo>
                  <a:lnTo>
                    <a:pt x="135" y="212"/>
                  </a:lnTo>
                  <a:lnTo>
                    <a:pt x="135" y="212"/>
                  </a:lnTo>
                  <a:lnTo>
                    <a:pt x="135" y="209"/>
                  </a:lnTo>
                  <a:lnTo>
                    <a:pt x="132" y="209"/>
                  </a:lnTo>
                  <a:lnTo>
                    <a:pt x="132" y="209"/>
                  </a:lnTo>
                  <a:lnTo>
                    <a:pt x="130" y="209"/>
                  </a:lnTo>
                  <a:lnTo>
                    <a:pt x="125" y="212"/>
                  </a:lnTo>
                  <a:lnTo>
                    <a:pt x="112" y="217"/>
                  </a:lnTo>
                  <a:lnTo>
                    <a:pt x="115" y="217"/>
                  </a:lnTo>
                  <a:lnTo>
                    <a:pt x="117" y="217"/>
                  </a:lnTo>
                  <a:lnTo>
                    <a:pt x="117" y="217"/>
                  </a:lnTo>
                  <a:lnTo>
                    <a:pt x="115" y="217"/>
                  </a:lnTo>
                  <a:lnTo>
                    <a:pt x="115" y="219"/>
                  </a:lnTo>
                  <a:lnTo>
                    <a:pt x="115" y="219"/>
                  </a:lnTo>
                  <a:lnTo>
                    <a:pt x="115" y="222"/>
                  </a:lnTo>
                  <a:lnTo>
                    <a:pt x="117" y="222"/>
                  </a:lnTo>
                  <a:lnTo>
                    <a:pt x="117" y="224"/>
                  </a:lnTo>
                  <a:lnTo>
                    <a:pt x="117" y="227"/>
                  </a:lnTo>
                  <a:lnTo>
                    <a:pt x="117" y="229"/>
                  </a:lnTo>
                  <a:lnTo>
                    <a:pt x="115" y="229"/>
                  </a:lnTo>
                  <a:lnTo>
                    <a:pt x="117" y="232"/>
                  </a:lnTo>
                  <a:lnTo>
                    <a:pt x="120" y="232"/>
                  </a:lnTo>
                  <a:lnTo>
                    <a:pt x="130" y="229"/>
                  </a:lnTo>
                  <a:lnTo>
                    <a:pt x="135" y="229"/>
                  </a:lnTo>
                  <a:lnTo>
                    <a:pt x="140" y="227"/>
                  </a:lnTo>
                  <a:lnTo>
                    <a:pt x="143" y="227"/>
                  </a:lnTo>
                  <a:lnTo>
                    <a:pt x="145" y="227"/>
                  </a:lnTo>
                  <a:lnTo>
                    <a:pt x="148" y="224"/>
                  </a:lnTo>
                  <a:lnTo>
                    <a:pt x="150" y="222"/>
                  </a:lnTo>
                  <a:lnTo>
                    <a:pt x="150" y="222"/>
                  </a:lnTo>
                  <a:lnTo>
                    <a:pt x="148" y="222"/>
                  </a:lnTo>
                  <a:lnTo>
                    <a:pt x="150" y="222"/>
                  </a:lnTo>
                  <a:lnTo>
                    <a:pt x="155" y="219"/>
                  </a:lnTo>
                  <a:lnTo>
                    <a:pt x="163" y="214"/>
                  </a:lnTo>
                  <a:lnTo>
                    <a:pt x="165" y="214"/>
                  </a:lnTo>
                  <a:lnTo>
                    <a:pt x="168" y="214"/>
                  </a:lnTo>
                  <a:lnTo>
                    <a:pt x="171" y="212"/>
                  </a:lnTo>
                  <a:lnTo>
                    <a:pt x="171" y="212"/>
                  </a:lnTo>
                  <a:lnTo>
                    <a:pt x="171" y="214"/>
                  </a:lnTo>
                  <a:lnTo>
                    <a:pt x="165" y="214"/>
                  </a:lnTo>
                  <a:lnTo>
                    <a:pt x="160" y="217"/>
                  </a:lnTo>
                  <a:lnTo>
                    <a:pt x="153" y="222"/>
                  </a:lnTo>
                  <a:lnTo>
                    <a:pt x="153" y="224"/>
                  </a:lnTo>
                  <a:lnTo>
                    <a:pt x="150" y="227"/>
                  </a:lnTo>
                  <a:lnTo>
                    <a:pt x="145" y="232"/>
                  </a:lnTo>
                  <a:lnTo>
                    <a:pt x="145" y="235"/>
                  </a:lnTo>
                  <a:lnTo>
                    <a:pt x="143" y="237"/>
                  </a:lnTo>
                  <a:lnTo>
                    <a:pt x="140" y="240"/>
                  </a:lnTo>
                  <a:lnTo>
                    <a:pt x="137" y="240"/>
                  </a:lnTo>
                  <a:lnTo>
                    <a:pt x="132" y="242"/>
                  </a:lnTo>
                  <a:lnTo>
                    <a:pt x="130" y="245"/>
                  </a:lnTo>
                  <a:lnTo>
                    <a:pt x="130" y="247"/>
                  </a:lnTo>
                  <a:lnTo>
                    <a:pt x="132" y="245"/>
                  </a:lnTo>
                  <a:lnTo>
                    <a:pt x="135" y="245"/>
                  </a:lnTo>
                  <a:lnTo>
                    <a:pt x="130" y="247"/>
                  </a:lnTo>
                  <a:lnTo>
                    <a:pt x="127" y="250"/>
                  </a:lnTo>
                  <a:lnTo>
                    <a:pt x="127" y="250"/>
                  </a:lnTo>
                  <a:lnTo>
                    <a:pt x="125" y="252"/>
                  </a:lnTo>
                  <a:lnTo>
                    <a:pt x="122" y="255"/>
                  </a:lnTo>
                  <a:lnTo>
                    <a:pt x="117" y="255"/>
                  </a:lnTo>
                  <a:lnTo>
                    <a:pt x="115" y="255"/>
                  </a:lnTo>
                  <a:lnTo>
                    <a:pt x="120" y="257"/>
                  </a:lnTo>
                  <a:lnTo>
                    <a:pt x="127" y="255"/>
                  </a:lnTo>
                  <a:lnTo>
                    <a:pt x="130" y="252"/>
                  </a:lnTo>
                  <a:lnTo>
                    <a:pt x="132" y="252"/>
                  </a:lnTo>
                  <a:lnTo>
                    <a:pt x="132" y="252"/>
                  </a:lnTo>
                  <a:lnTo>
                    <a:pt x="135" y="252"/>
                  </a:lnTo>
                  <a:lnTo>
                    <a:pt x="140" y="250"/>
                  </a:lnTo>
                  <a:lnTo>
                    <a:pt x="143" y="250"/>
                  </a:lnTo>
                  <a:lnTo>
                    <a:pt x="148" y="250"/>
                  </a:lnTo>
                  <a:lnTo>
                    <a:pt x="150" y="247"/>
                  </a:lnTo>
                  <a:lnTo>
                    <a:pt x="153" y="247"/>
                  </a:lnTo>
                  <a:lnTo>
                    <a:pt x="153" y="250"/>
                  </a:lnTo>
                  <a:lnTo>
                    <a:pt x="153" y="250"/>
                  </a:lnTo>
                  <a:lnTo>
                    <a:pt x="155" y="252"/>
                  </a:lnTo>
                  <a:lnTo>
                    <a:pt x="158" y="252"/>
                  </a:lnTo>
                  <a:lnTo>
                    <a:pt x="160" y="250"/>
                  </a:lnTo>
                  <a:lnTo>
                    <a:pt x="160" y="250"/>
                  </a:lnTo>
                  <a:lnTo>
                    <a:pt x="163" y="252"/>
                  </a:lnTo>
                  <a:lnTo>
                    <a:pt x="163" y="255"/>
                  </a:lnTo>
                  <a:lnTo>
                    <a:pt x="160" y="260"/>
                  </a:lnTo>
                  <a:lnTo>
                    <a:pt x="160" y="260"/>
                  </a:lnTo>
                  <a:lnTo>
                    <a:pt x="163" y="260"/>
                  </a:lnTo>
                  <a:lnTo>
                    <a:pt x="165" y="257"/>
                  </a:lnTo>
                  <a:lnTo>
                    <a:pt x="171" y="255"/>
                  </a:lnTo>
                  <a:lnTo>
                    <a:pt x="173" y="252"/>
                  </a:lnTo>
                  <a:lnTo>
                    <a:pt x="176" y="250"/>
                  </a:lnTo>
                  <a:lnTo>
                    <a:pt x="178" y="250"/>
                  </a:lnTo>
                  <a:lnTo>
                    <a:pt x="178" y="250"/>
                  </a:lnTo>
                  <a:lnTo>
                    <a:pt x="178" y="250"/>
                  </a:lnTo>
                  <a:lnTo>
                    <a:pt x="181" y="247"/>
                  </a:lnTo>
                  <a:lnTo>
                    <a:pt x="183" y="247"/>
                  </a:lnTo>
                  <a:lnTo>
                    <a:pt x="186" y="247"/>
                  </a:lnTo>
                  <a:lnTo>
                    <a:pt x="188" y="247"/>
                  </a:lnTo>
                  <a:lnTo>
                    <a:pt x="188" y="247"/>
                  </a:lnTo>
                  <a:lnTo>
                    <a:pt x="188" y="247"/>
                  </a:lnTo>
                  <a:lnTo>
                    <a:pt x="186" y="247"/>
                  </a:lnTo>
                  <a:lnTo>
                    <a:pt x="183" y="247"/>
                  </a:lnTo>
                  <a:lnTo>
                    <a:pt x="181" y="250"/>
                  </a:lnTo>
                  <a:lnTo>
                    <a:pt x="178" y="252"/>
                  </a:lnTo>
                  <a:lnTo>
                    <a:pt x="178" y="252"/>
                  </a:lnTo>
                  <a:lnTo>
                    <a:pt x="178" y="252"/>
                  </a:lnTo>
                  <a:lnTo>
                    <a:pt x="178" y="255"/>
                  </a:lnTo>
                  <a:lnTo>
                    <a:pt x="178" y="255"/>
                  </a:lnTo>
                  <a:lnTo>
                    <a:pt x="181" y="255"/>
                  </a:lnTo>
                  <a:lnTo>
                    <a:pt x="191" y="252"/>
                  </a:lnTo>
                  <a:lnTo>
                    <a:pt x="201" y="250"/>
                  </a:lnTo>
                  <a:lnTo>
                    <a:pt x="206" y="247"/>
                  </a:lnTo>
                  <a:lnTo>
                    <a:pt x="214" y="245"/>
                  </a:lnTo>
                  <a:lnTo>
                    <a:pt x="206" y="250"/>
                  </a:lnTo>
                  <a:lnTo>
                    <a:pt x="201" y="252"/>
                  </a:lnTo>
                  <a:lnTo>
                    <a:pt x="201" y="252"/>
                  </a:lnTo>
                  <a:lnTo>
                    <a:pt x="201" y="252"/>
                  </a:lnTo>
                  <a:lnTo>
                    <a:pt x="194" y="255"/>
                  </a:lnTo>
                  <a:lnTo>
                    <a:pt x="188" y="257"/>
                  </a:lnTo>
                  <a:lnTo>
                    <a:pt x="183" y="260"/>
                  </a:lnTo>
                  <a:lnTo>
                    <a:pt x="183" y="263"/>
                  </a:lnTo>
                  <a:lnTo>
                    <a:pt x="181" y="263"/>
                  </a:lnTo>
                  <a:lnTo>
                    <a:pt x="181" y="265"/>
                  </a:lnTo>
                  <a:lnTo>
                    <a:pt x="183" y="265"/>
                  </a:lnTo>
                  <a:lnTo>
                    <a:pt x="183" y="265"/>
                  </a:lnTo>
                  <a:lnTo>
                    <a:pt x="178" y="265"/>
                  </a:lnTo>
                  <a:lnTo>
                    <a:pt x="176" y="265"/>
                  </a:lnTo>
                  <a:lnTo>
                    <a:pt x="173" y="268"/>
                  </a:lnTo>
                  <a:lnTo>
                    <a:pt x="171" y="270"/>
                  </a:lnTo>
                  <a:lnTo>
                    <a:pt x="165" y="275"/>
                  </a:lnTo>
                  <a:lnTo>
                    <a:pt x="163" y="275"/>
                  </a:lnTo>
                  <a:lnTo>
                    <a:pt x="163" y="278"/>
                  </a:lnTo>
                  <a:lnTo>
                    <a:pt x="163" y="278"/>
                  </a:lnTo>
                  <a:lnTo>
                    <a:pt x="160" y="278"/>
                  </a:lnTo>
                  <a:lnTo>
                    <a:pt x="163" y="280"/>
                  </a:lnTo>
                  <a:lnTo>
                    <a:pt x="163" y="280"/>
                  </a:lnTo>
                  <a:lnTo>
                    <a:pt x="163" y="280"/>
                  </a:lnTo>
                  <a:lnTo>
                    <a:pt x="160" y="280"/>
                  </a:lnTo>
                  <a:lnTo>
                    <a:pt x="160" y="280"/>
                  </a:lnTo>
                  <a:lnTo>
                    <a:pt x="158" y="280"/>
                  </a:lnTo>
                  <a:lnTo>
                    <a:pt x="160" y="278"/>
                  </a:lnTo>
                  <a:lnTo>
                    <a:pt x="158" y="278"/>
                  </a:lnTo>
                  <a:lnTo>
                    <a:pt x="158" y="278"/>
                  </a:lnTo>
                  <a:lnTo>
                    <a:pt x="155" y="280"/>
                  </a:lnTo>
                  <a:lnTo>
                    <a:pt x="150" y="280"/>
                  </a:lnTo>
                  <a:lnTo>
                    <a:pt x="148" y="283"/>
                  </a:lnTo>
                  <a:lnTo>
                    <a:pt x="145" y="283"/>
                  </a:lnTo>
                  <a:lnTo>
                    <a:pt x="143" y="283"/>
                  </a:lnTo>
                  <a:lnTo>
                    <a:pt x="137" y="285"/>
                  </a:lnTo>
                  <a:lnTo>
                    <a:pt x="135" y="288"/>
                  </a:lnTo>
                  <a:lnTo>
                    <a:pt x="132" y="291"/>
                  </a:lnTo>
                  <a:lnTo>
                    <a:pt x="130" y="291"/>
                  </a:lnTo>
                  <a:lnTo>
                    <a:pt x="127" y="291"/>
                  </a:lnTo>
                  <a:lnTo>
                    <a:pt x="127" y="293"/>
                  </a:lnTo>
                  <a:lnTo>
                    <a:pt x="125" y="293"/>
                  </a:lnTo>
                  <a:lnTo>
                    <a:pt x="125" y="296"/>
                  </a:lnTo>
                  <a:lnTo>
                    <a:pt x="125" y="296"/>
                  </a:lnTo>
                  <a:lnTo>
                    <a:pt x="122" y="296"/>
                  </a:lnTo>
                  <a:lnTo>
                    <a:pt x="122" y="293"/>
                  </a:lnTo>
                  <a:lnTo>
                    <a:pt x="122" y="293"/>
                  </a:lnTo>
                  <a:lnTo>
                    <a:pt x="122" y="293"/>
                  </a:lnTo>
                  <a:lnTo>
                    <a:pt x="122" y="293"/>
                  </a:lnTo>
                  <a:lnTo>
                    <a:pt x="117" y="296"/>
                  </a:lnTo>
                  <a:lnTo>
                    <a:pt x="112" y="296"/>
                  </a:lnTo>
                  <a:lnTo>
                    <a:pt x="102" y="301"/>
                  </a:lnTo>
                  <a:lnTo>
                    <a:pt x="94" y="303"/>
                  </a:lnTo>
                  <a:lnTo>
                    <a:pt x="92" y="303"/>
                  </a:lnTo>
                  <a:lnTo>
                    <a:pt x="86" y="306"/>
                  </a:lnTo>
                  <a:lnTo>
                    <a:pt x="84" y="306"/>
                  </a:lnTo>
                  <a:lnTo>
                    <a:pt x="79" y="308"/>
                  </a:lnTo>
                  <a:lnTo>
                    <a:pt x="76" y="311"/>
                  </a:lnTo>
                  <a:lnTo>
                    <a:pt x="74" y="311"/>
                  </a:lnTo>
                  <a:lnTo>
                    <a:pt x="74" y="313"/>
                  </a:lnTo>
                  <a:lnTo>
                    <a:pt x="74" y="313"/>
                  </a:lnTo>
                  <a:lnTo>
                    <a:pt x="74" y="313"/>
                  </a:lnTo>
                  <a:lnTo>
                    <a:pt x="74" y="316"/>
                  </a:lnTo>
                  <a:lnTo>
                    <a:pt x="74" y="316"/>
                  </a:lnTo>
                  <a:lnTo>
                    <a:pt x="74" y="316"/>
                  </a:lnTo>
                  <a:lnTo>
                    <a:pt x="71" y="316"/>
                  </a:lnTo>
                  <a:lnTo>
                    <a:pt x="71" y="316"/>
                  </a:lnTo>
                  <a:lnTo>
                    <a:pt x="71" y="313"/>
                  </a:lnTo>
                  <a:lnTo>
                    <a:pt x="71" y="313"/>
                  </a:lnTo>
                  <a:lnTo>
                    <a:pt x="69" y="313"/>
                  </a:lnTo>
                  <a:lnTo>
                    <a:pt x="66" y="313"/>
                  </a:lnTo>
                  <a:lnTo>
                    <a:pt x="66" y="316"/>
                  </a:lnTo>
                  <a:lnTo>
                    <a:pt x="64" y="316"/>
                  </a:lnTo>
                  <a:lnTo>
                    <a:pt x="64" y="316"/>
                  </a:lnTo>
                  <a:lnTo>
                    <a:pt x="64" y="316"/>
                  </a:lnTo>
                  <a:lnTo>
                    <a:pt x="64" y="313"/>
                  </a:lnTo>
                  <a:lnTo>
                    <a:pt x="64" y="313"/>
                  </a:lnTo>
                  <a:lnTo>
                    <a:pt x="66" y="313"/>
                  </a:lnTo>
                  <a:lnTo>
                    <a:pt x="69" y="311"/>
                  </a:lnTo>
                  <a:lnTo>
                    <a:pt x="69" y="311"/>
                  </a:lnTo>
                  <a:lnTo>
                    <a:pt x="66" y="311"/>
                  </a:lnTo>
                  <a:lnTo>
                    <a:pt x="64" y="313"/>
                  </a:lnTo>
                  <a:lnTo>
                    <a:pt x="64" y="313"/>
                  </a:lnTo>
                  <a:lnTo>
                    <a:pt x="64" y="311"/>
                  </a:lnTo>
                  <a:lnTo>
                    <a:pt x="64" y="311"/>
                  </a:lnTo>
                  <a:lnTo>
                    <a:pt x="64" y="311"/>
                  </a:lnTo>
                  <a:lnTo>
                    <a:pt x="53" y="313"/>
                  </a:lnTo>
                  <a:lnTo>
                    <a:pt x="46" y="316"/>
                  </a:lnTo>
                  <a:lnTo>
                    <a:pt x="41" y="319"/>
                  </a:lnTo>
                  <a:lnTo>
                    <a:pt x="36" y="321"/>
                  </a:lnTo>
                  <a:lnTo>
                    <a:pt x="28" y="324"/>
                  </a:lnTo>
                  <a:lnTo>
                    <a:pt x="23" y="326"/>
                  </a:lnTo>
                  <a:lnTo>
                    <a:pt x="20" y="326"/>
                  </a:lnTo>
                  <a:lnTo>
                    <a:pt x="18" y="329"/>
                  </a:lnTo>
                  <a:lnTo>
                    <a:pt x="15" y="329"/>
                  </a:lnTo>
                  <a:lnTo>
                    <a:pt x="15" y="329"/>
                  </a:lnTo>
                  <a:lnTo>
                    <a:pt x="15" y="329"/>
                  </a:lnTo>
                  <a:lnTo>
                    <a:pt x="13" y="329"/>
                  </a:lnTo>
                  <a:lnTo>
                    <a:pt x="13" y="329"/>
                  </a:lnTo>
                  <a:lnTo>
                    <a:pt x="13" y="329"/>
                  </a:lnTo>
                  <a:lnTo>
                    <a:pt x="7" y="331"/>
                  </a:lnTo>
                  <a:lnTo>
                    <a:pt x="5" y="331"/>
                  </a:lnTo>
                  <a:lnTo>
                    <a:pt x="5" y="331"/>
                  </a:lnTo>
                  <a:lnTo>
                    <a:pt x="5" y="334"/>
                  </a:lnTo>
                  <a:lnTo>
                    <a:pt x="2" y="334"/>
                  </a:lnTo>
                  <a:lnTo>
                    <a:pt x="0" y="336"/>
                  </a:lnTo>
                  <a:lnTo>
                    <a:pt x="0" y="336"/>
                  </a:lnTo>
                  <a:lnTo>
                    <a:pt x="0" y="336"/>
                  </a:lnTo>
                  <a:lnTo>
                    <a:pt x="2" y="336"/>
                  </a:lnTo>
                  <a:lnTo>
                    <a:pt x="5" y="334"/>
                  </a:lnTo>
                  <a:lnTo>
                    <a:pt x="7" y="334"/>
                  </a:lnTo>
                  <a:lnTo>
                    <a:pt x="7" y="331"/>
                  </a:lnTo>
                  <a:lnTo>
                    <a:pt x="7" y="331"/>
                  </a:lnTo>
                  <a:lnTo>
                    <a:pt x="10" y="331"/>
                  </a:lnTo>
                  <a:lnTo>
                    <a:pt x="10" y="334"/>
                  </a:lnTo>
                  <a:lnTo>
                    <a:pt x="10" y="334"/>
                  </a:lnTo>
                  <a:lnTo>
                    <a:pt x="15" y="334"/>
                  </a:lnTo>
                  <a:lnTo>
                    <a:pt x="15" y="331"/>
                  </a:lnTo>
                  <a:lnTo>
                    <a:pt x="18" y="331"/>
                  </a:lnTo>
                  <a:lnTo>
                    <a:pt x="20" y="329"/>
                  </a:lnTo>
                  <a:lnTo>
                    <a:pt x="20" y="329"/>
                  </a:lnTo>
                  <a:lnTo>
                    <a:pt x="23" y="329"/>
                  </a:lnTo>
                  <a:lnTo>
                    <a:pt x="23" y="329"/>
                  </a:lnTo>
                  <a:lnTo>
                    <a:pt x="23" y="329"/>
                  </a:lnTo>
                  <a:lnTo>
                    <a:pt x="20" y="331"/>
                  </a:lnTo>
                  <a:lnTo>
                    <a:pt x="20" y="331"/>
                  </a:lnTo>
                  <a:lnTo>
                    <a:pt x="20" y="331"/>
                  </a:lnTo>
                  <a:lnTo>
                    <a:pt x="20" y="331"/>
                  </a:lnTo>
                  <a:lnTo>
                    <a:pt x="20" y="331"/>
                  </a:lnTo>
                  <a:lnTo>
                    <a:pt x="20" y="331"/>
                  </a:lnTo>
                  <a:lnTo>
                    <a:pt x="23" y="331"/>
                  </a:lnTo>
                  <a:lnTo>
                    <a:pt x="25" y="331"/>
                  </a:lnTo>
                  <a:lnTo>
                    <a:pt x="25" y="329"/>
                  </a:lnTo>
                  <a:lnTo>
                    <a:pt x="28" y="329"/>
                  </a:lnTo>
                  <a:lnTo>
                    <a:pt x="30" y="329"/>
                  </a:lnTo>
                  <a:lnTo>
                    <a:pt x="41" y="324"/>
                  </a:lnTo>
                  <a:lnTo>
                    <a:pt x="41" y="324"/>
                  </a:lnTo>
                  <a:lnTo>
                    <a:pt x="43" y="321"/>
                  </a:lnTo>
                  <a:lnTo>
                    <a:pt x="46" y="321"/>
                  </a:lnTo>
                  <a:lnTo>
                    <a:pt x="46" y="321"/>
                  </a:lnTo>
                  <a:lnTo>
                    <a:pt x="48" y="319"/>
                  </a:lnTo>
                  <a:lnTo>
                    <a:pt x="51" y="319"/>
                  </a:lnTo>
                  <a:lnTo>
                    <a:pt x="51" y="319"/>
                  </a:lnTo>
                  <a:lnTo>
                    <a:pt x="53" y="321"/>
                  </a:lnTo>
                  <a:lnTo>
                    <a:pt x="53" y="321"/>
                  </a:lnTo>
                  <a:lnTo>
                    <a:pt x="53" y="321"/>
                  </a:lnTo>
                  <a:lnTo>
                    <a:pt x="51" y="321"/>
                  </a:lnTo>
                  <a:lnTo>
                    <a:pt x="51" y="321"/>
                  </a:lnTo>
                  <a:lnTo>
                    <a:pt x="48" y="321"/>
                  </a:lnTo>
                  <a:lnTo>
                    <a:pt x="48" y="321"/>
                  </a:lnTo>
                  <a:lnTo>
                    <a:pt x="46" y="324"/>
                  </a:lnTo>
                  <a:lnTo>
                    <a:pt x="43" y="324"/>
                  </a:lnTo>
                  <a:lnTo>
                    <a:pt x="43" y="324"/>
                  </a:lnTo>
                  <a:lnTo>
                    <a:pt x="46" y="326"/>
                  </a:lnTo>
                  <a:lnTo>
                    <a:pt x="48" y="324"/>
                  </a:lnTo>
                  <a:lnTo>
                    <a:pt x="51" y="324"/>
                  </a:lnTo>
                  <a:lnTo>
                    <a:pt x="53" y="324"/>
                  </a:lnTo>
                  <a:lnTo>
                    <a:pt x="56" y="321"/>
                  </a:lnTo>
                  <a:lnTo>
                    <a:pt x="56" y="321"/>
                  </a:lnTo>
                  <a:lnTo>
                    <a:pt x="58" y="324"/>
                  </a:lnTo>
                  <a:lnTo>
                    <a:pt x="58" y="321"/>
                  </a:lnTo>
                  <a:lnTo>
                    <a:pt x="61" y="321"/>
                  </a:lnTo>
                  <a:lnTo>
                    <a:pt x="61" y="321"/>
                  </a:lnTo>
                  <a:lnTo>
                    <a:pt x="64" y="321"/>
                  </a:lnTo>
                  <a:lnTo>
                    <a:pt x="64" y="321"/>
                  </a:lnTo>
                  <a:lnTo>
                    <a:pt x="66" y="321"/>
                  </a:lnTo>
                  <a:lnTo>
                    <a:pt x="66" y="319"/>
                  </a:lnTo>
                  <a:lnTo>
                    <a:pt x="69" y="319"/>
                  </a:lnTo>
                  <a:lnTo>
                    <a:pt x="71" y="319"/>
                  </a:lnTo>
                  <a:lnTo>
                    <a:pt x="76" y="316"/>
                  </a:lnTo>
                  <a:lnTo>
                    <a:pt x="79" y="316"/>
                  </a:lnTo>
                  <a:lnTo>
                    <a:pt x="79" y="316"/>
                  </a:lnTo>
                  <a:lnTo>
                    <a:pt x="81" y="316"/>
                  </a:lnTo>
                  <a:lnTo>
                    <a:pt x="81" y="316"/>
                  </a:lnTo>
                  <a:lnTo>
                    <a:pt x="84" y="316"/>
                  </a:lnTo>
                  <a:lnTo>
                    <a:pt x="84" y="316"/>
                  </a:lnTo>
                  <a:lnTo>
                    <a:pt x="84" y="316"/>
                  </a:lnTo>
                  <a:lnTo>
                    <a:pt x="84" y="316"/>
                  </a:lnTo>
                  <a:lnTo>
                    <a:pt x="81" y="319"/>
                  </a:lnTo>
                  <a:lnTo>
                    <a:pt x="79" y="319"/>
                  </a:lnTo>
                  <a:lnTo>
                    <a:pt x="81" y="319"/>
                  </a:lnTo>
                  <a:lnTo>
                    <a:pt x="84" y="319"/>
                  </a:lnTo>
                  <a:lnTo>
                    <a:pt x="84" y="316"/>
                  </a:lnTo>
                  <a:lnTo>
                    <a:pt x="86" y="316"/>
                  </a:lnTo>
                  <a:lnTo>
                    <a:pt x="89" y="316"/>
                  </a:lnTo>
                  <a:lnTo>
                    <a:pt x="104" y="311"/>
                  </a:lnTo>
                  <a:lnTo>
                    <a:pt x="107" y="311"/>
                  </a:lnTo>
                  <a:lnTo>
                    <a:pt x="109" y="308"/>
                  </a:lnTo>
                  <a:lnTo>
                    <a:pt x="112" y="308"/>
                  </a:lnTo>
                  <a:lnTo>
                    <a:pt x="112" y="308"/>
                  </a:lnTo>
                  <a:lnTo>
                    <a:pt x="112" y="308"/>
                  </a:lnTo>
                  <a:lnTo>
                    <a:pt x="109" y="311"/>
                  </a:lnTo>
                  <a:lnTo>
                    <a:pt x="109" y="311"/>
                  </a:lnTo>
                  <a:lnTo>
                    <a:pt x="109" y="311"/>
                  </a:lnTo>
                  <a:lnTo>
                    <a:pt x="112" y="308"/>
                  </a:lnTo>
                  <a:lnTo>
                    <a:pt x="117" y="308"/>
                  </a:lnTo>
                  <a:lnTo>
                    <a:pt x="117" y="308"/>
                  </a:lnTo>
                  <a:lnTo>
                    <a:pt x="117" y="306"/>
                  </a:lnTo>
                  <a:lnTo>
                    <a:pt x="117" y="306"/>
                  </a:lnTo>
                  <a:lnTo>
                    <a:pt x="117" y="306"/>
                  </a:lnTo>
                  <a:lnTo>
                    <a:pt x="117" y="306"/>
                  </a:lnTo>
                  <a:lnTo>
                    <a:pt x="115" y="306"/>
                  </a:lnTo>
                  <a:lnTo>
                    <a:pt x="115" y="306"/>
                  </a:lnTo>
                  <a:lnTo>
                    <a:pt x="117" y="303"/>
                  </a:lnTo>
                  <a:lnTo>
                    <a:pt x="120" y="303"/>
                  </a:lnTo>
                  <a:lnTo>
                    <a:pt x="122" y="301"/>
                  </a:lnTo>
                  <a:lnTo>
                    <a:pt x="125" y="301"/>
                  </a:lnTo>
                  <a:lnTo>
                    <a:pt x="127" y="301"/>
                  </a:lnTo>
                  <a:lnTo>
                    <a:pt x="127" y="301"/>
                  </a:lnTo>
                  <a:lnTo>
                    <a:pt x="130" y="301"/>
                  </a:lnTo>
                  <a:lnTo>
                    <a:pt x="130" y="301"/>
                  </a:lnTo>
                  <a:lnTo>
                    <a:pt x="130" y="301"/>
                  </a:lnTo>
                  <a:lnTo>
                    <a:pt x="130" y="301"/>
                  </a:lnTo>
                  <a:lnTo>
                    <a:pt x="130" y="301"/>
                  </a:lnTo>
                  <a:lnTo>
                    <a:pt x="130" y="298"/>
                  </a:lnTo>
                  <a:lnTo>
                    <a:pt x="135" y="298"/>
                  </a:lnTo>
                  <a:lnTo>
                    <a:pt x="137" y="298"/>
                  </a:lnTo>
                  <a:lnTo>
                    <a:pt x="137" y="298"/>
                  </a:lnTo>
                  <a:lnTo>
                    <a:pt x="137" y="298"/>
                  </a:lnTo>
                  <a:lnTo>
                    <a:pt x="140" y="298"/>
                  </a:lnTo>
                  <a:lnTo>
                    <a:pt x="140" y="298"/>
                  </a:lnTo>
                  <a:lnTo>
                    <a:pt x="143" y="296"/>
                  </a:lnTo>
                  <a:lnTo>
                    <a:pt x="145" y="296"/>
                  </a:lnTo>
                  <a:lnTo>
                    <a:pt x="148" y="293"/>
                  </a:lnTo>
                  <a:lnTo>
                    <a:pt x="148" y="293"/>
                  </a:lnTo>
                  <a:lnTo>
                    <a:pt x="148" y="293"/>
                  </a:lnTo>
                  <a:lnTo>
                    <a:pt x="150" y="293"/>
                  </a:lnTo>
                  <a:lnTo>
                    <a:pt x="150" y="293"/>
                  </a:lnTo>
                  <a:lnTo>
                    <a:pt x="153" y="293"/>
                  </a:lnTo>
                  <a:lnTo>
                    <a:pt x="155" y="293"/>
                  </a:lnTo>
                  <a:lnTo>
                    <a:pt x="158" y="291"/>
                  </a:lnTo>
                  <a:lnTo>
                    <a:pt x="158" y="291"/>
                  </a:lnTo>
                  <a:lnTo>
                    <a:pt x="160" y="291"/>
                  </a:lnTo>
                  <a:lnTo>
                    <a:pt x="160" y="291"/>
                  </a:lnTo>
                  <a:lnTo>
                    <a:pt x="163" y="291"/>
                  </a:lnTo>
                  <a:lnTo>
                    <a:pt x="163" y="291"/>
                  </a:lnTo>
                  <a:lnTo>
                    <a:pt x="165" y="288"/>
                  </a:lnTo>
                  <a:lnTo>
                    <a:pt x="168" y="288"/>
                  </a:lnTo>
                  <a:lnTo>
                    <a:pt x="168" y="288"/>
                  </a:lnTo>
                  <a:lnTo>
                    <a:pt x="173" y="285"/>
                  </a:lnTo>
                  <a:lnTo>
                    <a:pt x="173" y="285"/>
                  </a:lnTo>
                  <a:lnTo>
                    <a:pt x="173" y="283"/>
                  </a:lnTo>
                  <a:lnTo>
                    <a:pt x="173" y="283"/>
                  </a:lnTo>
                  <a:lnTo>
                    <a:pt x="173" y="283"/>
                  </a:lnTo>
                  <a:lnTo>
                    <a:pt x="176" y="283"/>
                  </a:lnTo>
                  <a:lnTo>
                    <a:pt x="181" y="280"/>
                  </a:lnTo>
                  <a:lnTo>
                    <a:pt x="183" y="280"/>
                  </a:lnTo>
                  <a:lnTo>
                    <a:pt x="183" y="280"/>
                  </a:lnTo>
                  <a:lnTo>
                    <a:pt x="183" y="280"/>
                  </a:lnTo>
                  <a:lnTo>
                    <a:pt x="186" y="278"/>
                  </a:lnTo>
                  <a:lnTo>
                    <a:pt x="188" y="278"/>
                  </a:lnTo>
                  <a:lnTo>
                    <a:pt x="191" y="278"/>
                  </a:lnTo>
                  <a:lnTo>
                    <a:pt x="191" y="278"/>
                  </a:lnTo>
                  <a:lnTo>
                    <a:pt x="194" y="278"/>
                  </a:lnTo>
                  <a:lnTo>
                    <a:pt x="196" y="275"/>
                  </a:lnTo>
                  <a:lnTo>
                    <a:pt x="199" y="275"/>
                  </a:lnTo>
                  <a:lnTo>
                    <a:pt x="199" y="275"/>
                  </a:lnTo>
                  <a:lnTo>
                    <a:pt x="201" y="275"/>
                  </a:lnTo>
                  <a:lnTo>
                    <a:pt x="204" y="273"/>
                  </a:lnTo>
                  <a:lnTo>
                    <a:pt x="206" y="273"/>
                  </a:lnTo>
                  <a:lnTo>
                    <a:pt x="209" y="273"/>
                  </a:lnTo>
                  <a:lnTo>
                    <a:pt x="211" y="270"/>
                  </a:lnTo>
                  <a:lnTo>
                    <a:pt x="214" y="268"/>
                  </a:lnTo>
                  <a:lnTo>
                    <a:pt x="224" y="268"/>
                  </a:lnTo>
                  <a:lnTo>
                    <a:pt x="224" y="268"/>
                  </a:lnTo>
                  <a:lnTo>
                    <a:pt x="224" y="268"/>
                  </a:lnTo>
                  <a:lnTo>
                    <a:pt x="229" y="265"/>
                  </a:lnTo>
                  <a:lnTo>
                    <a:pt x="229" y="265"/>
                  </a:lnTo>
                  <a:lnTo>
                    <a:pt x="232" y="265"/>
                  </a:lnTo>
                  <a:lnTo>
                    <a:pt x="234" y="265"/>
                  </a:lnTo>
                  <a:lnTo>
                    <a:pt x="234" y="263"/>
                  </a:lnTo>
                  <a:lnTo>
                    <a:pt x="234" y="263"/>
                  </a:lnTo>
                  <a:lnTo>
                    <a:pt x="234" y="263"/>
                  </a:lnTo>
                  <a:lnTo>
                    <a:pt x="239" y="263"/>
                  </a:lnTo>
                  <a:lnTo>
                    <a:pt x="239" y="260"/>
                  </a:lnTo>
                  <a:lnTo>
                    <a:pt x="242" y="260"/>
                  </a:lnTo>
                  <a:lnTo>
                    <a:pt x="242" y="257"/>
                  </a:lnTo>
                  <a:lnTo>
                    <a:pt x="247" y="257"/>
                  </a:lnTo>
                  <a:lnTo>
                    <a:pt x="250" y="257"/>
                  </a:lnTo>
                  <a:lnTo>
                    <a:pt x="252" y="255"/>
                  </a:lnTo>
                  <a:lnTo>
                    <a:pt x="255" y="255"/>
                  </a:lnTo>
                  <a:lnTo>
                    <a:pt x="260" y="252"/>
                  </a:lnTo>
                  <a:lnTo>
                    <a:pt x="262" y="252"/>
                  </a:lnTo>
                  <a:lnTo>
                    <a:pt x="262" y="250"/>
                  </a:lnTo>
                  <a:lnTo>
                    <a:pt x="265" y="250"/>
                  </a:lnTo>
                  <a:lnTo>
                    <a:pt x="265" y="250"/>
                  </a:lnTo>
                  <a:lnTo>
                    <a:pt x="265" y="250"/>
                  </a:lnTo>
                  <a:lnTo>
                    <a:pt x="262" y="247"/>
                  </a:lnTo>
                  <a:lnTo>
                    <a:pt x="260" y="247"/>
                  </a:lnTo>
                  <a:lnTo>
                    <a:pt x="260" y="247"/>
                  </a:lnTo>
                  <a:lnTo>
                    <a:pt x="257" y="245"/>
                  </a:lnTo>
                  <a:lnTo>
                    <a:pt x="257" y="245"/>
                  </a:lnTo>
                  <a:lnTo>
                    <a:pt x="260" y="242"/>
                  </a:lnTo>
                  <a:lnTo>
                    <a:pt x="262" y="242"/>
                  </a:lnTo>
                  <a:lnTo>
                    <a:pt x="262" y="240"/>
                  </a:lnTo>
                  <a:lnTo>
                    <a:pt x="270" y="237"/>
                  </a:lnTo>
                  <a:lnTo>
                    <a:pt x="273" y="237"/>
                  </a:lnTo>
                  <a:lnTo>
                    <a:pt x="275" y="237"/>
                  </a:lnTo>
                  <a:lnTo>
                    <a:pt x="278" y="235"/>
                  </a:lnTo>
                  <a:lnTo>
                    <a:pt x="278" y="235"/>
                  </a:lnTo>
                  <a:lnTo>
                    <a:pt x="278" y="235"/>
                  </a:lnTo>
                  <a:lnTo>
                    <a:pt x="278" y="235"/>
                  </a:lnTo>
                  <a:lnTo>
                    <a:pt x="283" y="232"/>
                  </a:lnTo>
                  <a:lnTo>
                    <a:pt x="283" y="232"/>
                  </a:lnTo>
                  <a:lnTo>
                    <a:pt x="285" y="232"/>
                  </a:lnTo>
                  <a:lnTo>
                    <a:pt x="283" y="232"/>
                  </a:lnTo>
                  <a:lnTo>
                    <a:pt x="283" y="235"/>
                  </a:lnTo>
                  <a:lnTo>
                    <a:pt x="283" y="235"/>
                  </a:lnTo>
                  <a:lnTo>
                    <a:pt x="285" y="235"/>
                  </a:lnTo>
                  <a:lnTo>
                    <a:pt x="288" y="232"/>
                  </a:lnTo>
                  <a:lnTo>
                    <a:pt x="290" y="232"/>
                  </a:lnTo>
                  <a:lnTo>
                    <a:pt x="290" y="232"/>
                  </a:lnTo>
                  <a:lnTo>
                    <a:pt x="290" y="232"/>
                  </a:lnTo>
                  <a:lnTo>
                    <a:pt x="290" y="229"/>
                  </a:lnTo>
                  <a:lnTo>
                    <a:pt x="290" y="229"/>
                  </a:lnTo>
                  <a:lnTo>
                    <a:pt x="293" y="229"/>
                  </a:lnTo>
                  <a:lnTo>
                    <a:pt x="295" y="229"/>
                  </a:lnTo>
                  <a:lnTo>
                    <a:pt x="298" y="229"/>
                  </a:lnTo>
                  <a:lnTo>
                    <a:pt x="303" y="227"/>
                  </a:lnTo>
                  <a:lnTo>
                    <a:pt x="303" y="227"/>
                  </a:lnTo>
                  <a:lnTo>
                    <a:pt x="306" y="224"/>
                  </a:lnTo>
                  <a:lnTo>
                    <a:pt x="306" y="224"/>
                  </a:lnTo>
                  <a:lnTo>
                    <a:pt x="306" y="224"/>
                  </a:lnTo>
                  <a:lnTo>
                    <a:pt x="306" y="222"/>
                  </a:lnTo>
                  <a:lnTo>
                    <a:pt x="303" y="222"/>
                  </a:lnTo>
                  <a:lnTo>
                    <a:pt x="303" y="222"/>
                  </a:lnTo>
                  <a:lnTo>
                    <a:pt x="306" y="222"/>
                  </a:lnTo>
                  <a:lnTo>
                    <a:pt x="306" y="222"/>
                  </a:lnTo>
                  <a:lnTo>
                    <a:pt x="308" y="222"/>
                  </a:lnTo>
                  <a:lnTo>
                    <a:pt x="308" y="222"/>
                  </a:lnTo>
                  <a:lnTo>
                    <a:pt x="311" y="222"/>
                  </a:lnTo>
                  <a:lnTo>
                    <a:pt x="316" y="219"/>
                  </a:lnTo>
                  <a:lnTo>
                    <a:pt x="318" y="219"/>
                  </a:lnTo>
                  <a:lnTo>
                    <a:pt x="318" y="219"/>
                  </a:lnTo>
                  <a:lnTo>
                    <a:pt x="318" y="217"/>
                  </a:lnTo>
                  <a:lnTo>
                    <a:pt x="318" y="217"/>
                  </a:lnTo>
                  <a:lnTo>
                    <a:pt x="321" y="217"/>
                  </a:lnTo>
                  <a:lnTo>
                    <a:pt x="329" y="214"/>
                  </a:lnTo>
                  <a:lnTo>
                    <a:pt x="334" y="212"/>
                  </a:lnTo>
                  <a:lnTo>
                    <a:pt x="334" y="212"/>
                  </a:lnTo>
                  <a:lnTo>
                    <a:pt x="336" y="212"/>
                  </a:lnTo>
                  <a:lnTo>
                    <a:pt x="336" y="209"/>
                  </a:lnTo>
                  <a:lnTo>
                    <a:pt x="339" y="209"/>
                  </a:lnTo>
                  <a:lnTo>
                    <a:pt x="339" y="209"/>
                  </a:lnTo>
                  <a:lnTo>
                    <a:pt x="344" y="207"/>
                  </a:lnTo>
                  <a:lnTo>
                    <a:pt x="346" y="207"/>
                  </a:lnTo>
                  <a:lnTo>
                    <a:pt x="349" y="207"/>
                  </a:lnTo>
                  <a:lnTo>
                    <a:pt x="354" y="204"/>
                  </a:lnTo>
                  <a:lnTo>
                    <a:pt x="357" y="204"/>
                  </a:lnTo>
                  <a:lnTo>
                    <a:pt x="359" y="201"/>
                  </a:lnTo>
                  <a:lnTo>
                    <a:pt x="367" y="201"/>
                  </a:lnTo>
                  <a:lnTo>
                    <a:pt x="369" y="199"/>
                  </a:lnTo>
                  <a:lnTo>
                    <a:pt x="369" y="201"/>
                  </a:lnTo>
                  <a:lnTo>
                    <a:pt x="369" y="201"/>
                  </a:lnTo>
                  <a:lnTo>
                    <a:pt x="374" y="201"/>
                  </a:lnTo>
                  <a:lnTo>
                    <a:pt x="377" y="201"/>
                  </a:lnTo>
                  <a:lnTo>
                    <a:pt x="377" y="201"/>
                  </a:lnTo>
                  <a:lnTo>
                    <a:pt x="380" y="199"/>
                  </a:lnTo>
                  <a:lnTo>
                    <a:pt x="382" y="199"/>
                  </a:lnTo>
                  <a:lnTo>
                    <a:pt x="387" y="196"/>
                  </a:lnTo>
                  <a:lnTo>
                    <a:pt x="387" y="196"/>
                  </a:lnTo>
                  <a:lnTo>
                    <a:pt x="390" y="196"/>
                  </a:lnTo>
                  <a:lnTo>
                    <a:pt x="392" y="196"/>
                  </a:lnTo>
                  <a:lnTo>
                    <a:pt x="387" y="199"/>
                  </a:lnTo>
                  <a:lnTo>
                    <a:pt x="382" y="199"/>
                  </a:lnTo>
                  <a:lnTo>
                    <a:pt x="380" y="199"/>
                  </a:lnTo>
                  <a:lnTo>
                    <a:pt x="377" y="201"/>
                  </a:lnTo>
                  <a:lnTo>
                    <a:pt x="377" y="201"/>
                  </a:lnTo>
                  <a:lnTo>
                    <a:pt x="377" y="201"/>
                  </a:lnTo>
                  <a:lnTo>
                    <a:pt x="374" y="201"/>
                  </a:lnTo>
                  <a:lnTo>
                    <a:pt x="372" y="204"/>
                  </a:lnTo>
                  <a:lnTo>
                    <a:pt x="372" y="204"/>
                  </a:lnTo>
                  <a:lnTo>
                    <a:pt x="377" y="207"/>
                  </a:lnTo>
                  <a:lnTo>
                    <a:pt x="377" y="207"/>
                  </a:lnTo>
                  <a:lnTo>
                    <a:pt x="382" y="207"/>
                  </a:lnTo>
                  <a:lnTo>
                    <a:pt x="382" y="209"/>
                  </a:lnTo>
                  <a:lnTo>
                    <a:pt x="382" y="209"/>
                  </a:lnTo>
                  <a:lnTo>
                    <a:pt x="380" y="209"/>
                  </a:lnTo>
                  <a:lnTo>
                    <a:pt x="374" y="207"/>
                  </a:lnTo>
                  <a:lnTo>
                    <a:pt x="372" y="207"/>
                  </a:lnTo>
                  <a:lnTo>
                    <a:pt x="367" y="207"/>
                  </a:lnTo>
                  <a:lnTo>
                    <a:pt x="367" y="207"/>
                  </a:lnTo>
                  <a:lnTo>
                    <a:pt x="364" y="207"/>
                  </a:lnTo>
                  <a:lnTo>
                    <a:pt x="364" y="207"/>
                  </a:lnTo>
                  <a:lnTo>
                    <a:pt x="364" y="207"/>
                  </a:lnTo>
                  <a:lnTo>
                    <a:pt x="364" y="207"/>
                  </a:lnTo>
                  <a:lnTo>
                    <a:pt x="354" y="209"/>
                  </a:lnTo>
                  <a:lnTo>
                    <a:pt x="352" y="209"/>
                  </a:lnTo>
                  <a:lnTo>
                    <a:pt x="341" y="212"/>
                  </a:lnTo>
                  <a:lnTo>
                    <a:pt x="341" y="212"/>
                  </a:lnTo>
                  <a:lnTo>
                    <a:pt x="339" y="214"/>
                  </a:lnTo>
                  <a:lnTo>
                    <a:pt x="336" y="217"/>
                  </a:lnTo>
                  <a:lnTo>
                    <a:pt x="336" y="217"/>
                  </a:lnTo>
                  <a:lnTo>
                    <a:pt x="329" y="222"/>
                  </a:lnTo>
                  <a:lnTo>
                    <a:pt x="326" y="222"/>
                  </a:lnTo>
                  <a:lnTo>
                    <a:pt x="321" y="224"/>
                  </a:lnTo>
                  <a:lnTo>
                    <a:pt x="316" y="227"/>
                  </a:lnTo>
                  <a:lnTo>
                    <a:pt x="313" y="229"/>
                  </a:lnTo>
                  <a:lnTo>
                    <a:pt x="311" y="232"/>
                  </a:lnTo>
                  <a:lnTo>
                    <a:pt x="308" y="232"/>
                  </a:lnTo>
                  <a:lnTo>
                    <a:pt x="308" y="235"/>
                  </a:lnTo>
                  <a:lnTo>
                    <a:pt x="313" y="235"/>
                  </a:lnTo>
                  <a:lnTo>
                    <a:pt x="313" y="235"/>
                  </a:lnTo>
                  <a:lnTo>
                    <a:pt x="313" y="235"/>
                  </a:lnTo>
                  <a:lnTo>
                    <a:pt x="323" y="232"/>
                  </a:lnTo>
                  <a:lnTo>
                    <a:pt x="323" y="232"/>
                  </a:lnTo>
                  <a:lnTo>
                    <a:pt x="323" y="232"/>
                  </a:lnTo>
                  <a:lnTo>
                    <a:pt x="316" y="235"/>
                  </a:lnTo>
                  <a:lnTo>
                    <a:pt x="313" y="235"/>
                  </a:lnTo>
                  <a:lnTo>
                    <a:pt x="311" y="237"/>
                  </a:lnTo>
                  <a:lnTo>
                    <a:pt x="308" y="237"/>
                  </a:lnTo>
                  <a:lnTo>
                    <a:pt x="306" y="240"/>
                  </a:lnTo>
                  <a:lnTo>
                    <a:pt x="301" y="240"/>
                  </a:lnTo>
                  <a:lnTo>
                    <a:pt x="301" y="240"/>
                  </a:lnTo>
                  <a:lnTo>
                    <a:pt x="298" y="240"/>
                  </a:lnTo>
                  <a:lnTo>
                    <a:pt x="295" y="242"/>
                  </a:lnTo>
                  <a:lnTo>
                    <a:pt x="295" y="242"/>
                  </a:lnTo>
                  <a:lnTo>
                    <a:pt x="295" y="242"/>
                  </a:lnTo>
                  <a:lnTo>
                    <a:pt x="298" y="245"/>
                  </a:lnTo>
                  <a:lnTo>
                    <a:pt x="298" y="245"/>
                  </a:lnTo>
                  <a:lnTo>
                    <a:pt x="303" y="242"/>
                  </a:lnTo>
                  <a:lnTo>
                    <a:pt x="306" y="242"/>
                  </a:lnTo>
                  <a:lnTo>
                    <a:pt x="306" y="242"/>
                  </a:lnTo>
                  <a:lnTo>
                    <a:pt x="306" y="242"/>
                  </a:lnTo>
                  <a:lnTo>
                    <a:pt x="308" y="242"/>
                  </a:lnTo>
                  <a:lnTo>
                    <a:pt x="308" y="242"/>
                  </a:lnTo>
                  <a:lnTo>
                    <a:pt x="308" y="242"/>
                  </a:lnTo>
                  <a:lnTo>
                    <a:pt x="308" y="242"/>
                  </a:lnTo>
                  <a:lnTo>
                    <a:pt x="311" y="242"/>
                  </a:lnTo>
                  <a:lnTo>
                    <a:pt x="311" y="242"/>
                  </a:lnTo>
                  <a:lnTo>
                    <a:pt x="311" y="242"/>
                  </a:lnTo>
                  <a:lnTo>
                    <a:pt x="313" y="242"/>
                  </a:lnTo>
                  <a:lnTo>
                    <a:pt x="316" y="240"/>
                  </a:lnTo>
                  <a:lnTo>
                    <a:pt x="321" y="240"/>
                  </a:lnTo>
                  <a:lnTo>
                    <a:pt x="321" y="237"/>
                  </a:lnTo>
                  <a:lnTo>
                    <a:pt x="323" y="237"/>
                  </a:lnTo>
                  <a:lnTo>
                    <a:pt x="323" y="237"/>
                  </a:lnTo>
                  <a:lnTo>
                    <a:pt x="326" y="237"/>
                  </a:lnTo>
                  <a:lnTo>
                    <a:pt x="326" y="237"/>
                  </a:lnTo>
                  <a:lnTo>
                    <a:pt x="326" y="237"/>
                  </a:lnTo>
                  <a:lnTo>
                    <a:pt x="329" y="237"/>
                  </a:lnTo>
                  <a:lnTo>
                    <a:pt x="331" y="237"/>
                  </a:lnTo>
                  <a:lnTo>
                    <a:pt x="331" y="237"/>
                  </a:lnTo>
                  <a:lnTo>
                    <a:pt x="331" y="237"/>
                  </a:lnTo>
                  <a:lnTo>
                    <a:pt x="339" y="235"/>
                  </a:lnTo>
                  <a:lnTo>
                    <a:pt x="339" y="232"/>
                  </a:lnTo>
                  <a:lnTo>
                    <a:pt x="339" y="232"/>
                  </a:lnTo>
                  <a:lnTo>
                    <a:pt x="339" y="232"/>
                  </a:lnTo>
                  <a:lnTo>
                    <a:pt x="341" y="232"/>
                  </a:lnTo>
                  <a:lnTo>
                    <a:pt x="341" y="232"/>
                  </a:lnTo>
                  <a:lnTo>
                    <a:pt x="341" y="232"/>
                  </a:lnTo>
                  <a:lnTo>
                    <a:pt x="344" y="229"/>
                  </a:lnTo>
                  <a:lnTo>
                    <a:pt x="344" y="229"/>
                  </a:lnTo>
                  <a:lnTo>
                    <a:pt x="346" y="229"/>
                  </a:lnTo>
                  <a:lnTo>
                    <a:pt x="346" y="229"/>
                  </a:lnTo>
                  <a:lnTo>
                    <a:pt x="346" y="232"/>
                  </a:lnTo>
                  <a:lnTo>
                    <a:pt x="346" y="232"/>
                  </a:lnTo>
                  <a:lnTo>
                    <a:pt x="346" y="232"/>
                  </a:lnTo>
                  <a:lnTo>
                    <a:pt x="349" y="229"/>
                  </a:lnTo>
                  <a:lnTo>
                    <a:pt x="352" y="227"/>
                  </a:lnTo>
                  <a:lnTo>
                    <a:pt x="354" y="227"/>
                  </a:lnTo>
                  <a:lnTo>
                    <a:pt x="357" y="224"/>
                  </a:lnTo>
                  <a:lnTo>
                    <a:pt x="357" y="224"/>
                  </a:lnTo>
                  <a:lnTo>
                    <a:pt x="357" y="227"/>
                  </a:lnTo>
                  <a:lnTo>
                    <a:pt x="357" y="227"/>
                  </a:lnTo>
                  <a:lnTo>
                    <a:pt x="359" y="227"/>
                  </a:lnTo>
                  <a:lnTo>
                    <a:pt x="359" y="227"/>
                  </a:lnTo>
                  <a:lnTo>
                    <a:pt x="359" y="227"/>
                  </a:lnTo>
                  <a:lnTo>
                    <a:pt x="362" y="227"/>
                  </a:lnTo>
                  <a:lnTo>
                    <a:pt x="364" y="229"/>
                  </a:lnTo>
                  <a:lnTo>
                    <a:pt x="367" y="227"/>
                  </a:lnTo>
                  <a:lnTo>
                    <a:pt x="367" y="227"/>
                  </a:lnTo>
                  <a:lnTo>
                    <a:pt x="367" y="227"/>
                  </a:lnTo>
                  <a:lnTo>
                    <a:pt x="369" y="227"/>
                  </a:lnTo>
                  <a:lnTo>
                    <a:pt x="369" y="227"/>
                  </a:lnTo>
                  <a:lnTo>
                    <a:pt x="369" y="227"/>
                  </a:lnTo>
                  <a:lnTo>
                    <a:pt x="374" y="224"/>
                  </a:lnTo>
                  <a:lnTo>
                    <a:pt x="377" y="224"/>
                  </a:lnTo>
                  <a:lnTo>
                    <a:pt x="377" y="224"/>
                  </a:lnTo>
                  <a:lnTo>
                    <a:pt x="377" y="224"/>
                  </a:lnTo>
                  <a:lnTo>
                    <a:pt x="377" y="224"/>
                  </a:lnTo>
                  <a:lnTo>
                    <a:pt x="380" y="222"/>
                  </a:lnTo>
                  <a:lnTo>
                    <a:pt x="382" y="219"/>
                  </a:lnTo>
                  <a:lnTo>
                    <a:pt x="382" y="219"/>
                  </a:lnTo>
                  <a:lnTo>
                    <a:pt x="385" y="219"/>
                  </a:lnTo>
                  <a:lnTo>
                    <a:pt x="385" y="219"/>
                  </a:lnTo>
                  <a:lnTo>
                    <a:pt x="387" y="219"/>
                  </a:lnTo>
                  <a:lnTo>
                    <a:pt x="387" y="217"/>
                  </a:lnTo>
                  <a:lnTo>
                    <a:pt x="390" y="217"/>
                  </a:lnTo>
                  <a:lnTo>
                    <a:pt x="390" y="217"/>
                  </a:lnTo>
                  <a:lnTo>
                    <a:pt x="390" y="214"/>
                  </a:lnTo>
                  <a:lnTo>
                    <a:pt x="390" y="214"/>
                  </a:lnTo>
                  <a:lnTo>
                    <a:pt x="387" y="217"/>
                  </a:lnTo>
                  <a:lnTo>
                    <a:pt x="385" y="217"/>
                  </a:lnTo>
                  <a:lnTo>
                    <a:pt x="382" y="217"/>
                  </a:lnTo>
                  <a:lnTo>
                    <a:pt x="380" y="217"/>
                  </a:lnTo>
                  <a:lnTo>
                    <a:pt x="380" y="217"/>
                  </a:lnTo>
                  <a:lnTo>
                    <a:pt x="380" y="217"/>
                  </a:lnTo>
                  <a:lnTo>
                    <a:pt x="380" y="217"/>
                  </a:lnTo>
                  <a:lnTo>
                    <a:pt x="382" y="214"/>
                  </a:lnTo>
                  <a:lnTo>
                    <a:pt x="385" y="214"/>
                  </a:lnTo>
                  <a:lnTo>
                    <a:pt x="385" y="214"/>
                  </a:lnTo>
                  <a:lnTo>
                    <a:pt x="387" y="214"/>
                  </a:lnTo>
                  <a:lnTo>
                    <a:pt x="387" y="214"/>
                  </a:lnTo>
                  <a:lnTo>
                    <a:pt x="390" y="214"/>
                  </a:lnTo>
                  <a:lnTo>
                    <a:pt x="390" y="212"/>
                  </a:lnTo>
                  <a:lnTo>
                    <a:pt x="390" y="212"/>
                  </a:lnTo>
                  <a:lnTo>
                    <a:pt x="387" y="212"/>
                  </a:lnTo>
                  <a:lnTo>
                    <a:pt x="387" y="212"/>
                  </a:lnTo>
                  <a:lnTo>
                    <a:pt x="387" y="209"/>
                  </a:lnTo>
                  <a:lnTo>
                    <a:pt x="390" y="209"/>
                  </a:lnTo>
                  <a:lnTo>
                    <a:pt x="390" y="209"/>
                  </a:lnTo>
                  <a:lnTo>
                    <a:pt x="392" y="209"/>
                  </a:lnTo>
                  <a:lnTo>
                    <a:pt x="395" y="207"/>
                  </a:lnTo>
                  <a:lnTo>
                    <a:pt x="400" y="207"/>
                  </a:lnTo>
                  <a:lnTo>
                    <a:pt x="400" y="207"/>
                  </a:lnTo>
                  <a:lnTo>
                    <a:pt x="397" y="207"/>
                  </a:lnTo>
                  <a:lnTo>
                    <a:pt x="395" y="207"/>
                  </a:lnTo>
                  <a:lnTo>
                    <a:pt x="395" y="207"/>
                  </a:lnTo>
                  <a:lnTo>
                    <a:pt x="395" y="207"/>
                  </a:lnTo>
                  <a:lnTo>
                    <a:pt x="397" y="204"/>
                  </a:lnTo>
                  <a:lnTo>
                    <a:pt x="400" y="204"/>
                  </a:lnTo>
                  <a:lnTo>
                    <a:pt x="400" y="204"/>
                  </a:lnTo>
                  <a:lnTo>
                    <a:pt x="400" y="204"/>
                  </a:lnTo>
                  <a:lnTo>
                    <a:pt x="402" y="204"/>
                  </a:lnTo>
                  <a:lnTo>
                    <a:pt x="405" y="204"/>
                  </a:lnTo>
                  <a:lnTo>
                    <a:pt x="408" y="201"/>
                  </a:lnTo>
                  <a:lnTo>
                    <a:pt x="410" y="201"/>
                  </a:lnTo>
                  <a:lnTo>
                    <a:pt x="410" y="201"/>
                  </a:lnTo>
                  <a:lnTo>
                    <a:pt x="402" y="207"/>
                  </a:lnTo>
                  <a:lnTo>
                    <a:pt x="400" y="207"/>
                  </a:lnTo>
                  <a:lnTo>
                    <a:pt x="400" y="207"/>
                  </a:lnTo>
                  <a:lnTo>
                    <a:pt x="400" y="209"/>
                  </a:lnTo>
                  <a:lnTo>
                    <a:pt x="402" y="209"/>
                  </a:lnTo>
                  <a:lnTo>
                    <a:pt x="405" y="209"/>
                  </a:lnTo>
                  <a:lnTo>
                    <a:pt x="405" y="207"/>
                  </a:lnTo>
                  <a:lnTo>
                    <a:pt x="408" y="207"/>
                  </a:lnTo>
                  <a:lnTo>
                    <a:pt x="408" y="207"/>
                  </a:lnTo>
                  <a:lnTo>
                    <a:pt x="408" y="207"/>
                  </a:lnTo>
                  <a:lnTo>
                    <a:pt x="410" y="207"/>
                  </a:lnTo>
                  <a:lnTo>
                    <a:pt x="410" y="209"/>
                  </a:lnTo>
                  <a:lnTo>
                    <a:pt x="410" y="209"/>
                  </a:lnTo>
                  <a:lnTo>
                    <a:pt x="410" y="209"/>
                  </a:lnTo>
                  <a:lnTo>
                    <a:pt x="410" y="207"/>
                  </a:lnTo>
                  <a:lnTo>
                    <a:pt x="413" y="207"/>
                  </a:lnTo>
                  <a:lnTo>
                    <a:pt x="415" y="207"/>
                  </a:lnTo>
                  <a:lnTo>
                    <a:pt x="415" y="207"/>
                  </a:lnTo>
                  <a:lnTo>
                    <a:pt x="418" y="207"/>
                  </a:lnTo>
                  <a:lnTo>
                    <a:pt x="418" y="207"/>
                  </a:lnTo>
                  <a:lnTo>
                    <a:pt x="420" y="207"/>
                  </a:lnTo>
                  <a:lnTo>
                    <a:pt x="423" y="204"/>
                  </a:lnTo>
                  <a:lnTo>
                    <a:pt x="428" y="204"/>
                  </a:lnTo>
                  <a:lnTo>
                    <a:pt x="431" y="204"/>
                  </a:lnTo>
                  <a:lnTo>
                    <a:pt x="431" y="204"/>
                  </a:lnTo>
                  <a:lnTo>
                    <a:pt x="425" y="207"/>
                  </a:lnTo>
                  <a:lnTo>
                    <a:pt x="423" y="207"/>
                  </a:lnTo>
                  <a:lnTo>
                    <a:pt x="420" y="209"/>
                  </a:lnTo>
                  <a:lnTo>
                    <a:pt x="420" y="209"/>
                  </a:lnTo>
                  <a:lnTo>
                    <a:pt x="420" y="209"/>
                  </a:lnTo>
                  <a:lnTo>
                    <a:pt x="423" y="209"/>
                  </a:lnTo>
                  <a:lnTo>
                    <a:pt x="420" y="212"/>
                  </a:lnTo>
                  <a:lnTo>
                    <a:pt x="418" y="212"/>
                  </a:lnTo>
                  <a:lnTo>
                    <a:pt x="418" y="212"/>
                  </a:lnTo>
                  <a:lnTo>
                    <a:pt x="418" y="212"/>
                  </a:lnTo>
                  <a:lnTo>
                    <a:pt x="420" y="212"/>
                  </a:lnTo>
                  <a:lnTo>
                    <a:pt x="423" y="21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39" name="Freeform 1657">
              <a:extLst>
                <a:ext uri="{FF2B5EF4-FFF2-40B4-BE49-F238E27FC236}">
                  <a16:creationId xmlns:a16="http://schemas.microsoft.com/office/drawing/2014/main" id="{FF101109-6BE6-6447-AA25-B65265DB547E}"/>
                </a:ext>
              </a:extLst>
            </p:cNvPr>
            <p:cNvSpPr>
              <a:spLocks/>
            </p:cNvSpPr>
            <p:nvPr/>
          </p:nvSpPr>
          <p:spPr bwMode="auto">
            <a:xfrm>
              <a:off x="2103216" y="1998548"/>
              <a:ext cx="3271" cy="8179"/>
            </a:xfrm>
            <a:custGeom>
              <a:avLst/>
              <a:gdLst>
                <a:gd name="T0" fmla="*/ 2 w 2"/>
                <a:gd name="T1" fmla="*/ 0 h 5"/>
                <a:gd name="T2" fmla="*/ 0 w 2"/>
                <a:gd name="T3" fmla="*/ 0 h 5"/>
                <a:gd name="T4" fmla="*/ 0 w 2"/>
                <a:gd name="T5" fmla="*/ 3 h 5"/>
                <a:gd name="T6" fmla="*/ 0 w 2"/>
                <a:gd name="T7" fmla="*/ 3 h 5"/>
                <a:gd name="T8" fmla="*/ 0 w 2"/>
                <a:gd name="T9" fmla="*/ 3 h 5"/>
                <a:gd name="T10" fmla="*/ 0 w 2"/>
                <a:gd name="T11" fmla="*/ 3 h 5"/>
                <a:gd name="T12" fmla="*/ 2 w 2"/>
                <a:gd name="T13" fmla="*/ 5 h 5"/>
                <a:gd name="T14" fmla="*/ 2 w 2"/>
                <a:gd name="T15" fmla="*/ 3 h 5"/>
                <a:gd name="T16" fmla="*/ 2 w 2"/>
                <a:gd name="T17" fmla="*/ 3 h 5"/>
                <a:gd name="T18" fmla="*/ 2 w 2"/>
                <a:gd name="T1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5">
                  <a:moveTo>
                    <a:pt x="2" y="0"/>
                  </a:moveTo>
                  <a:lnTo>
                    <a:pt x="0" y="0"/>
                  </a:lnTo>
                  <a:lnTo>
                    <a:pt x="0" y="3"/>
                  </a:lnTo>
                  <a:lnTo>
                    <a:pt x="0" y="3"/>
                  </a:lnTo>
                  <a:lnTo>
                    <a:pt x="0" y="3"/>
                  </a:lnTo>
                  <a:lnTo>
                    <a:pt x="0" y="3"/>
                  </a:lnTo>
                  <a:lnTo>
                    <a:pt x="2" y="5"/>
                  </a:lnTo>
                  <a:lnTo>
                    <a:pt x="2" y="3"/>
                  </a:lnTo>
                  <a:lnTo>
                    <a:pt x="2" y="3"/>
                  </a:lnTo>
                  <a:lnTo>
                    <a:pt x="2"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40" name="Freeform 1658">
              <a:extLst>
                <a:ext uri="{FF2B5EF4-FFF2-40B4-BE49-F238E27FC236}">
                  <a16:creationId xmlns:a16="http://schemas.microsoft.com/office/drawing/2014/main" id="{A82CFC0A-4ED5-8749-AFC1-D8574C757588}"/>
                </a:ext>
              </a:extLst>
            </p:cNvPr>
            <p:cNvSpPr>
              <a:spLocks/>
            </p:cNvSpPr>
            <p:nvPr/>
          </p:nvSpPr>
          <p:spPr bwMode="auto">
            <a:xfrm>
              <a:off x="2057415" y="1761367"/>
              <a:ext cx="8179" cy="16357"/>
            </a:xfrm>
            <a:custGeom>
              <a:avLst/>
              <a:gdLst>
                <a:gd name="T0" fmla="*/ 0 w 5"/>
                <a:gd name="T1" fmla="*/ 8 h 10"/>
                <a:gd name="T2" fmla="*/ 0 w 5"/>
                <a:gd name="T3" fmla="*/ 10 h 10"/>
                <a:gd name="T4" fmla="*/ 0 w 5"/>
                <a:gd name="T5" fmla="*/ 10 h 10"/>
                <a:gd name="T6" fmla="*/ 2 w 5"/>
                <a:gd name="T7" fmla="*/ 8 h 10"/>
                <a:gd name="T8" fmla="*/ 2 w 5"/>
                <a:gd name="T9" fmla="*/ 8 h 10"/>
                <a:gd name="T10" fmla="*/ 5 w 5"/>
                <a:gd name="T11" fmla="*/ 5 h 10"/>
                <a:gd name="T12" fmla="*/ 5 w 5"/>
                <a:gd name="T13" fmla="*/ 3 h 10"/>
                <a:gd name="T14" fmla="*/ 5 w 5"/>
                <a:gd name="T15" fmla="*/ 0 h 10"/>
                <a:gd name="T16" fmla="*/ 5 w 5"/>
                <a:gd name="T17" fmla="*/ 0 h 10"/>
                <a:gd name="T18" fmla="*/ 2 w 5"/>
                <a:gd name="T19" fmla="*/ 3 h 10"/>
                <a:gd name="T20" fmla="*/ 2 w 5"/>
                <a:gd name="T21" fmla="*/ 3 h 10"/>
                <a:gd name="T22" fmla="*/ 2 w 5"/>
                <a:gd name="T23" fmla="*/ 3 h 10"/>
                <a:gd name="T24" fmla="*/ 0 w 5"/>
                <a:gd name="T25" fmla="*/ 5 h 10"/>
                <a:gd name="T26" fmla="*/ 0 w 5"/>
                <a:gd name="T27" fmla="*/ 5 h 10"/>
                <a:gd name="T28" fmla="*/ 0 w 5"/>
                <a:gd name="T29" fmla="*/ 5 h 10"/>
                <a:gd name="T30" fmla="*/ 0 w 5"/>
                <a:gd name="T31" fmla="*/ 5 h 10"/>
                <a:gd name="T32" fmla="*/ 0 w 5"/>
                <a:gd name="T33" fmla="*/ 8 h 10"/>
                <a:gd name="T34" fmla="*/ 0 w 5"/>
                <a:gd name="T35" fmla="*/ 8 h 10"/>
                <a:gd name="T36" fmla="*/ 0 w 5"/>
                <a:gd name="T37" fmla="*/ 8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10">
                  <a:moveTo>
                    <a:pt x="0" y="8"/>
                  </a:moveTo>
                  <a:lnTo>
                    <a:pt x="0" y="10"/>
                  </a:lnTo>
                  <a:lnTo>
                    <a:pt x="0" y="10"/>
                  </a:lnTo>
                  <a:lnTo>
                    <a:pt x="2" y="8"/>
                  </a:lnTo>
                  <a:lnTo>
                    <a:pt x="2" y="8"/>
                  </a:lnTo>
                  <a:lnTo>
                    <a:pt x="5" y="5"/>
                  </a:lnTo>
                  <a:lnTo>
                    <a:pt x="5" y="3"/>
                  </a:lnTo>
                  <a:lnTo>
                    <a:pt x="5" y="0"/>
                  </a:lnTo>
                  <a:lnTo>
                    <a:pt x="5" y="0"/>
                  </a:lnTo>
                  <a:lnTo>
                    <a:pt x="2" y="3"/>
                  </a:lnTo>
                  <a:lnTo>
                    <a:pt x="2" y="3"/>
                  </a:lnTo>
                  <a:lnTo>
                    <a:pt x="2" y="3"/>
                  </a:lnTo>
                  <a:lnTo>
                    <a:pt x="0" y="5"/>
                  </a:lnTo>
                  <a:lnTo>
                    <a:pt x="0" y="5"/>
                  </a:lnTo>
                  <a:lnTo>
                    <a:pt x="0" y="5"/>
                  </a:lnTo>
                  <a:lnTo>
                    <a:pt x="0" y="5"/>
                  </a:lnTo>
                  <a:lnTo>
                    <a:pt x="0" y="8"/>
                  </a:lnTo>
                  <a:lnTo>
                    <a:pt x="0" y="8"/>
                  </a:lnTo>
                  <a:lnTo>
                    <a:pt x="0" y="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41" name="Freeform 1659">
              <a:extLst>
                <a:ext uri="{FF2B5EF4-FFF2-40B4-BE49-F238E27FC236}">
                  <a16:creationId xmlns:a16="http://schemas.microsoft.com/office/drawing/2014/main" id="{42FBE239-0C60-9247-AB4E-2F5706482DD6}"/>
                </a:ext>
              </a:extLst>
            </p:cNvPr>
            <p:cNvSpPr>
              <a:spLocks/>
            </p:cNvSpPr>
            <p:nvPr/>
          </p:nvSpPr>
          <p:spPr bwMode="auto">
            <a:xfrm>
              <a:off x="2106487" y="2003456"/>
              <a:ext cx="4908" cy="3271"/>
            </a:xfrm>
            <a:custGeom>
              <a:avLst/>
              <a:gdLst>
                <a:gd name="T0" fmla="*/ 3 w 3"/>
                <a:gd name="T1" fmla="*/ 0 h 2"/>
                <a:gd name="T2" fmla="*/ 3 w 3"/>
                <a:gd name="T3" fmla="*/ 0 h 2"/>
                <a:gd name="T4" fmla="*/ 0 w 3"/>
                <a:gd name="T5" fmla="*/ 2 h 2"/>
                <a:gd name="T6" fmla="*/ 0 w 3"/>
                <a:gd name="T7" fmla="*/ 2 h 2"/>
                <a:gd name="T8" fmla="*/ 0 w 3"/>
                <a:gd name="T9" fmla="*/ 2 h 2"/>
                <a:gd name="T10" fmla="*/ 0 w 3"/>
                <a:gd name="T11" fmla="*/ 2 h 2"/>
                <a:gd name="T12" fmla="*/ 3 w 3"/>
                <a:gd name="T13" fmla="*/ 2 h 2"/>
                <a:gd name="T14" fmla="*/ 3 w 3"/>
                <a:gd name="T15" fmla="*/ 2 h 2"/>
                <a:gd name="T16" fmla="*/ 3 w 3"/>
                <a:gd name="T17" fmla="*/ 0 h 2"/>
                <a:gd name="T18" fmla="*/ 3 w 3"/>
                <a:gd name="T19" fmla="*/ 0 h 2"/>
                <a:gd name="T20" fmla="*/ 3 w 3"/>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2">
                  <a:moveTo>
                    <a:pt x="3" y="0"/>
                  </a:moveTo>
                  <a:lnTo>
                    <a:pt x="3" y="0"/>
                  </a:lnTo>
                  <a:lnTo>
                    <a:pt x="0" y="2"/>
                  </a:lnTo>
                  <a:lnTo>
                    <a:pt x="0" y="2"/>
                  </a:lnTo>
                  <a:lnTo>
                    <a:pt x="0" y="2"/>
                  </a:lnTo>
                  <a:lnTo>
                    <a:pt x="0" y="2"/>
                  </a:lnTo>
                  <a:lnTo>
                    <a:pt x="3" y="2"/>
                  </a:lnTo>
                  <a:lnTo>
                    <a:pt x="3" y="2"/>
                  </a:lnTo>
                  <a:lnTo>
                    <a:pt x="3" y="0"/>
                  </a:lnTo>
                  <a:lnTo>
                    <a:pt x="3" y="0"/>
                  </a:lnTo>
                  <a:lnTo>
                    <a:pt x="3"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42" name="Freeform 1660">
              <a:extLst>
                <a:ext uri="{FF2B5EF4-FFF2-40B4-BE49-F238E27FC236}">
                  <a16:creationId xmlns:a16="http://schemas.microsoft.com/office/drawing/2014/main" id="{EA9A2DC8-1045-2C43-8B61-83AF1C58551A}"/>
                </a:ext>
              </a:extLst>
            </p:cNvPr>
            <p:cNvSpPr>
              <a:spLocks/>
            </p:cNvSpPr>
            <p:nvPr/>
          </p:nvSpPr>
          <p:spPr bwMode="auto">
            <a:xfrm>
              <a:off x="1576509" y="1653408"/>
              <a:ext cx="47437" cy="16357"/>
            </a:xfrm>
            <a:custGeom>
              <a:avLst/>
              <a:gdLst>
                <a:gd name="T0" fmla="*/ 26 w 29"/>
                <a:gd name="T1" fmla="*/ 3 h 10"/>
                <a:gd name="T2" fmla="*/ 26 w 29"/>
                <a:gd name="T3" fmla="*/ 3 h 10"/>
                <a:gd name="T4" fmla="*/ 26 w 29"/>
                <a:gd name="T5" fmla="*/ 0 h 10"/>
                <a:gd name="T6" fmla="*/ 26 w 29"/>
                <a:gd name="T7" fmla="*/ 3 h 10"/>
                <a:gd name="T8" fmla="*/ 26 w 29"/>
                <a:gd name="T9" fmla="*/ 0 h 10"/>
                <a:gd name="T10" fmla="*/ 23 w 29"/>
                <a:gd name="T11" fmla="*/ 0 h 10"/>
                <a:gd name="T12" fmla="*/ 23 w 29"/>
                <a:gd name="T13" fmla="*/ 3 h 10"/>
                <a:gd name="T14" fmla="*/ 21 w 29"/>
                <a:gd name="T15" fmla="*/ 3 h 10"/>
                <a:gd name="T16" fmla="*/ 21 w 29"/>
                <a:gd name="T17" fmla="*/ 0 h 10"/>
                <a:gd name="T18" fmla="*/ 21 w 29"/>
                <a:gd name="T19" fmla="*/ 0 h 10"/>
                <a:gd name="T20" fmla="*/ 21 w 29"/>
                <a:gd name="T21" fmla="*/ 0 h 10"/>
                <a:gd name="T22" fmla="*/ 21 w 29"/>
                <a:gd name="T23" fmla="*/ 0 h 10"/>
                <a:gd name="T24" fmla="*/ 16 w 29"/>
                <a:gd name="T25" fmla="*/ 0 h 10"/>
                <a:gd name="T26" fmla="*/ 16 w 29"/>
                <a:gd name="T27" fmla="*/ 0 h 10"/>
                <a:gd name="T28" fmla="*/ 16 w 29"/>
                <a:gd name="T29" fmla="*/ 3 h 10"/>
                <a:gd name="T30" fmla="*/ 13 w 29"/>
                <a:gd name="T31" fmla="*/ 3 h 10"/>
                <a:gd name="T32" fmla="*/ 13 w 29"/>
                <a:gd name="T33" fmla="*/ 3 h 10"/>
                <a:gd name="T34" fmla="*/ 13 w 29"/>
                <a:gd name="T35" fmla="*/ 3 h 10"/>
                <a:gd name="T36" fmla="*/ 11 w 29"/>
                <a:gd name="T37" fmla="*/ 3 h 10"/>
                <a:gd name="T38" fmla="*/ 8 w 29"/>
                <a:gd name="T39" fmla="*/ 5 h 10"/>
                <a:gd name="T40" fmla="*/ 0 w 29"/>
                <a:gd name="T41" fmla="*/ 8 h 10"/>
                <a:gd name="T42" fmla="*/ 0 w 29"/>
                <a:gd name="T43" fmla="*/ 8 h 10"/>
                <a:gd name="T44" fmla="*/ 3 w 29"/>
                <a:gd name="T45" fmla="*/ 10 h 10"/>
                <a:gd name="T46" fmla="*/ 6 w 29"/>
                <a:gd name="T47" fmla="*/ 10 h 10"/>
                <a:gd name="T48" fmla="*/ 6 w 29"/>
                <a:gd name="T49" fmla="*/ 8 h 10"/>
                <a:gd name="T50" fmla="*/ 8 w 29"/>
                <a:gd name="T51" fmla="*/ 8 h 10"/>
                <a:gd name="T52" fmla="*/ 8 w 29"/>
                <a:gd name="T53" fmla="*/ 8 h 10"/>
                <a:gd name="T54" fmla="*/ 11 w 29"/>
                <a:gd name="T55" fmla="*/ 8 h 10"/>
                <a:gd name="T56" fmla="*/ 13 w 29"/>
                <a:gd name="T57" fmla="*/ 8 h 10"/>
                <a:gd name="T58" fmla="*/ 13 w 29"/>
                <a:gd name="T59" fmla="*/ 5 h 10"/>
                <a:gd name="T60" fmla="*/ 16 w 29"/>
                <a:gd name="T61" fmla="*/ 5 h 10"/>
                <a:gd name="T62" fmla="*/ 13 w 29"/>
                <a:gd name="T63" fmla="*/ 8 h 10"/>
                <a:gd name="T64" fmla="*/ 13 w 29"/>
                <a:gd name="T65" fmla="*/ 8 h 10"/>
                <a:gd name="T66" fmla="*/ 16 w 29"/>
                <a:gd name="T67" fmla="*/ 5 h 10"/>
                <a:gd name="T68" fmla="*/ 16 w 29"/>
                <a:gd name="T69" fmla="*/ 8 h 10"/>
                <a:gd name="T70" fmla="*/ 18 w 29"/>
                <a:gd name="T71" fmla="*/ 5 h 10"/>
                <a:gd name="T72" fmla="*/ 18 w 29"/>
                <a:gd name="T73" fmla="*/ 5 h 10"/>
                <a:gd name="T74" fmla="*/ 18 w 29"/>
                <a:gd name="T75" fmla="*/ 5 h 10"/>
                <a:gd name="T76" fmla="*/ 18 w 29"/>
                <a:gd name="T77" fmla="*/ 5 h 10"/>
                <a:gd name="T78" fmla="*/ 21 w 29"/>
                <a:gd name="T79" fmla="*/ 3 h 10"/>
                <a:gd name="T80" fmla="*/ 21 w 29"/>
                <a:gd name="T81" fmla="*/ 3 h 10"/>
                <a:gd name="T82" fmla="*/ 21 w 29"/>
                <a:gd name="T83" fmla="*/ 5 h 10"/>
                <a:gd name="T84" fmla="*/ 21 w 29"/>
                <a:gd name="T85" fmla="*/ 5 h 10"/>
                <a:gd name="T86" fmla="*/ 21 w 29"/>
                <a:gd name="T87" fmla="*/ 5 h 10"/>
                <a:gd name="T88" fmla="*/ 21 w 29"/>
                <a:gd name="T89" fmla="*/ 5 h 10"/>
                <a:gd name="T90" fmla="*/ 23 w 29"/>
                <a:gd name="T91" fmla="*/ 5 h 10"/>
                <a:gd name="T92" fmla="*/ 26 w 29"/>
                <a:gd name="T93" fmla="*/ 5 h 10"/>
                <a:gd name="T94" fmla="*/ 29 w 29"/>
                <a:gd name="T95" fmla="*/ 3 h 10"/>
                <a:gd name="T96" fmla="*/ 29 w 29"/>
                <a:gd name="T97" fmla="*/ 3 h 10"/>
                <a:gd name="T98" fmla="*/ 26 w 29"/>
                <a:gd name="T99" fmla="*/ 3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9" h="10">
                  <a:moveTo>
                    <a:pt x="26" y="3"/>
                  </a:moveTo>
                  <a:lnTo>
                    <a:pt x="26" y="3"/>
                  </a:lnTo>
                  <a:lnTo>
                    <a:pt x="26" y="0"/>
                  </a:lnTo>
                  <a:lnTo>
                    <a:pt x="26" y="3"/>
                  </a:lnTo>
                  <a:lnTo>
                    <a:pt x="26" y="0"/>
                  </a:lnTo>
                  <a:lnTo>
                    <a:pt x="23" y="0"/>
                  </a:lnTo>
                  <a:lnTo>
                    <a:pt x="23" y="3"/>
                  </a:lnTo>
                  <a:lnTo>
                    <a:pt x="21" y="3"/>
                  </a:lnTo>
                  <a:lnTo>
                    <a:pt x="21" y="0"/>
                  </a:lnTo>
                  <a:lnTo>
                    <a:pt x="21" y="0"/>
                  </a:lnTo>
                  <a:lnTo>
                    <a:pt x="21" y="0"/>
                  </a:lnTo>
                  <a:lnTo>
                    <a:pt x="21" y="0"/>
                  </a:lnTo>
                  <a:lnTo>
                    <a:pt x="16" y="0"/>
                  </a:lnTo>
                  <a:lnTo>
                    <a:pt x="16" y="0"/>
                  </a:lnTo>
                  <a:lnTo>
                    <a:pt x="16" y="3"/>
                  </a:lnTo>
                  <a:lnTo>
                    <a:pt x="13" y="3"/>
                  </a:lnTo>
                  <a:lnTo>
                    <a:pt x="13" y="3"/>
                  </a:lnTo>
                  <a:lnTo>
                    <a:pt x="13" y="3"/>
                  </a:lnTo>
                  <a:lnTo>
                    <a:pt x="11" y="3"/>
                  </a:lnTo>
                  <a:lnTo>
                    <a:pt x="8" y="5"/>
                  </a:lnTo>
                  <a:lnTo>
                    <a:pt x="0" y="8"/>
                  </a:lnTo>
                  <a:lnTo>
                    <a:pt x="0" y="8"/>
                  </a:lnTo>
                  <a:lnTo>
                    <a:pt x="3" y="10"/>
                  </a:lnTo>
                  <a:lnTo>
                    <a:pt x="6" y="10"/>
                  </a:lnTo>
                  <a:lnTo>
                    <a:pt x="6" y="8"/>
                  </a:lnTo>
                  <a:lnTo>
                    <a:pt x="8" y="8"/>
                  </a:lnTo>
                  <a:lnTo>
                    <a:pt x="8" y="8"/>
                  </a:lnTo>
                  <a:lnTo>
                    <a:pt x="11" y="8"/>
                  </a:lnTo>
                  <a:lnTo>
                    <a:pt x="13" y="8"/>
                  </a:lnTo>
                  <a:lnTo>
                    <a:pt x="13" y="5"/>
                  </a:lnTo>
                  <a:lnTo>
                    <a:pt x="16" y="5"/>
                  </a:lnTo>
                  <a:lnTo>
                    <a:pt x="13" y="8"/>
                  </a:lnTo>
                  <a:lnTo>
                    <a:pt x="13" y="8"/>
                  </a:lnTo>
                  <a:lnTo>
                    <a:pt x="16" y="5"/>
                  </a:lnTo>
                  <a:lnTo>
                    <a:pt x="16" y="8"/>
                  </a:lnTo>
                  <a:lnTo>
                    <a:pt x="18" y="5"/>
                  </a:lnTo>
                  <a:lnTo>
                    <a:pt x="18" y="5"/>
                  </a:lnTo>
                  <a:lnTo>
                    <a:pt x="18" y="5"/>
                  </a:lnTo>
                  <a:lnTo>
                    <a:pt x="18" y="5"/>
                  </a:lnTo>
                  <a:lnTo>
                    <a:pt x="21" y="3"/>
                  </a:lnTo>
                  <a:lnTo>
                    <a:pt x="21" y="3"/>
                  </a:lnTo>
                  <a:lnTo>
                    <a:pt x="21" y="5"/>
                  </a:lnTo>
                  <a:lnTo>
                    <a:pt x="21" y="5"/>
                  </a:lnTo>
                  <a:lnTo>
                    <a:pt x="21" y="5"/>
                  </a:lnTo>
                  <a:lnTo>
                    <a:pt x="21" y="5"/>
                  </a:lnTo>
                  <a:lnTo>
                    <a:pt x="23" y="5"/>
                  </a:lnTo>
                  <a:lnTo>
                    <a:pt x="26" y="5"/>
                  </a:lnTo>
                  <a:lnTo>
                    <a:pt x="29" y="3"/>
                  </a:lnTo>
                  <a:lnTo>
                    <a:pt x="29" y="3"/>
                  </a:lnTo>
                  <a:lnTo>
                    <a:pt x="26" y="3"/>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43" name="Freeform 1661">
              <a:extLst>
                <a:ext uri="{FF2B5EF4-FFF2-40B4-BE49-F238E27FC236}">
                  <a16:creationId xmlns:a16="http://schemas.microsoft.com/office/drawing/2014/main" id="{E6B1C6DD-77B9-4948-93C5-B47DBC18980E}"/>
                </a:ext>
              </a:extLst>
            </p:cNvPr>
            <p:cNvSpPr>
              <a:spLocks/>
            </p:cNvSpPr>
            <p:nvPr/>
          </p:nvSpPr>
          <p:spPr bwMode="auto">
            <a:xfrm>
              <a:off x="1614130" y="1645229"/>
              <a:ext cx="9814" cy="8179"/>
            </a:xfrm>
            <a:custGeom>
              <a:avLst/>
              <a:gdLst>
                <a:gd name="T0" fmla="*/ 6 w 6"/>
                <a:gd name="T1" fmla="*/ 0 h 5"/>
                <a:gd name="T2" fmla="*/ 0 w 6"/>
                <a:gd name="T3" fmla="*/ 2 h 5"/>
                <a:gd name="T4" fmla="*/ 0 w 6"/>
                <a:gd name="T5" fmla="*/ 2 h 5"/>
                <a:gd name="T6" fmla="*/ 0 w 6"/>
                <a:gd name="T7" fmla="*/ 2 h 5"/>
                <a:gd name="T8" fmla="*/ 0 w 6"/>
                <a:gd name="T9" fmla="*/ 5 h 5"/>
                <a:gd name="T10" fmla="*/ 0 w 6"/>
                <a:gd name="T11" fmla="*/ 5 h 5"/>
                <a:gd name="T12" fmla="*/ 3 w 6"/>
                <a:gd name="T13" fmla="*/ 2 h 5"/>
                <a:gd name="T14" fmla="*/ 6 w 6"/>
                <a:gd name="T15" fmla="*/ 2 h 5"/>
                <a:gd name="T16" fmla="*/ 6 w 6"/>
                <a:gd name="T17" fmla="*/ 2 h 5"/>
                <a:gd name="T18" fmla="*/ 6 w 6"/>
                <a:gd name="T19" fmla="*/ 2 h 5"/>
                <a:gd name="T20" fmla="*/ 6 w 6"/>
                <a:gd name="T21" fmla="*/ 0 h 5"/>
                <a:gd name="T22" fmla="*/ 6 w 6"/>
                <a:gd name="T2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5">
                  <a:moveTo>
                    <a:pt x="6" y="0"/>
                  </a:moveTo>
                  <a:lnTo>
                    <a:pt x="0" y="2"/>
                  </a:lnTo>
                  <a:lnTo>
                    <a:pt x="0" y="2"/>
                  </a:lnTo>
                  <a:lnTo>
                    <a:pt x="0" y="2"/>
                  </a:lnTo>
                  <a:lnTo>
                    <a:pt x="0" y="5"/>
                  </a:lnTo>
                  <a:lnTo>
                    <a:pt x="0" y="5"/>
                  </a:lnTo>
                  <a:lnTo>
                    <a:pt x="3" y="2"/>
                  </a:lnTo>
                  <a:lnTo>
                    <a:pt x="6" y="2"/>
                  </a:lnTo>
                  <a:lnTo>
                    <a:pt x="6" y="2"/>
                  </a:lnTo>
                  <a:lnTo>
                    <a:pt x="6" y="2"/>
                  </a:lnTo>
                  <a:lnTo>
                    <a:pt x="6" y="0"/>
                  </a:lnTo>
                  <a:lnTo>
                    <a:pt x="6"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44" name="Freeform 1662">
              <a:extLst>
                <a:ext uri="{FF2B5EF4-FFF2-40B4-BE49-F238E27FC236}">
                  <a16:creationId xmlns:a16="http://schemas.microsoft.com/office/drawing/2014/main" id="{333C1216-F84A-4440-9FC8-8F1F1D7C0E55}"/>
                </a:ext>
              </a:extLst>
            </p:cNvPr>
            <p:cNvSpPr>
              <a:spLocks/>
            </p:cNvSpPr>
            <p:nvPr/>
          </p:nvSpPr>
          <p:spPr bwMode="auto">
            <a:xfrm>
              <a:off x="1789154" y="1586343"/>
              <a:ext cx="42529" cy="21265"/>
            </a:xfrm>
            <a:custGeom>
              <a:avLst/>
              <a:gdLst>
                <a:gd name="T0" fmla="*/ 26 w 26"/>
                <a:gd name="T1" fmla="*/ 0 h 13"/>
                <a:gd name="T2" fmla="*/ 23 w 26"/>
                <a:gd name="T3" fmla="*/ 3 h 13"/>
                <a:gd name="T4" fmla="*/ 18 w 26"/>
                <a:gd name="T5" fmla="*/ 5 h 13"/>
                <a:gd name="T6" fmla="*/ 13 w 26"/>
                <a:gd name="T7" fmla="*/ 5 h 13"/>
                <a:gd name="T8" fmla="*/ 11 w 26"/>
                <a:gd name="T9" fmla="*/ 8 h 13"/>
                <a:gd name="T10" fmla="*/ 6 w 26"/>
                <a:gd name="T11" fmla="*/ 8 h 13"/>
                <a:gd name="T12" fmla="*/ 6 w 26"/>
                <a:gd name="T13" fmla="*/ 10 h 13"/>
                <a:gd name="T14" fmla="*/ 3 w 26"/>
                <a:gd name="T15" fmla="*/ 10 h 13"/>
                <a:gd name="T16" fmla="*/ 0 w 26"/>
                <a:gd name="T17" fmla="*/ 13 h 13"/>
                <a:gd name="T18" fmla="*/ 0 w 26"/>
                <a:gd name="T19" fmla="*/ 13 h 13"/>
                <a:gd name="T20" fmla="*/ 3 w 26"/>
                <a:gd name="T21" fmla="*/ 13 h 13"/>
                <a:gd name="T22" fmla="*/ 3 w 26"/>
                <a:gd name="T23" fmla="*/ 10 h 13"/>
                <a:gd name="T24" fmla="*/ 6 w 26"/>
                <a:gd name="T25" fmla="*/ 10 h 13"/>
                <a:gd name="T26" fmla="*/ 6 w 26"/>
                <a:gd name="T27" fmla="*/ 10 h 13"/>
                <a:gd name="T28" fmla="*/ 8 w 26"/>
                <a:gd name="T29" fmla="*/ 10 h 13"/>
                <a:gd name="T30" fmla="*/ 8 w 26"/>
                <a:gd name="T31" fmla="*/ 10 h 13"/>
                <a:gd name="T32" fmla="*/ 11 w 26"/>
                <a:gd name="T33" fmla="*/ 10 h 13"/>
                <a:gd name="T34" fmla="*/ 11 w 26"/>
                <a:gd name="T35" fmla="*/ 8 h 13"/>
                <a:gd name="T36" fmla="*/ 11 w 26"/>
                <a:gd name="T37" fmla="*/ 8 h 13"/>
                <a:gd name="T38" fmla="*/ 13 w 26"/>
                <a:gd name="T39" fmla="*/ 8 h 13"/>
                <a:gd name="T40" fmla="*/ 16 w 26"/>
                <a:gd name="T41" fmla="*/ 8 h 13"/>
                <a:gd name="T42" fmla="*/ 16 w 26"/>
                <a:gd name="T43" fmla="*/ 5 h 13"/>
                <a:gd name="T44" fmla="*/ 26 w 26"/>
                <a:gd name="T45" fmla="*/ 3 h 13"/>
                <a:gd name="T46" fmla="*/ 26 w 26"/>
                <a:gd name="T47" fmla="*/ 3 h 13"/>
                <a:gd name="T48" fmla="*/ 26 w 26"/>
                <a:gd name="T49" fmla="*/ 0 h 13"/>
                <a:gd name="T50" fmla="*/ 26 w 26"/>
                <a:gd name="T51" fmla="*/ 0 h 13"/>
                <a:gd name="T52" fmla="*/ 26 w 26"/>
                <a:gd name="T53"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6" h="13">
                  <a:moveTo>
                    <a:pt x="26" y="0"/>
                  </a:moveTo>
                  <a:lnTo>
                    <a:pt x="23" y="3"/>
                  </a:lnTo>
                  <a:lnTo>
                    <a:pt x="18" y="5"/>
                  </a:lnTo>
                  <a:lnTo>
                    <a:pt x="13" y="5"/>
                  </a:lnTo>
                  <a:lnTo>
                    <a:pt x="11" y="8"/>
                  </a:lnTo>
                  <a:lnTo>
                    <a:pt x="6" y="8"/>
                  </a:lnTo>
                  <a:lnTo>
                    <a:pt x="6" y="10"/>
                  </a:lnTo>
                  <a:lnTo>
                    <a:pt x="3" y="10"/>
                  </a:lnTo>
                  <a:lnTo>
                    <a:pt x="0" y="13"/>
                  </a:lnTo>
                  <a:lnTo>
                    <a:pt x="0" y="13"/>
                  </a:lnTo>
                  <a:lnTo>
                    <a:pt x="3" y="13"/>
                  </a:lnTo>
                  <a:lnTo>
                    <a:pt x="3" y="10"/>
                  </a:lnTo>
                  <a:lnTo>
                    <a:pt x="6" y="10"/>
                  </a:lnTo>
                  <a:lnTo>
                    <a:pt x="6" y="10"/>
                  </a:lnTo>
                  <a:lnTo>
                    <a:pt x="8" y="10"/>
                  </a:lnTo>
                  <a:lnTo>
                    <a:pt x="8" y="10"/>
                  </a:lnTo>
                  <a:lnTo>
                    <a:pt x="11" y="10"/>
                  </a:lnTo>
                  <a:lnTo>
                    <a:pt x="11" y="8"/>
                  </a:lnTo>
                  <a:lnTo>
                    <a:pt x="11" y="8"/>
                  </a:lnTo>
                  <a:lnTo>
                    <a:pt x="13" y="8"/>
                  </a:lnTo>
                  <a:lnTo>
                    <a:pt x="16" y="8"/>
                  </a:lnTo>
                  <a:lnTo>
                    <a:pt x="16" y="5"/>
                  </a:lnTo>
                  <a:lnTo>
                    <a:pt x="26" y="3"/>
                  </a:lnTo>
                  <a:lnTo>
                    <a:pt x="26" y="3"/>
                  </a:lnTo>
                  <a:lnTo>
                    <a:pt x="26" y="0"/>
                  </a:lnTo>
                  <a:lnTo>
                    <a:pt x="26" y="0"/>
                  </a:lnTo>
                  <a:lnTo>
                    <a:pt x="26"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45" name="Freeform 1663">
              <a:extLst>
                <a:ext uri="{FF2B5EF4-FFF2-40B4-BE49-F238E27FC236}">
                  <a16:creationId xmlns:a16="http://schemas.microsoft.com/office/drawing/2014/main" id="{8A08A090-5CCA-2B4C-A428-9C804FEAE7B1}"/>
                </a:ext>
              </a:extLst>
            </p:cNvPr>
            <p:cNvSpPr>
              <a:spLocks/>
            </p:cNvSpPr>
            <p:nvPr/>
          </p:nvSpPr>
          <p:spPr bwMode="auto">
            <a:xfrm>
              <a:off x="1839862" y="1583071"/>
              <a:ext cx="21265" cy="8179"/>
            </a:xfrm>
            <a:custGeom>
              <a:avLst/>
              <a:gdLst>
                <a:gd name="T0" fmla="*/ 10 w 13"/>
                <a:gd name="T1" fmla="*/ 2 h 5"/>
                <a:gd name="T2" fmla="*/ 8 w 13"/>
                <a:gd name="T3" fmla="*/ 2 h 5"/>
                <a:gd name="T4" fmla="*/ 8 w 13"/>
                <a:gd name="T5" fmla="*/ 0 h 5"/>
                <a:gd name="T6" fmla="*/ 8 w 13"/>
                <a:gd name="T7" fmla="*/ 0 h 5"/>
                <a:gd name="T8" fmla="*/ 5 w 13"/>
                <a:gd name="T9" fmla="*/ 0 h 5"/>
                <a:gd name="T10" fmla="*/ 3 w 13"/>
                <a:gd name="T11" fmla="*/ 2 h 5"/>
                <a:gd name="T12" fmla="*/ 3 w 13"/>
                <a:gd name="T13" fmla="*/ 2 h 5"/>
                <a:gd name="T14" fmla="*/ 3 w 13"/>
                <a:gd name="T15" fmla="*/ 2 h 5"/>
                <a:gd name="T16" fmla="*/ 3 w 13"/>
                <a:gd name="T17" fmla="*/ 2 h 5"/>
                <a:gd name="T18" fmla="*/ 3 w 13"/>
                <a:gd name="T19" fmla="*/ 2 h 5"/>
                <a:gd name="T20" fmla="*/ 0 w 13"/>
                <a:gd name="T21" fmla="*/ 5 h 5"/>
                <a:gd name="T22" fmla="*/ 0 w 13"/>
                <a:gd name="T23" fmla="*/ 5 h 5"/>
                <a:gd name="T24" fmla="*/ 5 w 13"/>
                <a:gd name="T25" fmla="*/ 2 h 5"/>
                <a:gd name="T26" fmla="*/ 10 w 13"/>
                <a:gd name="T27" fmla="*/ 2 h 5"/>
                <a:gd name="T28" fmla="*/ 10 w 13"/>
                <a:gd name="T29" fmla="*/ 2 h 5"/>
                <a:gd name="T30" fmla="*/ 13 w 13"/>
                <a:gd name="T31" fmla="*/ 2 h 5"/>
                <a:gd name="T32" fmla="*/ 13 w 13"/>
                <a:gd name="T33" fmla="*/ 2 h 5"/>
                <a:gd name="T34" fmla="*/ 10 w 13"/>
                <a:gd name="T35"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 h="5">
                  <a:moveTo>
                    <a:pt x="10" y="2"/>
                  </a:moveTo>
                  <a:lnTo>
                    <a:pt x="8" y="2"/>
                  </a:lnTo>
                  <a:lnTo>
                    <a:pt x="8" y="0"/>
                  </a:lnTo>
                  <a:lnTo>
                    <a:pt x="8" y="0"/>
                  </a:lnTo>
                  <a:lnTo>
                    <a:pt x="5" y="0"/>
                  </a:lnTo>
                  <a:lnTo>
                    <a:pt x="3" y="2"/>
                  </a:lnTo>
                  <a:lnTo>
                    <a:pt x="3" y="2"/>
                  </a:lnTo>
                  <a:lnTo>
                    <a:pt x="3" y="2"/>
                  </a:lnTo>
                  <a:lnTo>
                    <a:pt x="3" y="2"/>
                  </a:lnTo>
                  <a:lnTo>
                    <a:pt x="3" y="2"/>
                  </a:lnTo>
                  <a:lnTo>
                    <a:pt x="0" y="5"/>
                  </a:lnTo>
                  <a:lnTo>
                    <a:pt x="0" y="5"/>
                  </a:lnTo>
                  <a:lnTo>
                    <a:pt x="5" y="2"/>
                  </a:lnTo>
                  <a:lnTo>
                    <a:pt x="10" y="2"/>
                  </a:lnTo>
                  <a:lnTo>
                    <a:pt x="10" y="2"/>
                  </a:lnTo>
                  <a:lnTo>
                    <a:pt x="13" y="2"/>
                  </a:lnTo>
                  <a:lnTo>
                    <a:pt x="13" y="2"/>
                  </a:lnTo>
                  <a:lnTo>
                    <a:pt x="10" y="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46" name="Freeform 1664">
              <a:extLst>
                <a:ext uri="{FF2B5EF4-FFF2-40B4-BE49-F238E27FC236}">
                  <a16:creationId xmlns:a16="http://schemas.microsoft.com/office/drawing/2014/main" id="{88E82B55-FF96-9D4E-AFE3-638F9DFF1415}"/>
                </a:ext>
              </a:extLst>
            </p:cNvPr>
            <p:cNvSpPr>
              <a:spLocks/>
            </p:cNvSpPr>
            <p:nvPr/>
          </p:nvSpPr>
          <p:spPr bwMode="auto">
            <a:xfrm>
              <a:off x="1565058" y="1669766"/>
              <a:ext cx="3271" cy="4908"/>
            </a:xfrm>
            <a:custGeom>
              <a:avLst/>
              <a:gdLst>
                <a:gd name="T0" fmla="*/ 2 w 2"/>
                <a:gd name="T1" fmla="*/ 3 h 3"/>
                <a:gd name="T2" fmla="*/ 2 w 2"/>
                <a:gd name="T3" fmla="*/ 3 h 3"/>
                <a:gd name="T4" fmla="*/ 2 w 2"/>
                <a:gd name="T5" fmla="*/ 3 h 3"/>
                <a:gd name="T6" fmla="*/ 2 w 2"/>
                <a:gd name="T7" fmla="*/ 0 h 3"/>
                <a:gd name="T8" fmla="*/ 2 w 2"/>
                <a:gd name="T9" fmla="*/ 0 h 3"/>
                <a:gd name="T10" fmla="*/ 2 w 2"/>
                <a:gd name="T11" fmla="*/ 0 h 3"/>
                <a:gd name="T12" fmla="*/ 0 w 2"/>
                <a:gd name="T13" fmla="*/ 0 h 3"/>
                <a:gd name="T14" fmla="*/ 0 w 2"/>
                <a:gd name="T15" fmla="*/ 0 h 3"/>
                <a:gd name="T16" fmla="*/ 0 w 2"/>
                <a:gd name="T17" fmla="*/ 0 h 3"/>
                <a:gd name="T18" fmla="*/ 2 w 2"/>
                <a:gd name="T19" fmla="*/ 3 h 3"/>
                <a:gd name="T20" fmla="*/ 2 w 2"/>
                <a:gd name="T21"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3">
                  <a:moveTo>
                    <a:pt x="2" y="3"/>
                  </a:moveTo>
                  <a:lnTo>
                    <a:pt x="2" y="3"/>
                  </a:lnTo>
                  <a:lnTo>
                    <a:pt x="2" y="3"/>
                  </a:lnTo>
                  <a:lnTo>
                    <a:pt x="2" y="0"/>
                  </a:lnTo>
                  <a:lnTo>
                    <a:pt x="2" y="0"/>
                  </a:lnTo>
                  <a:lnTo>
                    <a:pt x="2" y="0"/>
                  </a:lnTo>
                  <a:lnTo>
                    <a:pt x="0" y="0"/>
                  </a:lnTo>
                  <a:lnTo>
                    <a:pt x="0" y="0"/>
                  </a:lnTo>
                  <a:lnTo>
                    <a:pt x="0" y="0"/>
                  </a:lnTo>
                  <a:lnTo>
                    <a:pt x="2" y="3"/>
                  </a:lnTo>
                  <a:lnTo>
                    <a:pt x="2" y="3"/>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47" name="Freeform 1665">
              <a:extLst>
                <a:ext uri="{FF2B5EF4-FFF2-40B4-BE49-F238E27FC236}">
                  <a16:creationId xmlns:a16="http://schemas.microsoft.com/office/drawing/2014/main" id="{70FD812E-2AC1-9A45-A3DB-C9F40392A7AB}"/>
                </a:ext>
              </a:extLst>
            </p:cNvPr>
            <p:cNvSpPr>
              <a:spLocks/>
            </p:cNvSpPr>
            <p:nvPr/>
          </p:nvSpPr>
          <p:spPr bwMode="auto">
            <a:xfrm>
              <a:off x="1789154" y="1594522"/>
              <a:ext cx="9814" cy="4908"/>
            </a:xfrm>
            <a:custGeom>
              <a:avLst/>
              <a:gdLst>
                <a:gd name="T0" fmla="*/ 3 w 6"/>
                <a:gd name="T1" fmla="*/ 3 h 3"/>
                <a:gd name="T2" fmla="*/ 6 w 6"/>
                <a:gd name="T3" fmla="*/ 0 h 3"/>
                <a:gd name="T4" fmla="*/ 6 w 6"/>
                <a:gd name="T5" fmla="*/ 0 h 3"/>
                <a:gd name="T6" fmla="*/ 3 w 6"/>
                <a:gd name="T7" fmla="*/ 0 h 3"/>
                <a:gd name="T8" fmla="*/ 0 w 6"/>
                <a:gd name="T9" fmla="*/ 3 h 3"/>
                <a:gd name="T10" fmla="*/ 3 w 6"/>
                <a:gd name="T11" fmla="*/ 3 h 3"/>
                <a:gd name="T12" fmla="*/ 3 w 6"/>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6" h="3">
                  <a:moveTo>
                    <a:pt x="3" y="3"/>
                  </a:moveTo>
                  <a:lnTo>
                    <a:pt x="6" y="0"/>
                  </a:lnTo>
                  <a:lnTo>
                    <a:pt x="6" y="0"/>
                  </a:lnTo>
                  <a:lnTo>
                    <a:pt x="3" y="0"/>
                  </a:lnTo>
                  <a:lnTo>
                    <a:pt x="0" y="3"/>
                  </a:lnTo>
                  <a:lnTo>
                    <a:pt x="3" y="3"/>
                  </a:lnTo>
                  <a:lnTo>
                    <a:pt x="3" y="3"/>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48" name="Freeform 1666">
              <a:extLst>
                <a:ext uri="{FF2B5EF4-FFF2-40B4-BE49-F238E27FC236}">
                  <a16:creationId xmlns:a16="http://schemas.microsoft.com/office/drawing/2014/main" id="{40108BC0-95B6-8243-82B7-43BA48BF4BAF}"/>
                </a:ext>
              </a:extLst>
            </p:cNvPr>
            <p:cNvSpPr>
              <a:spLocks/>
            </p:cNvSpPr>
            <p:nvPr/>
          </p:nvSpPr>
          <p:spPr bwMode="auto">
            <a:xfrm>
              <a:off x="1823504" y="1569985"/>
              <a:ext cx="8179" cy="0"/>
            </a:xfrm>
            <a:custGeom>
              <a:avLst/>
              <a:gdLst>
                <a:gd name="T0" fmla="*/ 5 w 5"/>
                <a:gd name="T1" fmla="*/ 5 w 5"/>
                <a:gd name="T2" fmla="*/ 5 w 5"/>
                <a:gd name="T3" fmla="*/ 2 w 5"/>
                <a:gd name="T4" fmla="*/ 2 w 5"/>
                <a:gd name="T5" fmla="*/ 0 w 5"/>
                <a:gd name="T6" fmla="*/ 0 w 5"/>
                <a:gd name="T7" fmla="*/ 0 w 5"/>
                <a:gd name="T8" fmla="*/ 2 w 5"/>
                <a:gd name="T9" fmla="*/ 5 w 5"/>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Lst>
              <a:rect l="0" t="0" r="r" b="b"/>
              <a:pathLst>
                <a:path w="5">
                  <a:moveTo>
                    <a:pt x="5" y="0"/>
                  </a:moveTo>
                  <a:lnTo>
                    <a:pt x="5" y="0"/>
                  </a:lnTo>
                  <a:lnTo>
                    <a:pt x="5" y="0"/>
                  </a:lnTo>
                  <a:lnTo>
                    <a:pt x="2" y="0"/>
                  </a:lnTo>
                  <a:lnTo>
                    <a:pt x="2" y="0"/>
                  </a:lnTo>
                  <a:lnTo>
                    <a:pt x="0" y="0"/>
                  </a:lnTo>
                  <a:lnTo>
                    <a:pt x="0" y="0"/>
                  </a:lnTo>
                  <a:lnTo>
                    <a:pt x="0" y="0"/>
                  </a:lnTo>
                  <a:lnTo>
                    <a:pt x="2" y="0"/>
                  </a:lnTo>
                  <a:lnTo>
                    <a:pt x="5"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49" name="Freeform 1667">
              <a:extLst>
                <a:ext uri="{FF2B5EF4-FFF2-40B4-BE49-F238E27FC236}">
                  <a16:creationId xmlns:a16="http://schemas.microsoft.com/office/drawing/2014/main" id="{88503E04-47CA-8C4C-BCCC-ED99B54C113A}"/>
                </a:ext>
              </a:extLst>
            </p:cNvPr>
            <p:cNvSpPr>
              <a:spLocks/>
            </p:cNvSpPr>
            <p:nvPr/>
          </p:nvSpPr>
          <p:spPr bwMode="auto">
            <a:xfrm>
              <a:off x="1807147" y="1583071"/>
              <a:ext cx="16357" cy="11451"/>
            </a:xfrm>
            <a:custGeom>
              <a:avLst/>
              <a:gdLst>
                <a:gd name="T0" fmla="*/ 0 w 10"/>
                <a:gd name="T1" fmla="*/ 7 h 7"/>
                <a:gd name="T2" fmla="*/ 0 w 10"/>
                <a:gd name="T3" fmla="*/ 7 h 7"/>
                <a:gd name="T4" fmla="*/ 0 w 10"/>
                <a:gd name="T5" fmla="*/ 7 h 7"/>
                <a:gd name="T6" fmla="*/ 2 w 10"/>
                <a:gd name="T7" fmla="*/ 5 h 7"/>
                <a:gd name="T8" fmla="*/ 2 w 10"/>
                <a:gd name="T9" fmla="*/ 5 h 7"/>
                <a:gd name="T10" fmla="*/ 5 w 10"/>
                <a:gd name="T11" fmla="*/ 2 h 7"/>
                <a:gd name="T12" fmla="*/ 7 w 10"/>
                <a:gd name="T13" fmla="*/ 2 h 7"/>
                <a:gd name="T14" fmla="*/ 7 w 10"/>
                <a:gd name="T15" fmla="*/ 2 h 7"/>
                <a:gd name="T16" fmla="*/ 7 w 10"/>
                <a:gd name="T17" fmla="*/ 0 h 7"/>
                <a:gd name="T18" fmla="*/ 10 w 10"/>
                <a:gd name="T19" fmla="*/ 0 h 7"/>
                <a:gd name="T20" fmla="*/ 7 w 10"/>
                <a:gd name="T21" fmla="*/ 0 h 7"/>
                <a:gd name="T22" fmla="*/ 7 w 10"/>
                <a:gd name="T23" fmla="*/ 0 h 7"/>
                <a:gd name="T24" fmla="*/ 7 w 10"/>
                <a:gd name="T25" fmla="*/ 2 h 7"/>
                <a:gd name="T26" fmla="*/ 7 w 10"/>
                <a:gd name="T27" fmla="*/ 0 h 7"/>
                <a:gd name="T28" fmla="*/ 7 w 10"/>
                <a:gd name="T29" fmla="*/ 0 h 7"/>
                <a:gd name="T30" fmla="*/ 7 w 10"/>
                <a:gd name="T31" fmla="*/ 0 h 7"/>
                <a:gd name="T32" fmla="*/ 5 w 10"/>
                <a:gd name="T33" fmla="*/ 2 h 7"/>
                <a:gd name="T34" fmla="*/ 2 w 10"/>
                <a:gd name="T35" fmla="*/ 2 h 7"/>
                <a:gd name="T36" fmla="*/ 2 w 10"/>
                <a:gd name="T37" fmla="*/ 2 h 7"/>
                <a:gd name="T38" fmla="*/ 2 w 10"/>
                <a:gd name="T39" fmla="*/ 5 h 7"/>
                <a:gd name="T40" fmla="*/ 0 w 10"/>
                <a:gd name="T41" fmla="*/ 5 h 7"/>
                <a:gd name="T42" fmla="*/ 0 w 10"/>
                <a:gd name="T43" fmla="*/ 5 h 7"/>
                <a:gd name="T44" fmla="*/ 0 w 10"/>
                <a:gd name="T45" fmla="*/ 5 h 7"/>
                <a:gd name="T46" fmla="*/ 0 w 10"/>
                <a:gd name="T4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 h="7">
                  <a:moveTo>
                    <a:pt x="0" y="7"/>
                  </a:moveTo>
                  <a:lnTo>
                    <a:pt x="0" y="7"/>
                  </a:lnTo>
                  <a:lnTo>
                    <a:pt x="0" y="7"/>
                  </a:lnTo>
                  <a:lnTo>
                    <a:pt x="2" y="5"/>
                  </a:lnTo>
                  <a:lnTo>
                    <a:pt x="2" y="5"/>
                  </a:lnTo>
                  <a:lnTo>
                    <a:pt x="5" y="2"/>
                  </a:lnTo>
                  <a:lnTo>
                    <a:pt x="7" y="2"/>
                  </a:lnTo>
                  <a:lnTo>
                    <a:pt x="7" y="2"/>
                  </a:lnTo>
                  <a:lnTo>
                    <a:pt x="7" y="0"/>
                  </a:lnTo>
                  <a:lnTo>
                    <a:pt x="10" y="0"/>
                  </a:lnTo>
                  <a:lnTo>
                    <a:pt x="7" y="0"/>
                  </a:lnTo>
                  <a:lnTo>
                    <a:pt x="7" y="0"/>
                  </a:lnTo>
                  <a:lnTo>
                    <a:pt x="7" y="2"/>
                  </a:lnTo>
                  <a:lnTo>
                    <a:pt x="7" y="0"/>
                  </a:lnTo>
                  <a:lnTo>
                    <a:pt x="7" y="0"/>
                  </a:lnTo>
                  <a:lnTo>
                    <a:pt x="7" y="0"/>
                  </a:lnTo>
                  <a:lnTo>
                    <a:pt x="5" y="2"/>
                  </a:lnTo>
                  <a:lnTo>
                    <a:pt x="2" y="2"/>
                  </a:lnTo>
                  <a:lnTo>
                    <a:pt x="2" y="2"/>
                  </a:lnTo>
                  <a:lnTo>
                    <a:pt x="2" y="5"/>
                  </a:lnTo>
                  <a:lnTo>
                    <a:pt x="0" y="5"/>
                  </a:lnTo>
                  <a:lnTo>
                    <a:pt x="0" y="5"/>
                  </a:lnTo>
                  <a:lnTo>
                    <a:pt x="0" y="5"/>
                  </a:lnTo>
                  <a:lnTo>
                    <a:pt x="0" y="7"/>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50" name="Freeform 1668">
              <a:extLst>
                <a:ext uri="{FF2B5EF4-FFF2-40B4-BE49-F238E27FC236}">
                  <a16:creationId xmlns:a16="http://schemas.microsoft.com/office/drawing/2014/main" id="{CC0FA35B-4EC6-EE4F-BAE0-517D0E6E9FB7}"/>
                </a:ext>
              </a:extLst>
            </p:cNvPr>
            <p:cNvSpPr>
              <a:spLocks/>
            </p:cNvSpPr>
            <p:nvPr/>
          </p:nvSpPr>
          <p:spPr bwMode="auto">
            <a:xfrm>
              <a:off x="2019793" y="1658315"/>
              <a:ext cx="45801" cy="27808"/>
            </a:xfrm>
            <a:custGeom>
              <a:avLst/>
              <a:gdLst>
                <a:gd name="T0" fmla="*/ 0 w 28"/>
                <a:gd name="T1" fmla="*/ 17 h 17"/>
                <a:gd name="T2" fmla="*/ 2 w 28"/>
                <a:gd name="T3" fmla="*/ 17 h 17"/>
                <a:gd name="T4" fmla="*/ 5 w 28"/>
                <a:gd name="T5" fmla="*/ 17 h 17"/>
                <a:gd name="T6" fmla="*/ 7 w 28"/>
                <a:gd name="T7" fmla="*/ 15 h 17"/>
                <a:gd name="T8" fmla="*/ 10 w 28"/>
                <a:gd name="T9" fmla="*/ 12 h 17"/>
                <a:gd name="T10" fmla="*/ 10 w 28"/>
                <a:gd name="T11" fmla="*/ 12 h 17"/>
                <a:gd name="T12" fmla="*/ 12 w 28"/>
                <a:gd name="T13" fmla="*/ 12 h 17"/>
                <a:gd name="T14" fmla="*/ 15 w 28"/>
                <a:gd name="T15" fmla="*/ 15 h 17"/>
                <a:gd name="T16" fmla="*/ 15 w 28"/>
                <a:gd name="T17" fmla="*/ 17 h 17"/>
                <a:gd name="T18" fmla="*/ 17 w 28"/>
                <a:gd name="T19" fmla="*/ 17 h 17"/>
                <a:gd name="T20" fmla="*/ 20 w 28"/>
                <a:gd name="T21" fmla="*/ 15 h 17"/>
                <a:gd name="T22" fmla="*/ 20 w 28"/>
                <a:gd name="T23" fmla="*/ 12 h 17"/>
                <a:gd name="T24" fmla="*/ 23 w 28"/>
                <a:gd name="T25" fmla="*/ 12 h 17"/>
                <a:gd name="T26" fmla="*/ 17 w 28"/>
                <a:gd name="T27" fmla="*/ 12 h 17"/>
                <a:gd name="T28" fmla="*/ 17 w 28"/>
                <a:gd name="T29" fmla="*/ 10 h 17"/>
                <a:gd name="T30" fmla="*/ 20 w 28"/>
                <a:gd name="T31" fmla="*/ 10 h 17"/>
                <a:gd name="T32" fmla="*/ 20 w 28"/>
                <a:gd name="T33" fmla="*/ 10 h 17"/>
                <a:gd name="T34" fmla="*/ 20 w 28"/>
                <a:gd name="T35" fmla="*/ 10 h 17"/>
                <a:gd name="T36" fmla="*/ 23 w 28"/>
                <a:gd name="T37" fmla="*/ 10 h 17"/>
                <a:gd name="T38" fmla="*/ 28 w 28"/>
                <a:gd name="T39" fmla="*/ 7 h 17"/>
                <a:gd name="T40" fmla="*/ 28 w 28"/>
                <a:gd name="T41" fmla="*/ 5 h 17"/>
                <a:gd name="T42" fmla="*/ 28 w 28"/>
                <a:gd name="T43" fmla="*/ 5 h 17"/>
                <a:gd name="T44" fmla="*/ 28 w 28"/>
                <a:gd name="T45" fmla="*/ 5 h 17"/>
                <a:gd name="T46" fmla="*/ 25 w 28"/>
                <a:gd name="T47" fmla="*/ 5 h 17"/>
                <a:gd name="T48" fmla="*/ 23 w 28"/>
                <a:gd name="T49" fmla="*/ 5 h 17"/>
                <a:gd name="T50" fmla="*/ 23 w 28"/>
                <a:gd name="T51" fmla="*/ 5 h 17"/>
                <a:gd name="T52" fmla="*/ 17 w 28"/>
                <a:gd name="T53" fmla="*/ 5 h 17"/>
                <a:gd name="T54" fmla="*/ 17 w 28"/>
                <a:gd name="T55" fmla="*/ 7 h 17"/>
                <a:gd name="T56" fmla="*/ 17 w 28"/>
                <a:gd name="T57" fmla="*/ 5 h 17"/>
                <a:gd name="T58" fmla="*/ 17 w 28"/>
                <a:gd name="T59" fmla="*/ 5 h 17"/>
                <a:gd name="T60" fmla="*/ 17 w 28"/>
                <a:gd name="T61" fmla="*/ 5 h 17"/>
                <a:gd name="T62" fmla="*/ 20 w 28"/>
                <a:gd name="T63" fmla="*/ 5 h 17"/>
                <a:gd name="T64" fmla="*/ 20 w 28"/>
                <a:gd name="T65" fmla="*/ 2 h 17"/>
                <a:gd name="T66" fmla="*/ 20 w 28"/>
                <a:gd name="T67" fmla="*/ 2 h 17"/>
                <a:gd name="T68" fmla="*/ 20 w 28"/>
                <a:gd name="T69" fmla="*/ 0 h 17"/>
                <a:gd name="T70" fmla="*/ 17 w 28"/>
                <a:gd name="T71" fmla="*/ 2 h 17"/>
                <a:gd name="T72" fmla="*/ 15 w 28"/>
                <a:gd name="T73" fmla="*/ 2 h 17"/>
                <a:gd name="T74" fmla="*/ 15 w 28"/>
                <a:gd name="T75" fmla="*/ 2 h 17"/>
                <a:gd name="T76" fmla="*/ 12 w 28"/>
                <a:gd name="T77" fmla="*/ 2 h 17"/>
                <a:gd name="T78" fmla="*/ 12 w 28"/>
                <a:gd name="T79" fmla="*/ 2 h 17"/>
                <a:gd name="T80" fmla="*/ 10 w 28"/>
                <a:gd name="T81" fmla="*/ 5 h 17"/>
                <a:gd name="T82" fmla="*/ 10 w 28"/>
                <a:gd name="T83" fmla="*/ 2 h 17"/>
                <a:gd name="T84" fmla="*/ 10 w 28"/>
                <a:gd name="T85" fmla="*/ 2 h 17"/>
                <a:gd name="T86" fmla="*/ 7 w 28"/>
                <a:gd name="T87" fmla="*/ 2 h 17"/>
                <a:gd name="T88" fmla="*/ 5 w 28"/>
                <a:gd name="T89" fmla="*/ 5 h 17"/>
                <a:gd name="T90" fmla="*/ 5 w 28"/>
                <a:gd name="T91" fmla="*/ 5 h 17"/>
                <a:gd name="T92" fmla="*/ 2 w 28"/>
                <a:gd name="T93" fmla="*/ 5 h 17"/>
                <a:gd name="T94" fmla="*/ 0 w 28"/>
                <a:gd name="T95" fmla="*/ 7 h 17"/>
                <a:gd name="T96" fmla="*/ 0 w 28"/>
                <a:gd name="T97" fmla="*/ 10 h 17"/>
                <a:gd name="T98" fmla="*/ 2 w 28"/>
                <a:gd name="T99" fmla="*/ 10 h 17"/>
                <a:gd name="T100" fmla="*/ 2 w 28"/>
                <a:gd name="T101" fmla="*/ 12 h 17"/>
                <a:gd name="T102" fmla="*/ 0 w 28"/>
                <a:gd name="T103" fmla="*/ 15 h 17"/>
                <a:gd name="T104" fmla="*/ 0 w 28"/>
                <a:gd name="T105"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 h="17">
                  <a:moveTo>
                    <a:pt x="0" y="17"/>
                  </a:moveTo>
                  <a:lnTo>
                    <a:pt x="2" y="17"/>
                  </a:lnTo>
                  <a:lnTo>
                    <a:pt x="5" y="17"/>
                  </a:lnTo>
                  <a:lnTo>
                    <a:pt x="7" y="15"/>
                  </a:lnTo>
                  <a:lnTo>
                    <a:pt x="10" y="12"/>
                  </a:lnTo>
                  <a:lnTo>
                    <a:pt x="10" y="12"/>
                  </a:lnTo>
                  <a:lnTo>
                    <a:pt x="12" y="12"/>
                  </a:lnTo>
                  <a:lnTo>
                    <a:pt x="15" y="15"/>
                  </a:lnTo>
                  <a:lnTo>
                    <a:pt x="15" y="17"/>
                  </a:lnTo>
                  <a:lnTo>
                    <a:pt x="17" y="17"/>
                  </a:lnTo>
                  <a:lnTo>
                    <a:pt x="20" y="15"/>
                  </a:lnTo>
                  <a:lnTo>
                    <a:pt x="20" y="12"/>
                  </a:lnTo>
                  <a:lnTo>
                    <a:pt x="23" y="12"/>
                  </a:lnTo>
                  <a:lnTo>
                    <a:pt x="17" y="12"/>
                  </a:lnTo>
                  <a:lnTo>
                    <a:pt x="17" y="10"/>
                  </a:lnTo>
                  <a:lnTo>
                    <a:pt x="20" y="10"/>
                  </a:lnTo>
                  <a:lnTo>
                    <a:pt x="20" y="10"/>
                  </a:lnTo>
                  <a:lnTo>
                    <a:pt x="20" y="10"/>
                  </a:lnTo>
                  <a:lnTo>
                    <a:pt x="23" y="10"/>
                  </a:lnTo>
                  <a:lnTo>
                    <a:pt x="28" y="7"/>
                  </a:lnTo>
                  <a:lnTo>
                    <a:pt x="28" y="5"/>
                  </a:lnTo>
                  <a:lnTo>
                    <a:pt x="28" y="5"/>
                  </a:lnTo>
                  <a:lnTo>
                    <a:pt x="28" y="5"/>
                  </a:lnTo>
                  <a:lnTo>
                    <a:pt x="25" y="5"/>
                  </a:lnTo>
                  <a:lnTo>
                    <a:pt x="23" y="5"/>
                  </a:lnTo>
                  <a:lnTo>
                    <a:pt x="23" y="5"/>
                  </a:lnTo>
                  <a:lnTo>
                    <a:pt x="17" y="5"/>
                  </a:lnTo>
                  <a:lnTo>
                    <a:pt x="17" y="7"/>
                  </a:lnTo>
                  <a:lnTo>
                    <a:pt x="17" y="5"/>
                  </a:lnTo>
                  <a:lnTo>
                    <a:pt x="17" y="5"/>
                  </a:lnTo>
                  <a:lnTo>
                    <a:pt x="17" y="5"/>
                  </a:lnTo>
                  <a:lnTo>
                    <a:pt x="20" y="5"/>
                  </a:lnTo>
                  <a:lnTo>
                    <a:pt x="20" y="2"/>
                  </a:lnTo>
                  <a:lnTo>
                    <a:pt x="20" y="2"/>
                  </a:lnTo>
                  <a:lnTo>
                    <a:pt x="20" y="0"/>
                  </a:lnTo>
                  <a:lnTo>
                    <a:pt x="17" y="2"/>
                  </a:lnTo>
                  <a:lnTo>
                    <a:pt x="15" y="2"/>
                  </a:lnTo>
                  <a:lnTo>
                    <a:pt x="15" y="2"/>
                  </a:lnTo>
                  <a:lnTo>
                    <a:pt x="12" y="2"/>
                  </a:lnTo>
                  <a:lnTo>
                    <a:pt x="12" y="2"/>
                  </a:lnTo>
                  <a:lnTo>
                    <a:pt x="10" y="5"/>
                  </a:lnTo>
                  <a:lnTo>
                    <a:pt x="10" y="2"/>
                  </a:lnTo>
                  <a:lnTo>
                    <a:pt x="10" y="2"/>
                  </a:lnTo>
                  <a:lnTo>
                    <a:pt x="7" y="2"/>
                  </a:lnTo>
                  <a:lnTo>
                    <a:pt x="5" y="5"/>
                  </a:lnTo>
                  <a:lnTo>
                    <a:pt x="5" y="5"/>
                  </a:lnTo>
                  <a:lnTo>
                    <a:pt x="2" y="5"/>
                  </a:lnTo>
                  <a:lnTo>
                    <a:pt x="0" y="7"/>
                  </a:lnTo>
                  <a:lnTo>
                    <a:pt x="0" y="10"/>
                  </a:lnTo>
                  <a:lnTo>
                    <a:pt x="2" y="10"/>
                  </a:lnTo>
                  <a:lnTo>
                    <a:pt x="2" y="12"/>
                  </a:lnTo>
                  <a:lnTo>
                    <a:pt x="0" y="15"/>
                  </a:lnTo>
                  <a:lnTo>
                    <a:pt x="0" y="17"/>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51" name="Freeform 1669">
              <a:extLst>
                <a:ext uri="{FF2B5EF4-FFF2-40B4-BE49-F238E27FC236}">
                  <a16:creationId xmlns:a16="http://schemas.microsoft.com/office/drawing/2014/main" id="{662AA44D-E9EF-D04B-9BCB-5DDEF7891E35}"/>
                </a:ext>
              </a:extLst>
            </p:cNvPr>
            <p:cNvSpPr>
              <a:spLocks/>
            </p:cNvSpPr>
            <p:nvPr/>
          </p:nvSpPr>
          <p:spPr bwMode="auto">
            <a:xfrm>
              <a:off x="2006707" y="1682852"/>
              <a:ext cx="32715" cy="45801"/>
            </a:xfrm>
            <a:custGeom>
              <a:avLst/>
              <a:gdLst>
                <a:gd name="T0" fmla="*/ 5 w 20"/>
                <a:gd name="T1" fmla="*/ 7 h 28"/>
                <a:gd name="T2" fmla="*/ 5 w 20"/>
                <a:gd name="T3" fmla="*/ 7 h 28"/>
                <a:gd name="T4" fmla="*/ 3 w 20"/>
                <a:gd name="T5" fmla="*/ 10 h 28"/>
                <a:gd name="T6" fmla="*/ 3 w 20"/>
                <a:gd name="T7" fmla="*/ 10 h 28"/>
                <a:gd name="T8" fmla="*/ 0 w 20"/>
                <a:gd name="T9" fmla="*/ 13 h 28"/>
                <a:gd name="T10" fmla="*/ 3 w 20"/>
                <a:gd name="T11" fmla="*/ 13 h 28"/>
                <a:gd name="T12" fmla="*/ 5 w 20"/>
                <a:gd name="T13" fmla="*/ 10 h 28"/>
                <a:gd name="T14" fmla="*/ 10 w 20"/>
                <a:gd name="T15" fmla="*/ 7 h 28"/>
                <a:gd name="T16" fmla="*/ 10 w 20"/>
                <a:gd name="T17" fmla="*/ 7 h 28"/>
                <a:gd name="T18" fmla="*/ 10 w 20"/>
                <a:gd name="T19" fmla="*/ 7 h 28"/>
                <a:gd name="T20" fmla="*/ 10 w 20"/>
                <a:gd name="T21" fmla="*/ 10 h 28"/>
                <a:gd name="T22" fmla="*/ 10 w 20"/>
                <a:gd name="T23" fmla="*/ 10 h 28"/>
                <a:gd name="T24" fmla="*/ 10 w 20"/>
                <a:gd name="T25" fmla="*/ 13 h 28"/>
                <a:gd name="T26" fmla="*/ 10 w 20"/>
                <a:gd name="T27" fmla="*/ 13 h 28"/>
                <a:gd name="T28" fmla="*/ 8 w 20"/>
                <a:gd name="T29" fmla="*/ 13 h 28"/>
                <a:gd name="T30" fmla="*/ 5 w 20"/>
                <a:gd name="T31" fmla="*/ 15 h 28"/>
                <a:gd name="T32" fmla="*/ 5 w 20"/>
                <a:gd name="T33" fmla="*/ 15 h 28"/>
                <a:gd name="T34" fmla="*/ 5 w 20"/>
                <a:gd name="T35" fmla="*/ 15 h 28"/>
                <a:gd name="T36" fmla="*/ 5 w 20"/>
                <a:gd name="T37" fmla="*/ 18 h 28"/>
                <a:gd name="T38" fmla="*/ 8 w 20"/>
                <a:gd name="T39" fmla="*/ 15 h 28"/>
                <a:gd name="T40" fmla="*/ 8 w 20"/>
                <a:gd name="T41" fmla="*/ 18 h 28"/>
                <a:gd name="T42" fmla="*/ 5 w 20"/>
                <a:gd name="T43" fmla="*/ 18 h 28"/>
                <a:gd name="T44" fmla="*/ 5 w 20"/>
                <a:gd name="T45" fmla="*/ 18 h 28"/>
                <a:gd name="T46" fmla="*/ 5 w 20"/>
                <a:gd name="T47" fmla="*/ 20 h 28"/>
                <a:gd name="T48" fmla="*/ 8 w 20"/>
                <a:gd name="T49" fmla="*/ 20 h 28"/>
                <a:gd name="T50" fmla="*/ 8 w 20"/>
                <a:gd name="T51" fmla="*/ 20 h 28"/>
                <a:gd name="T52" fmla="*/ 8 w 20"/>
                <a:gd name="T53" fmla="*/ 20 h 28"/>
                <a:gd name="T54" fmla="*/ 8 w 20"/>
                <a:gd name="T55" fmla="*/ 20 h 28"/>
                <a:gd name="T56" fmla="*/ 5 w 20"/>
                <a:gd name="T57" fmla="*/ 20 h 28"/>
                <a:gd name="T58" fmla="*/ 5 w 20"/>
                <a:gd name="T59" fmla="*/ 23 h 28"/>
                <a:gd name="T60" fmla="*/ 3 w 20"/>
                <a:gd name="T61" fmla="*/ 23 h 28"/>
                <a:gd name="T62" fmla="*/ 3 w 20"/>
                <a:gd name="T63" fmla="*/ 23 h 28"/>
                <a:gd name="T64" fmla="*/ 3 w 20"/>
                <a:gd name="T65" fmla="*/ 28 h 28"/>
                <a:gd name="T66" fmla="*/ 3 w 20"/>
                <a:gd name="T67" fmla="*/ 28 h 28"/>
                <a:gd name="T68" fmla="*/ 3 w 20"/>
                <a:gd name="T69" fmla="*/ 28 h 28"/>
                <a:gd name="T70" fmla="*/ 3 w 20"/>
                <a:gd name="T71" fmla="*/ 28 h 28"/>
                <a:gd name="T72" fmla="*/ 3 w 20"/>
                <a:gd name="T73" fmla="*/ 28 h 28"/>
                <a:gd name="T74" fmla="*/ 5 w 20"/>
                <a:gd name="T75" fmla="*/ 28 h 28"/>
                <a:gd name="T76" fmla="*/ 8 w 20"/>
                <a:gd name="T77" fmla="*/ 25 h 28"/>
                <a:gd name="T78" fmla="*/ 10 w 20"/>
                <a:gd name="T79" fmla="*/ 23 h 28"/>
                <a:gd name="T80" fmla="*/ 10 w 20"/>
                <a:gd name="T81" fmla="*/ 23 h 28"/>
                <a:gd name="T82" fmla="*/ 10 w 20"/>
                <a:gd name="T83" fmla="*/ 20 h 28"/>
                <a:gd name="T84" fmla="*/ 13 w 20"/>
                <a:gd name="T85" fmla="*/ 20 h 28"/>
                <a:gd name="T86" fmla="*/ 13 w 20"/>
                <a:gd name="T87" fmla="*/ 18 h 28"/>
                <a:gd name="T88" fmla="*/ 15 w 20"/>
                <a:gd name="T89" fmla="*/ 18 h 28"/>
                <a:gd name="T90" fmla="*/ 15 w 20"/>
                <a:gd name="T91" fmla="*/ 15 h 28"/>
                <a:gd name="T92" fmla="*/ 18 w 20"/>
                <a:gd name="T93" fmla="*/ 10 h 28"/>
                <a:gd name="T94" fmla="*/ 20 w 20"/>
                <a:gd name="T95" fmla="*/ 10 h 28"/>
                <a:gd name="T96" fmla="*/ 20 w 20"/>
                <a:gd name="T97" fmla="*/ 7 h 28"/>
                <a:gd name="T98" fmla="*/ 20 w 20"/>
                <a:gd name="T99" fmla="*/ 5 h 28"/>
                <a:gd name="T100" fmla="*/ 20 w 20"/>
                <a:gd name="T101" fmla="*/ 2 h 28"/>
                <a:gd name="T102" fmla="*/ 20 w 20"/>
                <a:gd name="T103" fmla="*/ 2 h 28"/>
                <a:gd name="T104" fmla="*/ 20 w 20"/>
                <a:gd name="T105" fmla="*/ 0 h 28"/>
                <a:gd name="T106" fmla="*/ 18 w 20"/>
                <a:gd name="T107" fmla="*/ 0 h 28"/>
                <a:gd name="T108" fmla="*/ 18 w 20"/>
                <a:gd name="T109" fmla="*/ 2 h 28"/>
                <a:gd name="T110" fmla="*/ 13 w 20"/>
                <a:gd name="T111" fmla="*/ 2 h 28"/>
                <a:gd name="T112" fmla="*/ 13 w 20"/>
                <a:gd name="T113" fmla="*/ 5 h 28"/>
                <a:gd name="T114" fmla="*/ 10 w 20"/>
                <a:gd name="T115" fmla="*/ 5 h 28"/>
                <a:gd name="T116" fmla="*/ 10 w 20"/>
                <a:gd name="T117" fmla="*/ 5 h 28"/>
                <a:gd name="T118" fmla="*/ 8 w 20"/>
                <a:gd name="T119" fmla="*/ 5 h 28"/>
                <a:gd name="T120" fmla="*/ 5 w 20"/>
                <a:gd name="T121" fmla="*/ 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0" h="28">
                  <a:moveTo>
                    <a:pt x="5" y="7"/>
                  </a:moveTo>
                  <a:lnTo>
                    <a:pt x="5" y="7"/>
                  </a:lnTo>
                  <a:lnTo>
                    <a:pt x="3" y="10"/>
                  </a:lnTo>
                  <a:lnTo>
                    <a:pt x="3" y="10"/>
                  </a:lnTo>
                  <a:lnTo>
                    <a:pt x="0" y="13"/>
                  </a:lnTo>
                  <a:lnTo>
                    <a:pt x="3" y="13"/>
                  </a:lnTo>
                  <a:lnTo>
                    <a:pt x="5" y="10"/>
                  </a:lnTo>
                  <a:lnTo>
                    <a:pt x="10" y="7"/>
                  </a:lnTo>
                  <a:lnTo>
                    <a:pt x="10" y="7"/>
                  </a:lnTo>
                  <a:lnTo>
                    <a:pt x="10" y="7"/>
                  </a:lnTo>
                  <a:lnTo>
                    <a:pt x="10" y="10"/>
                  </a:lnTo>
                  <a:lnTo>
                    <a:pt x="10" y="10"/>
                  </a:lnTo>
                  <a:lnTo>
                    <a:pt x="10" y="13"/>
                  </a:lnTo>
                  <a:lnTo>
                    <a:pt x="10" y="13"/>
                  </a:lnTo>
                  <a:lnTo>
                    <a:pt x="8" y="13"/>
                  </a:lnTo>
                  <a:lnTo>
                    <a:pt x="5" y="15"/>
                  </a:lnTo>
                  <a:lnTo>
                    <a:pt x="5" y="15"/>
                  </a:lnTo>
                  <a:lnTo>
                    <a:pt x="5" y="15"/>
                  </a:lnTo>
                  <a:lnTo>
                    <a:pt x="5" y="18"/>
                  </a:lnTo>
                  <a:lnTo>
                    <a:pt x="8" y="15"/>
                  </a:lnTo>
                  <a:lnTo>
                    <a:pt x="8" y="18"/>
                  </a:lnTo>
                  <a:lnTo>
                    <a:pt x="5" y="18"/>
                  </a:lnTo>
                  <a:lnTo>
                    <a:pt x="5" y="18"/>
                  </a:lnTo>
                  <a:lnTo>
                    <a:pt x="5" y="20"/>
                  </a:lnTo>
                  <a:lnTo>
                    <a:pt x="8" y="20"/>
                  </a:lnTo>
                  <a:lnTo>
                    <a:pt x="8" y="20"/>
                  </a:lnTo>
                  <a:lnTo>
                    <a:pt x="8" y="20"/>
                  </a:lnTo>
                  <a:lnTo>
                    <a:pt x="8" y="20"/>
                  </a:lnTo>
                  <a:lnTo>
                    <a:pt x="5" y="20"/>
                  </a:lnTo>
                  <a:lnTo>
                    <a:pt x="5" y="23"/>
                  </a:lnTo>
                  <a:lnTo>
                    <a:pt x="3" y="23"/>
                  </a:lnTo>
                  <a:lnTo>
                    <a:pt x="3" y="23"/>
                  </a:lnTo>
                  <a:lnTo>
                    <a:pt x="3" y="28"/>
                  </a:lnTo>
                  <a:lnTo>
                    <a:pt x="3" y="28"/>
                  </a:lnTo>
                  <a:lnTo>
                    <a:pt x="3" y="28"/>
                  </a:lnTo>
                  <a:lnTo>
                    <a:pt x="3" y="28"/>
                  </a:lnTo>
                  <a:lnTo>
                    <a:pt x="3" y="28"/>
                  </a:lnTo>
                  <a:lnTo>
                    <a:pt x="5" y="28"/>
                  </a:lnTo>
                  <a:lnTo>
                    <a:pt x="8" y="25"/>
                  </a:lnTo>
                  <a:lnTo>
                    <a:pt x="10" y="23"/>
                  </a:lnTo>
                  <a:lnTo>
                    <a:pt x="10" y="23"/>
                  </a:lnTo>
                  <a:lnTo>
                    <a:pt x="10" y="20"/>
                  </a:lnTo>
                  <a:lnTo>
                    <a:pt x="13" y="20"/>
                  </a:lnTo>
                  <a:lnTo>
                    <a:pt x="13" y="18"/>
                  </a:lnTo>
                  <a:lnTo>
                    <a:pt x="15" y="18"/>
                  </a:lnTo>
                  <a:lnTo>
                    <a:pt x="15" y="15"/>
                  </a:lnTo>
                  <a:lnTo>
                    <a:pt x="18" y="10"/>
                  </a:lnTo>
                  <a:lnTo>
                    <a:pt x="20" y="10"/>
                  </a:lnTo>
                  <a:lnTo>
                    <a:pt x="20" y="7"/>
                  </a:lnTo>
                  <a:lnTo>
                    <a:pt x="20" y="5"/>
                  </a:lnTo>
                  <a:lnTo>
                    <a:pt x="20" y="2"/>
                  </a:lnTo>
                  <a:lnTo>
                    <a:pt x="20" y="2"/>
                  </a:lnTo>
                  <a:lnTo>
                    <a:pt x="20" y="0"/>
                  </a:lnTo>
                  <a:lnTo>
                    <a:pt x="18" y="0"/>
                  </a:lnTo>
                  <a:lnTo>
                    <a:pt x="18" y="2"/>
                  </a:lnTo>
                  <a:lnTo>
                    <a:pt x="13" y="2"/>
                  </a:lnTo>
                  <a:lnTo>
                    <a:pt x="13" y="5"/>
                  </a:lnTo>
                  <a:lnTo>
                    <a:pt x="10" y="5"/>
                  </a:lnTo>
                  <a:lnTo>
                    <a:pt x="10" y="5"/>
                  </a:lnTo>
                  <a:lnTo>
                    <a:pt x="8" y="5"/>
                  </a:lnTo>
                  <a:lnTo>
                    <a:pt x="5" y="7"/>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52" name="Freeform 1670">
              <a:extLst>
                <a:ext uri="{FF2B5EF4-FFF2-40B4-BE49-F238E27FC236}">
                  <a16:creationId xmlns:a16="http://schemas.microsoft.com/office/drawing/2014/main" id="{A42FFE18-47E6-0F4B-8FC6-B4081CB346E8}"/>
                </a:ext>
              </a:extLst>
            </p:cNvPr>
            <p:cNvSpPr>
              <a:spLocks/>
            </p:cNvSpPr>
            <p:nvPr/>
          </p:nvSpPr>
          <p:spPr bwMode="auto">
            <a:xfrm>
              <a:off x="1877484" y="1599429"/>
              <a:ext cx="16357" cy="8179"/>
            </a:xfrm>
            <a:custGeom>
              <a:avLst/>
              <a:gdLst>
                <a:gd name="T0" fmla="*/ 0 w 10"/>
                <a:gd name="T1" fmla="*/ 5 h 5"/>
                <a:gd name="T2" fmla="*/ 5 w 10"/>
                <a:gd name="T3" fmla="*/ 2 h 5"/>
                <a:gd name="T4" fmla="*/ 8 w 10"/>
                <a:gd name="T5" fmla="*/ 0 h 5"/>
                <a:gd name="T6" fmla="*/ 10 w 10"/>
                <a:gd name="T7" fmla="*/ 0 h 5"/>
                <a:gd name="T8" fmla="*/ 8 w 10"/>
                <a:gd name="T9" fmla="*/ 0 h 5"/>
                <a:gd name="T10" fmla="*/ 5 w 10"/>
                <a:gd name="T11" fmla="*/ 2 h 5"/>
                <a:gd name="T12" fmla="*/ 3 w 10"/>
                <a:gd name="T13" fmla="*/ 2 h 5"/>
                <a:gd name="T14" fmla="*/ 0 w 10"/>
                <a:gd name="T15" fmla="*/ 5 h 5"/>
                <a:gd name="T16" fmla="*/ 0 w 10"/>
                <a:gd name="T1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5">
                  <a:moveTo>
                    <a:pt x="0" y="5"/>
                  </a:moveTo>
                  <a:lnTo>
                    <a:pt x="5" y="2"/>
                  </a:lnTo>
                  <a:lnTo>
                    <a:pt x="8" y="0"/>
                  </a:lnTo>
                  <a:lnTo>
                    <a:pt x="10" y="0"/>
                  </a:lnTo>
                  <a:lnTo>
                    <a:pt x="8" y="0"/>
                  </a:lnTo>
                  <a:lnTo>
                    <a:pt x="5" y="2"/>
                  </a:lnTo>
                  <a:lnTo>
                    <a:pt x="3" y="2"/>
                  </a:lnTo>
                  <a:lnTo>
                    <a:pt x="0" y="5"/>
                  </a:lnTo>
                  <a:lnTo>
                    <a:pt x="0" y="5"/>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53" name="Freeform 1671">
              <a:extLst>
                <a:ext uri="{FF2B5EF4-FFF2-40B4-BE49-F238E27FC236}">
                  <a16:creationId xmlns:a16="http://schemas.microsoft.com/office/drawing/2014/main" id="{510647C0-A89C-884E-98FE-AD354421A1F8}"/>
                </a:ext>
              </a:extLst>
            </p:cNvPr>
            <p:cNvSpPr>
              <a:spLocks/>
            </p:cNvSpPr>
            <p:nvPr/>
          </p:nvSpPr>
          <p:spPr bwMode="auto">
            <a:xfrm>
              <a:off x="2019793" y="1704116"/>
              <a:ext cx="32715" cy="32715"/>
            </a:xfrm>
            <a:custGeom>
              <a:avLst/>
              <a:gdLst>
                <a:gd name="T0" fmla="*/ 7 w 20"/>
                <a:gd name="T1" fmla="*/ 12 h 20"/>
                <a:gd name="T2" fmla="*/ 2 w 20"/>
                <a:gd name="T3" fmla="*/ 17 h 20"/>
                <a:gd name="T4" fmla="*/ 0 w 20"/>
                <a:gd name="T5" fmla="*/ 20 h 20"/>
                <a:gd name="T6" fmla="*/ 0 w 20"/>
                <a:gd name="T7" fmla="*/ 20 h 20"/>
                <a:gd name="T8" fmla="*/ 2 w 20"/>
                <a:gd name="T9" fmla="*/ 17 h 20"/>
                <a:gd name="T10" fmla="*/ 2 w 20"/>
                <a:gd name="T11" fmla="*/ 17 h 20"/>
                <a:gd name="T12" fmla="*/ 2 w 20"/>
                <a:gd name="T13" fmla="*/ 17 h 20"/>
                <a:gd name="T14" fmla="*/ 5 w 20"/>
                <a:gd name="T15" fmla="*/ 17 h 20"/>
                <a:gd name="T16" fmla="*/ 5 w 20"/>
                <a:gd name="T17" fmla="*/ 17 h 20"/>
                <a:gd name="T18" fmla="*/ 7 w 20"/>
                <a:gd name="T19" fmla="*/ 17 h 20"/>
                <a:gd name="T20" fmla="*/ 10 w 20"/>
                <a:gd name="T21" fmla="*/ 15 h 20"/>
                <a:gd name="T22" fmla="*/ 12 w 20"/>
                <a:gd name="T23" fmla="*/ 12 h 20"/>
                <a:gd name="T24" fmla="*/ 12 w 20"/>
                <a:gd name="T25" fmla="*/ 10 h 20"/>
                <a:gd name="T26" fmla="*/ 15 w 20"/>
                <a:gd name="T27" fmla="*/ 7 h 20"/>
                <a:gd name="T28" fmla="*/ 17 w 20"/>
                <a:gd name="T29" fmla="*/ 7 h 20"/>
                <a:gd name="T30" fmla="*/ 17 w 20"/>
                <a:gd name="T31" fmla="*/ 7 h 20"/>
                <a:gd name="T32" fmla="*/ 20 w 20"/>
                <a:gd name="T33" fmla="*/ 7 h 20"/>
                <a:gd name="T34" fmla="*/ 20 w 20"/>
                <a:gd name="T35" fmla="*/ 5 h 20"/>
                <a:gd name="T36" fmla="*/ 20 w 20"/>
                <a:gd name="T37" fmla="*/ 5 h 20"/>
                <a:gd name="T38" fmla="*/ 17 w 20"/>
                <a:gd name="T39" fmla="*/ 5 h 20"/>
                <a:gd name="T40" fmla="*/ 20 w 20"/>
                <a:gd name="T41" fmla="*/ 2 h 20"/>
                <a:gd name="T42" fmla="*/ 20 w 20"/>
                <a:gd name="T43" fmla="*/ 2 h 20"/>
                <a:gd name="T44" fmla="*/ 20 w 20"/>
                <a:gd name="T45" fmla="*/ 2 h 20"/>
                <a:gd name="T46" fmla="*/ 17 w 20"/>
                <a:gd name="T47" fmla="*/ 0 h 20"/>
                <a:gd name="T48" fmla="*/ 15 w 20"/>
                <a:gd name="T49" fmla="*/ 2 h 20"/>
                <a:gd name="T50" fmla="*/ 12 w 20"/>
                <a:gd name="T51" fmla="*/ 2 h 20"/>
                <a:gd name="T52" fmla="*/ 10 w 20"/>
                <a:gd name="T53" fmla="*/ 5 h 20"/>
                <a:gd name="T54" fmla="*/ 10 w 20"/>
                <a:gd name="T55" fmla="*/ 5 h 20"/>
                <a:gd name="T56" fmla="*/ 10 w 20"/>
                <a:gd name="T57" fmla="*/ 7 h 20"/>
                <a:gd name="T58" fmla="*/ 7 w 20"/>
                <a:gd name="T59" fmla="*/ 7 h 20"/>
                <a:gd name="T60" fmla="*/ 10 w 20"/>
                <a:gd name="T61" fmla="*/ 10 h 20"/>
                <a:gd name="T62" fmla="*/ 10 w 20"/>
                <a:gd name="T63" fmla="*/ 10 h 20"/>
                <a:gd name="T64" fmla="*/ 7 w 20"/>
                <a:gd name="T65" fmla="*/ 1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 h="20">
                  <a:moveTo>
                    <a:pt x="7" y="12"/>
                  </a:moveTo>
                  <a:lnTo>
                    <a:pt x="2" y="17"/>
                  </a:lnTo>
                  <a:lnTo>
                    <a:pt x="0" y="20"/>
                  </a:lnTo>
                  <a:lnTo>
                    <a:pt x="0" y="20"/>
                  </a:lnTo>
                  <a:lnTo>
                    <a:pt x="2" y="17"/>
                  </a:lnTo>
                  <a:lnTo>
                    <a:pt x="2" y="17"/>
                  </a:lnTo>
                  <a:lnTo>
                    <a:pt x="2" y="17"/>
                  </a:lnTo>
                  <a:lnTo>
                    <a:pt x="5" y="17"/>
                  </a:lnTo>
                  <a:lnTo>
                    <a:pt x="5" y="17"/>
                  </a:lnTo>
                  <a:lnTo>
                    <a:pt x="7" y="17"/>
                  </a:lnTo>
                  <a:lnTo>
                    <a:pt x="10" y="15"/>
                  </a:lnTo>
                  <a:lnTo>
                    <a:pt x="12" y="12"/>
                  </a:lnTo>
                  <a:lnTo>
                    <a:pt x="12" y="10"/>
                  </a:lnTo>
                  <a:lnTo>
                    <a:pt x="15" y="7"/>
                  </a:lnTo>
                  <a:lnTo>
                    <a:pt x="17" y="7"/>
                  </a:lnTo>
                  <a:lnTo>
                    <a:pt x="17" y="7"/>
                  </a:lnTo>
                  <a:lnTo>
                    <a:pt x="20" y="7"/>
                  </a:lnTo>
                  <a:lnTo>
                    <a:pt x="20" y="5"/>
                  </a:lnTo>
                  <a:lnTo>
                    <a:pt x="20" y="5"/>
                  </a:lnTo>
                  <a:lnTo>
                    <a:pt x="17" y="5"/>
                  </a:lnTo>
                  <a:lnTo>
                    <a:pt x="20" y="2"/>
                  </a:lnTo>
                  <a:lnTo>
                    <a:pt x="20" y="2"/>
                  </a:lnTo>
                  <a:lnTo>
                    <a:pt x="20" y="2"/>
                  </a:lnTo>
                  <a:lnTo>
                    <a:pt x="17" y="0"/>
                  </a:lnTo>
                  <a:lnTo>
                    <a:pt x="15" y="2"/>
                  </a:lnTo>
                  <a:lnTo>
                    <a:pt x="12" y="2"/>
                  </a:lnTo>
                  <a:lnTo>
                    <a:pt x="10" y="5"/>
                  </a:lnTo>
                  <a:lnTo>
                    <a:pt x="10" y="5"/>
                  </a:lnTo>
                  <a:lnTo>
                    <a:pt x="10" y="7"/>
                  </a:lnTo>
                  <a:lnTo>
                    <a:pt x="7" y="7"/>
                  </a:lnTo>
                  <a:lnTo>
                    <a:pt x="10" y="10"/>
                  </a:lnTo>
                  <a:lnTo>
                    <a:pt x="10" y="10"/>
                  </a:lnTo>
                  <a:lnTo>
                    <a:pt x="7" y="1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54" name="Freeform 1672">
              <a:extLst>
                <a:ext uri="{FF2B5EF4-FFF2-40B4-BE49-F238E27FC236}">
                  <a16:creationId xmlns:a16="http://schemas.microsoft.com/office/drawing/2014/main" id="{42F5D572-82B0-A54C-AAE8-BF3D335501D2}"/>
                </a:ext>
              </a:extLst>
            </p:cNvPr>
            <p:cNvSpPr>
              <a:spLocks/>
            </p:cNvSpPr>
            <p:nvPr/>
          </p:nvSpPr>
          <p:spPr bwMode="auto">
            <a:xfrm>
              <a:off x="2023064" y="1723744"/>
              <a:ext cx="34351" cy="58887"/>
            </a:xfrm>
            <a:custGeom>
              <a:avLst/>
              <a:gdLst>
                <a:gd name="T0" fmla="*/ 21 w 21"/>
                <a:gd name="T1" fmla="*/ 13 h 36"/>
                <a:gd name="T2" fmla="*/ 21 w 21"/>
                <a:gd name="T3" fmla="*/ 8 h 36"/>
                <a:gd name="T4" fmla="*/ 15 w 21"/>
                <a:gd name="T5" fmla="*/ 5 h 36"/>
                <a:gd name="T6" fmla="*/ 18 w 21"/>
                <a:gd name="T7" fmla="*/ 5 h 36"/>
                <a:gd name="T8" fmla="*/ 18 w 21"/>
                <a:gd name="T9" fmla="*/ 3 h 36"/>
                <a:gd name="T10" fmla="*/ 18 w 21"/>
                <a:gd name="T11" fmla="*/ 3 h 36"/>
                <a:gd name="T12" fmla="*/ 13 w 21"/>
                <a:gd name="T13" fmla="*/ 0 h 36"/>
                <a:gd name="T14" fmla="*/ 10 w 21"/>
                <a:gd name="T15" fmla="*/ 3 h 36"/>
                <a:gd name="T16" fmla="*/ 10 w 21"/>
                <a:gd name="T17" fmla="*/ 5 h 36"/>
                <a:gd name="T18" fmla="*/ 3 w 21"/>
                <a:gd name="T19" fmla="*/ 8 h 36"/>
                <a:gd name="T20" fmla="*/ 3 w 21"/>
                <a:gd name="T21" fmla="*/ 10 h 36"/>
                <a:gd name="T22" fmla="*/ 10 w 21"/>
                <a:gd name="T23" fmla="*/ 8 h 36"/>
                <a:gd name="T24" fmla="*/ 10 w 21"/>
                <a:gd name="T25" fmla="*/ 10 h 36"/>
                <a:gd name="T26" fmla="*/ 8 w 21"/>
                <a:gd name="T27" fmla="*/ 10 h 36"/>
                <a:gd name="T28" fmla="*/ 5 w 21"/>
                <a:gd name="T29" fmla="*/ 13 h 36"/>
                <a:gd name="T30" fmla="*/ 3 w 21"/>
                <a:gd name="T31" fmla="*/ 13 h 36"/>
                <a:gd name="T32" fmla="*/ 0 w 21"/>
                <a:gd name="T33" fmla="*/ 13 h 36"/>
                <a:gd name="T34" fmla="*/ 0 w 21"/>
                <a:gd name="T35" fmla="*/ 13 h 36"/>
                <a:gd name="T36" fmla="*/ 0 w 21"/>
                <a:gd name="T37" fmla="*/ 16 h 36"/>
                <a:gd name="T38" fmla="*/ 3 w 21"/>
                <a:gd name="T39" fmla="*/ 16 h 36"/>
                <a:gd name="T40" fmla="*/ 3 w 21"/>
                <a:gd name="T41" fmla="*/ 18 h 36"/>
                <a:gd name="T42" fmla="*/ 8 w 21"/>
                <a:gd name="T43" fmla="*/ 18 h 36"/>
                <a:gd name="T44" fmla="*/ 5 w 21"/>
                <a:gd name="T45" fmla="*/ 18 h 36"/>
                <a:gd name="T46" fmla="*/ 3 w 21"/>
                <a:gd name="T47" fmla="*/ 21 h 36"/>
                <a:gd name="T48" fmla="*/ 0 w 21"/>
                <a:gd name="T49" fmla="*/ 23 h 36"/>
                <a:gd name="T50" fmla="*/ 0 w 21"/>
                <a:gd name="T51" fmla="*/ 23 h 36"/>
                <a:gd name="T52" fmla="*/ 0 w 21"/>
                <a:gd name="T53" fmla="*/ 28 h 36"/>
                <a:gd name="T54" fmla="*/ 3 w 21"/>
                <a:gd name="T55" fmla="*/ 28 h 36"/>
                <a:gd name="T56" fmla="*/ 5 w 21"/>
                <a:gd name="T57" fmla="*/ 26 h 36"/>
                <a:gd name="T58" fmla="*/ 3 w 21"/>
                <a:gd name="T59" fmla="*/ 28 h 36"/>
                <a:gd name="T60" fmla="*/ 3 w 21"/>
                <a:gd name="T61" fmla="*/ 31 h 36"/>
                <a:gd name="T62" fmla="*/ 3 w 21"/>
                <a:gd name="T63" fmla="*/ 31 h 36"/>
                <a:gd name="T64" fmla="*/ 5 w 21"/>
                <a:gd name="T65" fmla="*/ 31 h 36"/>
                <a:gd name="T66" fmla="*/ 3 w 21"/>
                <a:gd name="T67" fmla="*/ 33 h 36"/>
                <a:gd name="T68" fmla="*/ 5 w 21"/>
                <a:gd name="T69" fmla="*/ 36 h 36"/>
                <a:gd name="T70" fmla="*/ 5 w 21"/>
                <a:gd name="T71" fmla="*/ 36 h 36"/>
                <a:gd name="T72" fmla="*/ 10 w 21"/>
                <a:gd name="T73" fmla="*/ 33 h 36"/>
                <a:gd name="T74" fmla="*/ 10 w 21"/>
                <a:gd name="T75" fmla="*/ 31 h 36"/>
                <a:gd name="T76" fmla="*/ 13 w 21"/>
                <a:gd name="T77" fmla="*/ 31 h 36"/>
                <a:gd name="T78" fmla="*/ 18 w 21"/>
                <a:gd name="T79" fmla="*/ 26 h 36"/>
                <a:gd name="T80" fmla="*/ 13 w 21"/>
                <a:gd name="T81" fmla="*/ 26 h 36"/>
                <a:gd name="T82" fmla="*/ 13 w 21"/>
                <a:gd name="T83" fmla="*/ 26 h 36"/>
                <a:gd name="T84" fmla="*/ 15 w 21"/>
                <a:gd name="T85" fmla="*/ 23 h 36"/>
                <a:gd name="T86" fmla="*/ 15 w 21"/>
                <a:gd name="T87" fmla="*/ 21 h 36"/>
                <a:gd name="T88" fmla="*/ 15 w 21"/>
                <a:gd name="T89" fmla="*/ 21 h 36"/>
                <a:gd name="T90" fmla="*/ 10 w 21"/>
                <a:gd name="T91" fmla="*/ 21 h 36"/>
                <a:gd name="T92" fmla="*/ 13 w 21"/>
                <a:gd name="T93" fmla="*/ 18 h 36"/>
                <a:gd name="T94" fmla="*/ 15 w 21"/>
                <a:gd name="T95" fmla="*/ 18 h 36"/>
                <a:gd name="T96" fmla="*/ 18 w 21"/>
                <a:gd name="T97" fmla="*/ 21 h 36"/>
                <a:gd name="T98" fmla="*/ 18 w 21"/>
                <a:gd name="T99" fmla="*/ 18 h 36"/>
                <a:gd name="T100" fmla="*/ 18 w 21"/>
                <a:gd name="T101" fmla="*/ 1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1" h="36">
                  <a:moveTo>
                    <a:pt x="21" y="13"/>
                  </a:moveTo>
                  <a:lnTo>
                    <a:pt x="21" y="13"/>
                  </a:lnTo>
                  <a:lnTo>
                    <a:pt x="21" y="10"/>
                  </a:lnTo>
                  <a:lnTo>
                    <a:pt x="21" y="8"/>
                  </a:lnTo>
                  <a:lnTo>
                    <a:pt x="15" y="5"/>
                  </a:lnTo>
                  <a:lnTo>
                    <a:pt x="15" y="5"/>
                  </a:lnTo>
                  <a:lnTo>
                    <a:pt x="18" y="5"/>
                  </a:lnTo>
                  <a:lnTo>
                    <a:pt x="18" y="5"/>
                  </a:lnTo>
                  <a:lnTo>
                    <a:pt x="18" y="5"/>
                  </a:lnTo>
                  <a:lnTo>
                    <a:pt x="18" y="3"/>
                  </a:lnTo>
                  <a:lnTo>
                    <a:pt x="18" y="3"/>
                  </a:lnTo>
                  <a:lnTo>
                    <a:pt x="18" y="3"/>
                  </a:lnTo>
                  <a:lnTo>
                    <a:pt x="15" y="3"/>
                  </a:lnTo>
                  <a:lnTo>
                    <a:pt x="13" y="0"/>
                  </a:lnTo>
                  <a:lnTo>
                    <a:pt x="13" y="3"/>
                  </a:lnTo>
                  <a:lnTo>
                    <a:pt x="10" y="3"/>
                  </a:lnTo>
                  <a:lnTo>
                    <a:pt x="10" y="5"/>
                  </a:lnTo>
                  <a:lnTo>
                    <a:pt x="10" y="5"/>
                  </a:lnTo>
                  <a:lnTo>
                    <a:pt x="8" y="5"/>
                  </a:lnTo>
                  <a:lnTo>
                    <a:pt x="3" y="8"/>
                  </a:lnTo>
                  <a:lnTo>
                    <a:pt x="3" y="10"/>
                  </a:lnTo>
                  <a:lnTo>
                    <a:pt x="3" y="10"/>
                  </a:lnTo>
                  <a:lnTo>
                    <a:pt x="8" y="8"/>
                  </a:lnTo>
                  <a:lnTo>
                    <a:pt x="10" y="8"/>
                  </a:lnTo>
                  <a:lnTo>
                    <a:pt x="10" y="8"/>
                  </a:lnTo>
                  <a:lnTo>
                    <a:pt x="10" y="10"/>
                  </a:lnTo>
                  <a:lnTo>
                    <a:pt x="10" y="10"/>
                  </a:lnTo>
                  <a:lnTo>
                    <a:pt x="8" y="10"/>
                  </a:lnTo>
                  <a:lnTo>
                    <a:pt x="8" y="13"/>
                  </a:lnTo>
                  <a:lnTo>
                    <a:pt x="5" y="13"/>
                  </a:lnTo>
                  <a:lnTo>
                    <a:pt x="5" y="13"/>
                  </a:lnTo>
                  <a:lnTo>
                    <a:pt x="3" y="13"/>
                  </a:lnTo>
                  <a:lnTo>
                    <a:pt x="3" y="13"/>
                  </a:lnTo>
                  <a:lnTo>
                    <a:pt x="0" y="13"/>
                  </a:lnTo>
                  <a:lnTo>
                    <a:pt x="0" y="13"/>
                  </a:lnTo>
                  <a:lnTo>
                    <a:pt x="0" y="13"/>
                  </a:lnTo>
                  <a:lnTo>
                    <a:pt x="0" y="16"/>
                  </a:lnTo>
                  <a:lnTo>
                    <a:pt x="0" y="16"/>
                  </a:lnTo>
                  <a:lnTo>
                    <a:pt x="3" y="16"/>
                  </a:lnTo>
                  <a:lnTo>
                    <a:pt x="3" y="16"/>
                  </a:lnTo>
                  <a:lnTo>
                    <a:pt x="3" y="18"/>
                  </a:lnTo>
                  <a:lnTo>
                    <a:pt x="3" y="18"/>
                  </a:lnTo>
                  <a:lnTo>
                    <a:pt x="5" y="16"/>
                  </a:lnTo>
                  <a:lnTo>
                    <a:pt x="8" y="18"/>
                  </a:lnTo>
                  <a:lnTo>
                    <a:pt x="5" y="18"/>
                  </a:lnTo>
                  <a:lnTo>
                    <a:pt x="5" y="18"/>
                  </a:lnTo>
                  <a:lnTo>
                    <a:pt x="5" y="21"/>
                  </a:lnTo>
                  <a:lnTo>
                    <a:pt x="3" y="21"/>
                  </a:lnTo>
                  <a:lnTo>
                    <a:pt x="3" y="21"/>
                  </a:lnTo>
                  <a:lnTo>
                    <a:pt x="0" y="23"/>
                  </a:lnTo>
                  <a:lnTo>
                    <a:pt x="0" y="23"/>
                  </a:lnTo>
                  <a:lnTo>
                    <a:pt x="0" y="23"/>
                  </a:lnTo>
                  <a:lnTo>
                    <a:pt x="0" y="26"/>
                  </a:lnTo>
                  <a:lnTo>
                    <a:pt x="0" y="28"/>
                  </a:lnTo>
                  <a:lnTo>
                    <a:pt x="0" y="28"/>
                  </a:lnTo>
                  <a:lnTo>
                    <a:pt x="3" y="28"/>
                  </a:lnTo>
                  <a:lnTo>
                    <a:pt x="3" y="28"/>
                  </a:lnTo>
                  <a:lnTo>
                    <a:pt x="5" y="26"/>
                  </a:lnTo>
                  <a:lnTo>
                    <a:pt x="5" y="26"/>
                  </a:lnTo>
                  <a:lnTo>
                    <a:pt x="3" y="28"/>
                  </a:lnTo>
                  <a:lnTo>
                    <a:pt x="3" y="28"/>
                  </a:lnTo>
                  <a:lnTo>
                    <a:pt x="3" y="31"/>
                  </a:lnTo>
                  <a:lnTo>
                    <a:pt x="3" y="31"/>
                  </a:lnTo>
                  <a:lnTo>
                    <a:pt x="3" y="31"/>
                  </a:lnTo>
                  <a:lnTo>
                    <a:pt x="3" y="31"/>
                  </a:lnTo>
                  <a:lnTo>
                    <a:pt x="5" y="31"/>
                  </a:lnTo>
                  <a:lnTo>
                    <a:pt x="5" y="31"/>
                  </a:lnTo>
                  <a:lnTo>
                    <a:pt x="3" y="33"/>
                  </a:lnTo>
                  <a:lnTo>
                    <a:pt x="3" y="36"/>
                  </a:lnTo>
                  <a:lnTo>
                    <a:pt x="5" y="36"/>
                  </a:lnTo>
                  <a:lnTo>
                    <a:pt x="5" y="36"/>
                  </a:lnTo>
                  <a:lnTo>
                    <a:pt x="5" y="36"/>
                  </a:lnTo>
                  <a:lnTo>
                    <a:pt x="8" y="33"/>
                  </a:lnTo>
                  <a:lnTo>
                    <a:pt x="10" y="33"/>
                  </a:lnTo>
                  <a:lnTo>
                    <a:pt x="10" y="33"/>
                  </a:lnTo>
                  <a:lnTo>
                    <a:pt x="10" y="31"/>
                  </a:lnTo>
                  <a:lnTo>
                    <a:pt x="10" y="31"/>
                  </a:lnTo>
                  <a:lnTo>
                    <a:pt x="13" y="31"/>
                  </a:lnTo>
                  <a:lnTo>
                    <a:pt x="13" y="28"/>
                  </a:lnTo>
                  <a:lnTo>
                    <a:pt x="18" y="26"/>
                  </a:lnTo>
                  <a:lnTo>
                    <a:pt x="18" y="26"/>
                  </a:lnTo>
                  <a:lnTo>
                    <a:pt x="13" y="26"/>
                  </a:lnTo>
                  <a:lnTo>
                    <a:pt x="13" y="26"/>
                  </a:lnTo>
                  <a:lnTo>
                    <a:pt x="13" y="26"/>
                  </a:lnTo>
                  <a:lnTo>
                    <a:pt x="13" y="23"/>
                  </a:lnTo>
                  <a:lnTo>
                    <a:pt x="15" y="23"/>
                  </a:lnTo>
                  <a:lnTo>
                    <a:pt x="15" y="23"/>
                  </a:lnTo>
                  <a:lnTo>
                    <a:pt x="15" y="21"/>
                  </a:lnTo>
                  <a:lnTo>
                    <a:pt x="15" y="21"/>
                  </a:lnTo>
                  <a:lnTo>
                    <a:pt x="15" y="21"/>
                  </a:lnTo>
                  <a:lnTo>
                    <a:pt x="13" y="21"/>
                  </a:lnTo>
                  <a:lnTo>
                    <a:pt x="10" y="21"/>
                  </a:lnTo>
                  <a:lnTo>
                    <a:pt x="13" y="18"/>
                  </a:lnTo>
                  <a:lnTo>
                    <a:pt x="13" y="18"/>
                  </a:lnTo>
                  <a:lnTo>
                    <a:pt x="15" y="18"/>
                  </a:lnTo>
                  <a:lnTo>
                    <a:pt x="15" y="18"/>
                  </a:lnTo>
                  <a:lnTo>
                    <a:pt x="18" y="18"/>
                  </a:lnTo>
                  <a:lnTo>
                    <a:pt x="18" y="21"/>
                  </a:lnTo>
                  <a:lnTo>
                    <a:pt x="18" y="21"/>
                  </a:lnTo>
                  <a:lnTo>
                    <a:pt x="18" y="18"/>
                  </a:lnTo>
                  <a:lnTo>
                    <a:pt x="18" y="18"/>
                  </a:lnTo>
                  <a:lnTo>
                    <a:pt x="18" y="16"/>
                  </a:lnTo>
                  <a:lnTo>
                    <a:pt x="21" y="13"/>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55" name="Freeform 1673">
              <a:extLst>
                <a:ext uri="{FF2B5EF4-FFF2-40B4-BE49-F238E27FC236}">
                  <a16:creationId xmlns:a16="http://schemas.microsoft.com/office/drawing/2014/main" id="{71F86DE6-DE44-D648-8BF8-B19ED721DE4C}"/>
                </a:ext>
              </a:extLst>
            </p:cNvPr>
            <p:cNvSpPr>
              <a:spLocks/>
            </p:cNvSpPr>
            <p:nvPr/>
          </p:nvSpPr>
          <p:spPr bwMode="auto">
            <a:xfrm>
              <a:off x="1885662" y="2535070"/>
              <a:ext cx="8179" cy="4908"/>
            </a:xfrm>
            <a:custGeom>
              <a:avLst/>
              <a:gdLst>
                <a:gd name="T0" fmla="*/ 3 w 5"/>
                <a:gd name="T1" fmla="*/ 0 h 3"/>
                <a:gd name="T2" fmla="*/ 0 w 5"/>
                <a:gd name="T3" fmla="*/ 0 h 3"/>
                <a:gd name="T4" fmla="*/ 0 w 5"/>
                <a:gd name="T5" fmla="*/ 3 h 3"/>
                <a:gd name="T6" fmla="*/ 0 w 5"/>
                <a:gd name="T7" fmla="*/ 3 h 3"/>
                <a:gd name="T8" fmla="*/ 3 w 5"/>
                <a:gd name="T9" fmla="*/ 3 h 3"/>
                <a:gd name="T10" fmla="*/ 5 w 5"/>
                <a:gd name="T11" fmla="*/ 3 h 3"/>
                <a:gd name="T12" fmla="*/ 5 w 5"/>
                <a:gd name="T13" fmla="*/ 3 h 3"/>
                <a:gd name="T14" fmla="*/ 3 w 5"/>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3">
                  <a:moveTo>
                    <a:pt x="3" y="0"/>
                  </a:moveTo>
                  <a:lnTo>
                    <a:pt x="0" y="0"/>
                  </a:lnTo>
                  <a:lnTo>
                    <a:pt x="0" y="3"/>
                  </a:lnTo>
                  <a:lnTo>
                    <a:pt x="0" y="3"/>
                  </a:lnTo>
                  <a:lnTo>
                    <a:pt x="3" y="3"/>
                  </a:lnTo>
                  <a:lnTo>
                    <a:pt x="5" y="3"/>
                  </a:lnTo>
                  <a:lnTo>
                    <a:pt x="5" y="3"/>
                  </a:lnTo>
                  <a:lnTo>
                    <a:pt x="3"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56" name="Freeform 1674">
              <a:extLst>
                <a:ext uri="{FF2B5EF4-FFF2-40B4-BE49-F238E27FC236}">
                  <a16:creationId xmlns:a16="http://schemas.microsoft.com/office/drawing/2014/main" id="{0E5E5D26-CBFF-E24F-A569-311338DECDB4}"/>
                </a:ext>
              </a:extLst>
            </p:cNvPr>
            <p:cNvSpPr>
              <a:spLocks/>
            </p:cNvSpPr>
            <p:nvPr/>
          </p:nvSpPr>
          <p:spPr bwMode="auto">
            <a:xfrm>
              <a:off x="1893842" y="2564513"/>
              <a:ext cx="4908" cy="4908"/>
            </a:xfrm>
            <a:custGeom>
              <a:avLst/>
              <a:gdLst>
                <a:gd name="T0" fmla="*/ 0 w 3"/>
                <a:gd name="T1" fmla="*/ 0 h 3"/>
                <a:gd name="T2" fmla="*/ 0 w 3"/>
                <a:gd name="T3" fmla="*/ 0 h 3"/>
                <a:gd name="T4" fmla="*/ 0 w 3"/>
                <a:gd name="T5" fmla="*/ 0 h 3"/>
                <a:gd name="T6" fmla="*/ 3 w 3"/>
                <a:gd name="T7" fmla="*/ 3 h 3"/>
                <a:gd name="T8" fmla="*/ 3 w 3"/>
                <a:gd name="T9" fmla="*/ 3 h 3"/>
                <a:gd name="T10" fmla="*/ 3 w 3"/>
                <a:gd name="T11" fmla="*/ 0 h 3"/>
                <a:gd name="T12" fmla="*/ 3 w 3"/>
                <a:gd name="T13" fmla="*/ 0 h 3"/>
                <a:gd name="T14" fmla="*/ 0 w 3"/>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3">
                  <a:moveTo>
                    <a:pt x="0" y="0"/>
                  </a:moveTo>
                  <a:lnTo>
                    <a:pt x="0" y="0"/>
                  </a:lnTo>
                  <a:lnTo>
                    <a:pt x="0" y="0"/>
                  </a:lnTo>
                  <a:lnTo>
                    <a:pt x="3" y="3"/>
                  </a:lnTo>
                  <a:lnTo>
                    <a:pt x="3" y="3"/>
                  </a:lnTo>
                  <a:lnTo>
                    <a:pt x="3" y="0"/>
                  </a:lnTo>
                  <a:lnTo>
                    <a:pt x="3" y="0"/>
                  </a:lnTo>
                  <a:lnTo>
                    <a:pt x="0"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57" name="Freeform 1675">
              <a:extLst>
                <a:ext uri="{FF2B5EF4-FFF2-40B4-BE49-F238E27FC236}">
                  <a16:creationId xmlns:a16="http://schemas.microsoft.com/office/drawing/2014/main" id="{2385E432-5E7F-8940-BBE4-6534F87D2045}"/>
                </a:ext>
              </a:extLst>
            </p:cNvPr>
            <p:cNvSpPr>
              <a:spLocks/>
            </p:cNvSpPr>
            <p:nvPr/>
          </p:nvSpPr>
          <p:spPr bwMode="auto">
            <a:xfrm>
              <a:off x="2047601" y="1699209"/>
              <a:ext cx="34351" cy="21265"/>
            </a:xfrm>
            <a:custGeom>
              <a:avLst/>
              <a:gdLst>
                <a:gd name="T0" fmla="*/ 18 w 21"/>
                <a:gd name="T1" fmla="*/ 3 h 13"/>
                <a:gd name="T2" fmla="*/ 18 w 21"/>
                <a:gd name="T3" fmla="*/ 3 h 13"/>
                <a:gd name="T4" fmla="*/ 16 w 21"/>
                <a:gd name="T5" fmla="*/ 3 h 13"/>
                <a:gd name="T6" fmla="*/ 16 w 21"/>
                <a:gd name="T7" fmla="*/ 3 h 13"/>
                <a:gd name="T8" fmla="*/ 11 w 21"/>
                <a:gd name="T9" fmla="*/ 0 h 13"/>
                <a:gd name="T10" fmla="*/ 8 w 21"/>
                <a:gd name="T11" fmla="*/ 0 h 13"/>
                <a:gd name="T12" fmla="*/ 6 w 21"/>
                <a:gd name="T13" fmla="*/ 3 h 13"/>
                <a:gd name="T14" fmla="*/ 6 w 21"/>
                <a:gd name="T15" fmla="*/ 3 h 13"/>
                <a:gd name="T16" fmla="*/ 6 w 21"/>
                <a:gd name="T17" fmla="*/ 3 h 13"/>
                <a:gd name="T18" fmla="*/ 6 w 21"/>
                <a:gd name="T19" fmla="*/ 5 h 13"/>
                <a:gd name="T20" fmla="*/ 6 w 21"/>
                <a:gd name="T21" fmla="*/ 5 h 13"/>
                <a:gd name="T22" fmla="*/ 6 w 21"/>
                <a:gd name="T23" fmla="*/ 8 h 13"/>
                <a:gd name="T24" fmla="*/ 3 w 21"/>
                <a:gd name="T25" fmla="*/ 8 h 13"/>
                <a:gd name="T26" fmla="*/ 3 w 21"/>
                <a:gd name="T27" fmla="*/ 10 h 13"/>
                <a:gd name="T28" fmla="*/ 0 w 21"/>
                <a:gd name="T29" fmla="*/ 13 h 13"/>
                <a:gd name="T30" fmla="*/ 0 w 21"/>
                <a:gd name="T31" fmla="*/ 13 h 13"/>
                <a:gd name="T32" fmla="*/ 0 w 21"/>
                <a:gd name="T33" fmla="*/ 13 h 13"/>
                <a:gd name="T34" fmla="*/ 3 w 21"/>
                <a:gd name="T35" fmla="*/ 13 h 13"/>
                <a:gd name="T36" fmla="*/ 6 w 21"/>
                <a:gd name="T37" fmla="*/ 13 h 13"/>
                <a:gd name="T38" fmla="*/ 8 w 21"/>
                <a:gd name="T39" fmla="*/ 13 h 13"/>
                <a:gd name="T40" fmla="*/ 8 w 21"/>
                <a:gd name="T41" fmla="*/ 13 h 13"/>
                <a:gd name="T42" fmla="*/ 8 w 21"/>
                <a:gd name="T43" fmla="*/ 13 h 13"/>
                <a:gd name="T44" fmla="*/ 8 w 21"/>
                <a:gd name="T45" fmla="*/ 13 h 13"/>
                <a:gd name="T46" fmla="*/ 11 w 21"/>
                <a:gd name="T47" fmla="*/ 10 h 13"/>
                <a:gd name="T48" fmla="*/ 11 w 21"/>
                <a:gd name="T49" fmla="*/ 10 h 13"/>
                <a:gd name="T50" fmla="*/ 11 w 21"/>
                <a:gd name="T51" fmla="*/ 10 h 13"/>
                <a:gd name="T52" fmla="*/ 11 w 21"/>
                <a:gd name="T53" fmla="*/ 8 h 13"/>
                <a:gd name="T54" fmla="*/ 11 w 21"/>
                <a:gd name="T55" fmla="*/ 8 h 13"/>
                <a:gd name="T56" fmla="*/ 13 w 21"/>
                <a:gd name="T57" fmla="*/ 8 h 13"/>
                <a:gd name="T58" fmla="*/ 13 w 21"/>
                <a:gd name="T59" fmla="*/ 5 h 13"/>
                <a:gd name="T60" fmla="*/ 13 w 21"/>
                <a:gd name="T61" fmla="*/ 5 h 13"/>
                <a:gd name="T62" fmla="*/ 13 w 21"/>
                <a:gd name="T63" fmla="*/ 8 h 13"/>
                <a:gd name="T64" fmla="*/ 13 w 21"/>
                <a:gd name="T65" fmla="*/ 10 h 13"/>
                <a:gd name="T66" fmla="*/ 13 w 21"/>
                <a:gd name="T67" fmla="*/ 10 h 13"/>
                <a:gd name="T68" fmla="*/ 13 w 21"/>
                <a:gd name="T69" fmla="*/ 10 h 13"/>
                <a:gd name="T70" fmla="*/ 16 w 21"/>
                <a:gd name="T71" fmla="*/ 10 h 13"/>
                <a:gd name="T72" fmla="*/ 16 w 21"/>
                <a:gd name="T73" fmla="*/ 10 h 13"/>
                <a:gd name="T74" fmla="*/ 16 w 21"/>
                <a:gd name="T75" fmla="*/ 8 h 13"/>
                <a:gd name="T76" fmla="*/ 18 w 21"/>
                <a:gd name="T77" fmla="*/ 8 h 13"/>
                <a:gd name="T78" fmla="*/ 18 w 21"/>
                <a:gd name="T79" fmla="*/ 5 h 13"/>
                <a:gd name="T80" fmla="*/ 21 w 21"/>
                <a:gd name="T81" fmla="*/ 5 h 13"/>
                <a:gd name="T82" fmla="*/ 21 w 21"/>
                <a:gd name="T83" fmla="*/ 3 h 13"/>
                <a:gd name="T84" fmla="*/ 21 w 21"/>
                <a:gd name="T85" fmla="*/ 3 h 13"/>
                <a:gd name="T86" fmla="*/ 18 w 21"/>
                <a:gd name="T87" fmla="*/ 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1" h="13">
                  <a:moveTo>
                    <a:pt x="18" y="3"/>
                  </a:moveTo>
                  <a:lnTo>
                    <a:pt x="18" y="3"/>
                  </a:lnTo>
                  <a:lnTo>
                    <a:pt x="16" y="3"/>
                  </a:lnTo>
                  <a:lnTo>
                    <a:pt x="16" y="3"/>
                  </a:lnTo>
                  <a:lnTo>
                    <a:pt x="11" y="0"/>
                  </a:lnTo>
                  <a:lnTo>
                    <a:pt x="8" y="0"/>
                  </a:lnTo>
                  <a:lnTo>
                    <a:pt x="6" y="3"/>
                  </a:lnTo>
                  <a:lnTo>
                    <a:pt x="6" y="3"/>
                  </a:lnTo>
                  <a:lnTo>
                    <a:pt x="6" y="3"/>
                  </a:lnTo>
                  <a:lnTo>
                    <a:pt x="6" y="5"/>
                  </a:lnTo>
                  <a:lnTo>
                    <a:pt x="6" y="5"/>
                  </a:lnTo>
                  <a:lnTo>
                    <a:pt x="6" y="8"/>
                  </a:lnTo>
                  <a:lnTo>
                    <a:pt x="3" y="8"/>
                  </a:lnTo>
                  <a:lnTo>
                    <a:pt x="3" y="10"/>
                  </a:lnTo>
                  <a:lnTo>
                    <a:pt x="0" y="13"/>
                  </a:lnTo>
                  <a:lnTo>
                    <a:pt x="0" y="13"/>
                  </a:lnTo>
                  <a:lnTo>
                    <a:pt x="0" y="13"/>
                  </a:lnTo>
                  <a:lnTo>
                    <a:pt x="3" y="13"/>
                  </a:lnTo>
                  <a:lnTo>
                    <a:pt x="6" y="13"/>
                  </a:lnTo>
                  <a:lnTo>
                    <a:pt x="8" y="13"/>
                  </a:lnTo>
                  <a:lnTo>
                    <a:pt x="8" y="13"/>
                  </a:lnTo>
                  <a:lnTo>
                    <a:pt x="8" y="13"/>
                  </a:lnTo>
                  <a:lnTo>
                    <a:pt x="8" y="13"/>
                  </a:lnTo>
                  <a:lnTo>
                    <a:pt x="11" y="10"/>
                  </a:lnTo>
                  <a:lnTo>
                    <a:pt x="11" y="10"/>
                  </a:lnTo>
                  <a:lnTo>
                    <a:pt x="11" y="10"/>
                  </a:lnTo>
                  <a:lnTo>
                    <a:pt x="11" y="8"/>
                  </a:lnTo>
                  <a:lnTo>
                    <a:pt x="11" y="8"/>
                  </a:lnTo>
                  <a:lnTo>
                    <a:pt x="13" y="8"/>
                  </a:lnTo>
                  <a:lnTo>
                    <a:pt x="13" y="5"/>
                  </a:lnTo>
                  <a:lnTo>
                    <a:pt x="13" y="5"/>
                  </a:lnTo>
                  <a:lnTo>
                    <a:pt x="13" y="8"/>
                  </a:lnTo>
                  <a:lnTo>
                    <a:pt x="13" y="10"/>
                  </a:lnTo>
                  <a:lnTo>
                    <a:pt x="13" y="10"/>
                  </a:lnTo>
                  <a:lnTo>
                    <a:pt x="13" y="10"/>
                  </a:lnTo>
                  <a:lnTo>
                    <a:pt x="16" y="10"/>
                  </a:lnTo>
                  <a:lnTo>
                    <a:pt x="16" y="10"/>
                  </a:lnTo>
                  <a:lnTo>
                    <a:pt x="16" y="8"/>
                  </a:lnTo>
                  <a:lnTo>
                    <a:pt x="18" y="8"/>
                  </a:lnTo>
                  <a:lnTo>
                    <a:pt x="18" y="5"/>
                  </a:lnTo>
                  <a:lnTo>
                    <a:pt x="21" y="5"/>
                  </a:lnTo>
                  <a:lnTo>
                    <a:pt x="21" y="3"/>
                  </a:lnTo>
                  <a:lnTo>
                    <a:pt x="21" y="3"/>
                  </a:lnTo>
                  <a:lnTo>
                    <a:pt x="18" y="3"/>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58" name="Freeform 1676">
              <a:extLst>
                <a:ext uri="{FF2B5EF4-FFF2-40B4-BE49-F238E27FC236}">
                  <a16:creationId xmlns:a16="http://schemas.microsoft.com/office/drawing/2014/main" id="{AAF9D406-B69B-ED4C-AB79-CDB4CCFB0988}"/>
                </a:ext>
              </a:extLst>
            </p:cNvPr>
            <p:cNvSpPr>
              <a:spLocks/>
            </p:cNvSpPr>
            <p:nvPr/>
          </p:nvSpPr>
          <p:spPr bwMode="auto">
            <a:xfrm>
              <a:off x="1877484" y="2535070"/>
              <a:ext cx="4908" cy="0"/>
            </a:xfrm>
            <a:custGeom>
              <a:avLst/>
              <a:gdLst>
                <a:gd name="T0" fmla="*/ 3 w 3"/>
                <a:gd name="T1" fmla="*/ 3 w 3"/>
                <a:gd name="T2" fmla="*/ 0 w 3"/>
                <a:gd name="T3" fmla="*/ 3 w 3"/>
                <a:gd name="T4" fmla="*/ 3 w 3"/>
                <a:gd name="T5" fmla="*/ 3 w 3"/>
                <a:gd name="T6" fmla="*/ 3 w 3"/>
              </a:gdLst>
              <a:ahLst/>
              <a:cxnLst>
                <a:cxn ang="0">
                  <a:pos x="T0" y="0"/>
                </a:cxn>
                <a:cxn ang="0">
                  <a:pos x="T1" y="0"/>
                </a:cxn>
                <a:cxn ang="0">
                  <a:pos x="T2" y="0"/>
                </a:cxn>
                <a:cxn ang="0">
                  <a:pos x="T3" y="0"/>
                </a:cxn>
                <a:cxn ang="0">
                  <a:pos x="T4" y="0"/>
                </a:cxn>
                <a:cxn ang="0">
                  <a:pos x="T5" y="0"/>
                </a:cxn>
                <a:cxn ang="0">
                  <a:pos x="T6" y="0"/>
                </a:cxn>
              </a:cxnLst>
              <a:rect l="0" t="0" r="r" b="b"/>
              <a:pathLst>
                <a:path w="3">
                  <a:moveTo>
                    <a:pt x="3" y="0"/>
                  </a:moveTo>
                  <a:lnTo>
                    <a:pt x="3" y="0"/>
                  </a:lnTo>
                  <a:lnTo>
                    <a:pt x="0" y="0"/>
                  </a:lnTo>
                  <a:lnTo>
                    <a:pt x="3" y="0"/>
                  </a:lnTo>
                  <a:lnTo>
                    <a:pt x="3" y="0"/>
                  </a:lnTo>
                  <a:lnTo>
                    <a:pt x="3" y="0"/>
                  </a:lnTo>
                  <a:lnTo>
                    <a:pt x="3"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59" name="Freeform 1677">
              <a:extLst>
                <a:ext uri="{FF2B5EF4-FFF2-40B4-BE49-F238E27FC236}">
                  <a16:creationId xmlns:a16="http://schemas.microsoft.com/office/drawing/2014/main" id="{4A53BB1E-C58F-A249-A2EF-3733D86F301C}"/>
                </a:ext>
              </a:extLst>
            </p:cNvPr>
            <p:cNvSpPr>
              <a:spLocks/>
            </p:cNvSpPr>
            <p:nvPr/>
          </p:nvSpPr>
          <p:spPr bwMode="auto">
            <a:xfrm>
              <a:off x="1877484" y="1586343"/>
              <a:ext cx="8179" cy="4908"/>
            </a:xfrm>
            <a:custGeom>
              <a:avLst/>
              <a:gdLst>
                <a:gd name="T0" fmla="*/ 3 w 5"/>
                <a:gd name="T1" fmla="*/ 0 h 3"/>
                <a:gd name="T2" fmla="*/ 5 w 5"/>
                <a:gd name="T3" fmla="*/ 0 h 3"/>
                <a:gd name="T4" fmla="*/ 5 w 5"/>
                <a:gd name="T5" fmla="*/ 0 h 3"/>
                <a:gd name="T6" fmla="*/ 0 w 5"/>
                <a:gd name="T7" fmla="*/ 0 h 3"/>
                <a:gd name="T8" fmla="*/ 0 w 5"/>
                <a:gd name="T9" fmla="*/ 0 h 3"/>
                <a:gd name="T10" fmla="*/ 3 w 5"/>
                <a:gd name="T11" fmla="*/ 3 h 3"/>
                <a:gd name="T12" fmla="*/ 3 w 5"/>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5" h="3">
                  <a:moveTo>
                    <a:pt x="3" y="0"/>
                  </a:moveTo>
                  <a:lnTo>
                    <a:pt x="5" y="0"/>
                  </a:lnTo>
                  <a:lnTo>
                    <a:pt x="5" y="0"/>
                  </a:lnTo>
                  <a:lnTo>
                    <a:pt x="0" y="0"/>
                  </a:lnTo>
                  <a:lnTo>
                    <a:pt x="0" y="0"/>
                  </a:lnTo>
                  <a:lnTo>
                    <a:pt x="3" y="3"/>
                  </a:lnTo>
                  <a:lnTo>
                    <a:pt x="3"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60" name="Freeform 1678">
              <a:extLst>
                <a:ext uri="{FF2B5EF4-FFF2-40B4-BE49-F238E27FC236}">
                  <a16:creationId xmlns:a16="http://schemas.microsoft.com/office/drawing/2014/main" id="{71AC39AB-6321-8C46-A50F-DC75237E14C6}"/>
                </a:ext>
              </a:extLst>
            </p:cNvPr>
            <p:cNvSpPr>
              <a:spLocks/>
            </p:cNvSpPr>
            <p:nvPr/>
          </p:nvSpPr>
          <p:spPr bwMode="auto">
            <a:xfrm>
              <a:off x="2006707" y="1753188"/>
              <a:ext cx="16357" cy="8179"/>
            </a:xfrm>
            <a:custGeom>
              <a:avLst/>
              <a:gdLst>
                <a:gd name="T0" fmla="*/ 10 w 10"/>
                <a:gd name="T1" fmla="*/ 0 h 5"/>
                <a:gd name="T2" fmla="*/ 10 w 10"/>
                <a:gd name="T3" fmla="*/ 0 h 5"/>
                <a:gd name="T4" fmla="*/ 10 w 10"/>
                <a:gd name="T5" fmla="*/ 0 h 5"/>
                <a:gd name="T6" fmla="*/ 8 w 10"/>
                <a:gd name="T7" fmla="*/ 0 h 5"/>
                <a:gd name="T8" fmla="*/ 8 w 10"/>
                <a:gd name="T9" fmla="*/ 0 h 5"/>
                <a:gd name="T10" fmla="*/ 5 w 10"/>
                <a:gd name="T11" fmla="*/ 0 h 5"/>
                <a:gd name="T12" fmla="*/ 3 w 10"/>
                <a:gd name="T13" fmla="*/ 0 h 5"/>
                <a:gd name="T14" fmla="*/ 3 w 10"/>
                <a:gd name="T15" fmla="*/ 3 h 5"/>
                <a:gd name="T16" fmla="*/ 0 w 10"/>
                <a:gd name="T17" fmla="*/ 5 h 5"/>
                <a:gd name="T18" fmla="*/ 3 w 10"/>
                <a:gd name="T19" fmla="*/ 5 h 5"/>
                <a:gd name="T20" fmla="*/ 5 w 10"/>
                <a:gd name="T21" fmla="*/ 5 h 5"/>
                <a:gd name="T22" fmla="*/ 5 w 10"/>
                <a:gd name="T23" fmla="*/ 3 h 5"/>
                <a:gd name="T24" fmla="*/ 8 w 10"/>
                <a:gd name="T25" fmla="*/ 3 h 5"/>
                <a:gd name="T26" fmla="*/ 8 w 10"/>
                <a:gd name="T27" fmla="*/ 3 h 5"/>
                <a:gd name="T28" fmla="*/ 10 w 10"/>
                <a:gd name="T29" fmla="*/ 0 h 5"/>
                <a:gd name="T30" fmla="*/ 10 w 10"/>
                <a:gd name="T31"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 h="5">
                  <a:moveTo>
                    <a:pt x="10" y="0"/>
                  </a:moveTo>
                  <a:lnTo>
                    <a:pt x="10" y="0"/>
                  </a:lnTo>
                  <a:lnTo>
                    <a:pt x="10" y="0"/>
                  </a:lnTo>
                  <a:lnTo>
                    <a:pt x="8" y="0"/>
                  </a:lnTo>
                  <a:lnTo>
                    <a:pt x="8" y="0"/>
                  </a:lnTo>
                  <a:lnTo>
                    <a:pt x="5" y="0"/>
                  </a:lnTo>
                  <a:lnTo>
                    <a:pt x="3" y="0"/>
                  </a:lnTo>
                  <a:lnTo>
                    <a:pt x="3" y="3"/>
                  </a:lnTo>
                  <a:lnTo>
                    <a:pt x="0" y="5"/>
                  </a:lnTo>
                  <a:lnTo>
                    <a:pt x="3" y="5"/>
                  </a:lnTo>
                  <a:lnTo>
                    <a:pt x="5" y="5"/>
                  </a:lnTo>
                  <a:lnTo>
                    <a:pt x="5" y="3"/>
                  </a:lnTo>
                  <a:lnTo>
                    <a:pt x="8" y="3"/>
                  </a:lnTo>
                  <a:lnTo>
                    <a:pt x="8" y="3"/>
                  </a:lnTo>
                  <a:lnTo>
                    <a:pt x="10" y="0"/>
                  </a:lnTo>
                  <a:lnTo>
                    <a:pt x="10"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61" name="Freeform 1679">
              <a:extLst>
                <a:ext uri="{FF2B5EF4-FFF2-40B4-BE49-F238E27FC236}">
                  <a16:creationId xmlns:a16="http://schemas.microsoft.com/office/drawing/2014/main" id="{0CE214B2-E75E-3649-810E-64117F4D8986}"/>
                </a:ext>
              </a:extLst>
            </p:cNvPr>
            <p:cNvSpPr>
              <a:spLocks/>
            </p:cNvSpPr>
            <p:nvPr/>
          </p:nvSpPr>
          <p:spPr bwMode="auto">
            <a:xfrm>
              <a:off x="1502900" y="1669766"/>
              <a:ext cx="86695" cy="42529"/>
            </a:xfrm>
            <a:custGeom>
              <a:avLst/>
              <a:gdLst>
                <a:gd name="T0" fmla="*/ 51 w 53"/>
                <a:gd name="T1" fmla="*/ 3 h 26"/>
                <a:gd name="T2" fmla="*/ 45 w 53"/>
                <a:gd name="T3" fmla="*/ 3 h 26"/>
                <a:gd name="T4" fmla="*/ 48 w 53"/>
                <a:gd name="T5" fmla="*/ 0 h 26"/>
                <a:gd name="T6" fmla="*/ 45 w 53"/>
                <a:gd name="T7" fmla="*/ 0 h 26"/>
                <a:gd name="T8" fmla="*/ 43 w 53"/>
                <a:gd name="T9" fmla="*/ 0 h 26"/>
                <a:gd name="T10" fmla="*/ 43 w 53"/>
                <a:gd name="T11" fmla="*/ 3 h 26"/>
                <a:gd name="T12" fmla="*/ 40 w 53"/>
                <a:gd name="T13" fmla="*/ 3 h 26"/>
                <a:gd name="T14" fmla="*/ 38 w 53"/>
                <a:gd name="T15" fmla="*/ 3 h 26"/>
                <a:gd name="T16" fmla="*/ 35 w 53"/>
                <a:gd name="T17" fmla="*/ 3 h 26"/>
                <a:gd name="T18" fmla="*/ 35 w 53"/>
                <a:gd name="T19" fmla="*/ 5 h 26"/>
                <a:gd name="T20" fmla="*/ 33 w 53"/>
                <a:gd name="T21" fmla="*/ 5 h 26"/>
                <a:gd name="T22" fmla="*/ 35 w 53"/>
                <a:gd name="T23" fmla="*/ 3 h 26"/>
                <a:gd name="T24" fmla="*/ 33 w 53"/>
                <a:gd name="T25" fmla="*/ 3 h 26"/>
                <a:gd name="T26" fmla="*/ 30 w 53"/>
                <a:gd name="T27" fmla="*/ 3 h 26"/>
                <a:gd name="T28" fmla="*/ 28 w 53"/>
                <a:gd name="T29" fmla="*/ 5 h 26"/>
                <a:gd name="T30" fmla="*/ 30 w 53"/>
                <a:gd name="T31" fmla="*/ 5 h 26"/>
                <a:gd name="T32" fmla="*/ 28 w 53"/>
                <a:gd name="T33" fmla="*/ 5 h 26"/>
                <a:gd name="T34" fmla="*/ 25 w 53"/>
                <a:gd name="T35" fmla="*/ 8 h 26"/>
                <a:gd name="T36" fmla="*/ 20 w 53"/>
                <a:gd name="T37" fmla="*/ 13 h 26"/>
                <a:gd name="T38" fmla="*/ 20 w 53"/>
                <a:gd name="T39" fmla="*/ 13 h 26"/>
                <a:gd name="T40" fmla="*/ 20 w 53"/>
                <a:gd name="T41" fmla="*/ 10 h 26"/>
                <a:gd name="T42" fmla="*/ 23 w 53"/>
                <a:gd name="T43" fmla="*/ 8 h 26"/>
                <a:gd name="T44" fmla="*/ 23 w 53"/>
                <a:gd name="T45" fmla="*/ 8 h 26"/>
                <a:gd name="T46" fmla="*/ 23 w 53"/>
                <a:gd name="T47" fmla="*/ 5 h 26"/>
                <a:gd name="T48" fmla="*/ 20 w 53"/>
                <a:gd name="T49" fmla="*/ 8 h 26"/>
                <a:gd name="T50" fmla="*/ 12 w 53"/>
                <a:gd name="T51" fmla="*/ 8 h 26"/>
                <a:gd name="T52" fmla="*/ 5 w 53"/>
                <a:gd name="T53" fmla="*/ 13 h 26"/>
                <a:gd name="T54" fmla="*/ 5 w 53"/>
                <a:gd name="T55" fmla="*/ 15 h 26"/>
                <a:gd name="T56" fmla="*/ 0 w 53"/>
                <a:gd name="T57" fmla="*/ 23 h 26"/>
                <a:gd name="T58" fmla="*/ 5 w 53"/>
                <a:gd name="T59" fmla="*/ 21 h 26"/>
                <a:gd name="T60" fmla="*/ 5 w 53"/>
                <a:gd name="T61" fmla="*/ 21 h 26"/>
                <a:gd name="T62" fmla="*/ 7 w 53"/>
                <a:gd name="T63" fmla="*/ 18 h 26"/>
                <a:gd name="T64" fmla="*/ 5 w 53"/>
                <a:gd name="T65" fmla="*/ 18 h 26"/>
                <a:gd name="T66" fmla="*/ 5 w 53"/>
                <a:gd name="T67" fmla="*/ 18 h 26"/>
                <a:gd name="T68" fmla="*/ 10 w 53"/>
                <a:gd name="T69" fmla="*/ 18 h 26"/>
                <a:gd name="T70" fmla="*/ 10 w 53"/>
                <a:gd name="T71" fmla="*/ 18 h 26"/>
                <a:gd name="T72" fmla="*/ 7 w 53"/>
                <a:gd name="T73" fmla="*/ 18 h 26"/>
                <a:gd name="T74" fmla="*/ 7 w 53"/>
                <a:gd name="T75" fmla="*/ 21 h 26"/>
                <a:gd name="T76" fmla="*/ 10 w 53"/>
                <a:gd name="T77" fmla="*/ 21 h 26"/>
                <a:gd name="T78" fmla="*/ 12 w 53"/>
                <a:gd name="T79" fmla="*/ 21 h 26"/>
                <a:gd name="T80" fmla="*/ 2 w 53"/>
                <a:gd name="T81" fmla="*/ 26 h 26"/>
                <a:gd name="T82" fmla="*/ 2 w 53"/>
                <a:gd name="T83" fmla="*/ 26 h 26"/>
                <a:gd name="T84" fmla="*/ 10 w 53"/>
                <a:gd name="T85" fmla="*/ 23 h 26"/>
                <a:gd name="T86" fmla="*/ 15 w 53"/>
                <a:gd name="T87" fmla="*/ 21 h 26"/>
                <a:gd name="T88" fmla="*/ 15 w 53"/>
                <a:gd name="T89" fmla="*/ 21 h 26"/>
                <a:gd name="T90" fmla="*/ 17 w 53"/>
                <a:gd name="T91" fmla="*/ 18 h 26"/>
                <a:gd name="T92" fmla="*/ 20 w 53"/>
                <a:gd name="T93" fmla="*/ 18 h 26"/>
                <a:gd name="T94" fmla="*/ 25 w 53"/>
                <a:gd name="T95" fmla="*/ 15 h 26"/>
                <a:gd name="T96" fmla="*/ 33 w 53"/>
                <a:gd name="T97" fmla="*/ 15 h 26"/>
                <a:gd name="T98" fmla="*/ 35 w 53"/>
                <a:gd name="T99" fmla="*/ 13 h 26"/>
                <a:gd name="T100" fmla="*/ 38 w 53"/>
                <a:gd name="T101" fmla="*/ 13 h 26"/>
                <a:gd name="T102" fmla="*/ 38 w 53"/>
                <a:gd name="T103" fmla="*/ 10 h 26"/>
                <a:gd name="T104" fmla="*/ 35 w 53"/>
                <a:gd name="T105" fmla="*/ 10 h 26"/>
                <a:gd name="T106" fmla="*/ 38 w 53"/>
                <a:gd name="T107" fmla="*/ 10 h 26"/>
                <a:gd name="T108" fmla="*/ 40 w 53"/>
                <a:gd name="T109" fmla="*/ 10 h 26"/>
                <a:gd name="T110" fmla="*/ 45 w 53"/>
                <a:gd name="T111" fmla="*/ 10 h 26"/>
                <a:gd name="T112" fmla="*/ 48 w 53"/>
                <a:gd name="T113" fmla="*/ 10 h 26"/>
                <a:gd name="T114" fmla="*/ 51 w 53"/>
                <a:gd name="T115" fmla="*/ 8 h 26"/>
                <a:gd name="T116" fmla="*/ 51 w 53"/>
                <a:gd name="T117" fmla="*/ 8 h 26"/>
                <a:gd name="T118" fmla="*/ 51 w 53"/>
                <a:gd name="T119" fmla="*/ 5 h 26"/>
                <a:gd name="T120" fmla="*/ 53 w 53"/>
                <a:gd name="T121" fmla="*/ 3 h 26"/>
                <a:gd name="T122" fmla="*/ 53 w 53"/>
                <a:gd name="T123" fmla="*/ 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3" h="26">
                  <a:moveTo>
                    <a:pt x="51" y="3"/>
                  </a:moveTo>
                  <a:lnTo>
                    <a:pt x="51" y="3"/>
                  </a:lnTo>
                  <a:lnTo>
                    <a:pt x="45" y="3"/>
                  </a:lnTo>
                  <a:lnTo>
                    <a:pt x="45" y="3"/>
                  </a:lnTo>
                  <a:lnTo>
                    <a:pt x="45" y="3"/>
                  </a:lnTo>
                  <a:lnTo>
                    <a:pt x="48" y="0"/>
                  </a:lnTo>
                  <a:lnTo>
                    <a:pt x="48" y="0"/>
                  </a:lnTo>
                  <a:lnTo>
                    <a:pt x="45" y="0"/>
                  </a:lnTo>
                  <a:lnTo>
                    <a:pt x="43" y="0"/>
                  </a:lnTo>
                  <a:lnTo>
                    <a:pt x="43" y="0"/>
                  </a:lnTo>
                  <a:lnTo>
                    <a:pt x="43" y="3"/>
                  </a:lnTo>
                  <a:lnTo>
                    <a:pt x="43" y="3"/>
                  </a:lnTo>
                  <a:lnTo>
                    <a:pt x="40" y="3"/>
                  </a:lnTo>
                  <a:lnTo>
                    <a:pt x="40" y="3"/>
                  </a:lnTo>
                  <a:lnTo>
                    <a:pt x="40" y="3"/>
                  </a:lnTo>
                  <a:lnTo>
                    <a:pt x="38" y="3"/>
                  </a:lnTo>
                  <a:lnTo>
                    <a:pt x="38" y="3"/>
                  </a:lnTo>
                  <a:lnTo>
                    <a:pt x="35" y="3"/>
                  </a:lnTo>
                  <a:lnTo>
                    <a:pt x="35" y="5"/>
                  </a:lnTo>
                  <a:lnTo>
                    <a:pt x="35" y="5"/>
                  </a:lnTo>
                  <a:lnTo>
                    <a:pt x="33" y="5"/>
                  </a:lnTo>
                  <a:lnTo>
                    <a:pt x="33" y="5"/>
                  </a:lnTo>
                  <a:lnTo>
                    <a:pt x="35" y="3"/>
                  </a:lnTo>
                  <a:lnTo>
                    <a:pt x="35" y="3"/>
                  </a:lnTo>
                  <a:lnTo>
                    <a:pt x="33" y="3"/>
                  </a:lnTo>
                  <a:lnTo>
                    <a:pt x="33" y="3"/>
                  </a:lnTo>
                  <a:lnTo>
                    <a:pt x="33" y="3"/>
                  </a:lnTo>
                  <a:lnTo>
                    <a:pt x="30" y="3"/>
                  </a:lnTo>
                  <a:lnTo>
                    <a:pt x="28" y="3"/>
                  </a:lnTo>
                  <a:lnTo>
                    <a:pt x="28" y="5"/>
                  </a:lnTo>
                  <a:lnTo>
                    <a:pt x="28" y="5"/>
                  </a:lnTo>
                  <a:lnTo>
                    <a:pt x="30" y="5"/>
                  </a:lnTo>
                  <a:lnTo>
                    <a:pt x="28" y="8"/>
                  </a:lnTo>
                  <a:lnTo>
                    <a:pt x="28" y="5"/>
                  </a:lnTo>
                  <a:lnTo>
                    <a:pt x="25" y="8"/>
                  </a:lnTo>
                  <a:lnTo>
                    <a:pt x="25" y="8"/>
                  </a:lnTo>
                  <a:lnTo>
                    <a:pt x="23" y="10"/>
                  </a:lnTo>
                  <a:lnTo>
                    <a:pt x="20" y="13"/>
                  </a:lnTo>
                  <a:lnTo>
                    <a:pt x="20" y="13"/>
                  </a:lnTo>
                  <a:lnTo>
                    <a:pt x="20" y="13"/>
                  </a:lnTo>
                  <a:lnTo>
                    <a:pt x="20" y="13"/>
                  </a:lnTo>
                  <a:lnTo>
                    <a:pt x="20" y="10"/>
                  </a:lnTo>
                  <a:lnTo>
                    <a:pt x="23" y="8"/>
                  </a:lnTo>
                  <a:lnTo>
                    <a:pt x="23" y="8"/>
                  </a:lnTo>
                  <a:lnTo>
                    <a:pt x="23" y="8"/>
                  </a:lnTo>
                  <a:lnTo>
                    <a:pt x="23" y="8"/>
                  </a:lnTo>
                  <a:lnTo>
                    <a:pt x="23" y="8"/>
                  </a:lnTo>
                  <a:lnTo>
                    <a:pt x="23" y="5"/>
                  </a:lnTo>
                  <a:lnTo>
                    <a:pt x="20" y="5"/>
                  </a:lnTo>
                  <a:lnTo>
                    <a:pt x="20" y="8"/>
                  </a:lnTo>
                  <a:lnTo>
                    <a:pt x="15" y="8"/>
                  </a:lnTo>
                  <a:lnTo>
                    <a:pt x="12" y="8"/>
                  </a:lnTo>
                  <a:lnTo>
                    <a:pt x="7" y="10"/>
                  </a:lnTo>
                  <a:lnTo>
                    <a:pt x="5" y="13"/>
                  </a:lnTo>
                  <a:lnTo>
                    <a:pt x="5" y="13"/>
                  </a:lnTo>
                  <a:lnTo>
                    <a:pt x="5" y="15"/>
                  </a:lnTo>
                  <a:lnTo>
                    <a:pt x="0" y="21"/>
                  </a:lnTo>
                  <a:lnTo>
                    <a:pt x="0" y="23"/>
                  </a:lnTo>
                  <a:lnTo>
                    <a:pt x="2" y="23"/>
                  </a:lnTo>
                  <a:lnTo>
                    <a:pt x="5" y="21"/>
                  </a:lnTo>
                  <a:lnTo>
                    <a:pt x="5" y="21"/>
                  </a:lnTo>
                  <a:lnTo>
                    <a:pt x="5" y="21"/>
                  </a:lnTo>
                  <a:lnTo>
                    <a:pt x="7" y="18"/>
                  </a:lnTo>
                  <a:lnTo>
                    <a:pt x="7" y="18"/>
                  </a:lnTo>
                  <a:lnTo>
                    <a:pt x="7" y="18"/>
                  </a:lnTo>
                  <a:lnTo>
                    <a:pt x="5" y="18"/>
                  </a:lnTo>
                  <a:lnTo>
                    <a:pt x="5" y="18"/>
                  </a:lnTo>
                  <a:lnTo>
                    <a:pt x="5" y="18"/>
                  </a:lnTo>
                  <a:lnTo>
                    <a:pt x="7" y="18"/>
                  </a:lnTo>
                  <a:lnTo>
                    <a:pt x="10" y="18"/>
                  </a:lnTo>
                  <a:lnTo>
                    <a:pt x="10" y="18"/>
                  </a:lnTo>
                  <a:lnTo>
                    <a:pt x="10" y="18"/>
                  </a:lnTo>
                  <a:lnTo>
                    <a:pt x="10" y="18"/>
                  </a:lnTo>
                  <a:lnTo>
                    <a:pt x="7" y="18"/>
                  </a:lnTo>
                  <a:lnTo>
                    <a:pt x="7" y="21"/>
                  </a:lnTo>
                  <a:lnTo>
                    <a:pt x="7" y="21"/>
                  </a:lnTo>
                  <a:lnTo>
                    <a:pt x="10" y="18"/>
                  </a:lnTo>
                  <a:lnTo>
                    <a:pt x="10" y="21"/>
                  </a:lnTo>
                  <a:lnTo>
                    <a:pt x="12" y="21"/>
                  </a:lnTo>
                  <a:lnTo>
                    <a:pt x="12" y="21"/>
                  </a:lnTo>
                  <a:lnTo>
                    <a:pt x="2" y="23"/>
                  </a:lnTo>
                  <a:lnTo>
                    <a:pt x="2" y="26"/>
                  </a:lnTo>
                  <a:lnTo>
                    <a:pt x="2" y="26"/>
                  </a:lnTo>
                  <a:lnTo>
                    <a:pt x="2" y="26"/>
                  </a:lnTo>
                  <a:lnTo>
                    <a:pt x="2" y="26"/>
                  </a:lnTo>
                  <a:lnTo>
                    <a:pt x="10" y="23"/>
                  </a:lnTo>
                  <a:lnTo>
                    <a:pt x="12" y="21"/>
                  </a:lnTo>
                  <a:lnTo>
                    <a:pt x="15" y="21"/>
                  </a:lnTo>
                  <a:lnTo>
                    <a:pt x="15" y="21"/>
                  </a:lnTo>
                  <a:lnTo>
                    <a:pt x="15" y="21"/>
                  </a:lnTo>
                  <a:lnTo>
                    <a:pt x="15" y="18"/>
                  </a:lnTo>
                  <a:lnTo>
                    <a:pt x="17" y="18"/>
                  </a:lnTo>
                  <a:lnTo>
                    <a:pt x="17" y="18"/>
                  </a:lnTo>
                  <a:lnTo>
                    <a:pt x="20" y="18"/>
                  </a:lnTo>
                  <a:lnTo>
                    <a:pt x="20" y="15"/>
                  </a:lnTo>
                  <a:lnTo>
                    <a:pt x="25" y="15"/>
                  </a:lnTo>
                  <a:lnTo>
                    <a:pt x="30" y="15"/>
                  </a:lnTo>
                  <a:lnTo>
                    <a:pt x="33" y="15"/>
                  </a:lnTo>
                  <a:lnTo>
                    <a:pt x="35" y="13"/>
                  </a:lnTo>
                  <a:lnTo>
                    <a:pt x="35" y="13"/>
                  </a:lnTo>
                  <a:lnTo>
                    <a:pt x="38" y="13"/>
                  </a:lnTo>
                  <a:lnTo>
                    <a:pt x="38" y="13"/>
                  </a:lnTo>
                  <a:lnTo>
                    <a:pt x="38" y="13"/>
                  </a:lnTo>
                  <a:lnTo>
                    <a:pt x="38" y="10"/>
                  </a:lnTo>
                  <a:lnTo>
                    <a:pt x="38" y="10"/>
                  </a:lnTo>
                  <a:lnTo>
                    <a:pt x="35" y="10"/>
                  </a:lnTo>
                  <a:lnTo>
                    <a:pt x="35" y="10"/>
                  </a:lnTo>
                  <a:lnTo>
                    <a:pt x="38" y="10"/>
                  </a:lnTo>
                  <a:lnTo>
                    <a:pt x="38" y="10"/>
                  </a:lnTo>
                  <a:lnTo>
                    <a:pt x="40" y="10"/>
                  </a:lnTo>
                  <a:lnTo>
                    <a:pt x="43" y="10"/>
                  </a:lnTo>
                  <a:lnTo>
                    <a:pt x="45" y="10"/>
                  </a:lnTo>
                  <a:lnTo>
                    <a:pt x="45" y="10"/>
                  </a:lnTo>
                  <a:lnTo>
                    <a:pt x="48" y="10"/>
                  </a:lnTo>
                  <a:lnTo>
                    <a:pt x="51" y="8"/>
                  </a:lnTo>
                  <a:lnTo>
                    <a:pt x="51" y="8"/>
                  </a:lnTo>
                  <a:lnTo>
                    <a:pt x="51" y="8"/>
                  </a:lnTo>
                  <a:lnTo>
                    <a:pt x="51" y="8"/>
                  </a:lnTo>
                  <a:lnTo>
                    <a:pt x="51" y="5"/>
                  </a:lnTo>
                  <a:lnTo>
                    <a:pt x="51" y="5"/>
                  </a:lnTo>
                  <a:lnTo>
                    <a:pt x="53" y="3"/>
                  </a:lnTo>
                  <a:lnTo>
                    <a:pt x="53" y="3"/>
                  </a:lnTo>
                  <a:lnTo>
                    <a:pt x="53" y="3"/>
                  </a:lnTo>
                  <a:lnTo>
                    <a:pt x="53" y="3"/>
                  </a:lnTo>
                  <a:lnTo>
                    <a:pt x="51" y="3"/>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62" name="Freeform 1680">
              <a:extLst>
                <a:ext uri="{FF2B5EF4-FFF2-40B4-BE49-F238E27FC236}">
                  <a16:creationId xmlns:a16="http://schemas.microsoft.com/office/drawing/2014/main" id="{E745FFD9-C9F6-0347-8307-280A7948F594}"/>
                </a:ext>
              </a:extLst>
            </p:cNvPr>
            <p:cNvSpPr>
              <a:spLocks/>
            </p:cNvSpPr>
            <p:nvPr/>
          </p:nvSpPr>
          <p:spPr bwMode="auto">
            <a:xfrm>
              <a:off x="2011615" y="1761367"/>
              <a:ext cx="11451" cy="21265"/>
            </a:xfrm>
            <a:custGeom>
              <a:avLst/>
              <a:gdLst>
                <a:gd name="T0" fmla="*/ 0 w 7"/>
                <a:gd name="T1" fmla="*/ 10 h 13"/>
                <a:gd name="T2" fmla="*/ 0 w 7"/>
                <a:gd name="T3" fmla="*/ 13 h 13"/>
                <a:gd name="T4" fmla="*/ 0 w 7"/>
                <a:gd name="T5" fmla="*/ 13 h 13"/>
                <a:gd name="T6" fmla="*/ 2 w 7"/>
                <a:gd name="T7" fmla="*/ 13 h 13"/>
                <a:gd name="T8" fmla="*/ 2 w 7"/>
                <a:gd name="T9" fmla="*/ 13 h 13"/>
                <a:gd name="T10" fmla="*/ 5 w 7"/>
                <a:gd name="T11" fmla="*/ 13 h 13"/>
                <a:gd name="T12" fmla="*/ 5 w 7"/>
                <a:gd name="T13" fmla="*/ 10 h 13"/>
                <a:gd name="T14" fmla="*/ 7 w 7"/>
                <a:gd name="T15" fmla="*/ 10 h 13"/>
                <a:gd name="T16" fmla="*/ 7 w 7"/>
                <a:gd name="T17" fmla="*/ 8 h 13"/>
                <a:gd name="T18" fmla="*/ 5 w 7"/>
                <a:gd name="T19" fmla="*/ 8 h 13"/>
                <a:gd name="T20" fmla="*/ 5 w 7"/>
                <a:gd name="T21" fmla="*/ 8 h 13"/>
                <a:gd name="T22" fmla="*/ 5 w 7"/>
                <a:gd name="T23" fmla="*/ 10 h 13"/>
                <a:gd name="T24" fmla="*/ 2 w 7"/>
                <a:gd name="T25" fmla="*/ 10 h 13"/>
                <a:gd name="T26" fmla="*/ 2 w 7"/>
                <a:gd name="T27" fmla="*/ 10 h 13"/>
                <a:gd name="T28" fmla="*/ 5 w 7"/>
                <a:gd name="T29" fmla="*/ 8 h 13"/>
                <a:gd name="T30" fmla="*/ 5 w 7"/>
                <a:gd name="T31" fmla="*/ 5 h 13"/>
                <a:gd name="T32" fmla="*/ 5 w 7"/>
                <a:gd name="T33" fmla="*/ 5 h 13"/>
                <a:gd name="T34" fmla="*/ 5 w 7"/>
                <a:gd name="T35" fmla="*/ 3 h 13"/>
                <a:gd name="T36" fmla="*/ 5 w 7"/>
                <a:gd name="T37" fmla="*/ 3 h 13"/>
                <a:gd name="T38" fmla="*/ 5 w 7"/>
                <a:gd name="T39" fmla="*/ 0 h 13"/>
                <a:gd name="T40" fmla="*/ 2 w 7"/>
                <a:gd name="T41" fmla="*/ 0 h 13"/>
                <a:gd name="T42" fmla="*/ 0 w 7"/>
                <a:gd name="T43" fmla="*/ 0 h 13"/>
                <a:gd name="T44" fmla="*/ 0 w 7"/>
                <a:gd name="T45" fmla="*/ 3 h 13"/>
                <a:gd name="T46" fmla="*/ 0 w 7"/>
                <a:gd name="T47" fmla="*/ 3 h 13"/>
                <a:gd name="T48" fmla="*/ 2 w 7"/>
                <a:gd name="T49" fmla="*/ 3 h 13"/>
                <a:gd name="T50" fmla="*/ 0 w 7"/>
                <a:gd name="T51" fmla="*/ 5 h 13"/>
                <a:gd name="T52" fmla="*/ 0 w 7"/>
                <a:gd name="T53" fmla="*/ 8 h 13"/>
                <a:gd name="T54" fmla="*/ 0 w 7"/>
                <a:gd name="T55" fmla="*/ 8 h 13"/>
                <a:gd name="T56" fmla="*/ 0 w 7"/>
                <a:gd name="T57" fmla="*/ 8 h 13"/>
                <a:gd name="T58" fmla="*/ 0 w 7"/>
                <a:gd name="T59" fmla="*/ 1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 h="13">
                  <a:moveTo>
                    <a:pt x="0" y="10"/>
                  </a:moveTo>
                  <a:lnTo>
                    <a:pt x="0" y="13"/>
                  </a:lnTo>
                  <a:lnTo>
                    <a:pt x="0" y="13"/>
                  </a:lnTo>
                  <a:lnTo>
                    <a:pt x="2" y="13"/>
                  </a:lnTo>
                  <a:lnTo>
                    <a:pt x="2" y="13"/>
                  </a:lnTo>
                  <a:lnTo>
                    <a:pt x="5" y="13"/>
                  </a:lnTo>
                  <a:lnTo>
                    <a:pt x="5" y="10"/>
                  </a:lnTo>
                  <a:lnTo>
                    <a:pt x="7" y="10"/>
                  </a:lnTo>
                  <a:lnTo>
                    <a:pt x="7" y="8"/>
                  </a:lnTo>
                  <a:lnTo>
                    <a:pt x="5" y="8"/>
                  </a:lnTo>
                  <a:lnTo>
                    <a:pt x="5" y="8"/>
                  </a:lnTo>
                  <a:lnTo>
                    <a:pt x="5" y="10"/>
                  </a:lnTo>
                  <a:lnTo>
                    <a:pt x="2" y="10"/>
                  </a:lnTo>
                  <a:lnTo>
                    <a:pt x="2" y="10"/>
                  </a:lnTo>
                  <a:lnTo>
                    <a:pt x="5" y="8"/>
                  </a:lnTo>
                  <a:lnTo>
                    <a:pt x="5" y="5"/>
                  </a:lnTo>
                  <a:lnTo>
                    <a:pt x="5" y="5"/>
                  </a:lnTo>
                  <a:lnTo>
                    <a:pt x="5" y="3"/>
                  </a:lnTo>
                  <a:lnTo>
                    <a:pt x="5" y="3"/>
                  </a:lnTo>
                  <a:lnTo>
                    <a:pt x="5" y="0"/>
                  </a:lnTo>
                  <a:lnTo>
                    <a:pt x="2" y="0"/>
                  </a:lnTo>
                  <a:lnTo>
                    <a:pt x="0" y="0"/>
                  </a:lnTo>
                  <a:lnTo>
                    <a:pt x="0" y="3"/>
                  </a:lnTo>
                  <a:lnTo>
                    <a:pt x="0" y="3"/>
                  </a:lnTo>
                  <a:lnTo>
                    <a:pt x="2" y="3"/>
                  </a:lnTo>
                  <a:lnTo>
                    <a:pt x="0" y="5"/>
                  </a:lnTo>
                  <a:lnTo>
                    <a:pt x="0" y="8"/>
                  </a:lnTo>
                  <a:lnTo>
                    <a:pt x="0" y="8"/>
                  </a:lnTo>
                  <a:lnTo>
                    <a:pt x="0" y="8"/>
                  </a:lnTo>
                  <a:lnTo>
                    <a:pt x="0" y="1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63" name="Freeform 1681">
              <a:extLst>
                <a:ext uri="{FF2B5EF4-FFF2-40B4-BE49-F238E27FC236}">
                  <a16:creationId xmlns:a16="http://schemas.microsoft.com/office/drawing/2014/main" id="{87B4241C-FEAC-4A40-90A9-156B0D4F9E1E}"/>
                </a:ext>
              </a:extLst>
            </p:cNvPr>
            <p:cNvSpPr>
              <a:spLocks/>
            </p:cNvSpPr>
            <p:nvPr/>
          </p:nvSpPr>
          <p:spPr bwMode="auto">
            <a:xfrm>
              <a:off x="2044329" y="1658315"/>
              <a:ext cx="45801" cy="45801"/>
            </a:xfrm>
            <a:custGeom>
              <a:avLst/>
              <a:gdLst>
                <a:gd name="T0" fmla="*/ 20 w 28"/>
                <a:gd name="T1" fmla="*/ 0 h 28"/>
                <a:gd name="T2" fmla="*/ 20 w 28"/>
                <a:gd name="T3" fmla="*/ 0 h 28"/>
                <a:gd name="T4" fmla="*/ 20 w 28"/>
                <a:gd name="T5" fmla="*/ 0 h 28"/>
                <a:gd name="T6" fmla="*/ 20 w 28"/>
                <a:gd name="T7" fmla="*/ 0 h 28"/>
                <a:gd name="T8" fmla="*/ 18 w 28"/>
                <a:gd name="T9" fmla="*/ 2 h 28"/>
                <a:gd name="T10" fmla="*/ 18 w 28"/>
                <a:gd name="T11" fmla="*/ 2 h 28"/>
                <a:gd name="T12" fmla="*/ 18 w 28"/>
                <a:gd name="T13" fmla="*/ 5 h 28"/>
                <a:gd name="T14" fmla="*/ 15 w 28"/>
                <a:gd name="T15" fmla="*/ 7 h 28"/>
                <a:gd name="T16" fmla="*/ 10 w 28"/>
                <a:gd name="T17" fmla="*/ 12 h 28"/>
                <a:gd name="T18" fmla="*/ 10 w 28"/>
                <a:gd name="T19" fmla="*/ 15 h 28"/>
                <a:gd name="T20" fmla="*/ 10 w 28"/>
                <a:gd name="T21" fmla="*/ 15 h 28"/>
                <a:gd name="T22" fmla="*/ 10 w 28"/>
                <a:gd name="T23" fmla="*/ 17 h 28"/>
                <a:gd name="T24" fmla="*/ 8 w 28"/>
                <a:gd name="T25" fmla="*/ 17 h 28"/>
                <a:gd name="T26" fmla="*/ 2 w 28"/>
                <a:gd name="T27" fmla="*/ 22 h 28"/>
                <a:gd name="T28" fmla="*/ 0 w 28"/>
                <a:gd name="T29" fmla="*/ 22 h 28"/>
                <a:gd name="T30" fmla="*/ 0 w 28"/>
                <a:gd name="T31" fmla="*/ 25 h 28"/>
                <a:gd name="T32" fmla="*/ 0 w 28"/>
                <a:gd name="T33" fmla="*/ 25 h 28"/>
                <a:gd name="T34" fmla="*/ 0 w 28"/>
                <a:gd name="T35" fmla="*/ 25 h 28"/>
                <a:gd name="T36" fmla="*/ 0 w 28"/>
                <a:gd name="T37" fmla="*/ 28 h 28"/>
                <a:gd name="T38" fmla="*/ 0 w 28"/>
                <a:gd name="T39" fmla="*/ 25 h 28"/>
                <a:gd name="T40" fmla="*/ 5 w 28"/>
                <a:gd name="T41" fmla="*/ 25 h 28"/>
                <a:gd name="T42" fmla="*/ 13 w 28"/>
                <a:gd name="T43" fmla="*/ 20 h 28"/>
                <a:gd name="T44" fmla="*/ 15 w 28"/>
                <a:gd name="T45" fmla="*/ 20 h 28"/>
                <a:gd name="T46" fmla="*/ 15 w 28"/>
                <a:gd name="T47" fmla="*/ 20 h 28"/>
                <a:gd name="T48" fmla="*/ 15 w 28"/>
                <a:gd name="T49" fmla="*/ 20 h 28"/>
                <a:gd name="T50" fmla="*/ 18 w 28"/>
                <a:gd name="T51" fmla="*/ 17 h 28"/>
                <a:gd name="T52" fmla="*/ 18 w 28"/>
                <a:gd name="T53" fmla="*/ 17 h 28"/>
                <a:gd name="T54" fmla="*/ 20 w 28"/>
                <a:gd name="T55" fmla="*/ 15 h 28"/>
                <a:gd name="T56" fmla="*/ 20 w 28"/>
                <a:gd name="T57" fmla="*/ 15 h 28"/>
                <a:gd name="T58" fmla="*/ 20 w 28"/>
                <a:gd name="T59" fmla="*/ 12 h 28"/>
                <a:gd name="T60" fmla="*/ 20 w 28"/>
                <a:gd name="T61" fmla="*/ 10 h 28"/>
                <a:gd name="T62" fmla="*/ 23 w 28"/>
                <a:gd name="T63" fmla="*/ 7 h 28"/>
                <a:gd name="T64" fmla="*/ 23 w 28"/>
                <a:gd name="T65" fmla="*/ 5 h 28"/>
                <a:gd name="T66" fmla="*/ 25 w 28"/>
                <a:gd name="T67" fmla="*/ 5 h 28"/>
                <a:gd name="T68" fmla="*/ 25 w 28"/>
                <a:gd name="T69" fmla="*/ 5 h 28"/>
                <a:gd name="T70" fmla="*/ 25 w 28"/>
                <a:gd name="T71" fmla="*/ 5 h 28"/>
                <a:gd name="T72" fmla="*/ 25 w 28"/>
                <a:gd name="T73" fmla="*/ 5 h 28"/>
                <a:gd name="T74" fmla="*/ 25 w 28"/>
                <a:gd name="T75" fmla="*/ 7 h 28"/>
                <a:gd name="T76" fmla="*/ 23 w 28"/>
                <a:gd name="T77" fmla="*/ 10 h 28"/>
                <a:gd name="T78" fmla="*/ 23 w 28"/>
                <a:gd name="T79" fmla="*/ 10 h 28"/>
                <a:gd name="T80" fmla="*/ 23 w 28"/>
                <a:gd name="T81" fmla="*/ 10 h 28"/>
                <a:gd name="T82" fmla="*/ 23 w 28"/>
                <a:gd name="T83" fmla="*/ 10 h 28"/>
                <a:gd name="T84" fmla="*/ 23 w 28"/>
                <a:gd name="T85" fmla="*/ 12 h 28"/>
                <a:gd name="T86" fmla="*/ 23 w 28"/>
                <a:gd name="T87" fmla="*/ 15 h 28"/>
                <a:gd name="T88" fmla="*/ 23 w 28"/>
                <a:gd name="T89" fmla="*/ 15 h 28"/>
                <a:gd name="T90" fmla="*/ 25 w 28"/>
                <a:gd name="T91" fmla="*/ 12 h 28"/>
                <a:gd name="T92" fmla="*/ 25 w 28"/>
                <a:gd name="T93" fmla="*/ 10 h 28"/>
                <a:gd name="T94" fmla="*/ 25 w 28"/>
                <a:gd name="T95" fmla="*/ 10 h 28"/>
                <a:gd name="T96" fmla="*/ 28 w 28"/>
                <a:gd name="T97" fmla="*/ 7 h 28"/>
                <a:gd name="T98" fmla="*/ 28 w 28"/>
                <a:gd name="T99" fmla="*/ 2 h 28"/>
                <a:gd name="T100" fmla="*/ 25 w 28"/>
                <a:gd name="T101" fmla="*/ 2 h 28"/>
                <a:gd name="T102" fmla="*/ 20 w 28"/>
                <a:gd name="T103" fmla="*/ 2 h 28"/>
                <a:gd name="T104" fmla="*/ 20 w 28"/>
                <a:gd name="T105" fmla="*/ 2 h 28"/>
                <a:gd name="T106" fmla="*/ 20 w 28"/>
                <a:gd name="T107"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8" h="28">
                  <a:moveTo>
                    <a:pt x="20" y="0"/>
                  </a:moveTo>
                  <a:lnTo>
                    <a:pt x="20" y="0"/>
                  </a:lnTo>
                  <a:lnTo>
                    <a:pt x="20" y="0"/>
                  </a:lnTo>
                  <a:lnTo>
                    <a:pt x="20" y="0"/>
                  </a:lnTo>
                  <a:lnTo>
                    <a:pt x="18" y="2"/>
                  </a:lnTo>
                  <a:lnTo>
                    <a:pt x="18" y="2"/>
                  </a:lnTo>
                  <a:lnTo>
                    <a:pt x="18" y="5"/>
                  </a:lnTo>
                  <a:lnTo>
                    <a:pt x="15" y="7"/>
                  </a:lnTo>
                  <a:lnTo>
                    <a:pt x="10" y="12"/>
                  </a:lnTo>
                  <a:lnTo>
                    <a:pt x="10" y="15"/>
                  </a:lnTo>
                  <a:lnTo>
                    <a:pt x="10" y="15"/>
                  </a:lnTo>
                  <a:lnTo>
                    <a:pt x="10" y="17"/>
                  </a:lnTo>
                  <a:lnTo>
                    <a:pt x="8" y="17"/>
                  </a:lnTo>
                  <a:lnTo>
                    <a:pt x="2" y="22"/>
                  </a:lnTo>
                  <a:lnTo>
                    <a:pt x="0" y="22"/>
                  </a:lnTo>
                  <a:lnTo>
                    <a:pt x="0" y="25"/>
                  </a:lnTo>
                  <a:lnTo>
                    <a:pt x="0" y="25"/>
                  </a:lnTo>
                  <a:lnTo>
                    <a:pt x="0" y="25"/>
                  </a:lnTo>
                  <a:lnTo>
                    <a:pt x="0" y="28"/>
                  </a:lnTo>
                  <a:lnTo>
                    <a:pt x="0" y="25"/>
                  </a:lnTo>
                  <a:lnTo>
                    <a:pt x="5" y="25"/>
                  </a:lnTo>
                  <a:lnTo>
                    <a:pt x="13" y="20"/>
                  </a:lnTo>
                  <a:lnTo>
                    <a:pt x="15" y="20"/>
                  </a:lnTo>
                  <a:lnTo>
                    <a:pt x="15" y="20"/>
                  </a:lnTo>
                  <a:lnTo>
                    <a:pt x="15" y="20"/>
                  </a:lnTo>
                  <a:lnTo>
                    <a:pt x="18" y="17"/>
                  </a:lnTo>
                  <a:lnTo>
                    <a:pt x="18" y="17"/>
                  </a:lnTo>
                  <a:lnTo>
                    <a:pt x="20" y="15"/>
                  </a:lnTo>
                  <a:lnTo>
                    <a:pt x="20" y="15"/>
                  </a:lnTo>
                  <a:lnTo>
                    <a:pt x="20" y="12"/>
                  </a:lnTo>
                  <a:lnTo>
                    <a:pt x="20" y="10"/>
                  </a:lnTo>
                  <a:lnTo>
                    <a:pt x="23" y="7"/>
                  </a:lnTo>
                  <a:lnTo>
                    <a:pt x="23" y="5"/>
                  </a:lnTo>
                  <a:lnTo>
                    <a:pt x="25" y="5"/>
                  </a:lnTo>
                  <a:lnTo>
                    <a:pt x="25" y="5"/>
                  </a:lnTo>
                  <a:lnTo>
                    <a:pt x="25" y="5"/>
                  </a:lnTo>
                  <a:lnTo>
                    <a:pt x="25" y="5"/>
                  </a:lnTo>
                  <a:lnTo>
                    <a:pt x="25" y="7"/>
                  </a:lnTo>
                  <a:lnTo>
                    <a:pt x="23" y="10"/>
                  </a:lnTo>
                  <a:lnTo>
                    <a:pt x="23" y="10"/>
                  </a:lnTo>
                  <a:lnTo>
                    <a:pt x="23" y="10"/>
                  </a:lnTo>
                  <a:lnTo>
                    <a:pt x="23" y="10"/>
                  </a:lnTo>
                  <a:lnTo>
                    <a:pt x="23" y="12"/>
                  </a:lnTo>
                  <a:lnTo>
                    <a:pt x="23" y="15"/>
                  </a:lnTo>
                  <a:lnTo>
                    <a:pt x="23" y="15"/>
                  </a:lnTo>
                  <a:lnTo>
                    <a:pt x="25" y="12"/>
                  </a:lnTo>
                  <a:lnTo>
                    <a:pt x="25" y="10"/>
                  </a:lnTo>
                  <a:lnTo>
                    <a:pt x="25" y="10"/>
                  </a:lnTo>
                  <a:lnTo>
                    <a:pt x="28" y="7"/>
                  </a:lnTo>
                  <a:lnTo>
                    <a:pt x="28" y="2"/>
                  </a:lnTo>
                  <a:lnTo>
                    <a:pt x="25" y="2"/>
                  </a:lnTo>
                  <a:lnTo>
                    <a:pt x="20" y="2"/>
                  </a:lnTo>
                  <a:lnTo>
                    <a:pt x="20" y="2"/>
                  </a:lnTo>
                  <a:lnTo>
                    <a:pt x="20"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64" name="Freeform 1682">
              <a:extLst>
                <a:ext uri="{FF2B5EF4-FFF2-40B4-BE49-F238E27FC236}">
                  <a16:creationId xmlns:a16="http://schemas.microsoft.com/office/drawing/2014/main" id="{486B2888-AEBA-3C4E-AF89-01AF54C472FA}"/>
                </a:ext>
              </a:extLst>
            </p:cNvPr>
            <p:cNvSpPr>
              <a:spLocks/>
            </p:cNvSpPr>
            <p:nvPr/>
          </p:nvSpPr>
          <p:spPr bwMode="auto">
            <a:xfrm>
              <a:off x="2081951" y="1658315"/>
              <a:ext cx="8179" cy="3271"/>
            </a:xfrm>
            <a:custGeom>
              <a:avLst/>
              <a:gdLst>
                <a:gd name="T0" fmla="*/ 5 w 5"/>
                <a:gd name="T1" fmla="*/ 2 h 2"/>
                <a:gd name="T2" fmla="*/ 5 w 5"/>
                <a:gd name="T3" fmla="*/ 2 h 2"/>
                <a:gd name="T4" fmla="*/ 5 w 5"/>
                <a:gd name="T5" fmla="*/ 0 h 2"/>
                <a:gd name="T6" fmla="*/ 5 w 5"/>
                <a:gd name="T7" fmla="*/ 0 h 2"/>
                <a:gd name="T8" fmla="*/ 2 w 5"/>
                <a:gd name="T9" fmla="*/ 0 h 2"/>
                <a:gd name="T10" fmla="*/ 0 w 5"/>
                <a:gd name="T11" fmla="*/ 0 h 2"/>
                <a:gd name="T12" fmla="*/ 0 w 5"/>
                <a:gd name="T13" fmla="*/ 2 h 2"/>
                <a:gd name="T14" fmla="*/ 2 w 5"/>
                <a:gd name="T15" fmla="*/ 2 h 2"/>
                <a:gd name="T16" fmla="*/ 5 w 5"/>
                <a:gd name="T17"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2">
                  <a:moveTo>
                    <a:pt x="5" y="2"/>
                  </a:moveTo>
                  <a:lnTo>
                    <a:pt x="5" y="2"/>
                  </a:lnTo>
                  <a:lnTo>
                    <a:pt x="5" y="0"/>
                  </a:lnTo>
                  <a:lnTo>
                    <a:pt x="5" y="0"/>
                  </a:lnTo>
                  <a:lnTo>
                    <a:pt x="2" y="0"/>
                  </a:lnTo>
                  <a:lnTo>
                    <a:pt x="0" y="0"/>
                  </a:lnTo>
                  <a:lnTo>
                    <a:pt x="0" y="2"/>
                  </a:lnTo>
                  <a:lnTo>
                    <a:pt x="2" y="2"/>
                  </a:lnTo>
                  <a:lnTo>
                    <a:pt x="5" y="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65" name="Freeform 1683">
              <a:extLst>
                <a:ext uri="{FF2B5EF4-FFF2-40B4-BE49-F238E27FC236}">
                  <a16:creationId xmlns:a16="http://schemas.microsoft.com/office/drawing/2014/main" id="{E8DBEAF5-1D57-7D44-A3CD-725512ADC9DC}"/>
                </a:ext>
              </a:extLst>
            </p:cNvPr>
            <p:cNvSpPr>
              <a:spLocks/>
            </p:cNvSpPr>
            <p:nvPr/>
          </p:nvSpPr>
          <p:spPr bwMode="auto">
            <a:xfrm>
              <a:off x="2060687" y="1720473"/>
              <a:ext cx="13086" cy="8179"/>
            </a:xfrm>
            <a:custGeom>
              <a:avLst/>
              <a:gdLst>
                <a:gd name="T0" fmla="*/ 3 w 8"/>
                <a:gd name="T1" fmla="*/ 5 h 5"/>
                <a:gd name="T2" fmla="*/ 5 w 8"/>
                <a:gd name="T3" fmla="*/ 5 h 5"/>
                <a:gd name="T4" fmla="*/ 5 w 8"/>
                <a:gd name="T5" fmla="*/ 5 h 5"/>
                <a:gd name="T6" fmla="*/ 5 w 8"/>
                <a:gd name="T7" fmla="*/ 2 h 5"/>
                <a:gd name="T8" fmla="*/ 5 w 8"/>
                <a:gd name="T9" fmla="*/ 2 h 5"/>
                <a:gd name="T10" fmla="*/ 8 w 8"/>
                <a:gd name="T11" fmla="*/ 2 h 5"/>
                <a:gd name="T12" fmla="*/ 8 w 8"/>
                <a:gd name="T13" fmla="*/ 2 h 5"/>
                <a:gd name="T14" fmla="*/ 8 w 8"/>
                <a:gd name="T15" fmla="*/ 2 h 5"/>
                <a:gd name="T16" fmla="*/ 8 w 8"/>
                <a:gd name="T17" fmla="*/ 0 h 5"/>
                <a:gd name="T18" fmla="*/ 3 w 8"/>
                <a:gd name="T19" fmla="*/ 0 h 5"/>
                <a:gd name="T20" fmla="*/ 3 w 8"/>
                <a:gd name="T21" fmla="*/ 2 h 5"/>
                <a:gd name="T22" fmla="*/ 0 w 8"/>
                <a:gd name="T23" fmla="*/ 2 h 5"/>
                <a:gd name="T24" fmla="*/ 0 w 8"/>
                <a:gd name="T25" fmla="*/ 2 h 5"/>
                <a:gd name="T26" fmla="*/ 0 w 8"/>
                <a:gd name="T27" fmla="*/ 2 h 5"/>
                <a:gd name="T28" fmla="*/ 0 w 8"/>
                <a:gd name="T29" fmla="*/ 5 h 5"/>
                <a:gd name="T30" fmla="*/ 0 w 8"/>
                <a:gd name="T31" fmla="*/ 5 h 5"/>
                <a:gd name="T32" fmla="*/ 3 w 8"/>
                <a:gd name="T33"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 h="5">
                  <a:moveTo>
                    <a:pt x="3" y="5"/>
                  </a:moveTo>
                  <a:lnTo>
                    <a:pt x="5" y="5"/>
                  </a:lnTo>
                  <a:lnTo>
                    <a:pt x="5" y="5"/>
                  </a:lnTo>
                  <a:lnTo>
                    <a:pt x="5" y="2"/>
                  </a:lnTo>
                  <a:lnTo>
                    <a:pt x="5" y="2"/>
                  </a:lnTo>
                  <a:lnTo>
                    <a:pt x="8" y="2"/>
                  </a:lnTo>
                  <a:lnTo>
                    <a:pt x="8" y="2"/>
                  </a:lnTo>
                  <a:lnTo>
                    <a:pt x="8" y="2"/>
                  </a:lnTo>
                  <a:lnTo>
                    <a:pt x="8" y="0"/>
                  </a:lnTo>
                  <a:lnTo>
                    <a:pt x="3" y="0"/>
                  </a:lnTo>
                  <a:lnTo>
                    <a:pt x="3" y="2"/>
                  </a:lnTo>
                  <a:lnTo>
                    <a:pt x="0" y="2"/>
                  </a:lnTo>
                  <a:lnTo>
                    <a:pt x="0" y="2"/>
                  </a:lnTo>
                  <a:lnTo>
                    <a:pt x="0" y="2"/>
                  </a:lnTo>
                  <a:lnTo>
                    <a:pt x="0" y="5"/>
                  </a:lnTo>
                  <a:lnTo>
                    <a:pt x="0" y="5"/>
                  </a:lnTo>
                  <a:lnTo>
                    <a:pt x="3" y="5"/>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66" name="Freeform 1684">
              <a:extLst>
                <a:ext uri="{FF2B5EF4-FFF2-40B4-BE49-F238E27FC236}">
                  <a16:creationId xmlns:a16="http://schemas.microsoft.com/office/drawing/2014/main" id="{EE653667-2D09-824D-A618-570105F84658}"/>
                </a:ext>
              </a:extLst>
            </p:cNvPr>
            <p:cNvSpPr>
              <a:spLocks/>
            </p:cNvSpPr>
            <p:nvPr/>
          </p:nvSpPr>
          <p:spPr bwMode="auto">
            <a:xfrm>
              <a:off x="2060687" y="1720473"/>
              <a:ext cx="24537" cy="19629"/>
            </a:xfrm>
            <a:custGeom>
              <a:avLst/>
              <a:gdLst>
                <a:gd name="T0" fmla="*/ 3 w 15"/>
                <a:gd name="T1" fmla="*/ 12 h 12"/>
                <a:gd name="T2" fmla="*/ 3 w 15"/>
                <a:gd name="T3" fmla="*/ 12 h 12"/>
                <a:gd name="T4" fmla="*/ 3 w 15"/>
                <a:gd name="T5" fmla="*/ 12 h 12"/>
                <a:gd name="T6" fmla="*/ 5 w 15"/>
                <a:gd name="T7" fmla="*/ 12 h 12"/>
                <a:gd name="T8" fmla="*/ 5 w 15"/>
                <a:gd name="T9" fmla="*/ 12 h 12"/>
                <a:gd name="T10" fmla="*/ 5 w 15"/>
                <a:gd name="T11" fmla="*/ 12 h 12"/>
                <a:gd name="T12" fmla="*/ 10 w 15"/>
                <a:gd name="T13" fmla="*/ 7 h 12"/>
                <a:gd name="T14" fmla="*/ 13 w 15"/>
                <a:gd name="T15" fmla="*/ 5 h 12"/>
                <a:gd name="T16" fmla="*/ 13 w 15"/>
                <a:gd name="T17" fmla="*/ 2 h 12"/>
                <a:gd name="T18" fmla="*/ 15 w 15"/>
                <a:gd name="T19" fmla="*/ 0 h 12"/>
                <a:gd name="T20" fmla="*/ 13 w 15"/>
                <a:gd name="T21" fmla="*/ 0 h 12"/>
                <a:gd name="T22" fmla="*/ 8 w 15"/>
                <a:gd name="T23" fmla="*/ 2 h 12"/>
                <a:gd name="T24" fmla="*/ 8 w 15"/>
                <a:gd name="T25" fmla="*/ 5 h 12"/>
                <a:gd name="T26" fmla="*/ 5 w 15"/>
                <a:gd name="T27" fmla="*/ 5 h 12"/>
                <a:gd name="T28" fmla="*/ 3 w 15"/>
                <a:gd name="T29" fmla="*/ 5 h 12"/>
                <a:gd name="T30" fmla="*/ 3 w 15"/>
                <a:gd name="T31" fmla="*/ 7 h 12"/>
                <a:gd name="T32" fmla="*/ 0 w 15"/>
                <a:gd name="T33" fmla="*/ 7 h 12"/>
                <a:gd name="T34" fmla="*/ 0 w 15"/>
                <a:gd name="T35" fmla="*/ 10 h 12"/>
                <a:gd name="T36" fmla="*/ 0 w 15"/>
                <a:gd name="T37" fmla="*/ 10 h 12"/>
                <a:gd name="T38" fmla="*/ 3 w 15"/>
                <a:gd name="T39" fmla="*/ 10 h 12"/>
                <a:gd name="T40" fmla="*/ 3 w 15"/>
                <a:gd name="T41" fmla="*/ 10 h 12"/>
                <a:gd name="T42" fmla="*/ 3 w 15"/>
                <a:gd name="T43" fmla="*/ 10 h 12"/>
                <a:gd name="T44" fmla="*/ 3 w 15"/>
                <a:gd name="T45"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 h="12">
                  <a:moveTo>
                    <a:pt x="3" y="12"/>
                  </a:moveTo>
                  <a:lnTo>
                    <a:pt x="3" y="12"/>
                  </a:lnTo>
                  <a:lnTo>
                    <a:pt x="3" y="12"/>
                  </a:lnTo>
                  <a:lnTo>
                    <a:pt x="5" y="12"/>
                  </a:lnTo>
                  <a:lnTo>
                    <a:pt x="5" y="12"/>
                  </a:lnTo>
                  <a:lnTo>
                    <a:pt x="5" y="12"/>
                  </a:lnTo>
                  <a:lnTo>
                    <a:pt x="10" y="7"/>
                  </a:lnTo>
                  <a:lnTo>
                    <a:pt x="13" y="5"/>
                  </a:lnTo>
                  <a:lnTo>
                    <a:pt x="13" y="2"/>
                  </a:lnTo>
                  <a:lnTo>
                    <a:pt x="15" y="0"/>
                  </a:lnTo>
                  <a:lnTo>
                    <a:pt x="13" y="0"/>
                  </a:lnTo>
                  <a:lnTo>
                    <a:pt x="8" y="2"/>
                  </a:lnTo>
                  <a:lnTo>
                    <a:pt x="8" y="5"/>
                  </a:lnTo>
                  <a:lnTo>
                    <a:pt x="5" y="5"/>
                  </a:lnTo>
                  <a:lnTo>
                    <a:pt x="3" y="5"/>
                  </a:lnTo>
                  <a:lnTo>
                    <a:pt x="3" y="7"/>
                  </a:lnTo>
                  <a:lnTo>
                    <a:pt x="0" y="7"/>
                  </a:lnTo>
                  <a:lnTo>
                    <a:pt x="0" y="10"/>
                  </a:lnTo>
                  <a:lnTo>
                    <a:pt x="0" y="10"/>
                  </a:lnTo>
                  <a:lnTo>
                    <a:pt x="3" y="10"/>
                  </a:lnTo>
                  <a:lnTo>
                    <a:pt x="3" y="10"/>
                  </a:lnTo>
                  <a:lnTo>
                    <a:pt x="3" y="10"/>
                  </a:lnTo>
                  <a:lnTo>
                    <a:pt x="3" y="1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67" name="Freeform 1685">
              <a:extLst>
                <a:ext uri="{FF2B5EF4-FFF2-40B4-BE49-F238E27FC236}">
                  <a16:creationId xmlns:a16="http://schemas.microsoft.com/office/drawing/2014/main" id="{220191F7-1057-0C4C-AB2F-DD568D3B484F}"/>
                </a:ext>
              </a:extLst>
            </p:cNvPr>
            <p:cNvSpPr>
              <a:spLocks/>
            </p:cNvSpPr>
            <p:nvPr/>
          </p:nvSpPr>
          <p:spPr bwMode="auto">
            <a:xfrm>
              <a:off x="2068865" y="1712295"/>
              <a:ext cx="13086" cy="8179"/>
            </a:xfrm>
            <a:custGeom>
              <a:avLst/>
              <a:gdLst>
                <a:gd name="T0" fmla="*/ 5 w 8"/>
                <a:gd name="T1" fmla="*/ 0 h 5"/>
                <a:gd name="T2" fmla="*/ 3 w 8"/>
                <a:gd name="T3" fmla="*/ 2 h 5"/>
                <a:gd name="T4" fmla="*/ 0 w 8"/>
                <a:gd name="T5" fmla="*/ 2 h 5"/>
                <a:gd name="T6" fmla="*/ 0 w 8"/>
                <a:gd name="T7" fmla="*/ 2 h 5"/>
                <a:gd name="T8" fmla="*/ 0 w 8"/>
                <a:gd name="T9" fmla="*/ 5 h 5"/>
                <a:gd name="T10" fmla="*/ 0 w 8"/>
                <a:gd name="T11" fmla="*/ 5 h 5"/>
                <a:gd name="T12" fmla="*/ 3 w 8"/>
                <a:gd name="T13" fmla="*/ 5 h 5"/>
                <a:gd name="T14" fmla="*/ 3 w 8"/>
                <a:gd name="T15" fmla="*/ 5 h 5"/>
                <a:gd name="T16" fmla="*/ 3 w 8"/>
                <a:gd name="T17" fmla="*/ 5 h 5"/>
                <a:gd name="T18" fmla="*/ 5 w 8"/>
                <a:gd name="T19" fmla="*/ 5 h 5"/>
                <a:gd name="T20" fmla="*/ 8 w 8"/>
                <a:gd name="T21" fmla="*/ 2 h 5"/>
                <a:gd name="T22" fmla="*/ 8 w 8"/>
                <a:gd name="T23" fmla="*/ 2 h 5"/>
                <a:gd name="T24" fmla="*/ 8 w 8"/>
                <a:gd name="T25" fmla="*/ 2 h 5"/>
                <a:gd name="T26" fmla="*/ 8 w 8"/>
                <a:gd name="T27" fmla="*/ 0 h 5"/>
                <a:gd name="T28" fmla="*/ 5 w 8"/>
                <a:gd name="T29"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5">
                  <a:moveTo>
                    <a:pt x="5" y="0"/>
                  </a:moveTo>
                  <a:lnTo>
                    <a:pt x="3" y="2"/>
                  </a:lnTo>
                  <a:lnTo>
                    <a:pt x="0" y="2"/>
                  </a:lnTo>
                  <a:lnTo>
                    <a:pt x="0" y="2"/>
                  </a:lnTo>
                  <a:lnTo>
                    <a:pt x="0" y="5"/>
                  </a:lnTo>
                  <a:lnTo>
                    <a:pt x="0" y="5"/>
                  </a:lnTo>
                  <a:lnTo>
                    <a:pt x="3" y="5"/>
                  </a:lnTo>
                  <a:lnTo>
                    <a:pt x="3" y="5"/>
                  </a:lnTo>
                  <a:lnTo>
                    <a:pt x="3" y="5"/>
                  </a:lnTo>
                  <a:lnTo>
                    <a:pt x="5" y="5"/>
                  </a:lnTo>
                  <a:lnTo>
                    <a:pt x="8" y="2"/>
                  </a:lnTo>
                  <a:lnTo>
                    <a:pt x="8" y="2"/>
                  </a:lnTo>
                  <a:lnTo>
                    <a:pt x="8" y="2"/>
                  </a:lnTo>
                  <a:lnTo>
                    <a:pt x="8" y="0"/>
                  </a:lnTo>
                  <a:lnTo>
                    <a:pt x="5"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68" name="Freeform 1686">
              <a:extLst>
                <a:ext uri="{FF2B5EF4-FFF2-40B4-BE49-F238E27FC236}">
                  <a16:creationId xmlns:a16="http://schemas.microsoft.com/office/drawing/2014/main" id="{5BB13C92-A79E-E644-8A6E-00C408AAD9F6}"/>
                </a:ext>
              </a:extLst>
            </p:cNvPr>
            <p:cNvSpPr>
              <a:spLocks/>
            </p:cNvSpPr>
            <p:nvPr/>
          </p:nvSpPr>
          <p:spPr bwMode="auto">
            <a:xfrm>
              <a:off x="1702460" y="1583071"/>
              <a:ext cx="8179" cy="3271"/>
            </a:xfrm>
            <a:custGeom>
              <a:avLst/>
              <a:gdLst>
                <a:gd name="T0" fmla="*/ 2 w 5"/>
                <a:gd name="T1" fmla="*/ 2 h 2"/>
                <a:gd name="T2" fmla="*/ 5 w 5"/>
                <a:gd name="T3" fmla="*/ 0 h 2"/>
                <a:gd name="T4" fmla="*/ 5 w 5"/>
                <a:gd name="T5" fmla="*/ 0 h 2"/>
                <a:gd name="T6" fmla="*/ 5 w 5"/>
                <a:gd name="T7" fmla="*/ 0 h 2"/>
                <a:gd name="T8" fmla="*/ 2 w 5"/>
                <a:gd name="T9" fmla="*/ 2 h 2"/>
                <a:gd name="T10" fmla="*/ 0 w 5"/>
                <a:gd name="T11" fmla="*/ 2 h 2"/>
                <a:gd name="T12" fmla="*/ 0 w 5"/>
                <a:gd name="T13" fmla="*/ 2 h 2"/>
                <a:gd name="T14" fmla="*/ 2 w 5"/>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2">
                  <a:moveTo>
                    <a:pt x="2" y="2"/>
                  </a:moveTo>
                  <a:lnTo>
                    <a:pt x="5" y="0"/>
                  </a:lnTo>
                  <a:lnTo>
                    <a:pt x="5" y="0"/>
                  </a:lnTo>
                  <a:lnTo>
                    <a:pt x="5" y="0"/>
                  </a:lnTo>
                  <a:lnTo>
                    <a:pt x="2" y="2"/>
                  </a:lnTo>
                  <a:lnTo>
                    <a:pt x="0" y="2"/>
                  </a:lnTo>
                  <a:lnTo>
                    <a:pt x="0" y="2"/>
                  </a:lnTo>
                  <a:lnTo>
                    <a:pt x="2" y="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69" name="Freeform 1687">
              <a:extLst>
                <a:ext uri="{FF2B5EF4-FFF2-40B4-BE49-F238E27FC236}">
                  <a16:creationId xmlns:a16="http://schemas.microsoft.com/office/drawing/2014/main" id="{B648DCE5-624E-0C48-956C-EA8F5F968B58}"/>
                </a:ext>
              </a:extLst>
            </p:cNvPr>
            <p:cNvSpPr>
              <a:spLocks/>
            </p:cNvSpPr>
            <p:nvPr/>
          </p:nvSpPr>
          <p:spPr bwMode="auto">
            <a:xfrm>
              <a:off x="1290254" y="1586343"/>
              <a:ext cx="53980" cy="21265"/>
            </a:xfrm>
            <a:custGeom>
              <a:avLst/>
              <a:gdLst>
                <a:gd name="T0" fmla="*/ 2 w 33"/>
                <a:gd name="T1" fmla="*/ 8 h 13"/>
                <a:gd name="T2" fmla="*/ 5 w 33"/>
                <a:gd name="T3" fmla="*/ 10 h 13"/>
                <a:gd name="T4" fmla="*/ 10 w 33"/>
                <a:gd name="T5" fmla="*/ 10 h 13"/>
                <a:gd name="T6" fmla="*/ 10 w 33"/>
                <a:gd name="T7" fmla="*/ 13 h 13"/>
                <a:gd name="T8" fmla="*/ 10 w 33"/>
                <a:gd name="T9" fmla="*/ 13 h 13"/>
                <a:gd name="T10" fmla="*/ 10 w 33"/>
                <a:gd name="T11" fmla="*/ 13 h 13"/>
                <a:gd name="T12" fmla="*/ 12 w 33"/>
                <a:gd name="T13" fmla="*/ 13 h 13"/>
                <a:gd name="T14" fmla="*/ 12 w 33"/>
                <a:gd name="T15" fmla="*/ 13 h 13"/>
                <a:gd name="T16" fmla="*/ 12 w 33"/>
                <a:gd name="T17" fmla="*/ 10 h 13"/>
                <a:gd name="T18" fmla="*/ 17 w 33"/>
                <a:gd name="T19" fmla="*/ 10 h 13"/>
                <a:gd name="T20" fmla="*/ 20 w 33"/>
                <a:gd name="T21" fmla="*/ 10 h 13"/>
                <a:gd name="T22" fmla="*/ 23 w 33"/>
                <a:gd name="T23" fmla="*/ 10 h 13"/>
                <a:gd name="T24" fmla="*/ 25 w 33"/>
                <a:gd name="T25" fmla="*/ 8 h 13"/>
                <a:gd name="T26" fmla="*/ 25 w 33"/>
                <a:gd name="T27" fmla="*/ 8 h 13"/>
                <a:gd name="T28" fmla="*/ 25 w 33"/>
                <a:gd name="T29" fmla="*/ 8 h 13"/>
                <a:gd name="T30" fmla="*/ 28 w 33"/>
                <a:gd name="T31" fmla="*/ 5 h 13"/>
                <a:gd name="T32" fmla="*/ 28 w 33"/>
                <a:gd name="T33" fmla="*/ 5 h 13"/>
                <a:gd name="T34" fmla="*/ 30 w 33"/>
                <a:gd name="T35" fmla="*/ 3 h 13"/>
                <a:gd name="T36" fmla="*/ 30 w 33"/>
                <a:gd name="T37" fmla="*/ 3 h 13"/>
                <a:gd name="T38" fmla="*/ 33 w 33"/>
                <a:gd name="T39" fmla="*/ 3 h 13"/>
                <a:gd name="T40" fmla="*/ 30 w 33"/>
                <a:gd name="T41" fmla="*/ 0 h 13"/>
                <a:gd name="T42" fmla="*/ 30 w 33"/>
                <a:gd name="T43" fmla="*/ 0 h 13"/>
                <a:gd name="T44" fmla="*/ 28 w 33"/>
                <a:gd name="T45" fmla="*/ 0 h 13"/>
                <a:gd name="T46" fmla="*/ 28 w 33"/>
                <a:gd name="T47" fmla="*/ 0 h 13"/>
                <a:gd name="T48" fmla="*/ 28 w 33"/>
                <a:gd name="T49" fmla="*/ 0 h 13"/>
                <a:gd name="T50" fmla="*/ 28 w 33"/>
                <a:gd name="T51" fmla="*/ 0 h 13"/>
                <a:gd name="T52" fmla="*/ 25 w 33"/>
                <a:gd name="T53" fmla="*/ 0 h 13"/>
                <a:gd name="T54" fmla="*/ 23 w 33"/>
                <a:gd name="T55" fmla="*/ 0 h 13"/>
                <a:gd name="T56" fmla="*/ 23 w 33"/>
                <a:gd name="T57" fmla="*/ 0 h 13"/>
                <a:gd name="T58" fmla="*/ 23 w 33"/>
                <a:gd name="T59" fmla="*/ 0 h 13"/>
                <a:gd name="T60" fmla="*/ 17 w 33"/>
                <a:gd name="T61" fmla="*/ 0 h 13"/>
                <a:gd name="T62" fmla="*/ 15 w 33"/>
                <a:gd name="T63" fmla="*/ 3 h 13"/>
                <a:gd name="T64" fmla="*/ 15 w 33"/>
                <a:gd name="T65" fmla="*/ 3 h 13"/>
                <a:gd name="T66" fmla="*/ 12 w 33"/>
                <a:gd name="T67" fmla="*/ 3 h 13"/>
                <a:gd name="T68" fmla="*/ 5 w 33"/>
                <a:gd name="T69" fmla="*/ 3 h 13"/>
                <a:gd name="T70" fmla="*/ 5 w 33"/>
                <a:gd name="T71" fmla="*/ 3 h 13"/>
                <a:gd name="T72" fmla="*/ 2 w 33"/>
                <a:gd name="T73" fmla="*/ 3 h 13"/>
                <a:gd name="T74" fmla="*/ 0 w 33"/>
                <a:gd name="T75" fmla="*/ 5 h 13"/>
                <a:gd name="T76" fmla="*/ 2 w 33"/>
                <a:gd name="T77" fmla="*/ 8 h 13"/>
                <a:gd name="T78" fmla="*/ 2 w 33"/>
                <a:gd name="T79" fmla="*/ 8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 h="13">
                  <a:moveTo>
                    <a:pt x="2" y="8"/>
                  </a:moveTo>
                  <a:lnTo>
                    <a:pt x="5" y="10"/>
                  </a:lnTo>
                  <a:lnTo>
                    <a:pt x="10" y="10"/>
                  </a:lnTo>
                  <a:lnTo>
                    <a:pt x="10" y="13"/>
                  </a:lnTo>
                  <a:lnTo>
                    <a:pt x="10" y="13"/>
                  </a:lnTo>
                  <a:lnTo>
                    <a:pt x="10" y="13"/>
                  </a:lnTo>
                  <a:lnTo>
                    <a:pt x="12" y="13"/>
                  </a:lnTo>
                  <a:lnTo>
                    <a:pt x="12" y="13"/>
                  </a:lnTo>
                  <a:lnTo>
                    <a:pt x="12" y="10"/>
                  </a:lnTo>
                  <a:lnTo>
                    <a:pt x="17" y="10"/>
                  </a:lnTo>
                  <a:lnTo>
                    <a:pt x="20" y="10"/>
                  </a:lnTo>
                  <a:lnTo>
                    <a:pt x="23" y="10"/>
                  </a:lnTo>
                  <a:lnTo>
                    <a:pt x="25" y="8"/>
                  </a:lnTo>
                  <a:lnTo>
                    <a:pt x="25" y="8"/>
                  </a:lnTo>
                  <a:lnTo>
                    <a:pt x="25" y="8"/>
                  </a:lnTo>
                  <a:lnTo>
                    <a:pt x="28" y="5"/>
                  </a:lnTo>
                  <a:lnTo>
                    <a:pt x="28" y="5"/>
                  </a:lnTo>
                  <a:lnTo>
                    <a:pt x="30" y="3"/>
                  </a:lnTo>
                  <a:lnTo>
                    <a:pt x="30" y="3"/>
                  </a:lnTo>
                  <a:lnTo>
                    <a:pt x="33" y="3"/>
                  </a:lnTo>
                  <a:lnTo>
                    <a:pt x="30" y="0"/>
                  </a:lnTo>
                  <a:lnTo>
                    <a:pt x="30" y="0"/>
                  </a:lnTo>
                  <a:lnTo>
                    <a:pt x="28" y="0"/>
                  </a:lnTo>
                  <a:lnTo>
                    <a:pt x="28" y="0"/>
                  </a:lnTo>
                  <a:lnTo>
                    <a:pt x="28" y="0"/>
                  </a:lnTo>
                  <a:lnTo>
                    <a:pt x="28" y="0"/>
                  </a:lnTo>
                  <a:lnTo>
                    <a:pt x="25" y="0"/>
                  </a:lnTo>
                  <a:lnTo>
                    <a:pt x="23" y="0"/>
                  </a:lnTo>
                  <a:lnTo>
                    <a:pt x="23" y="0"/>
                  </a:lnTo>
                  <a:lnTo>
                    <a:pt x="23" y="0"/>
                  </a:lnTo>
                  <a:lnTo>
                    <a:pt x="17" y="0"/>
                  </a:lnTo>
                  <a:lnTo>
                    <a:pt x="15" y="3"/>
                  </a:lnTo>
                  <a:lnTo>
                    <a:pt x="15" y="3"/>
                  </a:lnTo>
                  <a:lnTo>
                    <a:pt x="12" y="3"/>
                  </a:lnTo>
                  <a:lnTo>
                    <a:pt x="5" y="3"/>
                  </a:lnTo>
                  <a:lnTo>
                    <a:pt x="5" y="3"/>
                  </a:lnTo>
                  <a:lnTo>
                    <a:pt x="2" y="3"/>
                  </a:lnTo>
                  <a:lnTo>
                    <a:pt x="0" y="5"/>
                  </a:lnTo>
                  <a:lnTo>
                    <a:pt x="2" y="8"/>
                  </a:lnTo>
                  <a:lnTo>
                    <a:pt x="2" y="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70" name="Freeform 1688">
              <a:extLst>
                <a:ext uri="{FF2B5EF4-FFF2-40B4-BE49-F238E27FC236}">
                  <a16:creationId xmlns:a16="http://schemas.microsoft.com/office/drawing/2014/main" id="{D67E20BF-70EB-8841-9768-1B17E381018E}"/>
                </a:ext>
              </a:extLst>
            </p:cNvPr>
            <p:cNvSpPr>
              <a:spLocks/>
            </p:cNvSpPr>
            <p:nvPr/>
          </p:nvSpPr>
          <p:spPr bwMode="auto">
            <a:xfrm>
              <a:off x="1535615" y="1694301"/>
              <a:ext cx="16357" cy="9814"/>
            </a:xfrm>
            <a:custGeom>
              <a:avLst/>
              <a:gdLst>
                <a:gd name="T0" fmla="*/ 5 w 10"/>
                <a:gd name="T1" fmla="*/ 0 h 6"/>
                <a:gd name="T2" fmla="*/ 3 w 10"/>
                <a:gd name="T3" fmla="*/ 3 h 6"/>
                <a:gd name="T4" fmla="*/ 0 w 10"/>
                <a:gd name="T5" fmla="*/ 3 h 6"/>
                <a:gd name="T6" fmla="*/ 0 w 10"/>
                <a:gd name="T7" fmla="*/ 6 h 6"/>
                <a:gd name="T8" fmla="*/ 3 w 10"/>
                <a:gd name="T9" fmla="*/ 6 h 6"/>
                <a:gd name="T10" fmla="*/ 5 w 10"/>
                <a:gd name="T11" fmla="*/ 3 h 6"/>
                <a:gd name="T12" fmla="*/ 5 w 10"/>
                <a:gd name="T13" fmla="*/ 3 h 6"/>
                <a:gd name="T14" fmla="*/ 8 w 10"/>
                <a:gd name="T15" fmla="*/ 3 h 6"/>
                <a:gd name="T16" fmla="*/ 8 w 10"/>
                <a:gd name="T17" fmla="*/ 3 h 6"/>
                <a:gd name="T18" fmla="*/ 10 w 10"/>
                <a:gd name="T19" fmla="*/ 3 h 6"/>
                <a:gd name="T20" fmla="*/ 10 w 10"/>
                <a:gd name="T21" fmla="*/ 3 h 6"/>
                <a:gd name="T22" fmla="*/ 10 w 10"/>
                <a:gd name="T23" fmla="*/ 0 h 6"/>
                <a:gd name="T24" fmla="*/ 5 w 10"/>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 h="6">
                  <a:moveTo>
                    <a:pt x="5" y="0"/>
                  </a:moveTo>
                  <a:lnTo>
                    <a:pt x="3" y="3"/>
                  </a:lnTo>
                  <a:lnTo>
                    <a:pt x="0" y="3"/>
                  </a:lnTo>
                  <a:lnTo>
                    <a:pt x="0" y="6"/>
                  </a:lnTo>
                  <a:lnTo>
                    <a:pt x="3" y="6"/>
                  </a:lnTo>
                  <a:lnTo>
                    <a:pt x="5" y="3"/>
                  </a:lnTo>
                  <a:lnTo>
                    <a:pt x="5" y="3"/>
                  </a:lnTo>
                  <a:lnTo>
                    <a:pt x="8" y="3"/>
                  </a:lnTo>
                  <a:lnTo>
                    <a:pt x="8" y="3"/>
                  </a:lnTo>
                  <a:lnTo>
                    <a:pt x="10" y="3"/>
                  </a:lnTo>
                  <a:lnTo>
                    <a:pt x="10" y="3"/>
                  </a:lnTo>
                  <a:lnTo>
                    <a:pt x="10" y="0"/>
                  </a:lnTo>
                  <a:lnTo>
                    <a:pt x="5"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71" name="Freeform 1689">
              <a:extLst>
                <a:ext uri="{FF2B5EF4-FFF2-40B4-BE49-F238E27FC236}">
                  <a16:creationId xmlns:a16="http://schemas.microsoft.com/office/drawing/2014/main" id="{B72A5068-0610-5B42-80A5-57BFFD6407FD}"/>
                </a:ext>
              </a:extLst>
            </p:cNvPr>
            <p:cNvSpPr>
              <a:spLocks/>
            </p:cNvSpPr>
            <p:nvPr/>
          </p:nvSpPr>
          <p:spPr bwMode="auto">
            <a:xfrm>
              <a:off x="1602680" y="1391690"/>
              <a:ext cx="11451" cy="0"/>
            </a:xfrm>
            <a:custGeom>
              <a:avLst/>
              <a:gdLst>
                <a:gd name="T0" fmla="*/ 5 w 7"/>
                <a:gd name="T1" fmla="*/ 7 w 7"/>
                <a:gd name="T2" fmla="*/ 7 w 7"/>
                <a:gd name="T3" fmla="*/ 2 w 7"/>
                <a:gd name="T4" fmla="*/ 0 w 7"/>
                <a:gd name="T5" fmla="*/ 0 w 7"/>
                <a:gd name="T6" fmla="*/ 0 w 7"/>
                <a:gd name="T7" fmla="*/ 5 w 7"/>
              </a:gdLst>
              <a:ahLst/>
              <a:cxnLst>
                <a:cxn ang="0">
                  <a:pos x="T0" y="0"/>
                </a:cxn>
                <a:cxn ang="0">
                  <a:pos x="T1" y="0"/>
                </a:cxn>
                <a:cxn ang="0">
                  <a:pos x="T2" y="0"/>
                </a:cxn>
                <a:cxn ang="0">
                  <a:pos x="T3" y="0"/>
                </a:cxn>
                <a:cxn ang="0">
                  <a:pos x="T4" y="0"/>
                </a:cxn>
                <a:cxn ang="0">
                  <a:pos x="T5" y="0"/>
                </a:cxn>
                <a:cxn ang="0">
                  <a:pos x="T6" y="0"/>
                </a:cxn>
                <a:cxn ang="0">
                  <a:pos x="T7" y="0"/>
                </a:cxn>
              </a:cxnLst>
              <a:rect l="0" t="0" r="r" b="b"/>
              <a:pathLst>
                <a:path w="7">
                  <a:moveTo>
                    <a:pt x="5" y="0"/>
                  </a:moveTo>
                  <a:lnTo>
                    <a:pt x="7" y="0"/>
                  </a:lnTo>
                  <a:lnTo>
                    <a:pt x="7" y="0"/>
                  </a:lnTo>
                  <a:lnTo>
                    <a:pt x="2" y="0"/>
                  </a:lnTo>
                  <a:lnTo>
                    <a:pt x="0" y="0"/>
                  </a:lnTo>
                  <a:lnTo>
                    <a:pt x="0" y="0"/>
                  </a:lnTo>
                  <a:lnTo>
                    <a:pt x="0" y="0"/>
                  </a:lnTo>
                  <a:lnTo>
                    <a:pt x="5"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72" name="Freeform 1690">
              <a:extLst>
                <a:ext uri="{FF2B5EF4-FFF2-40B4-BE49-F238E27FC236}">
                  <a16:creationId xmlns:a16="http://schemas.microsoft.com/office/drawing/2014/main" id="{AA95A5F0-28BA-784C-AC08-8D5ECAC365E5}"/>
                </a:ext>
              </a:extLst>
            </p:cNvPr>
            <p:cNvSpPr>
              <a:spLocks/>
            </p:cNvSpPr>
            <p:nvPr/>
          </p:nvSpPr>
          <p:spPr bwMode="auto">
            <a:xfrm>
              <a:off x="3073207" y="2041077"/>
              <a:ext cx="29443" cy="16357"/>
            </a:xfrm>
            <a:custGeom>
              <a:avLst/>
              <a:gdLst>
                <a:gd name="T0" fmla="*/ 8 w 18"/>
                <a:gd name="T1" fmla="*/ 2 h 10"/>
                <a:gd name="T2" fmla="*/ 6 w 18"/>
                <a:gd name="T3" fmla="*/ 2 h 10"/>
                <a:gd name="T4" fmla="*/ 3 w 18"/>
                <a:gd name="T5" fmla="*/ 5 h 10"/>
                <a:gd name="T6" fmla="*/ 0 w 18"/>
                <a:gd name="T7" fmla="*/ 7 h 10"/>
                <a:gd name="T8" fmla="*/ 0 w 18"/>
                <a:gd name="T9" fmla="*/ 7 h 10"/>
                <a:gd name="T10" fmla="*/ 0 w 18"/>
                <a:gd name="T11" fmla="*/ 7 h 10"/>
                <a:gd name="T12" fmla="*/ 3 w 18"/>
                <a:gd name="T13" fmla="*/ 7 h 10"/>
                <a:gd name="T14" fmla="*/ 3 w 18"/>
                <a:gd name="T15" fmla="*/ 7 h 10"/>
                <a:gd name="T16" fmla="*/ 3 w 18"/>
                <a:gd name="T17" fmla="*/ 7 h 10"/>
                <a:gd name="T18" fmla="*/ 3 w 18"/>
                <a:gd name="T19" fmla="*/ 7 h 10"/>
                <a:gd name="T20" fmla="*/ 3 w 18"/>
                <a:gd name="T21" fmla="*/ 7 h 10"/>
                <a:gd name="T22" fmla="*/ 3 w 18"/>
                <a:gd name="T23" fmla="*/ 7 h 10"/>
                <a:gd name="T24" fmla="*/ 3 w 18"/>
                <a:gd name="T25" fmla="*/ 7 h 10"/>
                <a:gd name="T26" fmla="*/ 3 w 18"/>
                <a:gd name="T27" fmla="*/ 10 h 10"/>
                <a:gd name="T28" fmla="*/ 0 w 18"/>
                <a:gd name="T29" fmla="*/ 10 h 10"/>
                <a:gd name="T30" fmla="*/ 0 w 18"/>
                <a:gd name="T31" fmla="*/ 10 h 10"/>
                <a:gd name="T32" fmla="*/ 0 w 18"/>
                <a:gd name="T33" fmla="*/ 10 h 10"/>
                <a:gd name="T34" fmla="*/ 3 w 18"/>
                <a:gd name="T35" fmla="*/ 10 h 10"/>
                <a:gd name="T36" fmla="*/ 3 w 18"/>
                <a:gd name="T37" fmla="*/ 10 h 10"/>
                <a:gd name="T38" fmla="*/ 6 w 18"/>
                <a:gd name="T39" fmla="*/ 7 h 10"/>
                <a:gd name="T40" fmla="*/ 6 w 18"/>
                <a:gd name="T41" fmla="*/ 7 h 10"/>
                <a:gd name="T42" fmla="*/ 8 w 18"/>
                <a:gd name="T43" fmla="*/ 7 h 10"/>
                <a:gd name="T44" fmla="*/ 13 w 18"/>
                <a:gd name="T45" fmla="*/ 5 h 10"/>
                <a:gd name="T46" fmla="*/ 13 w 18"/>
                <a:gd name="T47" fmla="*/ 2 h 10"/>
                <a:gd name="T48" fmla="*/ 13 w 18"/>
                <a:gd name="T49" fmla="*/ 2 h 10"/>
                <a:gd name="T50" fmla="*/ 13 w 18"/>
                <a:gd name="T51" fmla="*/ 2 h 10"/>
                <a:gd name="T52" fmla="*/ 13 w 18"/>
                <a:gd name="T53" fmla="*/ 2 h 10"/>
                <a:gd name="T54" fmla="*/ 18 w 18"/>
                <a:gd name="T55" fmla="*/ 2 h 10"/>
                <a:gd name="T56" fmla="*/ 18 w 18"/>
                <a:gd name="T57" fmla="*/ 2 h 10"/>
                <a:gd name="T58" fmla="*/ 18 w 18"/>
                <a:gd name="T59" fmla="*/ 0 h 10"/>
                <a:gd name="T60" fmla="*/ 16 w 18"/>
                <a:gd name="T61" fmla="*/ 0 h 10"/>
                <a:gd name="T62" fmla="*/ 13 w 18"/>
                <a:gd name="T63" fmla="*/ 0 h 10"/>
                <a:gd name="T64" fmla="*/ 13 w 18"/>
                <a:gd name="T65" fmla="*/ 0 h 10"/>
                <a:gd name="T66" fmla="*/ 8 w 18"/>
                <a:gd name="T67"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 h="10">
                  <a:moveTo>
                    <a:pt x="8" y="2"/>
                  </a:moveTo>
                  <a:lnTo>
                    <a:pt x="6" y="2"/>
                  </a:lnTo>
                  <a:lnTo>
                    <a:pt x="3" y="5"/>
                  </a:lnTo>
                  <a:lnTo>
                    <a:pt x="0" y="7"/>
                  </a:lnTo>
                  <a:lnTo>
                    <a:pt x="0" y="7"/>
                  </a:lnTo>
                  <a:lnTo>
                    <a:pt x="0" y="7"/>
                  </a:lnTo>
                  <a:lnTo>
                    <a:pt x="3" y="7"/>
                  </a:lnTo>
                  <a:lnTo>
                    <a:pt x="3" y="7"/>
                  </a:lnTo>
                  <a:lnTo>
                    <a:pt x="3" y="7"/>
                  </a:lnTo>
                  <a:lnTo>
                    <a:pt x="3" y="7"/>
                  </a:lnTo>
                  <a:lnTo>
                    <a:pt x="3" y="7"/>
                  </a:lnTo>
                  <a:lnTo>
                    <a:pt x="3" y="7"/>
                  </a:lnTo>
                  <a:lnTo>
                    <a:pt x="3" y="7"/>
                  </a:lnTo>
                  <a:lnTo>
                    <a:pt x="3" y="10"/>
                  </a:lnTo>
                  <a:lnTo>
                    <a:pt x="0" y="10"/>
                  </a:lnTo>
                  <a:lnTo>
                    <a:pt x="0" y="10"/>
                  </a:lnTo>
                  <a:lnTo>
                    <a:pt x="0" y="10"/>
                  </a:lnTo>
                  <a:lnTo>
                    <a:pt x="3" y="10"/>
                  </a:lnTo>
                  <a:lnTo>
                    <a:pt x="3" y="10"/>
                  </a:lnTo>
                  <a:lnTo>
                    <a:pt x="6" y="7"/>
                  </a:lnTo>
                  <a:lnTo>
                    <a:pt x="6" y="7"/>
                  </a:lnTo>
                  <a:lnTo>
                    <a:pt x="8" y="7"/>
                  </a:lnTo>
                  <a:lnTo>
                    <a:pt x="13" y="5"/>
                  </a:lnTo>
                  <a:lnTo>
                    <a:pt x="13" y="2"/>
                  </a:lnTo>
                  <a:lnTo>
                    <a:pt x="13" y="2"/>
                  </a:lnTo>
                  <a:lnTo>
                    <a:pt x="13" y="2"/>
                  </a:lnTo>
                  <a:lnTo>
                    <a:pt x="13" y="2"/>
                  </a:lnTo>
                  <a:lnTo>
                    <a:pt x="18" y="2"/>
                  </a:lnTo>
                  <a:lnTo>
                    <a:pt x="18" y="2"/>
                  </a:lnTo>
                  <a:lnTo>
                    <a:pt x="18" y="0"/>
                  </a:lnTo>
                  <a:lnTo>
                    <a:pt x="16" y="0"/>
                  </a:lnTo>
                  <a:lnTo>
                    <a:pt x="13" y="0"/>
                  </a:lnTo>
                  <a:lnTo>
                    <a:pt x="13" y="0"/>
                  </a:lnTo>
                  <a:lnTo>
                    <a:pt x="8" y="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73" name="Freeform 1691">
              <a:extLst>
                <a:ext uri="{FF2B5EF4-FFF2-40B4-BE49-F238E27FC236}">
                  <a16:creationId xmlns:a16="http://schemas.microsoft.com/office/drawing/2014/main" id="{88BD4999-1885-9A49-9E50-5FD420C41946}"/>
                </a:ext>
              </a:extLst>
            </p:cNvPr>
            <p:cNvSpPr>
              <a:spLocks/>
            </p:cNvSpPr>
            <p:nvPr/>
          </p:nvSpPr>
          <p:spPr bwMode="auto">
            <a:xfrm>
              <a:off x="3069936" y="2014906"/>
              <a:ext cx="24537" cy="13086"/>
            </a:xfrm>
            <a:custGeom>
              <a:avLst/>
              <a:gdLst>
                <a:gd name="T0" fmla="*/ 2 w 15"/>
                <a:gd name="T1" fmla="*/ 8 h 8"/>
                <a:gd name="T2" fmla="*/ 2 w 15"/>
                <a:gd name="T3" fmla="*/ 8 h 8"/>
                <a:gd name="T4" fmla="*/ 5 w 15"/>
                <a:gd name="T5" fmla="*/ 8 h 8"/>
                <a:gd name="T6" fmla="*/ 5 w 15"/>
                <a:gd name="T7" fmla="*/ 8 h 8"/>
                <a:gd name="T8" fmla="*/ 5 w 15"/>
                <a:gd name="T9" fmla="*/ 8 h 8"/>
                <a:gd name="T10" fmla="*/ 5 w 15"/>
                <a:gd name="T11" fmla="*/ 5 h 8"/>
                <a:gd name="T12" fmla="*/ 5 w 15"/>
                <a:gd name="T13" fmla="*/ 5 h 8"/>
                <a:gd name="T14" fmla="*/ 13 w 15"/>
                <a:gd name="T15" fmla="*/ 3 h 8"/>
                <a:gd name="T16" fmla="*/ 13 w 15"/>
                <a:gd name="T17" fmla="*/ 3 h 8"/>
                <a:gd name="T18" fmla="*/ 13 w 15"/>
                <a:gd name="T19" fmla="*/ 3 h 8"/>
                <a:gd name="T20" fmla="*/ 13 w 15"/>
                <a:gd name="T21" fmla="*/ 3 h 8"/>
                <a:gd name="T22" fmla="*/ 15 w 15"/>
                <a:gd name="T23" fmla="*/ 0 h 8"/>
                <a:gd name="T24" fmla="*/ 15 w 15"/>
                <a:gd name="T25" fmla="*/ 0 h 8"/>
                <a:gd name="T26" fmla="*/ 13 w 15"/>
                <a:gd name="T27" fmla="*/ 0 h 8"/>
                <a:gd name="T28" fmla="*/ 10 w 15"/>
                <a:gd name="T29" fmla="*/ 3 h 8"/>
                <a:gd name="T30" fmla="*/ 2 w 15"/>
                <a:gd name="T31" fmla="*/ 5 h 8"/>
                <a:gd name="T32" fmla="*/ 0 w 15"/>
                <a:gd name="T33" fmla="*/ 5 h 8"/>
                <a:gd name="T34" fmla="*/ 0 w 15"/>
                <a:gd name="T35" fmla="*/ 5 h 8"/>
                <a:gd name="T36" fmla="*/ 0 w 15"/>
                <a:gd name="T37" fmla="*/ 5 h 8"/>
                <a:gd name="T38" fmla="*/ 0 w 15"/>
                <a:gd name="T39" fmla="*/ 8 h 8"/>
                <a:gd name="T40" fmla="*/ 0 w 15"/>
                <a:gd name="T41" fmla="*/ 8 h 8"/>
                <a:gd name="T42" fmla="*/ 0 w 15"/>
                <a:gd name="T43" fmla="*/ 8 h 8"/>
                <a:gd name="T44" fmla="*/ 0 w 15"/>
                <a:gd name="T45" fmla="*/ 8 h 8"/>
                <a:gd name="T46" fmla="*/ 2 w 15"/>
                <a:gd name="T4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5" h="8">
                  <a:moveTo>
                    <a:pt x="2" y="8"/>
                  </a:moveTo>
                  <a:lnTo>
                    <a:pt x="2" y="8"/>
                  </a:lnTo>
                  <a:lnTo>
                    <a:pt x="5" y="8"/>
                  </a:lnTo>
                  <a:lnTo>
                    <a:pt x="5" y="8"/>
                  </a:lnTo>
                  <a:lnTo>
                    <a:pt x="5" y="8"/>
                  </a:lnTo>
                  <a:lnTo>
                    <a:pt x="5" y="5"/>
                  </a:lnTo>
                  <a:lnTo>
                    <a:pt x="5" y="5"/>
                  </a:lnTo>
                  <a:lnTo>
                    <a:pt x="13" y="3"/>
                  </a:lnTo>
                  <a:lnTo>
                    <a:pt x="13" y="3"/>
                  </a:lnTo>
                  <a:lnTo>
                    <a:pt x="13" y="3"/>
                  </a:lnTo>
                  <a:lnTo>
                    <a:pt x="13" y="3"/>
                  </a:lnTo>
                  <a:lnTo>
                    <a:pt x="15" y="0"/>
                  </a:lnTo>
                  <a:lnTo>
                    <a:pt x="15" y="0"/>
                  </a:lnTo>
                  <a:lnTo>
                    <a:pt x="13" y="0"/>
                  </a:lnTo>
                  <a:lnTo>
                    <a:pt x="10" y="3"/>
                  </a:lnTo>
                  <a:lnTo>
                    <a:pt x="2" y="5"/>
                  </a:lnTo>
                  <a:lnTo>
                    <a:pt x="0" y="5"/>
                  </a:lnTo>
                  <a:lnTo>
                    <a:pt x="0" y="5"/>
                  </a:lnTo>
                  <a:lnTo>
                    <a:pt x="0" y="5"/>
                  </a:lnTo>
                  <a:lnTo>
                    <a:pt x="0" y="8"/>
                  </a:lnTo>
                  <a:lnTo>
                    <a:pt x="0" y="8"/>
                  </a:lnTo>
                  <a:lnTo>
                    <a:pt x="0" y="8"/>
                  </a:lnTo>
                  <a:lnTo>
                    <a:pt x="0" y="8"/>
                  </a:lnTo>
                  <a:lnTo>
                    <a:pt x="2" y="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74" name="Freeform 1692">
              <a:extLst>
                <a:ext uri="{FF2B5EF4-FFF2-40B4-BE49-F238E27FC236}">
                  <a16:creationId xmlns:a16="http://schemas.microsoft.com/office/drawing/2014/main" id="{B5992494-BF18-E14E-8165-9FA43A365707}"/>
                </a:ext>
              </a:extLst>
            </p:cNvPr>
            <p:cNvSpPr>
              <a:spLocks/>
            </p:cNvSpPr>
            <p:nvPr/>
          </p:nvSpPr>
          <p:spPr bwMode="auto">
            <a:xfrm>
              <a:off x="3190980" y="2090149"/>
              <a:ext cx="11451" cy="8179"/>
            </a:xfrm>
            <a:custGeom>
              <a:avLst/>
              <a:gdLst>
                <a:gd name="T0" fmla="*/ 0 w 7"/>
                <a:gd name="T1" fmla="*/ 3 h 5"/>
                <a:gd name="T2" fmla="*/ 0 w 7"/>
                <a:gd name="T3" fmla="*/ 3 h 5"/>
                <a:gd name="T4" fmla="*/ 0 w 7"/>
                <a:gd name="T5" fmla="*/ 3 h 5"/>
                <a:gd name="T6" fmla="*/ 0 w 7"/>
                <a:gd name="T7" fmla="*/ 5 h 5"/>
                <a:gd name="T8" fmla="*/ 2 w 7"/>
                <a:gd name="T9" fmla="*/ 5 h 5"/>
                <a:gd name="T10" fmla="*/ 5 w 7"/>
                <a:gd name="T11" fmla="*/ 5 h 5"/>
                <a:gd name="T12" fmla="*/ 5 w 7"/>
                <a:gd name="T13" fmla="*/ 5 h 5"/>
                <a:gd name="T14" fmla="*/ 7 w 7"/>
                <a:gd name="T15" fmla="*/ 3 h 5"/>
                <a:gd name="T16" fmla="*/ 7 w 7"/>
                <a:gd name="T17" fmla="*/ 3 h 5"/>
                <a:gd name="T18" fmla="*/ 7 w 7"/>
                <a:gd name="T19" fmla="*/ 3 h 5"/>
                <a:gd name="T20" fmla="*/ 5 w 7"/>
                <a:gd name="T21" fmla="*/ 3 h 5"/>
                <a:gd name="T22" fmla="*/ 5 w 7"/>
                <a:gd name="T23" fmla="*/ 0 h 5"/>
                <a:gd name="T24" fmla="*/ 5 w 7"/>
                <a:gd name="T25" fmla="*/ 0 h 5"/>
                <a:gd name="T26" fmla="*/ 5 w 7"/>
                <a:gd name="T27" fmla="*/ 0 h 5"/>
                <a:gd name="T28" fmla="*/ 5 w 7"/>
                <a:gd name="T29" fmla="*/ 3 h 5"/>
                <a:gd name="T30" fmla="*/ 5 w 7"/>
                <a:gd name="T31" fmla="*/ 3 h 5"/>
                <a:gd name="T32" fmla="*/ 2 w 7"/>
                <a:gd name="T33" fmla="*/ 3 h 5"/>
                <a:gd name="T34" fmla="*/ 2 w 7"/>
                <a:gd name="T35" fmla="*/ 3 h 5"/>
                <a:gd name="T36" fmla="*/ 0 w 7"/>
                <a:gd name="T37" fmla="*/ 3 h 5"/>
                <a:gd name="T38" fmla="*/ 0 w 7"/>
                <a:gd name="T39" fmla="*/ 3 h 5"/>
                <a:gd name="T40" fmla="*/ 0 w 7"/>
                <a:gd name="T41"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 h="5">
                  <a:moveTo>
                    <a:pt x="0" y="3"/>
                  </a:moveTo>
                  <a:lnTo>
                    <a:pt x="0" y="3"/>
                  </a:lnTo>
                  <a:lnTo>
                    <a:pt x="0" y="3"/>
                  </a:lnTo>
                  <a:lnTo>
                    <a:pt x="0" y="5"/>
                  </a:lnTo>
                  <a:lnTo>
                    <a:pt x="2" y="5"/>
                  </a:lnTo>
                  <a:lnTo>
                    <a:pt x="5" y="5"/>
                  </a:lnTo>
                  <a:lnTo>
                    <a:pt x="5" y="5"/>
                  </a:lnTo>
                  <a:lnTo>
                    <a:pt x="7" y="3"/>
                  </a:lnTo>
                  <a:lnTo>
                    <a:pt x="7" y="3"/>
                  </a:lnTo>
                  <a:lnTo>
                    <a:pt x="7" y="3"/>
                  </a:lnTo>
                  <a:lnTo>
                    <a:pt x="5" y="3"/>
                  </a:lnTo>
                  <a:lnTo>
                    <a:pt x="5" y="0"/>
                  </a:lnTo>
                  <a:lnTo>
                    <a:pt x="5" y="0"/>
                  </a:lnTo>
                  <a:lnTo>
                    <a:pt x="5" y="0"/>
                  </a:lnTo>
                  <a:lnTo>
                    <a:pt x="5" y="3"/>
                  </a:lnTo>
                  <a:lnTo>
                    <a:pt x="5" y="3"/>
                  </a:lnTo>
                  <a:lnTo>
                    <a:pt x="2" y="3"/>
                  </a:lnTo>
                  <a:lnTo>
                    <a:pt x="2" y="3"/>
                  </a:lnTo>
                  <a:lnTo>
                    <a:pt x="0" y="3"/>
                  </a:lnTo>
                  <a:lnTo>
                    <a:pt x="0" y="3"/>
                  </a:lnTo>
                  <a:lnTo>
                    <a:pt x="0" y="3"/>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75" name="Freeform 1693">
              <a:extLst>
                <a:ext uri="{FF2B5EF4-FFF2-40B4-BE49-F238E27FC236}">
                  <a16:creationId xmlns:a16="http://schemas.microsoft.com/office/drawing/2014/main" id="{BEA03F7C-8D34-3949-BE2F-F961681F6FEB}"/>
                </a:ext>
              </a:extLst>
            </p:cNvPr>
            <p:cNvSpPr>
              <a:spLocks/>
            </p:cNvSpPr>
            <p:nvPr/>
          </p:nvSpPr>
          <p:spPr bwMode="auto">
            <a:xfrm>
              <a:off x="10782435" y="1694301"/>
              <a:ext cx="8179" cy="4908"/>
            </a:xfrm>
            <a:custGeom>
              <a:avLst/>
              <a:gdLst>
                <a:gd name="T0" fmla="*/ 2 w 5"/>
                <a:gd name="T1" fmla="*/ 3 h 3"/>
                <a:gd name="T2" fmla="*/ 5 w 5"/>
                <a:gd name="T3" fmla="*/ 3 h 3"/>
                <a:gd name="T4" fmla="*/ 5 w 5"/>
                <a:gd name="T5" fmla="*/ 0 h 3"/>
                <a:gd name="T6" fmla="*/ 5 w 5"/>
                <a:gd name="T7" fmla="*/ 0 h 3"/>
                <a:gd name="T8" fmla="*/ 0 w 5"/>
                <a:gd name="T9" fmla="*/ 0 h 3"/>
                <a:gd name="T10" fmla="*/ 0 w 5"/>
                <a:gd name="T11" fmla="*/ 0 h 3"/>
                <a:gd name="T12" fmla="*/ 2 w 5"/>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5" h="3">
                  <a:moveTo>
                    <a:pt x="2" y="3"/>
                  </a:moveTo>
                  <a:lnTo>
                    <a:pt x="5" y="3"/>
                  </a:lnTo>
                  <a:lnTo>
                    <a:pt x="5" y="0"/>
                  </a:lnTo>
                  <a:lnTo>
                    <a:pt x="5" y="0"/>
                  </a:lnTo>
                  <a:lnTo>
                    <a:pt x="0" y="0"/>
                  </a:lnTo>
                  <a:lnTo>
                    <a:pt x="0" y="0"/>
                  </a:lnTo>
                  <a:lnTo>
                    <a:pt x="2" y="3"/>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76" name="Freeform 1694">
              <a:extLst>
                <a:ext uri="{FF2B5EF4-FFF2-40B4-BE49-F238E27FC236}">
                  <a16:creationId xmlns:a16="http://schemas.microsoft.com/office/drawing/2014/main" id="{E291F567-92E8-2D4B-BFDD-1FFB108EA594}"/>
                </a:ext>
              </a:extLst>
            </p:cNvPr>
            <p:cNvSpPr>
              <a:spLocks/>
            </p:cNvSpPr>
            <p:nvPr/>
          </p:nvSpPr>
          <p:spPr bwMode="auto">
            <a:xfrm>
              <a:off x="10823328" y="1715566"/>
              <a:ext cx="8179" cy="4908"/>
            </a:xfrm>
            <a:custGeom>
              <a:avLst/>
              <a:gdLst>
                <a:gd name="T0" fmla="*/ 5 w 5"/>
                <a:gd name="T1" fmla="*/ 3 h 3"/>
                <a:gd name="T2" fmla="*/ 5 w 5"/>
                <a:gd name="T3" fmla="*/ 3 h 3"/>
                <a:gd name="T4" fmla="*/ 5 w 5"/>
                <a:gd name="T5" fmla="*/ 0 h 3"/>
                <a:gd name="T6" fmla="*/ 5 w 5"/>
                <a:gd name="T7" fmla="*/ 0 h 3"/>
                <a:gd name="T8" fmla="*/ 3 w 5"/>
                <a:gd name="T9" fmla="*/ 0 h 3"/>
                <a:gd name="T10" fmla="*/ 3 w 5"/>
                <a:gd name="T11" fmla="*/ 0 h 3"/>
                <a:gd name="T12" fmla="*/ 0 w 5"/>
                <a:gd name="T13" fmla="*/ 0 h 3"/>
                <a:gd name="T14" fmla="*/ 0 w 5"/>
                <a:gd name="T15" fmla="*/ 0 h 3"/>
                <a:gd name="T16" fmla="*/ 5 w 5"/>
                <a:gd name="T17"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3">
                  <a:moveTo>
                    <a:pt x="5" y="3"/>
                  </a:moveTo>
                  <a:lnTo>
                    <a:pt x="5" y="3"/>
                  </a:lnTo>
                  <a:lnTo>
                    <a:pt x="5" y="0"/>
                  </a:lnTo>
                  <a:lnTo>
                    <a:pt x="5" y="0"/>
                  </a:lnTo>
                  <a:lnTo>
                    <a:pt x="3" y="0"/>
                  </a:lnTo>
                  <a:lnTo>
                    <a:pt x="3" y="0"/>
                  </a:lnTo>
                  <a:lnTo>
                    <a:pt x="0" y="0"/>
                  </a:lnTo>
                  <a:lnTo>
                    <a:pt x="0" y="0"/>
                  </a:lnTo>
                  <a:lnTo>
                    <a:pt x="5" y="3"/>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77" name="Freeform 1695">
              <a:extLst>
                <a:ext uri="{FF2B5EF4-FFF2-40B4-BE49-F238E27FC236}">
                  <a16:creationId xmlns:a16="http://schemas.microsoft.com/office/drawing/2014/main" id="{6EF105D0-4FA0-DC48-BE6E-1DE772563143}"/>
                </a:ext>
              </a:extLst>
            </p:cNvPr>
            <p:cNvSpPr>
              <a:spLocks/>
            </p:cNvSpPr>
            <p:nvPr/>
          </p:nvSpPr>
          <p:spPr bwMode="auto">
            <a:xfrm>
              <a:off x="10828236" y="1874232"/>
              <a:ext cx="8179" cy="3271"/>
            </a:xfrm>
            <a:custGeom>
              <a:avLst/>
              <a:gdLst>
                <a:gd name="T0" fmla="*/ 2 w 5"/>
                <a:gd name="T1" fmla="*/ 0 h 2"/>
                <a:gd name="T2" fmla="*/ 0 w 5"/>
                <a:gd name="T3" fmla="*/ 0 h 2"/>
                <a:gd name="T4" fmla="*/ 0 w 5"/>
                <a:gd name="T5" fmla="*/ 2 h 2"/>
                <a:gd name="T6" fmla="*/ 2 w 5"/>
                <a:gd name="T7" fmla="*/ 2 h 2"/>
                <a:gd name="T8" fmla="*/ 2 w 5"/>
                <a:gd name="T9" fmla="*/ 2 h 2"/>
                <a:gd name="T10" fmla="*/ 5 w 5"/>
                <a:gd name="T11" fmla="*/ 2 h 2"/>
                <a:gd name="T12" fmla="*/ 5 w 5"/>
                <a:gd name="T13" fmla="*/ 2 h 2"/>
                <a:gd name="T14" fmla="*/ 5 w 5"/>
                <a:gd name="T15" fmla="*/ 2 h 2"/>
                <a:gd name="T16" fmla="*/ 5 w 5"/>
                <a:gd name="T17" fmla="*/ 2 h 2"/>
                <a:gd name="T18" fmla="*/ 2 w 5"/>
                <a:gd name="T19" fmla="*/ 0 h 2"/>
                <a:gd name="T20" fmla="*/ 2 w 5"/>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 h="2">
                  <a:moveTo>
                    <a:pt x="2" y="0"/>
                  </a:moveTo>
                  <a:lnTo>
                    <a:pt x="0" y="0"/>
                  </a:lnTo>
                  <a:lnTo>
                    <a:pt x="0" y="2"/>
                  </a:lnTo>
                  <a:lnTo>
                    <a:pt x="2" y="2"/>
                  </a:lnTo>
                  <a:lnTo>
                    <a:pt x="2" y="2"/>
                  </a:lnTo>
                  <a:lnTo>
                    <a:pt x="5" y="2"/>
                  </a:lnTo>
                  <a:lnTo>
                    <a:pt x="5" y="2"/>
                  </a:lnTo>
                  <a:lnTo>
                    <a:pt x="5" y="2"/>
                  </a:lnTo>
                  <a:lnTo>
                    <a:pt x="5" y="2"/>
                  </a:lnTo>
                  <a:lnTo>
                    <a:pt x="2" y="0"/>
                  </a:lnTo>
                  <a:lnTo>
                    <a:pt x="2"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78" name="Freeform 1696">
              <a:extLst>
                <a:ext uri="{FF2B5EF4-FFF2-40B4-BE49-F238E27FC236}">
                  <a16:creationId xmlns:a16="http://schemas.microsoft.com/office/drawing/2014/main" id="{2EF229E8-B959-3342-A965-B7E5860DF97B}"/>
                </a:ext>
              </a:extLst>
            </p:cNvPr>
            <p:cNvSpPr>
              <a:spLocks/>
            </p:cNvSpPr>
            <p:nvPr/>
          </p:nvSpPr>
          <p:spPr bwMode="auto">
            <a:xfrm>
              <a:off x="10710463" y="1877504"/>
              <a:ext cx="8179" cy="4908"/>
            </a:xfrm>
            <a:custGeom>
              <a:avLst/>
              <a:gdLst>
                <a:gd name="T0" fmla="*/ 3 w 5"/>
                <a:gd name="T1" fmla="*/ 3 h 3"/>
                <a:gd name="T2" fmla="*/ 5 w 5"/>
                <a:gd name="T3" fmla="*/ 3 h 3"/>
                <a:gd name="T4" fmla="*/ 5 w 5"/>
                <a:gd name="T5" fmla="*/ 3 h 3"/>
                <a:gd name="T6" fmla="*/ 5 w 5"/>
                <a:gd name="T7" fmla="*/ 0 h 3"/>
                <a:gd name="T8" fmla="*/ 0 w 5"/>
                <a:gd name="T9" fmla="*/ 0 h 3"/>
                <a:gd name="T10" fmla="*/ 0 w 5"/>
                <a:gd name="T11" fmla="*/ 0 h 3"/>
                <a:gd name="T12" fmla="*/ 0 w 5"/>
                <a:gd name="T13" fmla="*/ 3 h 3"/>
                <a:gd name="T14" fmla="*/ 3 w 5"/>
                <a:gd name="T15" fmla="*/ 3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3">
                  <a:moveTo>
                    <a:pt x="3" y="3"/>
                  </a:moveTo>
                  <a:lnTo>
                    <a:pt x="5" y="3"/>
                  </a:lnTo>
                  <a:lnTo>
                    <a:pt x="5" y="3"/>
                  </a:lnTo>
                  <a:lnTo>
                    <a:pt x="5" y="0"/>
                  </a:lnTo>
                  <a:lnTo>
                    <a:pt x="0" y="0"/>
                  </a:lnTo>
                  <a:lnTo>
                    <a:pt x="0" y="0"/>
                  </a:lnTo>
                  <a:lnTo>
                    <a:pt x="0" y="3"/>
                  </a:lnTo>
                  <a:lnTo>
                    <a:pt x="3" y="3"/>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79" name="Freeform 1697">
              <a:extLst>
                <a:ext uri="{FF2B5EF4-FFF2-40B4-BE49-F238E27FC236}">
                  <a16:creationId xmlns:a16="http://schemas.microsoft.com/office/drawing/2014/main" id="{91D250AD-A253-6E40-8992-1F3934A00955}"/>
                </a:ext>
              </a:extLst>
            </p:cNvPr>
            <p:cNvSpPr>
              <a:spLocks/>
            </p:cNvSpPr>
            <p:nvPr/>
          </p:nvSpPr>
          <p:spPr bwMode="auto">
            <a:xfrm>
              <a:off x="3390540" y="2160487"/>
              <a:ext cx="4908" cy="0"/>
            </a:xfrm>
            <a:custGeom>
              <a:avLst/>
              <a:gdLst>
                <a:gd name="T0" fmla="*/ 0 w 3"/>
                <a:gd name="T1" fmla="*/ 0 w 3"/>
                <a:gd name="T2" fmla="*/ 3 w 3"/>
                <a:gd name="T3" fmla="*/ 0 w 3"/>
                <a:gd name="T4" fmla="*/ 0 w 3"/>
                <a:gd name="T5" fmla="*/ 0 w 3"/>
                <a:gd name="T6" fmla="*/ 0 w 3"/>
                <a:gd name="T7" fmla="*/ 0 w 3"/>
              </a:gdLst>
              <a:ahLst/>
              <a:cxnLst>
                <a:cxn ang="0">
                  <a:pos x="T0" y="0"/>
                </a:cxn>
                <a:cxn ang="0">
                  <a:pos x="T1" y="0"/>
                </a:cxn>
                <a:cxn ang="0">
                  <a:pos x="T2" y="0"/>
                </a:cxn>
                <a:cxn ang="0">
                  <a:pos x="T3" y="0"/>
                </a:cxn>
                <a:cxn ang="0">
                  <a:pos x="T4" y="0"/>
                </a:cxn>
                <a:cxn ang="0">
                  <a:pos x="T5" y="0"/>
                </a:cxn>
                <a:cxn ang="0">
                  <a:pos x="T6" y="0"/>
                </a:cxn>
                <a:cxn ang="0">
                  <a:pos x="T7" y="0"/>
                </a:cxn>
              </a:cxnLst>
              <a:rect l="0" t="0" r="r" b="b"/>
              <a:pathLst>
                <a:path w="3">
                  <a:moveTo>
                    <a:pt x="0" y="0"/>
                  </a:moveTo>
                  <a:lnTo>
                    <a:pt x="0" y="0"/>
                  </a:lnTo>
                  <a:lnTo>
                    <a:pt x="3" y="0"/>
                  </a:lnTo>
                  <a:lnTo>
                    <a:pt x="0" y="0"/>
                  </a:lnTo>
                  <a:lnTo>
                    <a:pt x="0" y="0"/>
                  </a:lnTo>
                  <a:lnTo>
                    <a:pt x="0" y="0"/>
                  </a:lnTo>
                  <a:lnTo>
                    <a:pt x="0" y="0"/>
                  </a:lnTo>
                  <a:lnTo>
                    <a:pt x="0"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80" name="Freeform 1698">
              <a:extLst>
                <a:ext uri="{FF2B5EF4-FFF2-40B4-BE49-F238E27FC236}">
                  <a16:creationId xmlns:a16="http://schemas.microsoft.com/office/drawing/2014/main" id="{635EBD84-E03F-9947-B713-4BA731321B5D}"/>
                </a:ext>
              </a:extLst>
            </p:cNvPr>
            <p:cNvSpPr>
              <a:spLocks/>
            </p:cNvSpPr>
            <p:nvPr/>
          </p:nvSpPr>
          <p:spPr bwMode="auto">
            <a:xfrm>
              <a:off x="3186074" y="2073792"/>
              <a:ext cx="4908" cy="8179"/>
            </a:xfrm>
            <a:custGeom>
              <a:avLst/>
              <a:gdLst>
                <a:gd name="T0" fmla="*/ 0 w 3"/>
                <a:gd name="T1" fmla="*/ 5 h 5"/>
                <a:gd name="T2" fmla="*/ 0 w 3"/>
                <a:gd name="T3" fmla="*/ 5 h 5"/>
                <a:gd name="T4" fmla="*/ 0 w 3"/>
                <a:gd name="T5" fmla="*/ 5 h 5"/>
                <a:gd name="T6" fmla="*/ 3 w 3"/>
                <a:gd name="T7" fmla="*/ 5 h 5"/>
                <a:gd name="T8" fmla="*/ 3 w 3"/>
                <a:gd name="T9" fmla="*/ 5 h 5"/>
                <a:gd name="T10" fmla="*/ 3 w 3"/>
                <a:gd name="T11" fmla="*/ 5 h 5"/>
                <a:gd name="T12" fmla="*/ 3 w 3"/>
                <a:gd name="T13" fmla="*/ 3 h 5"/>
                <a:gd name="T14" fmla="*/ 3 w 3"/>
                <a:gd name="T15" fmla="*/ 3 h 5"/>
                <a:gd name="T16" fmla="*/ 3 w 3"/>
                <a:gd name="T17" fmla="*/ 3 h 5"/>
                <a:gd name="T18" fmla="*/ 3 w 3"/>
                <a:gd name="T19" fmla="*/ 0 h 5"/>
                <a:gd name="T20" fmla="*/ 3 w 3"/>
                <a:gd name="T21" fmla="*/ 3 h 5"/>
                <a:gd name="T22" fmla="*/ 0 w 3"/>
                <a:gd name="T23" fmla="*/ 3 h 5"/>
                <a:gd name="T24" fmla="*/ 0 w 3"/>
                <a:gd name="T25" fmla="*/ 3 h 5"/>
                <a:gd name="T26" fmla="*/ 0 w 3"/>
                <a:gd name="T2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 h="5">
                  <a:moveTo>
                    <a:pt x="0" y="5"/>
                  </a:moveTo>
                  <a:lnTo>
                    <a:pt x="0" y="5"/>
                  </a:lnTo>
                  <a:lnTo>
                    <a:pt x="0" y="5"/>
                  </a:lnTo>
                  <a:lnTo>
                    <a:pt x="3" y="5"/>
                  </a:lnTo>
                  <a:lnTo>
                    <a:pt x="3" y="5"/>
                  </a:lnTo>
                  <a:lnTo>
                    <a:pt x="3" y="5"/>
                  </a:lnTo>
                  <a:lnTo>
                    <a:pt x="3" y="3"/>
                  </a:lnTo>
                  <a:lnTo>
                    <a:pt x="3" y="3"/>
                  </a:lnTo>
                  <a:lnTo>
                    <a:pt x="3" y="3"/>
                  </a:lnTo>
                  <a:lnTo>
                    <a:pt x="3" y="0"/>
                  </a:lnTo>
                  <a:lnTo>
                    <a:pt x="3" y="3"/>
                  </a:lnTo>
                  <a:lnTo>
                    <a:pt x="0" y="3"/>
                  </a:lnTo>
                  <a:lnTo>
                    <a:pt x="0" y="3"/>
                  </a:lnTo>
                  <a:lnTo>
                    <a:pt x="0" y="5"/>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81" name="Freeform 1699">
              <a:extLst>
                <a:ext uri="{FF2B5EF4-FFF2-40B4-BE49-F238E27FC236}">
                  <a16:creationId xmlns:a16="http://schemas.microsoft.com/office/drawing/2014/main" id="{40C0F691-4F33-034E-9B74-13FB1DEAEB15}"/>
                </a:ext>
              </a:extLst>
            </p:cNvPr>
            <p:cNvSpPr>
              <a:spLocks/>
            </p:cNvSpPr>
            <p:nvPr/>
          </p:nvSpPr>
          <p:spPr bwMode="auto">
            <a:xfrm>
              <a:off x="3186074" y="2081971"/>
              <a:ext cx="0" cy="4908"/>
            </a:xfrm>
            <a:custGeom>
              <a:avLst/>
              <a:gdLst>
                <a:gd name="T0" fmla="*/ 3 h 3"/>
                <a:gd name="T1" fmla="*/ 3 h 3"/>
                <a:gd name="T2" fmla="*/ 3 h 3"/>
                <a:gd name="T3" fmla="*/ 3 h 3"/>
                <a:gd name="T4" fmla="*/ 3 h 3"/>
                <a:gd name="T5" fmla="*/ 3 h 3"/>
                <a:gd name="T6" fmla="*/ 0 h 3"/>
                <a:gd name="T7" fmla="*/ 0 h 3"/>
                <a:gd name="T8" fmla="*/ 3 h 3"/>
                <a:gd name="T9" fmla="*/ 3 h 3"/>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Lst>
              <a:rect l="0" t="0" r="r" b="b"/>
              <a:pathLst>
                <a:path h="3">
                  <a:moveTo>
                    <a:pt x="0" y="3"/>
                  </a:moveTo>
                  <a:lnTo>
                    <a:pt x="0" y="3"/>
                  </a:lnTo>
                  <a:lnTo>
                    <a:pt x="0" y="3"/>
                  </a:lnTo>
                  <a:lnTo>
                    <a:pt x="0" y="3"/>
                  </a:lnTo>
                  <a:lnTo>
                    <a:pt x="0" y="3"/>
                  </a:lnTo>
                  <a:lnTo>
                    <a:pt x="0" y="3"/>
                  </a:lnTo>
                  <a:lnTo>
                    <a:pt x="0" y="0"/>
                  </a:lnTo>
                  <a:lnTo>
                    <a:pt x="0" y="0"/>
                  </a:lnTo>
                  <a:lnTo>
                    <a:pt x="0" y="3"/>
                  </a:lnTo>
                  <a:lnTo>
                    <a:pt x="0" y="3"/>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82" name="Freeform 1700">
              <a:extLst>
                <a:ext uri="{FF2B5EF4-FFF2-40B4-BE49-F238E27FC236}">
                  <a16:creationId xmlns:a16="http://schemas.microsoft.com/office/drawing/2014/main" id="{F35C5F72-0556-D94C-9D63-9AEB44CAF63C}"/>
                </a:ext>
              </a:extLst>
            </p:cNvPr>
            <p:cNvSpPr>
              <a:spLocks/>
            </p:cNvSpPr>
            <p:nvPr/>
          </p:nvSpPr>
          <p:spPr bwMode="auto">
            <a:xfrm>
              <a:off x="1290254" y="1769545"/>
              <a:ext cx="3271" cy="4908"/>
            </a:xfrm>
            <a:custGeom>
              <a:avLst/>
              <a:gdLst>
                <a:gd name="T0" fmla="*/ 0 w 2"/>
                <a:gd name="T1" fmla="*/ 0 h 3"/>
                <a:gd name="T2" fmla="*/ 0 w 2"/>
                <a:gd name="T3" fmla="*/ 3 h 3"/>
                <a:gd name="T4" fmla="*/ 0 w 2"/>
                <a:gd name="T5" fmla="*/ 3 h 3"/>
                <a:gd name="T6" fmla="*/ 0 w 2"/>
                <a:gd name="T7" fmla="*/ 3 h 3"/>
                <a:gd name="T8" fmla="*/ 0 w 2"/>
                <a:gd name="T9" fmla="*/ 3 h 3"/>
                <a:gd name="T10" fmla="*/ 2 w 2"/>
                <a:gd name="T11" fmla="*/ 0 h 3"/>
                <a:gd name="T12" fmla="*/ 0 w 2"/>
                <a:gd name="T13" fmla="*/ 0 h 3"/>
                <a:gd name="T14" fmla="*/ 0 w 2"/>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3">
                  <a:moveTo>
                    <a:pt x="0" y="0"/>
                  </a:moveTo>
                  <a:lnTo>
                    <a:pt x="0" y="3"/>
                  </a:lnTo>
                  <a:lnTo>
                    <a:pt x="0" y="3"/>
                  </a:lnTo>
                  <a:lnTo>
                    <a:pt x="0" y="3"/>
                  </a:lnTo>
                  <a:lnTo>
                    <a:pt x="0" y="3"/>
                  </a:lnTo>
                  <a:lnTo>
                    <a:pt x="2" y="0"/>
                  </a:lnTo>
                  <a:lnTo>
                    <a:pt x="0" y="0"/>
                  </a:lnTo>
                  <a:lnTo>
                    <a:pt x="0"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83" name="Freeform 1701">
              <a:extLst>
                <a:ext uri="{FF2B5EF4-FFF2-40B4-BE49-F238E27FC236}">
                  <a16:creationId xmlns:a16="http://schemas.microsoft.com/office/drawing/2014/main" id="{56ED7019-EDAD-984E-A64A-24BD38E14FD9}"/>
                </a:ext>
              </a:extLst>
            </p:cNvPr>
            <p:cNvSpPr>
              <a:spLocks/>
            </p:cNvSpPr>
            <p:nvPr/>
          </p:nvSpPr>
          <p:spPr bwMode="auto">
            <a:xfrm>
              <a:off x="1255904" y="1758095"/>
              <a:ext cx="16357" cy="8179"/>
            </a:xfrm>
            <a:custGeom>
              <a:avLst/>
              <a:gdLst>
                <a:gd name="T0" fmla="*/ 8 w 10"/>
                <a:gd name="T1" fmla="*/ 5 h 5"/>
                <a:gd name="T2" fmla="*/ 8 w 10"/>
                <a:gd name="T3" fmla="*/ 5 h 5"/>
                <a:gd name="T4" fmla="*/ 8 w 10"/>
                <a:gd name="T5" fmla="*/ 2 h 5"/>
                <a:gd name="T6" fmla="*/ 10 w 10"/>
                <a:gd name="T7" fmla="*/ 2 h 5"/>
                <a:gd name="T8" fmla="*/ 10 w 10"/>
                <a:gd name="T9" fmla="*/ 0 h 5"/>
                <a:gd name="T10" fmla="*/ 10 w 10"/>
                <a:gd name="T11" fmla="*/ 0 h 5"/>
                <a:gd name="T12" fmla="*/ 8 w 10"/>
                <a:gd name="T13" fmla="*/ 2 h 5"/>
                <a:gd name="T14" fmla="*/ 8 w 10"/>
                <a:gd name="T15" fmla="*/ 2 h 5"/>
                <a:gd name="T16" fmla="*/ 8 w 10"/>
                <a:gd name="T17" fmla="*/ 2 h 5"/>
                <a:gd name="T18" fmla="*/ 8 w 10"/>
                <a:gd name="T19" fmla="*/ 2 h 5"/>
                <a:gd name="T20" fmla="*/ 8 w 10"/>
                <a:gd name="T21" fmla="*/ 0 h 5"/>
                <a:gd name="T22" fmla="*/ 8 w 10"/>
                <a:gd name="T23" fmla="*/ 0 h 5"/>
                <a:gd name="T24" fmla="*/ 8 w 10"/>
                <a:gd name="T25" fmla="*/ 0 h 5"/>
                <a:gd name="T26" fmla="*/ 8 w 10"/>
                <a:gd name="T27" fmla="*/ 0 h 5"/>
                <a:gd name="T28" fmla="*/ 5 w 10"/>
                <a:gd name="T29" fmla="*/ 2 h 5"/>
                <a:gd name="T30" fmla="*/ 5 w 10"/>
                <a:gd name="T31" fmla="*/ 2 h 5"/>
                <a:gd name="T32" fmla="*/ 3 w 10"/>
                <a:gd name="T33" fmla="*/ 5 h 5"/>
                <a:gd name="T34" fmla="*/ 0 w 10"/>
                <a:gd name="T35" fmla="*/ 5 h 5"/>
                <a:gd name="T36" fmla="*/ 3 w 10"/>
                <a:gd name="T37" fmla="*/ 5 h 5"/>
                <a:gd name="T38" fmla="*/ 3 w 10"/>
                <a:gd name="T39" fmla="*/ 5 h 5"/>
                <a:gd name="T40" fmla="*/ 5 w 10"/>
                <a:gd name="T41" fmla="*/ 5 h 5"/>
                <a:gd name="T42" fmla="*/ 8 w 10"/>
                <a:gd name="T43" fmla="*/ 5 h 5"/>
                <a:gd name="T44" fmla="*/ 8 w 10"/>
                <a:gd name="T45"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 h="5">
                  <a:moveTo>
                    <a:pt x="8" y="5"/>
                  </a:moveTo>
                  <a:lnTo>
                    <a:pt x="8" y="5"/>
                  </a:lnTo>
                  <a:lnTo>
                    <a:pt x="8" y="2"/>
                  </a:lnTo>
                  <a:lnTo>
                    <a:pt x="10" y="2"/>
                  </a:lnTo>
                  <a:lnTo>
                    <a:pt x="10" y="0"/>
                  </a:lnTo>
                  <a:lnTo>
                    <a:pt x="10" y="0"/>
                  </a:lnTo>
                  <a:lnTo>
                    <a:pt x="8" y="2"/>
                  </a:lnTo>
                  <a:lnTo>
                    <a:pt x="8" y="2"/>
                  </a:lnTo>
                  <a:lnTo>
                    <a:pt x="8" y="2"/>
                  </a:lnTo>
                  <a:lnTo>
                    <a:pt x="8" y="2"/>
                  </a:lnTo>
                  <a:lnTo>
                    <a:pt x="8" y="0"/>
                  </a:lnTo>
                  <a:lnTo>
                    <a:pt x="8" y="0"/>
                  </a:lnTo>
                  <a:lnTo>
                    <a:pt x="8" y="0"/>
                  </a:lnTo>
                  <a:lnTo>
                    <a:pt x="8" y="0"/>
                  </a:lnTo>
                  <a:lnTo>
                    <a:pt x="5" y="2"/>
                  </a:lnTo>
                  <a:lnTo>
                    <a:pt x="5" y="2"/>
                  </a:lnTo>
                  <a:lnTo>
                    <a:pt x="3" y="5"/>
                  </a:lnTo>
                  <a:lnTo>
                    <a:pt x="0" y="5"/>
                  </a:lnTo>
                  <a:lnTo>
                    <a:pt x="3" y="5"/>
                  </a:lnTo>
                  <a:lnTo>
                    <a:pt x="3" y="5"/>
                  </a:lnTo>
                  <a:lnTo>
                    <a:pt x="5" y="5"/>
                  </a:lnTo>
                  <a:lnTo>
                    <a:pt x="8" y="5"/>
                  </a:lnTo>
                  <a:lnTo>
                    <a:pt x="8" y="5"/>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84" name="Freeform 1702">
              <a:extLst>
                <a:ext uri="{FF2B5EF4-FFF2-40B4-BE49-F238E27FC236}">
                  <a16:creationId xmlns:a16="http://schemas.microsoft.com/office/drawing/2014/main" id="{BE702538-AA42-3749-B5E3-C5966A53C2A2}"/>
                </a:ext>
              </a:extLst>
            </p:cNvPr>
            <p:cNvSpPr>
              <a:spLocks/>
            </p:cNvSpPr>
            <p:nvPr/>
          </p:nvSpPr>
          <p:spPr bwMode="auto">
            <a:xfrm>
              <a:off x="1285347" y="1766274"/>
              <a:ext cx="8179" cy="3271"/>
            </a:xfrm>
            <a:custGeom>
              <a:avLst/>
              <a:gdLst>
                <a:gd name="T0" fmla="*/ 5 w 5"/>
                <a:gd name="T1" fmla="*/ 0 h 2"/>
                <a:gd name="T2" fmla="*/ 5 w 5"/>
                <a:gd name="T3" fmla="*/ 0 h 2"/>
                <a:gd name="T4" fmla="*/ 3 w 5"/>
                <a:gd name="T5" fmla="*/ 2 h 2"/>
                <a:gd name="T6" fmla="*/ 3 w 5"/>
                <a:gd name="T7" fmla="*/ 2 h 2"/>
                <a:gd name="T8" fmla="*/ 3 w 5"/>
                <a:gd name="T9" fmla="*/ 2 h 2"/>
                <a:gd name="T10" fmla="*/ 0 w 5"/>
                <a:gd name="T11" fmla="*/ 2 h 2"/>
                <a:gd name="T12" fmla="*/ 0 w 5"/>
                <a:gd name="T13" fmla="*/ 2 h 2"/>
                <a:gd name="T14" fmla="*/ 3 w 5"/>
                <a:gd name="T15" fmla="*/ 2 h 2"/>
                <a:gd name="T16" fmla="*/ 3 w 5"/>
                <a:gd name="T17" fmla="*/ 2 h 2"/>
                <a:gd name="T18" fmla="*/ 3 w 5"/>
                <a:gd name="T19" fmla="*/ 2 h 2"/>
                <a:gd name="T20" fmla="*/ 5 w 5"/>
                <a:gd name="T21" fmla="*/ 0 h 2"/>
                <a:gd name="T22" fmla="*/ 5 w 5"/>
                <a:gd name="T23" fmla="*/ 0 h 2"/>
                <a:gd name="T24" fmla="*/ 5 w 5"/>
                <a:gd name="T25" fmla="*/ 0 h 2"/>
                <a:gd name="T26" fmla="*/ 5 w 5"/>
                <a:gd name="T2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2">
                  <a:moveTo>
                    <a:pt x="5" y="0"/>
                  </a:moveTo>
                  <a:lnTo>
                    <a:pt x="5" y="0"/>
                  </a:lnTo>
                  <a:lnTo>
                    <a:pt x="3" y="2"/>
                  </a:lnTo>
                  <a:lnTo>
                    <a:pt x="3" y="2"/>
                  </a:lnTo>
                  <a:lnTo>
                    <a:pt x="3" y="2"/>
                  </a:lnTo>
                  <a:lnTo>
                    <a:pt x="0" y="2"/>
                  </a:lnTo>
                  <a:lnTo>
                    <a:pt x="0" y="2"/>
                  </a:lnTo>
                  <a:lnTo>
                    <a:pt x="3" y="2"/>
                  </a:lnTo>
                  <a:lnTo>
                    <a:pt x="3" y="2"/>
                  </a:lnTo>
                  <a:lnTo>
                    <a:pt x="3" y="2"/>
                  </a:lnTo>
                  <a:lnTo>
                    <a:pt x="5" y="0"/>
                  </a:lnTo>
                  <a:lnTo>
                    <a:pt x="5" y="0"/>
                  </a:lnTo>
                  <a:lnTo>
                    <a:pt x="5" y="0"/>
                  </a:lnTo>
                  <a:lnTo>
                    <a:pt x="5"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85" name="Freeform 1703">
              <a:extLst>
                <a:ext uri="{FF2B5EF4-FFF2-40B4-BE49-F238E27FC236}">
                  <a16:creationId xmlns:a16="http://schemas.microsoft.com/office/drawing/2014/main" id="{5CE542C1-502A-DC44-8B77-80C9EBEB08F7}"/>
                </a:ext>
              </a:extLst>
            </p:cNvPr>
            <p:cNvSpPr>
              <a:spLocks/>
            </p:cNvSpPr>
            <p:nvPr/>
          </p:nvSpPr>
          <p:spPr bwMode="auto">
            <a:xfrm>
              <a:off x="1272262" y="1761367"/>
              <a:ext cx="4908" cy="0"/>
            </a:xfrm>
            <a:custGeom>
              <a:avLst/>
              <a:gdLst>
                <a:gd name="T0" fmla="*/ 0 w 3"/>
                <a:gd name="T1" fmla="*/ 0 w 3"/>
                <a:gd name="T2" fmla="*/ 3 w 3"/>
                <a:gd name="T3" fmla="*/ 3 w 3"/>
                <a:gd name="T4" fmla="*/ 0 w 3"/>
                <a:gd name="T5" fmla="*/ 0 w 3"/>
                <a:gd name="T6" fmla="*/ 0 w 3"/>
              </a:gdLst>
              <a:ahLst/>
              <a:cxnLst>
                <a:cxn ang="0">
                  <a:pos x="T0" y="0"/>
                </a:cxn>
                <a:cxn ang="0">
                  <a:pos x="T1" y="0"/>
                </a:cxn>
                <a:cxn ang="0">
                  <a:pos x="T2" y="0"/>
                </a:cxn>
                <a:cxn ang="0">
                  <a:pos x="T3" y="0"/>
                </a:cxn>
                <a:cxn ang="0">
                  <a:pos x="T4" y="0"/>
                </a:cxn>
                <a:cxn ang="0">
                  <a:pos x="T5" y="0"/>
                </a:cxn>
                <a:cxn ang="0">
                  <a:pos x="T6" y="0"/>
                </a:cxn>
              </a:cxnLst>
              <a:rect l="0" t="0" r="r" b="b"/>
              <a:pathLst>
                <a:path w="3">
                  <a:moveTo>
                    <a:pt x="0" y="0"/>
                  </a:moveTo>
                  <a:lnTo>
                    <a:pt x="0" y="0"/>
                  </a:lnTo>
                  <a:lnTo>
                    <a:pt x="3" y="0"/>
                  </a:lnTo>
                  <a:lnTo>
                    <a:pt x="3" y="0"/>
                  </a:lnTo>
                  <a:lnTo>
                    <a:pt x="0" y="0"/>
                  </a:lnTo>
                  <a:lnTo>
                    <a:pt x="0" y="0"/>
                  </a:lnTo>
                  <a:lnTo>
                    <a:pt x="0"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86" name="Freeform 1704">
              <a:extLst>
                <a:ext uri="{FF2B5EF4-FFF2-40B4-BE49-F238E27FC236}">
                  <a16:creationId xmlns:a16="http://schemas.microsoft.com/office/drawing/2014/main" id="{EC84321F-DD1F-5F4B-AC58-08655C12E3AA}"/>
                </a:ext>
              </a:extLst>
            </p:cNvPr>
            <p:cNvSpPr>
              <a:spLocks/>
            </p:cNvSpPr>
            <p:nvPr/>
          </p:nvSpPr>
          <p:spPr bwMode="auto">
            <a:xfrm>
              <a:off x="1264082" y="1761367"/>
              <a:ext cx="26172" cy="13086"/>
            </a:xfrm>
            <a:custGeom>
              <a:avLst/>
              <a:gdLst>
                <a:gd name="T0" fmla="*/ 16 w 16"/>
                <a:gd name="T1" fmla="*/ 0 h 8"/>
                <a:gd name="T2" fmla="*/ 16 w 16"/>
                <a:gd name="T3" fmla="*/ 0 h 8"/>
                <a:gd name="T4" fmla="*/ 13 w 16"/>
                <a:gd name="T5" fmla="*/ 0 h 8"/>
                <a:gd name="T6" fmla="*/ 11 w 16"/>
                <a:gd name="T7" fmla="*/ 3 h 8"/>
                <a:gd name="T8" fmla="*/ 11 w 16"/>
                <a:gd name="T9" fmla="*/ 3 h 8"/>
                <a:gd name="T10" fmla="*/ 8 w 16"/>
                <a:gd name="T11" fmla="*/ 5 h 8"/>
                <a:gd name="T12" fmla="*/ 8 w 16"/>
                <a:gd name="T13" fmla="*/ 5 h 8"/>
                <a:gd name="T14" fmla="*/ 5 w 16"/>
                <a:gd name="T15" fmla="*/ 5 h 8"/>
                <a:gd name="T16" fmla="*/ 5 w 16"/>
                <a:gd name="T17" fmla="*/ 5 h 8"/>
                <a:gd name="T18" fmla="*/ 5 w 16"/>
                <a:gd name="T19" fmla="*/ 5 h 8"/>
                <a:gd name="T20" fmla="*/ 3 w 16"/>
                <a:gd name="T21" fmla="*/ 8 h 8"/>
                <a:gd name="T22" fmla="*/ 0 w 16"/>
                <a:gd name="T23" fmla="*/ 8 h 8"/>
                <a:gd name="T24" fmla="*/ 3 w 16"/>
                <a:gd name="T25" fmla="*/ 8 h 8"/>
                <a:gd name="T26" fmla="*/ 5 w 16"/>
                <a:gd name="T27" fmla="*/ 5 h 8"/>
                <a:gd name="T28" fmla="*/ 8 w 16"/>
                <a:gd name="T29" fmla="*/ 5 h 8"/>
                <a:gd name="T30" fmla="*/ 8 w 16"/>
                <a:gd name="T31" fmla="*/ 5 h 8"/>
                <a:gd name="T32" fmla="*/ 11 w 16"/>
                <a:gd name="T33" fmla="*/ 5 h 8"/>
                <a:gd name="T34" fmla="*/ 11 w 16"/>
                <a:gd name="T35" fmla="*/ 5 h 8"/>
                <a:gd name="T36" fmla="*/ 13 w 16"/>
                <a:gd name="T37" fmla="*/ 3 h 8"/>
                <a:gd name="T38" fmla="*/ 13 w 16"/>
                <a:gd name="T39" fmla="*/ 3 h 8"/>
                <a:gd name="T40" fmla="*/ 13 w 16"/>
                <a:gd name="T41" fmla="*/ 3 h 8"/>
                <a:gd name="T42" fmla="*/ 16 w 16"/>
                <a:gd name="T43"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 h="8">
                  <a:moveTo>
                    <a:pt x="16" y="0"/>
                  </a:moveTo>
                  <a:lnTo>
                    <a:pt x="16" y="0"/>
                  </a:lnTo>
                  <a:lnTo>
                    <a:pt x="13" y="0"/>
                  </a:lnTo>
                  <a:lnTo>
                    <a:pt x="11" y="3"/>
                  </a:lnTo>
                  <a:lnTo>
                    <a:pt x="11" y="3"/>
                  </a:lnTo>
                  <a:lnTo>
                    <a:pt x="8" y="5"/>
                  </a:lnTo>
                  <a:lnTo>
                    <a:pt x="8" y="5"/>
                  </a:lnTo>
                  <a:lnTo>
                    <a:pt x="5" y="5"/>
                  </a:lnTo>
                  <a:lnTo>
                    <a:pt x="5" y="5"/>
                  </a:lnTo>
                  <a:lnTo>
                    <a:pt x="5" y="5"/>
                  </a:lnTo>
                  <a:lnTo>
                    <a:pt x="3" y="8"/>
                  </a:lnTo>
                  <a:lnTo>
                    <a:pt x="0" y="8"/>
                  </a:lnTo>
                  <a:lnTo>
                    <a:pt x="3" y="8"/>
                  </a:lnTo>
                  <a:lnTo>
                    <a:pt x="5" y="5"/>
                  </a:lnTo>
                  <a:lnTo>
                    <a:pt x="8" y="5"/>
                  </a:lnTo>
                  <a:lnTo>
                    <a:pt x="8" y="5"/>
                  </a:lnTo>
                  <a:lnTo>
                    <a:pt x="11" y="5"/>
                  </a:lnTo>
                  <a:lnTo>
                    <a:pt x="11" y="5"/>
                  </a:lnTo>
                  <a:lnTo>
                    <a:pt x="13" y="3"/>
                  </a:lnTo>
                  <a:lnTo>
                    <a:pt x="13" y="3"/>
                  </a:lnTo>
                  <a:lnTo>
                    <a:pt x="13" y="3"/>
                  </a:lnTo>
                  <a:lnTo>
                    <a:pt x="16"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87" name="Freeform 1705">
              <a:extLst>
                <a:ext uri="{FF2B5EF4-FFF2-40B4-BE49-F238E27FC236}">
                  <a16:creationId xmlns:a16="http://schemas.microsoft.com/office/drawing/2014/main" id="{E2030ED1-111F-4145-8D4F-E4965B715CC6}"/>
                </a:ext>
              </a:extLst>
            </p:cNvPr>
            <p:cNvSpPr>
              <a:spLocks/>
            </p:cNvSpPr>
            <p:nvPr/>
          </p:nvSpPr>
          <p:spPr bwMode="auto">
            <a:xfrm>
              <a:off x="1489814" y="1715566"/>
              <a:ext cx="8179" cy="4908"/>
            </a:xfrm>
            <a:custGeom>
              <a:avLst/>
              <a:gdLst>
                <a:gd name="T0" fmla="*/ 0 w 5"/>
                <a:gd name="T1" fmla="*/ 0 h 3"/>
                <a:gd name="T2" fmla="*/ 0 w 5"/>
                <a:gd name="T3" fmla="*/ 3 h 3"/>
                <a:gd name="T4" fmla="*/ 0 w 5"/>
                <a:gd name="T5" fmla="*/ 3 h 3"/>
                <a:gd name="T6" fmla="*/ 0 w 5"/>
                <a:gd name="T7" fmla="*/ 3 h 3"/>
                <a:gd name="T8" fmla="*/ 3 w 5"/>
                <a:gd name="T9" fmla="*/ 3 h 3"/>
                <a:gd name="T10" fmla="*/ 3 w 5"/>
                <a:gd name="T11" fmla="*/ 3 h 3"/>
                <a:gd name="T12" fmla="*/ 3 w 5"/>
                <a:gd name="T13" fmla="*/ 3 h 3"/>
                <a:gd name="T14" fmla="*/ 5 w 5"/>
                <a:gd name="T15" fmla="*/ 0 h 3"/>
                <a:gd name="T16" fmla="*/ 5 w 5"/>
                <a:gd name="T17" fmla="*/ 0 h 3"/>
                <a:gd name="T18" fmla="*/ 3 w 5"/>
                <a:gd name="T19" fmla="*/ 0 h 3"/>
                <a:gd name="T20" fmla="*/ 0 w 5"/>
                <a:gd name="T21"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 h="3">
                  <a:moveTo>
                    <a:pt x="0" y="0"/>
                  </a:moveTo>
                  <a:lnTo>
                    <a:pt x="0" y="3"/>
                  </a:lnTo>
                  <a:lnTo>
                    <a:pt x="0" y="3"/>
                  </a:lnTo>
                  <a:lnTo>
                    <a:pt x="0" y="3"/>
                  </a:lnTo>
                  <a:lnTo>
                    <a:pt x="3" y="3"/>
                  </a:lnTo>
                  <a:lnTo>
                    <a:pt x="3" y="3"/>
                  </a:lnTo>
                  <a:lnTo>
                    <a:pt x="3" y="3"/>
                  </a:lnTo>
                  <a:lnTo>
                    <a:pt x="5" y="0"/>
                  </a:lnTo>
                  <a:lnTo>
                    <a:pt x="5" y="0"/>
                  </a:lnTo>
                  <a:lnTo>
                    <a:pt x="3" y="0"/>
                  </a:lnTo>
                  <a:lnTo>
                    <a:pt x="0"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88" name="Freeform 1706">
              <a:extLst>
                <a:ext uri="{FF2B5EF4-FFF2-40B4-BE49-F238E27FC236}">
                  <a16:creationId xmlns:a16="http://schemas.microsoft.com/office/drawing/2014/main" id="{B2282273-0018-F64B-B64E-87F36244603C}"/>
                </a:ext>
              </a:extLst>
            </p:cNvPr>
            <p:cNvSpPr>
              <a:spLocks/>
            </p:cNvSpPr>
            <p:nvPr/>
          </p:nvSpPr>
          <p:spPr bwMode="auto">
            <a:xfrm>
              <a:off x="1473457" y="1715566"/>
              <a:ext cx="16357" cy="8179"/>
            </a:xfrm>
            <a:custGeom>
              <a:avLst/>
              <a:gdLst>
                <a:gd name="T0" fmla="*/ 5 w 10"/>
                <a:gd name="T1" fmla="*/ 3 h 5"/>
                <a:gd name="T2" fmla="*/ 2 w 10"/>
                <a:gd name="T3" fmla="*/ 3 h 5"/>
                <a:gd name="T4" fmla="*/ 0 w 10"/>
                <a:gd name="T5" fmla="*/ 3 h 5"/>
                <a:gd name="T6" fmla="*/ 0 w 10"/>
                <a:gd name="T7" fmla="*/ 5 h 5"/>
                <a:gd name="T8" fmla="*/ 0 w 10"/>
                <a:gd name="T9" fmla="*/ 5 h 5"/>
                <a:gd name="T10" fmla="*/ 0 w 10"/>
                <a:gd name="T11" fmla="*/ 5 h 5"/>
                <a:gd name="T12" fmla="*/ 2 w 10"/>
                <a:gd name="T13" fmla="*/ 5 h 5"/>
                <a:gd name="T14" fmla="*/ 7 w 10"/>
                <a:gd name="T15" fmla="*/ 3 h 5"/>
                <a:gd name="T16" fmla="*/ 7 w 10"/>
                <a:gd name="T17" fmla="*/ 0 h 5"/>
                <a:gd name="T18" fmla="*/ 10 w 10"/>
                <a:gd name="T19" fmla="*/ 0 h 5"/>
                <a:gd name="T20" fmla="*/ 7 w 10"/>
                <a:gd name="T21" fmla="*/ 0 h 5"/>
                <a:gd name="T22" fmla="*/ 5 w 10"/>
                <a:gd name="T23"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5">
                  <a:moveTo>
                    <a:pt x="5" y="3"/>
                  </a:moveTo>
                  <a:lnTo>
                    <a:pt x="2" y="3"/>
                  </a:lnTo>
                  <a:lnTo>
                    <a:pt x="0" y="3"/>
                  </a:lnTo>
                  <a:lnTo>
                    <a:pt x="0" y="5"/>
                  </a:lnTo>
                  <a:lnTo>
                    <a:pt x="0" y="5"/>
                  </a:lnTo>
                  <a:lnTo>
                    <a:pt x="0" y="5"/>
                  </a:lnTo>
                  <a:lnTo>
                    <a:pt x="2" y="5"/>
                  </a:lnTo>
                  <a:lnTo>
                    <a:pt x="7" y="3"/>
                  </a:lnTo>
                  <a:lnTo>
                    <a:pt x="7" y="0"/>
                  </a:lnTo>
                  <a:lnTo>
                    <a:pt x="10" y="0"/>
                  </a:lnTo>
                  <a:lnTo>
                    <a:pt x="7" y="0"/>
                  </a:lnTo>
                  <a:lnTo>
                    <a:pt x="5" y="3"/>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89" name="Freeform 1707">
              <a:extLst>
                <a:ext uri="{FF2B5EF4-FFF2-40B4-BE49-F238E27FC236}">
                  <a16:creationId xmlns:a16="http://schemas.microsoft.com/office/drawing/2014/main" id="{FB98E630-6979-DD4F-B829-F8F3B82CBE68}"/>
                </a:ext>
              </a:extLst>
            </p:cNvPr>
            <p:cNvSpPr>
              <a:spLocks/>
            </p:cNvSpPr>
            <p:nvPr/>
          </p:nvSpPr>
          <p:spPr bwMode="auto">
            <a:xfrm>
              <a:off x="1422749" y="1740102"/>
              <a:ext cx="8179" cy="4908"/>
            </a:xfrm>
            <a:custGeom>
              <a:avLst/>
              <a:gdLst>
                <a:gd name="T0" fmla="*/ 5 w 5"/>
                <a:gd name="T1" fmla="*/ 0 h 3"/>
                <a:gd name="T2" fmla="*/ 0 w 5"/>
                <a:gd name="T3" fmla="*/ 3 h 3"/>
                <a:gd name="T4" fmla="*/ 0 w 5"/>
                <a:gd name="T5" fmla="*/ 3 h 3"/>
                <a:gd name="T6" fmla="*/ 0 w 5"/>
                <a:gd name="T7" fmla="*/ 3 h 3"/>
                <a:gd name="T8" fmla="*/ 3 w 5"/>
                <a:gd name="T9" fmla="*/ 3 h 3"/>
                <a:gd name="T10" fmla="*/ 3 w 5"/>
                <a:gd name="T11" fmla="*/ 3 h 3"/>
                <a:gd name="T12" fmla="*/ 5 w 5"/>
                <a:gd name="T13" fmla="*/ 0 h 3"/>
                <a:gd name="T14" fmla="*/ 5 w 5"/>
                <a:gd name="T15" fmla="*/ 0 h 3"/>
                <a:gd name="T16" fmla="*/ 5 w 5"/>
                <a:gd name="T17" fmla="*/ 0 h 3"/>
                <a:gd name="T18" fmla="*/ 5 w 5"/>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3">
                  <a:moveTo>
                    <a:pt x="5" y="0"/>
                  </a:moveTo>
                  <a:lnTo>
                    <a:pt x="0" y="3"/>
                  </a:lnTo>
                  <a:lnTo>
                    <a:pt x="0" y="3"/>
                  </a:lnTo>
                  <a:lnTo>
                    <a:pt x="0" y="3"/>
                  </a:lnTo>
                  <a:lnTo>
                    <a:pt x="3" y="3"/>
                  </a:lnTo>
                  <a:lnTo>
                    <a:pt x="3" y="3"/>
                  </a:lnTo>
                  <a:lnTo>
                    <a:pt x="5" y="0"/>
                  </a:lnTo>
                  <a:lnTo>
                    <a:pt x="5" y="0"/>
                  </a:lnTo>
                  <a:lnTo>
                    <a:pt x="5" y="0"/>
                  </a:lnTo>
                  <a:lnTo>
                    <a:pt x="5"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90" name="Freeform 1708">
              <a:extLst>
                <a:ext uri="{FF2B5EF4-FFF2-40B4-BE49-F238E27FC236}">
                  <a16:creationId xmlns:a16="http://schemas.microsoft.com/office/drawing/2014/main" id="{B07B74FB-626D-2D45-8EE4-29847708F65E}"/>
                </a:ext>
              </a:extLst>
            </p:cNvPr>
            <p:cNvSpPr>
              <a:spLocks/>
            </p:cNvSpPr>
            <p:nvPr/>
          </p:nvSpPr>
          <p:spPr bwMode="auto">
            <a:xfrm>
              <a:off x="1051437" y="1812074"/>
              <a:ext cx="8179" cy="3271"/>
            </a:xfrm>
            <a:custGeom>
              <a:avLst/>
              <a:gdLst>
                <a:gd name="T0" fmla="*/ 3 w 5"/>
                <a:gd name="T1" fmla="*/ 2 h 2"/>
                <a:gd name="T2" fmla="*/ 0 w 5"/>
                <a:gd name="T3" fmla="*/ 2 h 2"/>
                <a:gd name="T4" fmla="*/ 0 w 5"/>
                <a:gd name="T5" fmla="*/ 2 h 2"/>
                <a:gd name="T6" fmla="*/ 0 w 5"/>
                <a:gd name="T7" fmla="*/ 2 h 2"/>
                <a:gd name="T8" fmla="*/ 0 w 5"/>
                <a:gd name="T9" fmla="*/ 2 h 2"/>
                <a:gd name="T10" fmla="*/ 0 w 5"/>
                <a:gd name="T11" fmla="*/ 2 h 2"/>
                <a:gd name="T12" fmla="*/ 3 w 5"/>
                <a:gd name="T13" fmla="*/ 2 h 2"/>
                <a:gd name="T14" fmla="*/ 3 w 5"/>
                <a:gd name="T15" fmla="*/ 2 h 2"/>
                <a:gd name="T16" fmla="*/ 5 w 5"/>
                <a:gd name="T17" fmla="*/ 2 h 2"/>
                <a:gd name="T18" fmla="*/ 5 w 5"/>
                <a:gd name="T19" fmla="*/ 0 h 2"/>
                <a:gd name="T20" fmla="*/ 5 w 5"/>
                <a:gd name="T21" fmla="*/ 0 h 2"/>
                <a:gd name="T22" fmla="*/ 3 w 5"/>
                <a:gd name="T23"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2">
                  <a:moveTo>
                    <a:pt x="3" y="2"/>
                  </a:moveTo>
                  <a:lnTo>
                    <a:pt x="0" y="2"/>
                  </a:lnTo>
                  <a:lnTo>
                    <a:pt x="0" y="2"/>
                  </a:lnTo>
                  <a:lnTo>
                    <a:pt x="0" y="2"/>
                  </a:lnTo>
                  <a:lnTo>
                    <a:pt x="0" y="2"/>
                  </a:lnTo>
                  <a:lnTo>
                    <a:pt x="0" y="2"/>
                  </a:lnTo>
                  <a:lnTo>
                    <a:pt x="3" y="2"/>
                  </a:lnTo>
                  <a:lnTo>
                    <a:pt x="3" y="2"/>
                  </a:lnTo>
                  <a:lnTo>
                    <a:pt x="5" y="2"/>
                  </a:lnTo>
                  <a:lnTo>
                    <a:pt x="5" y="0"/>
                  </a:lnTo>
                  <a:lnTo>
                    <a:pt x="5" y="0"/>
                  </a:lnTo>
                  <a:lnTo>
                    <a:pt x="3" y="2"/>
                  </a:lnTo>
                  <a:close/>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91" name="Freeform 1709">
              <a:extLst>
                <a:ext uri="{FF2B5EF4-FFF2-40B4-BE49-F238E27FC236}">
                  <a16:creationId xmlns:a16="http://schemas.microsoft.com/office/drawing/2014/main" id="{32328079-C265-6D45-9180-68AC2DBF7B93}"/>
                </a:ext>
              </a:extLst>
            </p:cNvPr>
            <p:cNvSpPr>
              <a:spLocks/>
            </p:cNvSpPr>
            <p:nvPr/>
          </p:nvSpPr>
          <p:spPr bwMode="auto">
            <a:xfrm>
              <a:off x="994186" y="1807168"/>
              <a:ext cx="65429" cy="24537"/>
            </a:xfrm>
            <a:custGeom>
              <a:avLst/>
              <a:gdLst>
                <a:gd name="T0" fmla="*/ 38 w 40"/>
                <a:gd name="T1" fmla="*/ 0 h 15"/>
                <a:gd name="T2" fmla="*/ 35 w 40"/>
                <a:gd name="T3" fmla="*/ 3 h 15"/>
                <a:gd name="T4" fmla="*/ 33 w 40"/>
                <a:gd name="T5" fmla="*/ 3 h 15"/>
                <a:gd name="T6" fmla="*/ 35 w 40"/>
                <a:gd name="T7" fmla="*/ 0 h 15"/>
                <a:gd name="T8" fmla="*/ 30 w 40"/>
                <a:gd name="T9" fmla="*/ 0 h 15"/>
                <a:gd name="T10" fmla="*/ 28 w 40"/>
                <a:gd name="T11" fmla="*/ 3 h 15"/>
                <a:gd name="T12" fmla="*/ 23 w 40"/>
                <a:gd name="T13" fmla="*/ 3 h 15"/>
                <a:gd name="T14" fmla="*/ 23 w 40"/>
                <a:gd name="T15" fmla="*/ 5 h 15"/>
                <a:gd name="T16" fmla="*/ 23 w 40"/>
                <a:gd name="T17" fmla="*/ 5 h 15"/>
                <a:gd name="T18" fmla="*/ 25 w 40"/>
                <a:gd name="T19" fmla="*/ 5 h 15"/>
                <a:gd name="T20" fmla="*/ 25 w 40"/>
                <a:gd name="T21" fmla="*/ 8 h 15"/>
                <a:gd name="T22" fmla="*/ 23 w 40"/>
                <a:gd name="T23" fmla="*/ 8 h 15"/>
                <a:gd name="T24" fmla="*/ 23 w 40"/>
                <a:gd name="T25" fmla="*/ 8 h 15"/>
                <a:gd name="T26" fmla="*/ 20 w 40"/>
                <a:gd name="T27" fmla="*/ 8 h 15"/>
                <a:gd name="T28" fmla="*/ 18 w 40"/>
                <a:gd name="T29" fmla="*/ 8 h 15"/>
                <a:gd name="T30" fmla="*/ 12 w 40"/>
                <a:gd name="T31" fmla="*/ 10 h 15"/>
                <a:gd name="T32" fmla="*/ 5 w 40"/>
                <a:gd name="T33" fmla="*/ 13 h 15"/>
                <a:gd name="T34" fmla="*/ 2 w 40"/>
                <a:gd name="T35" fmla="*/ 13 h 15"/>
                <a:gd name="T36" fmla="*/ 0 w 40"/>
                <a:gd name="T37" fmla="*/ 15 h 15"/>
                <a:gd name="T38" fmla="*/ 0 w 40"/>
                <a:gd name="T39" fmla="*/ 15 h 15"/>
                <a:gd name="T40" fmla="*/ 2 w 40"/>
                <a:gd name="T41" fmla="*/ 15 h 15"/>
                <a:gd name="T42" fmla="*/ 5 w 40"/>
                <a:gd name="T43" fmla="*/ 15 h 15"/>
                <a:gd name="T44" fmla="*/ 7 w 40"/>
                <a:gd name="T45" fmla="*/ 15 h 15"/>
                <a:gd name="T46" fmla="*/ 10 w 40"/>
                <a:gd name="T47" fmla="*/ 13 h 15"/>
                <a:gd name="T48" fmla="*/ 15 w 40"/>
                <a:gd name="T49" fmla="*/ 13 h 15"/>
                <a:gd name="T50" fmla="*/ 20 w 40"/>
                <a:gd name="T51" fmla="*/ 13 h 15"/>
                <a:gd name="T52" fmla="*/ 28 w 40"/>
                <a:gd name="T53" fmla="*/ 8 h 15"/>
                <a:gd name="T54" fmla="*/ 33 w 40"/>
                <a:gd name="T55" fmla="*/ 8 h 15"/>
                <a:gd name="T56" fmla="*/ 33 w 40"/>
                <a:gd name="T57" fmla="*/ 5 h 15"/>
                <a:gd name="T58" fmla="*/ 30 w 40"/>
                <a:gd name="T59" fmla="*/ 8 h 15"/>
                <a:gd name="T60" fmla="*/ 33 w 40"/>
                <a:gd name="T61" fmla="*/ 5 h 15"/>
                <a:gd name="T62" fmla="*/ 40 w 40"/>
                <a:gd name="T63" fmla="*/ 3 h 15"/>
                <a:gd name="T64" fmla="*/ 40 w 40"/>
                <a:gd name="T65"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0" h="15">
                  <a:moveTo>
                    <a:pt x="40" y="0"/>
                  </a:moveTo>
                  <a:lnTo>
                    <a:pt x="38" y="0"/>
                  </a:lnTo>
                  <a:lnTo>
                    <a:pt x="35" y="3"/>
                  </a:lnTo>
                  <a:lnTo>
                    <a:pt x="35" y="3"/>
                  </a:lnTo>
                  <a:lnTo>
                    <a:pt x="33" y="3"/>
                  </a:lnTo>
                  <a:lnTo>
                    <a:pt x="33" y="3"/>
                  </a:lnTo>
                  <a:lnTo>
                    <a:pt x="35" y="0"/>
                  </a:lnTo>
                  <a:lnTo>
                    <a:pt x="35" y="0"/>
                  </a:lnTo>
                  <a:lnTo>
                    <a:pt x="33" y="0"/>
                  </a:lnTo>
                  <a:lnTo>
                    <a:pt x="30" y="0"/>
                  </a:lnTo>
                  <a:lnTo>
                    <a:pt x="28" y="0"/>
                  </a:lnTo>
                  <a:lnTo>
                    <a:pt x="28" y="3"/>
                  </a:lnTo>
                  <a:lnTo>
                    <a:pt x="25" y="3"/>
                  </a:lnTo>
                  <a:lnTo>
                    <a:pt x="23" y="3"/>
                  </a:lnTo>
                  <a:lnTo>
                    <a:pt x="23" y="3"/>
                  </a:lnTo>
                  <a:lnTo>
                    <a:pt x="23" y="5"/>
                  </a:lnTo>
                  <a:lnTo>
                    <a:pt x="23" y="5"/>
                  </a:lnTo>
                  <a:lnTo>
                    <a:pt x="23" y="5"/>
                  </a:lnTo>
                  <a:lnTo>
                    <a:pt x="23" y="5"/>
                  </a:lnTo>
                  <a:lnTo>
                    <a:pt x="25" y="5"/>
                  </a:lnTo>
                  <a:lnTo>
                    <a:pt x="25" y="5"/>
                  </a:lnTo>
                  <a:lnTo>
                    <a:pt x="25" y="8"/>
                  </a:lnTo>
                  <a:lnTo>
                    <a:pt x="25" y="8"/>
                  </a:lnTo>
                  <a:lnTo>
                    <a:pt x="23" y="8"/>
                  </a:lnTo>
                  <a:lnTo>
                    <a:pt x="23" y="8"/>
                  </a:lnTo>
                  <a:lnTo>
                    <a:pt x="23" y="8"/>
                  </a:lnTo>
                  <a:lnTo>
                    <a:pt x="23" y="8"/>
                  </a:lnTo>
                  <a:lnTo>
                    <a:pt x="20" y="8"/>
                  </a:lnTo>
                  <a:lnTo>
                    <a:pt x="20" y="8"/>
                  </a:lnTo>
                  <a:lnTo>
                    <a:pt x="18" y="8"/>
                  </a:lnTo>
                  <a:lnTo>
                    <a:pt x="15" y="10"/>
                  </a:lnTo>
                  <a:lnTo>
                    <a:pt x="12" y="10"/>
                  </a:lnTo>
                  <a:lnTo>
                    <a:pt x="7" y="13"/>
                  </a:lnTo>
                  <a:lnTo>
                    <a:pt x="5" y="13"/>
                  </a:lnTo>
                  <a:lnTo>
                    <a:pt x="2" y="13"/>
                  </a:lnTo>
                  <a:lnTo>
                    <a:pt x="2" y="13"/>
                  </a:lnTo>
                  <a:lnTo>
                    <a:pt x="0" y="15"/>
                  </a:lnTo>
                  <a:lnTo>
                    <a:pt x="0" y="15"/>
                  </a:lnTo>
                  <a:lnTo>
                    <a:pt x="0" y="15"/>
                  </a:lnTo>
                  <a:lnTo>
                    <a:pt x="0" y="15"/>
                  </a:lnTo>
                  <a:lnTo>
                    <a:pt x="2" y="15"/>
                  </a:lnTo>
                  <a:lnTo>
                    <a:pt x="2" y="15"/>
                  </a:lnTo>
                  <a:lnTo>
                    <a:pt x="5" y="15"/>
                  </a:lnTo>
                  <a:lnTo>
                    <a:pt x="5" y="15"/>
                  </a:lnTo>
                  <a:lnTo>
                    <a:pt x="7" y="15"/>
                  </a:lnTo>
                  <a:lnTo>
                    <a:pt x="7" y="15"/>
                  </a:lnTo>
                  <a:lnTo>
                    <a:pt x="7" y="15"/>
                  </a:lnTo>
                  <a:lnTo>
                    <a:pt x="10" y="13"/>
                  </a:lnTo>
                  <a:lnTo>
                    <a:pt x="12" y="13"/>
                  </a:lnTo>
                  <a:lnTo>
                    <a:pt x="15" y="13"/>
                  </a:lnTo>
                  <a:lnTo>
                    <a:pt x="18" y="13"/>
                  </a:lnTo>
                  <a:lnTo>
                    <a:pt x="20" y="13"/>
                  </a:lnTo>
                  <a:lnTo>
                    <a:pt x="23" y="10"/>
                  </a:lnTo>
                  <a:lnTo>
                    <a:pt x="28" y="8"/>
                  </a:lnTo>
                  <a:lnTo>
                    <a:pt x="30" y="8"/>
                  </a:lnTo>
                  <a:lnTo>
                    <a:pt x="33" y="8"/>
                  </a:lnTo>
                  <a:lnTo>
                    <a:pt x="33" y="8"/>
                  </a:lnTo>
                  <a:lnTo>
                    <a:pt x="33" y="5"/>
                  </a:lnTo>
                  <a:lnTo>
                    <a:pt x="33" y="5"/>
                  </a:lnTo>
                  <a:lnTo>
                    <a:pt x="30" y="8"/>
                  </a:lnTo>
                  <a:lnTo>
                    <a:pt x="30" y="5"/>
                  </a:lnTo>
                  <a:lnTo>
                    <a:pt x="33" y="5"/>
                  </a:lnTo>
                  <a:lnTo>
                    <a:pt x="38" y="3"/>
                  </a:lnTo>
                  <a:lnTo>
                    <a:pt x="40" y="3"/>
                  </a:lnTo>
                  <a:lnTo>
                    <a:pt x="40" y="0"/>
                  </a:lnTo>
                  <a:lnTo>
                    <a:pt x="40" y="0"/>
                  </a:lnTo>
                  <a:close/>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92" name="Freeform 1710">
              <a:extLst>
                <a:ext uri="{FF2B5EF4-FFF2-40B4-BE49-F238E27FC236}">
                  <a16:creationId xmlns:a16="http://schemas.microsoft.com/office/drawing/2014/main" id="{1E979A1B-6261-EA4E-8A6C-DBB308BBCCED}"/>
                </a:ext>
              </a:extLst>
            </p:cNvPr>
            <p:cNvSpPr>
              <a:spLocks/>
            </p:cNvSpPr>
            <p:nvPr/>
          </p:nvSpPr>
          <p:spPr bwMode="auto">
            <a:xfrm>
              <a:off x="943478" y="1823525"/>
              <a:ext cx="53980" cy="21265"/>
            </a:xfrm>
            <a:custGeom>
              <a:avLst/>
              <a:gdLst>
                <a:gd name="T0" fmla="*/ 31 w 33"/>
                <a:gd name="T1" fmla="*/ 3 h 13"/>
                <a:gd name="T2" fmla="*/ 33 w 33"/>
                <a:gd name="T3" fmla="*/ 0 h 13"/>
                <a:gd name="T4" fmla="*/ 33 w 33"/>
                <a:gd name="T5" fmla="*/ 0 h 13"/>
                <a:gd name="T6" fmla="*/ 33 w 33"/>
                <a:gd name="T7" fmla="*/ 0 h 13"/>
                <a:gd name="T8" fmla="*/ 31 w 33"/>
                <a:gd name="T9" fmla="*/ 0 h 13"/>
                <a:gd name="T10" fmla="*/ 28 w 33"/>
                <a:gd name="T11" fmla="*/ 0 h 13"/>
                <a:gd name="T12" fmla="*/ 26 w 33"/>
                <a:gd name="T13" fmla="*/ 0 h 13"/>
                <a:gd name="T14" fmla="*/ 23 w 33"/>
                <a:gd name="T15" fmla="*/ 3 h 13"/>
                <a:gd name="T16" fmla="*/ 23 w 33"/>
                <a:gd name="T17" fmla="*/ 3 h 13"/>
                <a:gd name="T18" fmla="*/ 20 w 33"/>
                <a:gd name="T19" fmla="*/ 5 h 13"/>
                <a:gd name="T20" fmla="*/ 20 w 33"/>
                <a:gd name="T21" fmla="*/ 5 h 13"/>
                <a:gd name="T22" fmla="*/ 20 w 33"/>
                <a:gd name="T23" fmla="*/ 5 h 13"/>
                <a:gd name="T24" fmla="*/ 18 w 33"/>
                <a:gd name="T25" fmla="*/ 5 h 13"/>
                <a:gd name="T26" fmla="*/ 18 w 33"/>
                <a:gd name="T27" fmla="*/ 5 h 13"/>
                <a:gd name="T28" fmla="*/ 15 w 33"/>
                <a:gd name="T29" fmla="*/ 5 h 13"/>
                <a:gd name="T30" fmla="*/ 13 w 33"/>
                <a:gd name="T31" fmla="*/ 5 h 13"/>
                <a:gd name="T32" fmla="*/ 13 w 33"/>
                <a:gd name="T33" fmla="*/ 8 h 13"/>
                <a:gd name="T34" fmla="*/ 10 w 33"/>
                <a:gd name="T35" fmla="*/ 8 h 13"/>
                <a:gd name="T36" fmla="*/ 8 w 33"/>
                <a:gd name="T37" fmla="*/ 8 h 13"/>
                <a:gd name="T38" fmla="*/ 8 w 33"/>
                <a:gd name="T39" fmla="*/ 11 h 13"/>
                <a:gd name="T40" fmla="*/ 5 w 33"/>
                <a:gd name="T41" fmla="*/ 11 h 13"/>
                <a:gd name="T42" fmla="*/ 5 w 33"/>
                <a:gd name="T43" fmla="*/ 11 h 13"/>
                <a:gd name="T44" fmla="*/ 3 w 33"/>
                <a:gd name="T45" fmla="*/ 13 h 13"/>
                <a:gd name="T46" fmla="*/ 0 w 33"/>
                <a:gd name="T47" fmla="*/ 13 h 13"/>
                <a:gd name="T48" fmla="*/ 5 w 33"/>
                <a:gd name="T49" fmla="*/ 13 h 13"/>
                <a:gd name="T50" fmla="*/ 5 w 33"/>
                <a:gd name="T51" fmla="*/ 13 h 13"/>
                <a:gd name="T52" fmla="*/ 8 w 33"/>
                <a:gd name="T53" fmla="*/ 11 h 13"/>
                <a:gd name="T54" fmla="*/ 10 w 33"/>
                <a:gd name="T55" fmla="*/ 11 h 13"/>
                <a:gd name="T56" fmla="*/ 10 w 33"/>
                <a:gd name="T57" fmla="*/ 11 h 13"/>
                <a:gd name="T58" fmla="*/ 13 w 33"/>
                <a:gd name="T59" fmla="*/ 11 h 13"/>
                <a:gd name="T60" fmla="*/ 15 w 33"/>
                <a:gd name="T61" fmla="*/ 8 h 13"/>
                <a:gd name="T62" fmla="*/ 20 w 33"/>
                <a:gd name="T63" fmla="*/ 8 h 13"/>
                <a:gd name="T64" fmla="*/ 28 w 33"/>
                <a:gd name="T65" fmla="*/ 5 h 13"/>
                <a:gd name="T66" fmla="*/ 31 w 33"/>
                <a:gd name="T67" fmla="*/ 3 h 13"/>
                <a:gd name="T68" fmla="*/ 31 w 33"/>
                <a:gd name="T69" fmla="*/ 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3" h="13">
                  <a:moveTo>
                    <a:pt x="31" y="3"/>
                  </a:moveTo>
                  <a:lnTo>
                    <a:pt x="33" y="0"/>
                  </a:lnTo>
                  <a:lnTo>
                    <a:pt x="33" y="0"/>
                  </a:lnTo>
                  <a:lnTo>
                    <a:pt x="33" y="0"/>
                  </a:lnTo>
                  <a:lnTo>
                    <a:pt x="31" y="0"/>
                  </a:lnTo>
                  <a:lnTo>
                    <a:pt x="28" y="0"/>
                  </a:lnTo>
                  <a:lnTo>
                    <a:pt x="26" y="0"/>
                  </a:lnTo>
                  <a:lnTo>
                    <a:pt x="23" y="3"/>
                  </a:lnTo>
                  <a:lnTo>
                    <a:pt x="23" y="3"/>
                  </a:lnTo>
                  <a:lnTo>
                    <a:pt x="20" y="5"/>
                  </a:lnTo>
                  <a:lnTo>
                    <a:pt x="20" y="5"/>
                  </a:lnTo>
                  <a:lnTo>
                    <a:pt x="20" y="5"/>
                  </a:lnTo>
                  <a:lnTo>
                    <a:pt x="18" y="5"/>
                  </a:lnTo>
                  <a:lnTo>
                    <a:pt x="18" y="5"/>
                  </a:lnTo>
                  <a:lnTo>
                    <a:pt x="15" y="5"/>
                  </a:lnTo>
                  <a:lnTo>
                    <a:pt x="13" y="5"/>
                  </a:lnTo>
                  <a:lnTo>
                    <a:pt x="13" y="8"/>
                  </a:lnTo>
                  <a:lnTo>
                    <a:pt x="10" y="8"/>
                  </a:lnTo>
                  <a:lnTo>
                    <a:pt x="8" y="8"/>
                  </a:lnTo>
                  <a:lnTo>
                    <a:pt x="8" y="11"/>
                  </a:lnTo>
                  <a:lnTo>
                    <a:pt x="5" y="11"/>
                  </a:lnTo>
                  <a:lnTo>
                    <a:pt x="5" y="11"/>
                  </a:lnTo>
                  <a:lnTo>
                    <a:pt x="3" y="13"/>
                  </a:lnTo>
                  <a:lnTo>
                    <a:pt x="0" y="13"/>
                  </a:lnTo>
                  <a:lnTo>
                    <a:pt x="5" y="13"/>
                  </a:lnTo>
                  <a:lnTo>
                    <a:pt x="5" y="13"/>
                  </a:lnTo>
                  <a:lnTo>
                    <a:pt x="8" y="11"/>
                  </a:lnTo>
                  <a:lnTo>
                    <a:pt x="10" y="11"/>
                  </a:lnTo>
                  <a:lnTo>
                    <a:pt x="10" y="11"/>
                  </a:lnTo>
                  <a:lnTo>
                    <a:pt x="13" y="11"/>
                  </a:lnTo>
                  <a:lnTo>
                    <a:pt x="15" y="8"/>
                  </a:lnTo>
                  <a:lnTo>
                    <a:pt x="20" y="8"/>
                  </a:lnTo>
                  <a:lnTo>
                    <a:pt x="28" y="5"/>
                  </a:lnTo>
                  <a:lnTo>
                    <a:pt x="31" y="3"/>
                  </a:lnTo>
                  <a:lnTo>
                    <a:pt x="31" y="3"/>
                  </a:lnTo>
                  <a:close/>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93" name="Freeform 1711">
              <a:extLst>
                <a:ext uri="{FF2B5EF4-FFF2-40B4-BE49-F238E27FC236}">
                  <a16:creationId xmlns:a16="http://schemas.microsoft.com/office/drawing/2014/main" id="{57AA0FE2-01C5-8C4F-A3A8-2F866A0E0733}"/>
                </a:ext>
              </a:extLst>
            </p:cNvPr>
            <p:cNvSpPr>
              <a:spLocks/>
            </p:cNvSpPr>
            <p:nvPr/>
          </p:nvSpPr>
          <p:spPr bwMode="auto">
            <a:xfrm>
              <a:off x="1069430" y="1798988"/>
              <a:ext cx="11451" cy="8179"/>
            </a:xfrm>
            <a:custGeom>
              <a:avLst/>
              <a:gdLst>
                <a:gd name="T0" fmla="*/ 7 w 7"/>
                <a:gd name="T1" fmla="*/ 0 h 5"/>
                <a:gd name="T2" fmla="*/ 5 w 7"/>
                <a:gd name="T3" fmla="*/ 0 h 5"/>
                <a:gd name="T4" fmla="*/ 5 w 7"/>
                <a:gd name="T5" fmla="*/ 0 h 5"/>
                <a:gd name="T6" fmla="*/ 2 w 7"/>
                <a:gd name="T7" fmla="*/ 3 h 5"/>
                <a:gd name="T8" fmla="*/ 2 w 7"/>
                <a:gd name="T9" fmla="*/ 3 h 5"/>
                <a:gd name="T10" fmla="*/ 2 w 7"/>
                <a:gd name="T11" fmla="*/ 3 h 5"/>
                <a:gd name="T12" fmla="*/ 0 w 7"/>
                <a:gd name="T13" fmla="*/ 5 h 5"/>
                <a:gd name="T14" fmla="*/ 0 w 7"/>
                <a:gd name="T15" fmla="*/ 5 h 5"/>
                <a:gd name="T16" fmla="*/ 2 w 7"/>
                <a:gd name="T17" fmla="*/ 5 h 5"/>
                <a:gd name="T18" fmla="*/ 2 w 7"/>
                <a:gd name="T19" fmla="*/ 5 h 5"/>
                <a:gd name="T20" fmla="*/ 2 w 7"/>
                <a:gd name="T21" fmla="*/ 5 h 5"/>
                <a:gd name="T22" fmla="*/ 5 w 7"/>
                <a:gd name="T23" fmla="*/ 3 h 5"/>
                <a:gd name="T24" fmla="*/ 7 w 7"/>
                <a:gd name="T25" fmla="*/ 3 h 5"/>
                <a:gd name="T26" fmla="*/ 7 w 7"/>
                <a:gd name="T27" fmla="*/ 3 h 5"/>
                <a:gd name="T28" fmla="*/ 7 w 7"/>
                <a:gd name="T29" fmla="*/ 3 h 5"/>
                <a:gd name="T30" fmla="*/ 7 w 7"/>
                <a:gd name="T31" fmla="*/ 3 h 5"/>
                <a:gd name="T32" fmla="*/ 7 w 7"/>
                <a:gd name="T3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 h="5">
                  <a:moveTo>
                    <a:pt x="7" y="0"/>
                  </a:moveTo>
                  <a:lnTo>
                    <a:pt x="5" y="0"/>
                  </a:lnTo>
                  <a:lnTo>
                    <a:pt x="5" y="0"/>
                  </a:lnTo>
                  <a:lnTo>
                    <a:pt x="2" y="3"/>
                  </a:lnTo>
                  <a:lnTo>
                    <a:pt x="2" y="3"/>
                  </a:lnTo>
                  <a:lnTo>
                    <a:pt x="2" y="3"/>
                  </a:lnTo>
                  <a:lnTo>
                    <a:pt x="0" y="5"/>
                  </a:lnTo>
                  <a:lnTo>
                    <a:pt x="0" y="5"/>
                  </a:lnTo>
                  <a:lnTo>
                    <a:pt x="2" y="5"/>
                  </a:lnTo>
                  <a:lnTo>
                    <a:pt x="2" y="5"/>
                  </a:lnTo>
                  <a:lnTo>
                    <a:pt x="2" y="5"/>
                  </a:lnTo>
                  <a:lnTo>
                    <a:pt x="5" y="3"/>
                  </a:lnTo>
                  <a:lnTo>
                    <a:pt x="7" y="3"/>
                  </a:lnTo>
                  <a:lnTo>
                    <a:pt x="7" y="3"/>
                  </a:lnTo>
                  <a:lnTo>
                    <a:pt x="7" y="3"/>
                  </a:lnTo>
                  <a:lnTo>
                    <a:pt x="7" y="3"/>
                  </a:lnTo>
                  <a:lnTo>
                    <a:pt x="7" y="0"/>
                  </a:lnTo>
                  <a:close/>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94" name="Freeform 1712">
              <a:extLst>
                <a:ext uri="{FF2B5EF4-FFF2-40B4-BE49-F238E27FC236}">
                  <a16:creationId xmlns:a16="http://schemas.microsoft.com/office/drawing/2014/main" id="{A99A808D-8A32-0745-BC87-995260F2459A}"/>
                </a:ext>
              </a:extLst>
            </p:cNvPr>
            <p:cNvSpPr>
              <a:spLocks/>
            </p:cNvSpPr>
            <p:nvPr/>
          </p:nvSpPr>
          <p:spPr bwMode="auto">
            <a:xfrm>
              <a:off x="1118502" y="1769545"/>
              <a:ext cx="58887" cy="26172"/>
            </a:xfrm>
            <a:custGeom>
              <a:avLst/>
              <a:gdLst>
                <a:gd name="T0" fmla="*/ 36 w 36"/>
                <a:gd name="T1" fmla="*/ 8 h 16"/>
                <a:gd name="T2" fmla="*/ 36 w 36"/>
                <a:gd name="T3" fmla="*/ 8 h 16"/>
                <a:gd name="T4" fmla="*/ 36 w 36"/>
                <a:gd name="T5" fmla="*/ 8 h 16"/>
                <a:gd name="T6" fmla="*/ 33 w 36"/>
                <a:gd name="T7" fmla="*/ 8 h 16"/>
                <a:gd name="T8" fmla="*/ 33 w 36"/>
                <a:gd name="T9" fmla="*/ 5 h 16"/>
                <a:gd name="T10" fmla="*/ 33 w 36"/>
                <a:gd name="T11" fmla="*/ 5 h 16"/>
                <a:gd name="T12" fmla="*/ 36 w 36"/>
                <a:gd name="T13" fmla="*/ 3 h 16"/>
                <a:gd name="T14" fmla="*/ 36 w 36"/>
                <a:gd name="T15" fmla="*/ 3 h 16"/>
                <a:gd name="T16" fmla="*/ 36 w 36"/>
                <a:gd name="T17" fmla="*/ 0 h 16"/>
                <a:gd name="T18" fmla="*/ 36 w 36"/>
                <a:gd name="T19" fmla="*/ 0 h 16"/>
                <a:gd name="T20" fmla="*/ 33 w 36"/>
                <a:gd name="T21" fmla="*/ 0 h 16"/>
                <a:gd name="T22" fmla="*/ 31 w 36"/>
                <a:gd name="T23" fmla="*/ 0 h 16"/>
                <a:gd name="T24" fmla="*/ 26 w 36"/>
                <a:gd name="T25" fmla="*/ 3 h 16"/>
                <a:gd name="T26" fmla="*/ 21 w 36"/>
                <a:gd name="T27" fmla="*/ 3 h 16"/>
                <a:gd name="T28" fmla="*/ 18 w 36"/>
                <a:gd name="T29" fmla="*/ 3 h 16"/>
                <a:gd name="T30" fmla="*/ 18 w 36"/>
                <a:gd name="T31" fmla="*/ 3 h 16"/>
                <a:gd name="T32" fmla="*/ 15 w 36"/>
                <a:gd name="T33" fmla="*/ 5 h 16"/>
                <a:gd name="T34" fmla="*/ 8 w 36"/>
                <a:gd name="T35" fmla="*/ 8 h 16"/>
                <a:gd name="T36" fmla="*/ 8 w 36"/>
                <a:gd name="T37" fmla="*/ 8 h 16"/>
                <a:gd name="T38" fmla="*/ 3 w 36"/>
                <a:gd name="T39" fmla="*/ 10 h 16"/>
                <a:gd name="T40" fmla="*/ 3 w 36"/>
                <a:gd name="T41" fmla="*/ 10 h 16"/>
                <a:gd name="T42" fmla="*/ 3 w 36"/>
                <a:gd name="T43" fmla="*/ 10 h 16"/>
                <a:gd name="T44" fmla="*/ 0 w 36"/>
                <a:gd name="T45" fmla="*/ 13 h 16"/>
                <a:gd name="T46" fmla="*/ 0 w 36"/>
                <a:gd name="T47" fmla="*/ 16 h 16"/>
                <a:gd name="T48" fmla="*/ 0 w 36"/>
                <a:gd name="T49" fmla="*/ 16 h 16"/>
                <a:gd name="T50" fmla="*/ 3 w 36"/>
                <a:gd name="T51" fmla="*/ 16 h 16"/>
                <a:gd name="T52" fmla="*/ 5 w 36"/>
                <a:gd name="T53" fmla="*/ 13 h 16"/>
                <a:gd name="T54" fmla="*/ 8 w 36"/>
                <a:gd name="T55" fmla="*/ 13 h 16"/>
                <a:gd name="T56" fmla="*/ 10 w 36"/>
                <a:gd name="T57" fmla="*/ 13 h 16"/>
                <a:gd name="T58" fmla="*/ 13 w 36"/>
                <a:gd name="T59" fmla="*/ 10 h 16"/>
                <a:gd name="T60" fmla="*/ 15 w 36"/>
                <a:gd name="T61" fmla="*/ 10 h 16"/>
                <a:gd name="T62" fmla="*/ 18 w 36"/>
                <a:gd name="T63" fmla="*/ 10 h 16"/>
                <a:gd name="T64" fmla="*/ 26 w 36"/>
                <a:gd name="T65" fmla="*/ 10 h 16"/>
                <a:gd name="T66" fmla="*/ 28 w 36"/>
                <a:gd name="T67" fmla="*/ 10 h 16"/>
                <a:gd name="T68" fmla="*/ 33 w 36"/>
                <a:gd name="T69" fmla="*/ 8 h 16"/>
                <a:gd name="T70" fmla="*/ 36 w 36"/>
                <a:gd name="T71" fmla="*/ 8 h 16"/>
                <a:gd name="T72" fmla="*/ 36 w 36"/>
                <a:gd name="T73"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6" h="16">
                  <a:moveTo>
                    <a:pt x="36" y="8"/>
                  </a:moveTo>
                  <a:lnTo>
                    <a:pt x="36" y="8"/>
                  </a:lnTo>
                  <a:lnTo>
                    <a:pt x="36" y="8"/>
                  </a:lnTo>
                  <a:lnTo>
                    <a:pt x="33" y="8"/>
                  </a:lnTo>
                  <a:lnTo>
                    <a:pt x="33" y="5"/>
                  </a:lnTo>
                  <a:lnTo>
                    <a:pt x="33" y="5"/>
                  </a:lnTo>
                  <a:lnTo>
                    <a:pt x="36" y="3"/>
                  </a:lnTo>
                  <a:lnTo>
                    <a:pt x="36" y="3"/>
                  </a:lnTo>
                  <a:lnTo>
                    <a:pt x="36" y="0"/>
                  </a:lnTo>
                  <a:lnTo>
                    <a:pt x="36" y="0"/>
                  </a:lnTo>
                  <a:lnTo>
                    <a:pt x="33" y="0"/>
                  </a:lnTo>
                  <a:lnTo>
                    <a:pt x="31" y="0"/>
                  </a:lnTo>
                  <a:lnTo>
                    <a:pt x="26" y="3"/>
                  </a:lnTo>
                  <a:lnTo>
                    <a:pt x="21" y="3"/>
                  </a:lnTo>
                  <a:lnTo>
                    <a:pt x="18" y="3"/>
                  </a:lnTo>
                  <a:lnTo>
                    <a:pt x="18" y="3"/>
                  </a:lnTo>
                  <a:lnTo>
                    <a:pt x="15" y="5"/>
                  </a:lnTo>
                  <a:lnTo>
                    <a:pt x="8" y="8"/>
                  </a:lnTo>
                  <a:lnTo>
                    <a:pt x="8" y="8"/>
                  </a:lnTo>
                  <a:lnTo>
                    <a:pt x="3" y="10"/>
                  </a:lnTo>
                  <a:lnTo>
                    <a:pt x="3" y="10"/>
                  </a:lnTo>
                  <a:lnTo>
                    <a:pt x="3" y="10"/>
                  </a:lnTo>
                  <a:lnTo>
                    <a:pt x="0" y="13"/>
                  </a:lnTo>
                  <a:lnTo>
                    <a:pt x="0" y="16"/>
                  </a:lnTo>
                  <a:lnTo>
                    <a:pt x="0" y="16"/>
                  </a:lnTo>
                  <a:lnTo>
                    <a:pt x="3" y="16"/>
                  </a:lnTo>
                  <a:lnTo>
                    <a:pt x="5" y="13"/>
                  </a:lnTo>
                  <a:lnTo>
                    <a:pt x="8" y="13"/>
                  </a:lnTo>
                  <a:lnTo>
                    <a:pt x="10" y="13"/>
                  </a:lnTo>
                  <a:lnTo>
                    <a:pt x="13" y="10"/>
                  </a:lnTo>
                  <a:lnTo>
                    <a:pt x="15" y="10"/>
                  </a:lnTo>
                  <a:lnTo>
                    <a:pt x="18" y="10"/>
                  </a:lnTo>
                  <a:lnTo>
                    <a:pt x="26" y="10"/>
                  </a:lnTo>
                  <a:lnTo>
                    <a:pt x="28" y="10"/>
                  </a:lnTo>
                  <a:lnTo>
                    <a:pt x="33" y="8"/>
                  </a:lnTo>
                  <a:lnTo>
                    <a:pt x="36" y="8"/>
                  </a:lnTo>
                  <a:lnTo>
                    <a:pt x="36" y="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95" name="Freeform 1713">
              <a:extLst>
                <a:ext uri="{FF2B5EF4-FFF2-40B4-BE49-F238E27FC236}">
                  <a16:creationId xmlns:a16="http://schemas.microsoft.com/office/drawing/2014/main" id="{9870BE08-11C4-E64A-9725-E9A24D23FBC5}"/>
                </a:ext>
              </a:extLst>
            </p:cNvPr>
            <p:cNvSpPr>
              <a:spLocks/>
            </p:cNvSpPr>
            <p:nvPr/>
          </p:nvSpPr>
          <p:spPr bwMode="auto">
            <a:xfrm>
              <a:off x="1172481" y="1790810"/>
              <a:ext cx="8179" cy="4908"/>
            </a:xfrm>
            <a:custGeom>
              <a:avLst/>
              <a:gdLst>
                <a:gd name="T0" fmla="*/ 3 w 5"/>
                <a:gd name="T1" fmla="*/ 0 h 3"/>
                <a:gd name="T2" fmla="*/ 0 w 5"/>
                <a:gd name="T3" fmla="*/ 0 h 3"/>
                <a:gd name="T4" fmla="*/ 3 w 5"/>
                <a:gd name="T5" fmla="*/ 3 h 3"/>
                <a:gd name="T6" fmla="*/ 3 w 5"/>
                <a:gd name="T7" fmla="*/ 3 h 3"/>
                <a:gd name="T8" fmla="*/ 5 w 5"/>
                <a:gd name="T9" fmla="*/ 3 h 3"/>
                <a:gd name="T10" fmla="*/ 5 w 5"/>
                <a:gd name="T11" fmla="*/ 0 h 3"/>
                <a:gd name="T12" fmla="*/ 5 w 5"/>
                <a:gd name="T13" fmla="*/ 0 h 3"/>
                <a:gd name="T14" fmla="*/ 3 w 5"/>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3">
                  <a:moveTo>
                    <a:pt x="3" y="0"/>
                  </a:moveTo>
                  <a:lnTo>
                    <a:pt x="0" y="0"/>
                  </a:lnTo>
                  <a:lnTo>
                    <a:pt x="3" y="3"/>
                  </a:lnTo>
                  <a:lnTo>
                    <a:pt x="3" y="3"/>
                  </a:lnTo>
                  <a:lnTo>
                    <a:pt x="5" y="3"/>
                  </a:lnTo>
                  <a:lnTo>
                    <a:pt x="5" y="0"/>
                  </a:lnTo>
                  <a:lnTo>
                    <a:pt x="5" y="0"/>
                  </a:lnTo>
                  <a:lnTo>
                    <a:pt x="3"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96" name="Freeform 1714">
              <a:extLst>
                <a:ext uri="{FF2B5EF4-FFF2-40B4-BE49-F238E27FC236}">
                  <a16:creationId xmlns:a16="http://schemas.microsoft.com/office/drawing/2014/main" id="{D17EB136-FD7B-DB46-A570-F05325D44354}"/>
                </a:ext>
              </a:extLst>
            </p:cNvPr>
            <p:cNvSpPr>
              <a:spLocks/>
            </p:cNvSpPr>
            <p:nvPr/>
          </p:nvSpPr>
          <p:spPr bwMode="auto">
            <a:xfrm>
              <a:off x="1085788" y="1798988"/>
              <a:ext cx="8179" cy="4908"/>
            </a:xfrm>
            <a:custGeom>
              <a:avLst/>
              <a:gdLst>
                <a:gd name="T0" fmla="*/ 5 w 5"/>
                <a:gd name="T1" fmla="*/ 0 h 3"/>
                <a:gd name="T2" fmla="*/ 5 w 5"/>
                <a:gd name="T3" fmla="*/ 0 h 3"/>
                <a:gd name="T4" fmla="*/ 5 w 5"/>
                <a:gd name="T5" fmla="*/ 0 h 3"/>
                <a:gd name="T6" fmla="*/ 2 w 5"/>
                <a:gd name="T7" fmla="*/ 0 h 3"/>
                <a:gd name="T8" fmla="*/ 2 w 5"/>
                <a:gd name="T9" fmla="*/ 0 h 3"/>
                <a:gd name="T10" fmla="*/ 0 w 5"/>
                <a:gd name="T11" fmla="*/ 3 h 3"/>
                <a:gd name="T12" fmla="*/ 0 w 5"/>
                <a:gd name="T13" fmla="*/ 3 h 3"/>
                <a:gd name="T14" fmla="*/ 0 w 5"/>
                <a:gd name="T15" fmla="*/ 3 h 3"/>
                <a:gd name="T16" fmla="*/ 0 w 5"/>
                <a:gd name="T17" fmla="*/ 3 h 3"/>
                <a:gd name="T18" fmla="*/ 2 w 5"/>
                <a:gd name="T19" fmla="*/ 3 h 3"/>
                <a:gd name="T20" fmla="*/ 5 w 5"/>
                <a:gd name="T21" fmla="*/ 0 h 3"/>
                <a:gd name="T22" fmla="*/ 5 w 5"/>
                <a:gd name="T23" fmla="*/ 0 h 3"/>
                <a:gd name="T24" fmla="*/ 5 w 5"/>
                <a:gd name="T25"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 h="3">
                  <a:moveTo>
                    <a:pt x="5" y="0"/>
                  </a:moveTo>
                  <a:lnTo>
                    <a:pt x="5" y="0"/>
                  </a:lnTo>
                  <a:lnTo>
                    <a:pt x="5" y="0"/>
                  </a:lnTo>
                  <a:lnTo>
                    <a:pt x="2" y="0"/>
                  </a:lnTo>
                  <a:lnTo>
                    <a:pt x="2" y="0"/>
                  </a:lnTo>
                  <a:lnTo>
                    <a:pt x="0" y="3"/>
                  </a:lnTo>
                  <a:lnTo>
                    <a:pt x="0" y="3"/>
                  </a:lnTo>
                  <a:lnTo>
                    <a:pt x="0" y="3"/>
                  </a:lnTo>
                  <a:lnTo>
                    <a:pt x="0" y="3"/>
                  </a:lnTo>
                  <a:lnTo>
                    <a:pt x="2" y="3"/>
                  </a:lnTo>
                  <a:lnTo>
                    <a:pt x="5" y="0"/>
                  </a:lnTo>
                  <a:lnTo>
                    <a:pt x="5" y="0"/>
                  </a:lnTo>
                  <a:lnTo>
                    <a:pt x="5" y="0"/>
                  </a:lnTo>
                  <a:close/>
                </a:path>
              </a:pathLst>
            </a:custGeom>
            <a:grpFill/>
            <a:ln w="63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97" name="Freeform 1715">
              <a:extLst>
                <a:ext uri="{FF2B5EF4-FFF2-40B4-BE49-F238E27FC236}">
                  <a16:creationId xmlns:a16="http://schemas.microsoft.com/office/drawing/2014/main" id="{842087FA-A6D8-BF47-9BDD-3D1F57A16688}"/>
                </a:ext>
              </a:extLst>
            </p:cNvPr>
            <p:cNvSpPr>
              <a:spLocks/>
            </p:cNvSpPr>
            <p:nvPr/>
          </p:nvSpPr>
          <p:spPr bwMode="auto">
            <a:xfrm>
              <a:off x="1201924" y="1774453"/>
              <a:ext cx="8179" cy="3271"/>
            </a:xfrm>
            <a:custGeom>
              <a:avLst/>
              <a:gdLst>
                <a:gd name="T0" fmla="*/ 3 w 5"/>
                <a:gd name="T1" fmla="*/ 0 h 2"/>
                <a:gd name="T2" fmla="*/ 0 w 5"/>
                <a:gd name="T3" fmla="*/ 2 h 2"/>
                <a:gd name="T4" fmla="*/ 0 w 5"/>
                <a:gd name="T5" fmla="*/ 2 h 2"/>
                <a:gd name="T6" fmla="*/ 0 w 5"/>
                <a:gd name="T7" fmla="*/ 2 h 2"/>
                <a:gd name="T8" fmla="*/ 3 w 5"/>
                <a:gd name="T9" fmla="*/ 2 h 2"/>
                <a:gd name="T10" fmla="*/ 3 w 5"/>
                <a:gd name="T11" fmla="*/ 2 h 2"/>
                <a:gd name="T12" fmla="*/ 5 w 5"/>
                <a:gd name="T13" fmla="*/ 0 h 2"/>
                <a:gd name="T14" fmla="*/ 5 w 5"/>
                <a:gd name="T15" fmla="*/ 0 h 2"/>
                <a:gd name="T16" fmla="*/ 5 w 5"/>
                <a:gd name="T17" fmla="*/ 0 h 2"/>
                <a:gd name="T18" fmla="*/ 5 w 5"/>
                <a:gd name="T19" fmla="*/ 0 h 2"/>
                <a:gd name="T20" fmla="*/ 3 w 5"/>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 h="2">
                  <a:moveTo>
                    <a:pt x="3" y="0"/>
                  </a:moveTo>
                  <a:lnTo>
                    <a:pt x="0" y="2"/>
                  </a:lnTo>
                  <a:lnTo>
                    <a:pt x="0" y="2"/>
                  </a:lnTo>
                  <a:lnTo>
                    <a:pt x="0" y="2"/>
                  </a:lnTo>
                  <a:lnTo>
                    <a:pt x="3" y="2"/>
                  </a:lnTo>
                  <a:lnTo>
                    <a:pt x="3" y="2"/>
                  </a:lnTo>
                  <a:lnTo>
                    <a:pt x="5" y="0"/>
                  </a:lnTo>
                  <a:lnTo>
                    <a:pt x="5" y="0"/>
                  </a:lnTo>
                  <a:lnTo>
                    <a:pt x="5" y="0"/>
                  </a:lnTo>
                  <a:lnTo>
                    <a:pt x="5" y="0"/>
                  </a:lnTo>
                  <a:lnTo>
                    <a:pt x="3"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98" name="Freeform 1716">
              <a:extLst>
                <a:ext uri="{FF2B5EF4-FFF2-40B4-BE49-F238E27FC236}">
                  <a16:creationId xmlns:a16="http://schemas.microsoft.com/office/drawing/2014/main" id="{6CC827FD-1D9C-E342-958E-AF13EEC222DB}"/>
                </a:ext>
              </a:extLst>
            </p:cNvPr>
            <p:cNvSpPr>
              <a:spLocks/>
            </p:cNvSpPr>
            <p:nvPr/>
          </p:nvSpPr>
          <p:spPr bwMode="auto">
            <a:xfrm>
              <a:off x="3253138" y="2502355"/>
              <a:ext cx="13086" cy="13086"/>
            </a:xfrm>
            <a:custGeom>
              <a:avLst/>
              <a:gdLst>
                <a:gd name="T0" fmla="*/ 3 w 8"/>
                <a:gd name="T1" fmla="*/ 5 h 8"/>
                <a:gd name="T2" fmla="*/ 0 w 8"/>
                <a:gd name="T3" fmla="*/ 8 h 8"/>
                <a:gd name="T4" fmla="*/ 0 w 8"/>
                <a:gd name="T5" fmla="*/ 8 h 8"/>
                <a:gd name="T6" fmla="*/ 5 w 8"/>
                <a:gd name="T7" fmla="*/ 3 h 8"/>
                <a:gd name="T8" fmla="*/ 8 w 8"/>
                <a:gd name="T9" fmla="*/ 0 h 8"/>
                <a:gd name="T10" fmla="*/ 8 w 8"/>
                <a:gd name="T11" fmla="*/ 0 h 8"/>
                <a:gd name="T12" fmla="*/ 3 w 8"/>
                <a:gd name="T13" fmla="*/ 5 h 8"/>
              </a:gdLst>
              <a:ahLst/>
              <a:cxnLst>
                <a:cxn ang="0">
                  <a:pos x="T0" y="T1"/>
                </a:cxn>
                <a:cxn ang="0">
                  <a:pos x="T2" y="T3"/>
                </a:cxn>
                <a:cxn ang="0">
                  <a:pos x="T4" y="T5"/>
                </a:cxn>
                <a:cxn ang="0">
                  <a:pos x="T6" y="T7"/>
                </a:cxn>
                <a:cxn ang="0">
                  <a:pos x="T8" y="T9"/>
                </a:cxn>
                <a:cxn ang="0">
                  <a:pos x="T10" y="T11"/>
                </a:cxn>
                <a:cxn ang="0">
                  <a:pos x="T12" y="T13"/>
                </a:cxn>
              </a:cxnLst>
              <a:rect l="0" t="0" r="r" b="b"/>
              <a:pathLst>
                <a:path w="8" h="8">
                  <a:moveTo>
                    <a:pt x="3" y="5"/>
                  </a:moveTo>
                  <a:lnTo>
                    <a:pt x="0" y="8"/>
                  </a:lnTo>
                  <a:lnTo>
                    <a:pt x="0" y="8"/>
                  </a:lnTo>
                  <a:lnTo>
                    <a:pt x="5" y="3"/>
                  </a:lnTo>
                  <a:lnTo>
                    <a:pt x="8" y="0"/>
                  </a:lnTo>
                  <a:lnTo>
                    <a:pt x="8" y="0"/>
                  </a:lnTo>
                  <a:lnTo>
                    <a:pt x="3" y="5"/>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99" name="Freeform 1717">
              <a:extLst>
                <a:ext uri="{FF2B5EF4-FFF2-40B4-BE49-F238E27FC236}">
                  <a16:creationId xmlns:a16="http://schemas.microsoft.com/office/drawing/2014/main" id="{FC076F9D-6A49-8449-BC6E-66E726DC043A}"/>
                </a:ext>
              </a:extLst>
            </p:cNvPr>
            <p:cNvSpPr>
              <a:spLocks/>
            </p:cNvSpPr>
            <p:nvPr/>
          </p:nvSpPr>
          <p:spPr bwMode="auto">
            <a:xfrm>
              <a:off x="3007778" y="2060706"/>
              <a:ext cx="0" cy="0"/>
            </a:xfrm>
            <a:custGeom>
              <a:avLst/>
              <a:gdLst/>
              <a:ahLst/>
              <a:cxnLst>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100" name="Freeform 1718">
              <a:extLst>
                <a:ext uri="{FF2B5EF4-FFF2-40B4-BE49-F238E27FC236}">
                  <a16:creationId xmlns:a16="http://schemas.microsoft.com/office/drawing/2014/main" id="{1675E4E4-C41E-8044-B65D-6E5A0BF9E5E6}"/>
                </a:ext>
              </a:extLst>
            </p:cNvPr>
            <p:cNvSpPr>
              <a:spLocks/>
            </p:cNvSpPr>
            <p:nvPr/>
          </p:nvSpPr>
          <p:spPr bwMode="auto">
            <a:xfrm>
              <a:off x="3164808" y="2103235"/>
              <a:ext cx="9814" cy="3271"/>
            </a:xfrm>
            <a:custGeom>
              <a:avLst/>
              <a:gdLst>
                <a:gd name="T0" fmla="*/ 3 w 6"/>
                <a:gd name="T1" fmla="*/ 0 h 2"/>
                <a:gd name="T2" fmla="*/ 0 w 6"/>
                <a:gd name="T3" fmla="*/ 0 h 2"/>
                <a:gd name="T4" fmla="*/ 0 w 6"/>
                <a:gd name="T5" fmla="*/ 0 h 2"/>
                <a:gd name="T6" fmla="*/ 3 w 6"/>
                <a:gd name="T7" fmla="*/ 0 h 2"/>
                <a:gd name="T8" fmla="*/ 3 w 6"/>
                <a:gd name="T9" fmla="*/ 2 h 2"/>
                <a:gd name="T10" fmla="*/ 3 w 6"/>
                <a:gd name="T11" fmla="*/ 2 h 2"/>
                <a:gd name="T12" fmla="*/ 3 w 6"/>
                <a:gd name="T13" fmla="*/ 0 h 2"/>
                <a:gd name="T14" fmla="*/ 6 w 6"/>
                <a:gd name="T15" fmla="*/ 0 h 2"/>
                <a:gd name="T16" fmla="*/ 6 w 6"/>
                <a:gd name="T17" fmla="*/ 0 h 2"/>
                <a:gd name="T18" fmla="*/ 3 w 6"/>
                <a:gd name="T19" fmla="*/ 0 h 2"/>
                <a:gd name="T20" fmla="*/ 3 w 6"/>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 h="2">
                  <a:moveTo>
                    <a:pt x="3" y="0"/>
                  </a:moveTo>
                  <a:lnTo>
                    <a:pt x="0" y="0"/>
                  </a:lnTo>
                  <a:lnTo>
                    <a:pt x="0" y="0"/>
                  </a:lnTo>
                  <a:lnTo>
                    <a:pt x="3" y="0"/>
                  </a:lnTo>
                  <a:lnTo>
                    <a:pt x="3" y="2"/>
                  </a:lnTo>
                  <a:lnTo>
                    <a:pt x="3" y="2"/>
                  </a:lnTo>
                  <a:lnTo>
                    <a:pt x="3" y="0"/>
                  </a:lnTo>
                  <a:lnTo>
                    <a:pt x="6" y="0"/>
                  </a:lnTo>
                  <a:lnTo>
                    <a:pt x="6" y="0"/>
                  </a:lnTo>
                  <a:lnTo>
                    <a:pt x="3" y="0"/>
                  </a:lnTo>
                  <a:lnTo>
                    <a:pt x="3"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101" name="Freeform 1719">
              <a:extLst>
                <a:ext uri="{FF2B5EF4-FFF2-40B4-BE49-F238E27FC236}">
                  <a16:creationId xmlns:a16="http://schemas.microsoft.com/office/drawing/2014/main" id="{BEECC2C8-B009-0B43-839A-8DEC1DE0AC58}"/>
                </a:ext>
              </a:extLst>
            </p:cNvPr>
            <p:cNvSpPr>
              <a:spLocks/>
            </p:cNvSpPr>
            <p:nvPr/>
          </p:nvSpPr>
          <p:spPr bwMode="auto">
            <a:xfrm>
              <a:off x="3007778" y="2060706"/>
              <a:ext cx="3271" cy="0"/>
            </a:xfrm>
            <a:custGeom>
              <a:avLst/>
              <a:gdLst>
                <a:gd name="T0" fmla="*/ 2 w 2"/>
                <a:gd name="T1" fmla="*/ 2 w 2"/>
                <a:gd name="T2" fmla="*/ 2 w 2"/>
                <a:gd name="T3" fmla="*/ 2 w 2"/>
                <a:gd name="T4" fmla="*/ 0 w 2"/>
                <a:gd name="T5" fmla="*/ 0 w 2"/>
                <a:gd name="T6" fmla="*/ 2 w 2"/>
                <a:gd name="T7" fmla="*/ 2 w 2"/>
              </a:gdLst>
              <a:ahLst/>
              <a:cxnLst>
                <a:cxn ang="0">
                  <a:pos x="T0" y="0"/>
                </a:cxn>
                <a:cxn ang="0">
                  <a:pos x="T1" y="0"/>
                </a:cxn>
                <a:cxn ang="0">
                  <a:pos x="T2" y="0"/>
                </a:cxn>
                <a:cxn ang="0">
                  <a:pos x="T3" y="0"/>
                </a:cxn>
                <a:cxn ang="0">
                  <a:pos x="T4" y="0"/>
                </a:cxn>
                <a:cxn ang="0">
                  <a:pos x="T5" y="0"/>
                </a:cxn>
                <a:cxn ang="0">
                  <a:pos x="T6" y="0"/>
                </a:cxn>
                <a:cxn ang="0">
                  <a:pos x="T7" y="0"/>
                </a:cxn>
              </a:cxnLst>
              <a:rect l="0" t="0" r="r" b="b"/>
              <a:pathLst>
                <a:path w="2">
                  <a:moveTo>
                    <a:pt x="2" y="0"/>
                  </a:moveTo>
                  <a:lnTo>
                    <a:pt x="2" y="0"/>
                  </a:lnTo>
                  <a:lnTo>
                    <a:pt x="2" y="0"/>
                  </a:lnTo>
                  <a:lnTo>
                    <a:pt x="2" y="0"/>
                  </a:lnTo>
                  <a:lnTo>
                    <a:pt x="0" y="0"/>
                  </a:lnTo>
                  <a:lnTo>
                    <a:pt x="0" y="0"/>
                  </a:lnTo>
                  <a:lnTo>
                    <a:pt x="2" y="0"/>
                  </a:lnTo>
                  <a:lnTo>
                    <a:pt x="2"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102" name="Freeform 1720">
              <a:extLst>
                <a:ext uri="{FF2B5EF4-FFF2-40B4-BE49-F238E27FC236}">
                  <a16:creationId xmlns:a16="http://schemas.microsoft.com/office/drawing/2014/main" id="{FBDC2893-332D-3341-9053-E19EDC237146}"/>
                </a:ext>
              </a:extLst>
            </p:cNvPr>
            <p:cNvSpPr>
              <a:spLocks/>
            </p:cNvSpPr>
            <p:nvPr/>
          </p:nvSpPr>
          <p:spPr bwMode="auto">
            <a:xfrm>
              <a:off x="3110830" y="2127772"/>
              <a:ext cx="4908" cy="0"/>
            </a:xfrm>
            <a:custGeom>
              <a:avLst/>
              <a:gdLst>
                <a:gd name="T0" fmla="*/ 0 w 3"/>
                <a:gd name="T1" fmla="*/ 0 w 3"/>
                <a:gd name="T2" fmla="*/ 0 w 3"/>
                <a:gd name="T3" fmla="*/ 0 w 3"/>
                <a:gd name="T4" fmla="*/ 3 w 3"/>
                <a:gd name="T5" fmla="*/ 3 w 3"/>
                <a:gd name="T6" fmla="*/ 3 w 3"/>
                <a:gd name="T7" fmla="*/ 0 w 3"/>
                <a:gd name="T8" fmla="*/ 0 w 3"/>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3">
                  <a:moveTo>
                    <a:pt x="0" y="0"/>
                  </a:moveTo>
                  <a:lnTo>
                    <a:pt x="0" y="0"/>
                  </a:lnTo>
                  <a:lnTo>
                    <a:pt x="0" y="0"/>
                  </a:lnTo>
                  <a:lnTo>
                    <a:pt x="0" y="0"/>
                  </a:lnTo>
                  <a:lnTo>
                    <a:pt x="3" y="0"/>
                  </a:lnTo>
                  <a:lnTo>
                    <a:pt x="3" y="0"/>
                  </a:lnTo>
                  <a:lnTo>
                    <a:pt x="3" y="0"/>
                  </a:lnTo>
                  <a:lnTo>
                    <a:pt x="0" y="0"/>
                  </a:lnTo>
                  <a:lnTo>
                    <a:pt x="0"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103" name="Freeform 1721">
              <a:extLst>
                <a:ext uri="{FF2B5EF4-FFF2-40B4-BE49-F238E27FC236}">
                  <a16:creationId xmlns:a16="http://schemas.microsoft.com/office/drawing/2014/main" id="{0B8D4EFA-6AEC-E041-BFBB-FA4CFFBC9269}"/>
                </a:ext>
              </a:extLst>
            </p:cNvPr>
            <p:cNvSpPr>
              <a:spLocks/>
            </p:cNvSpPr>
            <p:nvPr/>
          </p:nvSpPr>
          <p:spPr bwMode="auto">
            <a:xfrm>
              <a:off x="3132094" y="2103235"/>
              <a:ext cx="8179" cy="8179"/>
            </a:xfrm>
            <a:custGeom>
              <a:avLst/>
              <a:gdLst>
                <a:gd name="T0" fmla="*/ 0 w 5"/>
                <a:gd name="T1" fmla="*/ 2 h 5"/>
                <a:gd name="T2" fmla="*/ 0 w 5"/>
                <a:gd name="T3" fmla="*/ 5 h 5"/>
                <a:gd name="T4" fmla="*/ 0 w 5"/>
                <a:gd name="T5" fmla="*/ 5 h 5"/>
                <a:gd name="T6" fmla="*/ 3 w 5"/>
                <a:gd name="T7" fmla="*/ 5 h 5"/>
                <a:gd name="T8" fmla="*/ 3 w 5"/>
                <a:gd name="T9" fmla="*/ 2 h 5"/>
                <a:gd name="T10" fmla="*/ 3 w 5"/>
                <a:gd name="T11" fmla="*/ 2 h 5"/>
                <a:gd name="T12" fmla="*/ 5 w 5"/>
                <a:gd name="T13" fmla="*/ 0 h 5"/>
                <a:gd name="T14" fmla="*/ 5 w 5"/>
                <a:gd name="T15" fmla="*/ 0 h 5"/>
                <a:gd name="T16" fmla="*/ 3 w 5"/>
                <a:gd name="T17" fmla="*/ 0 h 5"/>
                <a:gd name="T18" fmla="*/ 3 w 5"/>
                <a:gd name="T19" fmla="*/ 0 h 5"/>
                <a:gd name="T20" fmla="*/ 0 w 5"/>
                <a:gd name="T2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 h="5">
                  <a:moveTo>
                    <a:pt x="0" y="2"/>
                  </a:moveTo>
                  <a:lnTo>
                    <a:pt x="0" y="5"/>
                  </a:lnTo>
                  <a:lnTo>
                    <a:pt x="0" y="5"/>
                  </a:lnTo>
                  <a:lnTo>
                    <a:pt x="3" y="5"/>
                  </a:lnTo>
                  <a:lnTo>
                    <a:pt x="3" y="2"/>
                  </a:lnTo>
                  <a:lnTo>
                    <a:pt x="3" y="2"/>
                  </a:lnTo>
                  <a:lnTo>
                    <a:pt x="5" y="0"/>
                  </a:lnTo>
                  <a:lnTo>
                    <a:pt x="5" y="0"/>
                  </a:lnTo>
                  <a:lnTo>
                    <a:pt x="3" y="0"/>
                  </a:lnTo>
                  <a:lnTo>
                    <a:pt x="3" y="0"/>
                  </a:lnTo>
                  <a:lnTo>
                    <a:pt x="0" y="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104" name="Freeform 1722">
              <a:extLst>
                <a:ext uri="{FF2B5EF4-FFF2-40B4-BE49-F238E27FC236}">
                  <a16:creationId xmlns:a16="http://schemas.microsoft.com/office/drawing/2014/main" id="{B1B24E4E-6296-E34D-A707-847C216DB243}"/>
                </a:ext>
              </a:extLst>
            </p:cNvPr>
            <p:cNvSpPr>
              <a:spLocks/>
            </p:cNvSpPr>
            <p:nvPr/>
          </p:nvSpPr>
          <p:spPr bwMode="auto">
            <a:xfrm>
              <a:off x="3285853" y="2203016"/>
              <a:ext cx="4908" cy="3271"/>
            </a:xfrm>
            <a:custGeom>
              <a:avLst/>
              <a:gdLst>
                <a:gd name="T0" fmla="*/ 0 w 3"/>
                <a:gd name="T1" fmla="*/ 2 h 2"/>
                <a:gd name="T2" fmla="*/ 3 w 3"/>
                <a:gd name="T3" fmla="*/ 2 h 2"/>
                <a:gd name="T4" fmla="*/ 3 w 3"/>
                <a:gd name="T5" fmla="*/ 0 h 2"/>
                <a:gd name="T6" fmla="*/ 0 w 3"/>
                <a:gd name="T7" fmla="*/ 0 h 2"/>
                <a:gd name="T8" fmla="*/ 0 w 3"/>
                <a:gd name="T9" fmla="*/ 0 h 2"/>
                <a:gd name="T10" fmla="*/ 0 w 3"/>
                <a:gd name="T11" fmla="*/ 2 h 2"/>
                <a:gd name="T12" fmla="*/ 0 w 3"/>
                <a:gd name="T13" fmla="*/ 2 h 2"/>
                <a:gd name="T14" fmla="*/ 0 w 3"/>
                <a:gd name="T15" fmla="*/ 2 h 2"/>
                <a:gd name="T16" fmla="*/ 0 w 3"/>
                <a:gd name="T17" fmla="*/ 2 h 2"/>
                <a:gd name="T18" fmla="*/ 0 w 3"/>
                <a:gd name="T19"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2">
                  <a:moveTo>
                    <a:pt x="0" y="2"/>
                  </a:moveTo>
                  <a:lnTo>
                    <a:pt x="3" y="2"/>
                  </a:lnTo>
                  <a:lnTo>
                    <a:pt x="3" y="0"/>
                  </a:lnTo>
                  <a:lnTo>
                    <a:pt x="0" y="0"/>
                  </a:lnTo>
                  <a:lnTo>
                    <a:pt x="0" y="0"/>
                  </a:lnTo>
                  <a:lnTo>
                    <a:pt x="0" y="2"/>
                  </a:lnTo>
                  <a:lnTo>
                    <a:pt x="0" y="2"/>
                  </a:lnTo>
                  <a:lnTo>
                    <a:pt x="0" y="2"/>
                  </a:lnTo>
                  <a:lnTo>
                    <a:pt x="0" y="2"/>
                  </a:lnTo>
                  <a:lnTo>
                    <a:pt x="0" y="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105" name="Freeform 1723">
              <a:extLst>
                <a:ext uri="{FF2B5EF4-FFF2-40B4-BE49-F238E27FC236}">
                  <a16:creationId xmlns:a16="http://schemas.microsoft.com/office/drawing/2014/main" id="{6C2A4C1B-545F-7845-8ADC-287190794761}"/>
                </a:ext>
              </a:extLst>
            </p:cNvPr>
            <p:cNvSpPr>
              <a:spLocks/>
            </p:cNvSpPr>
            <p:nvPr/>
          </p:nvSpPr>
          <p:spPr bwMode="auto">
            <a:xfrm>
              <a:off x="3069936" y="2119593"/>
              <a:ext cx="16357" cy="21265"/>
            </a:xfrm>
            <a:custGeom>
              <a:avLst/>
              <a:gdLst>
                <a:gd name="T0" fmla="*/ 8 w 10"/>
                <a:gd name="T1" fmla="*/ 5 h 13"/>
                <a:gd name="T2" fmla="*/ 8 w 10"/>
                <a:gd name="T3" fmla="*/ 3 h 13"/>
                <a:gd name="T4" fmla="*/ 8 w 10"/>
                <a:gd name="T5" fmla="*/ 3 h 13"/>
                <a:gd name="T6" fmla="*/ 10 w 10"/>
                <a:gd name="T7" fmla="*/ 3 h 13"/>
                <a:gd name="T8" fmla="*/ 10 w 10"/>
                <a:gd name="T9" fmla="*/ 3 h 13"/>
                <a:gd name="T10" fmla="*/ 10 w 10"/>
                <a:gd name="T11" fmla="*/ 3 h 13"/>
                <a:gd name="T12" fmla="*/ 10 w 10"/>
                <a:gd name="T13" fmla="*/ 3 h 13"/>
                <a:gd name="T14" fmla="*/ 10 w 10"/>
                <a:gd name="T15" fmla="*/ 0 h 13"/>
                <a:gd name="T16" fmla="*/ 10 w 10"/>
                <a:gd name="T17" fmla="*/ 0 h 13"/>
                <a:gd name="T18" fmla="*/ 8 w 10"/>
                <a:gd name="T19" fmla="*/ 0 h 13"/>
                <a:gd name="T20" fmla="*/ 8 w 10"/>
                <a:gd name="T21" fmla="*/ 3 h 13"/>
                <a:gd name="T22" fmla="*/ 5 w 10"/>
                <a:gd name="T23" fmla="*/ 3 h 13"/>
                <a:gd name="T24" fmla="*/ 5 w 10"/>
                <a:gd name="T25" fmla="*/ 3 h 13"/>
                <a:gd name="T26" fmla="*/ 5 w 10"/>
                <a:gd name="T27" fmla="*/ 5 h 13"/>
                <a:gd name="T28" fmla="*/ 2 w 10"/>
                <a:gd name="T29" fmla="*/ 5 h 13"/>
                <a:gd name="T30" fmla="*/ 2 w 10"/>
                <a:gd name="T31" fmla="*/ 8 h 13"/>
                <a:gd name="T32" fmla="*/ 0 w 10"/>
                <a:gd name="T33" fmla="*/ 10 h 13"/>
                <a:gd name="T34" fmla="*/ 0 w 10"/>
                <a:gd name="T35" fmla="*/ 10 h 13"/>
                <a:gd name="T36" fmla="*/ 0 w 10"/>
                <a:gd name="T37" fmla="*/ 10 h 13"/>
                <a:gd name="T38" fmla="*/ 0 w 10"/>
                <a:gd name="T39" fmla="*/ 13 h 13"/>
                <a:gd name="T40" fmla="*/ 0 w 10"/>
                <a:gd name="T41" fmla="*/ 13 h 13"/>
                <a:gd name="T42" fmla="*/ 0 w 10"/>
                <a:gd name="T43" fmla="*/ 13 h 13"/>
                <a:gd name="T44" fmla="*/ 0 w 10"/>
                <a:gd name="T45" fmla="*/ 13 h 13"/>
                <a:gd name="T46" fmla="*/ 2 w 10"/>
                <a:gd name="T47" fmla="*/ 10 h 13"/>
                <a:gd name="T48" fmla="*/ 2 w 10"/>
                <a:gd name="T49" fmla="*/ 10 h 13"/>
                <a:gd name="T50" fmla="*/ 2 w 10"/>
                <a:gd name="T51" fmla="*/ 10 h 13"/>
                <a:gd name="T52" fmla="*/ 5 w 10"/>
                <a:gd name="T53" fmla="*/ 10 h 13"/>
                <a:gd name="T54" fmla="*/ 5 w 10"/>
                <a:gd name="T55" fmla="*/ 8 h 13"/>
                <a:gd name="T56" fmla="*/ 5 w 10"/>
                <a:gd name="T57" fmla="*/ 5 h 13"/>
                <a:gd name="T58" fmla="*/ 5 w 10"/>
                <a:gd name="T59" fmla="*/ 5 h 13"/>
                <a:gd name="T60" fmla="*/ 8 w 10"/>
                <a:gd name="T61" fmla="*/ 5 h 13"/>
                <a:gd name="T62" fmla="*/ 8 w 10"/>
                <a:gd name="T63" fmla="*/ 5 h 13"/>
                <a:gd name="T64" fmla="*/ 8 w 10"/>
                <a:gd name="T65" fmla="*/ 5 h 13"/>
                <a:gd name="T66" fmla="*/ 8 w 10"/>
                <a:gd name="T67" fmla="*/ 5 h 13"/>
                <a:gd name="T68" fmla="*/ 8 w 10"/>
                <a:gd name="T69" fmla="*/ 5 h 13"/>
                <a:gd name="T70" fmla="*/ 8 w 10"/>
                <a:gd name="T71" fmla="*/ 5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 h="13">
                  <a:moveTo>
                    <a:pt x="8" y="5"/>
                  </a:moveTo>
                  <a:lnTo>
                    <a:pt x="8" y="3"/>
                  </a:lnTo>
                  <a:lnTo>
                    <a:pt x="8" y="3"/>
                  </a:lnTo>
                  <a:lnTo>
                    <a:pt x="10" y="3"/>
                  </a:lnTo>
                  <a:lnTo>
                    <a:pt x="10" y="3"/>
                  </a:lnTo>
                  <a:lnTo>
                    <a:pt x="10" y="3"/>
                  </a:lnTo>
                  <a:lnTo>
                    <a:pt x="10" y="3"/>
                  </a:lnTo>
                  <a:lnTo>
                    <a:pt x="10" y="0"/>
                  </a:lnTo>
                  <a:lnTo>
                    <a:pt x="10" y="0"/>
                  </a:lnTo>
                  <a:lnTo>
                    <a:pt x="8" y="0"/>
                  </a:lnTo>
                  <a:lnTo>
                    <a:pt x="8" y="3"/>
                  </a:lnTo>
                  <a:lnTo>
                    <a:pt x="5" y="3"/>
                  </a:lnTo>
                  <a:lnTo>
                    <a:pt x="5" y="3"/>
                  </a:lnTo>
                  <a:lnTo>
                    <a:pt x="5" y="5"/>
                  </a:lnTo>
                  <a:lnTo>
                    <a:pt x="2" y="5"/>
                  </a:lnTo>
                  <a:lnTo>
                    <a:pt x="2" y="8"/>
                  </a:lnTo>
                  <a:lnTo>
                    <a:pt x="0" y="10"/>
                  </a:lnTo>
                  <a:lnTo>
                    <a:pt x="0" y="10"/>
                  </a:lnTo>
                  <a:lnTo>
                    <a:pt x="0" y="10"/>
                  </a:lnTo>
                  <a:lnTo>
                    <a:pt x="0" y="13"/>
                  </a:lnTo>
                  <a:lnTo>
                    <a:pt x="0" y="13"/>
                  </a:lnTo>
                  <a:lnTo>
                    <a:pt x="0" y="13"/>
                  </a:lnTo>
                  <a:lnTo>
                    <a:pt x="0" y="13"/>
                  </a:lnTo>
                  <a:lnTo>
                    <a:pt x="2" y="10"/>
                  </a:lnTo>
                  <a:lnTo>
                    <a:pt x="2" y="10"/>
                  </a:lnTo>
                  <a:lnTo>
                    <a:pt x="2" y="10"/>
                  </a:lnTo>
                  <a:lnTo>
                    <a:pt x="5" y="10"/>
                  </a:lnTo>
                  <a:lnTo>
                    <a:pt x="5" y="8"/>
                  </a:lnTo>
                  <a:lnTo>
                    <a:pt x="5" y="5"/>
                  </a:lnTo>
                  <a:lnTo>
                    <a:pt x="5" y="5"/>
                  </a:lnTo>
                  <a:lnTo>
                    <a:pt x="8" y="5"/>
                  </a:lnTo>
                  <a:lnTo>
                    <a:pt x="8" y="5"/>
                  </a:lnTo>
                  <a:lnTo>
                    <a:pt x="8" y="5"/>
                  </a:lnTo>
                  <a:lnTo>
                    <a:pt x="8" y="5"/>
                  </a:lnTo>
                  <a:lnTo>
                    <a:pt x="8" y="5"/>
                  </a:lnTo>
                  <a:lnTo>
                    <a:pt x="8" y="5"/>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106" name="Freeform 1724">
              <a:extLst>
                <a:ext uri="{FF2B5EF4-FFF2-40B4-BE49-F238E27FC236}">
                  <a16:creationId xmlns:a16="http://schemas.microsoft.com/office/drawing/2014/main" id="{44F08B38-27DD-D04C-B3F4-EB7BCD3A3201}"/>
                </a:ext>
              </a:extLst>
            </p:cNvPr>
            <p:cNvSpPr>
              <a:spLocks/>
            </p:cNvSpPr>
            <p:nvPr/>
          </p:nvSpPr>
          <p:spPr bwMode="auto">
            <a:xfrm>
              <a:off x="3091201" y="2114686"/>
              <a:ext cx="3271" cy="4908"/>
            </a:xfrm>
            <a:custGeom>
              <a:avLst/>
              <a:gdLst>
                <a:gd name="T0" fmla="*/ 0 w 2"/>
                <a:gd name="T1" fmla="*/ 0 h 3"/>
                <a:gd name="T2" fmla="*/ 0 w 2"/>
                <a:gd name="T3" fmla="*/ 3 h 3"/>
                <a:gd name="T4" fmla="*/ 0 w 2"/>
                <a:gd name="T5" fmla="*/ 3 h 3"/>
                <a:gd name="T6" fmla="*/ 0 w 2"/>
                <a:gd name="T7" fmla="*/ 3 h 3"/>
                <a:gd name="T8" fmla="*/ 0 w 2"/>
                <a:gd name="T9" fmla="*/ 3 h 3"/>
                <a:gd name="T10" fmla="*/ 2 w 2"/>
                <a:gd name="T11" fmla="*/ 0 h 3"/>
                <a:gd name="T12" fmla="*/ 2 w 2"/>
                <a:gd name="T13" fmla="*/ 0 h 3"/>
                <a:gd name="T14" fmla="*/ 0 w 2"/>
                <a:gd name="T15" fmla="*/ 0 h 3"/>
                <a:gd name="T16" fmla="*/ 0 w 2"/>
                <a:gd name="T17" fmla="*/ 0 h 3"/>
                <a:gd name="T18" fmla="*/ 0 w 2"/>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3">
                  <a:moveTo>
                    <a:pt x="0" y="0"/>
                  </a:moveTo>
                  <a:lnTo>
                    <a:pt x="0" y="3"/>
                  </a:lnTo>
                  <a:lnTo>
                    <a:pt x="0" y="3"/>
                  </a:lnTo>
                  <a:lnTo>
                    <a:pt x="0" y="3"/>
                  </a:lnTo>
                  <a:lnTo>
                    <a:pt x="0" y="3"/>
                  </a:lnTo>
                  <a:lnTo>
                    <a:pt x="2" y="0"/>
                  </a:lnTo>
                  <a:lnTo>
                    <a:pt x="2" y="0"/>
                  </a:lnTo>
                  <a:lnTo>
                    <a:pt x="0" y="0"/>
                  </a:lnTo>
                  <a:lnTo>
                    <a:pt x="0" y="0"/>
                  </a:lnTo>
                  <a:lnTo>
                    <a:pt x="0"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107" name="Freeform 1725">
              <a:extLst>
                <a:ext uri="{FF2B5EF4-FFF2-40B4-BE49-F238E27FC236}">
                  <a16:creationId xmlns:a16="http://schemas.microsoft.com/office/drawing/2014/main" id="{B04C0C9E-4E5E-D046-8795-2728C515523D}"/>
                </a:ext>
              </a:extLst>
            </p:cNvPr>
            <p:cNvSpPr>
              <a:spLocks/>
            </p:cNvSpPr>
            <p:nvPr/>
          </p:nvSpPr>
          <p:spPr bwMode="auto">
            <a:xfrm>
              <a:off x="3056850" y="2652843"/>
              <a:ext cx="4908" cy="8179"/>
            </a:xfrm>
            <a:custGeom>
              <a:avLst/>
              <a:gdLst>
                <a:gd name="T0" fmla="*/ 0 w 3"/>
                <a:gd name="T1" fmla="*/ 2 h 5"/>
                <a:gd name="T2" fmla="*/ 0 w 3"/>
                <a:gd name="T3" fmla="*/ 5 h 5"/>
                <a:gd name="T4" fmla="*/ 3 w 3"/>
                <a:gd name="T5" fmla="*/ 0 h 5"/>
                <a:gd name="T6" fmla="*/ 3 w 3"/>
                <a:gd name="T7" fmla="*/ 0 h 5"/>
                <a:gd name="T8" fmla="*/ 0 w 3"/>
                <a:gd name="T9" fmla="*/ 0 h 5"/>
                <a:gd name="T10" fmla="*/ 0 w 3"/>
                <a:gd name="T11" fmla="*/ 2 h 5"/>
              </a:gdLst>
              <a:ahLst/>
              <a:cxnLst>
                <a:cxn ang="0">
                  <a:pos x="T0" y="T1"/>
                </a:cxn>
                <a:cxn ang="0">
                  <a:pos x="T2" y="T3"/>
                </a:cxn>
                <a:cxn ang="0">
                  <a:pos x="T4" y="T5"/>
                </a:cxn>
                <a:cxn ang="0">
                  <a:pos x="T6" y="T7"/>
                </a:cxn>
                <a:cxn ang="0">
                  <a:pos x="T8" y="T9"/>
                </a:cxn>
                <a:cxn ang="0">
                  <a:pos x="T10" y="T11"/>
                </a:cxn>
              </a:cxnLst>
              <a:rect l="0" t="0" r="r" b="b"/>
              <a:pathLst>
                <a:path w="3" h="5">
                  <a:moveTo>
                    <a:pt x="0" y="2"/>
                  </a:moveTo>
                  <a:lnTo>
                    <a:pt x="0" y="5"/>
                  </a:lnTo>
                  <a:lnTo>
                    <a:pt x="3" y="0"/>
                  </a:lnTo>
                  <a:lnTo>
                    <a:pt x="3" y="0"/>
                  </a:lnTo>
                  <a:lnTo>
                    <a:pt x="0" y="0"/>
                  </a:lnTo>
                  <a:lnTo>
                    <a:pt x="0" y="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108" name="Freeform 1726">
              <a:extLst>
                <a:ext uri="{FF2B5EF4-FFF2-40B4-BE49-F238E27FC236}">
                  <a16:creationId xmlns:a16="http://schemas.microsoft.com/office/drawing/2014/main" id="{FF98FB8E-17CF-EC45-9815-ED2C40494966}"/>
                </a:ext>
              </a:extLst>
            </p:cNvPr>
            <p:cNvSpPr>
              <a:spLocks/>
            </p:cNvSpPr>
            <p:nvPr/>
          </p:nvSpPr>
          <p:spPr bwMode="auto">
            <a:xfrm>
              <a:off x="2095037" y="2032899"/>
              <a:ext cx="3271" cy="3271"/>
            </a:xfrm>
            <a:custGeom>
              <a:avLst/>
              <a:gdLst>
                <a:gd name="T0" fmla="*/ 2 w 2"/>
                <a:gd name="T1" fmla="*/ 0 h 2"/>
                <a:gd name="T2" fmla="*/ 2 w 2"/>
                <a:gd name="T3" fmla="*/ 2 h 2"/>
                <a:gd name="T4" fmla="*/ 0 w 2"/>
                <a:gd name="T5" fmla="*/ 2 h 2"/>
                <a:gd name="T6" fmla="*/ 0 w 2"/>
                <a:gd name="T7" fmla="*/ 2 h 2"/>
                <a:gd name="T8" fmla="*/ 2 w 2"/>
                <a:gd name="T9" fmla="*/ 2 h 2"/>
                <a:gd name="T10" fmla="*/ 2 w 2"/>
                <a:gd name="T11" fmla="*/ 2 h 2"/>
                <a:gd name="T12" fmla="*/ 2 w 2"/>
                <a:gd name="T13" fmla="*/ 2 h 2"/>
                <a:gd name="T14" fmla="*/ 2 w 2"/>
                <a:gd name="T15" fmla="*/ 0 h 2"/>
                <a:gd name="T16" fmla="*/ 2 w 2"/>
                <a:gd name="T17" fmla="*/ 0 h 2"/>
                <a:gd name="T18" fmla="*/ 2 w 2"/>
                <a:gd name="T1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2">
                  <a:moveTo>
                    <a:pt x="2" y="0"/>
                  </a:moveTo>
                  <a:lnTo>
                    <a:pt x="2" y="2"/>
                  </a:lnTo>
                  <a:lnTo>
                    <a:pt x="0" y="2"/>
                  </a:lnTo>
                  <a:lnTo>
                    <a:pt x="0" y="2"/>
                  </a:lnTo>
                  <a:lnTo>
                    <a:pt x="2" y="2"/>
                  </a:lnTo>
                  <a:lnTo>
                    <a:pt x="2" y="2"/>
                  </a:lnTo>
                  <a:lnTo>
                    <a:pt x="2" y="2"/>
                  </a:lnTo>
                  <a:lnTo>
                    <a:pt x="2" y="0"/>
                  </a:lnTo>
                  <a:lnTo>
                    <a:pt x="2" y="0"/>
                  </a:lnTo>
                  <a:lnTo>
                    <a:pt x="2"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109" name="Freeform 1727">
              <a:extLst>
                <a:ext uri="{FF2B5EF4-FFF2-40B4-BE49-F238E27FC236}">
                  <a16:creationId xmlns:a16="http://schemas.microsoft.com/office/drawing/2014/main" id="{2652ED79-B40A-BE4C-A880-A84CF56BCF80}"/>
                </a:ext>
              </a:extLst>
            </p:cNvPr>
            <p:cNvSpPr>
              <a:spLocks/>
            </p:cNvSpPr>
            <p:nvPr/>
          </p:nvSpPr>
          <p:spPr bwMode="auto">
            <a:xfrm>
              <a:off x="3065029" y="2764073"/>
              <a:ext cx="4908" cy="26172"/>
            </a:xfrm>
            <a:custGeom>
              <a:avLst/>
              <a:gdLst>
                <a:gd name="T0" fmla="*/ 0 w 3"/>
                <a:gd name="T1" fmla="*/ 3 h 16"/>
                <a:gd name="T2" fmla="*/ 0 w 3"/>
                <a:gd name="T3" fmla="*/ 0 h 16"/>
                <a:gd name="T4" fmla="*/ 0 w 3"/>
                <a:gd name="T5" fmla="*/ 5 h 16"/>
                <a:gd name="T6" fmla="*/ 0 w 3"/>
                <a:gd name="T7" fmla="*/ 13 h 16"/>
                <a:gd name="T8" fmla="*/ 3 w 3"/>
                <a:gd name="T9" fmla="*/ 16 h 16"/>
                <a:gd name="T10" fmla="*/ 3 w 3"/>
                <a:gd name="T11" fmla="*/ 13 h 16"/>
                <a:gd name="T12" fmla="*/ 0 w 3"/>
                <a:gd name="T13" fmla="*/ 5 h 16"/>
                <a:gd name="T14" fmla="*/ 0 w 3"/>
                <a:gd name="T15" fmla="*/ 3 h 1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16">
                  <a:moveTo>
                    <a:pt x="0" y="3"/>
                  </a:moveTo>
                  <a:lnTo>
                    <a:pt x="0" y="0"/>
                  </a:lnTo>
                  <a:lnTo>
                    <a:pt x="0" y="5"/>
                  </a:lnTo>
                  <a:lnTo>
                    <a:pt x="0" y="13"/>
                  </a:lnTo>
                  <a:lnTo>
                    <a:pt x="3" y="16"/>
                  </a:lnTo>
                  <a:lnTo>
                    <a:pt x="3" y="13"/>
                  </a:lnTo>
                  <a:lnTo>
                    <a:pt x="0" y="5"/>
                  </a:lnTo>
                  <a:lnTo>
                    <a:pt x="0" y="3"/>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110" name="Freeform 1728">
              <a:extLst>
                <a:ext uri="{FF2B5EF4-FFF2-40B4-BE49-F238E27FC236}">
                  <a16:creationId xmlns:a16="http://schemas.microsoft.com/office/drawing/2014/main" id="{87BA2062-A607-8945-9999-C530CEDD7713}"/>
                </a:ext>
              </a:extLst>
            </p:cNvPr>
            <p:cNvSpPr>
              <a:spLocks/>
            </p:cNvSpPr>
            <p:nvPr/>
          </p:nvSpPr>
          <p:spPr bwMode="auto">
            <a:xfrm>
              <a:off x="3382362" y="2170301"/>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111" name="Freeform 1729">
              <a:extLst>
                <a:ext uri="{FF2B5EF4-FFF2-40B4-BE49-F238E27FC236}">
                  <a16:creationId xmlns:a16="http://schemas.microsoft.com/office/drawing/2014/main" id="{E98C0D63-1727-3441-8387-85DD450A5FC5}"/>
                </a:ext>
              </a:extLst>
            </p:cNvPr>
            <p:cNvSpPr>
              <a:spLocks/>
            </p:cNvSpPr>
            <p:nvPr/>
          </p:nvSpPr>
          <p:spPr bwMode="auto">
            <a:xfrm>
              <a:off x="3395448" y="2289709"/>
              <a:ext cx="3271" cy="4908"/>
            </a:xfrm>
            <a:custGeom>
              <a:avLst/>
              <a:gdLst>
                <a:gd name="T0" fmla="*/ 0 w 2"/>
                <a:gd name="T1" fmla="*/ 3 h 3"/>
                <a:gd name="T2" fmla="*/ 0 w 2"/>
                <a:gd name="T3" fmla="*/ 3 h 3"/>
                <a:gd name="T4" fmla="*/ 0 w 2"/>
                <a:gd name="T5" fmla="*/ 3 h 3"/>
                <a:gd name="T6" fmla="*/ 2 w 2"/>
                <a:gd name="T7" fmla="*/ 3 h 3"/>
                <a:gd name="T8" fmla="*/ 2 w 2"/>
                <a:gd name="T9" fmla="*/ 3 h 3"/>
                <a:gd name="T10" fmla="*/ 2 w 2"/>
                <a:gd name="T11" fmla="*/ 0 h 3"/>
                <a:gd name="T12" fmla="*/ 2 w 2"/>
                <a:gd name="T13" fmla="*/ 0 h 3"/>
                <a:gd name="T14" fmla="*/ 0 w 2"/>
                <a:gd name="T15" fmla="*/ 3 h 3"/>
                <a:gd name="T16" fmla="*/ 0 w 2"/>
                <a:gd name="T17"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3">
                  <a:moveTo>
                    <a:pt x="0" y="3"/>
                  </a:moveTo>
                  <a:lnTo>
                    <a:pt x="0" y="3"/>
                  </a:lnTo>
                  <a:lnTo>
                    <a:pt x="0" y="3"/>
                  </a:lnTo>
                  <a:lnTo>
                    <a:pt x="2" y="3"/>
                  </a:lnTo>
                  <a:lnTo>
                    <a:pt x="2" y="3"/>
                  </a:lnTo>
                  <a:lnTo>
                    <a:pt x="2" y="0"/>
                  </a:lnTo>
                  <a:lnTo>
                    <a:pt x="2" y="0"/>
                  </a:lnTo>
                  <a:lnTo>
                    <a:pt x="0" y="3"/>
                  </a:lnTo>
                  <a:lnTo>
                    <a:pt x="0" y="3"/>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112" name="Freeform 1730">
              <a:extLst>
                <a:ext uri="{FF2B5EF4-FFF2-40B4-BE49-F238E27FC236}">
                  <a16:creationId xmlns:a16="http://schemas.microsoft.com/office/drawing/2014/main" id="{85B54266-E98F-BC40-9DB7-3EA932620AE5}"/>
                </a:ext>
              </a:extLst>
            </p:cNvPr>
            <p:cNvSpPr>
              <a:spLocks/>
            </p:cNvSpPr>
            <p:nvPr/>
          </p:nvSpPr>
          <p:spPr bwMode="auto">
            <a:xfrm>
              <a:off x="2077044" y="2049257"/>
              <a:ext cx="0" cy="3271"/>
            </a:xfrm>
            <a:custGeom>
              <a:avLst/>
              <a:gdLst>
                <a:gd name="T0" fmla="*/ 2 h 2"/>
                <a:gd name="T1" fmla="*/ 2 h 2"/>
                <a:gd name="T2" fmla="*/ 2 h 2"/>
                <a:gd name="T3" fmla="*/ 2 h 2"/>
                <a:gd name="T4" fmla="*/ 2 h 2"/>
                <a:gd name="T5" fmla="*/ 0 h 2"/>
                <a:gd name="T6" fmla="*/ 0 h 2"/>
                <a:gd name="T7" fmla="*/ 2 h 2"/>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2">
                  <a:moveTo>
                    <a:pt x="0" y="2"/>
                  </a:moveTo>
                  <a:lnTo>
                    <a:pt x="0" y="2"/>
                  </a:lnTo>
                  <a:lnTo>
                    <a:pt x="0" y="2"/>
                  </a:lnTo>
                  <a:lnTo>
                    <a:pt x="0" y="2"/>
                  </a:lnTo>
                  <a:lnTo>
                    <a:pt x="0" y="2"/>
                  </a:lnTo>
                  <a:lnTo>
                    <a:pt x="0" y="0"/>
                  </a:lnTo>
                  <a:lnTo>
                    <a:pt x="0" y="0"/>
                  </a:lnTo>
                  <a:lnTo>
                    <a:pt x="0" y="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113" name="Freeform 1731">
              <a:extLst>
                <a:ext uri="{FF2B5EF4-FFF2-40B4-BE49-F238E27FC236}">
                  <a16:creationId xmlns:a16="http://schemas.microsoft.com/office/drawing/2014/main" id="{00DC14F7-2B4D-AC4C-9D53-7F21D7C04F7F}"/>
                </a:ext>
              </a:extLst>
            </p:cNvPr>
            <p:cNvSpPr>
              <a:spLocks/>
            </p:cNvSpPr>
            <p:nvPr/>
          </p:nvSpPr>
          <p:spPr bwMode="auto">
            <a:xfrm>
              <a:off x="2090130" y="2041077"/>
              <a:ext cx="4908" cy="3271"/>
            </a:xfrm>
            <a:custGeom>
              <a:avLst/>
              <a:gdLst>
                <a:gd name="T0" fmla="*/ 3 w 3"/>
                <a:gd name="T1" fmla="*/ 0 h 2"/>
                <a:gd name="T2" fmla="*/ 3 w 3"/>
                <a:gd name="T3" fmla="*/ 2 h 2"/>
                <a:gd name="T4" fmla="*/ 0 w 3"/>
                <a:gd name="T5" fmla="*/ 2 h 2"/>
                <a:gd name="T6" fmla="*/ 3 w 3"/>
                <a:gd name="T7" fmla="*/ 2 h 2"/>
                <a:gd name="T8" fmla="*/ 3 w 3"/>
                <a:gd name="T9" fmla="*/ 2 h 2"/>
                <a:gd name="T10" fmla="*/ 3 w 3"/>
                <a:gd name="T11" fmla="*/ 2 h 2"/>
                <a:gd name="T12" fmla="*/ 3 w 3"/>
                <a:gd name="T13" fmla="*/ 2 h 2"/>
                <a:gd name="T14" fmla="*/ 3 w 3"/>
                <a:gd name="T15" fmla="*/ 2 h 2"/>
                <a:gd name="T16" fmla="*/ 3 w 3"/>
                <a:gd name="T17" fmla="*/ 2 h 2"/>
                <a:gd name="T18" fmla="*/ 3 w 3"/>
                <a:gd name="T19" fmla="*/ 2 h 2"/>
                <a:gd name="T20" fmla="*/ 3 w 3"/>
                <a:gd name="T21" fmla="*/ 0 h 2"/>
                <a:gd name="T22" fmla="*/ 3 w 3"/>
                <a:gd name="T23"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2">
                  <a:moveTo>
                    <a:pt x="3" y="0"/>
                  </a:moveTo>
                  <a:lnTo>
                    <a:pt x="3" y="2"/>
                  </a:lnTo>
                  <a:lnTo>
                    <a:pt x="0" y="2"/>
                  </a:lnTo>
                  <a:lnTo>
                    <a:pt x="3" y="2"/>
                  </a:lnTo>
                  <a:lnTo>
                    <a:pt x="3" y="2"/>
                  </a:lnTo>
                  <a:lnTo>
                    <a:pt x="3" y="2"/>
                  </a:lnTo>
                  <a:lnTo>
                    <a:pt x="3" y="2"/>
                  </a:lnTo>
                  <a:lnTo>
                    <a:pt x="3" y="2"/>
                  </a:lnTo>
                  <a:lnTo>
                    <a:pt x="3" y="2"/>
                  </a:lnTo>
                  <a:lnTo>
                    <a:pt x="3" y="2"/>
                  </a:lnTo>
                  <a:lnTo>
                    <a:pt x="3" y="0"/>
                  </a:lnTo>
                  <a:lnTo>
                    <a:pt x="3"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114" name="Freeform 1732">
              <a:extLst>
                <a:ext uri="{FF2B5EF4-FFF2-40B4-BE49-F238E27FC236}">
                  <a16:creationId xmlns:a16="http://schemas.microsoft.com/office/drawing/2014/main" id="{CCDD9048-FED8-0644-9AAB-293B5D54068B}"/>
                </a:ext>
              </a:extLst>
            </p:cNvPr>
            <p:cNvSpPr>
              <a:spLocks/>
            </p:cNvSpPr>
            <p:nvPr/>
          </p:nvSpPr>
          <p:spPr bwMode="auto">
            <a:xfrm>
              <a:off x="3015957" y="2057435"/>
              <a:ext cx="3271" cy="0"/>
            </a:xfrm>
            <a:custGeom>
              <a:avLst/>
              <a:gdLst>
                <a:gd name="T0" fmla="*/ 0 w 2"/>
                <a:gd name="T1" fmla="*/ 0 w 2"/>
                <a:gd name="T2" fmla="*/ 0 w 2"/>
                <a:gd name="T3" fmla="*/ 0 w 2"/>
                <a:gd name="T4" fmla="*/ 2 w 2"/>
                <a:gd name="T5" fmla="*/ 2 w 2"/>
                <a:gd name="T6" fmla="*/ 2 w 2"/>
                <a:gd name="T7" fmla="*/ 0 w 2"/>
                <a:gd name="T8" fmla="*/ 0 w 2"/>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2">
                  <a:moveTo>
                    <a:pt x="0" y="0"/>
                  </a:moveTo>
                  <a:lnTo>
                    <a:pt x="0" y="0"/>
                  </a:lnTo>
                  <a:lnTo>
                    <a:pt x="0" y="0"/>
                  </a:lnTo>
                  <a:lnTo>
                    <a:pt x="0" y="0"/>
                  </a:lnTo>
                  <a:lnTo>
                    <a:pt x="2" y="0"/>
                  </a:lnTo>
                  <a:lnTo>
                    <a:pt x="2" y="0"/>
                  </a:lnTo>
                  <a:lnTo>
                    <a:pt x="2" y="0"/>
                  </a:lnTo>
                  <a:lnTo>
                    <a:pt x="0" y="0"/>
                  </a:lnTo>
                  <a:lnTo>
                    <a:pt x="0"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115" name="Freeform 1733">
              <a:extLst>
                <a:ext uri="{FF2B5EF4-FFF2-40B4-BE49-F238E27FC236}">
                  <a16:creationId xmlns:a16="http://schemas.microsoft.com/office/drawing/2014/main" id="{CBCACDBB-BF0E-5149-9D9F-9C2EE87D7CCF}"/>
                </a:ext>
              </a:extLst>
            </p:cNvPr>
            <p:cNvSpPr>
              <a:spLocks/>
            </p:cNvSpPr>
            <p:nvPr/>
          </p:nvSpPr>
          <p:spPr bwMode="auto">
            <a:xfrm>
              <a:off x="3002871" y="2065614"/>
              <a:ext cx="8179" cy="3271"/>
            </a:xfrm>
            <a:custGeom>
              <a:avLst/>
              <a:gdLst>
                <a:gd name="T0" fmla="*/ 0 w 5"/>
                <a:gd name="T1" fmla="*/ 0 h 2"/>
                <a:gd name="T2" fmla="*/ 0 w 5"/>
                <a:gd name="T3" fmla="*/ 0 h 2"/>
                <a:gd name="T4" fmla="*/ 0 w 5"/>
                <a:gd name="T5" fmla="*/ 2 h 2"/>
                <a:gd name="T6" fmla="*/ 0 w 5"/>
                <a:gd name="T7" fmla="*/ 0 h 2"/>
                <a:gd name="T8" fmla="*/ 3 w 5"/>
                <a:gd name="T9" fmla="*/ 0 h 2"/>
                <a:gd name="T10" fmla="*/ 3 w 5"/>
                <a:gd name="T11" fmla="*/ 0 h 2"/>
                <a:gd name="T12" fmla="*/ 3 w 5"/>
                <a:gd name="T13" fmla="*/ 0 h 2"/>
                <a:gd name="T14" fmla="*/ 5 w 5"/>
                <a:gd name="T15" fmla="*/ 0 h 2"/>
                <a:gd name="T16" fmla="*/ 5 w 5"/>
                <a:gd name="T17" fmla="*/ 0 h 2"/>
                <a:gd name="T18" fmla="*/ 3 w 5"/>
                <a:gd name="T19" fmla="*/ 0 h 2"/>
                <a:gd name="T20" fmla="*/ 0 w 5"/>
                <a:gd name="T21" fmla="*/ 0 h 2"/>
                <a:gd name="T22" fmla="*/ 0 w 5"/>
                <a:gd name="T23"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 h="2">
                  <a:moveTo>
                    <a:pt x="0" y="0"/>
                  </a:moveTo>
                  <a:lnTo>
                    <a:pt x="0" y="0"/>
                  </a:lnTo>
                  <a:lnTo>
                    <a:pt x="0" y="2"/>
                  </a:lnTo>
                  <a:lnTo>
                    <a:pt x="0" y="0"/>
                  </a:lnTo>
                  <a:lnTo>
                    <a:pt x="3" y="0"/>
                  </a:lnTo>
                  <a:lnTo>
                    <a:pt x="3" y="0"/>
                  </a:lnTo>
                  <a:lnTo>
                    <a:pt x="3" y="0"/>
                  </a:lnTo>
                  <a:lnTo>
                    <a:pt x="5" y="0"/>
                  </a:lnTo>
                  <a:lnTo>
                    <a:pt x="5" y="0"/>
                  </a:lnTo>
                  <a:lnTo>
                    <a:pt x="3" y="0"/>
                  </a:lnTo>
                  <a:lnTo>
                    <a:pt x="0" y="0"/>
                  </a:lnTo>
                  <a:lnTo>
                    <a:pt x="0"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116" name="Freeform 1734">
              <a:extLst>
                <a:ext uri="{FF2B5EF4-FFF2-40B4-BE49-F238E27FC236}">
                  <a16:creationId xmlns:a16="http://schemas.microsoft.com/office/drawing/2014/main" id="{993E9131-E08E-E04B-BB11-3DD8D4611840}"/>
                </a:ext>
              </a:extLst>
            </p:cNvPr>
            <p:cNvSpPr>
              <a:spLocks/>
            </p:cNvSpPr>
            <p:nvPr/>
          </p:nvSpPr>
          <p:spPr bwMode="auto">
            <a:xfrm>
              <a:off x="10777527" y="1882411"/>
              <a:ext cx="21265" cy="8179"/>
            </a:xfrm>
            <a:custGeom>
              <a:avLst/>
              <a:gdLst>
                <a:gd name="T0" fmla="*/ 10 w 13"/>
                <a:gd name="T1" fmla="*/ 5 h 5"/>
                <a:gd name="T2" fmla="*/ 10 w 13"/>
                <a:gd name="T3" fmla="*/ 3 h 5"/>
                <a:gd name="T4" fmla="*/ 10 w 13"/>
                <a:gd name="T5" fmla="*/ 3 h 5"/>
                <a:gd name="T6" fmla="*/ 10 w 13"/>
                <a:gd name="T7" fmla="*/ 3 h 5"/>
                <a:gd name="T8" fmla="*/ 8 w 13"/>
                <a:gd name="T9" fmla="*/ 0 h 5"/>
                <a:gd name="T10" fmla="*/ 8 w 13"/>
                <a:gd name="T11" fmla="*/ 0 h 5"/>
                <a:gd name="T12" fmla="*/ 5 w 13"/>
                <a:gd name="T13" fmla="*/ 0 h 5"/>
                <a:gd name="T14" fmla="*/ 0 w 13"/>
                <a:gd name="T15" fmla="*/ 0 h 5"/>
                <a:gd name="T16" fmla="*/ 0 w 13"/>
                <a:gd name="T17" fmla="*/ 0 h 5"/>
                <a:gd name="T18" fmla="*/ 0 w 13"/>
                <a:gd name="T19" fmla="*/ 0 h 5"/>
                <a:gd name="T20" fmla="*/ 3 w 13"/>
                <a:gd name="T21" fmla="*/ 0 h 5"/>
                <a:gd name="T22" fmla="*/ 5 w 13"/>
                <a:gd name="T23" fmla="*/ 3 h 5"/>
                <a:gd name="T24" fmla="*/ 8 w 13"/>
                <a:gd name="T25" fmla="*/ 3 h 5"/>
                <a:gd name="T26" fmla="*/ 8 w 13"/>
                <a:gd name="T27" fmla="*/ 3 h 5"/>
                <a:gd name="T28" fmla="*/ 8 w 13"/>
                <a:gd name="T29" fmla="*/ 5 h 5"/>
                <a:gd name="T30" fmla="*/ 8 w 13"/>
                <a:gd name="T31" fmla="*/ 5 h 5"/>
                <a:gd name="T32" fmla="*/ 8 w 13"/>
                <a:gd name="T33" fmla="*/ 5 h 5"/>
                <a:gd name="T34" fmla="*/ 10 w 13"/>
                <a:gd name="T35" fmla="*/ 5 h 5"/>
                <a:gd name="T36" fmla="*/ 13 w 13"/>
                <a:gd name="T37" fmla="*/ 5 h 5"/>
                <a:gd name="T38" fmla="*/ 10 w 13"/>
                <a:gd name="T39" fmla="*/ 5 h 5"/>
                <a:gd name="T40" fmla="*/ 10 w 13"/>
                <a:gd name="T4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 h="5">
                  <a:moveTo>
                    <a:pt x="10" y="5"/>
                  </a:moveTo>
                  <a:lnTo>
                    <a:pt x="10" y="3"/>
                  </a:lnTo>
                  <a:lnTo>
                    <a:pt x="10" y="3"/>
                  </a:lnTo>
                  <a:lnTo>
                    <a:pt x="10" y="3"/>
                  </a:lnTo>
                  <a:lnTo>
                    <a:pt x="8" y="0"/>
                  </a:lnTo>
                  <a:lnTo>
                    <a:pt x="8" y="0"/>
                  </a:lnTo>
                  <a:lnTo>
                    <a:pt x="5" y="0"/>
                  </a:lnTo>
                  <a:lnTo>
                    <a:pt x="0" y="0"/>
                  </a:lnTo>
                  <a:lnTo>
                    <a:pt x="0" y="0"/>
                  </a:lnTo>
                  <a:lnTo>
                    <a:pt x="0" y="0"/>
                  </a:lnTo>
                  <a:lnTo>
                    <a:pt x="3" y="0"/>
                  </a:lnTo>
                  <a:lnTo>
                    <a:pt x="5" y="3"/>
                  </a:lnTo>
                  <a:lnTo>
                    <a:pt x="8" y="3"/>
                  </a:lnTo>
                  <a:lnTo>
                    <a:pt x="8" y="3"/>
                  </a:lnTo>
                  <a:lnTo>
                    <a:pt x="8" y="5"/>
                  </a:lnTo>
                  <a:lnTo>
                    <a:pt x="8" y="5"/>
                  </a:lnTo>
                  <a:lnTo>
                    <a:pt x="8" y="5"/>
                  </a:lnTo>
                  <a:lnTo>
                    <a:pt x="10" y="5"/>
                  </a:lnTo>
                  <a:lnTo>
                    <a:pt x="13" y="5"/>
                  </a:lnTo>
                  <a:lnTo>
                    <a:pt x="10" y="5"/>
                  </a:lnTo>
                  <a:lnTo>
                    <a:pt x="10" y="5"/>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117" name="Freeform 1735">
              <a:extLst>
                <a:ext uri="{FF2B5EF4-FFF2-40B4-BE49-F238E27FC236}">
                  <a16:creationId xmlns:a16="http://schemas.microsoft.com/office/drawing/2014/main" id="{E1BB2DBE-13F1-0540-8BEC-FF673CFCC8CB}"/>
                </a:ext>
              </a:extLst>
            </p:cNvPr>
            <p:cNvSpPr>
              <a:spLocks/>
            </p:cNvSpPr>
            <p:nvPr/>
          </p:nvSpPr>
          <p:spPr bwMode="auto">
            <a:xfrm>
              <a:off x="10478188" y="1841518"/>
              <a:ext cx="32715" cy="11451"/>
            </a:xfrm>
            <a:custGeom>
              <a:avLst/>
              <a:gdLst>
                <a:gd name="T0" fmla="*/ 10 w 20"/>
                <a:gd name="T1" fmla="*/ 2 h 7"/>
                <a:gd name="T2" fmla="*/ 7 w 20"/>
                <a:gd name="T3" fmla="*/ 2 h 7"/>
                <a:gd name="T4" fmla="*/ 5 w 20"/>
                <a:gd name="T5" fmla="*/ 0 h 7"/>
                <a:gd name="T6" fmla="*/ 2 w 20"/>
                <a:gd name="T7" fmla="*/ 2 h 7"/>
                <a:gd name="T8" fmla="*/ 0 w 20"/>
                <a:gd name="T9" fmla="*/ 2 h 7"/>
                <a:gd name="T10" fmla="*/ 2 w 20"/>
                <a:gd name="T11" fmla="*/ 2 h 7"/>
                <a:gd name="T12" fmla="*/ 5 w 20"/>
                <a:gd name="T13" fmla="*/ 5 h 7"/>
                <a:gd name="T14" fmla="*/ 10 w 20"/>
                <a:gd name="T15" fmla="*/ 5 h 7"/>
                <a:gd name="T16" fmla="*/ 12 w 20"/>
                <a:gd name="T17" fmla="*/ 7 h 7"/>
                <a:gd name="T18" fmla="*/ 12 w 20"/>
                <a:gd name="T19" fmla="*/ 5 h 7"/>
                <a:gd name="T20" fmla="*/ 15 w 20"/>
                <a:gd name="T21" fmla="*/ 5 h 7"/>
                <a:gd name="T22" fmla="*/ 17 w 20"/>
                <a:gd name="T23" fmla="*/ 5 h 7"/>
                <a:gd name="T24" fmla="*/ 17 w 20"/>
                <a:gd name="T25" fmla="*/ 5 h 7"/>
                <a:gd name="T26" fmla="*/ 17 w 20"/>
                <a:gd name="T27" fmla="*/ 5 h 7"/>
                <a:gd name="T28" fmla="*/ 20 w 20"/>
                <a:gd name="T29" fmla="*/ 5 h 7"/>
                <a:gd name="T30" fmla="*/ 15 w 20"/>
                <a:gd name="T31" fmla="*/ 2 h 7"/>
                <a:gd name="T32" fmla="*/ 10 w 20"/>
                <a:gd name="T33"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7">
                  <a:moveTo>
                    <a:pt x="10" y="2"/>
                  </a:moveTo>
                  <a:lnTo>
                    <a:pt x="7" y="2"/>
                  </a:lnTo>
                  <a:lnTo>
                    <a:pt x="5" y="0"/>
                  </a:lnTo>
                  <a:lnTo>
                    <a:pt x="2" y="2"/>
                  </a:lnTo>
                  <a:lnTo>
                    <a:pt x="0" y="2"/>
                  </a:lnTo>
                  <a:lnTo>
                    <a:pt x="2" y="2"/>
                  </a:lnTo>
                  <a:lnTo>
                    <a:pt x="5" y="5"/>
                  </a:lnTo>
                  <a:lnTo>
                    <a:pt x="10" y="5"/>
                  </a:lnTo>
                  <a:lnTo>
                    <a:pt x="12" y="7"/>
                  </a:lnTo>
                  <a:lnTo>
                    <a:pt x="12" y="5"/>
                  </a:lnTo>
                  <a:lnTo>
                    <a:pt x="15" y="5"/>
                  </a:lnTo>
                  <a:lnTo>
                    <a:pt x="17" y="5"/>
                  </a:lnTo>
                  <a:lnTo>
                    <a:pt x="17" y="5"/>
                  </a:lnTo>
                  <a:lnTo>
                    <a:pt x="17" y="5"/>
                  </a:lnTo>
                  <a:lnTo>
                    <a:pt x="20" y="5"/>
                  </a:lnTo>
                  <a:lnTo>
                    <a:pt x="15" y="2"/>
                  </a:lnTo>
                  <a:lnTo>
                    <a:pt x="10" y="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118" name="Freeform 1736">
              <a:extLst>
                <a:ext uri="{FF2B5EF4-FFF2-40B4-BE49-F238E27FC236}">
                  <a16:creationId xmlns:a16="http://schemas.microsoft.com/office/drawing/2014/main" id="{075DA360-DF7B-7A41-A936-F2200D444957}"/>
                </a:ext>
              </a:extLst>
            </p:cNvPr>
            <p:cNvSpPr>
              <a:spLocks/>
            </p:cNvSpPr>
            <p:nvPr/>
          </p:nvSpPr>
          <p:spPr bwMode="auto">
            <a:xfrm>
              <a:off x="10857679" y="1866054"/>
              <a:ext cx="24537" cy="11451"/>
            </a:xfrm>
            <a:custGeom>
              <a:avLst/>
              <a:gdLst>
                <a:gd name="T0" fmla="*/ 12 w 15"/>
                <a:gd name="T1" fmla="*/ 2 h 7"/>
                <a:gd name="T2" fmla="*/ 15 w 15"/>
                <a:gd name="T3" fmla="*/ 2 h 7"/>
                <a:gd name="T4" fmla="*/ 15 w 15"/>
                <a:gd name="T5" fmla="*/ 2 h 7"/>
                <a:gd name="T6" fmla="*/ 12 w 15"/>
                <a:gd name="T7" fmla="*/ 0 h 7"/>
                <a:gd name="T8" fmla="*/ 12 w 15"/>
                <a:gd name="T9" fmla="*/ 0 h 7"/>
                <a:gd name="T10" fmla="*/ 10 w 15"/>
                <a:gd name="T11" fmla="*/ 0 h 7"/>
                <a:gd name="T12" fmla="*/ 7 w 15"/>
                <a:gd name="T13" fmla="*/ 0 h 7"/>
                <a:gd name="T14" fmla="*/ 7 w 15"/>
                <a:gd name="T15" fmla="*/ 0 h 7"/>
                <a:gd name="T16" fmla="*/ 7 w 15"/>
                <a:gd name="T17" fmla="*/ 0 h 7"/>
                <a:gd name="T18" fmla="*/ 7 w 15"/>
                <a:gd name="T19" fmla="*/ 2 h 7"/>
                <a:gd name="T20" fmla="*/ 10 w 15"/>
                <a:gd name="T21" fmla="*/ 2 h 7"/>
                <a:gd name="T22" fmla="*/ 10 w 15"/>
                <a:gd name="T23" fmla="*/ 2 h 7"/>
                <a:gd name="T24" fmla="*/ 10 w 15"/>
                <a:gd name="T25" fmla="*/ 5 h 7"/>
                <a:gd name="T26" fmla="*/ 7 w 15"/>
                <a:gd name="T27" fmla="*/ 5 h 7"/>
                <a:gd name="T28" fmla="*/ 2 w 15"/>
                <a:gd name="T29" fmla="*/ 5 h 7"/>
                <a:gd name="T30" fmla="*/ 2 w 15"/>
                <a:gd name="T31" fmla="*/ 7 h 7"/>
                <a:gd name="T32" fmla="*/ 0 w 15"/>
                <a:gd name="T33" fmla="*/ 7 h 7"/>
                <a:gd name="T34" fmla="*/ 0 w 15"/>
                <a:gd name="T35" fmla="*/ 7 h 7"/>
                <a:gd name="T36" fmla="*/ 0 w 15"/>
                <a:gd name="T37" fmla="*/ 7 h 7"/>
                <a:gd name="T38" fmla="*/ 10 w 15"/>
                <a:gd name="T39" fmla="*/ 7 h 7"/>
                <a:gd name="T40" fmla="*/ 12 w 15"/>
                <a:gd name="T41" fmla="*/ 5 h 7"/>
                <a:gd name="T42" fmla="*/ 15 w 15"/>
                <a:gd name="T43" fmla="*/ 5 h 7"/>
                <a:gd name="T44" fmla="*/ 12 w 15"/>
                <a:gd name="T45" fmla="*/ 2 h 7"/>
                <a:gd name="T46" fmla="*/ 12 w 15"/>
                <a:gd name="T47"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5" h="7">
                  <a:moveTo>
                    <a:pt x="12" y="2"/>
                  </a:moveTo>
                  <a:lnTo>
                    <a:pt x="15" y="2"/>
                  </a:lnTo>
                  <a:lnTo>
                    <a:pt x="15" y="2"/>
                  </a:lnTo>
                  <a:lnTo>
                    <a:pt x="12" y="0"/>
                  </a:lnTo>
                  <a:lnTo>
                    <a:pt x="12" y="0"/>
                  </a:lnTo>
                  <a:lnTo>
                    <a:pt x="10" y="0"/>
                  </a:lnTo>
                  <a:lnTo>
                    <a:pt x="7" y="0"/>
                  </a:lnTo>
                  <a:lnTo>
                    <a:pt x="7" y="0"/>
                  </a:lnTo>
                  <a:lnTo>
                    <a:pt x="7" y="0"/>
                  </a:lnTo>
                  <a:lnTo>
                    <a:pt x="7" y="2"/>
                  </a:lnTo>
                  <a:lnTo>
                    <a:pt x="10" y="2"/>
                  </a:lnTo>
                  <a:lnTo>
                    <a:pt x="10" y="2"/>
                  </a:lnTo>
                  <a:lnTo>
                    <a:pt x="10" y="5"/>
                  </a:lnTo>
                  <a:lnTo>
                    <a:pt x="7" y="5"/>
                  </a:lnTo>
                  <a:lnTo>
                    <a:pt x="2" y="5"/>
                  </a:lnTo>
                  <a:lnTo>
                    <a:pt x="2" y="7"/>
                  </a:lnTo>
                  <a:lnTo>
                    <a:pt x="0" y="7"/>
                  </a:lnTo>
                  <a:lnTo>
                    <a:pt x="0" y="7"/>
                  </a:lnTo>
                  <a:lnTo>
                    <a:pt x="0" y="7"/>
                  </a:lnTo>
                  <a:lnTo>
                    <a:pt x="10" y="7"/>
                  </a:lnTo>
                  <a:lnTo>
                    <a:pt x="12" y="5"/>
                  </a:lnTo>
                  <a:lnTo>
                    <a:pt x="15" y="5"/>
                  </a:lnTo>
                  <a:lnTo>
                    <a:pt x="12" y="2"/>
                  </a:lnTo>
                  <a:lnTo>
                    <a:pt x="12" y="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119" name="Freeform 1737">
              <a:extLst>
                <a:ext uri="{FF2B5EF4-FFF2-40B4-BE49-F238E27FC236}">
                  <a16:creationId xmlns:a16="http://schemas.microsoft.com/office/drawing/2014/main" id="{A26FB967-9F31-4040-B80D-452F124AC8CD}"/>
                </a:ext>
              </a:extLst>
            </p:cNvPr>
            <p:cNvSpPr>
              <a:spLocks/>
            </p:cNvSpPr>
            <p:nvPr/>
          </p:nvSpPr>
          <p:spPr bwMode="auto">
            <a:xfrm>
              <a:off x="10836414" y="1882411"/>
              <a:ext cx="8179" cy="4908"/>
            </a:xfrm>
            <a:custGeom>
              <a:avLst/>
              <a:gdLst>
                <a:gd name="T0" fmla="*/ 0 w 5"/>
                <a:gd name="T1" fmla="*/ 0 h 3"/>
                <a:gd name="T2" fmla="*/ 0 w 5"/>
                <a:gd name="T3" fmla="*/ 3 h 3"/>
                <a:gd name="T4" fmla="*/ 2 w 5"/>
                <a:gd name="T5" fmla="*/ 3 h 3"/>
                <a:gd name="T6" fmla="*/ 5 w 5"/>
                <a:gd name="T7" fmla="*/ 3 h 3"/>
                <a:gd name="T8" fmla="*/ 2 w 5"/>
                <a:gd name="T9" fmla="*/ 0 h 3"/>
                <a:gd name="T10" fmla="*/ 0 w 5"/>
                <a:gd name="T11" fmla="*/ 0 h 3"/>
              </a:gdLst>
              <a:ahLst/>
              <a:cxnLst>
                <a:cxn ang="0">
                  <a:pos x="T0" y="T1"/>
                </a:cxn>
                <a:cxn ang="0">
                  <a:pos x="T2" y="T3"/>
                </a:cxn>
                <a:cxn ang="0">
                  <a:pos x="T4" y="T5"/>
                </a:cxn>
                <a:cxn ang="0">
                  <a:pos x="T6" y="T7"/>
                </a:cxn>
                <a:cxn ang="0">
                  <a:pos x="T8" y="T9"/>
                </a:cxn>
                <a:cxn ang="0">
                  <a:pos x="T10" y="T11"/>
                </a:cxn>
              </a:cxnLst>
              <a:rect l="0" t="0" r="r" b="b"/>
              <a:pathLst>
                <a:path w="5" h="3">
                  <a:moveTo>
                    <a:pt x="0" y="0"/>
                  </a:moveTo>
                  <a:lnTo>
                    <a:pt x="0" y="3"/>
                  </a:lnTo>
                  <a:lnTo>
                    <a:pt x="2" y="3"/>
                  </a:lnTo>
                  <a:lnTo>
                    <a:pt x="5" y="3"/>
                  </a:lnTo>
                  <a:lnTo>
                    <a:pt x="2" y="0"/>
                  </a:lnTo>
                  <a:lnTo>
                    <a:pt x="0"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120" name="Freeform 1738">
              <a:extLst>
                <a:ext uri="{FF2B5EF4-FFF2-40B4-BE49-F238E27FC236}">
                  <a16:creationId xmlns:a16="http://schemas.microsoft.com/office/drawing/2014/main" id="{0A1001E3-44BD-B14B-A1E0-158410803FAC}"/>
                </a:ext>
              </a:extLst>
            </p:cNvPr>
            <p:cNvSpPr>
              <a:spLocks/>
            </p:cNvSpPr>
            <p:nvPr/>
          </p:nvSpPr>
          <p:spPr bwMode="auto">
            <a:xfrm>
              <a:off x="10831507" y="1882411"/>
              <a:ext cx="4908" cy="4908"/>
            </a:xfrm>
            <a:custGeom>
              <a:avLst/>
              <a:gdLst>
                <a:gd name="T0" fmla="*/ 3 w 3"/>
                <a:gd name="T1" fmla="*/ 3 h 3"/>
                <a:gd name="T2" fmla="*/ 0 w 3"/>
                <a:gd name="T3" fmla="*/ 0 h 3"/>
                <a:gd name="T4" fmla="*/ 0 w 3"/>
                <a:gd name="T5" fmla="*/ 0 h 3"/>
                <a:gd name="T6" fmla="*/ 0 w 3"/>
                <a:gd name="T7" fmla="*/ 3 h 3"/>
                <a:gd name="T8" fmla="*/ 3 w 3"/>
                <a:gd name="T9" fmla="*/ 3 h 3"/>
                <a:gd name="T10" fmla="*/ 3 w 3"/>
                <a:gd name="T11" fmla="*/ 3 h 3"/>
                <a:gd name="T12" fmla="*/ 3 w 3"/>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3" y="3"/>
                  </a:moveTo>
                  <a:lnTo>
                    <a:pt x="0" y="0"/>
                  </a:lnTo>
                  <a:lnTo>
                    <a:pt x="0" y="0"/>
                  </a:lnTo>
                  <a:lnTo>
                    <a:pt x="0" y="3"/>
                  </a:lnTo>
                  <a:lnTo>
                    <a:pt x="3" y="3"/>
                  </a:lnTo>
                  <a:lnTo>
                    <a:pt x="3" y="3"/>
                  </a:lnTo>
                  <a:lnTo>
                    <a:pt x="3" y="3"/>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121" name="Freeform 1739">
              <a:extLst>
                <a:ext uri="{FF2B5EF4-FFF2-40B4-BE49-F238E27FC236}">
                  <a16:creationId xmlns:a16="http://schemas.microsoft.com/office/drawing/2014/main" id="{D912B114-7BD3-044B-AAE3-F659DF98B49A}"/>
                </a:ext>
              </a:extLst>
            </p:cNvPr>
            <p:cNvSpPr>
              <a:spLocks/>
            </p:cNvSpPr>
            <p:nvPr/>
          </p:nvSpPr>
          <p:spPr bwMode="auto">
            <a:xfrm>
              <a:off x="10815150" y="1877504"/>
              <a:ext cx="16357" cy="17994"/>
            </a:xfrm>
            <a:custGeom>
              <a:avLst/>
              <a:gdLst>
                <a:gd name="T0" fmla="*/ 10 w 10"/>
                <a:gd name="T1" fmla="*/ 6 h 11"/>
                <a:gd name="T2" fmla="*/ 8 w 10"/>
                <a:gd name="T3" fmla="*/ 6 h 11"/>
                <a:gd name="T4" fmla="*/ 8 w 10"/>
                <a:gd name="T5" fmla="*/ 6 h 11"/>
                <a:gd name="T6" fmla="*/ 5 w 10"/>
                <a:gd name="T7" fmla="*/ 3 h 11"/>
                <a:gd name="T8" fmla="*/ 5 w 10"/>
                <a:gd name="T9" fmla="*/ 3 h 11"/>
                <a:gd name="T10" fmla="*/ 5 w 10"/>
                <a:gd name="T11" fmla="*/ 3 h 11"/>
                <a:gd name="T12" fmla="*/ 3 w 10"/>
                <a:gd name="T13" fmla="*/ 0 h 11"/>
                <a:gd name="T14" fmla="*/ 0 w 10"/>
                <a:gd name="T15" fmla="*/ 0 h 11"/>
                <a:gd name="T16" fmla="*/ 3 w 10"/>
                <a:gd name="T17" fmla="*/ 3 h 11"/>
                <a:gd name="T18" fmla="*/ 3 w 10"/>
                <a:gd name="T19" fmla="*/ 3 h 11"/>
                <a:gd name="T20" fmla="*/ 3 w 10"/>
                <a:gd name="T21" fmla="*/ 6 h 11"/>
                <a:gd name="T22" fmla="*/ 3 w 10"/>
                <a:gd name="T23" fmla="*/ 6 h 11"/>
                <a:gd name="T24" fmla="*/ 5 w 10"/>
                <a:gd name="T25" fmla="*/ 11 h 11"/>
                <a:gd name="T26" fmla="*/ 5 w 10"/>
                <a:gd name="T27" fmla="*/ 8 h 11"/>
                <a:gd name="T28" fmla="*/ 8 w 10"/>
                <a:gd name="T29" fmla="*/ 8 h 11"/>
                <a:gd name="T30" fmla="*/ 10 w 10"/>
                <a:gd name="T31" fmla="*/ 8 h 11"/>
                <a:gd name="T32" fmla="*/ 10 w 10"/>
                <a:gd name="T33" fmla="*/ 6 h 11"/>
                <a:gd name="T34" fmla="*/ 10 w 10"/>
                <a:gd name="T35" fmla="*/ 6 h 11"/>
                <a:gd name="T36" fmla="*/ 10 w 10"/>
                <a:gd name="T37" fmla="*/ 6 h 11"/>
                <a:gd name="T38" fmla="*/ 10 w 10"/>
                <a:gd name="T39" fmla="*/ 6 h 11"/>
                <a:gd name="T40" fmla="*/ 10 w 10"/>
                <a:gd name="T41"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 h="11">
                  <a:moveTo>
                    <a:pt x="10" y="6"/>
                  </a:moveTo>
                  <a:lnTo>
                    <a:pt x="8" y="6"/>
                  </a:lnTo>
                  <a:lnTo>
                    <a:pt x="8" y="6"/>
                  </a:lnTo>
                  <a:lnTo>
                    <a:pt x="5" y="3"/>
                  </a:lnTo>
                  <a:lnTo>
                    <a:pt x="5" y="3"/>
                  </a:lnTo>
                  <a:lnTo>
                    <a:pt x="5" y="3"/>
                  </a:lnTo>
                  <a:lnTo>
                    <a:pt x="3" y="0"/>
                  </a:lnTo>
                  <a:lnTo>
                    <a:pt x="0" y="0"/>
                  </a:lnTo>
                  <a:lnTo>
                    <a:pt x="3" y="3"/>
                  </a:lnTo>
                  <a:lnTo>
                    <a:pt x="3" y="3"/>
                  </a:lnTo>
                  <a:lnTo>
                    <a:pt x="3" y="6"/>
                  </a:lnTo>
                  <a:lnTo>
                    <a:pt x="3" y="6"/>
                  </a:lnTo>
                  <a:lnTo>
                    <a:pt x="5" y="11"/>
                  </a:lnTo>
                  <a:lnTo>
                    <a:pt x="5" y="8"/>
                  </a:lnTo>
                  <a:lnTo>
                    <a:pt x="8" y="8"/>
                  </a:lnTo>
                  <a:lnTo>
                    <a:pt x="10" y="8"/>
                  </a:lnTo>
                  <a:lnTo>
                    <a:pt x="10" y="6"/>
                  </a:lnTo>
                  <a:lnTo>
                    <a:pt x="10" y="6"/>
                  </a:lnTo>
                  <a:lnTo>
                    <a:pt x="10" y="6"/>
                  </a:lnTo>
                  <a:lnTo>
                    <a:pt x="10" y="6"/>
                  </a:lnTo>
                  <a:lnTo>
                    <a:pt x="10" y="6"/>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122" name="Freeform 1740">
              <a:extLst>
                <a:ext uri="{FF2B5EF4-FFF2-40B4-BE49-F238E27FC236}">
                  <a16:creationId xmlns:a16="http://schemas.microsoft.com/office/drawing/2014/main" id="{9B24BC15-6BA6-3E4F-8F5C-935E3B39B65C}"/>
                </a:ext>
              </a:extLst>
            </p:cNvPr>
            <p:cNvSpPr>
              <a:spLocks/>
            </p:cNvSpPr>
            <p:nvPr/>
          </p:nvSpPr>
          <p:spPr bwMode="auto">
            <a:xfrm>
              <a:off x="10919837" y="1866054"/>
              <a:ext cx="8179" cy="3271"/>
            </a:xfrm>
            <a:custGeom>
              <a:avLst/>
              <a:gdLst>
                <a:gd name="T0" fmla="*/ 0 w 5"/>
                <a:gd name="T1" fmla="*/ 0 h 2"/>
                <a:gd name="T2" fmla="*/ 0 w 5"/>
                <a:gd name="T3" fmla="*/ 0 h 2"/>
                <a:gd name="T4" fmla="*/ 0 w 5"/>
                <a:gd name="T5" fmla="*/ 0 h 2"/>
                <a:gd name="T6" fmla="*/ 0 w 5"/>
                <a:gd name="T7" fmla="*/ 2 h 2"/>
                <a:gd name="T8" fmla="*/ 2 w 5"/>
                <a:gd name="T9" fmla="*/ 2 h 2"/>
                <a:gd name="T10" fmla="*/ 2 w 5"/>
                <a:gd name="T11" fmla="*/ 2 h 2"/>
                <a:gd name="T12" fmla="*/ 5 w 5"/>
                <a:gd name="T13" fmla="*/ 0 h 2"/>
                <a:gd name="T14" fmla="*/ 2 w 5"/>
                <a:gd name="T15" fmla="*/ 0 h 2"/>
                <a:gd name="T16" fmla="*/ 0 w 5"/>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2">
                  <a:moveTo>
                    <a:pt x="0" y="0"/>
                  </a:moveTo>
                  <a:lnTo>
                    <a:pt x="0" y="0"/>
                  </a:lnTo>
                  <a:lnTo>
                    <a:pt x="0" y="0"/>
                  </a:lnTo>
                  <a:lnTo>
                    <a:pt x="0" y="2"/>
                  </a:lnTo>
                  <a:lnTo>
                    <a:pt x="2" y="2"/>
                  </a:lnTo>
                  <a:lnTo>
                    <a:pt x="2" y="2"/>
                  </a:lnTo>
                  <a:lnTo>
                    <a:pt x="5" y="0"/>
                  </a:lnTo>
                  <a:lnTo>
                    <a:pt x="2" y="0"/>
                  </a:lnTo>
                  <a:lnTo>
                    <a:pt x="0"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123" name="Freeform 1741">
              <a:extLst>
                <a:ext uri="{FF2B5EF4-FFF2-40B4-BE49-F238E27FC236}">
                  <a16:creationId xmlns:a16="http://schemas.microsoft.com/office/drawing/2014/main" id="{6A67CACD-C632-7249-AC59-F4AEE1CAC0C5}"/>
                </a:ext>
              </a:extLst>
            </p:cNvPr>
            <p:cNvSpPr>
              <a:spLocks/>
            </p:cNvSpPr>
            <p:nvPr/>
          </p:nvSpPr>
          <p:spPr bwMode="auto">
            <a:xfrm>
              <a:off x="10973816" y="1849697"/>
              <a:ext cx="8179" cy="0"/>
            </a:xfrm>
            <a:custGeom>
              <a:avLst/>
              <a:gdLst>
                <a:gd name="T0" fmla="*/ 5 w 5"/>
                <a:gd name="T1" fmla="*/ 5 w 5"/>
                <a:gd name="T2" fmla="*/ 2 w 5"/>
                <a:gd name="T3" fmla="*/ 2 w 5"/>
                <a:gd name="T4" fmla="*/ 0 w 5"/>
                <a:gd name="T5" fmla="*/ 0 w 5"/>
                <a:gd name="T6" fmla="*/ 0 w 5"/>
                <a:gd name="T7" fmla="*/ 0 w 5"/>
                <a:gd name="T8" fmla="*/ 2 w 5"/>
                <a:gd name="T9" fmla="*/ 5 w 5"/>
                <a:gd name="T10" fmla="*/ 5 w 5"/>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Lst>
              <a:rect l="0" t="0" r="r" b="b"/>
              <a:pathLst>
                <a:path w="5">
                  <a:moveTo>
                    <a:pt x="5" y="0"/>
                  </a:moveTo>
                  <a:lnTo>
                    <a:pt x="5" y="0"/>
                  </a:lnTo>
                  <a:lnTo>
                    <a:pt x="2" y="0"/>
                  </a:lnTo>
                  <a:lnTo>
                    <a:pt x="2" y="0"/>
                  </a:lnTo>
                  <a:lnTo>
                    <a:pt x="0" y="0"/>
                  </a:lnTo>
                  <a:lnTo>
                    <a:pt x="0" y="0"/>
                  </a:lnTo>
                  <a:lnTo>
                    <a:pt x="0" y="0"/>
                  </a:lnTo>
                  <a:lnTo>
                    <a:pt x="0" y="0"/>
                  </a:lnTo>
                  <a:lnTo>
                    <a:pt x="2" y="0"/>
                  </a:lnTo>
                  <a:lnTo>
                    <a:pt x="5" y="0"/>
                  </a:lnTo>
                  <a:lnTo>
                    <a:pt x="5"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124" name="Freeform 1742">
              <a:extLst>
                <a:ext uri="{FF2B5EF4-FFF2-40B4-BE49-F238E27FC236}">
                  <a16:creationId xmlns:a16="http://schemas.microsoft.com/office/drawing/2014/main" id="{19C3D39F-9369-524C-90BA-3294E451F447}"/>
                </a:ext>
              </a:extLst>
            </p:cNvPr>
            <p:cNvSpPr>
              <a:spLocks/>
            </p:cNvSpPr>
            <p:nvPr/>
          </p:nvSpPr>
          <p:spPr bwMode="auto">
            <a:xfrm>
              <a:off x="10957458" y="1852968"/>
              <a:ext cx="8179" cy="4908"/>
            </a:xfrm>
            <a:custGeom>
              <a:avLst/>
              <a:gdLst>
                <a:gd name="T0" fmla="*/ 2 w 5"/>
                <a:gd name="T1" fmla="*/ 0 h 3"/>
                <a:gd name="T2" fmla="*/ 2 w 5"/>
                <a:gd name="T3" fmla="*/ 0 h 3"/>
                <a:gd name="T4" fmla="*/ 0 w 5"/>
                <a:gd name="T5" fmla="*/ 0 h 3"/>
                <a:gd name="T6" fmla="*/ 0 w 5"/>
                <a:gd name="T7" fmla="*/ 3 h 3"/>
                <a:gd name="T8" fmla="*/ 0 w 5"/>
                <a:gd name="T9" fmla="*/ 3 h 3"/>
                <a:gd name="T10" fmla="*/ 2 w 5"/>
                <a:gd name="T11" fmla="*/ 3 h 3"/>
                <a:gd name="T12" fmla="*/ 2 w 5"/>
                <a:gd name="T13" fmla="*/ 3 h 3"/>
                <a:gd name="T14" fmla="*/ 2 w 5"/>
                <a:gd name="T15" fmla="*/ 3 h 3"/>
                <a:gd name="T16" fmla="*/ 2 w 5"/>
                <a:gd name="T17" fmla="*/ 3 h 3"/>
                <a:gd name="T18" fmla="*/ 5 w 5"/>
                <a:gd name="T19" fmla="*/ 3 h 3"/>
                <a:gd name="T20" fmla="*/ 5 w 5"/>
                <a:gd name="T21" fmla="*/ 3 h 3"/>
                <a:gd name="T22" fmla="*/ 5 w 5"/>
                <a:gd name="T23" fmla="*/ 3 h 3"/>
                <a:gd name="T24" fmla="*/ 2 w 5"/>
                <a:gd name="T25"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 h="3">
                  <a:moveTo>
                    <a:pt x="2" y="0"/>
                  </a:moveTo>
                  <a:lnTo>
                    <a:pt x="2" y="0"/>
                  </a:lnTo>
                  <a:lnTo>
                    <a:pt x="0" y="0"/>
                  </a:lnTo>
                  <a:lnTo>
                    <a:pt x="0" y="3"/>
                  </a:lnTo>
                  <a:lnTo>
                    <a:pt x="0" y="3"/>
                  </a:lnTo>
                  <a:lnTo>
                    <a:pt x="2" y="3"/>
                  </a:lnTo>
                  <a:lnTo>
                    <a:pt x="2" y="3"/>
                  </a:lnTo>
                  <a:lnTo>
                    <a:pt x="2" y="3"/>
                  </a:lnTo>
                  <a:lnTo>
                    <a:pt x="2" y="3"/>
                  </a:lnTo>
                  <a:lnTo>
                    <a:pt x="5" y="3"/>
                  </a:lnTo>
                  <a:lnTo>
                    <a:pt x="5" y="3"/>
                  </a:lnTo>
                  <a:lnTo>
                    <a:pt x="5" y="3"/>
                  </a:lnTo>
                  <a:lnTo>
                    <a:pt x="2"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125" name="Freeform 1743">
              <a:extLst>
                <a:ext uri="{FF2B5EF4-FFF2-40B4-BE49-F238E27FC236}">
                  <a16:creationId xmlns:a16="http://schemas.microsoft.com/office/drawing/2014/main" id="{0FC16EEB-1268-9A45-928C-BA2C4320EEDC}"/>
                </a:ext>
              </a:extLst>
            </p:cNvPr>
            <p:cNvSpPr>
              <a:spLocks/>
            </p:cNvSpPr>
            <p:nvPr/>
          </p:nvSpPr>
          <p:spPr bwMode="auto">
            <a:xfrm>
              <a:off x="10885486" y="1874232"/>
              <a:ext cx="29443" cy="3271"/>
            </a:xfrm>
            <a:custGeom>
              <a:avLst/>
              <a:gdLst>
                <a:gd name="T0" fmla="*/ 18 w 18"/>
                <a:gd name="T1" fmla="*/ 0 h 2"/>
                <a:gd name="T2" fmla="*/ 13 w 18"/>
                <a:gd name="T3" fmla="*/ 0 h 2"/>
                <a:gd name="T4" fmla="*/ 8 w 18"/>
                <a:gd name="T5" fmla="*/ 0 h 2"/>
                <a:gd name="T6" fmla="*/ 8 w 18"/>
                <a:gd name="T7" fmla="*/ 0 h 2"/>
                <a:gd name="T8" fmla="*/ 5 w 18"/>
                <a:gd name="T9" fmla="*/ 0 h 2"/>
                <a:gd name="T10" fmla="*/ 5 w 18"/>
                <a:gd name="T11" fmla="*/ 0 h 2"/>
                <a:gd name="T12" fmla="*/ 3 w 18"/>
                <a:gd name="T13" fmla="*/ 0 h 2"/>
                <a:gd name="T14" fmla="*/ 0 w 18"/>
                <a:gd name="T15" fmla="*/ 0 h 2"/>
                <a:gd name="T16" fmla="*/ 3 w 18"/>
                <a:gd name="T17" fmla="*/ 0 h 2"/>
                <a:gd name="T18" fmla="*/ 3 w 18"/>
                <a:gd name="T19" fmla="*/ 0 h 2"/>
                <a:gd name="T20" fmla="*/ 5 w 18"/>
                <a:gd name="T21" fmla="*/ 2 h 2"/>
                <a:gd name="T22" fmla="*/ 5 w 18"/>
                <a:gd name="T23" fmla="*/ 2 h 2"/>
                <a:gd name="T24" fmla="*/ 8 w 18"/>
                <a:gd name="T25" fmla="*/ 2 h 2"/>
                <a:gd name="T26" fmla="*/ 13 w 18"/>
                <a:gd name="T27" fmla="*/ 2 h 2"/>
                <a:gd name="T28" fmla="*/ 13 w 18"/>
                <a:gd name="T29" fmla="*/ 2 h 2"/>
                <a:gd name="T30" fmla="*/ 16 w 18"/>
                <a:gd name="T31" fmla="*/ 2 h 2"/>
                <a:gd name="T32" fmla="*/ 16 w 18"/>
                <a:gd name="T33" fmla="*/ 2 h 2"/>
                <a:gd name="T34" fmla="*/ 18 w 18"/>
                <a:gd name="T35" fmla="*/ 0 h 2"/>
                <a:gd name="T36" fmla="*/ 18 w 18"/>
                <a:gd name="T37" fmla="*/ 0 h 2"/>
                <a:gd name="T38" fmla="*/ 18 w 18"/>
                <a:gd name="T3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 h="2">
                  <a:moveTo>
                    <a:pt x="18" y="0"/>
                  </a:moveTo>
                  <a:lnTo>
                    <a:pt x="13" y="0"/>
                  </a:lnTo>
                  <a:lnTo>
                    <a:pt x="8" y="0"/>
                  </a:lnTo>
                  <a:lnTo>
                    <a:pt x="8" y="0"/>
                  </a:lnTo>
                  <a:lnTo>
                    <a:pt x="5" y="0"/>
                  </a:lnTo>
                  <a:lnTo>
                    <a:pt x="5" y="0"/>
                  </a:lnTo>
                  <a:lnTo>
                    <a:pt x="3" y="0"/>
                  </a:lnTo>
                  <a:lnTo>
                    <a:pt x="0" y="0"/>
                  </a:lnTo>
                  <a:lnTo>
                    <a:pt x="3" y="0"/>
                  </a:lnTo>
                  <a:lnTo>
                    <a:pt x="3" y="0"/>
                  </a:lnTo>
                  <a:lnTo>
                    <a:pt x="5" y="2"/>
                  </a:lnTo>
                  <a:lnTo>
                    <a:pt x="5" y="2"/>
                  </a:lnTo>
                  <a:lnTo>
                    <a:pt x="8" y="2"/>
                  </a:lnTo>
                  <a:lnTo>
                    <a:pt x="13" y="2"/>
                  </a:lnTo>
                  <a:lnTo>
                    <a:pt x="13" y="2"/>
                  </a:lnTo>
                  <a:lnTo>
                    <a:pt x="16" y="2"/>
                  </a:lnTo>
                  <a:lnTo>
                    <a:pt x="16" y="2"/>
                  </a:lnTo>
                  <a:lnTo>
                    <a:pt x="18" y="0"/>
                  </a:lnTo>
                  <a:lnTo>
                    <a:pt x="18" y="0"/>
                  </a:lnTo>
                  <a:lnTo>
                    <a:pt x="18"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126" name="Freeform 1744">
              <a:extLst>
                <a:ext uri="{FF2B5EF4-FFF2-40B4-BE49-F238E27FC236}">
                  <a16:creationId xmlns:a16="http://schemas.microsoft.com/office/drawing/2014/main" id="{9BFDDD65-E926-D54C-8B1C-341B4D748CA8}"/>
                </a:ext>
              </a:extLst>
            </p:cNvPr>
            <p:cNvSpPr>
              <a:spLocks/>
            </p:cNvSpPr>
            <p:nvPr/>
          </p:nvSpPr>
          <p:spPr bwMode="auto">
            <a:xfrm>
              <a:off x="10564882" y="1578164"/>
              <a:ext cx="34351" cy="13086"/>
            </a:xfrm>
            <a:custGeom>
              <a:avLst/>
              <a:gdLst>
                <a:gd name="T0" fmla="*/ 15 w 21"/>
                <a:gd name="T1" fmla="*/ 5 h 8"/>
                <a:gd name="T2" fmla="*/ 13 w 21"/>
                <a:gd name="T3" fmla="*/ 5 h 8"/>
                <a:gd name="T4" fmla="*/ 8 w 21"/>
                <a:gd name="T5" fmla="*/ 3 h 8"/>
                <a:gd name="T6" fmla="*/ 5 w 21"/>
                <a:gd name="T7" fmla="*/ 3 h 8"/>
                <a:gd name="T8" fmla="*/ 3 w 21"/>
                <a:gd name="T9" fmla="*/ 0 h 8"/>
                <a:gd name="T10" fmla="*/ 0 w 21"/>
                <a:gd name="T11" fmla="*/ 0 h 8"/>
                <a:gd name="T12" fmla="*/ 3 w 21"/>
                <a:gd name="T13" fmla="*/ 3 h 8"/>
                <a:gd name="T14" fmla="*/ 5 w 21"/>
                <a:gd name="T15" fmla="*/ 3 h 8"/>
                <a:gd name="T16" fmla="*/ 13 w 21"/>
                <a:gd name="T17" fmla="*/ 5 h 8"/>
                <a:gd name="T18" fmla="*/ 18 w 21"/>
                <a:gd name="T19" fmla="*/ 5 h 8"/>
                <a:gd name="T20" fmla="*/ 21 w 21"/>
                <a:gd name="T21" fmla="*/ 8 h 8"/>
                <a:gd name="T22" fmla="*/ 18 w 21"/>
                <a:gd name="T23" fmla="*/ 5 h 8"/>
                <a:gd name="T24" fmla="*/ 15 w 21"/>
                <a:gd name="T25"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8">
                  <a:moveTo>
                    <a:pt x="15" y="5"/>
                  </a:moveTo>
                  <a:lnTo>
                    <a:pt x="13" y="5"/>
                  </a:lnTo>
                  <a:lnTo>
                    <a:pt x="8" y="3"/>
                  </a:lnTo>
                  <a:lnTo>
                    <a:pt x="5" y="3"/>
                  </a:lnTo>
                  <a:lnTo>
                    <a:pt x="3" y="0"/>
                  </a:lnTo>
                  <a:lnTo>
                    <a:pt x="0" y="0"/>
                  </a:lnTo>
                  <a:lnTo>
                    <a:pt x="3" y="3"/>
                  </a:lnTo>
                  <a:lnTo>
                    <a:pt x="5" y="3"/>
                  </a:lnTo>
                  <a:lnTo>
                    <a:pt x="13" y="5"/>
                  </a:lnTo>
                  <a:lnTo>
                    <a:pt x="18" y="5"/>
                  </a:lnTo>
                  <a:lnTo>
                    <a:pt x="21" y="8"/>
                  </a:lnTo>
                  <a:lnTo>
                    <a:pt x="18" y="5"/>
                  </a:lnTo>
                  <a:lnTo>
                    <a:pt x="15" y="5"/>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127" name="Freeform 1745">
              <a:extLst>
                <a:ext uri="{FF2B5EF4-FFF2-40B4-BE49-F238E27FC236}">
                  <a16:creationId xmlns:a16="http://schemas.microsoft.com/office/drawing/2014/main" id="{79DD59F3-0217-6C40-BAAD-A47C77166B79}"/>
                </a:ext>
              </a:extLst>
            </p:cNvPr>
            <p:cNvSpPr>
              <a:spLocks/>
            </p:cNvSpPr>
            <p:nvPr/>
          </p:nvSpPr>
          <p:spPr bwMode="auto">
            <a:xfrm>
              <a:off x="10648305" y="1874232"/>
              <a:ext cx="8179" cy="8179"/>
            </a:xfrm>
            <a:custGeom>
              <a:avLst/>
              <a:gdLst>
                <a:gd name="T0" fmla="*/ 5 w 5"/>
                <a:gd name="T1" fmla="*/ 2 h 5"/>
                <a:gd name="T2" fmla="*/ 3 w 5"/>
                <a:gd name="T3" fmla="*/ 0 h 5"/>
                <a:gd name="T4" fmla="*/ 3 w 5"/>
                <a:gd name="T5" fmla="*/ 0 h 5"/>
                <a:gd name="T6" fmla="*/ 3 w 5"/>
                <a:gd name="T7" fmla="*/ 0 h 5"/>
                <a:gd name="T8" fmla="*/ 3 w 5"/>
                <a:gd name="T9" fmla="*/ 2 h 5"/>
                <a:gd name="T10" fmla="*/ 3 w 5"/>
                <a:gd name="T11" fmla="*/ 2 h 5"/>
                <a:gd name="T12" fmla="*/ 3 w 5"/>
                <a:gd name="T13" fmla="*/ 2 h 5"/>
                <a:gd name="T14" fmla="*/ 0 w 5"/>
                <a:gd name="T15" fmla="*/ 5 h 5"/>
                <a:gd name="T16" fmla="*/ 3 w 5"/>
                <a:gd name="T17" fmla="*/ 5 h 5"/>
                <a:gd name="T18" fmla="*/ 3 w 5"/>
                <a:gd name="T19" fmla="*/ 5 h 5"/>
                <a:gd name="T20" fmla="*/ 5 w 5"/>
                <a:gd name="T21" fmla="*/ 5 h 5"/>
                <a:gd name="T22" fmla="*/ 5 w 5"/>
                <a:gd name="T23" fmla="*/ 5 h 5"/>
                <a:gd name="T24" fmla="*/ 5 w 5"/>
                <a:gd name="T25" fmla="*/ 2 h 5"/>
                <a:gd name="T26" fmla="*/ 5 w 5"/>
                <a:gd name="T27"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 h="5">
                  <a:moveTo>
                    <a:pt x="5" y="2"/>
                  </a:moveTo>
                  <a:lnTo>
                    <a:pt x="3" y="0"/>
                  </a:lnTo>
                  <a:lnTo>
                    <a:pt x="3" y="0"/>
                  </a:lnTo>
                  <a:lnTo>
                    <a:pt x="3" y="0"/>
                  </a:lnTo>
                  <a:lnTo>
                    <a:pt x="3" y="2"/>
                  </a:lnTo>
                  <a:lnTo>
                    <a:pt x="3" y="2"/>
                  </a:lnTo>
                  <a:lnTo>
                    <a:pt x="3" y="2"/>
                  </a:lnTo>
                  <a:lnTo>
                    <a:pt x="0" y="5"/>
                  </a:lnTo>
                  <a:lnTo>
                    <a:pt x="3" y="5"/>
                  </a:lnTo>
                  <a:lnTo>
                    <a:pt x="3" y="5"/>
                  </a:lnTo>
                  <a:lnTo>
                    <a:pt x="5" y="5"/>
                  </a:lnTo>
                  <a:lnTo>
                    <a:pt x="5" y="5"/>
                  </a:lnTo>
                  <a:lnTo>
                    <a:pt x="5" y="2"/>
                  </a:lnTo>
                  <a:lnTo>
                    <a:pt x="5" y="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128" name="Freeform 1746">
              <a:extLst>
                <a:ext uri="{FF2B5EF4-FFF2-40B4-BE49-F238E27FC236}">
                  <a16:creationId xmlns:a16="http://schemas.microsoft.com/office/drawing/2014/main" id="{CBD64252-BACC-1C4D-BEE3-C896BF1381E6}"/>
                </a:ext>
              </a:extLst>
            </p:cNvPr>
            <p:cNvSpPr>
              <a:spLocks/>
            </p:cNvSpPr>
            <p:nvPr/>
          </p:nvSpPr>
          <p:spPr bwMode="auto">
            <a:xfrm>
              <a:off x="10456923" y="1475113"/>
              <a:ext cx="91601" cy="24537"/>
            </a:xfrm>
            <a:custGeom>
              <a:avLst/>
              <a:gdLst>
                <a:gd name="T0" fmla="*/ 56 w 56"/>
                <a:gd name="T1" fmla="*/ 10 h 15"/>
                <a:gd name="T2" fmla="*/ 56 w 56"/>
                <a:gd name="T3" fmla="*/ 10 h 15"/>
                <a:gd name="T4" fmla="*/ 56 w 56"/>
                <a:gd name="T5" fmla="*/ 7 h 15"/>
                <a:gd name="T6" fmla="*/ 53 w 56"/>
                <a:gd name="T7" fmla="*/ 7 h 15"/>
                <a:gd name="T8" fmla="*/ 51 w 56"/>
                <a:gd name="T9" fmla="*/ 7 h 15"/>
                <a:gd name="T10" fmla="*/ 48 w 56"/>
                <a:gd name="T11" fmla="*/ 7 h 15"/>
                <a:gd name="T12" fmla="*/ 46 w 56"/>
                <a:gd name="T13" fmla="*/ 7 h 15"/>
                <a:gd name="T14" fmla="*/ 43 w 56"/>
                <a:gd name="T15" fmla="*/ 7 h 15"/>
                <a:gd name="T16" fmla="*/ 43 w 56"/>
                <a:gd name="T17" fmla="*/ 7 h 15"/>
                <a:gd name="T18" fmla="*/ 41 w 56"/>
                <a:gd name="T19" fmla="*/ 5 h 15"/>
                <a:gd name="T20" fmla="*/ 38 w 56"/>
                <a:gd name="T21" fmla="*/ 5 h 15"/>
                <a:gd name="T22" fmla="*/ 33 w 56"/>
                <a:gd name="T23" fmla="*/ 5 h 15"/>
                <a:gd name="T24" fmla="*/ 33 w 56"/>
                <a:gd name="T25" fmla="*/ 5 h 15"/>
                <a:gd name="T26" fmla="*/ 30 w 56"/>
                <a:gd name="T27" fmla="*/ 2 h 15"/>
                <a:gd name="T28" fmla="*/ 28 w 56"/>
                <a:gd name="T29" fmla="*/ 2 h 15"/>
                <a:gd name="T30" fmla="*/ 28 w 56"/>
                <a:gd name="T31" fmla="*/ 2 h 15"/>
                <a:gd name="T32" fmla="*/ 23 w 56"/>
                <a:gd name="T33" fmla="*/ 0 h 15"/>
                <a:gd name="T34" fmla="*/ 20 w 56"/>
                <a:gd name="T35" fmla="*/ 0 h 15"/>
                <a:gd name="T36" fmla="*/ 20 w 56"/>
                <a:gd name="T37" fmla="*/ 0 h 15"/>
                <a:gd name="T38" fmla="*/ 18 w 56"/>
                <a:gd name="T39" fmla="*/ 2 h 15"/>
                <a:gd name="T40" fmla="*/ 18 w 56"/>
                <a:gd name="T41" fmla="*/ 2 h 15"/>
                <a:gd name="T42" fmla="*/ 15 w 56"/>
                <a:gd name="T43" fmla="*/ 2 h 15"/>
                <a:gd name="T44" fmla="*/ 13 w 56"/>
                <a:gd name="T45" fmla="*/ 2 h 15"/>
                <a:gd name="T46" fmla="*/ 10 w 56"/>
                <a:gd name="T47" fmla="*/ 2 h 15"/>
                <a:gd name="T48" fmla="*/ 8 w 56"/>
                <a:gd name="T49" fmla="*/ 2 h 15"/>
                <a:gd name="T50" fmla="*/ 8 w 56"/>
                <a:gd name="T51" fmla="*/ 2 h 15"/>
                <a:gd name="T52" fmla="*/ 2 w 56"/>
                <a:gd name="T53" fmla="*/ 0 h 15"/>
                <a:gd name="T54" fmla="*/ 0 w 56"/>
                <a:gd name="T55" fmla="*/ 0 h 15"/>
                <a:gd name="T56" fmla="*/ 2 w 56"/>
                <a:gd name="T57" fmla="*/ 2 h 15"/>
                <a:gd name="T58" fmla="*/ 5 w 56"/>
                <a:gd name="T59" fmla="*/ 5 h 15"/>
                <a:gd name="T60" fmla="*/ 5 w 56"/>
                <a:gd name="T61" fmla="*/ 5 h 15"/>
                <a:gd name="T62" fmla="*/ 8 w 56"/>
                <a:gd name="T63" fmla="*/ 5 h 15"/>
                <a:gd name="T64" fmla="*/ 10 w 56"/>
                <a:gd name="T65" fmla="*/ 7 h 15"/>
                <a:gd name="T66" fmla="*/ 13 w 56"/>
                <a:gd name="T67" fmla="*/ 7 h 15"/>
                <a:gd name="T68" fmla="*/ 15 w 56"/>
                <a:gd name="T69" fmla="*/ 7 h 15"/>
                <a:gd name="T70" fmla="*/ 18 w 56"/>
                <a:gd name="T71" fmla="*/ 7 h 15"/>
                <a:gd name="T72" fmla="*/ 18 w 56"/>
                <a:gd name="T73" fmla="*/ 7 h 15"/>
                <a:gd name="T74" fmla="*/ 18 w 56"/>
                <a:gd name="T75" fmla="*/ 7 h 15"/>
                <a:gd name="T76" fmla="*/ 18 w 56"/>
                <a:gd name="T77" fmla="*/ 5 h 15"/>
                <a:gd name="T78" fmla="*/ 20 w 56"/>
                <a:gd name="T79" fmla="*/ 5 h 15"/>
                <a:gd name="T80" fmla="*/ 23 w 56"/>
                <a:gd name="T81" fmla="*/ 5 h 15"/>
                <a:gd name="T82" fmla="*/ 28 w 56"/>
                <a:gd name="T83" fmla="*/ 7 h 15"/>
                <a:gd name="T84" fmla="*/ 30 w 56"/>
                <a:gd name="T85" fmla="*/ 7 h 15"/>
                <a:gd name="T86" fmla="*/ 33 w 56"/>
                <a:gd name="T87" fmla="*/ 7 h 15"/>
                <a:gd name="T88" fmla="*/ 36 w 56"/>
                <a:gd name="T89" fmla="*/ 10 h 15"/>
                <a:gd name="T90" fmla="*/ 38 w 56"/>
                <a:gd name="T91" fmla="*/ 10 h 15"/>
                <a:gd name="T92" fmla="*/ 41 w 56"/>
                <a:gd name="T93" fmla="*/ 10 h 15"/>
                <a:gd name="T94" fmla="*/ 41 w 56"/>
                <a:gd name="T95" fmla="*/ 10 h 15"/>
                <a:gd name="T96" fmla="*/ 43 w 56"/>
                <a:gd name="T97" fmla="*/ 10 h 15"/>
                <a:gd name="T98" fmla="*/ 46 w 56"/>
                <a:gd name="T99" fmla="*/ 12 h 15"/>
                <a:gd name="T100" fmla="*/ 48 w 56"/>
                <a:gd name="T101" fmla="*/ 12 h 15"/>
                <a:gd name="T102" fmla="*/ 48 w 56"/>
                <a:gd name="T103" fmla="*/ 12 h 15"/>
                <a:gd name="T104" fmla="*/ 53 w 56"/>
                <a:gd name="T105" fmla="*/ 15 h 15"/>
                <a:gd name="T106" fmla="*/ 53 w 56"/>
                <a:gd name="T107" fmla="*/ 15 h 15"/>
                <a:gd name="T108" fmla="*/ 53 w 56"/>
                <a:gd name="T109" fmla="*/ 15 h 15"/>
                <a:gd name="T110" fmla="*/ 56 w 56"/>
                <a:gd name="T111" fmla="*/ 15 h 15"/>
                <a:gd name="T112" fmla="*/ 53 w 56"/>
                <a:gd name="T113" fmla="*/ 12 h 15"/>
                <a:gd name="T114" fmla="*/ 53 w 56"/>
                <a:gd name="T115" fmla="*/ 12 h 15"/>
                <a:gd name="T116" fmla="*/ 53 w 56"/>
                <a:gd name="T117" fmla="*/ 10 h 15"/>
                <a:gd name="T118" fmla="*/ 56 w 56"/>
                <a:gd name="T119" fmla="*/ 1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6" h="15">
                  <a:moveTo>
                    <a:pt x="56" y="10"/>
                  </a:moveTo>
                  <a:lnTo>
                    <a:pt x="56" y="10"/>
                  </a:lnTo>
                  <a:lnTo>
                    <a:pt x="56" y="7"/>
                  </a:lnTo>
                  <a:lnTo>
                    <a:pt x="53" y="7"/>
                  </a:lnTo>
                  <a:lnTo>
                    <a:pt x="51" y="7"/>
                  </a:lnTo>
                  <a:lnTo>
                    <a:pt x="48" y="7"/>
                  </a:lnTo>
                  <a:lnTo>
                    <a:pt x="46" y="7"/>
                  </a:lnTo>
                  <a:lnTo>
                    <a:pt x="43" y="7"/>
                  </a:lnTo>
                  <a:lnTo>
                    <a:pt x="43" y="7"/>
                  </a:lnTo>
                  <a:lnTo>
                    <a:pt x="41" y="5"/>
                  </a:lnTo>
                  <a:lnTo>
                    <a:pt x="38" y="5"/>
                  </a:lnTo>
                  <a:lnTo>
                    <a:pt x="33" y="5"/>
                  </a:lnTo>
                  <a:lnTo>
                    <a:pt x="33" y="5"/>
                  </a:lnTo>
                  <a:lnTo>
                    <a:pt x="30" y="2"/>
                  </a:lnTo>
                  <a:lnTo>
                    <a:pt x="28" y="2"/>
                  </a:lnTo>
                  <a:lnTo>
                    <a:pt x="28" y="2"/>
                  </a:lnTo>
                  <a:lnTo>
                    <a:pt x="23" y="0"/>
                  </a:lnTo>
                  <a:lnTo>
                    <a:pt x="20" y="0"/>
                  </a:lnTo>
                  <a:lnTo>
                    <a:pt x="20" y="0"/>
                  </a:lnTo>
                  <a:lnTo>
                    <a:pt x="18" y="2"/>
                  </a:lnTo>
                  <a:lnTo>
                    <a:pt x="18" y="2"/>
                  </a:lnTo>
                  <a:lnTo>
                    <a:pt x="15" y="2"/>
                  </a:lnTo>
                  <a:lnTo>
                    <a:pt x="13" y="2"/>
                  </a:lnTo>
                  <a:lnTo>
                    <a:pt x="10" y="2"/>
                  </a:lnTo>
                  <a:lnTo>
                    <a:pt x="8" y="2"/>
                  </a:lnTo>
                  <a:lnTo>
                    <a:pt x="8" y="2"/>
                  </a:lnTo>
                  <a:lnTo>
                    <a:pt x="2" y="0"/>
                  </a:lnTo>
                  <a:lnTo>
                    <a:pt x="0" y="0"/>
                  </a:lnTo>
                  <a:lnTo>
                    <a:pt x="2" y="2"/>
                  </a:lnTo>
                  <a:lnTo>
                    <a:pt x="5" y="5"/>
                  </a:lnTo>
                  <a:lnTo>
                    <a:pt x="5" y="5"/>
                  </a:lnTo>
                  <a:lnTo>
                    <a:pt x="8" y="5"/>
                  </a:lnTo>
                  <a:lnTo>
                    <a:pt x="10" y="7"/>
                  </a:lnTo>
                  <a:lnTo>
                    <a:pt x="13" y="7"/>
                  </a:lnTo>
                  <a:lnTo>
                    <a:pt x="15" y="7"/>
                  </a:lnTo>
                  <a:lnTo>
                    <a:pt x="18" y="7"/>
                  </a:lnTo>
                  <a:lnTo>
                    <a:pt x="18" y="7"/>
                  </a:lnTo>
                  <a:lnTo>
                    <a:pt x="18" y="7"/>
                  </a:lnTo>
                  <a:lnTo>
                    <a:pt x="18" y="5"/>
                  </a:lnTo>
                  <a:lnTo>
                    <a:pt x="20" y="5"/>
                  </a:lnTo>
                  <a:lnTo>
                    <a:pt x="23" y="5"/>
                  </a:lnTo>
                  <a:lnTo>
                    <a:pt x="28" y="7"/>
                  </a:lnTo>
                  <a:lnTo>
                    <a:pt x="30" y="7"/>
                  </a:lnTo>
                  <a:lnTo>
                    <a:pt x="33" y="7"/>
                  </a:lnTo>
                  <a:lnTo>
                    <a:pt x="36" y="10"/>
                  </a:lnTo>
                  <a:lnTo>
                    <a:pt x="38" y="10"/>
                  </a:lnTo>
                  <a:lnTo>
                    <a:pt x="41" y="10"/>
                  </a:lnTo>
                  <a:lnTo>
                    <a:pt x="41" y="10"/>
                  </a:lnTo>
                  <a:lnTo>
                    <a:pt x="43" y="10"/>
                  </a:lnTo>
                  <a:lnTo>
                    <a:pt x="46" y="12"/>
                  </a:lnTo>
                  <a:lnTo>
                    <a:pt x="48" y="12"/>
                  </a:lnTo>
                  <a:lnTo>
                    <a:pt x="48" y="12"/>
                  </a:lnTo>
                  <a:lnTo>
                    <a:pt x="53" y="15"/>
                  </a:lnTo>
                  <a:lnTo>
                    <a:pt x="53" y="15"/>
                  </a:lnTo>
                  <a:lnTo>
                    <a:pt x="53" y="15"/>
                  </a:lnTo>
                  <a:lnTo>
                    <a:pt x="56" y="15"/>
                  </a:lnTo>
                  <a:lnTo>
                    <a:pt x="53" y="12"/>
                  </a:lnTo>
                  <a:lnTo>
                    <a:pt x="53" y="12"/>
                  </a:lnTo>
                  <a:lnTo>
                    <a:pt x="53" y="10"/>
                  </a:lnTo>
                  <a:lnTo>
                    <a:pt x="56" y="1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129" name="Freeform 1747">
              <a:extLst>
                <a:ext uri="{FF2B5EF4-FFF2-40B4-BE49-F238E27FC236}">
                  <a16:creationId xmlns:a16="http://schemas.microsoft.com/office/drawing/2014/main" id="{4CF7A466-04F0-F549-9243-B4DD233DECB7}"/>
                </a:ext>
              </a:extLst>
            </p:cNvPr>
            <p:cNvSpPr>
              <a:spLocks/>
            </p:cNvSpPr>
            <p:nvPr/>
          </p:nvSpPr>
          <p:spPr bwMode="auto">
            <a:xfrm>
              <a:off x="10523989" y="1861146"/>
              <a:ext cx="11451" cy="4908"/>
            </a:xfrm>
            <a:custGeom>
              <a:avLst/>
              <a:gdLst>
                <a:gd name="T0" fmla="*/ 5 w 7"/>
                <a:gd name="T1" fmla="*/ 0 h 3"/>
                <a:gd name="T2" fmla="*/ 2 w 7"/>
                <a:gd name="T3" fmla="*/ 0 h 3"/>
                <a:gd name="T4" fmla="*/ 0 w 7"/>
                <a:gd name="T5" fmla="*/ 0 h 3"/>
                <a:gd name="T6" fmla="*/ 0 w 7"/>
                <a:gd name="T7" fmla="*/ 0 h 3"/>
                <a:gd name="T8" fmla="*/ 0 w 7"/>
                <a:gd name="T9" fmla="*/ 3 h 3"/>
                <a:gd name="T10" fmla="*/ 5 w 7"/>
                <a:gd name="T11" fmla="*/ 3 h 3"/>
                <a:gd name="T12" fmla="*/ 5 w 7"/>
                <a:gd name="T13" fmla="*/ 3 h 3"/>
                <a:gd name="T14" fmla="*/ 7 w 7"/>
                <a:gd name="T15" fmla="*/ 3 h 3"/>
                <a:gd name="T16" fmla="*/ 5 w 7"/>
                <a:gd name="T17" fmla="*/ 0 h 3"/>
                <a:gd name="T18" fmla="*/ 5 w 7"/>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 h="3">
                  <a:moveTo>
                    <a:pt x="5" y="0"/>
                  </a:moveTo>
                  <a:lnTo>
                    <a:pt x="2" y="0"/>
                  </a:lnTo>
                  <a:lnTo>
                    <a:pt x="0" y="0"/>
                  </a:lnTo>
                  <a:lnTo>
                    <a:pt x="0" y="0"/>
                  </a:lnTo>
                  <a:lnTo>
                    <a:pt x="0" y="3"/>
                  </a:lnTo>
                  <a:lnTo>
                    <a:pt x="5" y="3"/>
                  </a:lnTo>
                  <a:lnTo>
                    <a:pt x="5" y="3"/>
                  </a:lnTo>
                  <a:lnTo>
                    <a:pt x="7" y="3"/>
                  </a:lnTo>
                  <a:lnTo>
                    <a:pt x="5" y="0"/>
                  </a:lnTo>
                  <a:lnTo>
                    <a:pt x="5"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130" name="Freeform 1748">
              <a:extLst>
                <a:ext uri="{FF2B5EF4-FFF2-40B4-BE49-F238E27FC236}">
                  <a16:creationId xmlns:a16="http://schemas.microsoft.com/office/drawing/2014/main" id="{DF2AD73E-B44F-1F48-9620-A2A38546E433}"/>
                </a:ext>
              </a:extLst>
            </p:cNvPr>
            <p:cNvSpPr>
              <a:spLocks/>
            </p:cNvSpPr>
            <p:nvPr/>
          </p:nvSpPr>
          <p:spPr bwMode="auto">
            <a:xfrm>
              <a:off x="10699012" y="1890590"/>
              <a:ext cx="32715" cy="13086"/>
            </a:xfrm>
            <a:custGeom>
              <a:avLst/>
              <a:gdLst>
                <a:gd name="T0" fmla="*/ 15 w 20"/>
                <a:gd name="T1" fmla="*/ 5 h 8"/>
                <a:gd name="T2" fmla="*/ 12 w 20"/>
                <a:gd name="T3" fmla="*/ 5 h 8"/>
                <a:gd name="T4" fmla="*/ 10 w 20"/>
                <a:gd name="T5" fmla="*/ 3 h 8"/>
                <a:gd name="T6" fmla="*/ 5 w 20"/>
                <a:gd name="T7" fmla="*/ 0 h 8"/>
                <a:gd name="T8" fmla="*/ 0 w 20"/>
                <a:gd name="T9" fmla="*/ 0 h 8"/>
                <a:gd name="T10" fmla="*/ 0 w 20"/>
                <a:gd name="T11" fmla="*/ 0 h 8"/>
                <a:gd name="T12" fmla="*/ 2 w 20"/>
                <a:gd name="T13" fmla="*/ 3 h 8"/>
                <a:gd name="T14" fmla="*/ 7 w 20"/>
                <a:gd name="T15" fmla="*/ 3 h 8"/>
                <a:gd name="T16" fmla="*/ 18 w 20"/>
                <a:gd name="T17" fmla="*/ 8 h 8"/>
                <a:gd name="T18" fmla="*/ 20 w 20"/>
                <a:gd name="T19" fmla="*/ 5 h 8"/>
                <a:gd name="T20" fmla="*/ 18 w 20"/>
                <a:gd name="T21" fmla="*/ 5 h 8"/>
                <a:gd name="T22" fmla="*/ 15 w 20"/>
                <a:gd name="T23" fmla="*/ 5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8">
                  <a:moveTo>
                    <a:pt x="15" y="5"/>
                  </a:moveTo>
                  <a:lnTo>
                    <a:pt x="12" y="5"/>
                  </a:lnTo>
                  <a:lnTo>
                    <a:pt x="10" y="3"/>
                  </a:lnTo>
                  <a:lnTo>
                    <a:pt x="5" y="0"/>
                  </a:lnTo>
                  <a:lnTo>
                    <a:pt x="0" y="0"/>
                  </a:lnTo>
                  <a:lnTo>
                    <a:pt x="0" y="0"/>
                  </a:lnTo>
                  <a:lnTo>
                    <a:pt x="2" y="3"/>
                  </a:lnTo>
                  <a:lnTo>
                    <a:pt x="7" y="3"/>
                  </a:lnTo>
                  <a:lnTo>
                    <a:pt x="18" y="8"/>
                  </a:lnTo>
                  <a:lnTo>
                    <a:pt x="20" y="5"/>
                  </a:lnTo>
                  <a:lnTo>
                    <a:pt x="18" y="5"/>
                  </a:lnTo>
                  <a:lnTo>
                    <a:pt x="15" y="5"/>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131" name="Freeform 1749">
              <a:extLst>
                <a:ext uri="{FF2B5EF4-FFF2-40B4-BE49-F238E27FC236}">
                  <a16:creationId xmlns:a16="http://schemas.microsoft.com/office/drawing/2014/main" id="{D96CD92E-2220-F947-B356-FBDDE01002D0}"/>
                </a:ext>
              </a:extLst>
            </p:cNvPr>
            <p:cNvSpPr>
              <a:spLocks/>
            </p:cNvSpPr>
            <p:nvPr/>
          </p:nvSpPr>
          <p:spPr bwMode="auto">
            <a:xfrm>
              <a:off x="10682655" y="1877504"/>
              <a:ext cx="3271" cy="4908"/>
            </a:xfrm>
            <a:custGeom>
              <a:avLst/>
              <a:gdLst>
                <a:gd name="T0" fmla="*/ 2 w 2"/>
                <a:gd name="T1" fmla="*/ 0 h 3"/>
                <a:gd name="T2" fmla="*/ 0 w 2"/>
                <a:gd name="T3" fmla="*/ 0 h 3"/>
                <a:gd name="T4" fmla="*/ 0 w 2"/>
                <a:gd name="T5" fmla="*/ 0 h 3"/>
                <a:gd name="T6" fmla="*/ 0 w 2"/>
                <a:gd name="T7" fmla="*/ 3 h 3"/>
                <a:gd name="T8" fmla="*/ 2 w 2"/>
                <a:gd name="T9" fmla="*/ 3 h 3"/>
                <a:gd name="T10" fmla="*/ 2 w 2"/>
                <a:gd name="T11" fmla="*/ 3 h 3"/>
                <a:gd name="T12" fmla="*/ 2 w 2"/>
                <a:gd name="T13" fmla="*/ 3 h 3"/>
                <a:gd name="T14" fmla="*/ 2 w 2"/>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3">
                  <a:moveTo>
                    <a:pt x="2" y="0"/>
                  </a:moveTo>
                  <a:lnTo>
                    <a:pt x="0" y="0"/>
                  </a:lnTo>
                  <a:lnTo>
                    <a:pt x="0" y="0"/>
                  </a:lnTo>
                  <a:lnTo>
                    <a:pt x="0" y="3"/>
                  </a:lnTo>
                  <a:lnTo>
                    <a:pt x="2" y="3"/>
                  </a:lnTo>
                  <a:lnTo>
                    <a:pt x="2" y="3"/>
                  </a:lnTo>
                  <a:lnTo>
                    <a:pt x="2" y="3"/>
                  </a:lnTo>
                  <a:lnTo>
                    <a:pt x="2"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132" name="Freeform 1750">
              <a:extLst>
                <a:ext uri="{FF2B5EF4-FFF2-40B4-BE49-F238E27FC236}">
                  <a16:creationId xmlns:a16="http://schemas.microsoft.com/office/drawing/2014/main" id="{8ACC4A9D-E3AA-A54C-A2FF-0169079F006C}"/>
                </a:ext>
              </a:extLst>
            </p:cNvPr>
            <p:cNvSpPr>
              <a:spLocks/>
            </p:cNvSpPr>
            <p:nvPr/>
          </p:nvSpPr>
          <p:spPr bwMode="auto">
            <a:xfrm>
              <a:off x="1864398" y="1974013"/>
              <a:ext cx="1814033" cy="894748"/>
            </a:xfrm>
            <a:custGeom>
              <a:avLst/>
              <a:gdLst>
                <a:gd name="T0" fmla="*/ 1043 w 1109"/>
                <a:gd name="T1" fmla="*/ 86 h 547"/>
                <a:gd name="T2" fmla="*/ 928 w 1109"/>
                <a:gd name="T3" fmla="*/ 117 h 547"/>
                <a:gd name="T4" fmla="*/ 913 w 1109"/>
                <a:gd name="T5" fmla="*/ 135 h 547"/>
                <a:gd name="T6" fmla="*/ 839 w 1109"/>
                <a:gd name="T7" fmla="*/ 163 h 547"/>
                <a:gd name="T8" fmla="*/ 775 w 1109"/>
                <a:gd name="T9" fmla="*/ 170 h 547"/>
                <a:gd name="T10" fmla="*/ 811 w 1109"/>
                <a:gd name="T11" fmla="*/ 127 h 547"/>
                <a:gd name="T12" fmla="*/ 801 w 1109"/>
                <a:gd name="T13" fmla="*/ 114 h 547"/>
                <a:gd name="T14" fmla="*/ 795 w 1109"/>
                <a:gd name="T15" fmla="*/ 81 h 547"/>
                <a:gd name="T16" fmla="*/ 770 w 1109"/>
                <a:gd name="T17" fmla="*/ 99 h 547"/>
                <a:gd name="T18" fmla="*/ 742 w 1109"/>
                <a:gd name="T19" fmla="*/ 125 h 547"/>
                <a:gd name="T20" fmla="*/ 706 w 1109"/>
                <a:gd name="T21" fmla="*/ 150 h 547"/>
                <a:gd name="T22" fmla="*/ 734 w 1109"/>
                <a:gd name="T23" fmla="*/ 102 h 547"/>
                <a:gd name="T24" fmla="*/ 752 w 1109"/>
                <a:gd name="T25" fmla="*/ 81 h 547"/>
                <a:gd name="T26" fmla="*/ 788 w 1109"/>
                <a:gd name="T27" fmla="*/ 71 h 547"/>
                <a:gd name="T28" fmla="*/ 808 w 1109"/>
                <a:gd name="T29" fmla="*/ 66 h 547"/>
                <a:gd name="T30" fmla="*/ 765 w 1109"/>
                <a:gd name="T31" fmla="*/ 64 h 547"/>
                <a:gd name="T32" fmla="*/ 737 w 1109"/>
                <a:gd name="T33" fmla="*/ 48 h 547"/>
                <a:gd name="T34" fmla="*/ 686 w 1109"/>
                <a:gd name="T35" fmla="*/ 56 h 547"/>
                <a:gd name="T36" fmla="*/ 691 w 1109"/>
                <a:gd name="T37" fmla="*/ 23 h 547"/>
                <a:gd name="T38" fmla="*/ 400 w 1109"/>
                <a:gd name="T39" fmla="*/ 8 h 547"/>
                <a:gd name="T40" fmla="*/ 153 w 1109"/>
                <a:gd name="T41" fmla="*/ 28 h 547"/>
                <a:gd name="T42" fmla="*/ 141 w 1109"/>
                <a:gd name="T43" fmla="*/ 41 h 547"/>
                <a:gd name="T44" fmla="*/ 146 w 1109"/>
                <a:gd name="T45" fmla="*/ 28 h 547"/>
                <a:gd name="T46" fmla="*/ 100 w 1109"/>
                <a:gd name="T47" fmla="*/ 64 h 547"/>
                <a:gd name="T48" fmla="*/ 51 w 1109"/>
                <a:gd name="T49" fmla="*/ 132 h 547"/>
                <a:gd name="T50" fmla="*/ 5 w 1109"/>
                <a:gd name="T51" fmla="*/ 219 h 547"/>
                <a:gd name="T52" fmla="*/ 21 w 1109"/>
                <a:gd name="T53" fmla="*/ 252 h 547"/>
                <a:gd name="T54" fmla="*/ 11 w 1109"/>
                <a:gd name="T55" fmla="*/ 308 h 547"/>
                <a:gd name="T56" fmla="*/ 59 w 1109"/>
                <a:gd name="T57" fmla="*/ 369 h 547"/>
                <a:gd name="T58" fmla="*/ 227 w 1109"/>
                <a:gd name="T59" fmla="*/ 394 h 547"/>
                <a:gd name="T60" fmla="*/ 306 w 1109"/>
                <a:gd name="T61" fmla="*/ 453 h 547"/>
                <a:gd name="T62" fmla="*/ 362 w 1109"/>
                <a:gd name="T63" fmla="*/ 491 h 547"/>
                <a:gd name="T64" fmla="*/ 395 w 1109"/>
                <a:gd name="T65" fmla="*/ 511 h 547"/>
                <a:gd name="T66" fmla="*/ 426 w 1109"/>
                <a:gd name="T67" fmla="*/ 471 h 547"/>
                <a:gd name="T68" fmla="*/ 469 w 1109"/>
                <a:gd name="T69" fmla="*/ 445 h 547"/>
                <a:gd name="T70" fmla="*/ 533 w 1109"/>
                <a:gd name="T71" fmla="*/ 445 h 547"/>
                <a:gd name="T72" fmla="*/ 566 w 1109"/>
                <a:gd name="T73" fmla="*/ 458 h 547"/>
                <a:gd name="T74" fmla="*/ 569 w 1109"/>
                <a:gd name="T75" fmla="*/ 433 h 547"/>
                <a:gd name="T76" fmla="*/ 602 w 1109"/>
                <a:gd name="T77" fmla="*/ 430 h 547"/>
                <a:gd name="T78" fmla="*/ 645 w 1109"/>
                <a:gd name="T79" fmla="*/ 430 h 547"/>
                <a:gd name="T80" fmla="*/ 686 w 1109"/>
                <a:gd name="T81" fmla="*/ 483 h 547"/>
                <a:gd name="T82" fmla="*/ 699 w 1109"/>
                <a:gd name="T83" fmla="*/ 511 h 547"/>
                <a:gd name="T84" fmla="*/ 737 w 1109"/>
                <a:gd name="T85" fmla="*/ 504 h 547"/>
                <a:gd name="T86" fmla="*/ 729 w 1109"/>
                <a:gd name="T87" fmla="*/ 420 h 547"/>
                <a:gd name="T88" fmla="*/ 752 w 1109"/>
                <a:gd name="T89" fmla="*/ 387 h 547"/>
                <a:gd name="T90" fmla="*/ 788 w 1109"/>
                <a:gd name="T91" fmla="*/ 359 h 547"/>
                <a:gd name="T92" fmla="*/ 852 w 1109"/>
                <a:gd name="T93" fmla="*/ 323 h 547"/>
                <a:gd name="T94" fmla="*/ 864 w 1109"/>
                <a:gd name="T95" fmla="*/ 305 h 547"/>
                <a:gd name="T96" fmla="*/ 874 w 1109"/>
                <a:gd name="T97" fmla="*/ 285 h 547"/>
                <a:gd name="T98" fmla="*/ 864 w 1109"/>
                <a:gd name="T99" fmla="*/ 265 h 547"/>
                <a:gd name="T100" fmla="*/ 862 w 1109"/>
                <a:gd name="T101" fmla="*/ 244 h 547"/>
                <a:gd name="T102" fmla="*/ 877 w 1109"/>
                <a:gd name="T103" fmla="*/ 242 h 547"/>
                <a:gd name="T104" fmla="*/ 892 w 1109"/>
                <a:gd name="T105" fmla="*/ 221 h 547"/>
                <a:gd name="T106" fmla="*/ 885 w 1109"/>
                <a:gd name="T107" fmla="*/ 247 h 547"/>
                <a:gd name="T108" fmla="*/ 903 w 1109"/>
                <a:gd name="T109" fmla="*/ 244 h 547"/>
                <a:gd name="T110" fmla="*/ 910 w 1109"/>
                <a:gd name="T111" fmla="*/ 231 h 547"/>
                <a:gd name="T112" fmla="*/ 946 w 1109"/>
                <a:gd name="T113" fmla="*/ 183 h 547"/>
                <a:gd name="T114" fmla="*/ 1004 w 1109"/>
                <a:gd name="T115" fmla="*/ 173 h 547"/>
                <a:gd name="T116" fmla="*/ 1015 w 1109"/>
                <a:gd name="T117" fmla="*/ 153 h 547"/>
                <a:gd name="T118" fmla="*/ 1048 w 1109"/>
                <a:gd name="T119" fmla="*/ 122 h 547"/>
                <a:gd name="T120" fmla="*/ 1081 w 1109"/>
                <a:gd name="T121" fmla="*/ 109 h 547"/>
                <a:gd name="T122" fmla="*/ 1099 w 1109"/>
                <a:gd name="T123" fmla="*/ 86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09" h="547">
                  <a:moveTo>
                    <a:pt x="1104" y="46"/>
                  </a:moveTo>
                  <a:lnTo>
                    <a:pt x="1104" y="43"/>
                  </a:lnTo>
                  <a:lnTo>
                    <a:pt x="1101" y="43"/>
                  </a:lnTo>
                  <a:lnTo>
                    <a:pt x="1101" y="43"/>
                  </a:lnTo>
                  <a:lnTo>
                    <a:pt x="1099" y="46"/>
                  </a:lnTo>
                  <a:lnTo>
                    <a:pt x="1099" y="46"/>
                  </a:lnTo>
                  <a:lnTo>
                    <a:pt x="1094" y="46"/>
                  </a:lnTo>
                  <a:lnTo>
                    <a:pt x="1091" y="48"/>
                  </a:lnTo>
                  <a:lnTo>
                    <a:pt x="1089" y="48"/>
                  </a:lnTo>
                  <a:lnTo>
                    <a:pt x="1089" y="48"/>
                  </a:lnTo>
                  <a:lnTo>
                    <a:pt x="1089" y="46"/>
                  </a:lnTo>
                  <a:lnTo>
                    <a:pt x="1089" y="46"/>
                  </a:lnTo>
                  <a:lnTo>
                    <a:pt x="1089" y="46"/>
                  </a:lnTo>
                  <a:lnTo>
                    <a:pt x="1089" y="43"/>
                  </a:lnTo>
                  <a:lnTo>
                    <a:pt x="1089" y="43"/>
                  </a:lnTo>
                  <a:lnTo>
                    <a:pt x="1086" y="41"/>
                  </a:lnTo>
                  <a:lnTo>
                    <a:pt x="1083" y="43"/>
                  </a:lnTo>
                  <a:lnTo>
                    <a:pt x="1083" y="43"/>
                  </a:lnTo>
                  <a:lnTo>
                    <a:pt x="1081" y="46"/>
                  </a:lnTo>
                  <a:lnTo>
                    <a:pt x="1076" y="51"/>
                  </a:lnTo>
                  <a:lnTo>
                    <a:pt x="1073" y="53"/>
                  </a:lnTo>
                  <a:lnTo>
                    <a:pt x="1068" y="56"/>
                  </a:lnTo>
                  <a:lnTo>
                    <a:pt x="1066" y="58"/>
                  </a:lnTo>
                  <a:lnTo>
                    <a:pt x="1063" y="61"/>
                  </a:lnTo>
                  <a:lnTo>
                    <a:pt x="1063" y="64"/>
                  </a:lnTo>
                  <a:lnTo>
                    <a:pt x="1058" y="66"/>
                  </a:lnTo>
                  <a:lnTo>
                    <a:pt x="1058" y="69"/>
                  </a:lnTo>
                  <a:lnTo>
                    <a:pt x="1055" y="71"/>
                  </a:lnTo>
                  <a:lnTo>
                    <a:pt x="1055" y="74"/>
                  </a:lnTo>
                  <a:lnTo>
                    <a:pt x="1053" y="74"/>
                  </a:lnTo>
                  <a:lnTo>
                    <a:pt x="1053" y="76"/>
                  </a:lnTo>
                  <a:lnTo>
                    <a:pt x="1053" y="76"/>
                  </a:lnTo>
                  <a:lnTo>
                    <a:pt x="1053" y="76"/>
                  </a:lnTo>
                  <a:lnTo>
                    <a:pt x="1050" y="79"/>
                  </a:lnTo>
                  <a:lnTo>
                    <a:pt x="1050" y="79"/>
                  </a:lnTo>
                  <a:lnTo>
                    <a:pt x="1048" y="81"/>
                  </a:lnTo>
                  <a:lnTo>
                    <a:pt x="1045" y="81"/>
                  </a:lnTo>
                  <a:lnTo>
                    <a:pt x="1043" y="84"/>
                  </a:lnTo>
                  <a:lnTo>
                    <a:pt x="1043" y="86"/>
                  </a:lnTo>
                  <a:lnTo>
                    <a:pt x="1043" y="86"/>
                  </a:lnTo>
                  <a:lnTo>
                    <a:pt x="1043" y="86"/>
                  </a:lnTo>
                  <a:lnTo>
                    <a:pt x="1040" y="86"/>
                  </a:lnTo>
                  <a:lnTo>
                    <a:pt x="1040" y="86"/>
                  </a:lnTo>
                  <a:lnTo>
                    <a:pt x="1040" y="86"/>
                  </a:lnTo>
                  <a:lnTo>
                    <a:pt x="1038" y="89"/>
                  </a:lnTo>
                  <a:lnTo>
                    <a:pt x="1038" y="89"/>
                  </a:lnTo>
                  <a:lnTo>
                    <a:pt x="1038" y="92"/>
                  </a:lnTo>
                  <a:lnTo>
                    <a:pt x="1038" y="92"/>
                  </a:lnTo>
                  <a:lnTo>
                    <a:pt x="1038" y="89"/>
                  </a:lnTo>
                  <a:lnTo>
                    <a:pt x="1035" y="89"/>
                  </a:lnTo>
                  <a:lnTo>
                    <a:pt x="1035" y="89"/>
                  </a:lnTo>
                  <a:lnTo>
                    <a:pt x="1035" y="89"/>
                  </a:lnTo>
                  <a:lnTo>
                    <a:pt x="1032" y="92"/>
                  </a:lnTo>
                  <a:lnTo>
                    <a:pt x="1030" y="92"/>
                  </a:lnTo>
                  <a:lnTo>
                    <a:pt x="1030" y="89"/>
                  </a:lnTo>
                  <a:lnTo>
                    <a:pt x="1027" y="92"/>
                  </a:lnTo>
                  <a:lnTo>
                    <a:pt x="1022" y="97"/>
                  </a:lnTo>
                  <a:lnTo>
                    <a:pt x="1015" y="97"/>
                  </a:lnTo>
                  <a:lnTo>
                    <a:pt x="1007" y="97"/>
                  </a:lnTo>
                  <a:lnTo>
                    <a:pt x="1002" y="97"/>
                  </a:lnTo>
                  <a:lnTo>
                    <a:pt x="994" y="97"/>
                  </a:lnTo>
                  <a:lnTo>
                    <a:pt x="987" y="97"/>
                  </a:lnTo>
                  <a:lnTo>
                    <a:pt x="971" y="97"/>
                  </a:lnTo>
                  <a:lnTo>
                    <a:pt x="966" y="97"/>
                  </a:lnTo>
                  <a:lnTo>
                    <a:pt x="966" y="97"/>
                  </a:lnTo>
                  <a:lnTo>
                    <a:pt x="964" y="99"/>
                  </a:lnTo>
                  <a:lnTo>
                    <a:pt x="964" y="97"/>
                  </a:lnTo>
                  <a:lnTo>
                    <a:pt x="961" y="99"/>
                  </a:lnTo>
                  <a:lnTo>
                    <a:pt x="956" y="99"/>
                  </a:lnTo>
                  <a:lnTo>
                    <a:pt x="951" y="104"/>
                  </a:lnTo>
                  <a:lnTo>
                    <a:pt x="941" y="109"/>
                  </a:lnTo>
                  <a:lnTo>
                    <a:pt x="941" y="109"/>
                  </a:lnTo>
                  <a:lnTo>
                    <a:pt x="941" y="109"/>
                  </a:lnTo>
                  <a:lnTo>
                    <a:pt x="941" y="109"/>
                  </a:lnTo>
                  <a:lnTo>
                    <a:pt x="941" y="112"/>
                  </a:lnTo>
                  <a:lnTo>
                    <a:pt x="941" y="112"/>
                  </a:lnTo>
                  <a:lnTo>
                    <a:pt x="931" y="117"/>
                  </a:lnTo>
                  <a:lnTo>
                    <a:pt x="928" y="117"/>
                  </a:lnTo>
                  <a:lnTo>
                    <a:pt x="928" y="120"/>
                  </a:lnTo>
                  <a:lnTo>
                    <a:pt x="928" y="120"/>
                  </a:lnTo>
                  <a:lnTo>
                    <a:pt x="928" y="120"/>
                  </a:lnTo>
                  <a:lnTo>
                    <a:pt x="931" y="120"/>
                  </a:lnTo>
                  <a:lnTo>
                    <a:pt x="931" y="120"/>
                  </a:lnTo>
                  <a:lnTo>
                    <a:pt x="931" y="120"/>
                  </a:lnTo>
                  <a:lnTo>
                    <a:pt x="931" y="120"/>
                  </a:lnTo>
                  <a:lnTo>
                    <a:pt x="931" y="120"/>
                  </a:lnTo>
                  <a:lnTo>
                    <a:pt x="931" y="120"/>
                  </a:lnTo>
                  <a:lnTo>
                    <a:pt x="931" y="120"/>
                  </a:lnTo>
                  <a:lnTo>
                    <a:pt x="931" y="120"/>
                  </a:lnTo>
                  <a:lnTo>
                    <a:pt x="931" y="122"/>
                  </a:lnTo>
                  <a:lnTo>
                    <a:pt x="931" y="122"/>
                  </a:lnTo>
                  <a:lnTo>
                    <a:pt x="931" y="122"/>
                  </a:lnTo>
                  <a:lnTo>
                    <a:pt x="928" y="122"/>
                  </a:lnTo>
                  <a:lnTo>
                    <a:pt x="928" y="122"/>
                  </a:lnTo>
                  <a:lnTo>
                    <a:pt x="928" y="122"/>
                  </a:lnTo>
                  <a:lnTo>
                    <a:pt x="928" y="122"/>
                  </a:lnTo>
                  <a:lnTo>
                    <a:pt x="925" y="122"/>
                  </a:lnTo>
                  <a:lnTo>
                    <a:pt x="925" y="125"/>
                  </a:lnTo>
                  <a:lnTo>
                    <a:pt x="928" y="125"/>
                  </a:lnTo>
                  <a:lnTo>
                    <a:pt x="928" y="125"/>
                  </a:lnTo>
                  <a:lnTo>
                    <a:pt x="928" y="125"/>
                  </a:lnTo>
                  <a:lnTo>
                    <a:pt x="925" y="127"/>
                  </a:lnTo>
                  <a:lnTo>
                    <a:pt x="925" y="127"/>
                  </a:lnTo>
                  <a:lnTo>
                    <a:pt x="925" y="127"/>
                  </a:lnTo>
                  <a:lnTo>
                    <a:pt x="925" y="127"/>
                  </a:lnTo>
                  <a:lnTo>
                    <a:pt x="925" y="130"/>
                  </a:lnTo>
                  <a:lnTo>
                    <a:pt x="925" y="130"/>
                  </a:lnTo>
                  <a:lnTo>
                    <a:pt x="925" y="130"/>
                  </a:lnTo>
                  <a:lnTo>
                    <a:pt x="925" y="130"/>
                  </a:lnTo>
                  <a:lnTo>
                    <a:pt x="923" y="130"/>
                  </a:lnTo>
                  <a:lnTo>
                    <a:pt x="923" y="130"/>
                  </a:lnTo>
                  <a:lnTo>
                    <a:pt x="920" y="132"/>
                  </a:lnTo>
                  <a:lnTo>
                    <a:pt x="918" y="132"/>
                  </a:lnTo>
                  <a:lnTo>
                    <a:pt x="915" y="132"/>
                  </a:lnTo>
                  <a:lnTo>
                    <a:pt x="915" y="135"/>
                  </a:lnTo>
                  <a:lnTo>
                    <a:pt x="913" y="135"/>
                  </a:lnTo>
                  <a:lnTo>
                    <a:pt x="913" y="135"/>
                  </a:lnTo>
                  <a:lnTo>
                    <a:pt x="910" y="135"/>
                  </a:lnTo>
                  <a:lnTo>
                    <a:pt x="910" y="135"/>
                  </a:lnTo>
                  <a:lnTo>
                    <a:pt x="910" y="137"/>
                  </a:lnTo>
                  <a:lnTo>
                    <a:pt x="908" y="137"/>
                  </a:lnTo>
                  <a:lnTo>
                    <a:pt x="908" y="135"/>
                  </a:lnTo>
                  <a:lnTo>
                    <a:pt x="908" y="135"/>
                  </a:lnTo>
                  <a:lnTo>
                    <a:pt x="903" y="135"/>
                  </a:lnTo>
                  <a:lnTo>
                    <a:pt x="900" y="135"/>
                  </a:lnTo>
                  <a:lnTo>
                    <a:pt x="897" y="137"/>
                  </a:lnTo>
                  <a:lnTo>
                    <a:pt x="897" y="135"/>
                  </a:lnTo>
                  <a:lnTo>
                    <a:pt x="895" y="135"/>
                  </a:lnTo>
                  <a:lnTo>
                    <a:pt x="895" y="135"/>
                  </a:lnTo>
                  <a:lnTo>
                    <a:pt x="887" y="132"/>
                  </a:lnTo>
                  <a:lnTo>
                    <a:pt x="882" y="135"/>
                  </a:lnTo>
                  <a:lnTo>
                    <a:pt x="877" y="135"/>
                  </a:lnTo>
                  <a:lnTo>
                    <a:pt x="872" y="135"/>
                  </a:lnTo>
                  <a:lnTo>
                    <a:pt x="872" y="135"/>
                  </a:lnTo>
                  <a:lnTo>
                    <a:pt x="872" y="135"/>
                  </a:lnTo>
                  <a:lnTo>
                    <a:pt x="869" y="140"/>
                  </a:lnTo>
                  <a:lnTo>
                    <a:pt x="872" y="140"/>
                  </a:lnTo>
                  <a:lnTo>
                    <a:pt x="872" y="140"/>
                  </a:lnTo>
                  <a:lnTo>
                    <a:pt x="872" y="142"/>
                  </a:lnTo>
                  <a:lnTo>
                    <a:pt x="869" y="142"/>
                  </a:lnTo>
                  <a:lnTo>
                    <a:pt x="869" y="142"/>
                  </a:lnTo>
                  <a:lnTo>
                    <a:pt x="869" y="145"/>
                  </a:lnTo>
                  <a:lnTo>
                    <a:pt x="869" y="145"/>
                  </a:lnTo>
                  <a:lnTo>
                    <a:pt x="869" y="148"/>
                  </a:lnTo>
                  <a:lnTo>
                    <a:pt x="869" y="148"/>
                  </a:lnTo>
                  <a:lnTo>
                    <a:pt x="867" y="148"/>
                  </a:lnTo>
                  <a:lnTo>
                    <a:pt x="864" y="150"/>
                  </a:lnTo>
                  <a:lnTo>
                    <a:pt x="864" y="150"/>
                  </a:lnTo>
                  <a:lnTo>
                    <a:pt x="862" y="153"/>
                  </a:lnTo>
                  <a:lnTo>
                    <a:pt x="859" y="153"/>
                  </a:lnTo>
                  <a:lnTo>
                    <a:pt x="857" y="155"/>
                  </a:lnTo>
                  <a:lnTo>
                    <a:pt x="854" y="155"/>
                  </a:lnTo>
                  <a:lnTo>
                    <a:pt x="849" y="158"/>
                  </a:lnTo>
                  <a:lnTo>
                    <a:pt x="841" y="160"/>
                  </a:lnTo>
                  <a:lnTo>
                    <a:pt x="841" y="160"/>
                  </a:lnTo>
                  <a:lnTo>
                    <a:pt x="839" y="163"/>
                  </a:lnTo>
                  <a:lnTo>
                    <a:pt x="839" y="163"/>
                  </a:lnTo>
                  <a:lnTo>
                    <a:pt x="836" y="163"/>
                  </a:lnTo>
                  <a:lnTo>
                    <a:pt x="824" y="165"/>
                  </a:lnTo>
                  <a:lnTo>
                    <a:pt x="816" y="170"/>
                  </a:lnTo>
                  <a:lnTo>
                    <a:pt x="811" y="170"/>
                  </a:lnTo>
                  <a:lnTo>
                    <a:pt x="808" y="173"/>
                  </a:lnTo>
                  <a:lnTo>
                    <a:pt x="806" y="176"/>
                  </a:lnTo>
                  <a:lnTo>
                    <a:pt x="803" y="176"/>
                  </a:lnTo>
                  <a:lnTo>
                    <a:pt x="801" y="176"/>
                  </a:lnTo>
                  <a:lnTo>
                    <a:pt x="798" y="176"/>
                  </a:lnTo>
                  <a:lnTo>
                    <a:pt x="795" y="176"/>
                  </a:lnTo>
                  <a:lnTo>
                    <a:pt x="793" y="178"/>
                  </a:lnTo>
                  <a:lnTo>
                    <a:pt x="790" y="178"/>
                  </a:lnTo>
                  <a:lnTo>
                    <a:pt x="790" y="178"/>
                  </a:lnTo>
                  <a:lnTo>
                    <a:pt x="790" y="178"/>
                  </a:lnTo>
                  <a:lnTo>
                    <a:pt x="788" y="176"/>
                  </a:lnTo>
                  <a:lnTo>
                    <a:pt x="788" y="176"/>
                  </a:lnTo>
                  <a:lnTo>
                    <a:pt x="788" y="176"/>
                  </a:lnTo>
                  <a:lnTo>
                    <a:pt x="785" y="176"/>
                  </a:lnTo>
                  <a:lnTo>
                    <a:pt x="785" y="176"/>
                  </a:lnTo>
                  <a:lnTo>
                    <a:pt x="783" y="176"/>
                  </a:lnTo>
                  <a:lnTo>
                    <a:pt x="783" y="176"/>
                  </a:lnTo>
                  <a:lnTo>
                    <a:pt x="780" y="176"/>
                  </a:lnTo>
                  <a:lnTo>
                    <a:pt x="783" y="176"/>
                  </a:lnTo>
                  <a:lnTo>
                    <a:pt x="788" y="176"/>
                  </a:lnTo>
                  <a:lnTo>
                    <a:pt x="788" y="176"/>
                  </a:lnTo>
                  <a:lnTo>
                    <a:pt x="785" y="173"/>
                  </a:lnTo>
                  <a:lnTo>
                    <a:pt x="785" y="173"/>
                  </a:lnTo>
                  <a:lnTo>
                    <a:pt x="785" y="173"/>
                  </a:lnTo>
                  <a:lnTo>
                    <a:pt x="785" y="173"/>
                  </a:lnTo>
                  <a:lnTo>
                    <a:pt x="783" y="176"/>
                  </a:lnTo>
                  <a:lnTo>
                    <a:pt x="783" y="176"/>
                  </a:lnTo>
                  <a:lnTo>
                    <a:pt x="783" y="173"/>
                  </a:lnTo>
                  <a:lnTo>
                    <a:pt x="783" y="173"/>
                  </a:lnTo>
                  <a:lnTo>
                    <a:pt x="780" y="170"/>
                  </a:lnTo>
                  <a:lnTo>
                    <a:pt x="778" y="170"/>
                  </a:lnTo>
                  <a:lnTo>
                    <a:pt x="778" y="170"/>
                  </a:lnTo>
                  <a:lnTo>
                    <a:pt x="775" y="170"/>
                  </a:lnTo>
                  <a:lnTo>
                    <a:pt x="775" y="170"/>
                  </a:lnTo>
                  <a:lnTo>
                    <a:pt x="775" y="170"/>
                  </a:lnTo>
                  <a:lnTo>
                    <a:pt x="778" y="168"/>
                  </a:lnTo>
                  <a:lnTo>
                    <a:pt x="780" y="165"/>
                  </a:lnTo>
                  <a:lnTo>
                    <a:pt x="780" y="165"/>
                  </a:lnTo>
                  <a:lnTo>
                    <a:pt x="780" y="165"/>
                  </a:lnTo>
                  <a:lnTo>
                    <a:pt x="780" y="165"/>
                  </a:lnTo>
                  <a:lnTo>
                    <a:pt x="780" y="165"/>
                  </a:lnTo>
                  <a:lnTo>
                    <a:pt x="783" y="165"/>
                  </a:lnTo>
                  <a:lnTo>
                    <a:pt x="783" y="163"/>
                  </a:lnTo>
                  <a:lnTo>
                    <a:pt x="783" y="163"/>
                  </a:lnTo>
                  <a:lnTo>
                    <a:pt x="783" y="163"/>
                  </a:lnTo>
                  <a:lnTo>
                    <a:pt x="785" y="160"/>
                  </a:lnTo>
                  <a:lnTo>
                    <a:pt x="785" y="160"/>
                  </a:lnTo>
                  <a:lnTo>
                    <a:pt x="788" y="158"/>
                  </a:lnTo>
                  <a:lnTo>
                    <a:pt x="788" y="158"/>
                  </a:lnTo>
                  <a:lnTo>
                    <a:pt x="790" y="158"/>
                  </a:lnTo>
                  <a:lnTo>
                    <a:pt x="790" y="155"/>
                  </a:lnTo>
                  <a:lnTo>
                    <a:pt x="793" y="155"/>
                  </a:lnTo>
                  <a:lnTo>
                    <a:pt x="793" y="155"/>
                  </a:lnTo>
                  <a:lnTo>
                    <a:pt x="793" y="153"/>
                  </a:lnTo>
                  <a:lnTo>
                    <a:pt x="795" y="153"/>
                  </a:lnTo>
                  <a:lnTo>
                    <a:pt x="795" y="150"/>
                  </a:lnTo>
                  <a:lnTo>
                    <a:pt x="795" y="150"/>
                  </a:lnTo>
                  <a:lnTo>
                    <a:pt x="795" y="150"/>
                  </a:lnTo>
                  <a:lnTo>
                    <a:pt x="798" y="150"/>
                  </a:lnTo>
                  <a:lnTo>
                    <a:pt x="798" y="150"/>
                  </a:lnTo>
                  <a:lnTo>
                    <a:pt x="798" y="150"/>
                  </a:lnTo>
                  <a:lnTo>
                    <a:pt x="801" y="150"/>
                  </a:lnTo>
                  <a:lnTo>
                    <a:pt x="801" y="150"/>
                  </a:lnTo>
                  <a:lnTo>
                    <a:pt x="798" y="150"/>
                  </a:lnTo>
                  <a:lnTo>
                    <a:pt x="798" y="153"/>
                  </a:lnTo>
                  <a:lnTo>
                    <a:pt x="798" y="153"/>
                  </a:lnTo>
                  <a:lnTo>
                    <a:pt x="801" y="150"/>
                  </a:lnTo>
                  <a:lnTo>
                    <a:pt x="803" y="148"/>
                  </a:lnTo>
                  <a:lnTo>
                    <a:pt x="808" y="142"/>
                  </a:lnTo>
                  <a:lnTo>
                    <a:pt x="808" y="142"/>
                  </a:lnTo>
                  <a:lnTo>
                    <a:pt x="806" y="140"/>
                  </a:lnTo>
                  <a:lnTo>
                    <a:pt x="808" y="135"/>
                  </a:lnTo>
                  <a:lnTo>
                    <a:pt x="811" y="127"/>
                  </a:lnTo>
                  <a:lnTo>
                    <a:pt x="811" y="125"/>
                  </a:lnTo>
                  <a:lnTo>
                    <a:pt x="811" y="122"/>
                  </a:lnTo>
                  <a:lnTo>
                    <a:pt x="811" y="120"/>
                  </a:lnTo>
                  <a:lnTo>
                    <a:pt x="808" y="120"/>
                  </a:lnTo>
                  <a:lnTo>
                    <a:pt x="808" y="120"/>
                  </a:lnTo>
                  <a:lnTo>
                    <a:pt x="806" y="120"/>
                  </a:lnTo>
                  <a:lnTo>
                    <a:pt x="806" y="120"/>
                  </a:lnTo>
                  <a:lnTo>
                    <a:pt x="803" y="120"/>
                  </a:lnTo>
                  <a:lnTo>
                    <a:pt x="801" y="120"/>
                  </a:lnTo>
                  <a:lnTo>
                    <a:pt x="801" y="122"/>
                  </a:lnTo>
                  <a:lnTo>
                    <a:pt x="798" y="122"/>
                  </a:lnTo>
                  <a:lnTo>
                    <a:pt x="798" y="122"/>
                  </a:lnTo>
                  <a:lnTo>
                    <a:pt x="798" y="122"/>
                  </a:lnTo>
                  <a:lnTo>
                    <a:pt x="798" y="122"/>
                  </a:lnTo>
                  <a:lnTo>
                    <a:pt x="798" y="122"/>
                  </a:lnTo>
                  <a:lnTo>
                    <a:pt x="795" y="125"/>
                  </a:lnTo>
                  <a:lnTo>
                    <a:pt x="795" y="127"/>
                  </a:lnTo>
                  <a:lnTo>
                    <a:pt x="793" y="127"/>
                  </a:lnTo>
                  <a:lnTo>
                    <a:pt x="793" y="127"/>
                  </a:lnTo>
                  <a:lnTo>
                    <a:pt x="790" y="127"/>
                  </a:lnTo>
                  <a:lnTo>
                    <a:pt x="790" y="130"/>
                  </a:lnTo>
                  <a:lnTo>
                    <a:pt x="788" y="127"/>
                  </a:lnTo>
                  <a:lnTo>
                    <a:pt x="788" y="127"/>
                  </a:lnTo>
                  <a:lnTo>
                    <a:pt x="785" y="127"/>
                  </a:lnTo>
                  <a:lnTo>
                    <a:pt x="785" y="127"/>
                  </a:lnTo>
                  <a:lnTo>
                    <a:pt x="788" y="125"/>
                  </a:lnTo>
                  <a:lnTo>
                    <a:pt x="788" y="125"/>
                  </a:lnTo>
                  <a:lnTo>
                    <a:pt x="788" y="122"/>
                  </a:lnTo>
                  <a:lnTo>
                    <a:pt x="790" y="122"/>
                  </a:lnTo>
                  <a:lnTo>
                    <a:pt x="790" y="120"/>
                  </a:lnTo>
                  <a:lnTo>
                    <a:pt x="793" y="120"/>
                  </a:lnTo>
                  <a:lnTo>
                    <a:pt x="793" y="120"/>
                  </a:lnTo>
                  <a:lnTo>
                    <a:pt x="793" y="120"/>
                  </a:lnTo>
                  <a:lnTo>
                    <a:pt x="795" y="120"/>
                  </a:lnTo>
                  <a:lnTo>
                    <a:pt x="795" y="120"/>
                  </a:lnTo>
                  <a:lnTo>
                    <a:pt x="798" y="117"/>
                  </a:lnTo>
                  <a:lnTo>
                    <a:pt x="798" y="114"/>
                  </a:lnTo>
                  <a:lnTo>
                    <a:pt x="801" y="114"/>
                  </a:lnTo>
                  <a:lnTo>
                    <a:pt x="801" y="114"/>
                  </a:lnTo>
                  <a:lnTo>
                    <a:pt x="801" y="114"/>
                  </a:lnTo>
                  <a:lnTo>
                    <a:pt x="801" y="114"/>
                  </a:lnTo>
                  <a:lnTo>
                    <a:pt x="803" y="112"/>
                  </a:lnTo>
                  <a:lnTo>
                    <a:pt x="803" y="112"/>
                  </a:lnTo>
                  <a:lnTo>
                    <a:pt x="806" y="112"/>
                  </a:lnTo>
                  <a:lnTo>
                    <a:pt x="806" y="107"/>
                  </a:lnTo>
                  <a:lnTo>
                    <a:pt x="808" y="107"/>
                  </a:lnTo>
                  <a:lnTo>
                    <a:pt x="808" y="104"/>
                  </a:lnTo>
                  <a:lnTo>
                    <a:pt x="808" y="102"/>
                  </a:lnTo>
                  <a:lnTo>
                    <a:pt x="808" y="102"/>
                  </a:lnTo>
                  <a:lnTo>
                    <a:pt x="808" y="99"/>
                  </a:lnTo>
                  <a:lnTo>
                    <a:pt x="808" y="99"/>
                  </a:lnTo>
                  <a:lnTo>
                    <a:pt x="808" y="97"/>
                  </a:lnTo>
                  <a:lnTo>
                    <a:pt x="808" y="94"/>
                  </a:lnTo>
                  <a:lnTo>
                    <a:pt x="811" y="94"/>
                  </a:lnTo>
                  <a:lnTo>
                    <a:pt x="811" y="97"/>
                  </a:lnTo>
                  <a:lnTo>
                    <a:pt x="811" y="94"/>
                  </a:lnTo>
                  <a:lnTo>
                    <a:pt x="811" y="94"/>
                  </a:lnTo>
                  <a:lnTo>
                    <a:pt x="811" y="94"/>
                  </a:lnTo>
                  <a:lnTo>
                    <a:pt x="811" y="94"/>
                  </a:lnTo>
                  <a:lnTo>
                    <a:pt x="811" y="92"/>
                  </a:lnTo>
                  <a:lnTo>
                    <a:pt x="811" y="92"/>
                  </a:lnTo>
                  <a:lnTo>
                    <a:pt x="811" y="92"/>
                  </a:lnTo>
                  <a:lnTo>
                    <a:pt x="811" y="92"/>
                  </a:lnTo>
                  <a:lnTo>
                    <a:pt x="811" y="92"/>
                  </a:lnTo>
                  <a:lnTo>
                    <a:pt x="811" y="89"/>
                  </a:lnTo>
                  <a:lnTo>
                    <a:pt x="811" y="89"/>
                  </a:lnTo>
                  <a:lnTo>
                    <a:pt x="808" y="89"/>
                  </a:lnTo>
                  <a:lnTo>
                    <a:pt x="806" y="86"/>
                  </a:lnTo>
                  <a:lnTo>
                    <a:pt x="806" y="86"/>
                  </a:lnTo>
                  <a:lnTo>
                    <a:pt x="803" y="86"/>
                  </a:lnTo>
                  <a:lnTo>
                    <a:pt x="803" y="84"/>
                  </a:lnTo>
                  <a:lnTo>
                    <a:pt x="801" y="84"/>
                  </a:lnTo>
                  <a:lnTo>
                    <a:pt x="801" y="84"/>
                  </a:lnTo>
                  <a:lnTo>
                    <a:pt x="801" y="84"/>
                  </a:lnTo>
                  <a:lnTo>
                    <a:pt x="801" y="81"/>
                  </a:lnTo>
                  <a:lnTo>
                    <a:pt x="798" y="81"/>
                  </a:lnTo>
                  <a:lnTo>
                    <a:pt x="798" y="81"/>
                  </a:lnTo>
                  <a:lnTo>
                    <a:pt x="795" y="81"/>
                  </a:lnTo>
                  <a:lnTo>
                    <a:pt x="793" y="79"/>
                  </a:lnTo>
                  <a:lnTo>
                    <a:pt x="793" y="79"/>
                  </a:lnTo>
                  <a:lnTo>
                    <a:pt x="793" y="79"/>
                  </a:lnTo>
                  <a:lnTo>
                    <a:pt x="790" y="79"/>
                  </a:lnTo>
                  <a:lnTo>
                    <a:pt x="788" y="79"/>
                  </a:lnTo>
                  <a:lnTo>
                    <a:pt x="788" y="79"/>
                  </a:lnTo>
                  <a:lnTo>
                    <a:pt x="788" y="79"/>
                  </a:lnTo>
                  <a:lnTo>
                    <a:pt x="788" y="81"/>
                  </a:lnTo>
                  <a:lnTo>
                    <a:pt x="785" y="81"/>
                  </a:lnTo>
                  <a:lnTo>
                    <a:pt x="785" y="84"/>
                  </a:lnTo>
                  <a:lnTo>
                    <a:pt x="785" y="84"/>
                  </a:lnTo>
                  <a:lnTo>
                    <a:pt x="783" y="86"/>
                  </a:lnTo>
                  <a:lnTo>
                    <a:pt x="785" y="86"/>
                  </a:lnTo>
                  <a:lnTo>
                    <a:pt x="785" y="86"/>
                  </a:lnTo>
                  <a:lnTo>
                    <a:pt x="785" y="86"/>
                  </a:lnTo>
                  <a:lnTo>
                    <a:pt x="785" y="86"/>
                  </a:lnTo>
                  <a:lnTo>
                    <a:pt x="785" y="86"/>
                  </a:lnTo>
                  <a:lnTo>
                    <a:pt x="783" y="89"/>
                  </a:lnTo>
                  <a:lnTo>
                    <a:pt x="783" y="89"/>
                  </a:lnTo>
                  <a:lnTo>
                    <a:pt x="780" y="89"/>
                  </a:lnTo>
                  <a:lnTo>
                    <a:pt x="778" y="89"/>
                  </a:lnTo>
                  <a:lnTo>
                    <a:pt x="775" y="92"/>
                  </a:lnTo>
                  <a:lnTo>
                    <a:pt x="775" y="92"/>
                  </a:lnTo>
                  <a:lnTo>
                    <a:pt x="775" y="92"/>
                  </a:lnTo>
                  <a:lnTo>
                    <a:pt x="775" y="94"/>
                  </a:lnTo>
                  <a:lnTo>
                    <a:pt x="773" y="97"/>
                  </a:lnTo>
                  <a:lnTo>
                    <a:pt x="773" y="99"/>
                  </a:lnTo>
                  <a:lnTo>
                    <a:pt x="770" y="102"/>
                  </a:lnTo>
                  <a:lnTo>
                    <a:pt x="767" y="104"/>
                  </a:lnTo>
                  <a:lnTo>
                    <a:pt x="767" y="104"/>
                  </a:lnTo>
                  <a:lnTo>
                    <a:pt x="767" y="102"/>
                  </a:lnTo>
                  <a:lnTo>
                    <a:pt x="770" y="99"/>
                  </a:lnTo>
                  <a:lnTo>
                    <a:pt x="770" y="99"/>
                  </a:lnTo>
                  <a:lnTo>
                    <a:pt x="770" y="99"/>
                  </a:lnTo>
                  <a:lnTo>
                    <a:pt x="770" y="99"/>
                  </a:lnTo>
                  <a:lnTo>
                    <a:pt x="770" y="99"/>
                  </a:lnTo>
                  <a:lnTo>
                    <a:pt x="770" y="99"/>
                  </a:lnTo>
                  <a:lnTo>
                    <a:pt x="770" y="99"/>
                  </a:lnTo>
                  <a:lnTo>
                    <a:pt x="770" y="99"/>
                  </a:lnTo>
                  <a:lnTo>
                    <a:pt x="770" y="102"/>
                  </a:lnTo>
                  <a:lnTo>
                    <a:pt x="767" y="102"/>
                  </a:lnTo>
                  <a:lnTo>
                    <a:pt x="767" y="102"/>
                  </a:lnTo>
                  <a:lnTo>
                    <a:pt x="767" y="102"/>
                  </a:lnTo>
                  <a:lnTo>
                    <a:pt x="767" y="102"/>
                  </a:lnTo>
                  <a:lnTo>
                    <a:pt x="770" y="99"/>
                  </a:lnTo>
                  <a:lnTo>
                    <a:pt x="770" y="99"/>
                  </a:lnTo>
                  <a:lnTo>
                    <a:pt x="770" y="97"/>
                  </a:lnTo>
                  <a:lnTo>
                    <a:pt x="770" y="94"/>
                  </a:lnTo>
                  <a:lnTo>
                    <a:pt x="770" y="94"/>
                  </a:lnTo>
                  <a:lnTo>
                    <a:pt x="770" y="94"/>
                  </a:lnTo>
                  <a:lnTo>
                    <a:pt x="773" y="92"/>
                  </a:lnTo>
                  <a:lnTo>
                    <a:pt x="773" y="92"/>
                  </a:lnTo>
                  <a:lnTo>
                    <a:pt x="770" y="92"/>
                  </a:lnTo>
                  <a:lnTo>
                    <a:pt x="770" y="94"/>
                  </a:lnTo>
                  <a:lnTo>
                    <a:pt x="765" y="97"/>
                  </a:lnTo>
                  <a:lnTo>
                    <a:pt x="765" y="99"/>
                  </a:lnTo>
                  <a:lnTo>
                    <a:pt x="762" y="99"/>
                  </a:lnTo>
                  <a:lnTo>
                    <a:pt x="762" y="99"/>
                  </a:lnTo>
                  <a:lnTo>
                    <a:pt x="762" y="99"/>
                  </a:lnTo>
                  <a:lnTo>
                    <a:pt x="760" y="99"/>
                  </a:lnTo>
                  <a:lnTo>
                    <a:pt x="760" y="99"/>
                  </a:lnTo>
                  <a:lnTo>
                    <a:pt x="760" y="102"/>
                  </a:lnTo>
                  <a:lnTo>
                    <a:pt x="757" y="102"/>
                  </a:lnTo>
                  <a:lnTo>
                    <a:pt x="757" y="104"/>
                  </a:lnTo>
                  <a:lnTo>
                    <a:pt x="755" y="104"/>
                  </a:lnTo>
                  <a:lnTo>
                    <a:pt x="755" y="104"/>
                  </a:lnTo>
                  <a:lnTo>
                    <a:pt x="755" y="104"/>
                  </a:lnTo>
                  <a:lnTo>
                    <a:pt x="755" y="107"/>
                  </a:lnTo>
                  <a:lnTo>
                    <a:pt x="752" y="109"/>
                  </a:lnTo>
                  <a:lnTo>
                    <a:pt x="752" y="112"/>
                  </a:lnTo>
                  <a:lnTo>
                    <a:pt x="750" y="112"/>
                  </a:lnTo>
                  <a:lnTo>
                    <a:pt x="747" y="114"/>
                  </a:lnTo>
                  <a:lnTo>
                    <a:pt x="747" y="117"/>
                  </a:lnTo>
                  <a:lnTo>
                    <a:pt x="742" y="120"/>
                  </a:lnTo>
                  <a:lnTo>
                    <a:pt x="742" y="120"/>
                  </a:lnTo>
                  <a:lnTo>
                    <a:pt x="742" y="120"/>
                  </a:lnTo>
                  <a:lnTo>
                    <a:pt x="742" y="122"/>
                  </a:lnTo>
                  <a:lnTo>
                    <a:pt x="742" y="125"/>
                  </a:lnTo>
                  <a:lnTo>
                    <a:pt x="742" y="125"/>
                  </a:lnTo>
                  <a:lnTo>
                    <a:pt x="739" y="127"/>
                  </a:lnTo>
                  <a:lnTo>
                    <a:pt x="739" y="127"/>
                  </a:lnTo>
                  <a:lnTo>
                    <a:pt x="737" y="132"/>
                  </a:lnTo>
                  <a:lnTo>
                    <a:pt x="737" y="137"/>
                  </a:lnTo>
                  <a:lnTo>
                    <a:pt x="737" y="137"/>
                  </a:lnTo>
                  <a:lnTo>
                    <a:pt x="737" y="140"/>
                  </a:lnTo>
                  <a:lnTo>
                    <a:pt x="737" y="142"/>
                  </a:lnTo>
                  <a:lnTo>
                    <a:pt x="737" y="145"/>
                  </a:lnTo>
                  <a:lnTo>
                    <a:pt x="734" y="148"/>
                  </a:lnTo>
                  <a:lnTo>
                    <a:pt x="734" y="150"/>
                  </a:lnTo>
                  <a:lnTo>
                    <a:pt x="732" y="153"/>
                  </a:lnTo>
                  <a:lnTo>
                    <a:pt x="729" y="155"/>
                  </a:lnTo>
                  <a:lnTo>
                    <a:pt x="729" y="158"/>
                  </a:lnTo>
                  <a:lnTo>
                    <a:pt x="727" y="160"/>
                  </a:lnTo>
                  <a:lnTo>
                    <a:pt x="724" y="163"/>
                  </a:lnTo>
                  <a:lnTo>
                    <a:pt x="722" y="165"/>
                  </a:lnTo>
                  <a:lnTo>
                    <a:pt x="719" y="165"/>
                  </a:lnTo>
                  <a:lnTo>
                    <a:pt x="716" y="168"/>
                  </a:lnTo>
                  <a:lnTo>
                    <a:pt x="714" y="168"/>
                  </a:lnTo>
                  <a:lnTo>
                    <a:pt x="709" y="170"/>
                  </a:lnTo>
                  <a:lnTo>
                    <a:pt x="706" y="173"/>
                  </a:lnTo>
                  <a:lnTo>
                    <a:pt x="706" y="173"/>
                  </a:lnTo>
                  <a:lnTo>
                    <a:pt x="704" y="173"/>
                  </a:lnTo>
                  <a:lnTo>
                    <a:pt x="701" y="173"/>
                  </a:lnTo>
                  <a:lnTo>
                    <a:pt x="701" y="170"/>
                  </a:lnTo>
                  <a:lnTo>
                    <a:pt x="701" y="170"/>
                  </a:lnTo>
                  <a:lnTo>
                    <a:pt x="701" y="170"/>
                  </a:lnTo>
                  <a:lnTo>
                    <a:pt x="701" y="170"/>
                  </a:lnTo>
                  <a:lnTo>
                    <a:pt x="701" y="170"/>
                  </a:lnTo>
                  <a:lnTo>
                    <a:pt x="701" y="168"/>
                  </a:lnTo>
                  <a:lnTo>
                    <a:pt x="701" y="165"/>
                  </a:lnTo>
                  <a:lnTo>
                    <a:pt x="701" y="163"/>
                  </a:lnTo>
                  <a:lnTo>
                    <a:pt x="701" y="163"/>
                  </a:lnTo>
                  <a:lnTo>
                    <a:pt x="701" y="160"/>
                  </a:lnTo>
                  <a:lnTo>
                    <a:pt x="701" y="160"/>
                  </a:lnTo>
                  <a:lnTo>
                    <a:pt x="701" y="158"/>
                  </a:lnTo>
                  <a:lnTo>
                    <a:pt x="704" y="153"/>
                  </a:lnTo>
                  <a:lnTo>
                    <a:pt x="706" y="150"/>
                  </a:lnTo>
                  <a:lnTo>
                    <a:pt x="706" y="148"/>
                  </a:lnTo>
                  <a:lnTo>
                    <a:pt x="706" y="148"/>
                  </a:lnTo>
                  <a:lnTo>
                    <a:pt x="706" y="145"/>
                  </a:lnTo>
                  <a:lnTo>
                    <a:pt x="706" y="145"/>
                  </a:lnTo>
                  <a:lnTo>
                    <a:pt x="706" y="142"/>
                  </a:lnTo>
                  <a:lnTo>
                    <a:pt x="706" y="142"/>
                  </a:lnTo>
                  <a:lnTo>
                    <a:pt x="706" y="142"/>
                  </a:lnTo>
                  <a:lnTo>
                    <a:pt x="706" y="142"/>
                  </a:lnTo>
                  <a:lnTo>
                    <a:pt x="709" y="140"/>
                  </a:lnTo>
                  <a:lnTo>
                    <a:pt x="709" y="140"/>
                  </a:lnTo>
                  <a:lnTo>
                    <a:pt x="709" y="140"/>
                  </a:lnTo>
                  <a:lnTo>
                    <a:pt x="709" y="140"/>
                  </a:lnTo>
                  <a:lnTo>
                    <a:pt x="709" y="137"/>
                  </a:lnTo>
                  <a:lnTo>
                    <a:pt x="709" y="137"/>
                  </a:lnTo>
                  <a:lnTo>
                    <a:pt x="709" y="135"/>
                  </a:lnTo>
                  <a:lnTo>
                    <a:pt x="711" y="135"/>
                  </a:lnTo>
                  <a:lnTo>
                    <a:pt x="714" y="132"/>
                  </a:lnTo>
                  <a:lnTo>
                    <a:pt x="714" y="132"/>
                  </a:lnTo>
                  <a:lnTo>
                    <a:pt x="714" y="130"/>
                  </a:lnTo>
                  <a:lnTo>
                    <a:pt x="716" y="130"/>
                  </a:lnTo>
                  <a:lnTo>
                    <a:pt x="719" y="127"/>
                  </a:lnTo>
                  <a:lnTo>
                    <a:pt x="719" y="125"/>
                  </a:lnTo>
                  <a:lnTo>
                    <a:pt x="719" y="125"/>
                  </a:lnTo>
                  <a:lnTo>
                    <a:pt x="719" y="125"/>
                  </a:lnTo>
                  <a:lnTo>
                    <a:pt x="719" y="122"/>
                  </a:lnTo>
                  <a:lnTo>
                    <a:pt x="722" y="120"/>
                  </a:lnTo>
                  <a:lnTo>
                    <a:pt x="722" y="120"/>
                  </a:lnTo>
                  <a:lnTo>
                    <a:pt x="724" y="117"/>
                  </a:lnTo>
                  <a:lnTo>
                    <a:pt x="727" y="117"/>
                  </a:lnTo>
                  <a:lnTo>
                    <a:pt x="727" y="114"/>
                  </a:lnTo>
                  <a:lnTo>
                    <a:pt x="727" y="114"/>
                  </a:lnTo>
                  <a:lnTo>
                    <a:pt x="729" y="112"/>
                  </a:lnTo>
                  <a:lnTo>
                    <a:pt x="729" y="109"/>
                  </a:lnTo>
                  <a:lnTo>
                    <a:pt x="732" y="107"/>
                  </a:lnTo>
                  <a:lnTo>
                    <a:pt x="734" y="107"/>
                  </a:lnTo>
                  <a:lnTo>
                    <a:pt x="734" y="104"/>
                  </a:lnTo>
                  <a:lnTo>
                    <a:pt x="737" y="104"/>
                  </a:lnTo>
                  <a:lnTo>
                    <a:pt x="737" y="102"/>
                  </a:lnTo>
                  <a:lnTo>
                    <a:pt x="734" y="102"/>
                  </a:lnTo>
                  <a:lnTo>
                    <a:pt x="734" y="102"/>
                  </a:lnTo>
                  <a:lnTo>
                    <a:pt x="734" y="102"/>
                  </a:lnTo>
                  <a:lnTo>
                    <a:pt x="732" y="102"/>
                  </a:lnTo>
                  <a:lnTo>
                    <a:pt x="732" y="102"/>
                  </a:lnTo>
                  <a:lnTo>
                    <a:pt x="732" y="102"/>
                  </a:lnTo>
                  <a:lnTo>
                    <a:pt x="729" y="102"/>
                  </a:lnTo>
                  <a:lnTo>
                    <a:pt x="727" y="104"/>
                  </a:lnTo>
                  <a:lnTo>
                    <a:pt x="727" y="107"/>
                  </a:lnTo>
                  <a:lnTo>
                    <a:pt x="724" y="107"/>
                  </a:lnTo>
                  <a:lnTo>
                    <a:pt x="724" y="107"/>
                  </a:lnTo>
                  <a:lnTo>
                    <a:pt x="722" y="107"/>
                  </a:lnTo>
                  <a:lnTo>
                    <a:pt x="722" y="107"/>
                  </a:lnTo>
                  <a:lnTo>
                    <a:pt x="722" y="107"/>
                  </a:lnTo>
                  <a:lnTo>
                    <a:pt x="722" y="107"/>
                  </a:lnTo>
                  <a:lnTo>
                    <a:pt x="724" y="104"/>
                  </a:lnTo>
                  <a:lnTo>
                    <a:pt x="724" y="104"/>
                  </a:lnTo>
                  <a:lnTo>
                    <a:pt x="727" y="102"/>
                  </a:lnTo>
                  <a:lnTo>
                    <a:pt x="727" y="99"/>
                  </a:lnTo>
                  <a:lnTo>
                    <a:pt x="729" y="99"/>
                  </a:lnTo>
                  <a:lnTo>
                    <a:pt x="732" y="99"/>
                  </a:lnTo>
                  <a:lnTo>
                    <a:pt x="734" y="97"/>
                  </a:lnTo>
                  <a:lnTo>
                    <a:pt x="734" y="94"/>
                  </a:lnTo>
                  <a:lnTo>
                    <a:pt x="734" y="94"/>
                  </a:lnTo>
                  <a:lnTo>
                    <a:pt x="734" y="92"/>
                  </a:lnTo>
                  <a:lnTo>
                    <a:pt x="737" y="92"/>
                  </a:lnTo>
                  <a:lnTo>
                    <a:pt x="737" y="92"/>
                  </a:lnTo>
                  <a:lnTo>
                    <a:pt x="742" y="89"/>
                  </a:lnTo>
                  <a:lnTo>
                    <a:pt x="745" y="86"/>
                  </a:lnTo>
                  <a:lnTo>
                    <a:pt x="747" y="84"/>
                  </a:lnTo>
                  <a:lnTo>
                    <a:pt x="750" y="81"/>
                  </a:lnTo>
                  <a:lnTo>
                    <a:pt x="750" y="81"/>
                  </a:lnTo>
                  <a:lnTo>
                    <a:pt x="750" y="81"/>
                  </a:lnTo>
                  <a:lnTo>
                    <a:pt x="752" y="79"/>
                  </a:lnTo>
                  <a:lnTo>
                    <a:pt x="755" y="76"/>
                  </a:lnTo>
                  <a:lnTo>
                    <a:pt x="755" y="76"/>
                  </a:lnTo>
                  <a:lnTo>
                    <a:pt x="755" y="76"/>
                  </a:lnTo>
                  <a:lnTo>
                    <a:pt x="752" y="79"/>
                  </a:lnTo>
                  <a:lnTo>
                    <a:pt x="752" y="79"/>
                  </a:lnTo>
                  <a:lnTo>
                    <a:pt x="752" y="81"/>
                  </a:lnTo>
                  <a:lnTo>
                    <a:pt x="752" y="81"/>
                  </a:lnTo>
                  <a:lnTo>
                    <a:pt x="755" y="81"/>
                  </a:lnTo>
                  <a:lnTo>
                    <a:pt x="755" y="79"/>
                  </a:lnTo>
                  <a:lnTo>
                    <a:pt x="757" y="79"/>
                  </a:lnTo>
                  <a:lnTo>
                    <a:pt x="757" y="76"/>
                  </a:lnTo>
                  <a:lnTo>
                    <a:pt x="757" y="79"/>
                  </a:lnTo>
                  <a:lnTo>
                    <a:pt x="760" y="79"/>
                  </a:lnTo>
                  <a:lnTo>
                    <a:pt x="760" y="76"/>
                  </a:lnTo>
                  <a:lnTo>
                    <a:pt x="762" y="76"/>
                  </a:lnTo>
                  <a:lnTo>
                    <a:pt x="762" y="76"/>
                  </a:lnTo>
                  <a:lnTo>
                    <a:pt x="760" y="79"/>
                  </a:lnTo>
                  <a:lnTo>
                    <a:pt x="760" y="79"/>
                  </a:lnTo>
                  <a:lnTo>
                    <a:pt x="760" y="79"/>
                  </a:lnTo>
                  <a:lnTo>
                    <a:pt x="757" y="79"/>
                  </a:lnTo>
                  <a:lnTo>
                    <a:pt x="757" y="81"/>
                  </a:lnTo>
                  <a:lnTo>
                    <a:pt x="757" y="81"/>
                  </a:lnTo>
                  <a:lnTo>
                    <a:pt x="757" y="81"/>
                  </a:lnTo>
                  <a:lnTo>
                    <a:pt x="757" y="81"/>
                  </a:lnTo>
                  <a:lnTo>
                    <a:pt x="757" y="81"/>
                  </a:lnTo>
                  <a:lnTo>
                    <a:pt x="757" y="81"/>
                  </a:lnTo>
                  <a:lnTo>
                    <a:pt x="760" y="81"/>
                  </a:lnTo>
                  <a:lnTo>
                    <a:pt x="760" y="79"/>
                  </a:lnTo>
                  <a:lnTo>
                    <a:pt x="762" y="79"/>
                  </a:lnTo>
                  <a:lnTo>
                    <a:pt x="765" y="79"/>
                  </a:lnTo>
                  <a:lnTo>
                    <a:pt x="765" y="76"/>
                  </a:lnTo>
                  <a:lnTo>
                    <a:pt x="767" y="76"/>
                  </a:lnTo>
                  <a:lnTo>
                    <a:pt x="767" y="76"/>
                  </a:lnTo>
                  <a:lnTo>
                    <a:pt x="770" y="74"/>
                  </a:lnTo>
                  <a:lnTo>
                    <a:pt x="773" y="76"/>
                  </a:lnTo>
                  <a:lnTo>
                    <a:pt x="773" y="76"/>
                  </a:lnTo>
                  <a:lnTo>
                    <a:pt x="773" y="76"/>
                  </a:lnTo>
                  <a:lnTo>
                    <a:pt x="775" y="76"/>
                  </a:lnTo>
                  <a:lnTo>
                    <a:pt x="775" y="74"/>
                  </a:lnTo>
                  <a:lnTo>
                    <a:pt x="778" y="74"/>
                  </a:lnTo>
                  <a:lnTo>
                    <a:pt x="780" y="74"/>
                  </a:lnTo>
                  <a:lnTo>
                    <a:pt x="783" y="74"/>
                  </a:lnTo>
                  <a:lnTo>
                    <a:pt x="783" y="71"/>
                  </a:lnTo>
                  <a:lnTo>
                    <a:pt x="785" y="71"/>
                  </a:lnTo>
                  <a:lnTo>
                    <a:pt x="788" y="71"/>
                  </a:lnTo>
                  <a:lnTo>
                    <a:pt x="790" y="74"/>
                  </a:lnTo>
                  <a:lnTo>
                    <a:pt x="790" y="74"/>
                  </a:lnTo>
                  <a:lnTo>
                    <a:pt x="793" y="76"/>
                  </a:lnTo>
                  <a:lnTo>
                    <a:pt x="793" y="76"/>
                  </a:lnTo>
                  <a:lnTo>
                    <a:pt x="793" y="76"/>
                  </a:lnTo>
                  <a:lnTo>
                    <a:pt x="795" y="76"/>
                  </a:lnTo>
                  <a:lnTo>
                    <a:pt x="795" y="76"/>
                  </a:lnTo>
                  <a:lnTo>
                    <a:pt x="795" y="76"/>
                  </a:lnTo>
                  <a:lnTo>
                    <a:pt x="795" y="76"/>
                  </a:lnTo>
                  <a:lnTo>
                    <a:pt x="795" y="76"/>
                  </a:lnTo>
                  <a:lnTo>
                    <a:pt x="798" y="74"/>
                  </a:lnTo>
                  <a:lnTo>
                    <a:pt x="798" y="74"/>
                  </a:lnTo>
                  <a:lnTo>
                    <a:pt x="798" y="74"/>
                  </a:lnTo>
                  <a:lnTo>
                    <a:pt x="798" y="74"/>
                  </a:lnTo>
                  <a:lnTo>
                    <a:pt x="798" y="74"/>
                  </a:lnTo>
                  <a:lnTo>
                    <a:pt x="798" y="74"/>
                  </a:lnTo>
                  <a:lnTo>
                    <a:pt x="801" y="74"/>
                  </a:lnTo>
                  <a:lnTo>
                    <a:pt x="801" y="74"/>
                  </a:lnTo>
                  <a:lnTo>
                    <a:pt x="801" y="74"/>
                  </a:lnTo>
                  <a:lnTo>
                    <a:pt x="801" y="74"/>
                  </a:lnTo>
                  <a:lnTo>
                    <a:pt x="803" y="74"/>
                  </a:lnTo>
                  <a:lnTo>
                    <a:pt x="808" y="76"/>
                  </a:lnTo>
                  <a:lnTo>
                    <a:pt x="808" y="74"/>
                  </a:lnTo>
                  <a:lnTo>
                    <a:pt x="811" y="74"/>
                  </a:lnTo>
                  <a:lnTo>
                    <a:pt x="811" y="74"/>
                  </a:lnTo>
                  <a:lnTo>
                    <a:pt x="811" y="74"/>
                  </a:lnTo>
                  <a:lnTo>
                    <a:pt x="808" y="74"/>
                  </a:lnTo>
                  <a:lnTo>
                    <a:pt x="808" y="71"/>
                  </a:lnTo>
                  <a:lnTo>
                    <a:pt x="808" y="71"/>
                  </a:lnTo>
                  <a:lnTo>
                    <a:pt x="808" y="71"/>
                  </a:lnTo>
                  <a:lnTo>
                    <a:pt x="808" y="71"/>
                  </a:lnTo>
                  <a:lnTo>
                    <a:pt x="808" y="71"/>
                  </a:lnTo>
                  <a:lnTo>
                    <a:pt x="806" y="71"/>
                  </a:lnTo>
                  <a:lnTo>
                    <a:pt x="806" y="69"/>
                  </a:lnTo>
                  <a:lnTo>
                    <a:pt x="806" y="69"/>
                  </a:lnTo>
                  <a:lnTo>
                    <a:pt x="808" y="69"/>
                  </a:lnTo>
                  <a:lnTo>
                    <a:pt x="808" y="69"/>
                  </a:lnTo>
                  <a:lnTo>
                    <a:pt x="808" y="69"/>
                  </a:lnTo>
                  <a:lnTo>
                    <a:pt x="808" y="66"/>
                  </a:lnTo>
                  <a:lnTo>
                    <a:pt x="808" y="66"/>
                  </a:lnTo>
                  <a:lnTo>
                    <a:pt x="808" y="64"/>
                  </a:lnTo>
                  <a:lnTo>
                    <a:pt x="808" y="64"/>
                  </a:lnTo>
                  <a:lnTo>
                    <a:pt x="808" y="64"/>
                  </a:lnTo>
                  <a:lnTo>
                    <a:pt x="806" y="64"/>
                  </a:lnTo>
                  <a:lnTo>
                    <a:pt x="806" y="64"/>
                  </a:lnTo>
                  <a:lnTo>
                    <a:pt x="806" y="64"/>
                  </a:lnTo>
                  <a:lnTo>
                    <a:pt x="803" y="64"/>
                  </a:lnTo>
                  <a:lnTo>
                    <a:pt x="803" y="64"/>
                  </a:lnTo>
                  <a:lnTo>
                    <a:pt x="803" y="64"/>
                  </a:lnTo>
                  <a:lnTo>
                    <a:pt x="801" y="64"/>
                  </a:lnTo>
                  <a:lnTo>
                    <a:pt x="801" y="64"/>
                  </a:lnTo>
                  <a:lnTo>
                    <a:pt x="798" y="64"/>
                  </a:lnTo>
                  <a:lnTo>
                    <a:pt x="798" y="64"/>
                  </a:lnTo>
                  <a:lnTo>
                    <a:pt x="795" y="64"/>
                  </a:lnTo>
                  <a:lnTo>
                    <a:pt x="795" y="64"/>
                  </a:lnTo>
                  <a:lnTo>
                    <a:pt x="795" y="61"/>
                  </a:lnTo>
                  <a:lnTo>
                    <a:pt x="795" y="61"/>
                  </a:lnTo>
                  <a:lnTo>
                    <a:pt x="795" y="61"/>
                  </a:lnTo>
                  <a:lnTo>
                    <a:pt x="798" y="58"/>
                  </a:lnTo>
                  <a:lnTo>
                    <a:pt x="798" y="58"/>
                  </a:lnTo>
                  <a:lnTo>
                    <a:pt x="801" y="56"/>
                  </a:lnTo>
                  <a:lnTo>
                    <a:pt x="798" y="56"/>
                  </a:lnTo>
                  <a:lnTo>
                    <a:pt x="795" y="56"/>
                  </a:lnTo>
                  <a:lnTo>
                    <a:pt x="793" y="58"/>
                  </a:lnTo>
                  <a:lnTo>
                    <a:pt x="790" y="58"/>
                  </a:lnTo>
                  <a:lnTo>
                    <a:pt x="788" y="58"/>
                  </a:lnTo>
                  <a:lnTo>
                    <a:pt x="783" y="58"/>
                  </a:lnTo>
                  <a:lnTo>
                    <a:pt x="780" y="58"/>
                  </a:lnTo>
                  <a:lnTo>
                    <a:pt x="778" y="58"/>
                  </a:lnTo>
                  <a:lnTo>
                    <a:pt x="778" y="58"/>
                  </a:lnTo>
                  <a:lnTo>
                    <a:pt x="775" y="58"/>
                  </a:lnTo>
                  <a:lnTo>
                    <a:pt x="773" y="61"/>
                  </a:lnTo>
                  <a:lnTo>
                    <a:pt x="770" y="64"/>
                  </a:lnTo>
                  <a:lnTo>
                    <a:pt x="765" y="64"/>
                  </a:lnTo>
                  <a:lnTo>
                    <a:pt x="765" y="64"/>
                  </a:lnTo>
                  <a:lnTo>
                    <a:pt x="765" y="64"/>
                  </a:lnTo>
                  <a:lnTo>
                    <a:pt x="765" y="64"/>
                  </a:lnTo>
                  <a:lnTo>
                    <a:pt x="765" y="64"/>
                  </a:lnTo>
                  <a:lnTo>
                    <a:pt x="762" y="64"/>
                  </a:lnTo>
                  <a:lnTo>
                    <a:pt x="762" y="64"/>
                  </a:lnTo>
                  <a:lnTo>
                    <a:pt x="760" y="64"/>
                  </a:lnTo>
                  <a:lnTo>
                    <a:pt x="760" y="61"/>
                  </a:lnTo>
                  <a:lnTo>
                    <a:pt x="760" y="64"/>
                  </a:lnTo>
                  <a:lnTo>
                    <a:pt x="757" y="64"/>
                  </a:lnTo>
                  <a:lnTo>
                    <a:pt x="755" y="64"/>
                  </a:lnTo>
                  <a:lnTo>
                    <a:pt x="755" y="64"/>
                  </a:lnTo>
                  <a:lnTo>
                    <a:pt x="755" y="61"/>
                  </a:lnTo>
                  <a:lnTo>
                    <a:pt x="755" y="61"/>
                  </a:lnTo>
                  <a:lnTo>
                    <a:pt x="755" y="61"/>
                  </a:lnTo>
                  <a:lnTo>
                    <a:pt x="752" y="58"/>
                  </a:lnTo>
                  <a:lnTo>
                    <a:pt x="752" y="56"/>
                  </a:lnTo>
                  <a:lnTo>
                    <a:pt x="752" y="56"/>
                  </a:lnTo>
                  <a:lnTo>
                    <a:pt x="750" y="53"/>
                  </a:lnTo>
                  <a:lnTo>
                    <a:pt x="750" y="53"/>
                  </a:lnTo>
                  <a:lnTo>
                    <a:pt x="745" y="53"/>
                  </a:lnTo>
                  <a:lnTo>
                    <a:pt x="745" y="53"/>
                  </a:lnTo>
                  <a:lnTo>
                    <a:pt x="745" y="53"/>
                  </a:lnTo>
                  <a:lnTo>
                    <a:pt x="739" y="56"/>
                  </a:lnTo>
                  <a:lnTo>
                    <a:pt x="739" y="56"/>
                  </a:lnTo>
                  <a:lnTo>
                    <a:pt x="739" y="56"/>
                  </a:lnTo>
                  <a:lnTo>
                    <a:pt x="737" y="56"/>
                  </a:lnTo>
                  <a:lnTo>
                    <a:pt x="737" y="56"/>
                  </a:lnTo>
                  <a:lnTo>
                    <a:pt x="737" y="56"/>
                  </a:lnTo>
                  <a:lnTo>
                    <a:pt x="737" y="56"/>
                  </a:lnTo>
                  <a:lnTo>
                    <a:pt x="737" y="53"/>
                  </a:lnTo>
                  <a:lnTo>
                    <a:pt x="739" y="53"/>
                  </a:lnTo>
                  <a:lnTo>
                    <a:pt x="739" y="51"/>
                  </a:lnTo>
                  <a:lnTo>
                    <a:pt x="739" y="51"/>
                  </a:lnTo>
                  <a:lnTo>
                    <a:pt x="739" y="51"/>
                  </a:lnTo>
                  <a:lnTo>
                    <a:pt x="739" y="51"/>
                  </a:lnTo>
                  <a:lnTo>
                    <a:pt x="739" y="48"/>
                  </a:lnTo>
                  <a:lnTo>
                    <a:pt x="739" y="48"/>
                  </a:lnTo>
                  <a:lnTo>
                    <a:pt x="739" y="48"/>
                  </a:lnTo>
                  <a:lnTo>
                    <a:pt x="739" y="48"/>
                  </a:lnTo>
                  <a:lnTo>
                    <a:pt x="739" y="48"/>
                  </a:lnTo>
                  <a:lnTo>
                    <a:pt x="739" y="46"/>
                  </a:lnTo>
                  <a:lnTo>
                    <a:pt x="737" y="48"/>
                  </a:lnTo>
                  <a:lnTo>
                    <a:pt x="734" y="48"/>
                  </a:lnTo>
                  <a:lnTo>
                    <a:pt x="732" y="51"/>
                  </a:lnTo>
                  <a:lnTo>
                    <a:pt x="732" y="51"/>
                  </a:lnTo>
                  <a:lnTo>
                    <a:pt x="729" y="51"/>
                  </a:lnTo>
                  <a:lnTo>
                    <a:pt x="729" y="51"/>
                  </a:lnTo>
                  <a:lnTo>
                    <a:pt x="727" y="53"/>
                  </a:lnTo>
                  <a:lnTo>
                    <a:pt x="724" y="53"/>
                  </a:lnTo>
                  <a:lnTo>
                    <a:pt x="722" y="56"/>
                  </a:lnTo>
                  <a:lnTo>
                    <a:pt x="719" y="56"/>
                  </a:lnTo>
                  <a:lnTo>
                    <a:pt x="716" y="56"/>
                  </a:lnTo>
                  <a:lnTo>
                    <a:pt x="711" y="56"/>
                  </a:lnTo>
                  <a:lnTo>
                    <a:pt x="709" y="58"/>
                  </a:lnTo>
                  <a:lnTo>
                    <a:pt x="706" y="61"/>
                  </a:lnTo>
                  <a:lnTo>
                    <a:pt x="701" y="61"/>
                  </a:lnTo>
                  <a:lnTo>
                    <a:pt x="699" y="61"/>
                  </a:lnTo>
                  <a:lnTo>
                    <a:pt x="699" y="61"/>
                  </a:lnTo>
                  <a:lnTo>
                    <a:pt x="696" y="61"/>
                  </a:lnTo>
                  <a:lnTo>
                    <a:pt x="696" y="58"/>
                  </a:lnTo>
                  <a:lnTo>
                    <a:pt x="696" y="58"/>
                  </a:lnTo>
                  <a:lnTo>
                    <a:pt x="696" y="58"/>
                  </a:lnTo>
                  <a:lnTo>
                    <a:pt x="696" y="58"/>
                  </a:lnTo>
                  <a:lnTo>
                    <a:pt x="694" y="61"/>
                  </a:lnTo>
                  <a:lnTo>
                    <a:pt x="691" y="61"/>
                  </a:lnTo>
                  <a:lnTo>
                    <a:pt x="691" y="61"/>
                  </a:lnTo>
                  <a:lnTo>
                    <a:pt x="694" y="58"/>
                  </a:lnTo>
                  <a:lnTo>
                    <a:pt x="694" y="58"/>
                  </a:lnTo>
                  <a:lnTo>
                    <a:pt x="694" y="58"/>
                  </a:lnTo>
                  <a:lnTo>
                    <a:pt x="696" y="56"/>
                  </a:lnTo>
                  <a:lnTo>
                    <a:pt x="696" y="56"/>
                  </a:lnTo>
                  <a:lnTo>
                    <a:pt x="699" y="53"/>
                  </a:lnTo>
                  <a:lnTo>
                    <a:pt x="699" y="53"/>
                  </a:lnTo>
                  <a:lnTo>
                    <a:pt x="696" y="53"/>
                  </a:lnTo>
                  <a:lnTo>
                    <a:pt x="696" y="53"/>
                  </a:lnTo>
                  <a:lnTo>
                    <a:pt x="696" y="53"/>
                  </a:lnTo>
                  <a:lnTo>
                    <a:pt x="691" y="56"/>
                  </a:lnTo>
                  <a:lnTo>
                    <a:pt x="691" y="56"/>
                  </a:lnTo>
                  <a:lnTo>
                    <a:pt x="688" y="53"/>
                  </a:lnTo>
                  <a:lnTo>
                    <a:pt x="688" y="53"/>
                  </a:lnTo>
                  <a:lnTo>
                    <a:pt x="686" y="56"/>
                  </a:lnTo>
                  <a:lnTo>
                    <a:pt x="683" y="58"/>
                  </a:lnTo>
                  <a:lnTo>
                    <a:pt x="676" y="58"/>
                  </a:lnTo>
                  <a:lnTo>
                    <a:pt x="676" y="58"/>
                  </a:lnTo>
                  <a:lnTo>
                    <a:pt x="673" y="58"/>
                  </a:lnTo>
                  <a:lnTo>
                    <a:pt x="673" y="58"/>
                  </a:lnTo>
                  <a:lnTo>
                    <a:pt x="673" y="58"/>
                  </a:lnTo>
                  <a:lnTo>
                    <a:pt x="673" y="56"/>
                  </a:lnTo>
                  <a:lnTo>
                    <a:pt x="673" y="56"/>
                  </a:lnTo>
                  <a:lnTo>
                    <a:pt x="683" y="51"/>
                  </a:lnTo>
                  <a:lnTo>
                    <a:pt x="691" y="48"/>
                  </a:lnTo>
                  <a:lnTo>
                    <a:pt x="701" y="41"/>
                  </a:lnTo>
                  <a:lnTo>
                    <a:pt x="704" y="38"/>
                  </a:lnTo>
                  <a:lnTo>
                    <a:pt x="709" y="36"/>
                  </a:lnTo>
                  <a:lnTo>
                    <a:pt x="716" y="36"/>
                  </a:lnTo>
                  <a:lnTo>
                    <a:pt x="722" y="33"/>
                  </a:lnTo>
                  <a:lnTo>
                    <a:pt x="727" y="33"/>
                  </a:lnTo>
                  <a:lnTo>
                    <a:pt x="729" y="30"/>
                  </a:lnTo>
                  <a:lnTo>
                    <a:pt x="729" y="30"/>
                  </a:lnTo>
                  <a:lnTo>
                    <a:pt x="729" y="30"/>
                  </a:lnTo>
                  <a:lnTo>
                    <a:pt x="732" y="30"/>
                  </a:lnTo>
                  <a:lnTo>
                    <a:pt x="732" y="30"/>
                  </a:lnTo>
                  <a:lnTo>
                    <a:pt x="727" y="30"/>
                  </a:lnTo>
                  <a:lnTo>
                    <a:pt x="724" y="30"/>
                  </a:lnTo>
                  <a:lnTo>
                    <a:pt x="724" y="30"/>
                  </a:lnTo>
                  <a:lnTo>
                    <a:pt x="724" y="28"/>
                  </a:lnTo>
                  <a:lnTo>
                    <a:pt x="724" y="28"/>
                  </a:lnTo>
                  <a:lnTo>
                    <a:pt x="719" y="28"/>
                  </a:lnTo>
                  <a:lnTo>
                    <a:pt x="714" y="28"/>
                  </a:lnTo>
                  <a:lnTo>
                    <a:pt x="711" y="28"/>
                  </a:lnTo>
                  <a:lnTo>
                    <a:pt x="711" y="28"/>
                  </a:lnTo>
                  <a:lnTo>
                    <a:pt x="711" y="25"/>
                  </a:lnTo>
                  <a:lnTo>
                    <a:pt x="709" y="25"/>
                  </a:lnTo>
                  <a:lnTo>
                    <a:pt x="706" y="25"/>
                  </a:lnTo>
                  <a:lnTo>
                    <a:pt x="704" y="28"/>
                  </a:lnTo>
                  <a:lnTo>
                    <a:pt x="699" y="28"/>
                  </a:lnTo>
                  <a:lnTo>
                    <a:pt x="699" y="28"/>
                  </a:lnTo>
                  <a:lnTo>
                    <a:pt x="696" y="28"/>
                  </a:lnTo>
                  <a:lnTo>
                    <a:pt x="694" y="25"/>
                  </a:lnTo>
                  <a:lnTo>
                    <a:pt x="691" y="23"/>
                  </a:lnTo>
                  <a:lnTo>
                    <a:pt x="688" y="23"/>
                  </a:lnTo>
                  <a:lnTo>
                    <a:pt x="686" y="23"/>
                  </a:lnTo>
                  <a:lnTo>
                    <a:pt x="686" y="23"/>
                  </a:lnTo>
                  <a:lnTo>
                    <a:pt x="683" y="23"/>
                  </a:lnTo>
                  <a:lnTo>
                    <a:pt x="683" y="23"/>
                  </a:lnTo>
                  <a:lnTo>
                    <a:pt x="683" y="20"/>
                  </a:lnTo>
                  <a:lnTo>
                    <a:pt x="683" y="20"/>
                  </a:lnTo>
                  <a:lnTo>
                    <a:pt x="681" y="18"/>
                  </a:lnTo>
                  <a:lnTo>
                    <a:pt x="681" y="18"/>
                  </a:lnTo>
                  <a:lnTo>
                    <a:pt x="678" y="15"/>
                  </a:lnTo>
                  <a:lnTo>
                    <a:pt x="678" y="15"/>
                  </a:lnTo>
                  <a:lnTo>
                    <a:pt x="676" y="15"/>
                  </a:lnTo>
                  <a:lnTo>
                    <a:pt x="673" y="15"/>
                  </a:lnTo>
                  <a:lnTo>
                    <a:pt x="671" y="15"/>
                  </a:lnTo>
                  <a:lnTo>
                    <a:pt x="668" y="18"/>
                  </a:lnTo>
                  <a:lnTo>
                    <a:pt x="668" y="18"/>
                  </a:lnTo>
                  <a:lnTo>
                    <a:pt x="666" y="18"/>
                  </a:lnTo>
                  <a:lnTo>
                    <a:pt x="663" y="18"/>
                  </a:lnTo>
                  <a:lnTo>
                    <a:pt x="663" y="15"/>
                  </a:lnTo>
                  <a:lnTo>
                    <a:pt x="660" y="15"/>
                  </a:lnTo>
                  <a:lnTo>
                    <a:pt x="655" y="15"/>
                  </a:lnTo>
                  <a:lnTo>
                    <a:pt x="650" y="13"/>
                  </a:lnTo>
                  <a:lnTo>
                    <a:pt x="650" y="13"/>
                  </a:lnTo>
                  <a:lnTo>
                    <a:pt x="650" y="13"/>
                  </a:lnTo>
                  <a:lnTo>
                    <a:pt x="650" y="10"/>
                  </a:lnTo>
                  <a:lnTo>
                    <a:pt x="650" y="10"/>
                  </a:lnTo>
                  <a:lnTo>
                    <a:pt x="650" y="8"/>
                  </a:lnTo>
                  <a:lnTo>
                    <a:pt x="653" y="5"/>
                  </a:lnTo>
                  <a:lnTo>
                    <a:pt x="653" y="2"/>
                  </a:lnTo>
                  <a:lnTo>
                    <a:pt x="653" y="0"/>
                  </a:lnTo>
                  <a:lnTo>
                    <a:pt x="653" y="0"/>
                  </a:lnTo>
                  <a:lnTo>
                    <a:pt x="653" y="0"/>
                  </a:lnTo>
                  <a:lnTo>
                    <a:pt x="650" y="0"/>
                  </a:lnTo>
                  <a:lnTo>
                    <a:pt x="648" y="2"/>
                  </a:lnTo>
                  <a:lnTo>
                    <a:pt x="645" y="8"/>
                  </a:lnTo>
                  <a:lnTo>
                    <a:pt x="640" y="8"/>
                  </a:lnTo>
                  <a:lnTo>
                    <a:pt x="581" y="8"/>
                  </a:lnTo>
                  <a:lnTo>
                    <a:pt x="574" y="8"/>
                  </a:lnTo>
                  <a:lnTo>
                    <a:pt x="400" y="8"/>
                  </a:lnTo>
                  <a:lnTo>
                    <a:pt x="393" y="8"/>
                  </a:lnTo>
                  <a:lnTo>
                    <a:pt x="222" y="8"/>
                  </a:lnTo>
                  <a:lnTo>
                    <a:pt x="214" y="8"/>
                  </a:lnTo>
                  <a:lnTo>
                    <a:pt x="158" y="8"/>
                  </a:lnTo>
                  <a:lnTo>
                    <a:pt x="158" y="10"/>
                  </a:lnTo>
                  <a:lnTo>
                    <a:pt x="158" y="13"/>
                  </a:lnTo>
                  <a:lnTo>
                    <a:pt x="158" y="13"/>
                  </a:lnTo>
                  <a:lnTo>
                    <a:pt x="158" y="13"/>
                  </a:lnTo>
                  <a:lnTo>
                    <a:pt x="158" y="13"/>
                  </a:lnTo>
                  <a:lnTo>
                    <a:pt x="161" y="13"/>
                  </a:lnTo>
                  <a:lnTo>
                    <a:pt x="161" y="13"/>
                  </a:lnTo>
                  <a:lnTo>
                    <a:pt x="158" y="15"/>
                  </a:lnTo>
                  <a:lnTo>
                    <a:pt x="158" y="18"/>
                  </a:lnTo>
                  <a:lnTo>
                    <a:pt x="158" y="18"/>
                  </a:lnTo>
                  <a:lnTo>
                    <a:pt x="156" y="18"/>
                  </a:lnTo>
                  <a:lnTo>
                    <a:pt x="156" y="18"/>
                  </a:lnTo>
                  <a:lnTo>
                    <a:pt x="153" y="18"/>
                  </a:lnTo>
                  <a:lnTo>
                    <a:pt x="153" y="18"/>
                  </a:lnTo>
                  <a:lnTo>
                    <a:pt x="153" y="20"/>
                  </a:lnTo>
                  <a:lnTo>
                    <a:pt x="153" y="20"/>
                  </a:lnTo>
                  <a:lnTo>
                    <a:pt x="153" y="20"/>
                  </a:lnTo>
                  <a:lnTo>
                    <a:pt x="153" y="20"/>
                  </a:lnTo>
                  <a:lnTo>
                    <a:pt x="153" y="20"/>
                  </a:lnTo>
                  <a:lnTo>
                    <a:pt x="156" y="20"/>
                  </a:lnTo>
                  <a:lnTo>
                    <a:pt x="156" y="23"/>
                  </a:lnTo>
                  <a:lnTo>
                    <a:pt x="156" y="23"/>
                  </a:lnTo>
                  <a:lnTo>
                    <a:pt x="153" y="25"/>
                  </a:lnTo>
                  <a:lnTo>
                    <a:pt x="153" y="25"/>
                  </a:lnTo>
                  <a:lnTo>
                    <a:pt x="151" y="25"/>
                  </a:lnTo>
                  <a:lnTo>
                    <a:pt x="151" y="25"/>
                  </a:lnTo>
                  <a:lnTo>
                    <a:pt x="151" y="28"/>
                  </a:lnTo>
                  <a:lnTo>
                    <a:pt x="153" y="28"/>
                  </a:lnTo>
                  <a:lnTo>
                    <a:pt x="153" y="28"/>
                  </a:lnTo>
                  <a:lnTo>
                    <a:pt x="153" y="25"/>
                  </a:lnTo>
                  <a:lnTo>
                    <a:pt x="153" y="25"/>
                  </a:lnTo>
                  <a:lnTo>
                    <a:pt x="153" y="25"/>
                  </a:lnTo>
                  <a:lnTo>
                    <a:pt x="153" y="28"/>
                  </a:lnTo>
                  <a:lnTo>
                    <a:pt x="153" y="28"/>
                  </a:lnTo>
                  <a:lnTo>
                    <a:pt x="153" y="28"/>
                  </a:lnTo>
                  <a:lnTo>
                    <a:pt x="153" y="30"/>
                  </a:lnTo>
                  <a:lnTo>
                    <a:pt x="151" y="30"/>
                  </a:lnTo>
                  <a:lnTo>
                    <a:pt x="151" y="33"/>
                  </a:lnTo>
                  <a:lnTo>
                    <a:pt x="148" y="33"/>
                  </a:lnTo>
                  <a:lnTo>
                    <a:pt x="148" y="36"/>
                  </a:lnTo>
                  <a:lnTo>
                    <a:pt x="148" y="36"/>
                  </a:lnTo>
                  <a:lnTo>
                    <a:pt x="146" y="36"/>
                  </a:lnTo>
                  <a:lnTo>
                    <a:pt x="146" y="38"/>
                  </a:lnTo>
                  <a:lnTo>
                    <a:pt x="146" y="38"/>
                  </a:lnTo>
                  <a:lnTo>
                    <a:pt x="146" y="38"/>
                  </a:lnTo>
                  <a:lnTo>
                    <a:pt x="146" y="38"/>
                  </a:lnTo>
                  <a:lnTo>
                    <a:pt x="143" y="41"/>
                  </a:lnTo>
                  <a:lnTo>
                    <a:pt x="143" y="43"/>
                  </a:lnTo>
                  <a:lnTo>
                    <a:pt x="143" y="43"/>
                  </a:lnTo>
                  <a:lnTo>
                    <a:pt x="141" y="46"/>
                  </a:lnTo>
                  <a:lnTo>
                    <a:pt x="138" y="46"/>
                  </a:lnTo>
                  <a:lnTo>
                    <a:pt x="138" y="46"/>
                  </a:lnTo>
                  <a:lnTo>
                    <a:pt x="138" y="46"/>
                  </a:lnTo>
                  <a:lnTo>
                    <a:pt x="135" y="48"/>
                  </a:lnTo>
                  <a:lnTo>
                    <a:pt x="133" y="48"/>
                  </a:lnTo>
                  <a:lnTo>
                    <a:pt x="133" y="51"/>
                  </a:lnTo>
                  <a:lnTo>
                    <a:pt x="130" y="51"/>
                  </a:lnTo>
                  <a:lnTo>
                    <a:pt x="130" y="48"/>
                  </a:lnTo>
                  <a:lnTo>
                    <a:pt x="128" y="48"/>
                  </a:lnTo>
                  <a:lnTo>
                    <a:pt x="125" y="48"/>
                  </a:lnTo>
                  <a:lnTo>
                    <a:pt x="128" y="48"/>
                  </a:lnTo>
                  <a:lnTo>
                    <a:pt x="130" y="46"/>
                  </a:lnTo>
                  <a:lnTo>
                    <a:pt x="130" y="46"/>
                  </a:lnTo>
                  <a:lnTo>
                    <a:pt x="133" y="46"/>
                  </a:lnTo>
                  <a:lnTo>
                    <a:pt x="133" y="46"/>
                  </a:lnTo>
                  <a:lnTo>
                    <a:pt x="133" y="48"/>
                  </a:lnTo>
                  <a:lnTo>
                    <a:pt x="133" y="48"/>
                  </a:lnTo>
                  <a:lnTo>
                    <a:pt x="135" y="46"/>
                  </a:lnTo>
                  <a:lnTo>
                    <a:pt x="135" y="46"/>
                  </a:lnTo>
                  <a:lnTo>
                    <a:pt x="135" y="46"/>
                  </a:lnTo>
                  <a:lnTo>
                    <a:pt x="135" y="46"/>
                  </a:lnTo>
                  <a:lnTo>
                    <a:pt x="138" y="46"/>
                  </a:lnTo>
                  <a:lnTo>
                    <a:pt x="138" y="43"/>
                  </a:lnTo>
                  <a:lnTo>
                    <a:pt x="141" y="41"/>
                  </a:lnTo>
                  <a:lnTo>
                    <a:pt x="141" y="41"/>
                  </a:lnTo>
                  <a:lnTo>
                    <a:pt x="141" y="38"/>
                  </a:lnTo>
                  <a:lnTo>
                    <a:pt x="141" y="38"/>
                  </a:lnTo>
                  <a:lnTo>
                    <a:pt x="141" y="38"/>
                  </a:lnTo>
                  <a:lnTo>
                    <a:pt x="141" y="38"/>
                  </a:lnTo>
                  <a:lnTo>
                    <a:pt x="143" y="36"/>
                  </a:lnTo>
                  <a:lnTo>
                    <a:pt x="143" y="36"/>
                  </a:lnTo>
                  <a:lnTo>
                    <a:pt x="146" y="36"/>
                  </a:lnTo>
                  <a:lnTo>
                    <a:pt x="146" y="33"/>
                  </a:lnTo>
                  <a:lnTo>
                    <a:pt x="148" y="30"/>
                  </a:lnTo>
                  <a:lnTo>
                    <a:pt x="146" y="30"/>
                  </a:lnTo>
                  <a:lnTo>
                    <a:pt x="146" y="30"/>
                  </a:lnTo>
                  <a:lnTo>
                    <a:pt x="146" y="33"/>
                  </a:lnTo>
                  <a:lnTo>
                    <a:pt x="146" y="33"/>
                  </a:lnTo>
                  <a:lnTo>
                    <a:pt x="141" y="36"/>
                  </a:lnTo>
                  <a:lnTo>
                    <a:pt x="141" y="36"/>
                  </a:lnTo>
                  <a:lnTo>
                    <a:pt x="138" y="38"/>
                  </a:lnTo>
                  <a:lnTo>
                    <a:pt x="135" y="38"/>
                  </a:lnTo>
                  <a:lnTo>
                    <a:pt x="133" y="41"/>
                  </a:lnTo>
                  <a:lnTo>
                    <a:pt x="130" y="41"/>
                  </a:lnTo>
                  <a:lnTo>
                    <a:pt x="130" y="43"/>
                  </a:lnTo>
                  <a:lnTo>
                    <a:pt x="130" y="43"/>
                  </a:lnTo>
                  <a:lnTo>
                    <a:pt x="130" y="43"/>
                  </a:lnTo>
                  <a:lnTo>
                    <a:pt x="133" y="43"/>
                  </a:lnTo>
                  <a:lnTo>
                    <a:pt x="133" y="43"/>
                  </a:lnTo>
                  <a:lnTo>
                    <a:pt x="130" y="43"/>
                  </a:lnTo>
                  <a:lnTo>
                    <a:pt x="128" y="43"/>
                  </a:lnTo>
                  <a:lnTo>
                    <a:pt x="128" y="43"/>
                  </a:lnTo>
                  <a:lnTo>
                    <a:pt x="128" y="43"/>
                  </a:lnTo>
                  <a:lnTo>
                    <a:pt x="130" y="43"/>
                  </a:lnTo>
                  <a:lnTo>
                    <a:pt x="133" y="41"/>
                  </a:lnTo>
                  <a:lnTo>
                    <a:pt x="141" y="36"/>
                  </a:lnTo>
                  <a:lnTo>
                    <a:pt x="141" y="36"/>
                  </a:lnTo>
                  <a:lnTo>
                    <a:pt x="141" y="36"/>
                  </a:lnTo>
                  <a:lnTo>
                    <a:pt x="141" y="36"/>
                  </a:lnTo>
                  <a:lnTo>
                    <a:pt x="143" y="33"/>
                  </a:lnTo>
                  <a:lnTo>
                    <a:pt x="146" y="30"/>
                  </a:lnTo>
                  <a:lnTo>
                    <a:pt x="146" y="30"/>
                  </a:lnTo>
                  <a:lnTo>
                    <a:pt x="146" y="28"/>
                  </a:lnTo>
                  <a:lnTo>
                    <a:pt x="146" y="28"/>
                  </a:lnTo>
                  <a:lnTo>
                    <a:pt x="146" y="28"/>
                  </a:lnTo>
                  <a:lnTo>
                    <a:pt x="143" y="28"/>
                  </a:lnTo>
                  <a:lnTo>
                    <a:pt x="143" y="28"/>
                  </a:lnTo>
                  <a:lnTo>
                    <a:pt x="141" y="28"/>
                  </a:lnTo>
                  <a:lnTo>
                    <a:pt x="141" y="28"/>
                  </a:lnTo>
                  <a:lnTo>
                    <a:pt x="141" y="25"/>
                  </a:lnTo>
                  <a:lnTo>
                    <a:pt x="141" y="25"/>
                  </a:lnTo>
                  <a:lnTo>
                    <a:pt x="138" y="28"/>
                  </a:lnTo>
                  <a:lnTo>
                    <a:pt x="135" y="28"/>
                  </a:lnTo>
                  <a:lnTo>
                    <a:pt x="125" y="25"/>
                  </a:lnTo>
                  <a:lnTo>
                    <a:pt x="123" y="25"/>
                  </a:lnTo>
                  <a:lnTo>
                    <a:pt x="123" y="25"/>
                  </a:lnTo>
                  <a:lnTo>
                    <a:pt x="120" y="23"/>
                  </a:lnTo>
                  <a:lnTo>
                    <a:pt x="118" y="20"/>
                  </a:lnTo>
                  <a:lnTo>
                    <a:pt x="115" y="20"/>
                  </a:lnTo>
                  <a:lnTo>
                    <a:pt x="115" y="23"/>
                  </a:lnTo>
                  <a:lnTo>
                    <a:pt x="112" y="25"/>
                  </a:lnTo>
                  <a:lnTo>
                    <a:pt x="110" y="30"/>
                  </a:lnTo>
                  <a:lnTo>
                    <a:pt x="110" y="33"/>
                  </a:lnTo>
                  <a:lnTo>
                    <a:pt x="110" y="36"/>
                  </a:lnTo>
                  <a:lnTo>
                    <a:pt x="110" y="38"/>
                  </a:lnTo>
                  <a:lnTo>
                    <a:pt x="107" y="43"/>
                  </a:lnTo>
                  <a:lnTo>
                    <a:pt x="107" y="48"/>
                  </a:lnTo>
                  <a:lnTo>
                    <a:pt x="105" y="51"/>
                  </a:lnTo>
                  <a:lnTo>
                    <a:pt x="105" y="51"/>
                  </a:lnTo>
                  <a:lnTo>
                    <a:pt x="105" y="53"/>
                  </a:lnTo>
                  <a:lnTo>
                    <a:pt x="105" y="51"/>
                  </a:lnTo>
                  <a:lnTo>
                    <a:pt x="105" y="51"/>
                  </a:lnTo>
                  <a:lnTo>
                    <a:pt x="107" y="51"/>
                  </a:lnTo>
                  <a:lnTo>
                    <a:pt x="107" y="53"/>
                  </a:lnTo>
                  <a:lnTo>
                    <a:pt x="110" y="53"/>
                  </a:lnTo>
                  <a:lnTo>
                    <a:pt x="102" y="56"/>
                  </a:lnTo>
                  <a:lnTo>
                    <a:pt x="102" y="58"/>
                  </a:lnTo>
                  <a:lnTo>
                    <a:pt x="102" y="58"/>
                  </a:lnTo>
                  <a:lnTo>
                    <a:pt x="105" y="58"/>
                  </a:lnTo>
                  <a:lnTo>
                    <a:pt x="102" y="64"/>
                  </a:lnTo>
                  <a:lnTo>
                    <a:pt x="100" y="64"/>
                  </a:lnTo>
                  <a:lnTo>
                    <a:pt x="100" y="64"/>
                  </a:lnTo>
                  <a:lnTo>
                    <a:pt x="100" y="61"/>
                  </a:lnTo>
                  <a:lnTo>
                    <a:pt x="100" y="64"/>
                  </a:lnTo>
                  <a:lnTo>
                    <a:pt x="97" y="66"/>
                  </a:lnTo>
                  <a:lnTo>
                    <a:pt x="95" y="69"/>
                  </a:lnTo>
                  <a:lnTo>
                    <a:pt x="97" y="69"/>
                  </a:lnTo>
                  <a:lnTo>
                    <a:pt x="97" y="69"/>
                  </a:lnTo>
                  <a:lnTo>
                    <a:pt x="102" y="69"/>
                  </a:lnTo>
                  <a:lnTo>
                    <a:pt x="102" y="69"/>
                  </a:lnTo>
                  <a:lnTo>
                    <a:pt x="105" y="69"/>
                  </a:lnTo>
                  <a:lnTo>
                    <a:pt x="105" y="69"/>
                  </a:lnTo>
                  <a:lnTo>
                    <a:pt x="107" y="71"/>
                  </a:lnTo>
                  <a:lnTo>
                    <a:pt x="107" y="71"/>
                  </a:lnTo>
                  <a:lnTo>
                    <a:pt x="107" y="71"/>
                  </a:lnTo>
                  <a:lnTo>
                    <a:pt x="107" y="71"/>
                  </a:lnTo>
                  <a:lnTo>
                    <a:pt x="105" y="71"/>
                  </a:lnTo>
                  <a:lnTo>
                    <a:pt x="105" y="69"/>
                  </a:lnTo>
                  <a:lnTo>
                    <a:pt x="105" y="69"/>
                  </a:lnTo>
                  <a:lnTo>
                    <a:pt x="100" y="71"/>
                  </a:lnTo>
                  <a:lnTo>
                    <a:pt x="97" y="71"/>
                  </a:lnTo>
                  <a:lnTo>
                    <a:pt x="97" y="69"/>
                  </a:lnTo>
                  <a:lnTo>
                    <a:pt x="95" y="69"/>
                  </a:lnTo>
                  <a:lnTo>
                    <a:pt x="95" y="71"/>
                  </a:lnTo>
                  <a:lnTo>
                    <a:pt x="95" y="71"/>
                  </a:lnTo>
                  <a:lnTo>
                    <a:pt x="90" y="79"/>
                  </a:lnTo>
                  <a:lnTo>
                    <a:pt x="87" y="84"/>
                  </a:lnTo>
                  <a:lnTo>
                    <a:pt x="84" y="86"/>
                  </a:lnTo>
                  <a:lnTo>
                    <a:pt x="84" y="86"/>
                  </a:lnTo>
                  <a:lnTo>
                    <a:pt x="74" y="104"/>
                  </a:lnTo>
                  <a:lnTo>
                    <a:pt x="72" y="107"/>
                  </a:lnTo>
                  <a:lnTo>
                    <a:pt x="69" y="109"/>
                  </a:lnTo>
                  <a:lnTo>
                    <a:pt x="69" y="112"/>
                  </a:lnTo>
                  <a:lnTo>
                    <a:pt x="67" y="112"/>
                  </a:lnTo>
                  <a:lnTo>
                    <a:pt x="62" y="120"/>
                  </a:lnTo>
                  <a:lnTo>
                    <a:pt x="56" y="127"/>
                  </a:lnTo>
                  <a:lnTo>
                    <a:pt x="54" y="127"/>
                  </a:lnTo>
                  <a:lnTo>
                    <a:pt x="51" y="130"/>
                  </a:lnTo>
                  <a:lnTo>
                    <a:pt x="49" y="132"/>
                  </a:lnTo>
                  <a:lnTo>
                    <a:pt x="51" y="132"/>
                  </a:lnTo>
                  <a:lnTo>
                    <a:pt x="51" y="132"/>
                  </a:lnTo>
                  <a:lnTo>
                    <a:pt x="49" y="135"/>
                  </a:lnTo>
                  <a:lnTo>
                    <a:pt x="49" y="135"/>
                  </a:lnTo>
                  <a:lnTo>
                    <a:pt x="46" y="135"/>
                  </a:lnTo>
                  <a:lnTo>
                    <a:pt x="41" y="142"/>
                  </a:lnTo>
                  <a:lnTo>
                    <a:pt x="39" y="142"/>
                  </a:lnTo>
                  <a:lnTo>
                    <a:pt x="36" y="145"/>
                  </a:lnTo>
                  <a:lnTo>
                    <a:pt x="36" y="150"/>
                  </a:lnTo>
                  <a:lnTo>
                    <a:pt x="36" y="150"/>
                  </a:lnTo>
                  <a:lnTo>
                    <a:pt x="33" y="155"/>
                  </a:lnTo>
                  <a:lnTo>
                    <a:pt x="31" y="158"/>
                  </a:lnTo>
                  <a:lnTo>
                    <a:pt x="31" y="160"/>
                  </a:lnTo>
                  <a:lnTo>
                    <a:pt x="31" y="165"/>
                  </a:lnTo>
                  <a:lnTo>
                    <a:pt x="28" y="165"/>
                  </a:lnTo>
                  <a:lnTo>
                    <a:pt x="28" y="168"/>
                  </a:lnTo>
                  <a:lnTo>
                    <a:pt x="28" y="170"/>
                  </a:lnTo>
                  <a:lnTo>
                    <a:pt x="28" y="173"/>
                  </a:lnTo>
                  <a:lnTo>
                    <a:pt x="26" y="176"/>
                  </a:lnTo>
                  <a:lnTo>
                    <a:pt x="26" y="178"/>
                  </a:lnTo>
                  <a:lnTo>
                    <a:pt x="21" y="183"/>
                  </a:lnTo>
                  <a:lnTo>
                    <a:pt x="18" y="186"/>
                  </a:lnTo>
                  <a:lnTo>
                    <a:pt x="16" y="191"/>
                  </a:lnTo>
                  <a:lnTo>
                    <a:pt x="16" y="191"/>
                  </a:lnTo>
                  <a:lnTo>
                    <a:pt x="16" y="191"/>
                  </a:lnTo>
                  <a:lnTo>
                    <a:pt x="16" y="191"/>
                  </a:lnTo>
                  <a:lnTo>
                    <a:pt x="13" y="191"/>
                  </a:lnTo>
                  <a:lnTo>
                    <a:pt x="13" y="193"/>
                  </a:lnTo>
                  <a:lnTo>
                    <a:pt x="13" y="193"/>
                  </a:lnTo>
                  <a:lnTo>
                    <a:pt x="13" y="193"/>
                  </a:lnTo>
                  <a:lnTo>
                    <a:pt x="13" y="193"/>
                  </a:lnTo>
                  <a:lnTo>
                    <a:pt x="13" y="193"/>
                  </a:lnTo>
                  <a:lnTo>
                    <a:pt x="11" y="196"/>
                  </a:lnTo>
                  <a:lnTo>
                    <a:pt x="8" y="198"/>
                  </a:lnTo>
                  <a:lnTo>
                    <a:pt x="5" y="201"/>
                  </a:lnTo>
                  <a:lnTo>
                    <a:pt x="5" y="204"/>
                  </a:lnTo>
                  <a:lnTo>
                    <a:pt x="8" y="206"/>
                  </a:lnTo>
                  <a:lnTo>
                    <a:pt x="8" y="211"/>
                  </a:lnTo>
                  <a:lnTo>
                    <a:pt x="8" y="211"/>
                  </a:lnTo>
                  <a:lnTo>
                    <a:pt x="8" y="216"/>
                  </a:lnTo>
                  <a:lnTo>
                    <a:pt x="5" y="219"/>
                  </a:lnTo>
                  <a:lnTo>
                    <a:pt x="3" y="221"/>
                  </a:lnTo>
                  <a:lnTo>
                    <a:pt x="3" y="226"/>
                  </a:lnTo>
                  <a:lnTo>
                    <a:pt x="0" y="231"/>
                  </a:lnTo>
                  <a:lnTo>
                    <a:pt x="3" y="237"/>
                  </a:lnTo>
                  <a:lnTo>
                    <a:pt x="3" y="239"/>
                  </a:lnTo>
                  <a:lnTo>
                    <a:pt x="5" y="242"/>
                  </a:lnTo>
                  <a:lnTo>
                    <a:pt x="5" y="247"/>
                  </a:lnTo>
                  <a:lnTo>
                    <a:pt x="5" y="247"/>
                  </a:lnTo>
                  <a:lnTo>
                    <a:pt x="8" y="249"/>
                  </a:lnTo>
                  <a:lnTo>
                    <a:pt x="5" y="249"/>
                  </a:lnTo>
                  <a:lnTo>
                    <a:pt x="5" y="247"/>
                  </a:lnTo>
                  <a:lnTo>
                    <a:pt x="5" y="249"/>
                  </a:lnTo>
                  <a:lnTo>
                    <a:pt x="3" y="252"/>
                  </a:lnTo>
                  <a:lnTo>
                    <a:pt x="3" y="252"/>
                  </a:lnTo>
                  <a:lnTo>
                    <a:pt x="5" y="252"/>
                  </a:lnTo>
                  <a:lnTo>
                    <a:pt x="5" y="252"/>
                  </a:lnTo>
                  <a:lnTo>
                    <a:pt x="8" y="254"/>
                  </a:lnTo>
                  <a:lnTo>
                    <a:pt x="8" y="254"/>
                  </a:lnTo>
                  <a:lnTo>
                    <a:pt x="8" y="254"/>
                  </a:lnTo>
                  <a:lnTo>
                    <a:pt x="11" y="257"/>
                  </a:lnTo>
                  <a:lnTo>
                    <a:pt x="11" y="257"/>
                  </a:lnTo>
                  <a:lnTo>
                    <a:pt x="13" y="254"/>
                  </a:lnTo>
                  <a:lnTo>
                    <a:pt x="13" y="249"/>
                  </a:lnTo>
                  <a:lnTo>
                    <a:pt x="16" y="249"/>
                  </a:lnTo>
                  <a:lnTo>
                    <a:pt x="16" y="249"/>
                  </a:lnTo>
                  <a:lnTo>
                    <a:pt x="18" y="252"/>
                  </a:lnTo>
                  <a:lnTo>
                    <a:pt x="21" y="252"/>
                  </a:lnTo>
                  <a:lnTo>
                    <a:pt x="23" y="249"/>
                  </a:lnTo>
                  <a:lnTo>
                    <a:pt x="23" y="249"/>
                  </a:lnTo>
                  <a:lnTo>
                    <a:pt x="23" y="249"/>
                  </a:lnTo>
                  <a:lnTo>
                    <a:pt x="26" y="252"/>
                  </a:lnTo>
                  <a:lnTo>
                    <a:pt x="28" y="252"/>
                  </a:lnTo>
                  <a:lnTo>
                    <a:pt x="28" y="252"/>
                  </a:lnTo>
                  <a:lnTo>
                    <a:pt x="28" y="252"/>
                  </a:lnTo>
                  <a:lnTo>
                    <a:pt x="31" y="252"/>
                  </a:lnTo>
                  <a:lnTo>
                    <a:pt x="31" y="252"/>
                  </a:lnTo>
                  <a:lnTo>
                    <a:pt x="28" y="252"/>
                  </a:lnTo>
                  <a:lnTo>
                    <a:pt x="28" y="252"/>
                  </a:lnTo>
                  <a:lnTo>
                    <a:pt x="21" y="252"/>
                  </a:lnTo>
                  <a:lnTo>
                    <a:pt x="18" y="252"/>
                  </a:lnTo>
                  <a:lnTo>
                    <a:pt x="16" y="252"/>
                  </a:lnTo>
                  <a:lnTo>
                    <a:pt x="13" y="254"/>
                  </a:lnTo>
                  <a:lnTo>
                    <a:pt x="13" y="254"/>
                  </a:lnTo>
                  <a:lnTo>
                    <a:pt x="13" y="254"/>
                  </a:lnTo>
                  <a:lnTo>
                    <a:pt x="13" y="257"/>
                  </a:lnTo>
                  <a:lnTo>
                    <a:pt x="16" y="259"/>
                  </a:lnTo>
                  <a:lnTo>
                    <a:pt x="16" y="262"/>
                  </a:lnTo>
                  <a:lnTo>
                    <a:pt x="13" y="262"/>
                  </a:lnTo>
                  <a:lnTo>
                    <a:pt x="13" y="265"/>
                  </a:lnTo>
                  <a:lnTo>
                    <a:pt x="16" y="265"/>
                  </a:lnTo>
                  <a:lnTo>
                    <a:pt x="13" y="265"/>
                  </a:lnTo>
                  <a:lnTo>
                    <a:pt x="13" y="265"/>
                  </a:lnTo>
                  <a:lnTo>
                    <a:pt x="13" y="262"/>
                  </a:lnTo>
                  <a:lnTo>
                    <a:pt x="11" y="262"/>
                  </a:lnTo>
                  <a:lnTo>
                    <a:pt x="11" y="259"/>
                  </a:lnTo>
                  <a:lnTo>
                    <a:pt x="11" y="259"/>
                  </a:lnTo>
                  <a:lnTo>
                    <a:pt x="13" y="257"/>
                  </a:lnTo>
                  <a:lnTo>
                    <a:pt x="11" y="257"/>
                  </a:lnTo>
                  <a:lnTo>
                    <a:pt x="11" y="257"/>
                  </a:lnTo>
                  <a:lnTo>
                    <a:pt x="8" y="259"/>
                  </a:lnTo>
                  <a:lnTo>
                    <a:pt x="8" y="262"/>
                  </a:lnTo>
                  <a:lnTo>
                    <a:pt x="8" y="267"/>
                  </a:lnTo>
                  <a:lnTo>
                    <a:pt x="5" y="270"/>
                  </a:lnTo>
                  <a:lnTo>
                    <a:pt x="8" y="275"/>
                  </a:lnTo>
                  <a:lnTo>
                    <a:pt x="13" y="277"/>
                  </a:lnTo>
                  <a:lnTo>
                    <a:pt x="13" y="280"/>
                  </a:lnTo>
                  <a:lnTo>
                    <a:pt x="13" y="280"/>
                  </a:lnTo>
                  <a:lnTo>
                    <a:pt x="11" y="282"/>
                  </a:lnTo>
                  <a:lnTo>
                    <a:pt x="11" y="282"/>
                  </a:lnTo>
                  <a:lnTo>
                    <a:pt x="8" y="285"/>
                  </a:lnTo>
                  <a:lnTo>
                    <a:pt x="5" y="290"/>
                  </a:lnTo>
                  <a:lnTo>
                    <a:pt x="5" y="290"/>
                  </a:lnTo>
                  <a:lnTo>
                    <a:pt x="8" y="295"/>
                  </a:lnTo>
                  <a:lnTo>
                    <a:pt x="8" y="300"/>
                  </a:lnTo>
                  <a:lnTo>
                    <a:pt x="8" y="303"/>
                  </a:lnTo>
                  <a:lnTo>
                    <a:pt x="11" y="303"/>
                  </a:lnTo>
                  <a:lnTo>
                    <a:pt x="11" y="305"/>
                  </a:lnTo>
                  <a:lnTo>
                    <a:pt x="11" y="308"/>
                  </a:lnTo>
                  <a:lnTo>
                    <a:pt x="13" y="310"/>
                  </a:lnTo>
                  <a:lnTo>
                    <a:pt x="13" y="313"/>
                  </a:lnTo>
                  <a:lnTo>
                    <a:pt x="16" y="313"/>
                  </a:lnTo>
                  <a:lnTo>
                    <a:pt x="13" y="315"/>
                  </a:lnTo>
                  <a:lnTo>
                    <a:pt x="13" y="318"/>
                  </a:lnTo>
                  <a:lnTo>
                    <a:pt x="16" y="318"/>
                  </a:lnTo>
                  <a:lnTo>
                    <a:pt x="16" y="318"/>
                  </a:lnTo>
                  <a:lnTo>
                    <a:pt x="16" y="321"/>
                  </a:lnTo>
                  <a:lnTo>
                    <a:pt x="13" y="323"/>
                  </a:lnTo>
                  <a:lnTo>
                    <a:pt x="13" y="326"/>
                  </a:lnTo>
                  <a:lnTo>
                    <a:pt x="13" y="328"/>
                  </a:lnTo>
                  <a:lnTo>
                    <a:pt x="13" y="331"/>
                  </a:lnTo>
                  <a:lnTo>
                    <a:pt x="11" y="331"/>
                  </a:lnTo>
                  <a:lnTo>
                    <a:pt x="13" y="333"/>
                  </a:lnTo>
                  <a:lnTo>
                    <a:pt x="13" y="333"/>
                  </a:lnTo>
                  <a:lnTo>
                    <a:pt x="13" y="333"/>
                  </a:lnTo>
                  <a:lnTo>
                    <a:pt x="18" y="333"/>
                  </a:lnTo>
                  <a:lnTo>
                    <a:pt x="21" y="333"/>
                  </a:lnTo>
                  <a:lnTo>
                    <a:pt x="23" y="336"/>
                  </a:lnTo>
                  <a:lnTo>
                    <a:pt x="26" y="336"/>
                  </a:lnTo>
                  <a:lnTo>
                    <a:pt x="28" y="336"/>
                  </a:lnTo>
                  <a:lnTo>
                    <a:pt x="31" y="336"/>
                  </a:lnTo>
                  <a:lnTo>
                    <a:pt x="33" y="338"/>
                  </a:lnTo>
                  <a:lnTo>
                    <a:pt x="33" y="341"/>
                  </a:lnTo>
                  <a:lnTo>
                    <a:pt x="33" y="343"/>
                  </a:lnTo>
                  <a:lnTo>
                    <a:pt x="39" y="343"/>
                  </a:lnTo>
                  <a:lnTo>
                    <a:pt x="44" y="343"/>
                  </a:lnTo>
                  <a:lnTo>
                    <a:pt x="46" y="343"/>
                  </a:lnTo>
                  <a:lnTo>
                    <a:pt x="46" y="349"/>
                  </a:lnTo>
                  <a:lnTo>
                    <a:pt x="46" y="351"/>
                  </a:lnTo>
                  <a:lnTo>
                    <a:pt x="46" y="351"/>
                  </a:lnTo>
                  <a:lnTo>
                    <a:pt x="49" y="351"/>
                  </a:lnTo>
                  <a:lnTo>
                    <a:pt x="49" y="351"/>
                  </a:lnTo>
                  <a:lnTo>
                    <a:pt x="51" y="351"/>
                  </a:lnTo>
                  <a:lnTo>
                    <a:pt x="51" y="354"/>
                  </a:lnTo>
                  <a:lnTo>
                    <a:pt x="54" y="356"/>
                  </a:lnTo>
                  <a:lnTo>
                    <a:pt x="59" y="361"/>
                  </a:lnTo>
                  <a:lnTo>
                    <a:pt x="59" y="366"/>
                  </a:lnTo>
                  <a:lnTo>
                    <a:pt x="59" y="369"/>
                  </a:lnTo>
                  <a:lnTo>
                    <a:pt x="59" y="371"/>
                  </a:lnTo>
                  <a:lnTo>
                    <a:pt x="59" y="371"/>
                  </a:lnTo>
                  <a:lnTo>
                    <a:pt x="56" y="374"/>
                  </a:lnTo>
                  <a:lnTo>
                    <a:pt x="59" y="374"/>
                  </a:lnTo>
                  <a:lnTo>
                    <a:pt x="59" y="377"/>
                  </a:lnTo>
                  <a:lnTo>
                    <a:pt x="59" y="379"/>
                  </a:lnTo>
                  <a:lnTo>
                    <a:pt x="59" y="379"/>
                  </a:lnTo>
                  <a:lnTo>
                    <a:pt x="64" y="377"/>
                  </a:lnTo>
                  <a:lnTo>
                    <a:pt x="69" y="377"/>
                  </a:lnTo>
                  <a:lnTo>
                    <a:pt x="74" y="377"/>
                  </a:lnTo>
                  <a:lnTo>
                    <a:pt x="82" y="377"/>
                  </a:lnTo>
                  <a:lnTo>
                    <a:pt x="87" y="377"/>
                  </a:lnTo>
                  <a:lnTo>
                    <a:pt x="92" y="377"/>
                  </a:lnTo>
                  <a:lnTo>
                    <a:pt x="97" y="374"/>
                  </a:lnTo>
                  <a:lnTo>
                    <a:pt x="105" y="374"/>
                  </a:lnTo>
                  <a:lnTo>
                    <a:pt x="105" y="374"/>
                  </a:lnTo>
                  <a:lnTo>
                    <a:pt x="102" y="377"/>
                  </a:lnTo>
                  <a:lnTo>
                    <a:pt x="102" y="379"/>
                  </a:lnTo>
                  <a:lnTo>
                    <a:pt x="110" y="382"/>
                  </a:lnTo>
                  <a:lnTo>
                    <a:pt x="118" y="387"/>
                  </a:lnTo>
                  <a:lnTo>
                    <a:pt x="125" y="389"/>
                  </a:lnTo>
                  <a:lnTo>
                    <a:pt x="133" y="392"/>
                  </a:lnTo>
                  <a:lnTo>
                    <a:pt x="141" y="394"/>
                  </a:lnTo>
                  <a:lnTo>
                    <a:pt x="148" y="399"/>
                  </a:lnTo>
                  <a:lnTo>
                    <a:pt x="156" y="402"/>
                  </a:lnTo>
                  <a:lnTo>
                    <a:pt x="163" y="405"/>
                  </a:lnTo>
                  <a:lnTo>
                    <a:pt x="171" y="405"/>
                  </a:lnTo>
                  <a:lnTo>
                    <a:pt x="179" y="405"/>
                  </a:lnTo>
                  <a:lnTo>
                    <a:pt x="184" y="405"/>
                  </a:lnTo>
                  <a:lnTo>
                    <a:pt x="191" y="405"/>
                  </a:lnTo>
                  <a:lnTo>
                    <a:pt x="199" y="405"/>
                  </a:lnTo>
                  <a:lnTo>
                    <a:pt x="204" y="405"/>
                  </a:lnTo>
                  <a:lnTo>
                    <a:pt x="212" y="405"/>
                  </a:lnTo>
                  <a:lnTo>
                    <a:pt x="220" y="405"/>
                  </a:lnTo>
                  <a:lnTo>
                    <a:pt x="220" y="402"/>
                  </a:lnTo>
                  <a:lnTo>
                    <a:pt x="222" y="399"/>
                  </a:lnTo>
                  <a:lnTo>
                    <a:pt x="222" y="397"/>
                  </a:lnTo>
                  <a:lnTo>
                    <a:pt x="222" y="394"/>
                  </a:lnTo>
                  <a:lnTo>
                    <a:pt x="227" y="394"/>
                  </a:lnTo>
                  <a:lnTo>
                    <a:pt x="232" y="394"/>
                  </a:lnTo>
                  <a:lnTo>
                    <a:pt x="235" y="394"/>
                  </a:lnTo>
                  <a:lnTo>
                    <a:pt x="240" y="394"/>
                  </a:lnTo>
                  <a:lnTo>
                    <a:pt x="245" y="394"/>
                  </a:lnTo>
                  <a:lnTo>
                    <a:pt x="248" y="394"/>
                  </a:lnTo>
                  <a:lnTo>
                    <a:pt x="253" y="394"/>
                  </a:lnTo>
                  <a:lnTo>
                    <a:pt x="255" y="394"/>
                  </a:lnTo>
                  <a:lnTo>
                    <a:pt x="258" y="394"/>
                  </a:lnTo>
                  <a:lnTo>
                    <a:pt x="258" y="394"/>
                  </a:lnTo>
                  <a:lnTo>
                    <a:pt x="258" y="397"/>
                  </a:lnTo>
                  <a:lnTo>
                    <a:pt x="258" y="399"/>
                  </a:lnTo>
                  <a:lnTo>
                    <a:pt x="260" y="402"/>
                  </a:lnTo>
                  <a:lnTo>
                    <a:pt x="263" y="405"/>
                  </a:lnTo>
                  <a:lnTo>
                    <a:pt x="265" y="407"/>
                  </a:lnTo>
                  <a:lnTo>
                    <a:pt x="268" y="412"/>
                  </a:lnTo>
                  <a:lnTo>
                    <a:pt x="270" y="417"/>
                  </a:lnTo>
                  <a:lnTo>
                    <a:pt x="276" y="420"/>
                  </a:lnTo>
                  <a:lnTo>
                    <a:pt x="276" y="420"/>
                  </a:lnTo>
                  <a:lnTo>
                    <a:pt x="276" y="422"/>
                  </a:lnTo>
                  <a:lnTo>
                    <a:pt x="278" y="425"/>
                  </a:lnTo>
                  <a:lnTo>
                    <a:pt x="278" y="433"/>
                  </a:lnTo>
                  <a:lnTo>
                    <a:pt x="278" y="435"/>
                  </a:lnTo>
                  <a:lnTo>
                    <a:pt x="278" y="438"/>
                  </a:lnTo>
                  <a:lnTo>
                    <a:pt x="278" y="443"/>
                  </a:lnTo>
                  <a:lnTo>
                    <a:pt x="281" y="445"/>
                  </a:lnTo>
                  <a:lnTo>
                    <a:pt x="281" y="445"/>
                  </a:lnTo>
                  <a:lnTo>
                    <a:pt x="283" y="448"/>
                  </a:lnTo>
                  <a:lnTo>
                    <a:pt x="283" y="450"/>
                  </a:lnTo>
                  <a:lnTo>
                    <a:pt x="286" y="450"/>
                  </a:lnTo>
                  <a:lnTo>
                    <a:pt x="288" y="450"/>
                  </a:lnTo>
                  <a:lnTo>
                    <a:pt x="291" y="453"/>
                  </a:lnTo>
                  <a:lnTo>
                    <a:pt x="296" y="455"/>
                  </a:lnTo>
                  <a:lnTo>
                    <a:pt x="299" y="458"/>
                  </a:lnTo>
                  <a:lnTo>
                    <a:pt x="299" y="458"/>
                  </a:lnTo>
                  <a:lnTo>
                    <a:pt x="301" y="458"/>
                  </a:lnTo>
                  <a:lnTo>
                    <a:pt x="304" y="455"/>
                  </a:lnTo>
                  <a:lnTo>
                    <a:pt x="306" y="453"/>
                  </a:lnTo>
                  <a:lnTo>
                    <a:pt x="306" y="453"/>
                  </a:lnTo>
                  <a:lnTo>
                    <a:pt x="306" y="453"/>
                  </a:lnTo>
                  <a:lnTo>
                    <a:pt x="306" y="450"/>
                  </a:lnTo>
                  <a:lnTo>
                    <a:pt x="309" y="448"/>
                  </a:lnTo>
                  <a:lnTo>
                    <a:pt x="311" y="443"/>
                  </a:lnTo>
                  <a:lnTo>
                    <a:pt x="316" y="440"/>
                  </a:lnTo>
                  <a:lnTo>
                    <a:pt x="319" y="440"/>
                  </a:lnTo>
                  <a:lnTo>
                    <a:pt x="319" y="440"/>
                  </a:lnTo>
                  <a:lnTo>
                    <a:pt x="321" y="438"/>
                  </a:lnTo>
                  <a:lnTo>
                    <a:pt x="324" y="438"/>
                  </a:lnTo>
                  <a:lnTo>
                    <a:pt x="324" y="440"/>
                  </a:lnTo>
                  <a:lnTo>
                    <a:pt x="327" y="440"/>
                  </a:lnTo>
                  <a:lnTo>
                    <a:pt x="332" y="440"/>
                  </a:lnTo>
                  <a:lnTo>
                    <a:pt x="334" y="440"/>
                  </a:lnTo>
                  <a:lnTo>
                    <a:pt x="337" y="440"/>
                  </a:lnTo>
                  <a:lnTo>
                    <a:pt x="337" y="440"/>
                  </a:lnTo>
                  <a:lnTo>
                    <a:pt x="337" y="440"/>
                  </a:lnTo>
                  <a:lnTo>
                    <a:pt x="337" y="440"/>
                  </a:lnTo>
                  <a:lnTo>
                    <a:pt x="339" y="440"/>
                  </a:lnTo>
                  <a:lnTo>
                    <a:pt x="339" y="440"/>
                  </a:lnTo>
                  <a:lnTo>
                    <a:pt x="339" y="443"/>
                  </a:lnTo>
                  <a:lnTo>
                    <a:pt x="344" y="448"/>
                  </a:lnTo>
                  <a:lnTo>
                    <a:pt x="344" y="448"/>
                  </a:lnTo>
                  <a:lnTo>
                    <a:pt x="344" y="450"/>
                  </a:lnTo>
                  <a:lnTo>
                    <a:pt x="344" y="450"/>
                  </a:lnTo>
                  <a:lnTo>
                    <a:pt x="347" y="453"/>
                  </a:lnTo>
                  <a:lnTo>
                    <a:pt x="349" y="455"/>
                  </a:lnTo>
                  <a:lnTo>
                    <a:pt x="349" y="458"/>
                  </a:lnTo>
                  <a:lnTo>
                    <a:pt x="349" y="463"/>
                  </a:lnTo>
                  <a:lnTo>
                    <a:pt x="349" y="468"/>
                  </a:lnTo>
                  <a:lnTo>
                    <a:pt x="352" y="471"/>
                  </a:lnTo>
                  <a:lnTo>
                    <a:pt x="352" y="471"/>
                  </a:lnTo>
                  <a:lnTo>
                    <a:pt x="352" y="471"/>
                  </a:lnTo>
                  <a:lnTo>
                    <a:pt x="352" y="473"/>
                  </a:lnTo>
                  <a:lnTo>
                    <a:pt x="352" y="476"/>
                  </a:lnTo>
                  <a:lnTo>
                    <a:pt x="355" y="476"/>
                  </a:lnTo>
                  <a:lnTo>
                    <a:pt x="355" y="481"/>
                  </a:lnTo>
                  <a:lnTo>
                    <a:pt x="357" y="483"/>
                  </a:lnTo>
                  <a:lnTo>
                    <a:pt x="357" y="486"/>
                  </a:lnTo>
                  <a:lnTo>
                    <a:pt x="360" y="488"/>
                  </a:lnTo>
                  <a:lnTo>
                    <a:pt x="362" y="491"/>
                  </a:lnTo>
                  <a:lnTo>
                    <a:pt x="362" y="494"/>
                  </a:lnTo>
                  <a:lnTo>
                    <a:pt x="362" y="494"/>
                  </a:lnTo>
                  <a:lnTo>
                    <a:pt x="360" y="496"/>
                  </a:lnTo>
                  <a:lnTo>
                    <a:pt x="360" y="496"/>
                  </a:lnTo>
                  <a:lnTo>
                    <a:pt x="360" y="499"/>
                  </a:lnTo>
                  <a:lnTo>
                    <a:pt x="360" y="499"/>
                  </a:lnTo>
                  <a:lnTo>
                    <a:pt x="360" y="501"/>
                  </a:lnTo>
                  <a:lnTo>
                    <a:pt x="360" y="501"/>
                  </a:lnTo>
                  <a:lnTo>
                    <a:pt x="360" y="501"/>
                  </a:lnTo>
                  <a:lnTo>
                    <a:pt x="360" y="504"/>
                  </a:lnTo>
                  <a:lnTo>
                    <a:pt x="362" y="506"/>
                  </a:lnTo>
                  <a:lnTo>
                    <a:pt x="362" y="509"/>
                  </a:lnTo>
                  <a:lnTo>
                    <a:pt x="362" y="514"/>
                  </a:lnTo>
                  <a:lnTo>
                    <a:pt x="362" y="514"/>
                  </a:lnTo>
                  <a:lnTo>
                    <a:pt x="362" y="516"/>
                  </a:lnTo>
                  <a:lnTo>
                    <a:pt x="365" y="516"/>
                  </a:lnTo>
                  <a:lnTo>
                    <a:pt x="367" y="516"/>
                  </a:lnTo>
                  <a:lnTo>
                    <a:pt x="370" y="519"/>
                  </a:lnTo>
                  <a:lnTo>
                    <a:pt x="370" y="519"/>
                  </a:lnTo>
                  <a:lnTo>
                    <a:pt x="372" y="522"/>
                  </a:lnTo>
                  <a:lnTo>
                    <a:pt x="375" y="522"/>
                  </a:lnTo>
                  <a:lnTo>
                    <a:pt x="375" y="522"/>
                  </a:lnTo>
                  <a:lnTo>
                    <a:pt x="378" y="524"/>
                  </a:lnTo>
                  <a:lnTo>
                    <a:pt x="380" y="524"/>
                  </a:lnTo>
                  <a:lnTo>
                    <a:pt x="388" y="527"/>
                  </a:lnTo>
                  <a:lnTo>
                    <a:pt x="390" y="527"/>
                  </a:lnTo>
                  <a:lnTo>
                    <a:pt x="393" y="529"/>
                  </a:lnTo>
                  <a:lnTo>
                    <a:pt x="393" y="529"/>
                  </a:lnTo>
                  <a:lnTo>
                    <a:pt x="395" y="529"/>
                  </a:lnTo>
                  <a:lnTo>
                    <a:pt x="395" y="529"/>
                  </a:lnTo>
                  <a:lnTo>
                    <a:pt x="395" y="529"/>
                  </a:lnTo>
                  <a:lnTo>
                    <a:pt x="395" y="527"/>
                  </a:lnTo>
                  <a:lnTo>
                    <a:pt x="398" y="527"/>
                  </a:lnTo>
                  <a:lnTo>
                    <a:pt x="400" y="527"/>
                  </a:lnTo>
                  <a:lnTo>
                    <a:pt x="400" y="524"/>
                  </a:lnTo>
                  <a:lnTo>
                    <a:pt x="398" y="524"/>
                  </a:lnTo>
                  <a:lnTo>
                    <a:pt x="395" y="516"/>
                  </a:lnTo>
                  <a:lnTo>
                    <a:pt x="395" y="516"/>
                  </a:lnTo>
                  <a:lnTo>
                    <a:pt x="395" y="511"/>
                  </a:lnTo>
                  <a:lnTo>
                    <a:pt x="395" y="509"/>
                  </a:lnTo>
                  <a:lnTo>
                    <a:pt x="395" y="506"/>
                  </a:lnTo>
                  <a:lnTo>
                    <a:pt x="395" y="504"/>
                  </a:lnTo>
                  <a:lnTo>
                    <a:pt x="398" y="501"/>
                  </a:lnTo>
                  <a:lnTo>
                    <a:pt x="398" y="501"/>
                  </a:lnTo>
                  <a:lnTo>
                    <a:pt x="398" y="499"/>
                  </a:lnTo>
                  <a:lnTo>
                    <a:pt x="398" y="499"/>
                  </a:lnTo>
                  <a:lnTo>
                    <a:pt x="395" y="496"/>
                  </a:lnTo>
                  <a:lnTo>
                    <a:pt x="395" y="494"/>
                  </a:lnTo>
                  <a:lnTo>
                    <a:pt x="395" y="494"/>
                  </a:lnTo>
                  <a:lnTo>
                    <a:pt x="398" y="496"/>
                  </a:lnTo>
                  <a:lnTo>
                    <a:pt x="400" y="496"/>
                  </a:lnTo>
                  <a:lnTo>
                    <a:pt x="400" y="496"/>
                  </a:lnTo>
                  <a:lnTo>
                    <a:pt x="403" y="494"/>
                  </a:lnTo>
                  <a:lnTo>
                    <a:pt x="406" y="488"/>
                  </a:lnTo>
                  <a:lnTo>
                    <a:pt x="403" y="483"/>
                  </a:lnTo>
                  <a:lnTo>
                    <a:pt x="403" y="483"/>
                  </a:lnTo>
                  <a:lnTo>
                    <a:pt x="406" y="483"/>
                  </a:lnTo>
                  <a:lnTo>
                    <a:pt x="408" y="483"/>
                  </a:lnTo>
                  <a:lnTo>
                    <a:pt x="408" y="483"/>
                  </a:lnTo>
                  <a:lnTo>
                    <a:pt x="411" y="481"/>
                  </a:lnTo>
                  <a:lnTo>
                    <a:pt x="413" y="478"/>
                  </a:lnTo>
                  <a:lnTo>
                    <a:pt x="411" y="478"/>
                  </a:lnTo>
                  <a:lnTo>
                    <a:pt x="411" y="478"/>
                  </a:lnTo>
                  <a:lnTo>
                    <a:pt x="411" y="478"/>
                  </a:lnTo>
                  <a:lnTo>
                    <a:pt x="413" y="478"/>
                  </a:lnTo>
                  <a:lnTo>
                    <a:pt x="413" y="478"/>
                  </a:lnTo>
                  <a:lnTo>
                    <a:pt x="416" y="476"/>
                  </a:lnTo>
                  <a:lnTo>
                    <a:pt x="416" y="476"/>
                  </a:lnTo>
                  <a:lnTo>
                    <a:pt x="416" y="476"/>
                  </a:lnTo>
                  <a:lnTo>
                    <a:pt x="416" y="478"/>
                  </a:lnTo>
                  <a:lnTo>
                    <a:pt x="418" y="476"/>
                  </a:lnTo>
                  <a:lnTo>
                    <a:pt x="418" y="476"/>
                  </a:lnTo>
                  <a:lnTo>
                    <a:pt x="418" y="473"/>
                  </a:lnTo>
                  <a:lnTo>
                    <a:pt x="421" y="471"/>
                  </a:lnTo>
                  <a:lnTo>
                    <a:pt x="421" y="473"/>
                  </a:lnTo>
                  <a:lnTo>
                    <a:pt x="423" y="473"/>
                  </a:lnTo>
                  <a:lnTo>
                    <a:pt x="426" y="471"/>
                  </a:lnTo>
                  <a:lnTo>
                    <a:pt x="426" y="471"/>
                  </a:lnTo>
                  <a:lnTo>
                    <a:pt x="426" y="471"/>
                  </a:lnTo>
                  <a:lnTo>
                    <a:pt x="426" y="471"/>
                  </a:lnTo>
                  <a:lnTo>
                    <a:pt x="423" y="466"/>
                  </a:lnTo>
                  <a:lnTo>
                    <a:pt x="426" y="466"/>
                  </a:lnTo>
                  <a:lnTo>
                    <a:pt x="426" y="466"/>
                  </a:lnTo>
                  <a:lnTo>
                    <a:pt x="426" y="466"/>
                  </a:lnTo>
                  <a:lnTo>
                    <a:pt x="426" y="466"/>
                  </a:lnTo>
                  <a:lnTo>
                    <a:pt x="426" y="468"/>
                  </a:lnTo>
                  <a:lnTo>
                    <a:pt x="428" y="466"/>
                  </a:lnTo>
                  <a:lnTo>
                    <a:pt x="428" y="466"/>
                  </a:lnTo>
                  <a:lnTo>
                    <a:pt x="431" y="466"/>
                  </a:lnTo>
                  <a:lnTo>
                    <a:pt x="434" y="466"/>
                  </a:lnTo>
                  <a:lnTo>
                    <a:pt x="436" y="466"/>
                  </a:lnTo>
                  <a:lnTo>
                    <a:pt x="434" y="468"/>
                  </a:lnTo>
                  <a:lnTo>
                    <a:pt x="431" y="471"/>
                  </a:lnTo>
                  <a:lnTo>
                    <a:pt x="431" y="471"/>
                  </a:lnTo>
                  <a:lnTo>
                    <a:pt x="436" y="468"/>
                  </a:lnTo>
                  <a:lnTo>
                    <a:pt x="439" y="466"/>
                  </a:lnTo>
                  <a:lnTo>
                    <a:pt x="441" y="466"/>
                  </a:lnTo>
                  <a:lnTo>
                    <a:pt x="444" y="463"/>
                  </a:lnTo>
                  <a:lnTo>
                    <a:pt x="449" y="461"/>
                  </a:lnTo>
                  <a:lnTo>
                    <a:pt x="451" y="458"/>
                  </a:lnTo>
                  <a:lnTo>
                    <a:pt x="454" y="455"/>
                  </a:lnTo>
                  <a:lnTo>
                    <a:pt x="457" y="455"/>
                  </a:lnTo>
                  <a:lnTo>
                    <a:pt x="459" y="453"/>
                  </a:lnTo>
                  <a:lnTo>
                    <a:pt x="462" y="450"/>
                  </a:lnTo>
                  <a:lnTo>
                    <a:pt x="462" y="448"/>
                  </a:lnTo>
                  <a:lnTo>
                    <a:pt x="462" y="445"/>
                  </a:lnTo>
                  <a:lnTo>
                    <a:pt x="462" y="443"/>
                  </a:lnTo>
                  <a:lnTo>
                    <a:pt x="462" y="443"/>
                  </a:lnTo>
                  <a:lnTo>
                    <a:pt x="464" y="443"/>
                  </a:lnTo>
                  <a:lnTo>
                    <a:pt x="464" y="443"/>
                  </a:lnTo>
                  <a:lnTo>
                    <a:pt x="467" y="440"/>
                  </a:lnTo>
                  <a:lnTo>
                    <a:pt x="467" y="440"/>
                  </a:lnTo>
                  <a:lnTo>
                    <a:pt x="467" y="443"/>
                  </a:lnTo>
                  <a:lnTo>
                    <a:pt x="464" y="445"/>
                  </a:lnTo>
                  <a:lnTo>
                    <a:pt x="467" y="445"/>
                  </a:lnTo>
                  <a:lnTo>
                    <a:pt x="469" y="445"/>
                  </a:lnTo>
                  <a:lnTo>
                    <a:pt x="469" y="445"/>
                  </a:lnTo>
                  <a:lnTo>
                    <a:pt x="464" y="448"/>
                  </a:lnTo>
                  <a:lnTo>
                    <a:pt x="464" y="450"/>
                  </a:lnTo>
                  <a:lnTo>
                    <a:pt x="469" y="448"/>
                  </a:lnTo>
                  <a:lnTo>
                    <a:pt x="479" y="443"/>
                  </a:lnTo>
                  <a:lnTo>
                    <a:pt x="485" y="443"/>
                  </a:lnTo>
                  <a:lnTo>
                    <a:pt x="485" y="443"/>
                  </a:lnTo>
                  <a:lnTo>
                    <a:pt x="482" y="440"/>
                  </a:lnTo>
                  <a:lnTo>
                    <a:pt x="487" y="435"/>
                  </a:lnTo>
                  <a:lnTo>
                    <a:pt x="487" y="435"/>
                  </a:lnTo>
                  <a:lnTo>
                    <a:pt x="487" y="438"/>
                  </a:lnTo>
                  <a:lnTo>
                    <a:pt x="487" y="438"/>
                  </a:lnTo>
                  <a:lnTo>
                    <a:pt x="487" y="440"/>
                  </a:lnTo>
                  <a:lnTo>
                    <a:pt x="485" y="440"/>
                  </a:lnTo>
                  <a:lnTo>
                    <a:pt x="485" y="440"/>
                  </a:lnTo>
                  <a:lnTo>
                    <a:pt x="485" y="440"/>
                  </a:lnTo>
                  <a:lnTo>
                    <a:pt x="485" y="443"/>
                  </a:lnTo>
                  <a:lnTo>
                    <a:pt x="487" y="440"/>
                  </a:lnTo>
                  <a:lnTo>
                    <a:pt x="487" y="440"/>
                  </a:lnTo>
                  <a:lnTo>
                    <a:pt x="495" y="440"/>
                  </a:lnTo>
                  <a:lnTo>
                    <a:pt x="495" y="440"/>
                  </a:lnTo>
                  <a:lnTo>
                    <a:pt x="497" y="440"/>
                  </a:lnTo>
                  <a:lnTo>
                    <a:pt x="502" y="443"/>
                  </a:lnTo>
                  <a:lnTo>
                    <a:pt x="505" y="443"/>
                  </a:lnTo>
                  <a:lnTo>
                    <a:pt x="507" y="445"/>
                  </a:lnTo>
                  <a:lnTo>
                    <a:pt x="515" y="445"/>
                  </a:lnTo>
                  <a:lnTo>
                    <a:pt x="518" y="445"/>
                  </a:lnTo>
                  <a:lnTo>
                    <a:pt x="518" y="445"/>
                  </a:lnTo>
                  <a:lnTo>
                    <a:pt x="518" y="443"/>
                  </a:lnTo>
                  <a:lnTo>
                    <a:pt x="518" y="443"/>
                  </a:lnTo>
                  <a:lnTo>
                    <a:pt x="518" y="440"/>
                  </a:lnTo>
                  <a:lnTo>
                    <a:pt x="520" y="440"/>
                  </a:lnTo>
                  <a:lnTo>
                    <a:pt x="523" y="440"/>
                  </a:lnTo>
                  <a:lnTo>
                    <a:pt x="523" y="440"/>
                  </a:lnTo>
                  <a:lnTo>
                    <a:pt x="528" y="440"/>
                  </a:lnTo>
                  <a:lnTo>
                    <a:pt x="528" y="445"/>
                  </a:lnTo>
                  <a:lnTo>
                    <a:pt x="528" y="445"/>
                  </a:lnTo>
                  <a:lnTo>
                    <a:pt x="533" y="448"/>
                  </a:lnTo>
                  <a:lnTo>
                    <a:pt x="533" y="445"/>
                  </a:lnTo>
                  <a:lnTo>
                    <a:pt x="533" y="445"/>
                  </a:lnTo>
                  <a:lnTo>
                    <a:pt x="533" y="448"/>
                  </a:lnTo>
                  <a:lnTo>
                    <a:pt x="533" y="448"/>
                  </a:lnTo>
                  <a:lnTo>
                    <a:pt x="533" y="450"/>
                  </a:lnTo>
                  <a:lnTo>
                    <a:pt x="533" y="450"/>
                  </a:lnTo>
                  <a:lnTo>
                    <a:pt x="533" y="450"/>
                  </a:lnTo>
                  <a:lnTo>
                    <a:pt x="530" y="450"/>
                  </a:lnTo>
                  <a:lnTo>
                    <a:pt x="530" y="453"/>
                  </a:lnTo>
                  <a:lnTo>
                    <a:pt x="536" y="453"/>
                  </a:lnTo>
                  <a:lnTo>
                    <a:pt x="541" y="455"/>
                  </a:lnTo>
                  <a:lnTo>
                    <a:pt x="543" y="455"/>
                  </a:lnTo>
                  <a:lnTo>
                    <a:pt x="546" y="453"/>
                  </a:lnTo>
                  <a:lnTo>
                    <a:pt x="546" y="450"/>
                  </a:lnTo>
                  <a:lnTo>
                    <a:pt x="548" y="450"/>
                  </a:lnTo>
                  <a:lnTo>
                    <a:pt x="551" y="453"/>
                  </a:lnTo>
                  <a:lnTo>
                    <a:pt x="551" y="455"/>
                  </a:lnTo>
                  <a:lnTo>
                    <a:pt x="551" y="455"/>
                  </a:lnTo>
                  <a:lnTo>
                    <a:pt x="553" y="455"/>
                  </a:lnTo>
                  <a:lnTo>
                    <a:pt x="553" y="453"/>
                  </a:lnTo>
                  <a:lnTo>
                    <a:pt x="553" y="453"/>
                  </a:lnTo>
                  <a:lnTo>
                    <a:pt x="556" y="450"/>
                  </a:lnTo>
                  <a:lnTo>
                    <a:pt x="556" y="450"/>
                  </a:lnTo>
                  <a:lnTo>
                    <a:pt x="556" y="448"/>
                  </a:lnTo>
                  <a:lnTo>
                    <a:pt x="556" y="448"/>
                  </a:lnTo>
                  <a:lnTo>
                    <a:pt x="553" y="448"/>
                  </a:lnTo>
                  <a:lnTo>
                    <a:pt x="553" y="448"/>
                  </a:lnTo>
                  <a:lnTo>
                    <a:pt x="553" y="445"/>
                  </a:lnTo>
                  <a:lnTo>
                    <a:pt x="558" y="448"/>
                  </a:lnTo>
                  <a:lnTo>
                    <a:pt x="561" y="448"/>
                  </a:lnTo>
                  <a:lnTo>
                    <a:pt x="561" y="450"/>
                  </a:lnTo>
                  <a:lnTo>
                    <a:pt x="561" y="450"/>
                  </a:lnTo>
                  <a:lnTo>
                    <a:pt x="561" y="450"/>
                  </a:lnTo>
                  <a:lnTo>
                    <a:pt x="564" y="450"/>
                  </a:lnTo>
                  <a:lnTo>
                    <a:pt x="564" y="450"/>
                  </a:lnTo>
                  <a:lnTo>
                    <a:pt x="564" y="453"/>
                  </a:lnTo>
                  <a:lnTo>
                    <a:pt x="566" y="453"/>
                  </a:lnTo>
                  <a:lnTo>
                    <a:pt x="566" y="453"/>
                  </a:lnTo>
                  <a:lnTo>
                    <a:pt x="566" y="455"/>
                  </a:lnTo>
                  <a:lnTo>
                    <a:pt x="569" y="455"/>
                  </a:lnTo>
                  <a:lnTo>
                    <a:pt x="566" y="458"/>
                  </a:lnTo>
                  <a:lnTo>
                    <a:pt x="569" y="458"/>
                  </a:lnTo>
                  <a:lnTo>
                    <a:pt x="569" y="455"/>
                  </a:lnTo>
                  <a:lnTo>
                    <a:pt x="571" y="458"/>
                  </a:lnTo>
                  <a:lnTo>
                    <a:pt x="571" y="458"/>
                  </a:lnTo>
                  <a:lnTo>
                    <a:pt x="571" y="458"/>
                  </a:lnTo>
                  <a:lnTo>
                    <a:pt x="571" y="455"/>
                  </a:lnTo>
                  <a:lnTo>
                    <a:pt x="574" y="455"/>
                  </a:lnTo>
                  <a:lnTo>
                    <a:pt x="574" y="453"/>
                  </a:lnTo>
                  <a:lnTo>
                    <a:pt x="574" y="453"/>
                  </a:lnTo>
                  <a:lnTo>
                    <a:pt x="574" y="453"/>
                  </a:lnTo>
                  <a:lnTo>
                    <a:pt x="571" y="450"/>
                  </a:lnTo>
                  <a:lnTo>
                    <a:pt x="571" y="450"/>
                  </a:lnTo>
                  <a:lnTo>
                    <a:pt x="566" y="448"/>
                  </a:lnTo>
                  <a:lnTo>
                    <a:pt x="566" y="448"/>
                  </a:lnTo>
                  <a:lnTo>
                    <a:pt x="564" y="445"/>
                  </a:lnTo>
                  <a:lnTo>
                    <a:pt x="564" y="445"/>
                  </a:lnTo>
                  <a:lnTo>
                    <a:pt x="564" y="443"/>
                  </a:lnTo>
                  <a:lnTo>
                    <a:pt x="564" y="443"/>
                  </a:lnTo>
                  <a:lnTo>
                    <a:pt x="566" y="443"/>
                  </a:lnTo>
                  <a:lnTo>
                    <a:pt x="566" y="443"/>
                  </a:lnTo>
                  <a:lnTo>
                    <a:pt x="566" y="443"/>
                  </a:lnTo>
                  <a:lnTo>
                    <a:pt x="566" y="443"/>
                  </a:lnTo>
                  <a:lnTo>
                    <a:pt x="569" y="440"/>
                  </a:lnTo>
                  <a:lnTo>
                    <a:pt x="569" y="440"/>
                  </a:lnTo>
                  <a:lnTo>
                    <a:pt x="571" y="440"/>
                  </a:lnTo>
                  <a:lnTo>
                    <a:pt x="571" y="440"/>
                  </a:lnTo>
                  <a:lnTo>
                    <a:pt x="571" y="438"/>
                  </a:lnTo>
                  <a:lnTo>
                    <a:pt x="571" y="435"/>
                  </a:lnTo>
                  <a:lnTo>
                    <a:pt x="571" y="435"/>
                  </a:lnTo>
                  <a:lnTo>
                    <a:pt x="571" y="435"/>
                  </a:lnTo>
                  <a:lnTo>
                    <a:pt x="571" y="435"/>
                  </a:lnTo>
                  <a:lnTo>
                    <a:pt x="569" y="435"/>
                  </a:lnTo>
                  <a:lnTo>
                    <a:pt x="569" y="438"/>
                  </a:lnTo>
                  <a:lnTo>
                    <a:pt x="566" y="438"/>
                  </a:lnTo>
                  <a:lnTo>
                    <a:pt x="566" y="438"/>
                  </a:lnTo>
                  <a:lnTo>
                    <a:pt x="564" y="435"/>
                  </a:lnTo>
                  <a:lnTo>
                    <a:pt x="566" y="435"/>
                  </a:lnTo>
                  <a:lnTo>
                    <a:pt x="566" y="433"/>
                  </a:lnTo>
                  <a:lnTo>
                    <a:pt x="569" y="433"/>
                  </a:lnTo>
                  <a:lnTo>
                    <a:pt x="569" y="433"/>
                  </a:lnTo>
                  <a:lnTo>
                    <a:pt x="566" y="433"/>
                  </a:lnTo>
                  <a:lnTo>
                    <a:pt x="566" y="433"/>
                  </a:lnTo>
                  <a:lnTo>
                    <a:pt x="566" y="433"/>
                  </a:lnTo>
                  <a:lnTo>
                    <a:pt x="564" y="433"/>
                  </a:lnTo>
                  <a:lnTo>
                    <a:pt x="561" y="435"/>
                  </a:lnTo>
                  <a:lnTo>
                    <a:pt x="558" y="435"/>
                  </a:lnTo>
                  <a:lnTo>
                    <a:pt x="556" y="435"/>
                  </a:lnTo>
                  <a:lnTo>
                    <a:pt x="553" y="433"/>
                  </a:lnTo>
                  <a:lnTo>
                    <a:pt x="556" y="430"/>
                  </a:lnTo>
                  <a:lnTo>
                    <a:pt x="558" y="427"/>
                  </a:lnTo>
                  <a:lnTo>
                    <a:pt x="561" y="427"/>
                  </a:lnTo>
                  <a:lnTo>
                    <a:pt x="561" y="427"/>
                  </a:lnTo>
                  <a:lnTo>
                    <a:pt x="564" y="430"/>
                  </a:lnTo>
                  <a:lnTo>
                    <a:pt x="569" y="433"/>
                  </a:lnTo>
                  <a:lnTo>
                    <a:pt x="574" y="430"/>
                  </a:lnTo>
                  <a:lnTo>
                    <a:pt x="576" y="427"/>
                  </a:lnTo>
                  <a:lnTo>
                    <a:pt x="576" y="427"/>
                  </a:lnTo>
                  <a:lnTo>
                    <a:pt x="576" y="427"/>
                  </a:lnTo>
                  <a:lnTo>
                    <a:pt x="581" y="427"/>
                  </a:lnTo>
                  <a:lnTo>
                    <a:pt x="584" y="425"/>
                  </a:lnTo>
                  <a:lnTo>
                    <a:pt x="584" y="425"/>
                  </a:lnTo>
                  <a:lnTo>
                    <a:pt x="587" y="427"/>
                  </a:lnTo>
                  <a:lnTo>
                    <a:pt x="589" y="427"/>
                  </a:lnTo>
                  <a:lnTo>
                    <a:pt x="594" y="427"/>
                  </a:lnTo>
                  <a:lnTo>
                    <a:pt x="597" y="427"/>
                  </a:lnTo>
                  <a:lnTo>
                    <a:pt x="599" y="427"/>
                  </a:lnTo>
                  <a:lnTo>
                    <a:pt x="599" y="425"/>
                  </a:lnTo>
                  <a:lnTo>
                    <a:pt x="602" y="422"/>
                  </a:lnTo>
                  <a:lnTo>
                    <a:pt x="602" y="420"/>
                  </a:lnTo>
                  <a:lnTo>
                    <a:pt x="604" y="420"/>
                  </a:lnTo>
                  <a:lnTo>
                    <a:pt x="604" y="422"/>
                  </a:lnTo>
                  <a:lnTo>
                    <a:pt x="604" y="422"/>
                  </a:lnTo>
                  <a:lnTo>
                    <a:pt x="604" y="425"/>
                  </a:lnTo>
                  <a:lnTo>
                    <a:pt x="604" y="425"/>
                  </a:lnTo>
                  <a:lnTo>
                    <a:pt x="604" y="427"/>
                  </a:lnTo>
                  <a:lnTo>
                    <a:pt x="604" y="427"/>
                  </a:lnTo>
                  <a:lnTo>
                    <a:pt x="604" y="430"/>
                  </a:lnTo>
                  <a:lnTo>
                    <a:pt x="602" y="430"/>
                  </a:lnTo>
                  <a:lnTo>
                    <a:pt x="602" y="430"/>
                  </a:lnTo>
                  <a:lnTo>
                    <a:pt x="599" y="430"/>
                  </a:lnTo>
                  <a:lnTo>
                    <a:pt x="607" y="430"/>
                  </a:lnTo>
                  <a:lnTo>
                    <a:pt x="612" y="427"/>
                  </a:lnTo>
                  <a:lnTo>
                    <a:pt x="612" y="427"/>
                  </a:lnTo>
                  <a:lnTo>
                    <a:pt x="612" y="427"/>
                  </a:lnTo>
                  <a:lnTo>
                    <a:pt x="609" y="427"/>
                  </a:lnTo>
                  <a:lnTo>
                    <a:pt x="612" y="430"/>
                  </a:lnTo>
                  <a:lnTo>
                    <a:pt x="615" y="427"/>
                  </a:lnTo>
                  <a:lnTo>
                    <a:pt x="617" y="427"/>
                  </a:lnTo>
                  <a:lnTo>
                    <a:pt x="617" y="425"/>
                  </a:lnTo>
                  <a:lnTo>
                    <a:pt x="620" y="422"/>
                  </a:lnTo>
                  <a:lnTo>
                    <a:pt x="620" y="422"/>
                  </a:lnTo>
                  <a:lnTo>
                    <a:pt x="620" y="425"/>
                  </a:lnTo>
                  <a:lnTo>
                    <a:pt x="622" y="422"/>
                  </a:lnTo>
                  <a:lnTo>
                    <a:pt x="622" y="422"/>
                  </a:lnTo>
                  <a:lnTo>
                    <a:pt x="622" y="425"/>
                  </a:lnTo>
                  <a:lnTo>
                    <a:pt x="622" y="425"/>
                  </a:lnTo>
                  <a:lnTo>
                    <a:pt x="620" y="427"/>
                  </a:lnTo>
                  <a:lnTo>
                    <a:pt x="617" y="427"/>
                  </a:lnTo>
                  <a:lnTo>
                    <a:pt x="617" y="427"/>
                  </a:lnTo>
                  <a:lnTo>
                    <a:pt x="622" y="427"/>
                  </a:lnTo>
                  <a:lnTo>
                    <a:pt x="627" y="427"/>
                  </a:lnTo>
                  <a:lnTo>
                    <a:pt x="630" y="425"/>
                  </a:lnTo>
                  <a:lnTo>
                    <a:pt x="630" y="425"/>
                  </a:lnTo>
                  <a:lnTo>
                    <a:pt x="632" y="425"/>
                  </a:lnTo>
                  <a:lnTo>
                    <a:pt x="632" y="425"/>
                  </a:lnTo>
                  <a:lnTo>
                    <a:pt x="635" y="425"/>
                  </a:lnTo>
                  <a:lnTo>
                    <a:pt x="637" y="425"/>
                  </a:lnTo>
                  <a:lnTo>
                    <a:pt x="637" y="425"/>
                  </a:lnTo>
                  <a:lnTo>
                    <a:pt x="637" y="427"/>
                  </a:lnTo>
                  <a:lnTo>
                    <a:pt x="635" y="425"/>
                  </a:lnTo>
                  <a:lnTo>
                    <a:pt x="632" y="427"/>
                  </a:lnTo>
                  <a:lnTo>
                    <a:pt x="637" y="427"/>
                  </a:lnTo>
                  <a:lnTo>
                    <a:pt x="643" y="430"/>
                  </a:lnTo>
                  <a:lnTo>
                    <a:pt x="643" y="433"/>
                  </a:lnTo>
                  <a:lnTo>
                    <a:pt x="643" y="433"/>
                  </a:lnTo>
                  <a:lnTo>
                    <a:pt x="645" y="430"/>
                  </a:lnTo>
                  <a:lnTo>
                    <a:pt x="645" y="430"/>
                  </a:lnTo>
                  <a:lnTo>
                    <a:pt x="645" y="430"/>
                  </a:lnTo>
                  <a:lnTo>
                    <a:pt x="648" y="430"/>
                  </a:lnTo>
                  <a:lnTo>
                    <a:pt x="645" y="430"/>
                  </a:lnTo>
                  <a:lnTo>
                    <a:pt x="645" y="430"/>
                  </a:lnTo>
                  <a:lnTo>
                    <a:pt x="645" y="433"/>
                  </a:lnTo>
                  <a:lnTo>
                    <a:pt x="645" y="433"/>
                  </a:lnTo>
                  <a:lnTo>
                    <a:pt x="645" y="433"/>
                  </a:lnTo>
                  <a:lnTo>
                    <a:pt x="648" y="435"/>
                  </a:lnTo>
                  <a:lnTo>
                    <a:pt x="650" y="438"/>
                  </a:lnTo>
                  <a:lnTo>
                    <a:pt x="650" y="440"/>
                  </a:lnTo>
                  <a:lnTo>
                    <a:pt x="650" y="440"/>
                  </a:lnTo>
                  <a:lnTo>
                    <a:pt x="650" y="440"/>
                  </a:lnTo>
                  <a:lnTo>
                    <a:pt x="648" y="440"/>
                  </a:lnTo>
                  <a:lnTo>
                    <a:pt x="648" y="440"/>
                  </a:lnTo>
                  <a:lnTo>
                    <a:pt x="648" y="440"/>
                  </a:lnTo>
                  <a:lnTo>
                    <a:pt x="648" y="443"/>
                  </a:lnTo>
                  <a:lnTo>
                    <a:pt x="650" y="443"/>
                  </a:lnTo>
                  <a:lnTo>
                    <a:pt x="653" y="443"/>
                  </a:lnTo>
                  <a:lnTo>
                    <a:pt x="655" y="443"/>
                  </a:lnTo>
                  <a:lnTo>
                    <a:pt x="655" y="440"/>
                  </a:lnTo>
                  <a:lnTo>
                    <a:pt x="658" y="440"/>
                  </a:lnTo>
                  <a:lnTo>
                    <a:pt x="660" y="440"/>
                  </a:lnTo>
                  <a:lnTo>
                    <a:pt x="666" y="438"/>
                  </a:lnTo>
                  <a:lnTo>
                    <a:pt x="668" y="438"/>
                  </a:lnTo>
                  <a:lnTo>
                    <a:pt x="668" y="438"/>
                  </a:lnTo>
                  <a:lnTo>
                    <a:pt x="668" y="438"/>
                  </a:lnTo>
                  <a:lnTo>
                    <a:pt x="668" y="435"/>
                  </a:lnTo>
                  <a:lnTo>
                    <a:pt x="671" y="435"/>
                  </a:lnTo>
                  <a:lnTo>
                    <a:pt x="671" y="435"/>
                  </a:lnTo>
                  <a:lnTo>
                    <a:pt x="676" y="433"/>
                  </a:lnTo>
                  <a:lnTo>
                    <a:pt x="681" y="438"/>
                  </a:lnTo>
                  <a:lnTo>
                    <a:pt x="686" y="448"/>
                  </a:lnTo>
                  <a:lnTo>
                    <a:pt x="694" y="458"/>
                  </a:lnTo>
                  <a:lnTo>
                    <a:pt x="696" y="461"/>
                  </a:lnTo>
                  <a:lnTo>
                    <a:pt x="696" y="463"/>
                  </a:lnTo>
                  <a:lnTo>
                    <a:pt x="696" y="463"/>
                  </a:lnTo>
                  <a:lnTo>
                    <a:pt x="694" y="471"/>
                  </a:lnTo>
                  <a:lnTo>
                    <a:pt x="691" y="476"/>
                  </a:lnTo>
                  <a:lnTo>
                    <a:pt x="686" y="483"/>
                  </a:lnTo>
                  <a:lnTo>
                    <a:pt x="688" y="486"/>
                  </a:lnTo>
                  <a:lnTo>
                    <a:pt x="688" y="486"/>
                  </a:lnTo>
                  <a:lnTo>
                    <a:pt x="688" y="488"/>
                  </a:lnTo>
                  <a:lnTo>
                    <a:pt x="688" y="486"/>
                  </a:lnTo>
                  <a:lnTo>
                    <a:pt x="691" y="488"/>
                  </a:lnTo>
                  <a:lnTo>
                    <a:pt x="691" y="486"/>
                  </a:lnTo>
                  <a:lnTo>
                    <a:pt x="691" y="486"/>
                  </a:lnTo>
                  <a:lnTo>
                    <a:pt x="691" y="483"/>
                  </a:lnTo>
                  <a:lnTo>
                    <a:pt x="691" y="483"/>
                  </a:lnTo>
                  <a:lnTo>
                    <a:pt x="691" y="481"/>
                  </a:lnTo>
                  <a:lnTo>
                    <a:pt x="691" y="481"/>
                  </a:lnTo>
                  <a:lnTo>
                    <a:pt x="694" y="481"/>
                  </a:lnTo>
                  <a:lnTo>
                    <a:pt x="694" y="483"/>
                  </a:lnTo>
                  <a:lnTo>
                    <a:pt x="694" y="483"/>
                  </a:lnTo>
                  <a:lnTo>
                    <a:pt x="696" y="483"/>
                  </a:lnTo>
                  <a:lnTo>
                    <a:pt x="696" y="483"/>
                  </a:lnTo>
                  <a:lnTo>
                    <a:pt x="696" y="483"/>
                  </a:lnTo>
                  <a:lnTo>
                    <a:pt x="694" y="486"/>
                  </a:lnTo>
                  <a:lnTo>
                    <a:pt x="694" y="488"/>
                  </a:lnTo>
                  <a:lnTo>
                    <a:pt x="688" y="491"/>
                  </a:lnTo>
                  <a:lnTo>
                    <a:pt x="688" y="491"/>
                  </a:lnTo>
                  <a:lnTo>
                    <a:pt x="688" y="491"/>
                  </a:lnTo>
                  <a:lnTo>
                    <a:pt x="688" y="494"/>
                  </a:lnTo>
                  <a:lnTo>
                    <a:pt x="688" y="494"/>
                  </a:lnTo>
                  <a:lnTo>
                    <a:pt x="691" y="501"/>
                  </a:lnTo>
                  <a:lnTo>
                    <a:pt x="691" y="506"/>
                  </a:lnTo>
                  <a:lnTo>
                    <a:pt x="694" y="506"/>
                  </a:lnTo>
                  <a:lnTo>
                    <a:pt x="694" y="506"/>
                  </a:lnTo>
                  <a:lnTo>
                    <a:pt x="696" y="506"/>
                  </a:lnTo>
                  <a:lnTo>
                    <a:pt x="696" y="506"/>
                  </a:lnTo>
                  <a:lnTo>
                    <a:pt x="696" y="506"/>
                  </a:lnTo>
                  <a:lnTo>
                    <a:pt x="696" y="504"/>
                  </a:lnTo>
                  <a:lnTo>
                    <a:pt x="699" y="504"/>
                  </a:lnTo>
                  <a:lnTo>
                    <a:pt x="699" y="506"/>
                  </a:lnTo>
                  <a:lnTo>
                    <a:pt x="696" y="511"/>
                  </a:lnTo>
                  <a:lnTo>
                    <a:pt x="696" y="514"/>
                  </a:lnTo>
                  <a:lnTo>
                    <a:pt x="696" y="514"/>
                  </a:lnTo>
                  <a:lnTo>
                    <a:pt x="699" y="514"/>
                  </a:lnTo>
                  <a:lnTo>
                    <a:pt x="699" y="511"/>
                  </a:lnTo>
                  <a:lnTo>
                    <a:pt x="701" y="511"/>
                  </a:lnTo>
                  <a:lnTo>
                    <a:pt x="701" y="511"/>
                  </a:lnTo>
                  <a:lnTo>
                    <a:pt x="699" y="514"/>
                  </a:lnTo>
                  <a:lnTo>
                    <a:pt x="699" y="516"/>
                  </a:lnTo>
                  <a:lnTo>
                    <a:pt x="699" y="516"/>
                  </a:lnTo>
                  <a:lnTo>
                    <a:pt x="699" y="516"/>
                  </a:lnTo>
                  <a:lnTo>
                    <a:pt x="699" y="524"/>
                  </a:lnTo>
                  <a:lnTo>
                    <a:pt x="701" y="527"/>
                  </a:lnTo>
                  <a:lnTo>
                    <a:pt x="704" y="529"/>
                  </a:lnTo>
                  <a:lnTo>
                    <a:pt x="706" y="529"/>
                  </a:lnTo>
                  <a:lnTo>
                    <a:pt x="706" y="532"/>
                  </a:lnTo>
                  <a:lnTo>
                    <a:pt x="709" y="537"/>
                  </a:lnTo>
                  <a:lnTo>
                    <a:pt x="709" y="542"/>
                  </a:lnTo>
                  <a:lnTo>
                    <a:pt x="711" y="542"/>
                  </a:lnTo>
                  <a:lnTo>
                    <a:pt x="711" y="542"/>
                  </a:lnTo>
                  <a:lnTo>
                    <a:pt x="711" y="542"/>
                  </a:lnTo>
                  <a:lnTo>
                    <a:pt x="711" y="544"/>
                  </a:lnTo>
                  <a:lnTo>
                    <a:pt x="709" y="542"/>
                  </a:lnTo>
                  <a:lnTo>
                    <a:pt x="709" y="542"/>
                  </a:lnTo>
                  <a:lnTo>
                    <a:pt x="709" y="542"/>
                  </a:lnTo>
                  <a:lnTo>
                    <a:pt x="709" y="544"/>
                  </a:lnTo>
                  <a:lnTo>
                    <a:pt x="709" y="547"/>
                  </a:lnTo>
                  <a:lnTo>
                    <a:pt x="711" y="547"/>
                  </a:lnTo>
                  <a:lnTo>
                    <a:pt x="714" y="544"/>
                  </a:lnTo>
                  <a:lnTo>
                    <a:pt x="716" y="544"/>
                  </a:lnTo>
                  <a:lnTo>
                    <a:pt x="719" y="544"/>
                  </a:lnTo>
                  <a:lnTo>
                    <a:pt x="722" y="544"/>
                  </a:lnTo>
                  <a:lnTo>
                    <a:pt x="724" y="542"/>
                  </a:lnTo>
                  <a:lnTo>
                    <a:pt x="724" y="539"/>
                  </a:lnTo>
                  <a:lnTo>
                    <a:pt x="727" y="534"/>
                  </a:lnTo>
                  <a:lnTo>
                    <a:pt x="729" y="532"/>
                  </a:lnTo>
                  <a:lnTo>
                    <a:pt x="729" y="529"/>
                  </a:lnTo>
                  <a:lnTo>
                    <a:pt x="732" y="529"/>
                  </a:lnTo>
                  <a:lnTo>
                    <a:pt x="732" y="529"/>
                  </a:lnTo>
                  <a:lnTo>
                    <a:pt x="732" y="529"/>
                  </a:lnTo>
                  <a:lnTo>
                    <a:pt x="732" y="524"/>
                  </a:lnTo>
                  <a:lnTo>
                    <a:pt x="734" y="514"/>
                  </a:lnTo>
                  <a:lnTo>
                    <a:pt x="737" y="509"/>
                  </a:lnTo>
                  <a:lnTo>
                    <a:pt x="737" y="504"/>
                  </a:lnTo>
                  <a:lnTo>
                    <a:pt x="737" y="501"/>
                  </a:lnTo>
                  <a:lnTo>
                    <a:pt x="734" y="499"/>
                  </a:lnTo>
                  <a:lnTo>
                    <a:pt x="732" y="476"/>
                  </a:lnTo>
                  <a:lnTo>
                    <a:pt x="732" y="476"/>
                  </a:lnTo>
                  <a:lnTo>
                    <a:pt x="729" y="473"/>
                  </a:lnTo>
                  <a:lnTo>
                    <a:pt x="732" y="468"/>
                  </a:lnTo>
                  <a:lnTo>
                    <a:pt x="729" y="466"/>
                  </a:lnTo>
                  <a:lnTo>
                    <a:pt x="732" y="463"/>
                  </a:lnTo>
                  <a:lnTo>
                    <a:pt x="732" y="463"/>
                  </a:lnTo>
                  <a:lnTo>
                    <a:pt x="732" y="463"/>
                  </a:lnTo>
                  <a:lnTo>
                    <a:pt x="732" y="466"/>
                  </a:lnTo>
                  <a:lnTo>
                    <a:pt x="732" y="466"/>
                  </a:lnTo>
                  <a:lnTo>
                    <a:pt x="732" y="468"/>
                  </a:lnTo>
                  <a:lnTo>
                    <a:pt x="732" y="468"/>
                  </a:lnTo>
                  <a:lnTo>
                    <a:pt x="732" y="468"/>
                  </a:lnTo>
                  <a:lnTo>
                    <a:pt x="732" y="471"/>
                  </a:lnTo>
                  <a:lnTo>
                    <a:pt x="732" y="473"/>
                  </a:lnTo>
                  <a:lnTo>
                    <a:pt x="732" y="473"/>
                  </a:lnTo>
                  <a:lnTo>
                    <a:pt x="732" y="471"/>
                  </a:lnTo>
                  <a:lnTo>
                    <a:pt x="734" y="468"/>
                  </a:lnTo>
                  <a:lnTo>
                    <a:pt x="734" y="468"/>
                  </a:lnTo>
                  <a:lnTo>
                    <a:pt x="732" y="473"/>
                  </a:lnTo>
                  <a:lnTo>
                    <a:pt x="732" y="476"/>
                  </a:lnTo>
                  <a:lnTo>
                    <a:pt x="732" y="483"/>
                  </a:lnTo>
                  <a:lnTo>
                    <a:pt x="734" y="483"/>
                  </a:lnTo>
                  <a:lnTo>
                    <a:pt x="732" y="478"/>
                  </a:lnTo>
                  <a:lnTo>
                    <a:pt x="732" y="476"/>
                  </a:lnTo>
                  <a:lnTo>
                    <a:pt x="732" y="476"/>
                  </a:lnTo>
                  <a:lnTo>
                    <a:pt x="734" y="473"/>
                  </a:lnTo>
                  <a:lnTo>
                    <a:pt x="734" y="471"/>
                  </a:lnTo>
                  <a:lnTo>
                    <a:pt x="734" y="471"/>
                  </a:lnTo>
                  <a:lnTo>
                    <a:pt x="734" y="468"/>
                  </a:lnTo>
                  <a:lnTo>
                    <a:pt x="732" y="458"/>
                  </a:lnTo>
                  <a:lnTo>
                    <a:pt x="729" y="448"/>
                  </a:lnTo>
                  <a:lnTo>
                    <a:pt x="729" y="440"/>
                  </a:lnTo>
                  <a:lnTo>
                    <a:pt x="729" y="433"/>
                  </a:lnTo>
                  <a:lnTo>
                    <a:pt x="729" y="430"/>
                  </a:lnTo>
                  <a:lnTo>
                    <a:pt x="729" y="420"/>
                  </a:lnTo>
                  <a:lnTo>
                    <a:pt x="729" y="420"/>
                  </a:lnTo>
                  <a:lnTo>
                    <a:pt x="729" y="417"/>
                  </a:lnTo>
                  <a:lnTo>
                    <a:pt x="729" y="415"/>
                  </a:lnTo>
                  <a:lnTo>
                    <a:pt x="729" y="415"/>
                  </a:lnTo>
                  <a:lnTo>
                    <a:pt x="732" y="412"/>
                  </a:lnTo>
                  <a:lnTo>
                    <a:pt x="732" y="412"/>
                  </a:lnTo>
                  <a:lnTo>
                    <a:pt x="732" y="410"/>
                  </a:lnTo>
                  <a:lnTo>
                    <a:pt x="732" y="410"/>
                  </a:lnTo>
                  <a:lnTo>
                    <a:pt x="734" y="410"/>
                  </a:lnTo>
                  <a:lnTo>
                    <a:pt x="734" y="410"/>
                  </a:lnTo>
                  <a:lnTo>
                    <a:pt x="737" y="407"/>
                  </a:lnTo>
                  <a:lnTo>
                    <a:pt x="737" y="405"/>
                  </a:lnTo>
                  <a:lnTo>
                    <a:pt x="734" y="405"/>
                  </a:lnTo>
                  <a:lnTo>
                    <a:pt x="734" y="405"/>
                  </a:lnTo>
                  <a:lnTo>
                    <a:pt x="737" y="405"/>
                  </a:lnTo>
                  <a:lnTo>
                    <a:pt x="737" y="402"/>
                  </a:lnTo>
                  <a:lnTo>
                    <a:pt x="739" y="402"/>
                  </a:lnTo>
                  <a:lnTo>
                    <a:pt x="739" y="402"/>
                  </a:lnTo>
                  <a:lnTo>
                    <a:pt x="739" y="399"/>
                  </a:lnTo>
                  <a:lnTo>
                    <a:pt x="739" y="402"/>
                  </a:lnTo>
                  <a:lnTo>
                    <a:pt x="739" y="399"/>
                  </a:lnTo>
                  <a:lnTo>
                    <a:pt x="739" y="399"/>
                  </a:lnTo>
                  <a:lnTo>
                    <a:pt x="739" y="399"/>
                  </a:lnTo>
                  <a:lnTo>
                    <a:pt x="742" y="399"/>
                  </a:lnTo>
                  <a:lnTo>
                    <a:pt x="739" y="397"/>
                  </a:lnTo>
                  <a:lnTo>
                    <a:pt x="739" y="397"/>
                  </a:lnTo>
                  <a:lnTo>
                    <a:pt x="742" y="397"/>
                  </a:lnTo>
                  <a:lnTo>
                    <a:pt x="742" y="397"/>
                  </a:lnTo>
                  <a:lnTo>
                    <a:pt x="745" y="394"/>
                  </a:lnTo>
                  <a:lnTo>
                    <a:pt x="745" y="394"/>
                  </a:lnTo>
                  <a:lnTo>
                    <a:pt x="745" y="394"/>
                  </a:lnTo>
                  <a:lnTo>
                    <a:pt x="742" y="392"/>
                  </a:lnTo>
                  <a:lnTo>
                    <a:pt x="745" y="392"/>
                  </a:lnTo>
                  <a:lnTo>
                    <a:pt x="745" y="392"/>
                  </a:lnTo>
                  <a:lnTo>
                    <a:pt x="747" y="392"/>
                  </a:lnTo>
                  <a:lnTo>
                    <a:pt x="750" y="389"/>
                  </a:lnTo>
                  <a:lnTo>
                    <a:pt x="750" y="389"/>
                  </a:lnTo>
                  <a:lnTo>
                    <a:pt x="750" y="387"/>
                  </a:lnTo>
                  <a:lnTo>
                    <a:pt x="752" y="387"/>
                  </a:lnTo>
                  <a:lnTo>
                    <a:pt x="752" y="387"/>
                  </a:lnTo>
                  <a:lnTo>
                    <a:pt x="752" y="384"/>
                  </a:lnTo>
                  <a:lnTo>
                    <a:pt x="752" y="384"/>
                  </a:lnTo>
                  <a:lnTo>
                    <a:pt x="752" y="384"/>
                  </a:lnTo>
                  <a:lnTo>
                    <a:pt x="752" y="384"/>
                  </a:lnTo>
                  <a:lnTo>
                    <a:pt x="752" y="382"/>
                  </a:lnTo>
                  <a:lnTo>
                    <a:pt x="752" y="379"/>
                  </a:lnTo>
                  <a:lnTo>
                    <a:pt x="755" y="382"/>
                  </a:lnTo>
                  <a:lnTo>
                    <a:pt x="755" y="382"/>
                  </a:lnTo>
                  <a:lnTo>
                    <a:pt x="755" y="382"/>
                  </a:lnTo>
                  <a:lnTo>
                    <a:pt x="755" y="382"/>
                  </a:lnTo>
                  <a:lnTo>
                    <a:pt x="755" y="382"/>
                  </a:lnTo>
                  <a:lnTo>
                    <a:pt x="755" y="384"/>
                  </a:lnTo>
                  <a:lnTo>
                    <a:pt x="757" y="384"/>
                  </a:lnTo>
                  <a:lnTo>
                    <a:pt x="757" y="384"/>
                  </a:lnTo>
                  <a:lnTo>
                    <a:pt x="757" y="382"/>
                  </a:lnTo>
                  <a:lnTo>
                    <a:pt x="760" y="382"/>
                  </a:lnTo>
                  <a:lnTo>
                    <a:pt x="757" y="379"/>
                  </a:lnTo>
                  <a:lnTo>
                    <a:pt x="757" y="379"/>
                  </a:lnTo>
                  <a:lnTo>
                    <a:pt x="757" y="379"/>
                  </a:lnTo>
                  <a:lnTo>
                    <a:pt x="760" y="379"/>
                  </a:lnTo>
                  <a:lnTo>
                    <a:pt x="762" y="379"/>
                  </a:lnTo>
                  <a:lnTo>
                    <a:pt x="762" y="379"/>
                  </a:lnTo>
                  <a:lnTo>
                    <a:pt x="765" y="377"/>
                  </a:lnTo>
                  <a:lnTo>
                    <a:pt x="765" y="377"/>
                  </a:lnTo>
                  <a:lnTo>
                    <a:pt x="767" y="377"/>
                  </a:lnTo>
                  <a:lnTo>
                    <a:pt x="770" y="377"/>
                  </a:lnTo>
                  <a:lnTo>
                    <a:pt x="770" y="374"/>
                  </a:lnTo>
                  <a:lnTo>
                    <a:pt x="773" y="374"/>
                  </a:lnTo>
                  <a:lnTo>
                    <a:pt x="773" y="371"/>
                  </a:lnTo>
                  <a:lnTo>
                    <a:pt x="775" y="371"/>
                  </a:lnTo>
                  <a:lnTo>
                    <a:pt x="775" y="371"/>
                  </a:lnTo>
                  <a:lnTo>
                    <a:pt x="778" y="369"/>
                  </a:lnTo>
                  <a:lnTo>
                    <a:pt x="780" y="366"/>
                  </a:lnTo>
                  <a:lnTo>
                    <a:pt x="780" y="366"/>
                  </a:lnTo>
                  <a:lnTo>
                    <a:pt x="783" y="366"/>
                  </a:lnTo>
                  <a:lnTo>
                    <a:pt x="785" y="364"/>
                  </a:lnTo>
                  <a:lnTo>
                    <a:pt x="788" y="364"/>
                  </a:lnTo>
                  <a:lnTo>
                    <a:pt x="788" y="361"/>
                  </a:lnTo>
                  <a:lnTo>
                    <a:pt x="788" y="359"/>
                  </a:lnTo>
                  <a:lnTo>
                    <a:pt x="788" y="359"/>
                  </a:lnTo>
                  <a:lnTo>
                    <a:pt x="788" y="361"/>
                  </a:lnTo>
                  <a:lnTo>
                    <a:pt x="788" y="361"/>
                  </a:lnTo>
                  <a:lnTo>
                    <a:pt x="790" y="359"/>
                  </a:lnTo>
                  <a:lnTo>
                    <a:pt x="795" y="354"/>
                  </a:lnTo>
                  <a:lnTo>
                    <a:pt x="798" y="351"/>
                  </a:lnTo>
                  <a:lnTo>
                    <a:pt x="806" y="349"/>
                  </a:lnTo>
                  <a:lnTo>
                    <a:pt x="808" y="346"/>
                  </a:lnTo>
                  <a:lnTo>
                    <a:pt x="816" y="346"/>
                  </a:lnTo>
                  <a:lnTo>
                    <a:pt x="816" y="346"/>
                  </a:lnTo>
                  <a:lnTo>
                    <a:pt x="818" y="341"/>
                  </a:lnTo>
                  <a:lnTo>
                    <a:pt x="818" y="343"/>
                  </a:lnTo>
                  <a:lnTo>
                    <a:pt x="818" y="346"/>
                  </a:lnTo>
                  <a:lnTo>
                    <a:pt x="818" y="346"/>
                  </a:lnTo>
                  <a:lnTo>
                    <a:pt x="818" y="343"/>
                  </a:lnTo>
                  <a:lnTo>
                    <a:pt x="821" y="341"/>
                  </a:lnTo>
                  <a:lnTo>
                    <a:pt x="824" y="338"/>
                  </a:lnTo>
                  <a:lnTo>
                    <a:pt x="824" y="338"/>
                  </a:lnTo>
                  <a:lnTo>
                    <a:pt x="826" y="336"/>
                  </a:lnTo>
                  <a:lnTo>
                    <a:pt x="829" y="333"/>
                  </a:lnTo>
                  <a:lnTo>
                    <a:pt x="831" y="333"/>
                  </a:lnTo>
                  <a:lnTo>
                    <a:pt x="831" y="333"/>
                  </a:lnTo>
                  <a:lnTo>
                    <a:pt x="831" y="331"/>
                  </a:lnTo>
                  <a:lnTo>
                    <a:pt x="831" y="328"/>
                  </a:lnTo>
                  <a:lnTo>
                    <a:pt x="834" y="328"/>
                  </a:lnTo>
                  <a:lnTo>
                    <a:pt x="834" y="331"/>
                  </a:lnTo>
                  <a:lnTo>
                    <a:pt x="834" y="331"/>
                  </a:lnTo>
                  <a:lnTo>
                    <a:pt x="834" y="331"/>
                  </a:lnTo>
                  <a:lnTo>
                    <a:pt x="839" y="328"/>
                  </a:lnTo>
                  <a:lnTo>
                    <a:pt x="839" y="328"/>
                  </a:lnTo>
                  <a:lnTo>
                    <a:pt x="841" y="328"/>
                  </a:lnTo>
                  <a:lnTo>
                    <a:pt x="844" y="328"/>
                  </a:lnTo>
                  <a:lnTo>
                    <a:pt x="844" y="328"/>
                  </a:lnTo>
                  <a:lnTo>
                    <a:pt x="846" y="328"/>
                  </a:lnTo>
                  <a:lnTo>
                    <a:pt x="849" y="328"/>
                  </a:lnTo>
                  <a:lnTo>
                    <a:pt x="849" y="328"/>
                  </a:lnTo>
                  <a:lnTo>
                    <a:pt x="852" y="326"/>
                  </a:lnTo>
                  <a:lnTo>
                    <a:pt x="854" y="323"/>
                  </a:lnTo>
                  <a:lnTo>
                    <a:pt x="852" y="323"/>
                  </a:lnTo>
                  <a:lnTo>
                    <a:pt x="846" y="323"/>
                  </a:lnTo>
                  <a:lnTo>
                    <a:pt x="844" y="323"/>
                  </a:lnTo>
                  <a:lnTo>
                    <a:pt x="844" y="321"/>
                  </a:lnTo>
                  <a:lnTo>
                    <a:pt x="841" y="318"/>
                  </a:lnTo>
                  <a:lnTo>
                    <a:pt x="844" y="321"/>
                  </a:lnTo>
                  <a:lnTo>
                    <a:pt x="846" y="323"/>
                  </a:lnTo>
                  <a:lnTo>
                    <a:pt x="849" y="321"/>
                  </a:lnTo>
                  <a:lnTo>
                    <a:pt x="849" y="321"/>
                  </a:lnTo>
                  <a:lnTo>
                    <a:pt x="852" y="318"/>
                  </a:lnTo>
                  <a:lnTo>
                    <a:pt x="852" y="318"/>
                  </a:lnTo>
                  <a:lnTo>
                    <a:pt x="854" y="315"/>
                  </a:lnTo>
                  <a:lnTo>
                    <a:pt x="852" y="315"/>
                  </a:lnTo>
                  <a:lnTo>
                    <a:pt x="852" y="315"/>
                  </a:lnTo>
                  <a:lnTo>
                    <a:pt x="846" y="310"/>
                  </a:lnTo>
                  <a:lnTo>
                    <a:pt x="844" y="310"/>
                  </a:lnTo>
                  <a:lnTo>
                    <a:pt x="846" y="310"/>
                  </a:lnTo>
                  <a:lnTo>
                    <a:pt x="849" y="313"/>
                  </a:lnTo>
                  <a:lnTo>
                    <a:pt x="852" y="310"/>
                  </a:lnTo>
                  <a:lnTo>
                    <a:pt x="854" y="310"/>
                  </a:lnTo>
                  <a:lnTo>
                    <a:pt x="854" y="310"/>
                  </a:lnTo>
                  <a:lnTo>
                    <a:pt x="854" y="310"/>
                  </a:lnTo>
                  <a:lnTo>
                    <a:pt x="854" y="313"/>
                  </a:lnTo>
                  <a:lnTo>
                    <a:pt x="854" y="313"/>
                  </a:lnTo>
                  <a:lnTo>
                    <a:pt x="854" y="313"/>
                  </a:lnTo>
                  <a:lnTo>
                    <a:pt x="857" y="313"/>
                  </a:lnTo>
                  <a:lnTo>
                    <a:pt x="859" y="313"/>
                  </a:lnTo>
                  <a:lnTo>
                    <a:pt x="859" y="313"/>
                  </a:lnTo>
                  <a:lnTo>
                    <a:pt x="862" y="313"/>
                  </a:lnTo>
                  <a:lnTo>
                    <a:pt x="864" y="310"/>
                  </a:lnTo>
                  <a:lnTo>
                    <a:pt x="869" y="308"/>
                  </a:lnTo>
                  <a:lnTo>
                    <a:pt x="872" y="305"/>
                  </a:lnTo>
                  <a:lnTo>
                    <a:pt x="872" y="303"/>
                  </a:lnTo>
                  <a:lnTo>
                    <a:pt x="872" y="300"/>
                  </a:lnTo>
                  <a:lnTo>
                    <a:pt x="872" y="300"/>
                  </a:lnTo>
                  <a:lnTo>
                    <a:pt x="869" y="300"/>
                  </a:lnTo>
                  <a:lnTo>
                    <a:pt x="867" y="300"/>
                  </a:lnTo>
                  <a:lnTo>
                    <a:pt x="867" y="305"/>
                  </a:lnTo>
                  <a:lnTo>
                    <a:pt x="864" y="305"/>
                  </a:lnTo>
                  <a:lnTo>
                    <a:pt x="864" y="305"/>
                  </a:lnTo>
                  <a:lnTo>
                    <a:pt x="864" y="303"/>
                  </a:lnTo>
                  <a:lnTo>
                    <a:pt x="867" y="303"/>
                  </a:lnTo>
                  <a:lnTo>
                    <a:pt x="867" y="300"/>
                  </a:lnTo>
                  <a:lnTo>
                    <a:pt x="864" y="300"/>
                  </a:lnTo>
                  <a:lnTo>
                    <a:pt x="862" y="300"/>
                  </a:lnTo>
                  <a:lnTo>
                    <a:pt x="862" y="300"/>
                  </a:lnTo>
                  <a:lnTo>
                    <a:pt x="859" y="300"/>
                  </a:lnTo>
                  <a:lnTo>
                    <a:pt x="857" y="300"/>
                  </a:lnTo>
                  <a:lnTo>
                    <a:pt x="854" y="300"/>
                  </a:lnTo>
                  <a:lnTo>
                    <a:pt x="854" y="298"/>
                  </a:lnTo>
                  <a:lnTo>
                    <a:pt x="854" y="295"/>
                  </a:lnTo>
                  <a:lnTo>
                    <a:pt x="857" y="293"/>
                  </a:lnTo>
                  <a:lnTo>
                    <a:pt x="854" y="295"/>
                  </a:lnTo>
                  <a:lnTo>
                    <a:pt x="857" y="298"/>
                  </a:lnTo>
                  <a:lnTo>
                    <a:pt x="857" y="298"/>
                  </a:lnTo>
                  <a:lnTo>
                    <a:pt x="859" y="298"/>
                  </a:lnTo>
                  <a:lnTo>
                    <a:pt x="859" y="298"/>
                  </a:lnTo>
                  <a:lnTo>
                    <a:pt x="862" y="295"/>
                  </a:lnTo>
                  <a:lnTo>
                    <a:pt x="862" y="295"/>
                  </a:lnTo>
                  <a:lnTo>
                    <a:pt x="864" y="295"/>
                  </a:lnTo>
                  <a:lnTo>
                    <a:pt x="864" y="295"/>
                  </a:lnTo>
                  <a:lnTo>
                    <a:pt x="864" y="295"/>
                  </a:lnTo>
                  <a:lnTo>
                    <a:pt x="867" y="295"/>
                  </a:lnTo>
                  <a:lnTo>
                    <a:pt x="867" y="295"/>
                  </a:lnTo>
                  <a:lnTo>
                    <a:pt x="867" y="293"/>
                  </a:lnTo>
                  <a:lnTo>
                    <a:pt x="869" y="293"/>
                  </a:lnTo>
                  <a:lnTo>
                    <a:pt x="869" y="295"/>
                  </a:lnTo>
                  <a:lnTo>
                    <a:pt x="872" y="295"/>
                  </a:lnTo>
                  <a:lnTo>
                    <a:pt x="872" y="295"/>
                  </a:lnTo>
                  <a:lnTo>
                    <a:pt x="872" y="293"/>
                  </a:lnTo>
                  <a:lnTo>
                    <a:pt x="872" y="290"/>
                  </a:lnTo>
                  <a:lnTo>
                    <a:pt x="872" y="290"/>
                  </a:lnTo>
                  <a:lnTo>
                    <a:pt x="872" y="287"/>
                  </a:lnTo>
                  <a:lnTo>
                    <a:pt x="872" y="285"/>
                  </a:lnTo>
                  <a:lnTo>
                    <a:pt x="872" y="285"/>
                  </a:lnTo>
                  <a:lnTo>
                    <a:pt x="872" y="285"/>
                  </a:lnTo>
                  <a:lnTo>
                    <a:pt x="874" y="282"/>
                  </a:lnTo>
                  <a:lnTo>
                    <a:pt x="874" y="285"/>
                  </a:lnTo>
                  <a:lnTo>
                    <a:pt x="874" y="285"/>
                  </a:lnTo>
                  <a:lnTo>
                    <a:pt x="874" y="293"/>
                  </a:lnTo>
                  <a:lnTo>
                    <a:pt x="874" y="298"/>
                  </a:lnTo>
                  <a:lnTo>
                    <a:pt x="874" y="303"/>
                  </a:lnTo>
                  <a:lnTo>
                    <a:pt x="874" y="303"/>
                  </a:lnTo>
                  <a:lnTo>
                    <a:pt x="874" y="303"/>
                  </a:lnTo>
                  <a:lnTo>
                    <a:pt x="874" y="293"/>
                  </a:lnTo>
                  <a:lnTo>
                    <a:pt x="874" y="282"/>
                  </a:lnTo>
                  <a:lnTo>
                    <a:pt x="874" y="282"/>
                  </a:lnTo>
                  <a:lnTo>
                    <a:pt x="874" y="280"/>
                  </a:lnTo>
                  <a:lnTo>
                    <a:pt x="874" y="277"/>
                  </a:lnTo>
                  <a:lnTo>
                    <a:pt x="872" y="277"/>
                  </a:lnTo>
                  <a:lnTo>
                    <a:pt x="869" y="277"/>
                  </a:lnTo>
                  <a:lnTo>
                    <a:pt x="867" y="277"/>
                  </a:lnTo>
                  <a:lnTo>
                    <a:pt x="864" y="277"/>
                  </a:lnTo>
                  <a:lnTo>
                    <a:pt x="864" y="277"/>
                  </a:lnTo>
                  <a:lnTo>
                    <a:pt x="864" y="275"/>
                  </a:lnTo>
                  <a:lnTo>
                    <a:pt x="864" y="272"/>
                  </a:lnTo>
                  <a:lnTo>
                    <a:pt x="862" y="272"/>
                  </a:lnTo>
                  <a:lnTo>
                    <a:pt x="859" y="270"/>
                  </a:lnTo>
                  <a:lnTo>
                    <a:pt x="859" y="270"/>
                  </a:lnTo>
                  <a:lnTo>
                    <a:pt x="854" y="270"/>
                  </a:lnTo>
                  <a:lnTo>
                    <a:pt x="854" y="270"/>
                  </a:lnTo>
                  <a:lnTo>
                    <a:pt x="854" y="267"/>
                  </a:lnTo>
                  <a:lnTo>
                    <a:pt x="859" y="267"/>
                  </a:lnTo>
                  <a:lnTo>
                    <a:pt x="864" y="270"/>
                  </a:lnTo>
                  <a:lnTo>
                    <a:pt x="864" y="270"/>
                  </a:lnTo>
                  <a:lnTo>
                    <a:pt x="864" y="272"/>
                  </a:lnTo>
                  <a:lnTo>
                    <a:pt x="867" y="275"/>
                  </a:lnTo>
                  <a:lnTo>
                    <a:pt x="867" y="275"/>
                  </a:lnTo>
                  <a:lnTo>
                    <a:pt x="867" y="275"/>
                  </a:lnTo>
                  <a:lnTo>
                    <a:pt x="869" y="275"/>
                  </a:lnTo>
                  <a:lnTo>
                    <a:pt x="869" y="275"/>
                  </a:lnTo>
                  <a:lnTo>
                    <a:pt x="869" y="272"/>
                  </a:lnTo>
                  <a:lnTo>
                    <a:pt x="869" y="272"/>
                  </a:lnTo>
                  <a:lnTo>
                    <a:pt x="869" y="270"/>
                  </a:lnTo>
                  <a:lnTo>
                    <a:pt x="867" y="270"/>
                  </a:lnTo>
                  <a:lnTo>
                    <a:pt x="867" y="267"/>
                  </a:lnTo>
                  <a:lnTo>
                    <a:pt x="864" y="265"/>
                  </a:lnTo>
                  <a:lnTo>
                    <a:pt x="864" y="265"/>
                  </a:lnTo>
                  <a:lnTo>
                    <a:pt x="864" y="265"/>
                  </a:lnTo>
                  <a:lnTo>
                    <a:pt x="867" y="270"/>
                  </a:lnTo>
                  <a:lnTo>
                    <a:pt x="869" y="270"/>
                  </a:lnTo>
                  <a:lnTo>
                    <a:pt x="869" y="270"/>
                  </a:lnTo>
                  <a:lnTo>
                    <a:pt x="869" y="267"/>
                  </a:lnTo>
                  <a:lnTo>
                    <a:pt x="869" y="267"/>
                  </a:lnTo>
                  <a:lnTo>
                    <a:pt x="872" y="267"/>
                  </a:lnTo>
                  <a:lnTo>
                    <a:pt x="874" y="265"/>
                  </a:lnTo>
                  <a:lnTo>
                    <a:pt x="874" y="265"/>
                  </a:lnTo>
                  <a:lnTo>
                    <a:pt x="872" y="265"/>
                  </a:lnTo>
                  <a:lnTo>
                    <a:pt x="874" y="262"/>
                  </a:lnTo>
                  <a:lnTo>
                    <a:pt x="869" y="262"/>
                  </a:lnTo>
                  <a:lnTo>
                    <a:pt x="869" y="259"/>
                  </a:lnTo>
                  <a:lnTo>
                    <a:pt x="869" y="259"/>
                  </a:lnTo>
                  <a:lnTo>
                    <a:pt x="867" y="257"/>
                  </a:lnTo>
                  <a:lnTo>
                    <a:pt x="867" y="254"/>
                  </a:lnTo>
                  <a:lnTo>
                    <a:pt x="864" y="252"/>
                  </a:lnTo>
                  <a:lnTo>
                    <a:pt x="862" y="249"/>
                  </a:lnTo>
                  <a:lnTo>
                    <a:pt x="864" y="249"/>
                  </a:lnTo>
                  <a:lnTo>
                    <a:pt x="864" y="249"/>
                  </a:lnTo>
                  <a:lnTo>
                    <a:pt x="867" y="254"/>
                  </a:lnTo>
                  <a:lnTo>
                    <a:pt x="867" y="254"/>
                  </a:lnTo>
                  <a:lnTo>
                    <a:pt x="869" y="259"/>
                  </a:lnTo>
                  <a:lnTo>
                    <a:pt x="872" y="259"/>
                  </a:lnTo>
                  <a:lnTo>
                    <a:pt x="874" y="259"/>
                  </a:lnTo>
                  <a:lnTo>
                    <a:pt x="874" y="259"/>
                  </a:lnTo>
                  <a:lnTo>
                    <a:pt x="874" y="257"/>
                  </a:lnTo>
                  <a:lnTo>
                    <a:pt x="877" y="257"/>
                  </a:lnTo>
                  <a:lnTo>
                    <a:pt x="877" y="254"/>
                  </a:lnTo>
                  <a:lnTo>
                    <a:pt x="874" y="254"/>
                  </a:lnTo>
                  <a:lnTo>
                    <a:pt x="874" y="252"/>
                  </a:lnTo>
                  <a:lnTo>
                    <a:pt x="872" y="249"/>
                  </a:lnTo>
                  <a:lnTo>
                    <a:pt x="872" y="249"/>
                  </a:lnTo>
                  <a:lnTo>
                    <a:pt x="867" y="249"/>
                  </a:lnTo>
                  <a:lnTo>
                    <a:pt x="864" y="244"/>
                  </a:lnTo>
                  <a:lnTo>
                    <a:pt x="864" y="244"/>
                  </a:lnTo>
                  <a:lnTo>
                    <a:pt x="862" y="244"/>
                  </a:lnTo>
                  <a:lnTo>
                    <a:pt x="862" y="244"/>
                  </a:lnTo>
                  <a:lnTo>
                    <a:pt x="862" y="244"/>
                  </a:lnTo>
                  <a:lnTo>
                    <a:pt x="862" y="239"/>
                  </a:lnTo>
                  <a:lnTo>
                    <a:pt x="864" y="239"/>
                  </a:lnTo>
                  <a:lnTo>
                    <a:pt x="867" y="237"/>
                  </a:lnTo>
                  <a:lnTo>
                    <a:pt x="867" y="237"/>
                  </a:lnTo>
                  <a:lnTo>
                    <a:pt x="869" y="234"/>
                  </a:lnTo>
                  <a:lnTo>
                    <a:pt x="869" y="231"/>
                  </a:lnTo>
                  <a:lnTo>
                    <a:pt x="869" y="234"/>
                  </a:lnTo>
                  <a:lnTo>
                    <a:pt x="867" y="237"/>
                  </a:lnTo>
                  <a:lnTo>
                    <a:pt x="867" y="237"/>
                  </a:lnTo>
                  <a:lnTo>
                    <a:pt x="864" y="239"/>
                  </a:lnTo>
                  <a:lnTo>
                    <a:pt x="862" y="242"/>
                  </a:lnTo>
                  <a:lnTo>
                    <a:pt x="862" y="244"/>
                  </a:lnTo>
                  <a:lnTo>
                    <a:pt x="864" y="244"/>
                  </a:lnTo>
                  <a:lnTo>
                    <a:pt x="864" y="242"/>
                  </a:lnTo>
                  <a:lnTo>
                    <a:pt x="867" y="242"/>
                  </a:lnTo>
                  <a:lnTo>
                    <a:pt x="867" y="244"/>
                  </a:lnTo>
                  <a:lnTo>
                    <a:pt x="867" y="244"/>
                  </a:lnTo>
                  <a:lnTo>
                    <a:pt x="867" y="247"/>
                  </a:lnTo>
                  <a:lnTo>
                    <a:pt x="869" y="244"/>
                  </a:lnTo>
                  <a:lnTo>
                    <a:pt x="869" y="244"/>
                  </a:lnTo>
                  <a:lnTo>
                    <a:pt x="869" y="247"/>
                  </a:lnTo>
                  <a:lnTo>
                    <a:pt x="872" y="247"/>
                  </a:lnTo>
                  <a:lnTo>
                    <a:pt x="874" y="249"/>
                  </a:lnTo>
                  <a:lnTo>
                    <a:pt x="874" y="249"/>
                  </a:lnTo>
                  <a:lnTo>
                    <a:pt x="877" y="249"/>
                  </a:lnTo>
                  <a:lnTo>
                    <a:pt x="877" y="249"/>
                  </a:lnTo>
                  <a:lnTo>
                    <a:pt x="877" y="249"/>
                  </a:lnTo>
                  <a:lnTo>
                    <a:pt x="877" y="247"/>
                  </a:lnTo>
                  <a:lnTo>
                    <a:pt x="874" y="242"/>
                  </a:lnTo>
                  <a:lnTo>
                    <a:pt x="874" y="239"/>
                  </a:lnTo>
                  <a:lnTo>
                    <a:pt x="874" y="239"/>
                  </a:lnTo>
                  <a:lnTo>
                    <a:pt x="874" y="239"/>
                  </a:lnTo>
                  <a:lnTo>
                    <a:pt x="874" y="239"/>
                  </a:lnTo>
                  <a:lnTo>
                    <a:pt x="874" y="242"/>
                  </a:lnTo>
                  <a:lnTo>
                    <a:pt x="877" y="244"/>
                  </a:lnTo>
                  <a:lnTo>
                    <a:pt x="877" y="244"/>
                  </a:lnTo>
                  <a:lnTo>
                    <a:pt x="877" y="244"/>
                  </a:lnTo>
                  <a:lnTo>
                    <a:pt x="877" y="242"/>
                  </a:lnTo>
                  <a:lnTo>
                    <a:pt x="877" y="242"/>
                  </a:lnTo>
                  <a:lnTo>
                    <a:pt x="877" y="239"/>
                  </a:lnTo>
                  <a:lnTo>
                    <a:pt x="877" y="237"/>
                  </a:lnTo>
                  <a:lnTo>
                    <a:pt x="880" y="234"/>
                  </a:lnTo>
                  <a:lnTo>
                    <a:pt x="880" y="234"/>
                  </a:lnTo>
                  <a:lnTo>
                    <a:pt x="880" y="231"/>
                  </a:lnTo>
                  <a:lnTo>
                    <a:pt x="880" y="231"/>
                  </a:lnTo>
                  <a:lnTo>
                    <a:pt x="880" y="229"/>
                  </a:lnTo>
                  <a:lnTo>
                    <a:pt x="880" y="229"/>
                  </a:lnTo>
                  <a:lnTo>
                    <a:pt x="880" y="229"/>
                  </a:lnTo>
                  <a:lnTo>
                    <a:pt x="882" y="229"/>
                  </a:lnTo>
                  <a:lnTo>
                    <a:pt x="882" y="229"/>
                  </a:lnTo>
                  <a:lnTo>
                    <a:pt x="882" y="226"/>
                  </a:lnTo>
                  <a:lnTo>
                    <a:pt x="882" y="226"/>
                  </a:lnTo>
                  <a:lnTo>
                    <a:pt x="882" y="224"/>
                  </a:lnTo>
                  <a:lnTo>
                    <a:pt x="882" y="224"/>
                  </a:lnTo>
                  <a:lnTo>
                    <a:pt x="885" y="224"/>
                  </a:lnTo>
                  <a:lnTo>
                    <a:pt x="885" y="224"/>
                  </a:lnTo>
                  <a:lnTo>
                    <a:pt x="885" y="224"/>
                  </a:lnTo>
                  <a:lnTo>
                    <a:pt x="885" y="221"/>
                  </a:lnTo>
                  <a:lnTo>
                    <a:pt x="887" y="221"/>
                  </a:lnTo>
                  <a:lnTo>
                    <a:pt x="887" y="221"/>
                  </a:lnTo>
                  <a:lnTo>
                    <a:pt x="887" y="221"/>
                  </a:lnTo>
                  <a:lnTo>
                    <a:pt x="887" y="221"/>
                  </a:lnTo>
                  <a:lnTo>
                    <a:pt x="887" y="221"/>
                  </a:lnTo>
                  <a:lnTo>
                    <a:pt x="890" y="219"/>
                  </a:lnTo>
                  <a:lnTo>
                    <a:pt x="890" y="219"/>
                  </a:lnTo>
                  <a:lnTo>
                    <a:pt x="890" y="221"/>
                  </a:lnTo>
                  <a:lnTo>
                    <a:pt x="890" y="221"/>
                  </a:lnTo>
                  <a:lnTo>
                    <a:pt x="892" y="219"/>
                  </a:lnTo>
                  <a:lnTo>
                    <a:pt x="892" y="219"/>
                  </a:lnTo>
                  <a:lnTo>
                    <a:pt x="892" y="219"/>
                  </a:lnTo>
                  <a:lnTo>
                    <a:pt x="892" y="216"/>
                  </a:lnTo>
                  <a:lnTo>
                    <a:pt x="895" y="216"/>
                  </a:lnTo>
                  <a:lnTo>
                    <a:pt x="895" y="216"/>
                  </a:lnTo>
                  <a:lnTo>
                    <a:pt x="895" y="219"/>
                  </a:lnTo>
                  <a:lnTo>
                    <a:pt x="897" y="219"/>
                  </a:lnTo>
                  <a:lnTo>
                    <a:pt x="895" y="219"/>
                  </a:lnTo>
                  <a:lnTo>
                    <a:pt x="895" y="219"/>
                  </a:lnTo>
                  <a:lnTo>
                    <a:pt x="892" y="221"/>
                  </a:lnTo>
                  <a:lnTo>
                    <a:pt x="895" y="221"/>
                  </a:lnTo>
                  <a:lnTo>
                    <a:pt x="895" y="221"/>
                  </a:lnTo>
                  <a:lnTo>
                    <a:pt x="892" y="221"/>
                  </a:lnTo>
                  <a:lnTo>
                    <a:pt x="892" y="221"/>
                  </a:lnTo>
                  <a:lnTo>
                    <a:pt x="890" y="221"/>
                  </a:lnTo>
                  <a:lnTo>
                    <a:pt x="887" y="226"/>
                  </a:lnTo>
                  <a:lnTo>
                    <a:pt x="887" y="229"/>
                  </a:lnTo>
                  <a:lnTo>
                    <a:pt x="887" y="226"/>
                  </a:lnTo>
                  <a:lnTo>
                    <a:pt x="887" y="229"/>
                  </a:lnTo>
                  <a:lnTo>
                    <a:pt x="887" y="229"/>
                  </a:lnTo>
                  <a:lnTo>
                    <a:pt x="885" y="229"/>
                  </a:lnTo>
                  <a:lnTo>
                    <a:pt x="885" y="229"/>
                  </a:lnTo>
                  <a:lnTo>
                    <a:pt x="882" y="231"/>
                  </a:lnTo>
                  <a:lnTo>
                    <a:pt x="882" y="231"/>
                  </a:lnTo>
                  <a:lnTo>
                    <a:pt x="885" y="231"/>
                  </a:lnTo>
                  <a:lnTo>
                    <a:pt x="885" y="231"/>
                  </a:lnTo>
                  <a:lnTo>
                    <a:pt x="885" y="234"/>
                  </a:lnTo>
                  <a:lnTo>
                    <a:pt x="885" y="234"/>
                  </a:lnTo>
                  <a:lnTo>
                    <a:pt x="882" y="234"/>
                  </a:lnTo>
                  <a:lnTo>
                    <a:pt x="882" y="237"/>
                  </a:lnTo>
                  <a:lnTo>
                    <a:pt x="882" y="237"/>
                  </a:lnTo>
                  <a:lnTo>
                    <a:pt x="882" y="234"/>
                  </a:lnTo>
                  <a:lnTo>
                    <a:pt x="885" y="234"/>
                  </a:lnTo>
                  <a:lnTo>
                    <a:pt x="885" y="237"/>
                  </a:lnTo>
                  <a:lnTo>
                    <a:pt x="885" y="239"/>
                  </a:lnTo>
                  <a:lnTo>
                    <a:pt x="887" y="239"/>
                  </a:lnTo>
                  <a:lnTo>
                    <a:pt x="887" y="239"/>
                  </a:lnTo>
                  <a:lnTo>
                    <a:pt x="885" y="239"/>
                  </a:lnTo>
                  <a:lnTo>
                    <a:pt x="882" y="239"/>
                  </a:lnTo>
                  <a:lnTo>
                    <a:pt x="882" y="239"/>
                  </a:lnTo>
                  <a:lnTo>
                    <a:pt x="880" y="242"/>
                  </a:lnTo>
                  <a:lnTo>
                    <a:pt x="880" y="242"/>
                  </a:lnTo>
                  <a:lnTo>
                    <a:pt x="882" y="244"/>
                  </a:lnTo>
                  <a:lnTo>
                    <a:pt x="882" y="244"/>
                  </a:lnTo>
                  <a:lnTo>
                    <a:pt x="882" y="247"/>
                  </a:lnTo>
                  <a:lnTo>
                    <a:pt x="885" y="247"/>
                  </a:lnTo>
                  <a:lnTo>
                    <a:pt x="885" y="244"/>
                  </a:lnTo>
                  <a:lnTo>
                    <a:pt x="885" y="244"/>
                  </a:lnTo>
                  <a:lnTo>
                    <a:pt x="885" y="247"/>
                  </a:lnTo>
                  <a:lnTo>
                    <a:pt x="885" y="244"/>
                  </a:lnTo>
                  <a:lnTo>
                    <a:pt x="887" y="244"/>
                  </a:lnTo>
                  <a:lnTo>
                    <a:pt x="887" y="244"/>
                  </a:lnTo>
                  <a:lnTo>
                    <a:pt x="887" y="244"/>
                  </a:lnTo>
                  <a:lnTo>
                    <a:pt x="887" y="247"/>
                  </a:lnTo>
                  <a:lnTo>
                    <a:pt x="887" y="247"/>
                  </a:lnTo>
                  <a:lnTo>
                    <a:pt x="885" y="249"/>
                  </a:lnTo>
                  <a:lnTo>
                    <a:pt x="885" y="249"/>
                  </a:lnTo>
                  <a:lnTo>
                    <a:pt x="887" y="249"/>
                  </a:lnTo>
                  <a:lnTo>
                    <a:pt x="887" y="252"/>
                  </a:lnTo>
                  <a:lnTo>
                    <a:pt x="885" y="252"/>
                  </a:lnTo>
                  <a:lnTo>
                    <a:pt x="885" y="254"/>
                  </a:lnTo>
                  <a:lnTo>
                    <a:pt x="887" y="254"/>
                  </a:lnTo>
                  <a:lnTo>
                    <a:pt x="887" y="254"/>
                  </a:lnTo>
                  <a:lnTo>
                    <a:pt x="887" y="257"/>
                  </a:lnTo>
                  <a:lnTo>
                    <a:pt x="885" y="257"/>
                  </a:lnTo>
                  <a:lnTo>
                    <a:pt x="882" y="262"/>
                  </a:lnTo>
                  <a:lnTo>
                    <a:pt x="877" y="267"/>
                  </a:lnTo>
                  <a:lnTo>
                    <a:pt x="877" y="270"/>
                  </a:lnTo>
                  <a:lnTo>
                    <a:pt x="877" y="270"/>
                  </a:lnTo>
                  <a:lnTo>
                    <a:pt x="877" y="272"/>
                  </a:lnTo>
                  <a:lnTo>
                    <a:pt x="880" y="270"/>
                  </a:lnTo>
                  <a:lnTo>
                    <a:pt x="882" y="267"/>
                  </a:lnTo>
                  <a:lnTo>
                    <a:pt x="882" y="265"/>
                  </a:lnTo>
                  <a:lnTo>
                    <a:pt x="885" y="265"/>
                  </a:lnTo>
                  <a:lnTo>
                    <a:pt x="885" y="265"/>
                  </a:lnTo>
                  <a:lnTo>
                    <a:pt x="887" y="262"/>
                  </a:lnTo>
                  <a:lnTo>
                    <a:pt x="887" y="262"/>
                  </a:lnTo>
                  <a:lnTo>
                    <a:pt x="895" y="252"/>
                  </a:lnTo>
                  <a:lnTo>
                    <a:pt x="897" y="249"/>
                  </a:lnTo>
                  <a:lnTo>
                    <a:pt x="897" y="247"/>
                  </a:lnTo>
                  <a:lnTo>
                    <a:pt x="900" y="247"/>
                  </a:lnTo>
                  <a:lnTo>
                    <a:pt x="900" y="247"/>
                  </a:lnTo>
                  <a:lnTo>
                    <a:pt x="903" y="244"/>
                  </a:lnTo>
                  <a:lnTo>
                    <a:pt x="903" y="244"/>
                  </a:lnTo>
                  <a:lnTo>
                    <a:pt x="903" y="242"/>
                  </a:lnTo>
                  <a:lnTo>
                    <a:pt x="903" y="244"/>
                  </a:lnTo>
                  <a:lnTo>
                    <a:pt x="903" y="244"/>
                  </a:lnTo>
                  <a:lnTo>
                    <a:pt x="903" y="244"/>
                  </a:lnTo>
                  <a:lnTo>
                    <a:pt x="903" y="242"/>
                  </a:lnTo>
                  <a:lnTo>
                    <a:pt x="905" y="242"/>
                  </a:lnTo>
                  <a:lnTo>
                    <a:pt x="905" y="239"/>
                  </a:lnTo>
                  <a:lnTo>
                    <a:pt x="903" y="239"/>
                  </a:lnTo>
                  <a:lnTo>
                    <a:pt x="903" y="239"/>
                  </a:lnTo>
                  <a:lnTo>
                    <a:pt x="903" y="239"/>
                  </a:lnTo>
                  <a:lnTo>
                    <a:pt x="905" y="237"/>
                  </a:lnTo>
                  <a:lnTo>
                    <a:pt x="905" y="234"/>
                  </a:lnTo>
                  <a:lnTo>
                    <a:pt x="903" y="234"/>
                  </a:lnTo>
                  <a:lnTo>
                    <a:pt x="903" y="231"/>
                  </a:lnTo>
                  <a:lnTo>
                    <a:pt x="903" y="226"/>
                  </a:lnTo>
                  <a:lnTo>
                    <a:pt x="903" y="224"/>
                  </a:lnTo>
                  <a:lnTo>
                    <a:pt x="903" y="221"/>
                  </a:lnTo>
                  <a:lnTo>
                    <a:pt x="903" y="219"/>
                  </a:lnTo>
                  <a:lnTo>
                    <a:pt x="903" y="216"/>
                  </a:lnTo>
                  <a:lnTo>
                    <a:pt x="903" y="216"/>
                  </a:lnTo>
                  <a:lnTo>
                    <a:pt x="903" y="216"/>
                  </a:lnTo>
                  <a:lnTo>
                    <a:pt x="905" y="214"/>
                  </a:lnTo>
                  <a:lnTo>
                    <a:pt x="905" y="211"/>
                  </a:lnTo>
                  <a:lnTo>
                    <a:pt x="908" y="211"/>
                  </a:lnTo>
                  <a:lnTo>
                    <a:pt x="910" y="211"/>
                  </a:lnTo>
                  <a:lnTo>
                    <a:pt x="913" y="209"/>
                  </a:lnTo>
                  <a:lnTo>
                    <a:pt x="915" y="206"/>
                  </a:lnTo>
                  <a:lnTo>
                    <a:pt x="913" y="209"/>
                  </a:lnTo>
                  <a:lnTo>
                    <a:pt x="913" y="209"/>
                  </a:lnTo>
                  <a:lnTo>
                    <a:pt x="908" y="211"/>
                  </a:lnTo>
                  <a:lnTo>
                    <a:pt x="908" y="211"/>
                  </a:lnTo>
                  <a:lnTo>
                    <a:pt x="905" y="214"/>
                  </a:lnTo>
                  <a:lnTo>
                    <a:pt x="903" y="216"/>
                  </a:lnTo>
                  <a:lnTo>
                    <a:pt x="903" y="216"/>
                  </a:lnTo>
                  <a:lnTo>
                    <a:pt x="903" y="219"/>
                  </a:lnTo>
                  <a:lnTo>
                    <a:pt x="905" y="221"/>
                  </a:lnTo>
                  <a:lnTo>
                    <a:pt x="908" y="224"/>
                  </a:lnTo>
                  <a:lnTo>
                    <a:pt x="908" y="224"/>
                  </a:lnTo>
                  <a:lnTo>
                    <a:pt x="910" y="224"/>
                  </a:lnTo>
                  <a:lnTo>
                    <a:pt x="910" y="226"/>
                  </a:lnTo>
                  <a:lnTo>
                    <a:pt x="913" y="226"/>
                  </a:lnTo>
                  <a:lnTo>
                    <a:pt x="910" y="229"/>
                  </a:lnTo>
                  <a:lnTo>
                    <a:pt x="910" y="231"/>
                  </a:lnTo>
                  <a:lnTo>
                    <a:pt x="910" y="231"/>
                  </a:lnTo>
                  <a:lnTo>
                    <a:pt x="913" y="229"/>
                  </a:lnTo>
                  <a:lnTo>
                    <a:pt x="918" y="224"/>
                  </a:lnTo>
                  <a:lnTo>
                    <a:pt x="918" y="224"/>
                  </a:lnTo>
                  <a:lnTo>
                    <a:pt x="918" y="224"/>
                  </a:lnTo>
                  <a:lnTo>
                    <a:pt x="918" y="221"/>
                  </a:lnTo>
                  <a:lnTo>
                    <a:pt x="920" y="221"/>
                  </a:lnTo>
                  <a:lnTo>
                    <a:pt x="920" y="221"/>
                  </a:lnTo>
                  <a:lnTo>
                    <a:pt x="923" y="221"/>
                  </a:lnTo>
                  <a:lnTo>
                    <a:pt x="923" y="219"/>
                  </a:lnTo>
                  <a:lnTo>
                    <a:pt x="923" y="219"/>
                  </a:lnTo>
                  <a:lnTo>
                    <a:pt x="923" y="216"/>
                  </a:lnTo>
                  <a:lnTo>
                    <a:pt x="925" y="216"/>
                  </a:lnTo>
                  <a:lnTo>
                    <a:pt x="928" y="216"/>
                  </a:lnTo>
                  <a:lnTo>
                    <a:pt x="931" y="214"/>
                  </a:lnTo>
                  <a:lnTo>
                    <a:pt x="933" y="209"/>
                  </a:lnTo>
                  <a:lnTo>
                    <a:pt x="933" y="209"/>
                  </a:lnTo>
                  <a:lnTo>
                    <a:pt x="933" y="206"/>
                  </a:lnTo>
                  <a:lnTo>
                    <a:pt x="933" y="211"/>
                  </a:lnTo>
                  <a:lnTo>
                    <a:pt x="931" y="211"/>
                  </a:lnTo>
                  <a:lnTo>
                    <a:pt x="933" y="209"/>
                  </a:lnTo>
                  <a:lnTo>
                    <a:pt x="936" y="206"/>
                  </a:lnTo>
                  <a:lnTo>
                    <a:pt x="936" y="206"/>
                  </a:lnTo>
                  <a:lnTo>
                    <a:pt x="938" y="204"/>
                  </a:lnTo>
                  <a:lnTo>
                    <a:pt x="938" y="201"/>
                  </a:lnTo>
                  <a:lnTo>
                    <a:pt x="938" y="201"/>
                  </a:lnTo>
                  <a:lnTo>
                    <a:pt x="938" y="198"/>
                  </a:lnTo>
                  <a:lnTo>
                    <a:pt x="938" y="198"/>
                  </a:lnTo>
                  <a:lnTo>
                    <a:pt x="933" y="198"/>
                  </a:lnTo>
                  <a:lnTo>
                    <a:pt x="933" y="196"/>
                  </a:lnTo>
                  <a:lnTo>
                    <a:pt x="936" y="196"/>
                  </a:lnTo>
                  <a:lnTo>
                    <a:pt x="936" y="193"/>
                  </a:lnTo>
                  <a:lnTo>
                    <a:pt x="938" y="193"/>
                  </a:lnTo>
                  <a:lnTo>
                    <a:pt x="938" y="193"/>
                  </a:lnTo>
                  <a:lnTo>
                    <a:pt x="941" y="193"/>
                  </a:lnTo>
                  <a:lnTo>
                    <a:pt x="941" y="191"/>
                  </a:lnTo>
                  <a:lnTo>
                    <a:pt x="943" y="188"/>
                  </a:lnTo>
                  <a:lnTo>
                    <a:pt x="946" y="186"/>
                  </a:lnTo>
                  <a:lnTo>
                    <a:pt x="946" y="183"/>
                  </a:lnTo>
                  <a:lnTo>
                    <a:pt x="946" y="181"/>
                  </a:lnTo>
                  <a:lnTo>
                    <a:pt x="946" y="181"/>
                  </a:lnTo>
                  <a:lnTo>
                    <a:pt x="946" y="183"/>
                  </a:lnTo>
                  <a:lnTo>
                    <a:pt x="946" y="186"/>
                  </a:lnTo>
                  <a:lnTo>
                    <a:pt x="943" y="188"/>
                  </a:lnTo>
                  <a:lnTo>
                    <a:pt x="943" y="191"/>
                  </a:lnTo>
                  <a:lnTo>
                    <a:pt x="941" y="191"/>
                  </a:lnTo>
                  <a:lnTo>
                    <a:pt x="943" y="191"/>
                  </a:lnTo>
                  <a:lnTo>
                    <a:pt x="943" y="191"/>
                  </a:lnTo>
                  <a:lnTo>
                    <a:pt x="943" y="191"/>
                  </a:lnTo>
                  <a:lnTo>
                    <a:pt x="946" y="188"/>
                  </a:lnTo>
                  <a:lnTo>
                    <a:pt x="948" y="188"/>
                  </a:lnTo>
                  <a:lnTo>
                    <a:pt x="951" y="186"/>
                  </a:lnTo>
                  <a:lnTo>
                    <a:pt x="959" y="183"/>
                  </a:lnTo>
                  <a:lnTo>
                    <a:pt x="964" y="181"/>
                  </a:lnTo>
                  <a:lnTo>
                    <a:pt x="966" y="181"/>
                  </a:lnTo>
                  <a:lnTo>
                    <a:pt x="966" y="181"/>
                  </a:lnTo>
                  <a:lnTo>
                    <a:pt x="974" y="181"/>
                  </a:lnTo>
                  <a:lnTo>
                    <a:pt x="976" y="181"/>
                  </a:lnTo>
                  <a:lnTo>
                    <a:pt x="976" y="181"/>
                  </a:lnTo>
                  <a:lnTo>
                    <a:pt x="982" y="178"/>
                  </a:lnTo>
                  <a:lnTo>
                    <a:pt x="984" y="178"/>
                  </a:lnTo>
                  <a:lnTo>
                    <a:pt x="987" y="178"/>
                  </a:lnTo>
                  <a:lnTo>
                    <a:pt x="992" y="178"/>
                  </a:lnTo>
                  <a:lnTo>
                    <a:pt x="994" y="176"/>
                  </a:lnTo>
                  <a:lnTo>
                    <a:pt x="997" y="173"/>
                  </a:lnTo>
                  <a:lnTo>
                    <a:pt x="997" y="170"/>
                  </a:lnTo>
                  <a:lnTo>
                    <a:pt x="997" y="168"/>
                  </a:lnTo>
                  <a:lnTo>
                    <a:pt x="999" y="168"/>
                  </a:lnTo>
                  <a:lnTo>
                    <a:pt x="999" y="170"/>
                  </a:lnTo>
                  <a:lnTo>
                    <a:pt x="999" y="170"/>
                  </a:lnTo>
                  <a:lnTo>
                    <a:pt x="999" y="170"/>
                  </a:lnTo>
                  <a:lnTo>
                    <a:pt x="1002" y="170"/>
                  </a:lnTo>
                  <a:lnTo>
                    <a:pt x="1002" y="170"/>
                  </a:lnTo>
                  <a:lnTo>
                    <a:pt x="999" y="173"/>
                  </a:lnTo>
                  <a:lnTo>
                    <a:pt x="999" y="176"/>
                  </a:lnTo>
                  <a:lnTo>
                    <a:pt x="999" y="176"/>
                  </a:lnTo>
                  <a:lnTo>
                    <a:pt x="1002" y="176"/>
                  </a:lnTo>
                  <a:lnTo>
                    <a:pt x="1004" y="173"/>
                  </a:lnTo>
                  <a:lnTo>
                    <a:pt x="1010" y="170"/>
                  </a:lnTo>
                  <a:lnTo>
                    <a:pt x="1010" y="170"/>
                  </a:lnTo>
                  <a:lnTo>
                    <a:pt x="1010" y="173"/>
                  </a:lnTo>
                  <a:lnTo>
                    <a:pt x="1010" y="173"/>
                  </a:lnTo>
                  <a:lnTo>
                    <a:pt x="1010" y="176"/>
                  </a:lnTo>
                  <a:lnTo>
                    <a:pt x="1012" y="173"/>
                  </a:lnTo>
                  <a:lnTo>
                    <a:pt x="1015" y="173"/>
                  </a:lnTo>
                  <a:lnTo>
                    <a:pt x="1022" y="170"/>
                  </a:lnTo>
                  <a:lnTo>
                    <a:pt x="1022" y="170"/>
                  </a:lnTo>
                  <a:lnTo>
                    <a:pt x="1022" y="170"/>
                  </a:lnTo>
                  <a:lnTo>
                    <a:pt x="1025" y="170"/>
                  </a:lnTo>
                  <a:lnTo>
                    <a:pt x="1025" y="168"/>
                  </a:lnTo>
                  <a:lnTo>
                    <a:pt x="1025" y="165"/>
                  </a:lnTo>
                  <a:lnTo>
                    <a:pt x="1025" y="163"/>
                  </a:lnTo>
                  <a:lnTo>
                    <a:pt x="1022" y="163"/>
                  </a:lnTo>
                  <a:lnTo>
                    <a:pt x="1022" y="163"/>
                  </a:lnTo>
                  <a:lnTo>
                    <a:pt x="1022" y="163"/>
                  </a:lnTo>
                  <a:lnTo>
                    <a:pt x="1022" y="163"/>
                  </a:lnTo>
                  <a:lnTo>
                    <a:pt x="1022" y="163"/>
                  </a:lnTo>
                  <a:lnTo>
                    <a:pt x="1022" y="163"/>
                  </a:lnTo>
                  <a:lnTo>
                    <a:pt x="1022" y="163"/>
                  </a:lnTo>
                  <a:lnTo>
                    <a:pt x="1022" y="165"/>
                  </a:lnTo>
                  <a:lnTo>
                    <a:pt x="1025" y="168"/>
                  </a:lnTo>
                  <a:lnTo>
                    <a:pt x="1022" y="168"/>
                  </a:lnTo>
                  <a:lnTo>
                    <a:pt x="1020" y="170"/>
                  </a:lnTo>
                  <a:lnTo>
                    <a:pt x="1017" y="170"/>
                  </a:lnTo>
                  <a:lnTo>
                    <a:pt x="1015" y="170"/>
                  </a:lnTo>
                  <a:lnTo>
                    <a:pt x="1015" y="168"/>
                  </a:lnTo>
                  <a:lnTo>
                    <a:pt x="1015" y="165"/>
                  </a:lnTo>
                  <a:lnTo>
                    <a:pt x="1012" y="165"/>
                  </a:lnTo>
                  <a:lnTo>
                    <a:pt x="1012" y="163"/>
                  </a:lnTo>
                  <a:lnTo>
                    <a:pt x="1015" y="163"/>
                  </a:lnTo>
                  <a:lnTo>
                    <a:pt x="1012" y="160"/>
                  </a:lnTo>
                  <a:lnTo>
                    <a:pt x="1012" y="158"/>
                  </a:lnTo>
                  <a:lnTo>
                    <a:pt x="1010" y="158"/>
                  </a:lnTo>
                  <a:lnTo>
                    <a:pt x="1010" y="158"/>
                  </a:lnTo>
                  <a:lnTo>
                    <a:pt x="1012" y="155"/>
                  </a:lnTo>
                  <a:lnTo>
                    <a:pt x="1012" y="153"/>
                  </a:lnTo>
                  <a:lnTo>
                    <a:pt x="1015" y="153"/>
                  </a:lnTo>
                  <a:lnTo>
                    <a:pt x="1015" y="153"/>
                  </a:lnTo>
                  <a:lnTo>
                    <a:pt x="1017" y="150"/>
                  </a:lnTo>
                  <a:lnTo>
                    <a:pt x="1020" y="150"/>
                  </a:lnTo>
                  <a:lnTo>
                    <a:pt x="1020" y="150"/>
                  </a:lnTo>
                  <a:lnTo>
                    <a:pt x="1020" y="150"/>
                  </a:lnTo>
                  <a:lnTo>
                    <a:pt x="1020" y="150"/>
                  </a:lnTo>
                  <a:lnTo>
                    <a:pt x="1017" y="150"/>
                  </a:lnTo>
                  <a:lnTo>
                    <a:pt x="1017" y="150"/>
                  </a:lnTo>
                  <a:lnTo>
                    <a:pt x="1017" y="148"/>
                  </a:lnTo>
                  <a:lnTo>
                    <a:pt x="1017" y="148"/>
                  </a:lnTo>
                  <a:lnTo>
                    <a:pt x="1017" y="145"/>
                  </a:lnTo>
                  <a:lnTo>
                    <a:pt x="1020" y="142"/>
                  </a:lnTo>
                  <a:lnTo>
                    <a:pt x="1020" y="140"/>
                  </a:lnTo>
                  <a:lnTo>
                    <a:pt x="1022" y="140"/>
                  </a:lnTo>
                  <a:lnTo>
                    <a:pt x="1022" y="140"/>
                  </a:lnTo>
                  <a:lnTo>
                    <a:pt x="1027" y="135"/>
                  </a:lnTo>
                  <a:lnTo>
                    <a:pt x="1030" y="132"/>
                  </a:lnTo>
                  <a:lnTo>
                    <a:pt x="1035" y="127"/>
                  </a:lnTo>
                  <a:lnTo>
                    <a:pt x="1035" y="127"/>
                  </a:lnTo>
                  <a:lnTo>
                    <a:pt x="1035" y="127"/>
                  </a:lnTo>
                  <a:lnTo>
                    <a:pt x="1038" y="125"/>
                  </a:lnTo>
                  <a:lnTo>
                    <a:pt x="1040" y="125"/>
                  </a:lnTo>
                  <a:lnTo>
                    <a:pt x="1040" y="125"/>
                  </a:lnTo>
                  <a:lnTo>
                    <a:pt x="1040" y="125"/>
                  </a:lnTo>
                  <a:lnTo>
                    <a:pt x="1040" y="125"/>
                  </a:lnTo>
                  <a:lnTo>
                    <a:pt x="1040" y="125"/>
                  </a:lnTo>
                  <a:lnTo>
                    <a:pt x="1043" y="125"/>
                  </a:lnTo>
                  <a:lnTo>
                    <a:pt x="1043" y="125"/>
                  </a:lnTo>
                  <a:lnTo>
                    <a:pt x="1043" y="125"/>
                  </a:lnTo>
                  <a:lnTo>
                    <a:pt x="1043" y="125"/>
                  </a:lnTo>
                  <a:lnTo>
                    <a:pt x="1045" y="122"/>
                  </a:lnTo>
                  <a:lnTo>
                    <a:pt x="1045" y="122"/>
                  </a:lnTo>
                  <a:lnTo>
                    <a:pt x="1045" y="122"/>
                  </a:lnTo>
                  <a:lnTo>
                    <a:pt x="1045" y="122"/>
                  </a:lnTo>
                  <a:lnTo>
                    <a:pt x="1045" y="125"/>
                  </a:lnTo>
                  <a:lnTo>
                    <a:pt x="1048" y="122"/>
                  </a:lnTo>
                  <a:lnTo>
                    <a:pt x="1048" y="120"/>
                  </a:lnTo>
                  <a:lnTo>
                    <a:pt x="1048" y="122"/>
                  </a:lnTo>
                  <a:lnTo>
                    <a:pt x="1048" y="122"/>
                  </a:lnTo>
                  <a:lnTo>
                    <a:pt x="1048" y="122"/>
                  </a:lnTo>
                  <a:lnTo>
                    <a:pt x="1050" y="120"/>
                  </a:lnTo>
                  <a:lnTo>
                    <a:pt x="1050" y="122"/>
                  </a:lnTo>
                  <a:lnTo>
                    <a:pt x="1050" y="122"/>
                  </a:lnTo>
                  <a:lnTo>
                    <a:pt x="1050" y="122"/>
                  </a:lnTo>
                  <a:lnTo>
                    <a:pt x="1053" y="122"/>
                  </a:lnTo>
                  <a:lnTo>
                    <a:pt x="1053" y="120"/>
                  </a:lnTo>
                  <a:lnTo>
                    <a:pt x="1055" y="120"/>
                  </a:lnTo>
                  <a:lnTo>
                    <a:pt x="1058" y="120"/>
                  </a:lnTo>
                  <a:lnTo>
                    <a:pt x="1061" y="117"/>
                  </a:lnTo>
                  <a:lnTo>
                    <a:pt x="1061" y="117"/>
                  </a:lnTo>
                  <a:lnTo>
                    <a:pt x="1063" y="112"/>
                  </a:lnTo>
                  <a:lnTo>
                    <a:pt x="1063" y="112"/>
                  </a:lnTo>
                  <a:lnTo>
                    <a:pt x="1066" y="109"/>
                  </a:lnTo>
                  <a:lnTo>
                    <a:pt x="1068" y="109"/>
                  </a:lnTo>
                  <a:lnTo>
                    <a:pt x="1068" y="107"/>
                  </a:lnTo>
                  <a:lnTo>
                    <a:pt x="1068" y="109"/>
                  </a:lnTo>
                  <a:lnTo>
                    <a:pt x="1068" y="109"/>
                  </a:lnTo>
                  <a:lnTo>
                    <a:pt x="1068" y="109"/>
                  </a:lnTo>
                  <a:lnTo>
                    <a:pt x="1068" y="109"/>
                  </a:lnTo>
                  <a:lnTo>
                    <a:pt x="1068" y="109"/>
                  </a:lnTo>
                  <a:lnTo>
                    <a:pt x="1066" y="112"/>
                  </a:lnTo>
                  <a:lnTo>
                    <a:pt x="1066" y="112"/>
                  </a:lnTo>
                  <a:lnTo>
                    <a:pt x="1068" y="112"/>
                  </a:lnTo>
                  <a:lnTo>
                    <a:pt x="1071" y="114"/>
                  </a:lnTo>
                  <a:lnTo>
                    <a:pt x="1071" y="114"/>
                  </a:lnTo>
                  <a:lnTo>
                    <a:pt x="1071" y="114"/>
                  </a:lnTo>
                  <a:lnTo>
                    <a:pt x="1071" y="114"/>
                  </a:lnTo>
                  <a:lnTo>
                    <a:pt x="1071" y="112"/>
                  </a:lnTo>
                  <a:lnTo>
                    <a:pt x="1073" y="109"/>
                  </a:lnTo>
                  <a:lnTo>
                    <a:pt x="1073" y="109"/>
                  </a:lnTo>
                  <a:lnTo>
                    <a:pt x="1073" y="109"/>
                  </a:lnTo>
                  <a:lnTo>
                    <a:pt x="1076" y="109"/>
                  </a:lnTo>
                  <a:lnTo>
                    <a:pt x="1076" y="109"/>
                  </a:lnTo>
                  <a:lnTo>
                    <a:pt x="1078" y="109"/>
                  </a:lnTo>
                  <a:lnTo>
                    <a:pt x="1078" y="109"/>
                  </a:lnTo>
                  <a:lnTo>
                    <a:pt x="1078" y="109"/>
                  </a:lnTo>
                  <a:lnTo>
                    <a:pt x="1078" y="109"/>
                  </a:lnTo>
                  <a:lnTo>
                    <a:pt x="1081" y="109"/>
                  </a:lnTo>
                  <a:lnTo>
                    <a:pt x="1081" y="109"/>
                  </a:lnTo>
                  <a:lnTo>
                    <a:pt x="1081" y="112"/>
                  </a:lnTo>
                  <a:lnTo>
                    <a:pt x="1081" y="112"/>
                  </a:lnTo>
                  <a:lnTo>
                    <a:pt x="1081" y="112"/>
                  </a:lnTo>
                  <a:lnTo>
                    <a:pt x="1083" y="109"/>
                  </a:lnTo>
                  <a:lnTo>
                    <a:pt x="1083" y="109"/>
                  </a:lnTo>
                  <a:lnTo>
                    <a:pt x="1086" y="107"/>
                  </a:lnTo>
                  <a:lnTo>
                    <a:pt x="1086" y="107"/>
                  </a:lnTo>
                  <a:lnTo>
                    <a:pt x="1089" y="107"/>
                  </a:lnTo>
                  <a:lnTo>
                    <a:pt x="1089" y="107"/>
                  </a:lnTo>
                  <a:lnTo>
                    <a:pt x="1091" y="107"/>
                  </a:lnTo>
                  <a:lnTo>
                    <a:pt x="1091" y="107"/>
                  </a:lnTo>
                  <a:lnTo>
                    <a:pt x="1094" y="107"/>
                  </a:lnTo>
                  <a:lnTo>
                    <a:pt x="1096" y="104"/>
                  </a:lnTo>
                  <a:lnTo>
                    <a:pt x="1099" y="104"/>
                  </a:lnTo>
                  <a:lnTo>
                    <a:pt x="1104" y="102"/>
                  </a:lnTo>
                  <a:lnTo>
                    <a:pt x="1104" y="102"/>
                  </a:lnTo>
                  <a:lnTo>
                    <a:pt x="1104" y="102"/>
                  </a:lnTo>
                  <a:lnTo>
                    <a:pt x="1101" y="102"/>
                  </a:lnTo>
                  <a:lnTo>
                    <a:pt x="1101" y="99"/>
                  </a:lnTo>
                  <a:lnTo>
                    <a:pt x="1104" y="99"/>
                  </a:lnTo>
                  <a:lnTo>
                    <a:pt x="1104" y="94"/>
                  </a:lnTo>
                  <a:lnTo>
                    <a:pt x="1104" y="94"/>
                  </a:lnTo>
                  <a:lnTo>
                    <a:pt x="1104" y="92"/>
                  </a:lnTo>
                  <a:lnTo>
                    <a:pt x="1104" y="92"/>
                  </a:lnTo>
                  <a:lnTo>
                    <a:pt x="1101" y="92"/>
                  </a:lnTo>
                  <a:lnTo>
                    <a:pt x="1101" y="92"/>
                  </a:lnTo>
                  <a:lnTo>
                    <a:pt x="1101" y="92"/>
                  </a:lnTo>
                  <a:lnTo>
                    <a:pt x="1101" y="92"/>
                  </a:lnTo>
                  <a:lnTo>
                    <a:pt x="1101" y="94"/>
                  </a:lnTo>
                  <a:lnTo>
                    <a:pt x="1099" y="92"/>
                  </a:lnTo>
                  <a:lnTo>
                    <a:pt x="1099" y="92"/>
                  </a:lnTo>
                  <a:lnTo>
                    <a:pt x="1099" y="92"/>
                  </a:lnTo>
                  <a:lnTo>
                    <a:pt x="1099" y="92"/>
                  </a:lnTo>
                  <a:lnTo>
                    <a:pt x="1099" y="89"/>
                  </a:lnTo>
                  <a:lnTo>
                    <a:pt x="1099" y="89"/>
                  </a:lnTo>
                  <a:lnTo>
                    <a:pt x="1099" y="89"/>
                  </a:lnTo>
                  <a:lnTo>
                    <a:pt x="1099" y="86"/>
                  </a:lnTo>
                  <a:lnTo>
                    <a:pt x="1099" y="86"/>
                  </a:lnTo>
                  <a:lnTo>
                    <a:pt x="1099" y="86"/>
                  </a:lnTo>
                  <a:lnTo>
                    <a:pt x="1099" y="86"/>
                  </a:lnTo>
                  <a:lnTo>
                    <a:pt x="1101" y="84"/>
                  </a:lnTo>
                  <a:lnTo>
                    <a:pt x="1101" y="84"/>
                  </a:lnTo>
                  <a:lnTo>
                    <a:pt x="1101" y="84"/>
                  </a:lnTo>
                  <a:lnTo>
                    <a:pt x="1101" y="84"/>
                  </a:lnTo>
                  <a:lnTo>
                    <a:pt x="1101" y="84"/>
                  </a:lnTo>
                  <a:lnTo>
                    <a:pt x="1101" y="84"/>
                  </a:lnTo>
                  <a:lnTo>
                    <a:pt x="1099" y="84"/>
                  </a:lnTo>
                  <a:lnTo>
                    <a:pt x="1099" y="81"/>
                  </a:lnTo>
                  <a:lnTo>
                    <a:pt x="1099" y="81"/>
                  </a:lnTo>
                  <a:lnTo>
                    <a:pt x="1096" y="81"/>
                  </a:lnTo>
                  <a:lnTo>
                    <a:pt x="1096" y="81"/>
                  </a:lnTo>
                  <a:lnTo>
                    <a:pt x="1096" y="81"/>
                  </a:lnTo>
                  <a:lnTo>
                    <a:pt x="1096" y="81"/>
                  </a:lnTo>
                  <a:lnTo>
                    <a:pt x="1096" y="79"/>
                  </a:lnTo>
                  <a:lnTo>
                    <a:pt x="1096" y="79"/>
                  </a:lnTo>
                  <a:lnTo>
                    <a:pt x="1099" y="79"/>
                  </a:lnTo>
                  <a:lnTo>
                    <a:pt x="1099" y="79"/>
                  </a:lnTo>
                  <a:lnTo>
                    <a:pt x="1099" y="76"/>
                  </a:lnTo>
                  <a:lnTo>
                    <a:pt x="1099" y="76"/>
                  </a:lnTo>
                  <a:lnTo>
                    <a:pt x="1099" y="76"/>
                  </a:lnTo>
                  <a:lnTo>
                    <a:pt x="1099" y="76"/>
                  </a:lnTo>
                  <a:lnTo>
                    <a:pt x="1099" y="76"/>
                  </a:lnTo>
                  <a:lnTo>
                    <a:pt x="1099" y="74"/>
                  </a:lnTo>
                  <a:lnTo>
                    <a:pt x="1101" y="69"/>
                  </a:lnTo>
                  <a:lnTo>
                    <a:pt x="1101" y="66"/>
                  </a:lnTo>
                  <a:lnTo>
                    <a:pt x="1104" y="64"/>
                  </a:lnTo>
                  <a:lnTo>
                    <a:pt x="1104" y="61"/>
                  </a:lnTo>
                  <a:lnTo>
                    <a:pt x="1106" y="56"/>
                  </a:lnTo>
                  <a:lnTo>
                    <a:pt x="1106" y="53"/>
                  </a:lnTo>
                  <a:lnTo>
                    <a:pt x="1109" y="51"/>
                  </a:lnTo>
                  <a:lnTo>
                    <a:pt x="1106" y="48"/>
                  </a:lnTo>
                  <a:lnTo>
                    <a:pt x="1104" y="46"/>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133" name="Freeform 1751">
              <a:extLst>
                <a:ext uri="{FF2B5EF4-FFF2-40B4-BE49-F238E27FC236}">
                  <a16:creationId xmlns:a16="http://schemas.microsoft.com/office/drawing/2014/main" id="{B929E562-7EFE-714A-B188-BC13CD292421}"/>
                </a:ext>
              </a:extLst>
            </p:cNvPr>
            <p:cNvSpPr>
              <a:spLocks/>
            </p:cNvSpPr>
            <p:nvPr/>
          </p:nvSpPr>
          <p:spPr bwMode="auto">
            <a:xfrm>
              <a:off x="10798792" y="1882411"/>
              <a:ext cx="16357" cy="8179"/>
            </a:xfrm>
            <a:custGeom>
              <a:avLst/>
              <a:gdLst>
                <a:gd name="T0" fmla="*/ 8 w 10"/>
                <a:gd name="T1" fmla="*/ 3 h 5"/>
                <a:gd name="T2" fmla="*/ 8 w 10"/>
                <a:gd name="T3" fmla="*/ 0 h 5"/>
                <a:gd name="T4" fmla="*/ 8 w 10"/>
                <a:gd name="T5" fmla="*/ 0 h 5"/>
                <a:gd name="T6" fmla="*/ 5 w 10"/>
                <a:gd name="T7" fmla="*/ 0 h 5"/>
                <a:gd name="T8" fmla="*/ 5 w 10"/>
                <a:gd name="T9" fmla="*/ 0 h 5"/>
                <a:gd name="T10" fmla="*/ 5 w 10"/>
                <a:gd name="T11" fmla="*/ 0 h 5"/>
                <a:gd name="T12" fmla="*/ 5 w 10"/>
                <a:gd name="T13" fmla="*/ 0 h 5"/>
                <a:gd name="T14" fmla="*/ 5 w 10"/>
                <a:gd name="T15" fmla="*/ 3 h 5"/>
                <a:gd name="T16" fmla="*/ 5 w 10"/>
                <a:gd name="T17" fmla="*/ 3 h 5"/>
                <a:gd name="T18" fmla="*/ 0 w 10"/>
                <a:gd name="T19" fmla="*/ 5 h 5"/>
                <a:gd name="T20" fmla="*/ 0 w 10"/>
                <a:gd name="T21" fmla="*/ 5 h 5"/>
                <a:gd name="T22" fmla="*/ 2 w 10"/>
                <a:gd name="T23" fmla="*/ 5 h 5"/>
                <a:gd name="T24" fmla="*/ 2 w 10"/>
                <a:gd name="T25" fmla="*/ 5 h 5"/>
                <a:gd name="T26" fmla="*/ 5 w 10"/>
                <a:gd name="T27" fmla="*/ 5 h 5"/>
                <a:gd name="T28" fmla="*/ 5 w 10"/>
                <a:gd name="T29" fmla="*/ 5 h 5"/>
                <a:gd name="T30" fmla="*/ 8 w 10"/>
                <a:gd name="T31" fmla="*/ 5 h 5"/>
                <a:gd name="T32" fmla="*/ 10 w 10"/>
                <a:gd name="T33" fmla="*/ 5 h 5"/>
                <a:gd name="T34" fmla="*/ 10 w 10"/>
                <a:gd name="T35" fmla="*/ 5 h 5"/>
                <a:gd name="T36" fmla="*/ 8 w 10"/>
                <a:gd name="T37" fmla="*/ 3 h 5"/>
                <a:gd name="T38" fmla="*/ 8 w 10"/>
                <a:gd name="T39"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 h="5">
                  <a:moveTo>
                    <a:pt x="8" y="3"/>
                  </a:moveTo>
                  <a:lnTo>
                    <a:pt x="8" y="0"/>
                  </a:lnTo>
                  <a:lnTo>
                    <a:pt x="8" y="0"/>
                  </a:lnTo>
                  <a:lnTo>
                    <a:pt x="5" y="0"/>
                  </a:lnTo>
                  <a:lnTo>
                    <a:pt x="5" y="0"/>
                  </a:lnTo>
                  <a:lnTo>
                    <a:pt x="5" y="0"/>
                  </a:lnTo>
                  <a:lnTo>
                    <a:pt x="5" y="0"/>
                  </a:lnTo>
                  <a:lnTo>
                    <a:pt x="5" y="3"/>
                  </a:lnTo>
                  <a:lnTo>
                    <a:pt x="5" y="3"/>
                  </a:lnTo>
                  <a:lnTo>
                    <a:pt x="0" y="5"/>
                  </a:lnTo>
                  <a:lnTo>
                    <a:pt x="0" y="5"/>
                  </a:lnTo>
                  <a:lnTo>
                    <a:pt x="2" y="5"/>
                  </a:lnTo>
                  <a:lnTo>
                    <a:pt x="2" y="5"/>
                  </a:lnTo>
                  <a:lnTo>
                    <a:pt x="5" y="5"/>
                  </a:lnTo>
                  <a:lnTo>
                    <a:pt x="5" y="5"/>
                  </a:lnTo>
                  <a:lnTo>
                    <a:pt x="8" y="5"/>
                  </a:lnTo>
                  <a:lnTo>
                    <a:pt x="10" y="5"/>
                  </a:lnTo>
                  <a:lnTo>
                    <a:pt x="10" y="5"/>
                  </a:lnTo>
                  <a:lnTo>
                    <a:pt x="8" y="3"/>
                  </a:lnTo>
                  <a:lnTo>
                    <a:pt x="8" y="3"/>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134" name="Freeform 1752">
              <a:extLst>
                <a:ext uri="{FF2B5EF4-FFF2-40B4-BE49-F238E27FC236}">
                  <a16:creationId xmlns:a16="http://schemas.microsoft.com/office/drawing/2014/main" id="{0C1D7D0B-FE03-2C48-BFB5-E2A4A2ED5120}"/>
                </a:ext>
              </a:extLst>
            </p:cNvPr>
            <p:cNvSpPr>
              <a:spLocks/>
            </p:cNvSpPr>
            <p:nvPr/>
          </p:nvSpPr>
          <p:spPr bwMode="auto">
            <a:xfrm>
              <a:off x="2811489" y="2693737"/>
              <a:ext cx="3271" cy="4908"/>
            </a:xfrm>
            <a:custGeom>
              <a:avLst/>
              <a:gdLst>
                <a:gd name="T0" fmla="*/ 0 w 2"/>
                <a:gd name="T1" fmla="*/ 3 h 3"/>
                <a:gd name="T2" fmla="*/ 0 w 2"/>
                <a:gd name="T3" fmla="*/ 3 h 3"/>
                <a:gd name="T4" fmla="*/ 2 w 2"/>
                <a:gd name="T5" fmla="*/ 3 h 3"/>
                <a:gd name="T6" fmla="*/ 2 w 2"/>
                <a:gd name="T7" fmla="*/ 0 h 3"/>
                <a:gd name="T8" fmla="*/ 0 w 2"/>
                <a:gd name="T9" fmla="*/ 3 h 3"/>
                <a:gd name="T10" fmla="*/ 0 w 2"/>
                <a:gd name="T11" fmla="*/ 3 h 3"/>
              </a:gdLst>
              <a:ahLst/>
              <a:cxnLst>
                <a:cxn ang="0">
                  <a:pos x="T0" y="T1"/>
                </a:cxn>
                <a:cxn ang="0">
                  <a:pos x="T2" y="T3"/>
                </a:cxn>
                <a:cxn ang="0">
                  <a:pos x="T4" y="T5"/>
                </a:cxn>
                <a:cxn ang="0">
                  <a:pos x="T6" y="T7"/>
                </a:cxn>
                <a:cxn ang="0">
                  <a:pos x="T8" y="T9"/>
                </a:cxn>
                <a:cxn ang="0">
                  <a:pos x="T10" y="T11"/>
                </a:cxn>
              </a:cxnLst>
              <a:rect l="0" t="0" r="r" b="b"/>
              <a:pathLst>
                <a:path w="2" h="3">
                  <a:moveTo>
                    <a:pt x="0" y="3"/>
                  </a:moveTo>
                  <a:lnTo>
                    <a:pt x="0" y="3"/>
                  </a:lnTo>
                  <a:lnTo>
                    <a:pt x="2" y="3"/>
                  </a:lnTo>
                  <a:lnTo>
                    <a:pt x="2" y="0"/>
                  </a:lnTo>
                  <a:lnTo>
                    <a:pt x="0" y="3"/>
                  </a:lnTo>
                  <a:lnTo>
                    <a:pt x="0" y="3"/>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135" name="Freeform 1753">
              <a:extLst>
                <a:ext uri="{FF2B5EF4-FFF2-40B4-BE49-F238E27FC236}">
                  <a16:creationId xmlns:a16="http://schemas.microsoft.com/office/drawing/2014/main" id="{60608675-2B89-BE4E-8FAF-3CA51E8DD728}"/>
                </a:ext>
              </a:extLst>
            </p:cNvPr>
            <p:cNvSpPr>
              <a:spLocks/>
            </p:cNvSpPr>
            <p:nvPr/>
          </p:nvSpPr>
          <p:spPr bwMode="auto">
            <a:xfrm>
              <a:off x="2932534" y="2698643"/>
              <a:ext cx="11451" cy="3271"/>
            </a:xfrm>
            <a:custGeom>
              <a:avLst/>
              <a:gdLst>
                <a:gd name="T0" fmla="*/ 5 w 7"/>
                <a:gd name="T1" fmla="*/ 0 h 2"/>
                <a:gd name="T2" fmla="*/ 2 w 7"/>
                <a:gd name="T3" fmla="*/ 0 h 2"/>
                <a:gd name="T4" fmla="*/ 0 w 7"/>
                <a:gd name="T5" fmla="*/ 0 h 2"/>
                <a:gd name="T6" fmla="*/ 0 w 7"/>
                <a:gd name="T7" fmla="*/ 0 h 2"/>
                <a:gd name="T8" fmla="*/ 2 w 7"/>
                <a:gd name="T9" fmla="*/ 2 h 2"/>
                <a:gd name="T10" fmla="*/ 5 w 7"/>
                <a:gd name="T11" fmla="*/ 0 h 2"/>
                <a:gd name="T12" fmla="*/ 7 w 7"/>
                <a:gd name="T13" fmla="*/ 0 h 2"/>
                <a:gd name="T14" fmla="*/ 5 w 7"/>
                <a:gd name="T15" fmla="*/ 0 h 2"/>
                <a:gd name="T16" fmla="*/ 5 w 7"/>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 h="2">
                  <a:moveTo>
                    <a:pt x="5" y="0"/>
                  </a:moveTo>
                  <a:lnTo>
                    <a:pt x="2" y="0"/>
                  </a:lnTo>
                  <a:lnTo>
                    <a:pt x="0" y="0"/>
                  </a:lnTo>
                  <a:lnTo>
                    <a:pt x="0" y="0"/>
                  </a:lnTo>
                  <a:lnTo>
                    <a:pt x="2" y="2"/>
                  </a:lnTo>
                  <a:lnTo>
                    <a:pt x="5" y="0"/>
                  </a:lnTo>
                  <a:lnTo>
                    <a:pt x="7" y="0"/>
                  </a:lnTo>
                  <a:lnTo>
                    <a:pt x="5" y="0"/>
                  </a:lnTo>
                  <a:lnTo>
                    <a:pt x="5"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136" name="Freeform 1754">
              <a:extLst>
                <a:ext uri="{FF2B5EF4-FFF2-40B4-BE49-F238E27FC236}">
                  <a16:creationId xmlns:a16="http://schemas.microsoft.com/office/drawing/2014/main" id="{635ABA70-6AAE-F843-83DC-A6363683A125}"/>
                </a:ext>
              </a:extLst>
            </p:cNvPr>
            <p:cNvSpPr>
              <a:spLocks/>
            </p:cNvSpPr>
            <p:nvPr/>
          </p:nvSpPr>
          <p:spPr bwMode="auto">
            <a:xfrm>
              <a:off x="2824575" y="2677379"/>
              <a:ext cx="3271" cy="0"/>
            </a:xfrm>
            <a:custGeom>
              <a:avLst/>
              <a:gdLst>
                <a:gd name="T0" fmla="*/ 0 w 2"/>
                <a:gd name="T1" fmla="*/ 0 w 2"/>
                <a:gd name="T2" fmla="*/ 2 w 2"/>
                <a:gd name="T3" fmla="*/ 2 w 2"/>
                <a:gd name="T4" fmla="*/ 2 w 2"/>
                <a:gd name="T5" fmla="*/ 2 w 2"/>
                <a:gd name="T6" fmla="*/ 0 w 2"/>
              </a:gdLst>
              <a:ahLst/>
              <a:cxnLst>
                <a:cxn ang="0">
                  <a:pos x="T0" y="0"/>
                </a:cxn>
                <a:cxn ang="0">
                  <a:pos x="T1" y="0"/>
                </a:cxn>
                <a:cxn ang="0">
                  <a:pos x="T2" y="0"/>
                </a:cxn>
                <a:cxn ang="0">
                  <a:pos x="T3" y="0"/>
                </a:cxn>
                <a:cxn ang="0">
                  <a:pos x="T4" y="0"/>
                </a:cxn>
                <a:cxn ang="0">
                  <a:pos x="T5" y="0"/>
                </a:cxn>
                <a:cxn ang="0">
                  <a:pos x="T6" y="0"/>
                </a:cxn>
              </a:cxnLst>
              <a:rect l="0" t="0" r="r" b="b"/>
              <a:pathLst>
                <a:path w="2">
                  <a:moveTo>
                    <a:pt x="0" y="0"/>
                  </a:moveTo>
                  <a:lnTo>
                    <a:pt x="0" y="0"/>
                  </a:lnTo>
                  <a:lnTo>
                    <a:pt x="2" y="0"/>
                  </a:lnTo>
                  <a:lnTo>
                    <a:pt x="2" y="0"/>
                  </a:lnTo>
                  <a:lnTo>
                    <a:pt x="2" y="0"/>
                  </a:lnTo>
                  <a:lnTo>
                    <a:pt x="2" y="0"/>
                  </a:lnTo>
                  <a:lnTo>
                    <a:pt x="0"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137" name="Freeform 1755">
              <a:extLst>
                <a:ext uri="{FF2B5EF4-FFF2-40B4-BE49-F238E27FC236}">
                  <a16:creationId xmlns:a16="http://schemas.microsoft.com/office/drawing/2014/main" id="{7F985572-AADC-4946-A6EE-04CCCB1D3765}"/>
                </a:ext>
              </a:extLst>
            </p:cNvPr>
            <p:cNvSpPr>
              <a:spLocks/>
            </p:cNvSpPr>
            <p:nvPr/>
          </p:nvSpPr>
          <p:spPr bwMode="auto">
            <a:xfrm>
              <a:off x="2836026" y="2677379"/>
              <a:ext cx="8179" cy="0"/>
            </a:xfrm>
            <a:custGeom>
              <a:avLst/>
              <a:gdLst>
                <a:gd name="T0" fmla="*/ 3 w 5"/>
                <a:gd name="T1" fmla="*/ 0 w 5"/>
                <a:gd name="T2" fmla="*/ 0 w 5"/>
                <a:gd name="T3" fmla="*/ 3 w 5"/>
                <a:gd name="T4" fmla="*/ 5 w 5"/>
                <a:gd name="T5" fmla="*/ 5 w 5"/>
                <a:gd name="T6" fmla="*/ 3 w 5"/>
              </a:gdLst>
              <a:ahLst/>
              <a:cxnLst>
                <a:cxn ang="0">
                  <a:pos x="T0" y="0"/>
                </a:cxn>
                <a:cxn ang="0">
                  <a:pos x="T1" y="0"/>
                </a:cxn>
                <a:cxn ang="0">
                  <a:pos x="T2" y="0"/>
                </a:cxn>
                <a:cxn ang="0">
                  <a:pos x="T3" y="0"/>
                </a:cxn>
                <a:cxn ang="0">
                  <a:pos x="T4" y="0"/>
                </a:cxn>
                <a:cxn ang="0">
                  <a:pos x="T5" y="0"/>
                </a:cxn>
                <a:cxn ang="0">
                  <a:pos x="T6" y="0"/>
                </a:cxn>
              </a:cxnLst>
              <a:rect l="0" t="0" r="r" b="b"/>
              <a:pathLst>
                <a:path w="5">
                  <a:moveTo>
                    <a:pt x="3" y="0"/>
                  </a:moveTo>
                  <a:lnTo>
                    <a:pt x="0" y="0"/>
                  </a:lnTo>
                  <a:lnTo>
                    <a:pt x="0" y="0"/>
                  </a:lnTo>
                  <a:lnTo>
                    <a:pt x="3" y="0"/>
                  </a:lnTo>
                  <a:lnTo>
                    <a:pt x="5" y="0"/>
                  </a:lnTo>
                  <a:lnTo>
                    <a:pt x="5" y="0"/>
                  </a:lnTo>
                  <a:lnTo>
                    <a:pt x="3"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138" name="Freeform 1756">
              <a:extLst>
                <a:ext uri="{FF2B5EF4-FFF2-40B4-BE49-F238E27FC236}">
                  <a16:creationId xmlns:a16="http://schemas.microsoft.com/office/drawing/2014/main" id="{18E15970-3496-4949-97ED-B0AD3828F22C}"/>
                </a:ext>
              </a:extLst>
            </p:cNvPr>
            <p:cNvSpPr>
              <a:spLocks/>
            </p:cNvSpPr>
            <p:nvPr/>
          </p:nvSpPr>
          <p:spPr bwMode="auto">
            <a:xfrm>
              <a:off x="2814761" y="2685558"/>
              <a:ext cx="4908" cy="8179"/>
            </a:xfrm>
            <a:custGeom>
              <a:avLst/>
              <a:gdLst>
                <a:gd name="T0" fmla="*/ 3 w 3"/>
                <a:gd name="T1" fmla="*/ 3 h 5"/>
                <a:gd name="T2" fmla="*/ 0 w 3"/>
                <a:gd name="T3" fmla="*/ 5 h 5"/>
                <a:gd name="T4" fmla="*/ 0 w 3"/>
                <a:gd name="T5" fmla="*/ 5 h 5"/>
                <a:gd name="T6" fmla="*/ 3 w 3"/>
                <a:gd name="T7" fmla="*/ 3 h 5"/>
                <a:gd name="T8" fmla="*/ 3 w 3"/>
                <a:gd name="T9" fmla="*/ 0 h 5"/>
                <a:gd name="T10" fmla="*/ 3 w 3"/>
                <a:gd name="T11" fmla="*/ 0 h 5"/>
                <a:gd name="T12" fmla="*/ 3 w 3"/>
                <a:gd name="T13" fmla="*/ 3 h 5"/>
              </a:gdLst>
              <a:ahLst/>
              <a:cxnLst>
                <a:cxn ang="0">
                  <a:pos x="T0" y="T1"/>
                </a:cxn>
                <a:cxn ang="0">
                  <a:pos x="T2" y="T3"/>
                </a:cxn>
                <a:cxn ang="0">
                  <a:pos x="T4" y="T5"/>
                </a:cxn>
                <a:cxn ang="0">
                  <a:pos x="T6" y="T7"/>
                </a:cxn>
                <a:cxn ang="0">
                  <a:pos x="T8" y="T9"/>
                </a:cxn>
                <a:cxn ang="0">
                  <a:pos x="T10" y="T11"/>
                </a:cxn>
                <a:cxn ang="0">
                  <a:pos x="T12" y="T13"/>
                </a:cxn>
              </a:cxnLst>
              <a:rect l="0" t="0" r="r" b="b"/>
              <a:pathLst>
                <a:path w="3" h="5">
                  <a:moveTo>
                    <a:pt x="3" y="3"/>
                  </a:moveTo>
                  <a:lnTo>
                    <a:pt x="0" y="5"/>
                  </a:lnTo>
                  <a:lnTo>
                    <a:pt x="0" y="5"/>
                  </a:lnTo>
                  <a:lnTo>
                    <a:pt x="3" y="3"/>
                  </a:lnTo>
                  <a:lnTo>
                    <a:pt x="3" y="0"/>
                  </a:lnTo>
                  <a:lnTo>
                    <a:pt x="3" y="0"/>
                  </a:lnTo>
                  <a:lnTo>
                    <a:pt x="3" y="3"/>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139" name="Freeform 1757">
              <a:extLst>
                <a:ext uri="{FF2B5EF4-FFF2-40B4-BE49-F238E27FC236}">
                  <a16:creationId xmlns:a16="http://schemas.microsoft.com/office/drawing/2014/main" id="{F74791B7-173A-4F4D-B463-ED62E7F10265}"/>
                </a:ext>
              </a:extLst>
            </p:cNvPr>
            <p:cNvSpPr>
              <a:spLocks/>
            </p:cNvSpPr>
            <p:nvPr/>
          </p:nvSpPr>
          <p:spPr bwMode="auto">
            <a:xfrm>
              <a:off x="1918377" y="2572692"/>
              <a:ext cx="9814" cy="8179"/>
            </a:xfrm>
            <a:custGeom>
              <a:avLst/>
              <a:gdLst>
                <a:gd name="T0" fmla="*/ 3 w 6"/>
                <a:gd name="T1" fmla="*/ 3 h 5"/>
                <a:gd name="T2" fmla="*/ 3 w 6"/>
                <a:gd name="T3" fmla="*/ 0 h 5"/>
                <a:gd name="T4" fmla="*/ 0 w 6"/>
                <a:gd name="T5" fmla="*/ 0 h 5"/>
                <a:gd name="T6" fmla="*/ 3 w 6"/>
                <a:gd name="T7" fmla="*/ 3 h 5"/>
                <a:gd name="T8" fmla="*/ 3 w 6"/>
                <a:gd name="T9" fmla="*/ 5 h 5"/>
                <a:gd name="T10" fmla="*/ 3 w 6"/>
                <a:gd name="T11" fmla="*/ 5 h 5"/>
                <a:gd name="T12" fmla="*/ 6 w 6"/>
                <a:gd name="T13" fmla="*/ 5 h 5"/>
                <a:gd name="T14" fmla="*/ 3 w 6"/>
                <a:gd name="T15" fmla="*/ 5 h 5"/>
                <a:gd name="T16" fmla="*/ 3 w 6"/>
                <a:gd name="T17"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5">
                  <a:moveTo>
                    <a:pt x="3" y="3"/>
                  </a:moveTo>
                  <a:lnTo>
                    <a:pt x="3" y="0"/>
                  </a:lnTo>
                  <a:lnTo>
                    <a:pt x="0" y="0"/>
                  </a:lnTo>
                  <a:lnTo>
                    <a:pt x="3" y="3"/>
                  </a:lnTo>
                  <a:lnTo>
                    <a:pt x="3" y="5"/>
                  </a:lnTo>
                  <a:lnTo>
                    <a:pt x="3" y="5"/>
                  </a:lnTo>
                  <a:lnTo>
                    <a:pt x="6" y="5"/>
                  </a:lnTo>
                  <a:lnTo>
                    <a:pt x="3" y="5"/>
                  </a:lnTo>
                  <a:lnTo>
                    <a:pt x="3" y="3"/>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140" name="Freeform 1758">
              <a:extLst>
                <a:ext uri="{FF2B5EF4-FFF2-40B4-BE49-F238E27FC236}">
                  <a16:creationId xmlns:a16="http://schemas.microsoft.com/office/drawing/2014/main" id="{9E8370E1-1E3B-704E-B462-A671F99750A2}"/>
                </a:ext>
              </a:extLst>
            </p:cNvPr>
            <p:cNvSpPr>
              <a:spLocks/>
            </p:cNvSpPr>
            <p:nvPr/>
          </p:nvSpPr>
          <p:spPr bwMode="auto">
            <a:xfrm>
              <a:off x="2999600" y="2809873"/>
              <a:ext cx="3271" cy="4908"/>
            </a:xfrm>
            <a:custGeom>
              <a:avLst/>
              <a:gdLst>
                <a:gd name="T0" fmla="*/ 2 w 2"/>
                <a:gd name="T1" fmla="*/ 3 h 3"/>
                <a:gd name="T2" fmla="*/ 2 w 2"/>
                <a:gd name="T3" fmla="*/ 0 h 3"/>
                <a:gd name="T4" fmla="*/ 0 w 2"/>
                <a:gd name="T5" fmla="*/ 0 h 3"/>
                <a:gd name="T6" fmla="*/ 0 w 2"/>
                <a:gd name="T7" fmla="*/ 3 h 3"/>
                <a:gd name="T8" fmla="*/ 2 w 2"/>
                <a:gd name="T9" fmla="*/ 3 h 3"/>
                <a:gd name="T10" fmla="*/ 2 w 2"/>
                <a:gd name="T11" fmla="*/ 3 h 3"/>
              </a:gdLst>
              <a:ahLst/>
              <a:cxnLst>
                <a:cxn ang="0">
                  <a:pos x="T0" y="T1"/>
                </a:cxn>
                <a:cxn ang="0">
                  <a:pos x="T2" y="T3"/>
                </a:cxn>
                <a:cxn ang="0">
                  <a:pos x="T4" y="T5"/>
                </a:cxn>
                <a:cxn ang="0">
                  <a:pos x="T6" y="T7"/>
                </a:cxn>
                <a:cxn ang="0">
                  <a:pos x="T8" y="T9"/>
                </a:cxn>
                <a:cxn ang="0">
                  <a:pos x="T10" y="T11"/>
                </a:cxn>
              </a:cxnLst>
              <a:rect l="0" t="0" r="r" b="b"/>
              <a:pathLst>
                <a:path w="2" h="3">
                  <a:moveTo>
                    <a:pt x="2" y="3"/>
                  </a:moveTo>
                  <a:lnTo>
                    <a:pt x="2" y="0"/>
                  </a:lnTo>
                  <a:lnTo>
                    <a:pt x="0" y="0"/>
                  </a:lnTo>
                  <a:lnTo>
                    <a:pt x="0" y="3"/>
                  </a:lnTo>
                  <a:lnTo>
                    <a:pt x="2" y="3"/>
                  </a:lnTo>
                  <a:lnTo>
                    <a:pt x="2" y="3"/>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141" name="Freeform 1759">
              <a:extLst>
                <a:ext uri="{FF2B5EF4-FFF2-40B4-BE49-F238E27FC236}">
                  <a16:creationId xmlns:a16="http://schemas.microsoft.com/office/drawing/2014/main" id="{9F664027-6445-784B-B1AF-7AD9636EB9F7}"/>
                </a:ext>
              </a:extLst>
            </p:cNvPr>
            <p:cNvSpPr>
              <a:spLocks/>
            </p:cNvSpPr>
            <p:nvPr/>
          </p:nvSpPr>
          <p:spPr bwMode="auto">
            <a:xfrm>
              <a:off x="2999600" y="2814781"/>
              <a:ext cx="3271" cy="3271"/>
            </a:xfrm>
            <a:custGeom>
              <a:avLst/>
              <a:gdLst>
                <a:gd name="T0" fmla="*/ 0 w 2"/>
                <a:gd name="T1" fmla="*/ 2 h 2"/>
                <a:gd name="T2" fmla="*/ 0 w 2"/>
                <a:gd name="T3" fmla="*/ 0 h 2"/>
                <a:gd name="T4" fmla="*/ 0 w 2"/>
                <a:gd name="T5" fmla="*/ 2 h 2"/>
                <a:gd name="T6" fmla="*/ 0 w 2"/>
                <a:gd name="T7" fmla="*/ 2 h 2"/>
                <a:gd name="T8" fmla="*/ 2 w 2"/>
                <a:gd name="T9" fmla="*/ 2 h 2"/>
                <a:gd name="T10" fmla="*/ 2 w 2"/>
                <a:gd name="T11" fmla="*/ 2 h 2"/>
                <a:gd name="T12" fmla="*/ 0 w 2"/>
                <a:gd name="T13" fmla="*/ 2 h 2"/>
                <a:gd name="T14" fmla="*/ 0 w 2"/>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2">
                  <a:moveTo>
                    <a:pt x="0" y="2"/>
                  </a:moveTo>
                  <a:lnTo>
                    <a:pt x="0" y="0"/>
                  </a:lnTo>
                  <a:lnTo>
                    <a:pt x="0" y="2"/>
                  </a:lnTo>
                  <a:lnTo>
                    <a:pt x="0" y="2"/>
                  </a:lnTo>
                  <a:lnTo>
                    <a:pt x="2" y="2"/>
                  </a:lnTo>
                  <a:lnTo>
                    <a:pt x="2" y="2"/>
                  </a:lnTo>
                  <a:lnTo>
                    <a:pt x="0" y="2"/>
                  </a:lnTo>
                  <a:lnTo>
                    <a:pt x="0" y="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142" name="Freeform 1760">
              <a:extLst>
                <a:ext uri="{FF2B5EF4-FFF2-40B4-BE49-F238E27FC236}">
                  <a16:creationId xmlns:a16="http://schemas.microsoft.com/office/drawing/2014/main" id="{1A946FC8-303F-7D4F-92F3-ED9CE10698A6}"/>
                </a:ext>
              </a:extLst>
            </p:cNvPr>
            <p:cNvSpPr>
              <a:spLocks/>
            </p:cNvSpPr>
            <p:nvPr/>
          </p:nvSpPr>
          <p:spPr bwMode="auto">
            <a:xfrm>
              <a:off x="3619543" y="2152307"/>
              <a:ext cx="8179" cy="8179"/>
            </a:xfrm>
            <a:custGeom>
              <a:avLst/>
              <a:gdLst>
                <a:gd name="T0" fmla="*/ 3 w 5"/>
                <a:gd name="T1" fmla="*/ 0 h 5"/>
                <a:gd name="T2" fmla="*/ 3 w 5"/>
                <a:gd name="T3" fmla="*/ 3 h 5"/>
                <a:gd name="T4" fmla="*/ 0 w 5"/>
                <a:gd name="T5" fmla="*/ 3 h 5"/>
                <a:gd name="T6" fmla="*/ 0 w 5"/>
                <a:gd name="T7" fmla="*/ 5 h 5"/>
                <a:gd name="T8" fmla="*/ 0 w 5"/>
                <a:gd name="T9" fmla="*/ 5 h 5"/>
                <a:gd name="T10" fmla="*/ 0 w 5"/>
                <a:gd name="T11" fmla="*/ 5 h 5"/>
                <a:gd name="T12" fmla="*/ 3 w 5"/>
                <a:gd name="T13" fmla="*/ 5 h 5"/>
                <a:gd name="T14" fmla="*/ 3 w 5"/>
                <a:gd name="T15" fmla="*/ 3 h 5"/>
                <a:gd name="T16" fmla="*/ 3 w 5"/>
                <a:gd name="T17" fmla="*/ 5 h 5"/>
                <a:gd name="T18" fmla="*/ 5 w 5"/>
                <a:gd name="T19" fmla="*/ 3 h 5"/>
                <a:gd name="T20" fmla="*/ 5 w 5"/>
                <a:gd name="T21" fmla="*/ 3 h 5"/>
                <a:gd name="T22" fmla="*/ 5 w 5"/>
                <a:gd name="T23" fmla="*/ 0 h 5"/>
                <a:gd name="T24" fmla="*/ 3 w 5"/>
                <a:gd name="T25"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 h="5">
                  <a:moveTo>
                    <a:pt x="3" y="0"/>
                  </a:moveTo>
                  <a:lnTo>
                    <a:pt x="3" y="3"/>
                  </a:lnTo>
                  <a:lnTo>
                    <a:pt x="0" y="3"/>
                  </a:lnTo>
                  <a:lnTo>
                    <a:pt x="0" y="5"/>
                  </a:lnTo>
                  <a:lnTo>
                    <a:pt x="0" y="5"/>
                  </a:lnTo>
                  <a:lnTo>
                    <a:pt x="0" y="5"/>
                  </a:lnTo>
                  <a:lnTo>
                    <a:pt x="3" y="5"/>
                  </a:lnTo>
                  <a:lnTo>
                    <a:pt x="3" y="3"/>
                  </a:lnTo>
                  <a:lnTo>
                    <a:pt x="3" y="5"/>
                  </a:lnTo>
                  <a:lnTo>
                    <a:pt x="5" y="3"/>
                  </a:lnTo>
                  <a:lnTo>
                    <a:pt x="5" y="3"/>
                  </a:lnTo>
                  <a:lnTo>
                    <a:pt x="5" y="0"/>
                  </a:lnTo>
                  <a:lnTo>
                    <a:pt x="3"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143" name="Freeform 1761">
              <a:extLst>
                <a:ext uri="{FF2B5EF4-FFF2-40B4-BE49-F238E27FC236}">
                  <a16:creationId xmlns:a16="http://schemas.microsoft.com/office/drawing/2014/main" id="{69CC1A10-1DBC-F44D-A564-4A966D53560A}"/>
                </a:ext>
              </a:extLst>
            </p:cNvPr>
            <p:cNvSpPr>
              <a:spLocks/>
            </p:cNvSpPr>
            <p:nvPr/>
          </p:nvSpPr>
          <p:spPr bwMode="auto">
            <a:xfrm>
              <a:off x="2536686" y="2755895"/>
              <a:ext cx="8179" cy="8179"/>
            </a:xfrm>
            <a:custGeom>
              <a:avLst/>
              <a:gdLst>
                <a:gd name="T0" fmla="*/ 5 w 5"/>
                <a:gd name="T1" fmla="*/ 0 h 5"/>
                <a:gd name="T2" fmla="*/ 2 w 5"/>
                <a:gd name="T3" fmla="*/ 3 h 5"/>
                <a:gd name="T4" fmla="*/ 2 w 5"/>
                <a:gd name="T5" fmla="*/ 3 h 5"/>
                <a:gd name="T6" fmla="*/ 0 w 5"/>
                <a:gd name="T7" fmla="*/ 5 h 5"/>
                <a:gd name="T8" fmla="*/ 2 w 5"/>
                <a:gd name="T9" fmla="*/ 5 h 5"/>
                <a:gd name="T10" fmla="*/ 5 w 5"/>
                <a:gd name="T11" fmla="*/ 3 h 5"/>
                <a:gd name="T12" fmla="*/ 5 w 5"/>
                <a:gd name="T13" fmla="*/ 0 h 5"/>
                <a:gd name="T14" fmla="*/ 5 w 5"/>
                <a:gd name="T15" fmla="*/ 0 h 5"/>
                <a:gd name="T16" fmla="*/ 5 w 5"/>
                <a:gd name="T1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5">
                  <a:moveTo>
                    <a:pt x="5" y="0"/>
                  </a:moveTo>
                  <a:lnTo>
                    <a:pt x="2" y="3"/>
                  </a:lnTo>
                  <a:lnTo>
                    <a:pt x="2" y="3"/>
                  </a:lnTo>
                  <a:lnTo>
                    <a:pt x="0" y="5"/>
                  </a:lnTo>
                  <a:lnTo>
                    <a:pt x="2" y="5"/>
                  </a:lnTo>
                  <a:lnTo>
                    <a:pt x="5" y="3"/>
                  </a:lnTo>
                  <a:lnTo>
                    <a:pt x="5" y="0"/>
                  </a:lnTo>
                  <a:lnTo>
                    <a:pt x="5" y="0"/>
                  </a:lnTo>
                  <a:lnTo>
                    <a:pt x="5"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144" name="Freeform 1762">
              <a:extLst>
                <a:ext uri="{FF2B5EF4-FFF2-40B4-BE49-F238E27FC236}">
                  <a16:creationId xmlns:a16="http://schemas.microsoft.com/office/drawing/2014/main" id="{1ADA78FA-EC8E-CF45-A49D-0514D8716575}"/>
                </a:ext>
              </a:extLst>
            </p:cNvPr>
            <p:cNvSpPr>
              <a:spLocks/>
            </p:cNvSpPr>
            <p:nvPr/>
          </p:nvSpPr>
          <p:spPr bwMode="auto">
            <a:xfrm>
              <a:off x="2518693" y="2768981"/>
              <a:ext cx="17994" cy="21265"/>
            </a:xfrm>
            <a:custGeom>
              <a:avLst/>
              <a:gdLst>
                <a:gd name="T0" fmla="*/ 6 w 11"/>
                <a:gd name="T1" fmla="*/ 5 h 13"/>
                <a:gd name="T2" fmla="*/ 3 w 11"/>
                <a:gd name="T3" fmla="*/ 10 h 13"/>
                <a:gd name="T4" fmla="*/ 0 w 11"/>
                <a:gd name="T5" fmla="*/ 13 h 13"/>
                <a:gd name="T6" fmla="*/ 3 w 11"/>
                <a:gd name="T7" fmla="*/ 10 h 13"/>
                <a:gd name="T8" fmla="*/ 6 w 11"/>
                <a:gd name="T9" fmla="*/ 5 h 13"/>
                <a:gd name="T10" fmla="*/ 11 w 11"/>
                <a:gd name="T11" fmla="*/ 0 h 13"/>
                <a:gd name="T12" fmla="*/ 8 w 11"/>
                <a:gd name="T13" fmla="*/ 0 h 13"/>
                <a:gd name="T14" fmla="*/ 6 w 11"/>
                <a:gd name="T15" fmla="*/ 5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13">
                  <a:moveTo>
                    <a:pt x="6" y="5"/>
                  </a:moveTo>
                  <a:lnTo>
                    <a:pt x="3" y="10"/>
                  </a:lnTo>
                  <a:lnTo>
                    <a:pt x="0" y="13"/>
                  </a:lnTo>
                  <a:lnTo>
                    <a:pt x="3" y="10"/>
                  </a:lnTo>
                  <a:lnTo>
                    <a:pt x="6" y="5"/>
                  </a:lnTo>
                  <a:lnTo>
                    <a:pt x="11" y="0"/>
                  </a:lnTo>
                  <a:lnTo>
                    <a:pt x="8" y="0"/>
                  </a:lnTo>
                  <a:lnTo>
                    <a:pt x="6" y="5"/>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145" name="Freeform 1763">
              <a:extLst>
                <a:ext uri="{FF2B5EF4-FFF2-40B4-BE49-F238E27FC236}">
                  <a16:creationId xmlns:a16="http://schemas.microsoft.com/office/drawing/2014/main" id="{980FCE88-B81D-3D40-A27F-DD4C0C87B53B}"/>
                </a:ext>
              </a:extLst>
            </p:cNvPr>
            <p:cNvSpPr>
              <a:spLocks/>
            </p:cNvSpPr>
            <p:nvPr/>
          </p:nvSpPr>
          <p:spPr bwMode="auto">
            <a:xfrm>
              <a:off x="2515422" y="2790245"/>
              <a:ext cx="3271" cy="40894"/>
            </a:xfrm>
            <a:custGeom>
              <a:avLst/>
              <a:gdLst>
                <a:gd name="T0" fmla="*/ 2 w 2"/>
                <a:gd name="T1" fmla="*/ 2 h 25"/>
                <a:gd name="T2" fmla="*/ 0 w 2"/>
                <a:gd name="T3" fmla="*/ 10 h 25"/>
                <a:gd name="T4" fmla="*/ 0 w 2"/>
                <a:gd name="T5" fmla="*/ 20 h 25"/>
                <a:gd name="T6" fmla="*/ 0 w 2"/>
                <a:gd name="T7" fmla="*/ 25 h 25"/>
                <a:gd name="T8" fmla="*/ 2 w 2"/>
                <a:gd name="T9" fmla="*/ 23 h 25"/>
                <a:gd name="T10" fmla="*/ 2 w 2"/>
                <a:gd name="T11" fmla="*/ 20 h 25"/>
                <a:gd name="T12" fmla="*/ 2 w 2"/>
                <a:gd name="T13" fmla="*/ 10 h 25"/>
                <a:gd name="T14" fmla="*/ 2 w 2"/>
                <a:gd name="T15" fmla="*/ 0 h 25"/>
                <a:gd name="T16" fmla="*/ 2 w 2"/>
                <a:gd name="T17" fmla="*/ 2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25">
                  <a:moveTo>
                    <a:pt x="2" y="2"/>
                  </a:moveTo>
                  <a:lnTo>
                    <a:pt x="0" y="10"/>
                  </a:lnTo>
                  <a:lnTo>
                    <a:pt x="0" y="20"/>
                  </a:lnTo>
                  <a:lnTo>
                    <a:pt x="0" y="25"/>
                  </a:lnTo>
                  <a:lnTo>
                    <a:pt x="2" y="23"/>
                  </a:lnTo>
                  <a:lnTo>
                    <a:pt x="2" y="20"/>
                  </a:lnTo>
                  <a:lnTo>
                    <a:pt x="2" y="10"/>
                  </a:lnTo>
                  <a:lnTo>
                    <a:pt x="2" y="0"/>
                  </a:lnTo>
                  <a:lnTo>
                    <a:pt x="2" y="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146" name="Freeform 1764">
              <a:extLst>
                <a:ext uri="{FF2B5EF4-FFF2-40B4-BE49-F238E27FC236}">
                  <a16:creationId xmlns:a16="http://schemas.microsoft.com/office/drawing/2014/main" id="{5C6048BF-45E6-ED42-B641-EAA3FBBBDCB1}"/>
                </a:ext>
              </a:extLst>
            </p:cNvPr>
            <p:cNvSpPr>
              <a:spLocks/>
            </p:cNvSpPr>
            <p:nvPr/>
          </p:nvSpPr>
          <p:spPr bwMode="auto">
            <a:xfrm>
              <a:off x="2803311" y="2682286"/>
              <a:ext cx="3271" cy="3271"/>
            </a:xfrm>
            <a:custGeom>
              <a:avLst/>
              <a:gdLst>
                <a:gd name="T0" fmla="*/ 0 w 2"/>
                <a:gd name="T1" fmla="*/ 0 h 2"/>
                <a:gd name="T2" fmla="*/ 0 w 2"/>
                <a:gd name="T3" fmla="*/ 0 h 2"/>
                <a:gd name="T4" fmla="*/ 0 w 2"/>
                <a:gd name="T5" fmla="*/ 2 h 2"/>
                <a:gd name="T6" fmla="*/ 0 w 2"/>
                <a:gd name="T7" fmla="*/ 2 h 2"/>
                <a:gd name="T8" fmla="*/ 2 w 2"/>
                <a:gd name="T9" fmla="*/ 2 h 2"/>
                <a:gd name="T10" fmla="*/ 2 w 2"/>
                <a:gd name="T11" fmla="*/ 0 h 2"/>
                <a:gd name="T12" fmla="*/ 2 w 2"/>
                <a:gd name="T13" fmla="*/ 0 h 2"/>
                <a:gd name="T14" fmla="*/ 2 w 2"/>
                <a:gd name="T15" fmla="*/ 0 h 2"/>
                <a:gd name="T16" fmla="*/ 2 w 2"/>
                <a:gd name="T17" fmla="*/ 0 h 2"/>
                <a:gd name="T18" fmla="*/ 0 w 2"/>
                <a:gd name="T1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2">
                  <a:moveTo>
                    <a:pt x="0" y="0"/>
                  </a:moveTo>
                  <a:lnTo>
                    <a:pt x="0" y="0"/>
                  </a:lnTo>
                  <a:lnTo>
                    <a:pt x="0" y="2"/>
                  </a:lnTo>
                  <a:lnTo>
                    <a:pt x="0" y="2"/>
                  </a:lnTo>
                  <a:lnTo>
                    <a:pt x="2" y="2"/>
                  </a:lnTo>
                  <a:lnTo>
                    <a:pt x="2" y="0"/>
                  </a:lnTo>
                  <a:lnTo>
                    <a:pt x="2" y="0"/>
                  </a:lnTo>
                  <a:lnTo>
                    <a:pt x="2" y="0"/>
                  </a:lnTo>
                  <a:lnTo>
                    <a:pt x="2" y="0"/>
                  </a:lnTo>
                  <a:lnTo>
                    <a:pt x="0"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147" name="Freeform 1765">
              <a:extLst>
                <a:ext uri="{FF2B5EF4-FFF2-40B4-BE49-F238E27FC236}">
                  <a16:creationId xmlns:a16="http://schemas.microsoft.com/office/drawing/2014/main" id="{FF6E3285-4B9D-3647-BD54-6EEF65D41B54}"/>
                </a:ext>
              </a:extLst>
            </p:cNvPr>
            <p:cNvSpPr>
              <a:spLocks/>
            </p:cNvSpPr>
            <p:nvPr/>
          </p:nvSpPr>
          <p:spPr bwMode="auto">
            <a:xfrm>
              <a:off x="1928192" y="2556335"/>
              <a:ext cx="8179" cy="8179"/>
            </a:xfrm>
            <a:custGeom>
              <a:avLst/>
              <a:gdLst>
                <a:gd name="T0" fmla="*/ 2 w 5"/>
                <a:gd name="T1" fmla="*/ 3 h 5"/>
                <a:gd name="T2" fmla="*/ 0 w 5"/>
                <a:gd name="T3" fmla="*/ 0 h 5"/>
                <a:gd name="T4" fmla="*/ 0 w 5"/>
                <a:gd name="T5" fmla="*/ 0 h 5"/>
                <a:gd name="T6" fmla="*/ 0 w 5"/>
                <a:gd name="T7" fmla="*/ 3 h 5"/>
                <a:gd name="T8" fmla="*/ 0 w 5"/>
                <a:gd name="T9" fmla="*/ 3 h 5"/>
                <a:gd name="T10" fmla="*/ 2 w 5"/>
                <a:gd name="T11" fmla="*/ 3 h 5"/>
                <a:gd name="T12" fmla="*/ 2 w 5"/>
                <a:gd name="T13" fmla="*/ 3 h 5"/>
                <a:gd name="T14" fmla="*/ 2 w 5"/>
                <a:gd name="T15" fmla="*/ 3 h 5"/>
                <a:gd name="T16" fmla="*/ 2 w 5"/>
                <a:gd name="T17" fmla="*/ 5 h 5"/>
                <a:gd name="T18" fmla="*/ 2 w 5"/>
                <a:gd name="T19" fmla="*/ 5 h 5"/>
                <a:gd name="T20" fmla="*/ 5 w 5"/>
                <a:gd name="T21" fmla="*/ 5 h 5"/>
                <a:gd name="T22" fmla="*/ 5 w 5"/>
                <a:gd name="T23" fmla="*/ 3 h 5"/>
                <a:gd name="T24" fmla="*/ 2 w 5"/>
                <a:gd name="T25"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 h="5">
                  <a:moveTo>
                    <a:pt x="2" y="3"/>
                  </a:moveTo>
                  <a:lnTo>
                    <a:pt x="0" y="0"/>
                  </a:lnTo>
                  <a:lnTo>
                    <a:pt x="0" y="0"/>
                  </a:lnTo>
                  <a:lnTo>
                    <a:pt x="0" y="3"/>
                  </a:lnTo>
                  <a:lnTo>
                    <a:pt x="0" y="3"/>
                  </a:lnTo>
                  <a:lnTo>
                    <a:pt x="2" y="3"/>
                  </a:lnTo>
                  <a:lnTo>
                    <a:pt x="2" y="3"/>
                  </a:lnTo>
                  <a:lnTo>
                    <a:pt x="2" y="3"/>
                  </a:lnTo>
                  <a:lnTo>
                    <a:pt x="2" y="5"/>
                  </a:lnTo>
                  <a:lnTo>
                    <a:pt x="2" y="5"/>
                  </a:lnTo>
                  <a:lnTo>
                    <a:pt x="5" y="5"/>
                  </a:lnTo>
                  <a:lnTo>
                    <a:pt x="5" y="3"/>
                  </a:lnTo>
                  <a:lnTo>
                    <a:pt x="2" y="3"/>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148" name="Freeform 1766">
              <a:extLst>
                <a:ext uri="{FF2B5EF4-FFF2-40B4-BE49-F238E27FC236}">
                  <a16:creationId xmlns:a16="http://schemas.microsoft.com/office/drawing/2014/main" id="{136BF1B3-F607-B94D-A898-34CB67EDECBC}"/>
                </a:ext>
              </a:extLst>
            </p:cNvPr>
            <p:cNvSpPr>
              <a:spLocks/>
            </p:cNvSpPr>
            <p:nvPr/>
          </p:nvSpPr>
          <p:spPr bwMode="auto">
            <a:xfrm>
              <a:off x="3002871" y="2885117"/>
              <a:ext cx="4908" cy="0"/>
            </a:xfrm>
            <a:custGeom>
              <a:avLst/>
              <a:gdLst>
                <a:gd name="T0" fmla="*/ 3 w 3"/>
                <a:gd name="T1" fmla="*/ 0 w 3"/>
                <a:gd name="T2" fmla="*/ 3 w 3"/>
                <a:gd name="T3" fmla="*/ 3 w 3"/>
                <a:gd name="T4" fmla="*/ 3 w 3"/>
                <a:gd name="T5" fmla="*/ 3 w 3"/>
                <a:gd name="T6" fmla="*/ 3 w 3"/>
              </a:gdLst>
              <a:ahLst/>
              <a:cxnLst>
                <a:cxn ang="0">
                  <a:pos x="T0" y="0"/>
                </a:cxn>
                <a:cxn ang="0">
                  <a:pos x="T1" y="0"/>
                </a:cxn>
                <a:cxn ang="0">
                  <a:pos x="T2" y="0"/>
                </a:cxn>
                <a:cxn ang="0">
                  <a:pos x="T3" y="0"/>
                </a:cxn>
                <a:cxn ang="0">
                  <a:pos x="T4" y="0"/>
                </a:cxn>
                <a:cxn ang="0">
                  <a:pos x="T5" y="0"/>
                </a:cxn>
                <a:cxn ang="0">
                  <a:pos x="T6" y="0"/>
                </a:cxn>
              </a:cxnLst>
              <a:rect l="0" t="0" r="r" b="b"/>
              <a:pathLst>
                <a:path w="3">
                  <a:moveTo>
                    <a:pt x="3" y="0"/>
                  </a:moveTo>
                  <a:lnTo>
                    <a:pt x="0" y="0"/>
                  </a:lnTo>
                  <a:lnTo>
                    <a:pt x="3" y="0"/>
                  </a:lnTo>
                  <a:lnTo>
                    <a:pt x="3" y="0"/>
                  </a:lnTo>
                  <a:lnTo>
                    <a:pt x="3" y="0"/>
                  </a:lnTo>
                  <a:lnTo>
                    <a:pt x="3" y="0"/>
                  </a:lnTo>
                  <a:lnTo>
                    <a:pt x="3"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149" name="Freeform 1767">
              <a:extLst>
                <a:ext uri="{FF2B5EF4-FFF2-40B4-BE49-F238E27FC236}">
                  <a16:creationId xmlns:a16="http://schemas.microsoft.com/office/drawing/2014/main" id="{49D258B9-A922-0A40-A670-96B6934A422F}"/>
                </a:ext>
              </a:extLst>
            </p:cNvPr>
            <p:cNvSpPr>
              <a:spLocks/>
            </p:cNvSpPr>
            <p:nvPr/>
          </p:nvSpPr>
          <p:spPr bwMode="auto">
            <a:xfrm>
              <a:off x="2548136" y="2747716"/>
              <a:ext cx="13086" cy="8179"/>
            </a:xfrm>
            <a:custGeom>
              <a:avLst/>
              <a:gdLst>
                <a:gd name="T0" fmla="*/ 8 w 8"/>
                <a:gd name="T1" fmla="*/ 0 h 5"/>
                <a:gd name="T2" fmla="*/ 5 w 8"/>
                <a:gd name="T3" fmla="*/ 0 h 5"/>
                <a:gd name="T4" fmla="*/ 3 w 8"/>
                <a:gd name="T5" fmla="*/ 3 h 5"/>
                <a:gd name="T6" fmla="*/ 0 w 8"/>
                <a:gd name="T7" fmla="*/ 3 h 5"/>
                <a:gd name="T8" fmla="*/ 0 w 8"/>
                <a:gd name="T9" fmla="*/ 5 h 5"/>
                <a:gd name="T10" fmla="*/ 0 w 8"/>
                <a:gd name="T11" fmla="*/ 5 h 5"/>
                <a:gd name="T12" fmla="*/ 5 w 8"/>
                <a:gd name="T13" fmla="*/ 3 h 5"/>
                <a:gd name="T14" fmla="*/ 8 w 8"/>
                <a:gd name="T15" fmla="*/ 0 h 5"/>
                <a:gd name="T16" fmla="*/ 8 w 8"/>
                <a:gd name="T17" fmla="*/ 0 h 5"/>
                <a:gd name="T18" fmla="*/ 8 w 8"/>
                <a:gd name="T19" fmla="*/ 0 h 5"/>
                <a:gd name="T20" fmla="*/ 8 w 8"/>
                <a:gd name="T21"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5">
                  <a:moveTo>
                    <a:pt x="8" y="0"/>
                  </a:moveTo>
                  <a:lnTo>
                    <a:pt x="5" y="0"/>
                  </a:lnTo>
                  <a:lnTo>
                    <a:pt x="3" y="3"/>
                  </a:lnTo>
                  <a:lnTo>
                    <a:pt x="0" y="3"/>
                  </a:lnTo>
                  <a:lnTo>
                    <a:pt x="0" y="5"/>
                  </a:lnTo>
                  <a:lnTo>
                    <a:pt x="0" y="5"/>
                  </a:lnTo>
                  <a:lnTo>
                    <a:pt x="5" y="3"/>
                  </a:lnTo>
                  <a:lnTo>
                    <a:pt x="8" y="0"/>
                  </a:lnTo>
                  <a:lnTo>
                    <a:pt x="8" y="0"/>
                  </a:lnTo>
                  <a:lnTo>
                    <a:pt x="8" y="0"/>
                  </a:lnTo>
                  <a:lnTo>
                    <a:pt x="8"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150" name="Freeform 1768">
              <a:extLst>
                <a:ext uri="{FF2B5EF4-FFF2-40B4-BE49-F238E27FC236}">
                  <a16:creationId xmlns:a16="http://schemas.microsoft.com/office/drawing/2014/main" id="{48FCCC3D-615E-9B4B-BFCF-D80F01571727}"/>
                </a:ext>
              </a:extLst>
            </p:cNvPr>
            <p:cNvSpPr>
              <a:spLocks/>
            </p:cNvSpPr>
            <p:nvPr/>
          </p:nvSpPr>
          <p:spPr bwMode="auto">
            <a:xfrm>
              <a:off x="2714981" y="2698643"/>
              <a:ext cx="4908" cy="8179"/>
            </a:xfrm>
            <a:custGeom>
              <a:avLst/>
              <a:gdLst>
                <a:gd name="T0" fmla="*/ 3 w 3"/>
                <a:gd name="T1" fmla="*/ 2 h 5"/>
                <a:gd name="T2" fmla="*/ 3 w 3"/>
                <a:gd name="T3" fmla="*/ 0 h 5"/>
                <a:gd name="T4" fmla="*/ 0 w 3"/>
                <a:gd name="T5" fmla="*/ 0 h 5"/>
                <a:gd name="T6" fmla="*/ 0 w 3"/>
                <a:gd name="T7" fmla="*/ 2 h 5"/>
                <a:gd name="T8" fmla="*/ 0 w 3"/>
                <a:gd name="T9" fmla="*/ 2 h 5"/>
                <a:gd name="T10" fmla="*/ 3 w 3"/>
                <a:gd name="T11" fmla="*/ 5 h 5"/>
                <a:gd name="T12" fmla="*/ 3 w 3"/>
                <a:gd name="T13" fmla="*/ 5 h 5"/>
                <a:gd name="T14" fmla="*/ 3 w 3"/>
                <a:gd name="T15" fmla="*/ 2 h 5"/>
                <a:gd name="T16" fmla="*/ 3 w 3"/>
                <a:gd name="T17" fmla="*/ 2 h 5"/>
                <a:gd name="T18" fmla="*/ 3 w 3"/>
                <a:gd name="T19" fmla="*/ 2 h 5"/>
                <a:gd name="T20" fmla="*/ 3 w 3"/>
                <a:gd name="T2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5">
                  <a:moveTo>
                    <a:pt x="3" y="2"/>
                  </a:moveTo>
                  <a:lnTo>
                    <a:pt x="3" y="0"/>
                  </a:lnTo>
                  <a:lnTo>
                    <a:pt x="0" y="0"/>
                  </a:lnTo>
                  <a:lnTo>
                    <a:pt x="0" y="2"/>
                  </a:lnTo>
                  <a:lnTo>
                    <a:pt x="0" y="2"/>
                  </a:lnTo>
                  <a:lnTo>
                    <a:pt x="3" y="5"/>
                  </a:lnTo>
                  <a:lnTo>
                    <a:pt x="3" y="5"/>
                  </a:lnTo>
                  <a:lnTo>
                    <a:pt x="3" y="2"/>
                  </a:lnTo>
                  <a:lnTo>
                    <a:pt x="3" y="2"/>
                  </a:lnTo>
                  <a:lnTo>
                    <a:pt x="3" y="2"/>
                  </a:lnTo>
                  <a:lnTo>
                    <a:pt x="3" y="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151" name="Freeform 1769">
              <a:extLst>
                <a:ext uri="{FF2B5EF4-FFF2-40B4-BE49-F238E27FC236}">
                  <a16:creationId xmlns:a16="http://schemas.microsoft.com/office/drawing/2014/main" id="{3957716B-16DB-7A4C-A708-E99981B1B6E2}"/>
                </a:ext>
              </a:extLst>
            </p:cNvPr>
            <p:cNvSpPr>
              <a:spLocks/>
            </p:cNvSpPr>
            <p:nvPr/>
          </p:nvSpPr>
          <p:spPr bwMode="auto">
            <a:xfrm>
              <a:off x="2611929" y="2710094"/>
              <a:ext cx="11451" cy="8179"/>
            </a:xfrm>
            <a:custGeom>
              <a:avLst/>
              <a:gdLst>
                <a:gd name="T0" fmla="*/ 5 w 7"/>
                <a:gd name="T1" fmla="*/ 3 h 5"/>
                <a:gd name="T2" fmla="*/ 0 w 7"/>
                <a:gd name="T3" fmla="*/ 5 h 5"/>
                <a:gd name="T4" fmla="*/ 2 w 7"/>
                <a:gd name="T5" fmla="*/ 5 h 5"/>
                <a:gd name="T6" fmla="*/ 5 w 7"/>
                <a:gd name="T7" fmla="*/ 3 h 5"/>
                <a:gd name="T8" fmla="*/ 7 w 7"/>
                <a:gd name="T9" fmla="*/ 0 h 5"/>
                <a:gd name="T10" fmla="*/ 7 w 7"/>
                <a:gd name="T11" fmla="*/ 0 h 5"/>
                <a:gd name="T12" fmla="*/ 5 w 7"/>
                <a:gd name="T13" fmla="*/ 3 h 5"/>
              </a:gdLst>
              <a:ahLst/>
              <a:cxnLst>
                <a:cxn ang="0">
                  <a:pos x="T0" y="T1"/>
                </a:cxn>
                <a:cxn ang="0">
                  <a:pos x="T2" y="T3"/>
                </a:cxn>
                <a:cxn ang="0">
                  <a:pos x="T4" y="T5"/>
                </a:cxn>
                <a:cxn ang="0">
                  <a:pos x="T6" y="T7"/>
                </a:cxn>
                <a:cxn ang="0">
                  <a:pos x="T8" y="T9"/>
                </a:cxn>
                <a:cxn ang="0">
                  <a:pos x="T10" y="T11"/>
                </a:cxn>
                <a:cxn ang="0">
                  <a:pos x="T12" y="T13"/>
                </a:cxn>
              </a:cxnLst>
              <a:rect l="0" t="0" r="r" b="b"/>
              <a:pathLst>
                <a:path w="7" h="5">
                  <a:moveTo>
                    <a:pt x="5" y="3"/>
                  </a:moveTo>
                  <a:lnTo>
                    <a:pt x="0" y="5"/>
                  </a:lnTo>
                  <a:lnTo>
                    <a:pt x="2" y="5"/>
                  </a:lnTo>
                  <a:lnTo>
                    <a:pt x="5" y="3"/>
                  </a:lnTo>
                  <a:lnTo>
                    <a:pt x="7" y="0"/>
                  </a:lnTo>
                  <a:lnTo>
                    <a:pt x="7" y="0"/>
                  </a:lnTo>
                  <a:lnTo>
                    <a:pt x="5" y="3"/>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152" name="Freeform 1770">
              <a:extLst>
                <a:ext uri="{FF2B5EF4-FFF2-40B4-BE49-F238E27FC236}">
                  <a16:creationId xmlns:a16="http://schemas.microsoft.com/office/drawing/2014/main" id="{4F91A0C8-37FD-DB4B-BC7F-FBD7513CA5DC}"/>
                </a:ext>
              </a:extLst>
            </p:cNvPr>
            <p:cNvSpPr>
              <a:spLocks/>
            </p:cNvSpPr>
            <p:nvPr/>
          </p:nvSpPr>
          <p:spPr bwMode="auto">
            <a:xfrm>
              <a:off x="2999600" y="2890025"/>
              <a:ext cx="0" cy="0"/>
            </a:xfrm>
            <a:custGeom>
              <a:avLst/>
              <a:gdLst/>
              <a:ahLst/>
              <a:cxnLst>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153" name="Freeform 1771">
              <a:extLst>
                <a:ext uri="{FF2B5EF4-FFF2-40B4-BE49-F238E27FC236}">
                  <a16:creationId xmlns:a16="http://schemas.microsoft.com/office/drawing/2014/main" id="{01526C41-4D1D-AB4B-A656-A6449E26AD87}"/>
                </a:ext>
              </a:extLst>
            </p:cNvPr>
            <p:cNvSpPr>
              <a:spLocks/>
            </p:cNvSpPr>
            <p:nvPr/>
          </p:nvSpPr>
          <p:spPr bwMode="auto">
            <a:xfrm>
              <a:off x="3011049" y="2881846"/>
              <a:ext cx="4908" cy="3271"/>
            </a:xfrm>
            <a:custGeom>
              <a:avLst/>
              <a:gdLst>
                <a:gd name="T0" fmla="*/ 0 w 3"/>
                <a:gd name="T1" fmla="*/ 0 h 2"/>
                <a:gd name="T2" fmla="*/ 0 w 3"/>
                <a:gd name="T3" fmla="*/ 2 h 2"/>
                <a:gd name="T4" fmla="*/ 0 w 3"/>
                <a:gd name="T5" fmla="*/ 2 h 2"/>
                <a:gd name="T6" fmla="*/ 0 w 3"/>
                <a:gd name="T7" fmla="*/ 2 h 2"/>
                <a:gd name="T8" fmla="*/ 0 w 3"/>
                <a:gd name="T9" fmla="*/ 2 h 2"/>
                <a:gd name="T10" fmla="*/ 3 w 3"/>
                <a:gd name="T11" fmla="*/ 2 h 2"/>
                <a:gd name="T12" fmla="*/ 3 w 3"/>
                <a:gd name="T13" fmla="*/ 2 h 2"/>
                <a:gd name="T14" fmla="*/ 0 w 3"/>
                <a:gd name="T15" fmla="*/ 0 h 2"/>
                <a:gd name="T16" fmla="*/ 0 w 3"/>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2">
                  <a:moveTo>
                    <a:pt x="0" y="0"/>
                  </a:moveTo>
                  <a:lnTo>
                    <a:pt x="0" y="2"/>
                  </a:lnTo>
                  <a:lnTo>
                    <a:pt x="0" y="2"/>
                  </a:lnTo>
                  <a:lnTo>
                    <a:pt x="0" y="2"/>
                  </a:lnTo>
                  <a:lnTo>
                    <a:pt x="0" y="2"/>
                  </a:lnTo>
                  <a:lnTo>
                    <a:pt x="3" y="2"/>
                  </a:lnTo>
                  <a:lnTo>
                    <a:pt x="3" y="2"/>
                  </a:lnTo>
                  <a:lnTo>
                    <a:pt x="0" y="0"/>
                  </a:lnTo>
                  <a:lnTo>
                    <a:pt x="0"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154" name="Freeform 1772">
              <a:extLst>
                <a:ext uri="{FF2B5EF4-FFF2-40B4-BE49-F238E27FC236}">
                  <a16:creationId xmlns:a16="http://schemas.microsoft.com/office/drawing/2014/main" id="{D18F13EB-8FE5-9840-B6AF-C4219763CA42}"/>
                </a:ext>
              </a:extLst>
            </p:cNvPr>
            <p:cNvSpPr>
              <a:spLocks/>
            </p:cNvSpPr>
            <p:nvPr/>
          </p:nvSpPr>
          <p:spPr bwMode="auto">
            <a:xfrm>
              <a:off x="3398719" y="2273352"/>
              <a:ext cx="71972" cy="21265"/>
            </a:xfrm>
            <a:custGeom>
              <a:avLst/>
              <a:gdLst>
                <a:gd name="T0" fmla="*/ 41 w 44"/>
                <a:gd name="T1" fmla="*/ 3 h 13"/>
                <a:gd name="T2" fmla="*/ 38 w 44"/>
                <a:gd name="T3" fmla="*/ 3 h 13"/>
                <a:gd name="T4" fmla="*/ 38 w 44"/>
                <a:gd name="T5" fmla="*/ 3 h 13"/>
                <a:gd name="T6" fmla="*/ 36 w 44"/>
                <a:gd name="T7" fmla="*/ 3 h 13"/>
                <a:gd name="T8" fmla="*/ 33 w 44"/>
                <a:gd name="T9" fmla="*/ 3 h 13"/>
                <a:gd name="T10" fmla="*/ 33 w 44"/>
                <a:gd name="T11" fmla="*/ 5 h 13"/>
                <a:gd name="T12" fmla="*/ 31 w 44"/>
                <a:gd name="T13" fmla="*/ 5 h 13"/>
                <a:gd name="T14" fmla="*/ 31 w 44"/>
                <a:gd name="T15" fmla="*/ 5 h 13"/>
                <a:gd name="T16" fmla="*/ 33 w 44"/>
                <a:gd name="T17" fmla="*/ 3 h 13"/>
                <a:gd name="T18" fmla="*/ 33 w 44"/>
                <a:gd name="T19" fmla="*/ 3 h 13"/>
                <a:gd name="T20" fmla="*/ 38 w 44"/>
                <a:gd name="T21" fmla="*/ 0 h 13"/>
                <a:gd name="T22" fmla="*/ 36 w 44"/>
                <a:gd name="T23" fmla="*/ 0 h 13"/>
                <a:gd name="T24" fmla="*/ 33 w 44"/>
                <a:gd name="T25" fmla="*/ 3 h 13"/>
                <a:gd name="T26" fmla="*/ 31 w 44"/>
                <a:gd name="T27" fmla="*/ 3 h 13"/>
                <a:gd name="T28" fmla="*/ 26 w 44"/>
                <a:gd name="T29" fmla="*/ 3 h 13"/>
                <a:gd name="T30" fmla="*/ 23 w 44"/>
                <a:gd name="T31" fmla="*/ 5 h 13"/>
                <a:gd name="T32" fmla="*/ 21 w 44"/>
                <a:gd name="T33" fmla="*/ 5 h 13"/>
                <a:gd name="T34" fmla="*/ 21 w 44"/>
                <a:gd name="T35" fmla="*/ 5 h 13"/>
                <a:gd name="T36" fmla="*/ 18 w 44"/>
                <a:gd name="T37" fmla="*/ 5 h 13"/>
                <a:gd name="T38" fmla="*/ 15 w 44"/>
                <a:gd name="T39" fmla="*/ 5 h 13"/>
                <a:gd name="T40" fmla="*/ 15 w 44"/>
                <a:gd name="T41" fmla="*/ 5 h 13"/>
                <a:gd name="T42" fmla="*/ 15 w 44"/>
                <a:gd name="T43" fmla="*/ 5 h 13"/>
                <a:gd name="T44" fmla="*/ 13 w 44"/>
                <a:gd name="T45" fmla="*/ 5 h 13"/>
                <a:gd name="T46" fmla="*/ 13 w 44"/>
                <a:gd name="T47" fmla="*/ 5 h 13"/>
                <a:gd name="T48" fmla="*/ 10 w 44"/>
                <a:gd name="T49" fmla="*/ 5 h 13"/>
                <a:gd name="T50" fmla="*/ 10 w 44"/>
                <a:gd name="T51" fmla="*/ 5 h 13"/>
                <a:gd name="T52" fmla="*/ 10 w 44"/>
                <a:gd name="T53" fmla="*/ 8 h 13"/>
                <a:gd name="T54" fmla="*/ 10 w 44"/>
                <a:gd name="T55" fmla="*/ 5 h 13"/>
                <a:gd name="T56" fmla="*/ 8 w 44"/>
                <a:gd name="T57" fmla="*/ 8 h 13"/>
                <a:gd name="T58" fmla="*/ 5 w 44"/>
                <a:gd name="T59" fmla="*/ 8 h 13"/>
                <a:gd name="T60" fmla="*/ 3 w 44"/>
                <a:gd name="T61" fmla="*/ 10 h 13"/>
                <a:gd name="T62" fmla="*/ 3 w 44"/>
                <a:gd name="T63" fmla="*/ 10 h 13"/>
                <a:gd name="T64" fmla="*/ 3 w 44"/>
                <a:gd name="T65" fmla="*/ 10 h 13"/>
                <a:gd name="T66" fmla="*/ 0 w 44"/>
                <a:gd name="T67" fmla="*/ 13 h 13"/>
                <a:gd name="T68" fmla="*/ 3 w 44"/>
                <a:gd name="T69" fmla="*/ 13 h 13"/>
                <a:gd name="T70" fmla="*/ 5 w 44"/>
                <a:gd name="T71" fmla="*/ 10 h 13"/>
                <a:gd name="T72" fmla="*/ 5 w 44"/>
                <a:gd name="T73" fmla="*/ 10 h 13"/>
                <a:gd name="T74" fmla="*/ 5 w 44"/>
                <a:gd name="T75" fmla="*/ 10 h 13"/>
                <a:gd name="T76" fmla="*/ 5 w 44"/>
                <a:gd name="T77" fmla="*/ 13 h 13"/>
                <a:gd name="T78" fmla="*/ 3 w 44"/>
                <a:gd name="T79" fmla="*/ 13 h 13"/>
                <a:gd name="T80" fmla="*/ 5 w 44"/>
                <a:gd name="T81" fmla="*/ 13 h 13"/>
                <a:gd name="T82" fmla="*/ 8 w 44"/>
                <a:gd name="T83" fmla="*/ 13 h 13"/>
                <a:gd name="T84" fmla="*/ 15 w 44"/>
                <a:gd name="T85" fmla="*/ 10 h 13"/>
                <a:gd name="T86" fmla="*/ 15 w 44"/>
                <a:gd name="T87" fmla="*/ 10 h 13"/>
                <a:gd name="T88" fmla="*/ 18 w 44"/>
                <a:gd name="T89" fmla="*/ 10 h 13"/>
                <a:gd name="T90" fmla="*/ 26 w 44"/>
                <a:gd name="T91" fmla="*/ 8 h 13"/>
                <a:gd name="T92" fmla="*/ 28 w 44"/>
                <a:gd name="T93" fmla="*/ 8 h 13"/>
                <a:gd name="T94" fmla="*/ 31 w 44"/>
                <a:gd name="T95" fmla="*/ 8 h 13"/>
                <a:gd name="T96" fmla="*/ 33 w 44"/>
                <a:gd name="T97" fmla="*/ 5 h 13"/>
                <a:gd name="T98" fmla="*/ 36 w 44"/>
                <a:gd name="T99" fmla="*/ 5 h 13"/>
                <a:gd name="T100" fmla="*/ 44 w 44"/>
                <a:gd name="T101" fmla="*/ 3 h 13"/>
                <a:gd name="T102" fmla="*/ 44 w 44"/>
                <a:gd name="T103" fmla="*/ 3 h 13"/>
                <a:gd name="T104" fmla="*/ 41 w 44"/>
                <a:gd name="T105" fmla="*/ 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4" h="13">
                  <a:moveTo>
                    <a:pt x="41" y="3"/>
                  </a:moveTo>
                  <a:lnTo>
                    <a:pt x="38" y="3"/>
                  </a:lnTo>
                  <a:lnTo>
                    <a:pt x="38" y="3"/>
                  </a:lnTo>
                  <a:lnTo>
                    <a:pt x="36" y="3"/>
                  </a:lnTo>
                  <a:lnTo>
                    <a:pt x="33" y="3"/>
                  </a:lnTo>
                  <a:lnTo>
                    <a:pt x="33" y="5"/>
                  </a:lnTo>
                  <a:lnTo>
                    <a:pt x="31" y="5"/>
                  </a:lnTo>
                  <a:lnTo>
                    <a:pt x="31" y="5"/>
                  </a:lnTo>
                  <a:lnTo>
                    <a:pt x="33" y="3"/>
                  </a:lnTo>
                  <a:lnTo>
                    <a:pt x="33" y="3"/>
                  </a:lnTo>
                  <a:lnTo>
                    <a:pt x="38" y="0"/>
                  </a:lnTo>
                  <a:lnTo>
                    <a:pt x="36" y="0"/>
                  </a:lnTo>
                  <a:lnTo>
                    <a:pt x="33" y="3"/>
                  </a:lnTo>
                  <a:lnTo>
                    <a:pt x="31" y="3"/>
                  </a:lnTo>
                  <a:lnTo>
                    <a:pt x="26" y="3"/>
                  </a:lnTo>
                  <a:lnTo>
                    <a:pt x="23" y="5"/>
                  </a:lnTo>
                  <a:lnTo>
                    <a:pt x="21" y="5"/>
                  </a:lnTo>
                  <a:lnTo>
                    <a:pt x="21" y="5"/>
                  </a:lnTo>
                  <a:lnTo>
                    <a:pt x="18" y="5"/>
                  </a:lnTo>
                  <a:lnTo>
                    <a:pt x="15" y="5"/>
                  </a:lnTo>
                  <a:lnTo>
                    <a:pt x="15" y="5"/>
                  </a:lnTo>
                  <a:lnTo>
                    <a:pt x="15" y="5"/>
                  </a:lnTo>
                  <a:lnTo>
                    <a:pt x="13" y="5"/>
                  </a:lnTo>
                  <a:lnTo>
                    <a:pt x="13" y="5"/>
                  </a:lnTo>
                  <a:lnTo>
                    <a:pt x="10" y="5"/>
                  </a:lnTo>
                  <a:lnTo>
                    <a:pt x="10" y="5"/>
                  </a:lnTo>
                  <a:lnTo>
                    <a:pt x="10" y="8"/>
                  </a:lnTo>
                  <a:lnTo>
                    <a:pt x="10" y="5"/>
                  </a:lnTo>
                  <a:lnTo>
                    <a:pt x="8" y="8"/>
                  </a:lnTo>
                  <a:lnTo>
                    <a:pt x="5" y="8"/>
                  </a:lnTo>
                  <a:lnTo>
                    <a:pt x="3" y="10"/>
                  </a:lnTo>
                  <a:lnTo>
                    <a:pt x="3" y="10"/>
                  </a:lnTo>
                  <a:lnTo>
                    <a:pt x="3" y="10"/>
                  </a:lnTo>
                  <a:lnTo>
                    <a:pt x="0" y="13"/>
                  </a:lnTo>
                  <a:lnTo>
                    <a:pt x="3" y="13"/>
                  </a:lnTo>
                  <a:lnTo>
                    <a:pt x="5" y="10"/>
                  </a:lnTo>
                  <a:lnTo>
                    <a:pt x="5" y="10"/>
                  </a:lnTo>
                  <a:lnTo>
                    <a:pt x="5" y="10"/>
                  </a:lnTo>
                  <a:lnTo>
                    <a:pt x="5" y="13"/>
                  </a:lnTo>
                  <a:lnTo>
                    <a:pt x="3" y="13"/>
                  </a:lnTo>
                  <a:lnTo>
                    <a:pt x="5" y="13"/>
                  </a:lnTo>
                  <a:lnTo>
                    <a:pt x="8" y="13"/>
                  </a:lnTo>
                  <a:lnTo>
                    <a:pt x="15" y="10"/>
                  </a:lnTo>
                  <a:lnTo>
                    <a:pt x="15" y="10"/>
                  </a:lnTo>
                  <a:lnTo>
                    <a:pt x="18" y="10"/>
                  </a:lnTo>
                  <a:lnTo>
                    <a:pt x="26" y="8"/>
                  </a:lnTo>
                  <a:lnTo>
                    <a:pt x="28" y="8"/>
                  </a:lnTo>
                  <a:lnTo>
                    <a:pt x="31" y="8"/>
                  </a:lnTo>
                  <a:lnTo>
                    <a:pt x="33" y="5"/>
                  </a:lnTo>
                  <a:lnTo>
                    <a:pt x="36" y="5"/>
                  </a:lnTo>
                  <a:lnTo>
                    <a:pt x="44" y="3"/>
                  </a:lnTo>
                  <a:lnTo>
                    <a:pt x="44" y="3"/>
                  </a:lnTo>
                  <a:lnTo>
                    <a:pt x="41" y="3"/>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155" name="Freeform 1773">
              <a:extLst>
                <a:ext uri="{FF2B5EF4-FFF2-40B4-BE49-F238E27FC236}">
                  <a16:creationId xmlns:a16="http://schemas.microsoft.com/office/drawing/2014/main" id="{41D5AC4D-159C-BD40-9576-F4EF6D774CFE}"/>
                </a:ext>
              </a:extLst>
            </p:cNvPr>
            <p:cNvSpPr>
              <a:spLocks/>
            </p:cNvSpPr>
            <p:nvPr/>
          </p:nvSpPr>
          <p:spPr bwMode="auto">
            <a:xfrm>
              <a:off x="3490321" y="2256995"/>
              <a:ext cx="4908" cy="4908"/>
            </a:xfrm>
            <a:custGeom>
              <a:avLst/>
              <a:gdLst>
                <a:gd name="T0" fmla="*/ 3 w 3"/>
                <a:gd name="T1" fmla="*/ 0 h 3"/>
                <a:gd name="T2" fmla="*/ 3 w 3"/>
                <a:gd name="T3" fmla="*/ 0 h 3"/>
                <a:gd name="T4" fmla="*/ 0 w 3"/>
                <a:gd name="T5" fmla="*/ 3 h 3"/>
                <a:gd name="T6" fmla="*/ 0 w 3"/>
                <a:gd name="T7" fmla="*/ 3 h 3"/>
                <a:gd name="T8" fmla="*/ 3 w 3"/>
                <a:gd name="T9" fmla="*/ 3 h 3"/>
                <a:gd name="T10" fmla="*/ 3 w 3"/>
                <a:gd name="T11" fmla="*/ 3 h 3"/>
                <a:gd name="T12" fmla="*/ 3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3" y="0"/>
                  </a:moveTo>
                  <a:lnTo>
                    <a:pt x="3" y="0"/>
                  </a:lnTo>
                  <a:lnTo>
                    <a:pt x="0" y="3"/>
                  </a:lnTo>
                  <a:lnTo>
                    <a:pt x="0" y="3"/>
                  </a:lnTo>
                  <a:lnTo>
                    <a:pt x="3" y="3"/>
                  </a:lnTo>
                  <a:lnTo>
                    <a:pt x="3" y="3"/>
                  </a:lnTo>
                  <a:lnTo>
                    <a:pt x="3"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156" name="Freeform 1774">
              <a:extLst>
                <a:ext uri="{FF2B5EF4-FFF2-40B4-BE49-F238E27FC236}">
                  <a16:creationId xmlns:a16="http://schemas.microsoft.com/office/drawing/2014/main" id="{D10D3EF6-1B4E-314F-8953-5A45BF73715A}"/>
                </a:ext>
              </a:extLst>
            </p:cNvPr>
            <p:cNvSpPr>
              <a:spLocks/>
            </p:cNvSpPr>
            <p:nvPr/>
          </p:nvSpPr>
          <p:spPr bwMode="auto">
            <a:xfrm>
              <a:off x="3323475" y="2378039"/>
              <a:ext cx="17994" cy="11451"/>
            </a:xfrm>
            <a:custGeom>
              <a:avLst/>
              <a:gdLst>
                <a:gd name="T0" fmla="*/ 5 w 11"/>
                <a:gd name="T1" fmla="*/ 5 h 7"/>
                <a:gd name="T2" fmla="*/ 0 w 11"/>
                <a:gd name="T3" fmla="*/ 7 h 7"/>
                <a:gd name="T4" fmla="*/ 3 w 11"/>
                <a:gd name="T5" fmla="*/ 7 h 7"/>
                <a:gd name="T6" fmla="*/ 5 w 11"/>
                <a:gd name="T7" fmla="*/ 5 h 7"/>
                <a:gd name="T8" fmla="*/ 8 w 11"/>
                <a:gd name="T9" fmla="*/ 2 h 7"/>
                <a:gd name="T10" fmla="*/ 11 w 11"/>
                <a:gd name="T11" fmla="*/ 0 h 7"/>
                <a:gd name="T12" fmla="*/ 8 w 11"/>
                <a:gd name="T13" fmla="*/ 0 h 7"/>
                <a:gd name="T14" fmla="*/ 5 w 11"/>
                <a:gd name="T15" fmla="*/ 5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7">
                  <a:moveTo>
                    <a:pt x="5" y="5"/>
                  </a:moveTo>
                  <a:lnTo>
                    <a:pt x="0" y="7"/>
                  </a:lnTo>
                  <a:lnTo>
                    <a:pt x="3" y="7"/>
                  </a:lnTo>
                  <a:lnTo>
                    <a:pt x="5" y="5"/>
                  </a:lnTo>
                  <a:lnTo>
                    <a:pt x="8" y="2"/>
                  </a:lnTo>
                  <a:lnTo>
                    <a:pt x="11" y="0"/>
                  </a:lnTo>
                  <a:lnTo>
                    <a:pt x="8" y="0"/>
                  </a:lnTo>
                  <a:lnTo>
                    <a:pt x="5" y="5"/>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157" name="Freeform 1775">
              <a:extLst>
                <a:ext uri="{FF2B5EF4-FFF2-40B4-BE49-F238E27FC236}">
                  <a16:creationId xmlns:a16="http://schemas.microsoft.com/office/drawing/2014/main" id="{46FF94BD-81D2-E24A-8C0F-114E7106B031}"/>
                </a:ext>
              </a:extLst>
            </p:cNvPr>
            <p:cNvSpPr>
              <a:spLocks/>
            </p:cNvSpPr>
            <p:nvPr/>
          </p:nvSpPr>
          <p:spPr bwMode="auto">
            <a:xfrm>
              <a:off x="3377454" y="2324060"/>
              <a:ext cx="9814" cy="8179"/>
            </a:xfrm>
            <a:custGeom>
              <a:avLst/>
              <a:gdLst>
                <a:gd name="T0" fmla="*/ 0 w 6"/>
                <a:gd name="T1" fmla="*/ 5 h 5"/>
                <a:gd name="T2" fmla="*/ 6 w 6"/>
                <a:gd name="T3" fmla="*/ 0 h 5"/>
                <a:gd name="T4" fmla="*/ 6 w 6"/>
                <a:gd name="T5" fmla="*/ 0 h 5"/>
                <a:gd name="T6" fmla="*/ 3 w 6"/>
                <a:gd name="T7" fmla="*/ 2 h 5"/>
                <a:gd name="T8" fmla="*/ 0 w 6"/>
                <a:gd name="T9" fmla="*/ 5 h 5"/>
              </a:gdLst>
              <a:ahLst/>
              <a:cxnLst>
                <a:cxn ang="0">
                  <a:pos x="T0" y="T1"/>
                </a:cxn>
                <a:cxn ang="0">
                  <a:pos x="T2" y="T3"/>
                </a:cxn>
                <a:cxn ang="0">
                  <a:pos x="T4" y="T5"/>
                </a:cxn>
                <a:cxn ang="0">
                  <a:pos x="T6" y="T7"/>
                </a:cxn>
                <a:cxn ang="0">
                  <a:pos x="T8" y="T9"/>
                </a:cxn>
              </a:cxnLst>
              <a:rect l="0" t="0" r="r" b="b"/>
              <a:pathLst>
                <a:path w="6" h="5">
                  <a:moveTo>
                    <a:pt x="0" y="5"/>
                  </a:moveTo>
                  <a:lnTo>
                    <a:pt x="6" y="0"/>
                  </a:lnTo>
                  <a:lnTo>
                    <a:pt x="6" y="0"/>
                  </a:lnTo>
                  <a:lnTo>
                    <a:pt x="3" y="2"/>
                  </a:lnTo>
                  <a:lnTo>
                    <a:pt x="0" y="5"/>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158" name="Freeform 1776">
              <a:extLst>
                <a:ext uri="{FF2B5EF4-FFF2-40B4-BE49-F238E27FC236}">
                  <a16:creationId xmlns:a16="http://schemas.microsoft.com/office/drawing/2014/main" id="{BAC63F47-61D9-1142-90D1-28DA7489E249}"/>
                </a:ext>
              </a:extLst>
            </p:cNvPr>
            <p:cNvSpPr>
              <a:spLocks/>
            </p:cNvSpPr>
            <p:nvPr/>
          </p:nvSpPr>
          <p:spPr bwMode="auto">
            <a:xfrm>
              <a:off x="3506678" y="2261902"/>
              <a:ext cx="9814" cy="3271"/>
            </a:xfrm>
            <a:custGeom>
              <a:avLst/>
              <a:gdLst>
                <a:gd name="T0" fmla="*/ 3 w 6"/>
                <a:gd name="T1" fmla="*/ 0 h 2"/>
                <a:gd name="T2" fmla="*/ 3 w 6"/>
                <a:gd name="T3" fmla="*/ 2 h 2"/>
                <a:gd name="T4" fmla="*/ 0 w 6"/>
                <a:gd name="T5" fmla="*/ 2 h 2"/>
                <a:gd name="T6" fmla="*/ 0 w 6"/>
                <a:gd name="T7" fmla="*/ 2 h 2"/>
                <a:gd name="T8" fmla="*/ 6 w 6"/>
                <a:gd name="T9" fmla="*/ 2 h 2"/>
                <a:gd name="T10" fmla="*/ 6 w 6"/>
                <a:gd name="T11" fmla="*/ 2 h 2"/>
                <a:gd name="T12" fmla="*/ 6 w 6"/>
                <a:gd name="T13" fmla="*/ 0 h 2"/>
                <a:gd name="T14" fmla="*/ 3 w 6"/>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2">
                  <a:moveTo>
                    <a:pt x="3" y="0"/>
                  </a:moveTo>
                  <a:lnTo>
                    <a:pt x="3" y="2"/>
                  </a:lnTo>
                  <a:lnTo>
                    <a:pt x="0" y="2"/>
                  </a:lnTo>
                  <a:lnTo>
                    <a:pt x="0" y="2"/>
                  </a:lnTo>
                  <a:lnTo>
                    <a:pt x="6" y="2"/>
                  </a:lnTo>
                  <a:lnTo>
                    <a:pt x="6" y="2"/>
                  </a:lnTo>
                  <a:lnTo>
                    <a:pt x="6" y="0"/>
                  </a:lnTo>
                  <a:lnTo>
                    <a:pt x="3"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159" name="Freeform 1777">
              <a:extLst>
                <a:ext uri="{FF2B5EF4-FFF2-40B4-BE49-F238E27FC236}">
                  <a16:creationId xmlns:a16="http://schemas.microsoft.com/office/drawing/2014/main" id="{A566C848-EB67-3E47-86EF-2C28AE7A58C6}"/>
                </a:ext>
              </a:extLst>
            </p:cNvPr>
            <p:cNvSpPr>
              <a:spLocks/>
            </p:cNvSpPr>
            <p:nvPr/>
          </p:nvSpPr>
          <p:spPr bwMode="auto">
            <a:xfrm>
              <a:off x="3608094" y="2160487"/>
              <a:ext cx="3271" cy="4908"/>
            </a:xfrm>
            <a:custGeom>
              <a:avLst/>
              <a:gdLst>
                <a:gd name="T0" fmla="*/ 2 w 2"/>
                <a:gd name="T1" fmla="*/ 0 h 3"/>
                <a:gd name="T2" fmla="*/ 2 w 2"/>
                <a:gd name="T3" fmla="*/ 0 h 3"/>
                <a:gd name="T4" fmla="*/ 2 w 2"/>
                <a:gd name="T5" fmla="*/ 0 h 3"/>
                <a:gd name="T6" fmla="*/ 0 w 2"/>
                <a:gd name="T7" fmla="*/ 3 h 3"/>
                <a:gd name="T8" fmla="*/ 2 w 2"/>
                <a:gd name="T9" fmla="*/ 3 h 3"/>
                <a:gd name="T10" fmla="*/ 2 w 2"/>
                <a:gd name="T11" fmla="*/ 3 h 3"/>
                <a:gd name="T12" fmla="*/ 2 w 2"/>
                <a:gd name="T13" fmla="*/ 0 h 3"/>
                <a:gd name="T14" fmla="*/ 2 w 2"/>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3">
                  <a:moveTo>
                    <a:pt x="2" y="0"/>
                  </a:moveTo>
                  <a:lnTo>
                    <a:pt x="2" y="0"/>
                  </a:lnTo>
                  <a:lnTo>
                    <a:pt x="2" y="0"/>
                  </a:lnTo>
                  <a:lnTo>
                    <a:pt x="0" y="3"/>
                  </a:lnTo>
                  <a:lnTo>
                    <a:pt x="2" y="3"/>
                  </a:lnTo>
                  <a:lnTo>
                    <a:pt x="2" y="3"/>
                  </a:lnTo>
                  <a:lnTo>
                    <a:pt x="2" y="0"/>
                  </a:lnTo>
                  <a:lnTo>
                    <a:pt x="2"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160" name="Freeform 1778">
              <a:extLst>
                <a:ext uri="{FF2B5EF4-FFF2-40B4-BE49-F238E27FC236}">
                  <a16:creationId xmlns:a16="http://schemas.microsoft.com/office/drawing/2014/main" id="{98165AD9-F8F5-494D-B4B3-74C811352DFF}"/>
                </a:ext>
              </a:extLst>
            </p:cNvPr>
            <p:cNvSpPr>
              <a:spLocks/>
            </p:cNvSpPr>
            <p:nvPr/>
          </p:nvSpPr>
          <p:spPr bwMode="auto">
            <a:xfrm>
              <a:off x="3524671" y="2265174"/>
              <a:ext cx="8179" cy="4908"/>
            </a:xfrm>
            <a:custGeom>
              <a:avLst/>
              <a:gdLst>
                <a:gd name="T0" fmla="*/ 5 w 5"/>
                <a:gd name="T1" fmla="*/ 0 h 3"/>
                <a:gd name="T2" fmla="*/ 2 w 5"/>
                <a:gd name="T3" fmla="*/ 0 h 3"/>
                <a:gd name="T4" fmla="*/ 2 w 5"/>
                <a:gd name="T5" fmla="*/ 0 h 3"/>
                <a:gd name="T6" fmla="*/ 0 w 5"/>
                <a:gd name="T7" fmla="*/ 3 h 3"/>
                <a:gd name="T8" fmla="*/ 2 w 5"/>
                <a:gd name="T9" fmla="*/ 3 h 3"/>
                <a:gd name="T10" fmla="*/ 5 w 5"/>
                <a:gd name="T11" fmla="*/ 3 h 3"/>
                <a:gd name="T12" fmla="*/ 5 w 5"/>
                <a:gd name="T13" fmla="*/ 3 h 3"/>
                <a:gd name="T14" fmla="*/ 5 w 5"/>
                <a:gd name="T15" fmla="*/ 0 h 3"/>
                <a:gd name="T16" fmla="*/ 5 w 5"/>
                <a:gd name="T1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3">
                  <a:moveTo>
                    <a:pt x="5" y="0"/>
                  </a:moveTo>
                  <a:lnTo>
                    <a:pt x="2" y="0"/>
                  </a:lnTo>
                  <a:lnTo>
                    <a:pt x="2" y="0"/>
                  </a:lnTo>
                  <a:lnTo>
                    <a:pt x="0" y="3"/>
                  </a:lnTo>
                  <a:lnTo>
                    <a:pt x="2" y="3"/>
                  </a:lnTo>
                  <a:lnTo>
                    <a:pt x="5" y="3"/>
                  </a:lnTo>
                  <a:lnTo>
                    <a:pt x="5" y="3"/>
                  </a:lnTo>
                  <a:lnTo>
                    <a:pt x="5" y="0"/>
                  </a:lnTo>
                  <a:lnTo>
                    <a:pt x="5"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161" name="Freeform 1779">
              <a:extLst>
                <a:ext uri="{FF2B5EF4-FFF2-40B4-BE49-F238E27FC236}">
                  <a16:creationId xmlns:a16="http://schemas.microsoft.com/office/drawing/2014/main" id="{32543E94-AC86-D24E-BC32-20E182724B6A}"/>
                </a:ext>
              </a:extLst>
            </p:cNvPr>
            <p:cNvSpPr>
              <a:spLocks/>
            </p:cNvSpPr>
            <p:nvPr/>
          </p:nvSpPr>
          <p:spPr bwMode="auto">
            <a:xfrm>
              <a:off x="3495227" y="2256995"/>
              <a:ext cx="3271" cy="4908"/>
            </a:xfrm>
            <a:custGeom>
              <a:avLst/>
              <a:gdLst>
                <a:gd name="T0" fmla="*/ 2 w 2"/>
                <a:gd name="T1" fmla="*/ 0 h 3"/>
                <a:gd name="T2" fmla="*/ 2 w 2"/>
                <a:gd name="T3" fmla="*/ 0 h 3"/>
                <a:gd name="T4" fmla="*/ 0 w 2"/>
                <a:gd name="T5" fmla="*/ 0 h 3"/>
                <a:gd name="T6" fmla="*/ 0 w 2"/>
                <a:gd name="T7" fmla="*/ 3 h 3"/>
                <a:gd name="T8" fmla="*/ 0 w 2"/>
                <a:gd name="T9" fmla="*/ 3 h 3"/>
                <a:gd name="T10" fmla="*/ 0 w 2"/>
                <a:gd name="T11" fmla="*/ 3 h 3"/>
                <a:gd name="T12" fmla="*/ 0 w 2"/>
                <a:gd name="T13" fmla="*/ 3 h 3"/>
                <a:gd name="T14" fmla="*/ 2 w 2"/>
                <a:gd name="T15" fmla="*/ 0 h 3"/>
                <a:gd name="T16" fmla="*/ 2 w 2"/>
                <a:gd name="T1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3">
                  <a:moveTo>
                    <a:pt x="2" y="0"/>
                  </a:moveTo>
                  <a:lnTo>
                    <a:pt x="2" y="0"/>
                  </a:lnTo>
                  <a:lnTo>
                    <a:pt x="0" y="0"/>
                  </a:lnTo>
                  <a:lnTo>
                    <a:pt x="0" y="3"/>
                  </a:lnTo>
                  <a:lnTo>
                    <a:pt x="0" y="3"/>
                  </a:lnTo>
                  <a:lnTo>
                    <a:pt x="0" y="3"/>
                  </a:lnTo>
                  <a:lnTo>
                    <a:pt x="0" y="3"/>
                  </a:lnTo>
                  <a:lnTo>
                    <a:pt x="2" y="0"/>
                  </a:lnTo>
                  <a:lnTo>
                    <a:pt x="2"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162" name="Freeform 1780">
              <a:extLst>
                <a:ext uri="{FF2B5EF4-FFF2-40B4-BE49-F238E27FC236}">
                  <a16:creationId xmlns:a16="http://schemas.microsoft.com/office/drawing/2014/main" id="{DB589B74-35E7-744C-A02C-49744ADFD2A4}"/>
                </a:ext>
              </a:extLst>
            </p:cNvPr>
            <p:cNvSpPr>
              <a:spLocks/>
            </p:cNvSpPr>
            <p:nvPr/>
          </p:nvSpPr>
          <p:spPr bwMode="auto">
            <a:xfrm>
              <a:off x="3040493" y="2860582"/>
              <a:ext cx="13086" cy="13086"/>
            </a:xfrm>
            <a:custGeom>
              <a:avLst/>
              <a:gdLst>
                <a:gd name="T0" fmla="*/ 5 w 8"/>
                <a:gd name="T1" fmla="*/ 0 h 8"/>
                <a:gd name="T2" fmla="*/ 5 w 8"/>
                <a:gd name="T3" fmla="*/ 2 h 8"/>
                <a:gd name="T4" fmla="*/ 3 w 8"/>
                <a:gd name="T5" fmla="*/ 2 h 8"/>
                <a:gd name="T6" fmla="*/ 3 w 8"/>
                <a:gd name="T7" fmla="*/ 2 h 8"/>
                <a:gd name="T8" fmla="*/ 3 w 8"/>
                <a:gd name="T9" fmla="*/ 5 h 8"/>
                <a:gd name="T10" fmla="*/ 0 w 8"/>
                <a:gd name="T11" fmla="*/ 8 h 8"/>
                <a:gd name="T12" fmla="*/ 0 w 8"/>
                <a:gd name="T13" fmla="*/ 8 h 8"/>
                <a:gd name="T14" fmla="*/ 3 w 8"/>
                <a:gd name="T15" fmla="*/ 5 h 8"/>
                <a:gd name="T16" fmla="*/ 8 w 8"/>
                <a:gd name="T17" fmla="*/ 0 h 8"/>
                <a:gd name="T18" fmla="*/ 8 w 8"/>
                <a:gd name="T19" fmla="*/ 0 h 8"/>
                <a:gd name="T20" fmla="*/ 5 w 8"/>
                <a:gd name="T21"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8">
                  <a:moveTo>
                    <a:pt x="5" y="0"/>
                  </a:moveTo>
                  <a:lnTo>
                    <a:pt x="5" y="2"/>
                  </a:lnTo>
                  <a:lnTo>
                    <a:pt x="3" y="2"/>
                  </a:lnTo>
                  <a:lnTo>
                    <a:pt x="3" y="2"/>
                  </a:lnTo>
                  <a:lnTo>
                    <a:pt x="3" y="5"/>
                  </a:lnTo>
                  <a:lnTo>
                    <a:pt x="0" y="8"/>
                  </a:lnTo>
                  <a:lnTo>
                    <a:pt x="0" y="8"/>
                  </a:lnTo>
                  <a:lnTo>
                    <a:pt x="3" y="5"/>
                  </a:lnTo>
                  <a:lnTo>
                    <a:pt x="8" y="0"/>
                  </a:lnTo>
                  <a:lnTo>
                    <a:pt x="8" y="0"/>
                  </a:lnTo>
                  <a:lnTo>
                    <a:pt x="5"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163" name="Freeform 1781">
              <a:extLst>
                <a:ext uri="{FF2B5EF4-FFF2-40B4-BE49-F238E27FC236}">
                  <a16:creationId xmlns:a16="http://schemas.microsoft.com/office/drawing/2014/main" id="{C79DDAEF-C275-304C-BDE8-4591BDDE7CA2}"/>
                </a:ext>
              </a:extLst>
            </p:cNvPr>
            <p:cNvSpPr>
              <a:spLocks/>
            </p:cNvSpPr>
            <p:nvPr/>
          </p:nvSpPr>
          <p:spPr bwMode="auto">
            <a:xfrm>
              <a:off x="3027407" y="2876939"/>
              <a:ext cx="4908" cy="4908"/>
            </a:xfrm>
            <a:custGeom>
              <a:avLst/>
              <a:gdLst>
                <a:gd name="T0" fmla="*/ 0 w 3"/>
                <a:gd name="T1" fmla="*/ 0 h 3"/>
                <a:gd name="T2" fmla="*/ 0 w 3"/>
                <a:gd name="T3" fmla="*/ 3 h 3"/>
                <a:gd name="T4" fmla="*/ 3 w 3"/>
                <a:gd name="T5" fmla="*/ 3 h 3"/>
                <a:gd name="T6" fmla="*/ 3 w 3"/>
                <a:gd name="T7" fmla="*/ 0 h 3"/>
                <a:gd name="T8" fmla="*/ 3 w 3"/>
                <a:gd name="T9" fmla="*/ 0 h 3"/>
                <a:gd name="T10" fmla="*/ 3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3"/>
                  </a:lnTo>
                  <a:lnTo>
                    <a:pt x="3" y="3"/>
                  </a:lnTo>
                  <a:lnTo>
                    <a:pt x="3" y="0"/>
                  </a:lnTo>
                  <a:lnTo>
                    <a:pt x="3" y="0"/>
                  </a:lnTo>
                  <a:lnTo>
                    <a:pt x="3" y="0"/>
                  </a:lnTo>
                  <a:lnTo>
                    <a:pt x="0"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164" name="Rectangle 1782">
              <a:extLst>
                <a:ext uri="{FF2B5EF4-FFF2-40B4-BE49-F238E27FC236}">
                  <a16:creationId xmlns:a16="http://schemas.microsoft.com/office/drawing/2014/main" id="{813545D5-371F-774F-9FA3-FB9F5CB0C2D6}"/>
                </a:ext>
              </a:extLst>
            </p:cNvPr>
            <p:cNvSpPr>
              <a:spLocks noChangeArrowheads="1"/>
            </p:cNvSpPr>
            <p:nvPr/>
          </p:nvSpPr>
          <p:spPr bwMode="auto">
            <a:xfrm>
              <a:off x="3035586" y="2873668"/>
              <a:ext cx="1636" cy="3271"/>
            </a:xfrm>
            <a:prstGeom prst="rect">
              <a:avLst/>
            </a:prstGeom>
            <a:grpFill/>
            <a:ln w="6350">
              <a:solidFill>
                <a:schemeClr val="bg1"/>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165" name="Freeform 1783">
              <a:extLst>
                <a:ext uri="{FF2B5EF4-FFF2-40B4-BE49-F238E27FC236}">
                  <a16:creationId xmlns:a16="http://schemas.microsoft.com/office/drawing/2014/main" id="{1F0E49B3-8E20-FF42-AFD5-9EECC839EEA8}"/>
                </a:ext>
              </a:extLst>
            </p:cNvPr>
            <p:cNvSpPr>
              <a:spLocks/>
            </p:cNvSpPr>
            <p:nvPr/>
          </p:nvSpPr>
          <p:spPr bwMode="auto">
            <a:xfrm>
              <a:off x="3019228" y="2881846"/>
              <a:ext cx="8179" cy="3271"/>
            </a:xfrm>
            <a:custGeom>
              <a:avLst/>
              <a:gdLst>
                <a:gd name="T0" fmla="*/ 0 w 5"/>
                <a:gd name="T1" fmla="*/ 0 h 2"/>
                <a:gd name="T2" fmla="*/ 0 w 5"/>
                <a:gd name="T3" fmla="*/ 2 h 2"/>
                <a:gd name="T4" fmla="*/ 3 w 5"/>
                <a:gd name="T5" fmla="*/ 0 h 2"/>
                <a:gd name="T6" fmla="*/ 3 w 5"/>
                <a:gd name="T7" fmla="*/ 0 h 2"/>
                <a:gd name="T8" fmla="*/ 5 w 5"/>
                <a:gd name="T9" fmla="*/ 0 h 2"/>
                <a:gd name="T10" fmla="*/ 0 w 5"/>
                <a:gd name="T11" fmla="*/ 0 h 2"/>
                <a:gd name="T12" fmla="*/ 0 w 5"/>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5" h="2">
                  <a:moveTo>
                    <a:pt x="0" y="0"/>
                  </a:moveTo>
                  <a:lnTo>
                    <a:pt x="0" y="2"/>
                  </a:lnTo>
                  <a:lnTo>
                    <a:pt x="3" y="0"/>
                  </a:lnTo>
                  <a:lnTo>
                    <a:pt x="3" y="0"/>
                  </a:lnTo>
                  <a:lnTo>
                    <a:pt x="5" y="0"/>
                  </a:lnTo>
                  <a:lnTo>
                    <a:pt x="0" y="0"/>
                  </a:lnTo>
                  <a:lnTo>
                    <a:pt x="0"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166" name="Freeform 1784">
              <a:extLst>
                <a:ext uri="{FF2B5EF4-FFF2-40B4-BE49-F238E27FC236}">
                  <a16:creationId xmlns:a16="http://schemas.microsoft.com/office/drawing/2014/main" id="{1E0A6562-2F83-BE4F-A4D9-F8F7DE1858FC}"/>
                </a:ext>
              </a:extLst>
            </p:cNvPr>
            <p:cNvSpPr>
              <a:spLocks/>
            </p:cNvSpPr>
            <p:nvPr/>
          </p:nvSpPr>
          <p:spPr bwMode="auto">
            <a:xfrm>
              <a:off x="3285853" y="2472912"/>
              <a:ext cx="8179" cy="21265"/>
            </a:xfrm>
            <a:custGeom>
              <a:avLst/>
              <a:gdLst>
                <a:gd name="T0" fmla="*/ 5 w 5"/>
                <a:gd name="T1" fmla="*/ 0 h 13"/>
                <a:gd name="T2" fmla="*/ 5 w 5"/>
                <a:gd name="T3" fmla="*/ 3 h 13"/>
                <a:gd name="T4" fmla="*/ 5 w 5"/>
                <a:gd name="T5" fmla="*/ 5 h 13"/>
                <a:gd name="T6" fmla="*/ 3 w 5"/>
                <a:gd name="T7" fmla="*/ 10 h 13"/>
                <a:gd name="T8" fmla="*/ 0 w 5"/>
                <a:gd name="T9" fmla="*/ 13 h 13"/>
                <a:gd name="T10" fmla="*/ 0 w 5"/>
                <a:gd name="T11" fmla="*/ 13 h 13"/>
                <a:gd name="T12" fmla="*/ 3 w 5"/>
                <a:gd name="T13" fmla="*/ 10 h 13"/>
                <a:gd name="T14" fmla="*/ 3 w 5"/>
                <a:gd name="T15" fmla="*/ 10 h 13"/>
                <a:gd name="T16" fmla="*/ 5 w 5"/>
                <a:gd name="T17" fmla="*/ 5 h 13"/>
                <a:gd name="T18" fmla="*/ 5 w 5"/>
                <a:gd name="T19" fmla="*/ 3 h 13"/>
                <a:gd name="T20" fmla="*/ 5 w 5"/>
                <a:gd name="T21" fmla="*/ 0 h 13"/>
                <a:gd name="T22" fmla="*/ 5 w 5"/>
                <a:gd name="T23" fmla="*/ 0 h 13"/>
                <a:gd name="T24" fmla="*/ 5 w 5"/>
                <a:gd name="T25"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 h="13">
                  <a:moveTo>
                    <a:pt x="5" y="0"/>
                  </a:moveTo>
                  <a:lnTo>
                    <a:pt x="5" y="3"/>
                  </a:lnTo>
                  <a:lnTo>
                    <a:pt x="5" y="5"/>
                  </a:lnTo>
                  <a:lnTo>
                    <a:pt x="3" y="10"/>
                  </a:lnTo>
                  <a:lnTo>
                    <a:pt x="0" y="13"/>
                  </a:lnTo>
                  <a:lnTo>
                    <a:pt x="0" y="13"/>
                  </a:lnTo>
                  <a:lnTo>
                    <a:pt x="3" y="10"/>
                  </a:lnTo>
                  <a:lnTo>
                    <a:pt x="3" y="10"/>
                  </a:lnTo>
                  <a:lnTo>
                    <a:pt x="5" y="5"/>
                  </a:lnTo>
                  <a:lnTo>
                    <a:pt x="5" y="3"/>
                  </a:lnTo>
                  <a:lnTo>
                    <a:pt x="5" y="0"/>
                  </a:lnTo>
                  <a:lnTo>
                    <a:pt x="5" y="0"/>
                  </a:lnTo>
                  <a:lnTo>
                    <a:pt x="5"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167" name="Freeform 1785">
              <a:extLst>
                <a:ext uri="{FF2B5EF4-FFF2-40B4-BE49-F238E27FC236}">
                  <a16:creationId xmlns:a16="http://schemas.microsoft.com/office/drawing/2014/main" id="{0C0302BB-D181-114F-919F-C8347065E517}"/>
                </a:ext>
              </a:extLst>
            </p:cNvPr>
            <p:cNvSpPr>
              <a:spLocks/>
            </p:cNvSpPr>
            <p:nvPr/>
          </p:nvSpPr>
          <p:spPr bwMode="auto">
            <a:xfrm>
              <a:off x="3290761" y="2464734"/>
              <a:ext cx="3271" cy="4908"/>
            </a:xfrm>
            <a:custGeom>
              <a:avLst/>
              <a:gdLst>
                <a:gd name="T0" fmla="*/ 2 w 2"/>
                <a:gd name="T1" fmla="*/ 3 h 3"/>
                <a:gd name="T2" fmla="*/ 2 w 2"/>
                <a:gd name="T3" fmla="*/ 0 h 3"/>
                <a:gd name="T4" fmla="*/ 0 w 2"/>
                <a:gd name="T5" fmla="*/ 0 h 3"/>
                <a:gd name="T6" fmla="*/ 2 w 2"/>
                <a:gd name="T7" fmla="*/ 3 h 3"/>
                <a:gd name="T8" fmla="*/ 2 w 2"/>
                <a:gd name="T9" fmla="*/ 3 h 3"/>
                <a:gd name="T10" fmla="*/ 2 w 2"/>
                <a:gd name="T11" fmla="*/ 3 h 3"/>
              </a:gdLst>
              <a:ahLst/>
              <a:cxnLst>
                <a:cxn ang="0">
                  <a:pos x="T0" y="T1"/>
                </a:cxn>
                <a:cxn ang="0">
                  <a:pos x="T2" y="T3"/>
                </a:cxn>
                <a:cxn ang="0">
                  <a:pos x="T4" y="T5"/>
                </a:cxn>
                <a:cxn ang="0">
                  <a:pos x="T6" y="T7"/>
                </a:cxn>
                <a:cxn ang="0">
                  <a:pos x="T8" y="T9"/>
                </a:cxn>
                <a:cxn ang="0">
                  <a:pos x="T10" y="T11"/>
                </a:cxn>
              </a:cxnLst>
              <a:rect l="0" t="0" r="r" b="b"/>
              <a:pathLst>
                <a:path w="2" h="3">
                  <a:moveTo>
                    <a:pt x="2" y="3"/>
                  </a:moveTo>
                  <a:lnTo>
                    <a:pt x="2" y="0"/>
                  </a:lnTo>
                  <a:lnTo>
                    <a:pt x="0" y="0"/>
                  </a:lnTo>
                  <a:lnTo>
                    <a:pt x="2" y="3"/>
                  </a:lnTo>
                  <a:lnTo>
                    <a:pt x="2" y="3"/>
                  </a:lnTo>
                  <a:lnTo>
                    <a:pt x="2" y="3"/>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168" name="Freeform 1786">
              <a:extLst>
                <a:ext uri="{FF2B5EF4-FFF2-40B4-BE49-F238E27FC236}">
                  <a16:creationId xmlns:a16="http://schemas.microsoft.com/office/drawing/2014/main" id="{E7607497-4588-7B45-907F-435C35CF40F6}"/>
                </a:ext>
              </a:extLst>
            </p:cNvPr>
            <p:cNvSpPr>
              <a:spLocks/>
            </p:cNvSpPr>
            <p:nvPr/>
          </p:nvSpPr>
          <p:spPr bwMode="auto">
            <a:xfrm>
              <a:off x="3248232" y="2510534"/>
              <a:ext cx="4908" cy="4908"/>
            </a:xfrm>
            <a:custGeom>
              <a:avLst/>
              <a:gdLst>
                <a:gd name="T0" fmla="*/ 0 w 3"/>
                <a:gd name="T1" fmla="*/ 0 h 3"/>
                <a:gd name="T2" fmla="*/ 0 w 3"/>
                <a:gd name="T3" fmla="*/ 0 h 3"/>
                <a:gd name="T4" fmla="*/ 0 w 3"/>
                <a:gd name="T5" fmla="*/ 3 h 3"/>
                <a:gd name="T6" fmla="*/ 3 w 3"/>
                <a:gd name="T7" fmla="*/ 3 h 3"/>
                <a:gd name="T8" fmla="*/ 3 w 3"/>
                <a:gd name="T9" fmla="*/ 3 h 3"/>
                <a:gd name="T10" fmla="*/ 0 w 3"/>
                <a:gd name="T11" fmla="*/ 0 h 3"/>
                <a:gd name="T12" fmla="*/ 0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0" y="0"/>
                  </a:moveTo>
                  <a:lnTo>
                    <a:pt x="0" y="0"/>
                  </a:lnTo>
                  <a:lnTo>
                    <a:pt x="0" y="3"/>
                  </a:lnTo>
                  <a:lnTo>
                    <a:pt x="3" y="3"/>
                  </a:lnTo>
                  <a:lnTo>
                    <a:pt x="3" y="3"/>
                  </a:lnTo>
                  <a:lnTo>
                    <a:pt x="0" y="0"/>
                  </a:lnTo>
                  <a:lnTo>
                    <a:pt x="0"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169" name="Freeform 1787">
              <a:extLst>
                <a:ext uri="{FF2B5EF4-FFF2-40B4-BE49-F238E27FC236}">
                  <a16:creationId xmlns:a16="http://schemas.microsoft.com/office/drawing/2014/main" id="{8C6F220D-7AAB-F948-94EF-6A323F017717}"/>
                </a:ext>
              </a:extLst>
            </p:cNvPr>
            <p:cNvSpPr>
              <a:spLocks/>
            </p:cNvSpPr>
            <p:nvPr/>
          </p:nvSpPr>
          <p:spPr bwMode="auto">
            <a:xfrm>
              <a:off x="3274403" y="2494177"/>
              <a:ext cx="8179" cy="0"/>
            </a:xfrm>
            <a:custGeom>
              <a:avLst/>
              <a:gdLst>
                <a:gd name="T0" fmla="*/ 0 w 5"/>
                <a:gd name="T1" fmla="*/ 0 w 5"/>
                <a:gd name="T2" fmla="*/ 5 w 5"/>
                <a:gd name="T3" fmla="*/ 2 w 5"/>
                <a:gd name="T4" fmla="*/ 0 w 5"/>
              </a:gdLst>
              <a:ahLst/>
              <a:cxnLst>
                <a:cxn ang="0">
                  <a:pos x="T0" y="0"/>
                </a:cxn>
                <a:cxn ang="0">
                  <a:pos x="T1" y="0"/>
                </a:cxn>
                <a:cxn ang="0">
                  <a:pos x="T2" y="0"/>
                </a:cxn>
                <a:cxn ang="0">
                  <a:pos x="T3" y="0"/>
                </a:cxn>
                <a:cxn ang="0">
                  <a:pos x="T4" y="0"/>
                </a:cxn>
              </a:cxnLst>
              <a:rect l="0" t="0" r="r" b="b"/>
              <a:pathLst>
                <a:path w="5">
                  <a:moveTo>
                    <a:pt x="0" y="0"/>
                  </a:moveTo>
                  <a:lnTo>
                    <a:pt x="0" y="0"/>
                  </a:lnTo>
                  <a:lnTo>
                    <a:pt x="5" y="0"/>
                  </a:lnTo>
                  <a:lnTo>
                    <a:pt x="2" y="0"/>
                  </a:lnTo>
                  <a:lnTo>
                    <a:pt x="0"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170" name="Freeform 1788">
              <a:extLst>
                <a:ext uri="{FF2B5EF4-FFF2-40B4-BE49-F238E27FC236}">
                  <a16:creationId xmlns:a16="http://schemas.microsoft.com/office/drawing/2014/main" id="{22AE03B8-A2DD-104B-AF95-48120E7EE652}"/>
                </a:ext>
              </a:extLst>
            </p:cNvPr>
            <p:cNvSpPr>
              <a:spLocks noEditPoints="1"/>
            </p:cNvSpPr>
            <p:nvPr/>
          </p:nvSpPr>
          <p:spPr bwMode="auto">
            <a:xfrm>
              <a:off x="5441754" y="1569985"/>
              <a:ext cx="271532" cy="379491"/>
            </a:xfrm>
            <a:custGeom>
              <a:avLst/>
              <a:gdLst>
                <a:gd name="T0" fmla="*/ 64 w 166"/>
                <a:gd name="T1" fmla="*/ 163 h 232"/>
                <a:gd name="T2" fmla="*/ 38 w 166"/>
                <a:gd name="T3" fmla="*/ 140 h 232"/>
                <a:gd name="T4" fmla="*/ 41 w 166"/>
                <a:gd name="T5" fmla="*/ 130 h 232"/>
                <a:gd name="T6" fmla="*/ 23 w 166"/>
                <a:gd name="T7" fmla="*/ 120 h 232"/>
                <a:gd name="T8" fmla="*/ 5 w 166"/>
                <a:gd name="T9" fmla="*/ 130 h 232"/>
                <a:gd name="T10" fmla="*/ 8 w 166"/>
                <a:gd name="T11" fmla="*/ 143 h 232"/>
                <a:gd name="T12" fmla="*/ 20 w 166"/>
                <a:gd name="T13" fmla="*/ 140 h 232"/>
                <a:gd name="T14" fmla="*/ 54 w 166"/>
                <a:gd name="T15" fmla="*/ 115 h 232"/>
                <a:gd name="T16" fmla="*/ 38 w 166"/>
                <a:gd name="T17" fmla="*/ 110 h 232"/>
                <a:gd name="T18" fmla="*/ 33 w 166"/>
                <a:gd name="T19" fmla="*/ 107 h 232"/>
                <a:gd name="T20" fmla="*/ 41 w 166"/>
                <a:gd name="T21" fmla="*/ 102 h 232"/>
                <a:gd name="T22" fmla="*/ 38 w 166"/>
                <a:gd name="T23" fmla="*/ 92 h 232"/>
                <a:gd name="T24" fmla="*/ 33 w 166"/>
                <a:gd name="T25" fmla="*/ 89 h 232"/>
                <a:gd name="T26" fmla="*/ 38 w 166"/>
                <a:gd name="T27" fmla="*/ 79 h 232"/>
                <a:gd name="T28" fmla="*/ 43 w 166"/>
                <a:gd name="T29" fmla="*/ 82 h 232"/>
                <a:gd name="T30" fmla="*/ 41 w 166"/>
                <a:gd name="T31" fmla="*/ 69 h 232"/>
                <a:gd name="T32" fmla="*/ 36 w 166"/>
                <a:gd name="T33" fmla="*/ 74 h 232"/>
                <a:gd name="T34" fmla="*/ 20 w 166"/>
                <a:gd name="T35" fmla="*/ 69 h 232"/>
                <a:gd name="T36" fmla="*/ 38 w 166"/>
                <a:gd name="T37" fmla="*/ 59 h 232"/>
                <a:gd name="T38" fmla="*/ 33 w 166"/>
                <a:gd name="T39" fmla="*/ 56 h 232"/>
                <a:gd name="T40" fmla="*/ 28 w 166"/>
                <a:gd name="T41" fmla="*/ 61 h 232"/>
                <a:gd name="T42" fmla="*/ 143 w 166"/>
                <a:gd name="T43" fmla="*/ 171 h 232"/>
                <a:gd name="T44" fmla="*/ 133 w 166"/>
                <a:gd name="T45" fmla="*/ 150 h 232"/>
                <a:gd name="T46" fmla="*/ 127 w 166"/>
                <a:gd name="T47" fmla="*/ 135 h 232"/>
                <a:gd name="T48" fmla="*/ 89 w 166"/>
                <a:gd name="T49" fmla="*/ 104 h 232"/>
                <a:gd name="T50" fmla="*/ 87 w 166"/>
                <a:gd name="T51" fmla="*/ 94 h 232"/>
                <a:gd name="T52" fmla="*/ 112 w 166"/>
                <a:gd name="T53" fmla="*/ 71 h 232"/>
                <a:gd name="T54" fmla="*/ 76 w 166"/>
                <a:gd name="T55" fmla="*/ 66 h 232"/>
                <a:gd name="T56" fmla="*/ 94 w 166"/>
                <a:gd name="T57" fmla="*/ 46 h 232"/>
                <a:gd name="T58" fmla="*/ 61 w 166"/>
                <a:gd name="T59" fmla="*/ 48 h 232"/>
                <a:gd name="T60" fmla="*/ 59 w 166"/>
                <a:gd name="T61" fmla="*/ 64 h 232"/>
                <a:gd name="T62" fmla="*/ 46 w 166"/>
                <a:gd name="T63" fmla="*/ 74 h 232"/>
                <a:gd name="T64" fmla="*/ 43 w 166"/>
                <a:gd name="T65" fmla="*/ 92 h 232"/>
                <a:gd name="T66" fmla="*/ 46 w 166"/>
                <a:gd name="T67" fmla="*/ 107 h 232"/>
                <a:gd name="T68" fmla="*/ 51 w 166"/>
                <a:gd name="T69" fmla="*/ 107 h 232"/>
                <a:gd name="T70" fmla="*/ 54 w 166"/>
                <a:gd name="T71" fmla="*/ 104 h 232"/>
                <a:gd name="T72" fmla="*/ 61 w 166"/>
                <a:gd name="T73" fmla="*/ 112 h 232"/>
                <a:gd name="T74" fmla="*/ 59 w 166"/>
                <a:gd name="T75" fmla="*/ 127 h 232"/>
                <a:gd name="T76" fmla="*/ 82 w 166"/>
                <a:gd name="T77" fmla="*/ 125 h 232"/>
                <a:gd name="T78" fmla="*/ 87 w 166"/>
                <a:gd name="T79" fmla="*/ 145 h 232"/>
                <a:gd name="T80" fmla="*/ 84 w 166"/>
                <a:gd name="T81" fmla="*/ 158 h 232"/>
                <a:gd name="T82" fmla="*/ 56 w 166"/>
                <a:gd name="T83" fmla="*/ 171 h 232"/>
                <a:gd name="T84" fmla="*/ 64 w 166"/>
                <a:gd name="T85" fmla="*/ 181 h 232"/>
                <a:gd name="T86" fmla="*/ 56 w 166"/>
                <a:gd name="T87" fmla="*/ 194 h 232"/>
                <a:gd name="T88" fmla="*/ 82 w 166"/>
                <a:gd name="T89" fmla="*/ 199 h 232"/>
                <a:gd name="T90" fmla="*/ 61 w 166"/>
                <a:gd name="T91" fmla="*/ 206 h 232"/>
                <a:gd name="T92" fmla="*/ 33 w 166"/>
                <a:gd name="T93" fmla="*/ 232 h 232"/>
                <a:gd name="T94" fmla="*/ 61 w 166"/>
                <a:gd name="T95" fmla="*/ 224 h 232"/>
                <a:gd name="T96" fmla="*/ 97 w 166"/>
                <a:gd name="T97" fmla="*/ 219 h 232"/>
                <a:gd name="T98" fmla="*/ 125 w 166"/>
                <a:gd name="T99" fmla="*/ 214 h 232"/>
                <a:gd name="T100" fmla="*/ 155 w 166"/>
                <a:gd name="T101" fmla="*/ 201 h 232"/>
                <a:gd name="T102" fmla="*/ 150 w 166"/>
                <a:gd name="T103" fmla="*/ 194 h 232"/>
                <a:gd name="T104" fmla="*/ 166 w 166"/>
                <a:gd name="T105" fmla="*/ 176 h 232"/>
                <a:gd name="T106" fmla="*/ 92 w 166"/>
                <a:gd name="T107" fmla="*/ 41 h 232"/>
                <a:gd name="T108" fmla="*/ 97 w 166"/>
                <a:gd name="T109" fmla="*/ 41 h 232"/>
                <a:gd name="T110" fmla="*/ 89 w 166"/>
                <a:gd name="T111" fmla="*/ 38 h 232"/>
                <a:gd name="T112" fmla="*/ 102 w 166"/>
                <a:gd name="T113" fmla="*/ 33 h 232"/>
                <a:gd name="T114" fmla="*/ 125 w 166"/>
                <a:gd name="T115" fmla="*/ 15 h 232"/>
                <a:gd name="T116" fmla="*/ 127 w 166"/>
                <a:gd name="T117" fmla="*/ 8 h 232"/>
                <a:gd name="T118" fmla="*/ 120 w 166"/>
                <a:gd name="T119" fmla="*/ 13 h 232"/>
                <a:gd name="T120" fmla="*/ 135 w 166"/>
                <a:gd name="T121" fmla="*/ 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6" h="232">
                  <a:moveTo>
                    <a:pt x="110" y="216"/>
                  </a:moveTo>
                  <a:lnTo>
                    <a:pt x="107" y="216"/>
                  </a:lnTo>
                  <a:lnTo>
                    <a:pt x="104" y="216"/>
                  </a:lnTo>
                  <a:lnTo>
                    <a:pt x="104" y="219"/>
                  </a:lnTo>
                  <a:lnTo>
                    <a:pt x="104" y="219"/>
                  </a:lnTo>
                  <a:lnTo>
                    <a:pt x="110" y="219"/>
                  </a:lnTo>
                  <a:lnTo>
                    <a:pt x="110" y="219"/>
                  </a:lnTo>
                  <a:lnTo>
                    <a:pt x="112" y="219"/>
                  </a:lnTo>
                  <a:lnTo>
                    <a:pt x="112" y="219"/>
                  </a:lnTo>
                  <a:lnTo>
                    <a:pt x="112" y="219"/>
                  </a:lnTo>
                  <a:lnTo>
                    <a:pt x="115" y="216"/>
                  </a:lnTo>
                  <a:lnTo>
                    <a:pt x="112" y="216"/>
                  </a:lnTo>
                  <a:lnTo>
                    <a:pt x="110" y="216"/>
                  </a:lnTo>
                  <a:close/>
                  <a:moveTo>
                    <a:pt x="61" y="163"/>
                  </a:moveTo>
                  <a:lnTo>
                    <a:pt x="64" y="163"/>
                  </a:lnTo>
                  <a:lnTo>
                    <a:pt x="64" y="163"/>
                  </a:lnTo>
                  <a:lnTo>
                    <a:pt x="66" y="160"/>
                  </a:lnTo>
                  <a:lnTo>
                    <a:pt x="66" y="160"/>
                  </a:lnTo>
                  <a:lnTo>
                    <a:pt x="64" y="160"/>
                  </a:lnTo>
                  <a:lnTo>
                    <a:pt x="64" y="160"/>
                  </a:lnTo>
                  <a:lnTo>
                    <a:pt x="64" y="158"/>
                  </a:lnTo>
                  <a:lnTo>
                    <a:pt x="61" y="158"/>
                  </a:lnTo>
                  <a:lnTo>
                    <a:pt x="59" y="158"/>
                  </a:lnTo>
                  <a:lnTo>
                    <a:pt x="59" y="160"/>
                  </a:lnTo>
                  <a:lnTo>
                    <a:pt x="59" y="163"/>
                  </a:lnTo>
                  <a:lnTo>
                    <a:pt x="61" y="163"/>
                  </a:lnTo>
                  <a:lnTo>
                    <a:pt x="61" y="163"/>
                  </a:lnTo>
                  <a:close/>
                  <a:moveTo>
                    <a:pt x="36" y="145"/>
                  </a:moveTo>
                  <a:lnTo>
                    <a:pt x="36" y="143"/>
                  </a:lnTo>
                  <a:lnTo>
                    <a:pt x="38" y="143"/>
                  </a:lnTo>
                  <a:lnTo>
                    <a:pt x="38" y="140"/>
                  </a:lnTo>
                  <a:lnTo>
                    <a:pt x="38" y="140"/>
                  </a:lnTo>
                  <a:lnTo>
                    <a:pt x="41" y="140"/>
                  </a:lnTo>
                  <a:lnTo>
                    <a:pt x="43" y="140"/>
                  </a:lnTo>
                  <a:lnTo>
                    <a:pt x="43" y="138"/>
                  </a:lnTo>
                  <a:lnTo>
                    <a:pt x="43" y="138"/>
                  </a:lnTo>
                  <a:lnTo>
                    <a:pt x="41" y="138"/>
                  </a:lnTo>
                  <a:lnTo>
                    <a:pt x="43" y="135"/>
                  </a:lnTo>
                  <a:lnTo>
                    <a:pt x="41" y="132"/>
                  </a:lnTo>
                  <a:lnTo>
                    <a:pt x="43" y="135"/>
                  </a:lnTo>
                  <a:lnTo>
                    <a:pt x="43" y="135"/>
                  </a:lnTo>
                  <a:lnTo>
                    <a:pt x="43" y="135"/>
                  </a:lnTo>
                  <a:lnTo>
                    <a:pt x="46" y="135"/>
                  </a:lnTo>
                  <a:lnTo>
                    <a:pt x="46" y="135"/>
                  </a:lnTo>
                  <a:lnTo>
                    <a:pt x="46" y="132"/>
                  </a:lnTo>
                  <a:lnTo>
                    <a:pt x="43" y="132"/>
                  </a:lnTo>
                  <a:lnTo>
                    <a:pt x="43" y="130"/>
                  </a:lnTo>
                  <a:lnTo>
                    <a:pt x="41" y="130"/>
                  </a:lnTo>
                  <a:lnTo>
                    <a:pt x="41" y="130"/>
                  </a:lnTo>
                  <a:lnTo>
                    <a:pt x="38" y="132"/>
                  </a:lnTo>
                  <a:lnTo>
                    <a:pt x="38" y="130"/>
                  </a:lnTo>
                  <a:lnTo>
                    <a:pt x="41" y="130"/>
                  </a:lnTo>
                  <a:lnTo>
                    <a:pt x="41" y="130"/>
                  </a:lnTo>
                  <a:lnTo>
                    <a:pt x="41" y="127"/>
                  </a:lnTo>
                  <a:lnTo>
                    <a:pt x="41" y="125"/>
                  </a:lnTo>
                  <a:lnTo>
                    <a:pt x="38" y="122"/>
                  </a:lnTo>
                  <a:lnTo>
                    <a:pt x="38" y="120"/>
                  </a:lnTo>
                  <a:lnTo>
                    <a:pt x="36" y="120"/>
                  </a:lnTo>
                  <a:lnTo>
                    <a:pt x="33" y="120"/>
                  </a:lnTo>
                  <a:lnTo>
                    <a:pt x="31" y="120"/>
                  </a:lnTo>
                  <a:lnTo>
                    <a:pt x="31" y="120"/>
                  </a:lnTo>
                  <a:lnTo>
                    <a:pt x="25" y="120"/>
                  </a:lnTo>
                  <a:lnTo>
                    <a:pt x="23" y="120"/>
                  </a:lnTo>
                  <a:lnTo>
                    <a:pt x="23" y="120"/>
                  </a:lnTo>
                  <a:lnTo>
                    <a:pt x="23" y="120"/>
                  </a:lnTo>
                  <a:lnTo>
                    <a:pt x="20" y="122"/>
                  </a:lnTo>
                  <a:lnTo>
                    <a:pt x="20" y="122"/>
                  </a:lnTo>
                  <a:lnTo>
                    <a:pt x="18" y="122"/>
                  </a:lnTo>
                  <a:lnTo>
                    <a:pt x="18" y="122"/>
                  </a:lnTo>
                  <a:lnTo>
                    <a:pt x="15" y="122"/>
                  </a:lnTo>
                  <a:lnTo>
                    <a:pt x="15" y="125"/>
                  </a:lnTo>
                  <a:lnTo>
                    <a:pt x="13" y="125"/>
                  </a:lnTo>
                  <a:lnTo>
                    <a:pt x="13" y="127"/>
                  </a:lnTo>
                  <a:lnTo>
                    <a:pt x="13" y="127"/>
                  </a:lnTo>
                  <a:lnTo>
                    <a:pt x="10" y="130"/>
                  </a:lnTo>
                  <a:lnTo>
                    <a:pt x="10" y="130"/>
                  </a:lnTo>
                  <a:lnTo>
                    <a:pt x="8" y="130"/>
                  </a:lnTo>
                  <a:lnTo>
                    <a:pt x="8" y="130"/>
                  </a:lnTo>
                  <a:lnTo>
                    <a:pt x="8" y="130"/>
                  </a:lnTo>
                  <a:lnTo>
                    <a:pt x="5" y="130"/>
                  </a:lnTo>
                  <a:lnTo>
                    <a:pt x="5" y="130"/>
                  </a:lnTo>
                  <a:lnTo>
                    <a:pt x="5" y="130"/>
                  </a:lnTo>
                  <a:lnTo>
                    <a:pt x="5" y="130"/>
                  </a:lnTo>
                  <a:lnTo>
                    <a:pt x="5" y="132"/>
                  </a:lnTo>
                  <a:lnTo>
                    <a:pt x="8" y="132"/>
                  </a:lnTo>
                  <a:lnTo>
                    <a:pt x="8" y="132"/>
                  </a:lnTo>
                  <a:lnTo>
                    <a:pt x="5" y="132"/>
                  </a:lnTo>
                  <a:lnTo>
                    <a:pt x="3" y="135"/>
                  </a:lnTo>
                  <a:lnTo>
                    <a:pt x="0" y="135"/>
                  </a:lnTo>
                  <a:lnTo>
                    <a:pt x="0" y="135"/>
                  </a:lnTo>
                  <a:lnTo>
                    <a:pt x="0" y="138"/>
                  </a:lnTo>
                  <a:lnTo>
                    <a:pt x="3" y="140"/>
                  </a:lnTo>
                  <a:lnTo>
                    <a:pt x="5" y="140"/>
                  </a:lnTo>
                  <a:lnTo>
                    <a:pt x="5" y="140"/>
                  </a:lnTo>
                  <a:lnTo>
                    <a:pt x="8" y="143"/>
                  </a:lnTo>
                  <a:lnTo>
                    <a:pt x="8" y="143"/>
                  </a:lnTo>
                  <a:lnTo>
                    <a:pt x="10" y="143"/>
                  </a:lnTo>
                  <a:lnTo>
                    <a:pt x="13" y="143"/>
                  </a:lnTo>
                  <a:lnTo>
                    <a:pt x="13" y="143"/>
                  </a:lnTo>
                  <a:lnTo>
                    <a:pt x="13" y="143"/>
                  </a:lnTo>
                  <a:lnTo>
                    <a:pt x="13" y="143"/>
                  </a:lnTo>
                  <a:lnTo>
                    <a:pt x="15" y="140"/>
                  </a:lnTo>
                  <a:lnTo>
                    <a:pt x="15" y="140"/>
                  </a:lnTo>
                  <a:lnTo>
                    <a:pt x="15" y="140"/>
                  </a:lnTo>
                  <a:lnTo>
                    <a:pt x="15" y="140"/>
                  </a:lnTo>
                  <a:lnTo>
                    <a:pt x="18" y="138"/>
                  </a:lnTo>
                  <a:lnTo>
                    <a:pt x="18" y="138"/>
                  </a:lnTo>
                  <a:lnTo>
                    <a:pt x="20" y="138"/>
                  </a:lnTo>
                  <a:lnTo>
                    <a:pt x="20" y="138"/>
                  </a:lnTo>
                  <a:lnTo>
                    <a:pt x="20" y="138"/>
                  </a:lnTo>
                  <a:lnTo>
                    <a:pt x="20" y="140"/>
                  </a:lnTo>
                  <a:lnTo>
                    <a:pt x="20" y="140"/>
                  </a:lnTo>
                  <a:lnTo>
                    <a:pt x="23" y="140"/>
                  </a:lnTo>
                  <a:lnTo>
                    <a:pt x="23" y="140"/>
                  </a:lnTo>
                  <a:lnTo>
                    <a:pt x="25" y="143"/>
                  </a:lnTo>
                  <a:lnTo>
                    <a:pt x="25" y="143"/>
                  </a:lnTo>
                  <a:lnTo>
                    <a:pt x="23" y="143"/>
                  </a:lnTo>
                  <a:lnTo>
                    <a:pt x="25" y="145"/>
                  </a:lnTo>
                  <a:lnTo>
                    <a:pt x="25" y="145"/>
                  </a:lnTo>
                  <a:lnTo>
                    <a:pt x="28" y="145"/>
                  </a:lnTo>
                  <a:lnTo>
                    <a:pt x="28" y="145"/>
                  </a:lnTo>
                  <a:lnTo>
                    <a:pt x="28" y="143"/>
                  </a:lnTo>
                  <a:lnTo>
                    <a:pt x="31" y="143"/>
                  </a:lnTo>
                  <a:lnTo>
                    <a:pt x="31" y="143"/>
                  </a:lnTo>
                  <a:lnTo>
                    <a:pt x="33" y="145"/>
                  </a:lnTo>
                  <a:lnTo>
                    <a:pt x="36" y="145"/>
                  </a:lnTo>
                  <a:close/>
                  <a:moveTo>
                    <a:pt x="51" y="115"/>
                  </a:moveTo>
                  <a:lnTo>
                    <a:pt x="54" y="115"/>
                  </a:lnTo>
                  <a:lnTo>
                    <a:pt x="54" y="112"/>
                  </a:lnTo>
                  <a:lnTo>
                    <a:pt x="54" y="112"/>
                  </a:lnTo>
                  <a:lnTo>
                    <a:pt x="54" y="110"/>
                  </a:lnTo>
                  <a:lnTo>
                    <a:pt x="54" y="110"/>
                  </a:lnTo>
                  <a:lnTo>
                    <a:pt x="51" y="110"/>
                  </a:lnTo>
                  <a:lnTo>
                    <a:pt x="51" y="110"/>
                  </a:lnTo>
                  <a:lnTo>
                    <a:pt x="51" y="110"/>
                  </a:lnTo>
                  <a:lnTo>
                    <a:pt x="48" y="110"/>
                  </a:lnTo>
                  <a:lnTo>
                    <a:pt x="48" y="110"/>
                  </a:lnTo>
                  <a:lnTo>
                    <a:pt x="51" y="115"/>
                  </a:lnTo>
                  <a:lnTo>
                    <a:pt x="51" y="115"/>
                  </a:lnTo>
                  <a:lnTo>
                    <a:pt x="51" y="115"/>
                  </a:lnTo>
                  <a:close/>
                  <a:moveTo>
                    <a:pt x="33" y="112"/>
                  </a:moveTo>
                  <a:lnTo>
                    <a:pt x="36" y="112"/>
                  </a:lnTo>
                  <a:lnTo>
                    <a:pt x="38" y="110"/>
                  </a:lnTo>
                  <a:lnTo>
                    <a:pt x="38" y="110"/>
                  </a:lnTo>
                  <a:lnTo>
                    <a:pt x="38" y="110"/>
                  </a:lnTo>
                  <a:lnTo>
                    <a:pt x="38" y="107"/>
                  </a:lnTo>
                  <a:lnTo>
                    <a:pt x="38" y="104"/>
                  </a:lnTo>
                  <a:lnTo>
                    <a:pt x="36" y="104"/>
                  </a:lnTo>
                  <a:lnTo>
                    <a:pt x="36" y="104"/>
                  </a:lnTo>
                  <a:lnTo>
                    <a:pt x="33" y="104"/>
                  </a:lnTo>
                  <a:lnTo>
                    <a:pt x="33" y="104"/>
                  </a:lnTo>
                  <a:lnTo>
                    <a:pt x="33" y="104"/>
                  </a:lnTo>
                  <a:lnTo>
                    <a:pt x="33" y="107"/>
                  </a:lnTo>
                  <a:lnTo>
                    <a:pt x="31" y="107"/>
                  </a:lnTo>
                  <a:lnTo>
                    <a:pt x="31" y="107"/>
                  </a:lnTo>
                  <a:lnTo>
                    <a:pt x="31" y="110"/>
                  </a:lnTo>
                  <a:lnTo>
                    <a:pt x="31" y="110"/>
                  </a:lnTo>
                  <a:lnTo>
                    <a:pt x="31" y="110"/>
                  </a:lnTo>
                  <a:lnTo>
                    <a:pt x="33" y="107"/>
                  </a:lnTo>
                  <a:lnTo>
                    <a:pt x="33" y="107"/>
                  </a:lnTo>
                  <a:lnTo>
                    <a:pt x="36" y="107"/>
                  </a:lnTo>
                  <a:lnTo>
                    <a:pt x="33" y="110"/>
                  </a:lnTo>
                  <a:lnTo>
                    <a:pt x="36" y="110"/>
                  </a:lnTo>
                  <a:lnTo>
                    <a:pt x="33" y="110"/>
                  </a:lnTo>
                  <a:lnTo>
                    <a:pt x="33" y="112"/>
                  </a:lnTo>
                  <a:close/>
                  <a:moveTo>
                    <a:pt x="38" y="104"/>
                  </a:moveTo>
                  <a:lnTo>
                    <a:pt x="38" y="107"/>
                  </a:lnTo>
                  <a:lnTo>
                    <a:pt x="38" y="107"/>
                  </a:lnTo>
                  <a:lnTo>
                    <a:pt x="38" y="107"/>
                  </a:lnTo>
                  <a:lnTo>
                    <a:pt x="41" y="107"/>
                  </a:lnTo>
                  <a:lnTo>
                    <a:pt x="41" y="107"/>
                  </a:lnTo>
                  <a:lnTo>
                    <a:pt x="43" y="102"/>
                  </a:lnTo>
                  <a:lnTo>
                    <a:pt x="46" y="99"/>
                  </a:lnTo>
                  <a:lnTo>
                    <a:pt x="43" y="99"/>
                  </a:lnTo>
                  <a:lnTo>
                    <a:pt x="43" y="99"/>
                  </a:lnTo>
                  <a:lnTo>
                    <a:pt x="41" y="102"/>
                  </a:lnTo>
                  <a:lnTo>
                    <a:pt x="41" y="102"/>
                  </a:lnTo>
                  <a:lnTo>
                    <a:pt x="41" y="102"/>
                  </a:lnTo>
                  <a:lnTo>
                    <a:pt x="41" y="102"/>
                  </a:lnTo>
                  <a:lnTo>
                    <a:pt x="38" y="104"/>
                  </a:lnTo>
                  <a:lnTo>
                    <a:pt x="38" y="104"/>
                  </a:lnTo>
                  <a:close/>
                  <a:moveTo>
                    <a:pt x="43" y="92"/>
                  </a:moveTo>
                  <a:lnTo>
                    <a:pt x="43" y="92"/>
                  </a:lnTo>
                  <a:lnTo>
                    <a:pt x="41" y="89"/>
                  </a:lnTo>
                  <a:lnTo>
                    <a:pt x="41" y="89"/>
                  </a:lnTo>
                  <a:lnTo>
                    <a:pt x="38" y="89"/>
                  </a:lnTo>
                  <a:lnTo>
                    <a:pt x="38" y="89"/>
                  </a:lnTo>
                  <a:lnTo>
                    <a:pt x="36" y="89"/>
                  </a:lnTo>
                  <a:lnTo>
                    <a:pt x="36" y="89"/>
                  </a:lnTo>
                  <a:lnTo>
                    <a:pt x="36" y="89"/>
                  </a:lnTo>
                  <a:lnTo>
                    <a:pt x="36" y="92"/>
                  </a:lnTo>
                  <a:lnTo>
                    <a:pt x="38" y="92"/>
                  </a:lnTo>
                  <a:lnTo>
                    <a:pt x="38" y="94"/>
                  </a:lnTo>
                  <a:lnTo>
                    <a:pt x="36" y="94"/>
                  </a:lnTo>
                  <a:lnTo>
                    <a:pt x="36" y="97"/>
                  </a:lnTo>
                  <a:lnTo>
                    <a:pt x="36" y="97"/>
                  </a:lnTo>
                  <a:lnTo>
                    <a:pt x="38" y="97"/>
                  </a:lnTo>
                  <a:lnTo>
                    <a:pt x="43" y="94"/>
                  </a:lnTo>
                  <a:lnTo>
                    <a:pt x="46" y="92"/>
                  </a:lnTo>
                  <a:lnTo>
                    <a:pt x="43" y="92"/>
                  </a:lnTo>
                  <a:close/>
                  <a:moveTo>
                    <a:pt x="33" y="89"/>
                  </a:moveTo>
                  <a:lnTo>
                    <a:pt x="33" y="89"/>
                  </a:lnTo>
                  <a:lnTo>
                    <a:pt x="33" y="89"/>
                  </a:lnTo>
                  <a:lnTo>
                    <a:pt x="31" y="89"/>
                  </a:lnTo>
                  <a:lnTo>
                    <a:pt x="31" y="89"/>
                  </a:lnTo>
                  <a:lnTo>
                    <a:pt x="31" y="89"/>
                  </a:lnTo>
                  <a:lnTo>
                    <a:pt x="33" y="89"/>
                  </a:lnTo>
                  <a:lnTo>
                    <a:pt x="33" y="89"/>
                  </a:lnTo>
                  <a:close/>
                  <a:moveTo>
                    <a:pt x="18" y="82"/>
                  </a:moveTo>
                  <a:lnTo>
                    <a:pt x="18" y="82"/>
                  </a:lnTo>
                  <a:lnTo>
                    <a:pt x="20" y="82"/>
                  </a:lnTo>
                  <a:lnTo>
                    <a:pt x="20" y="82"/>
                  </a:lnTo>
                  <a:lnTo>
                    <a:pt x="18" y="82"/>
                  </a:lnTo>
                  <a:lnTo>
                    <a:pt x="18" y="82"/>
                  </a:lnTo>
                  <a:lnTo>
                    <a:pt x="18" y="82"/>
                  </a:lnTo>
                  <a:lnTo>
                    <a:pt x="18" y="82"/>
                  </a:lnTo>
                  <a:lnTo>
                    <a:pt x="18" y="82"/>
                  </a:lnTo>
                  <a:close/>
                  <a:moveTo>
                    <a:pt x="36" y="82"/>
                  </a:moveTo>
                  <a:lnTo>
                    <a:pt x="38" y="82"/>
                  </a:lnTo>
                  <a:lnTo>
                    <a:pt x="38" y="82"/>
                  </a:lnTo>
                  <a:lnTo>
                    <a:pt x="38" y="82"/>
                  </a:lnTo>
                  <a:lnTo>
                    <a:pt x="38" y="82"/>
                  </a:lnTo>
                  <a:lnTo>
                    <a:pt x="38" y="82"/>
                  </a:lnTo>
                  <a:lnTo>
                    <a:pt x="38" y="79"/>
                  </a:lnTo>
                  <a:lnTo>
                    <a:pt x="36" y="82"/>
                  </a:lnTo>
                  <a:lnTo>
                    <a:pt x="36" y="82"/>
                  </a:lnTo>
                  <a:lnTo>
                    <a:pt x="36" y="82"/>
                  </a:lnTo>
                  <a:close/>
                  <a:moveTo>
                    <a:pt x="20" y="74"/>
                  </a:moveTo>
                  <a:lnTo>
                    <a:pt x="20" y="74"/>
                  </a:lnTo>
                  <a:lnTo>
                    <a:pt x="20" y="76"/>
                  </a:lnTo>
                  <a:lnTo>
                    <a:pt x="20" y="76"/>
                  </a:lnTo>
                  <a:lnTo>
                    <a:pt x="20" y="79"/>
                  </a:lnTo>
                  <a:lnTo>
                    <a:pt x="20" y="79"/>
                  </a:lnTo>
                  <a:lnTo>
                    <a:pt x="20" y="79"/>
                  </a:lnTo>
                  <a:lnTo>
                    <a:pt x="23" y="79"/>
                  </a:lnTo>
                  <a:lnTo>
                    <a:pt x="23" y="79"/>
                  </a:lnTo>
                  <a:lnTo>
                    <a:pt x="23" y="74"/>
                  </a:lnTo>
                  <a:lnTo>
                    <a:pt x="23" y="74"/>
                  </a:lnTo>
                  <a:lnTo>
                    <a:pt x="20" y="74"/>
                  </a:lnTo>
                  <a:close/>
                  <a:moveTo>
                    <a:pt x="43" y="82"/>
                  </a:moveTo>
                  <a:lnTo>
                    <a:pt x="43" y="82"/>
                  </a:lnTo>
                  <a:lnTo>
                    <a:pt x="43" y="79"/>
                  </a:lnTo>
                  <a:lnTo>
                    <a:pt x="46" y="79"/>
                  </a:lnTo>
                  <a:lnTo>
                    <a:pt x="48" y="76"/>
                  </a:lnTo>
                  <a:lnTo>
                    <a:pt x="48" y="76"/>
                  </a:lnTo>
                  <a:lnTo>
                    <a:pt x="48" y="76"/>
                  </a:lnTo>
                  <a:lnTo>
                    <a:pt x="48" y="76"/>
                  </a:lnTo>
                  <a:lnTo>
                    <a:pt x="46" y="76"/>
                  </a:lnTo>
                  <a:lnTo>
                    <a:pt x="41" y="76"/>
                  </a:lnTo>
                  <a:lnTo>
                    <a:pt x="41" y="74"/>
                  </a:lnTo>
                  <a:lnTo>
                    <a:pt x="41" y="74"/>
                  </a:lnTo>
                  <a:lnTo>
                    <a:pt x="41" y="74"/>
                  </a:lnTo>
                  <a:lnTo>
                    <a:pt x="41" y="71"/>
                  </a:lnTo>
                  <a:lnTo>
                    <a:pt x="41" y="71"/>
                  </a:lnTo>
                  <a:lnTo>
                    <a:pt x="41" y="71"/>
                  </a:lnTo>
                  <a:lnTo>
                    <a:pt x="41" y="69"/>
                  </a:lnTo>
                  <a:lnTo>
                    <a:pt x="41" y="66"/>
                  </a:lnTo>
                  <a:lnTo>
                    <a:pt x="38" y="66"/>
                  </a:lnTo>
                  <a:lnTo>
                    <a:pt x="38" y="66"/>
                  </a:lnTo>
                  <a:lnTo>
                    <a:pt x="38" y="69"/>
                  </a:lnTo>
                  <a:lnTo>
                    <a:pt x="33" y="69"/>
                  </a:lnTo>
                  <a:lnTo>
                    <a:pt x="33" y="69"/>
                  </a:lnTo>
                  <a:lnTo>
                    <a:pt x="33" y="71"/>
                  </a:lnTo>
                  <a:lnTo>
                    <a:pt x="33" y="71"/>
                  </a:lnTo>
                  <a:lnTo>
                    <a:pt x="33" y="71"/>
                  </a:lnTo>
                  <a:lnTo>
                    <a:pt x="33" y="71"/>
                  </a:lnTo>
                  <a:lnTo>
                    <a:pt x="33" y="71"/>
                  </a:lnTo>
                  <a:lnTo>
                    <a:pt x="31" y="71"/>
                  </a:lnTo>
                  <a:lnTo>
                    <a:pt x="31" y="71"/>
                  </a:lnTo>
                  <a:lnTo>
                    <a:pt x="31" y="71"/>
                  </a:lnTo>
                  <a:lnTo>
                    <a:pt x="33" y="74"/>
                  </a:lnTo>
                  <a:lnTo>
                    <a:pt x="36" y="74"/>
                  </a:lnTo>
                  <a:lnTo>
                    <a:pt x="38" y="76"/>
                  </a:lnTo>
                  <a:lnTo>
                    <a:pt x="38" y="76"/>
                  </a:lnTo>
                  <a:lnTo>
                    <a:pt x="38" y="76"/>
                  </a:lnTo>
                  <a:lnTo>
                    <a:pt x="41" y="76"/>
                  </a:lnTo>
                  <a:lnTo>
                    <a:pt x="43" y="76"/>
                  </a:lnTo>
                  <a:lnTo>
                    <a:pt x="43" y="79"/>
                  </a:lnTo>
                  <a:lnTo>
                    <a:pt x="43" y="82"/>
                  </a:lnTo>
                  <a:close/>
                  <a:moveTo>
                    <a:pt x="25" y="69"/>
                  </a:moveTo>
                  <a:lnTo>
                    <a:pt x="25" y="69"/>
                  </a:lnTo>
                  <a:lnTo>
                    <a:pt x="25" y="66"/>
                  </a:lnTo>
                  <a:lnTo>
                    <a:pt x="23" y="66"/>
                  </a:lnTo>
                  <a:lnTo>
                    <a:pt x="23" y="66"/>
                  </a:lnTo>
                  <a:lnTo>
                    <a:pt x="20" y="69"/>
                  </a:lnTo>
                  <a:lnTo>
                    <a:pt x="20" y="66"/>
                  </a:lnTo>
                  <a:lnTo>
                    <a:pt x="20" y="66"/>
                  </a:lnTo>
                  <a:lnTo>
                    <a:pt x="20" y="69"/>
                  </a:lnTo>
                  <a:lnTo>
                    <a:pt x="18" y="69"/>
                  </a:lnTo>
                  <a:lnTo>
                    <a:pt x="18" y="69"/>
                  </a:lnTo>
                  <a:lnTo>
                    <a:pt x="23" y="69"/>
                  </a:lnTo>
                  <a:lnTo>
                    <a:pt x="25" y="69"/>
                  </a:lnTo>
                  <a:close/>
                  <a:moveTo>
                    <a:pt x="28" y="64"/>
                  </a:moveTo>
                  <a:lnTo>
                    <a:pt x="25" y="64"/>
                  </a:lnTo>
                  <a:lnTo>
                    <a:pt x="28" y="66"/>
                  </a:lnTo>
                  <a:lnTo>
                    <a:pt x="28" y="66"/>
                  </a:lnTo>
                  <a:lnTo>
                    <a:pt x="28" y="66"/>
                  </a:lnTo>
                  <a:lnTo>
                    <a:pt x="31" y="64"/>
                  </a:lnTo>
                  <a:lnTo>
                    <a:pt x="31" y="64"/>
                  </a:lnTo>
                  <a:lnTo>
                    <a:pt x="31" y="64"/>
                  </a:lnTo>
                  <a:lnTo>
                    <a:pt x="33" y="61"/>
                  </a:lnTo>
                  <a:lnTo>
                    <a:pt x="36" y="61"/>
                  </a:lnTo>
                  <a:lnTo>
                    <a:pt x="38" y="59"/>
                  </a:lnTo>
                  <a:lnTo>
                    <a:pt x="38" y="59"/>
                  </a:lnTo>
                  <a:lnTo>
                    <a:pt x="38" y="59"/>
                  </a:lnTo>
                  <a:lnTo>
                    <a:pt x="38" y="59"/>
                  </a:lnTo>
                  <a:lnTo>
                    <a:pt x="36" y="59"/>
                  </a:lnTo>
                  <a:lnTo>
                    <a:pt x="38" y="56"/>
                  </a:lnTo>
                  <a:lnTo>
                    <a:pt x="38" y="56"/>
                  </a:lnTo>
                  <a:lnTo>
                    <a:pt x="41" y="56"/>
                  </a:lnTo>
                  <a:lnTo>
                    <a:pt x="43" y="54"/>
                  </a:lnTo>
                  <a:lnTo>
                    <a:pt x="43" y="51"/>
                  </a:lnTo>
                  <a:lnTo>
                    <a:pt x="43" y="51"/>
                  </a:lnTo>
                  <a:lnTo>
                    <a:pt x="43" y="48"/>
                  </a:lnTo>
                  <a:lnTo>
                    <a:pt x="41" y="51"/>
                  </a:lnTo>
                  <a:lnTo>
                    <a:pt x="38" y="51"/>
                  </a:lnTo>
                  <a:lnTo>
                    <a:pt x="33" y="54"/>
                  </a:lnTo>
                  <a:lnTo>
                    <a:pt x="33" y="54"/>
                  </a:lnTo>
                  <a:lnTo>
                    <a:pt x="33" y="54"/>
                  </a:lnTo>
                  <a:lnTo>
                    <a:pt x="33" y="56"/>
                  </a:lnTo>
                  <a:lnTo>
                    <a:pt x="33" y="56"/>
                  </a:lnTo>
                  <a:lnTo>
                    <a:pt x="33" y="56"/>
                  </a:lnTo>
                  <a:lnTo>
                    <a:pt x="31" y="56"/>
                  </a:lnTo>
                  <a:lnTo>
                    <a:pt x="31" y="56"/>
                  </a:lnTo>
                  <a:lnTo>
                    <a:pt x="28" y="56"/>
                  </a:lnTo>
                  <a:lnTo>
                    <a:pt x="28" y="56"/>
                  </a:lnTo>
                  <a:lnTo>
                    <a:pt x="28" y="56"/>
                  </a:lnTo>
                  <a:lnTo>
                    <a:pt x="28" y="56"/>
                  </a:lnTo>
                  <a:lnTo>
                    <a:pt x="28" y="56"/>
                  </a:lnTo>
                  <a:lnTo>
                    <a:pt x="28" y="59"/>
                  </a:lnTo>
                  <a:lnTo>
                    <a:pt x="28" y="59"/>
                  </a:lnTo>
                  <a:lnTo>
                    <a:pt x="28" y="59"/>
                  </a:lnTo>
                  <a:lnTo>
                    <a:pt x="28" y="59"/>
                  </a:lnTo>
                  <a:lnTo>
                    <a:pt x="28" y="59"/>
                  </a:lnTo>
                  <a:lnTo>
                    <a:pt x="28" y="59"/>
                  </a:lnTo>
                  <a:lnTo>
                    <a:pt x="28" y="61"/>
                  </a:lnTo>
                  <a:lnTo>
                    <a:pt x="28" y="61"/>
                  </a:lnTo>
                  <a:lnTo>
                    <a:pt x="31" y="61"/>
                  </a:lnTo>
                  <a:lnTo>
                    <a:pt x="31" y="61"/>
                  </a:lnTo>
                  <a:lnTo>
                    <a:pt x="28" y="61"/>
                  </a:lnTo>
                  <a:lnTo>
                    <a:pt x="28" y="64"/>
                  </a:lnTo>
                  <a:close/>
                  <a:moveTo>
                    <a:pt x="163" y="173"/>
                  </a:moveTo>
                  <a:lnTo>
                    <a:pt x="163" y="173"/>
                  </a:lnTo>
                  <a:lnTo>
                    <a:pt x="158" y="168"/>
                  </a:lnTo>
                  <a:lnTo>
                    <a:pt x="158" y="168"/>
                  </a:lnTo>
                  <a:lnTo>
                    <a:pt x="153" y="168"/>
                  </a:lnTo>
                  <a:lnTo>
                    <a:pt x="150" y="168"/>
                  </a:lnTo>
                  <a:lnTo>
                    <a:pt x="150" y="168"/>
                  </a:lnTo>
                  <a:lnTo>
                    <a:pt x="148" y="168"/>
                  </a:lnTo>
                  <a:lnTo>
                    <a:pt x="145" y="168"/>
                  </a:lnTo>
                  <a:lnTo>
                    <a:pt x="143" y="168"/>
                  </a:lnTo>
                  <a:lnTo>
                    <a:pt x="143" y="171"/>
                  </a:lnTo>
                  <a:lnTo>
                    <a:pt x="143" y="171"/>
                  </a:lnTo>
                  <a:lnTo>
                    <a:pt x="140" y="171"/>
                  </a:lnTo>
                  <a:lnTo>
                    <a:pt x="140" y="171"/>
                  </a:lnTo>
                  <a:lnTo>
                    <a:pt x="135" y="168"/>
                  </a:lnTo>
                  <a:lnTo>
                    <a:pt x="138" y="168"/>
                  </a:lnTo>
                  <a:lnTo>
                    <a:pt x="138" y="166"/>
                  </a:lnTo>
                  <a:lnTo>
                    <a:pt x="140" y="166"/>
                  </a:lnTo>
                  <a:lnTo>
                    <a:pt x="143" y="163"/>
                  </a:lnTo>
                  <a:lnTo>
                    <a:pt x="140" y="160"/>
                  </a:lnTo>
                  <a:lnTo>
                    <a:pt x="138" y="158"/>
                  </a:lnTo>
                  <a:lnTo>
                    <a:pt x="133" y="153"/>
                  </a:lnTo>
                  <a:lnTo>
                    <a:pt x="127" y="153"/>
                  </a:lnTo>
                  <a:lnTo>
                    <a:pt x="125" y="150"/>
                  </a:lnTo>
                  <a:lnTo>
                    <a:pt x="127" y="150"/>
                  </a:lnTo>
                  <a:lnTo>
                    <a:pt x="127" y="150"/>
                  </a:lnTo>
                  <a:lnTo>
                    <a:pt x="133" y="150"/>
                  </a:lnTo>
                  <a:lnTo>
                    <a:pt x="133" y="153"/>
                  </a:lnTo>
                  <a:lnTo>
                    <a:pt x="135" y="153"/>
                  </a:lnTo>
                  <a:lnTo>
                    <a:pt x="135" y="153"/>
                  </a:lnTo>
                  <a:lnTo>
                    <a:pt x="138" y="153"/>
                  </a:lnTo>
                  <a:lnTo>
                    <a:pt x="138" y="153"/>
                  </a:lnTo>
                  <a:lnTo>
                    <a:pt x="138" y="153"/>
                  </a:lnTo>
                  <a:lnTo>
                    <a:pt x="138" y="150"/>
                  </a:lnTo>
                  <a:lnTo>
                    <a:pt x="135" y="148"/>
                  </a:lnTo>
                  <a:lnTo>
                    <a:pt x="135" y="148"/>
                  </a:lnTo>
                  <a:lnTo>
                    <a:pt x="133" y="145"/>
                  </a:lnTo>
                  <a:lnTo>
                    <a:pt x="135" y="143"/>
                  </a:lnTo>
                  <a:lnTo>
                    <a:pt x="135" y="143"/>
                  </a:lnTo>
                  <a:lnTo>
                    <a:pt x="133" y="140"/>
                  </a:lnTo>
                  <a:lnTo>
                    <a:pt x="130" y="140"/>
                  </a:lnTo>
                  <a:lnTo>
                    <a:pt x="127" y="138"/>
                  </a:lnTo>
                  <a:lnTo>
                    <a:pt x="127" y="135"/>
                  </a:lnTo>
                  <a:lnTo>
                    <a:pt x="125" y="135"/>
                  </a:lnTo>
                  <a:lnTo>
                    <a:pt x="117" y="132"/>
                  </a:lnTo>
                  <a:lnTo>
                    <a:pt x="117" y="130"/>
                  </a:lnTo>
                  <a:lnTo>
                    <a:pt x="117" y="130"/>
                  </a:lnTo>
                  <a:lnTo>
                    <a:pt x="115" y="122"/>
                  </a:lnTo>
                  <a:lnTo>
                    <a:pt x="112" y="117"/>
                  </a:lnTo>
                  <a:lnTo>
                    <a:pt x="112" y="112"/>
                  </a:lnTo>
                  <a:lnTo>
                    <a:pt x="112" y="112"/>
                  </a:lnTo>
                  <a:lnTo>
                    <a:pt x="110" y="110"/>
                  </a:lnTo>
                  <a:lnTo>
                    <a:pt x="110" y="110"/>
                  </a:lnTo>
                  <a:lnTo>
                    <a:pt x="107" y="107"/>
                  </a:lnTo>
                  <a:lnTo>
                    <a:pt x="104" y="104"/>
                  </a:lnTo>
                  <a:lnTo>
                    <a:pt x="97" y="102"/>
                  </a:lnTo>
                  <a:lnTo>
                    <a:pt x="92" y="102"/>
                  </a:lnTo>
                  <a:lnTo>
                    <a:pt x="89" y="104"/>
                  </a:lnTo>
                  <a:lnTo>
                    <a:pt x="89" y="104"/>
                  </a:lnTo>
                  <a:lnTo>
                    <a:pt x="79" y="102"/>
                  </a:lnTo>
                  <a:lnTo>
                    <a:pt x="79" y="102"/>
                  </a:lnTo>
                  <a:lnTo>
                    <a:pt x="76" y="99"/>
                  </a:lnTo>
                  <a:lnTo>
                    <a:pt x="79" y="102"/>
                  </a:lnTo>
                  <a:lnTo>
                    <a:pt x="82" y="102"/>
                  </a:lnTo>
                  <a:lnTo>
                    <a:pt x="84" y="102"/>
                  </a:lnTo>
                  <a:lnTo>
                    <a:pt x="87" y="102"/>
                  </a:lnTo>
                  <a:lnTo>
                    <a:pt x="87" y="102"/>
                  </a:lnTo>
                  <a:lnTo>
                    <a:pt x="92" y="99"/>
                  </a:lnTo>
                  <a:lnTo>
                    <a:pt x="94" y="99"/>
                  </a:lnTo>
                  <a:lnTo>
                    <a:pt x="97" y="97"/>
                  </a:lnTo>
                  <a:lnTo>
                    <a:pt x="97" y="97"/>
                  </a:lnTo>
                  <a:lnTo>
                    <a:pt x="92" y="94"/>
                  </a:lnTo>
                  <a:lnTo>
                    <a:pt x="89" y="94"/>
                  </a:lnTo>
                  <a:lnTo>
                    <a:pt x="87" y="94"/>
                  </a:lnTo>
                  <a:lnTo>
                    <a:pt x="87" y="94"/>
                  </a:lnTo>
                  <a:lnTo>
                    <a:pt x="87" y="94"/>
                  </a:lnTo>
                  <a:lnTo>
                    <a:pt x="89" y="94"/>
                  </a:lnTo>
                  <a:lnTo>
                    <a:pt x="89" y="92"/>
                  </a:lnTo>
                  <a:lnTo>
                    <a:pt x="94" y="92"/>
                  </a:lnTo>
                  <a:lnTo>
                    <a:pt x="97" y="92"/>
                  </a:lnTo>
                  <a:lnTo>
                    <a:pt x="97" y="92"/>
                  </a:lnTo>
                  <a:lnTo>
                    <a:pt x="99" y="89"/>
                  </a:lnTo>
                  <a:lnTo>
                    <a:pt x="102" y="87"/>
                  </a:lnTo>
                  <a:lnTo>
                    <a:pt x="104" y="84"/>
                  </a:lnTo>
                  <a:lnTo>
                    <a:pt x="107" y="79"/>
                  </a:lnTo>
                  <a:lnTo>
                    <a:pt x="107" y="79"/>
                  </a:lnTo>
                  <a:lnTo>
                    <a:pt x="107" y="76"/>
                  </a:lnTo>
                  <a:lnTo>
                    <a:pt x="110" y="76"/>
                  </a:lnTo>
                  <a:lnTo>
                    <a:pt x="110" y="74"/>
                  </a:lnTo>
                  <a:lnTo>
                    <a:pt x="112" y="71"/>
                  </a:lnTo>
                  <a:lnTo>
                    <a:pt x="112" y="71"/>
                  </a:lnTo>
                  <a:lnTo>
                    <a:pt x="112" y="71"/>
                  </a:lnTo>
                  <a:lnTo>
                    <a:pt x="112" y="69"/>
                  </a:lnTo>
                  <a:lnTo>
                    <a:pt x="110" y="66"/>
                  </a:lnTo>
                  <a:lnTo>
                    <a:pt x="110" y="66"/>
                  </a:lnTo>
                  <a:lnTo>
                    <a:pt x="104" y="66"/>
                  </a:lnTo>
                  <a:lnTo>
                    <a:pt x="97" y="66"/>
                  </a:lnTo>
                  <a:lnTo>
                    <a:pt x="94" y="66"/>
                  </a:lnTo>
                  <a:lnTo>
                    <a:pt x="92" y="66"/>
                  </a:lnTo>
                  <a:lnTo>
                    <a:pt x="92" y="66"/>
                  </a:lnTo>
                  <a:lnTo>
                    <a:pt x="89" y="66"/>
                  </a:lnTo>
                  <a:lnTo>
                    <a:pt x="87" y="66"/>
                  </a:lnTo>
                  <a:lnTo>
                    <a:pt x="84" y="66"/>
                  </a:lnTo>
                  <a:lnTo>
                    <a:pt x="79" y="69"/>
                  </a:lnTo>
                  <a:lnTo>
                    <a:pt x="76" y="69"/>
                  </a:lnTo>
                  <a:lnTo>
                    <a:pt x="74" y="69"/>
                  </a:lnTo>
                  <a:lnTo>
                    <a:pt x="76" y="66"/>
                  </a:lnTo>
                  <a:lnTo>
                    <a:pt x="79" y="64"/>
                  </a:lnTo>
                  <a:lnTo>
                    <a:pt x="79" y="64"/>
                  </a:lnTo>
                  <a:lnTo>
                    <a:pt x="79" y="64"/>
                  </a:lnTo>
                  <a:lnTo>
                    <a:pt x="76" y="64"/>
                  </a:lnTo>
                  <a:lnTo>
                    <a:pt x="76" y="61"/>
                  </a:lnTo>
                  <a:lnTo>
                    <a:pt x="76" y="61"/>
                  </a:lnTo>
                  <a:lnTo>
                    <a:pt x="82" y="59"/>
                  </a:lnTo>
                  <a:lnTo>
                    <a:pt x="87" y="56"/>
                  </a:lnTo>
                  <a:lnTo>
                    <a:pt x="92" y="54"/>
                  </a:lnTo>
                  <a:lnTo>
                    <a:pt x="92" y="51"/>
                  </a:lnTo>
                  <a:lnTo>
                    <a:pt x="92" y="51"/>
                  </a:lnTo>
                  <a:lnTo>
                    <a:pt x="94" y="51"/>
                  </a:lnTo>
                  <a:lnTo>
                    <a:pt x="94" y="48"/>
                  </a:lnTo>
                  <a:lnTo>
                    <a:pt x="94" y="48"/>
                  </a:lnTo>
                  <a:lnTo>
                    <a:pt x="94" y="46"/>
                  </a:lnTo>
                  <a:lnTo>
                    <a:pt x="94" y="46"/>
                  </a:lnTo>
                  <a:lnTo>
                    <a:pt x="92" y="46"/>
                  </a:lnTo>
                  <a:lnTo>
                    <a:pt x="87" y="46"/>
                  </a:lnTo>
                  <a:lnTo>
                    <a:pt x="84" y="48"/>
                  </a:lnTo>
                  <a:lnTo>
                    <a:pt x="82" y="48"/>
                  </a:lnTo>
                  <a:lnTo>
                    <a:pt x="76" y="48"/>
                  </a:lnTo>
                  <a:lnTo>
                    <a:pt x="71" y="48"/>
                  </a:lnTo>
                  <a:lnTo>
                    <a:pt x="71" y="48"/>
                  </a:lnTo>
                  <a:lnTo>
                    <a:pt x="71" y="48"/>
                  </a:lnTo>
                  <a:lnTo>
                    <a:pt x="69" y="48"/>
                  </a:lnTo>
                  <a:lnTo>
                    <a:pt x="66" y="48"/>
                  </a:lnTo>
                  <a:lnTo>
                    <a:pt x="66" y="48"/>
                  </a:lnTo>
                  <a:lnTo>
                    <a:pt x="66" y="48"/>
                  </a:lnTo>
                  <a:lnTo>
                    <a:pt x="64" y="48"/>
                  </a:lnTo>
                  <a:lnTo>
                    <a:pt x="64" y="48"/>
                  </a:lnTo>
                  <a:lnTo>
                    <a:pt x="61" y="48"/>
                  </a:lnTo>
                  <a:lnTo>
                    <a:pt x="61" y="48"/>
                  </a:lnTo>
                  <a:lnTo>
                    <a:pt x="61" y="51"/>
                  </a:lnTo>
                  <a:lnTo>
                    <a:pt x="61" y="51"/>
                  </a:lnTo>
                  <a:lnTo>
                    <a:pt x="61" y="51"/>
                  </a:lnTo>
                  <a:lnTo>
                    <a:pt x="61" y="54"/>
                  </a:lnTo>
                  <a:lnTo>
                    <a:pt x="61" y="54"/>
                  </a:lnTo>
                  <a:lnTo>
                    <a:pt x="61" y="54"/>
                  </a:lnTo>
                  <a:lnTo>
                    <a:pt x="61" y="54"/>
                  </a:lnTo>
                  <a:lnTo>
                    <a:pt x="59" y="54"/>
                  </a:lnTo>
                  <a:lnTo>
                    <a:pt x="56" y="56"/>
                  </a:lnTo>
                  <a:lnTo>
                    <a:pt x="56" y="56"/>
                  </a:lnTo>
                  <a:lnTo>
                    <a:pt x="56" y="56"/>
                  </a:lnTo>
                  <a:lnTo>
                    <a:pt x="56" y="56"/>
                  </a:lnTo>
                  <a:lnTo>
                    <a:pt x="54" y="59"/>
                  </a:lnTo>
                  <a:lnTo>
                    <a:pt x="56" y="59"/>
                  </a:lnTo>
                  <a:lnTo>
                    <a:pt x="59" y="61"/>
                  </a:lnTo>
                  <a:lnTo>
                    <a:pt x="59" y="64"/>
                  </a:lnTo>
                  <a:lnTo>
                    <a:pt x="56" y="61"/>
                  </a:lnTo>
                  <a:lnTo>
                    <a:pt x="56" y="61"/>
                  </a:lnTo>
                  <a:lnTo>
                    <a:pt x="56" y="64"/>
                  </a:lnTo>
                  <a:lnTo>
                    <a:pt x="51" y="64"/>
                  </a:lnTo>
                  <a:lnTo>
                    <a:pt x="51" y="64"/>
                  </a:lnTo>
                  <a:lnTo>
                    <a:pt x="48" y="64"/>
                  </a:lnTo>
                  <a:lnTo>
                    <a:pt x="48" y="66"/>
                  </a:lnTo>
                  <a:lnTo>
                    <a:pt x="48" y="69"/>
                  </a:lnTo>
                  <a:lnTo>
                    <a:pt x="48" y="69"/>
                  </a:lnTo>
                  <a:lnTo>
                    <a:pt x="48" y="69"/>
                  </a:lnTo>
                  <a:lnTo>
                    <a:pt x="51" y="69"/>
                  </a:lnTo>
                  <a:lnTo>
                    <a:pt x="48" y="71"/>
                  </a:lnTo>
                  <a:lnTo>
                    <a:pt x="48" y="71"/>
                  </a:lnTo>
                  <a:lnTo>
                    <a:pt x="46" y="71"/>
                  </a:lnTo>
                  <a:lnTo>
                    <a:pt x="46" y="71"/>
                  </a:lnTo>
                  <a:lnTo>
                    <a:pt x="46" y="74"/>
                  </a:lnTo>
                  <a:lnTo>
                    <a:pt x="48" y="74"/>
                  </a:lnTo>
                  <a:lnTo>
                    <a:pt x="48" y="74"/>
                  </a:lnTo>
                  <a:lnTo>
                    <a:pt x="51" y="76"/>
                  </a:lnTo>
                  <a:lnTo>
                    <a:pt x="48" y="79"/>
                  </a:lnTo>
                  <a:lnTo>
                    <a:pt x="46" y="82"/>
                  </a:lnTo>
                  <a:lnTo>
                    <a:pt x="46" y="84"/>
                  </a:lnTo>
                  <a:lnTo>
                    <a:pt x="43" y="84"/>
                  </a:lnTo>
                  <a:lnTo>
                    <a:pt x="46" y="84"/>
                  </a:lnTo>
                  <a:lnTo>
                    <a:pt x="43" y="87"/>
                  </a:lnTo>
                  <a:lnTo>
                    <a:pt x="41" y="87"/>
                  </a:lnTo>
                  <a:lnTo>
                    <a:pt x="41" y="87"/>
                  </a:lnTo>
                  <a:lnTo>
                    <a:pt x="38" y="87"/>
                  </a:lnTo>
                  <a:lnTo>
                    <a:pt x="41" y="87"/>
                  </a:lnTo>
                  <a:lnTo>
                    <a:pt x="43" y="87"/>
                  </a:lnTo>
                  <a:lnTo>
                    <a:pt x="43" y="89"/>
                  </a:lnTo>
                  <a:lnTo>
                    <a:pt x="43" y="92"/>
                  </a:lnTo>
                  <a:lnTo>
                    <a:pt x="46" y="92"/>
                  </a:lnTo>
                  <a:lnTo>
                    <a:pt x="46" y="92"/>
                  </a:lnTo>
                  <a:lnTo>
                    <a:pt x="48" y="92"/>
                  </a:lnTo>
                  <a:lnTo>
                    <a:pt x="54" y="87"/>
                  </a:lnTo>
                  <a:lnTo>
                    <a:pt x="56" y="87"/>
                  </a:lnTo>
                  <a:lnTo>
                    <a:pt x="54" y="87"/>
                  </a:lnTo>
                  <a:lnTo>
                    <a:pt x="54" y="89"/>
                  </a:lnTo>
                  <a:lnTo>
                    <a:pt x="54" y="92"/>
                  </a:lnTo>
                  <a:lnTo>
                    <a:pt x="51" y="92"/>
                  </a:lnTo>
                  <a:lnTo>
                    <a:pt x="51" y="94"/>
                  </a:lnTo>
                  <a:lnTo>
                    <a:pt x="48" y="94"/>
                  </a:lnTo>
                  <a:lnTo>
                    <a:pt x="48" y="97"/>
                  </a:lnTo>
                  <a:lnTo>
                    <a:pt x="48" y="99"/>
                  </a:lnTo>
                  <a:lnTo>
                    <a:pt x="46" y="102"/>
                  </a:lnTo>
                  <a:lnTo>
                    <a:pt x="46" y="107"/>
                  </a:lnTo>
                  <a:lnTo>
                    <a:pt x="46" y="107"/>
                  </a:lnTo>
                  <a:lnTo>
                    <a:pt x="46" y="107"/>
                  </a:lnTo>
                  <a:lnTo>
                    <a:pt x="48" y="107"/>
                  </a:lnTo>
                  <a:lnTo>
                    <a:pt x="48" y="107"/>
                  </a:lnTo>
                  <a:lnTo>
                    <a:pt x="46" y="110"/>
                  </a:lnTo>
                  <a:lnTo>
                    <a:pt x="46" y="110"/>
                  </a:lnTo>
                  <a:lnTo>
                    <a:pt x="43" y="110"/>
                  </a:lnTo>
                  <a:lnTo>
                    <a:pt x="43" y="115"/>
                  </a:lnTo>
                  <a:lnTo>
                    <a:pt x="43" y="115"/>
                  </a:lnTo>
                  <a:lnTo>
                    <a:pt x="43" y="117"/>
                  </a:lnTo>
                  <a:lnTo>
                    <a:pt x="43" y="117"/>
                  </a:lnTo>
                  <a:lnTo>
                    <a:pt x="43" y="117"/>
                  </a:lnTo>
                  <a:lnTo>
                    <a:pt x="46" y="117"/>
                  </a:lnTo>
                  <a:lnTo>
                    <a:pt x="46" y="117"/>
                  </a:lnTo>
                  <a:lnTo>
                    <a:pt x="46" y="115"/>
                  </a:lnTo>
                  <a:lnTo>
                    <a:pt x="48" y="107"/>
                  </a:lnTo>
                  <a:lnTo>
                    <a:pt x="51" y="107"/>
                  </a:lnTo>
                  <a:lnTo>
                    <a:pt x="48" y="104"/>
                  </a:lnTo>
                  <a:lnTo>
                    <a:pt x="48" y="102"/>
                  </a:lnTo>
                  <a:lnTo>
                    <a:pt x="51" y="102"/>
                  </a:lnTo>
                  <a:lnTo>
                    <a:pt x="51" y="102"/>
                  </a:lnTo>
                  <a:lnTo>
                    <a:pt x="51" y="99"/>
                  </a:lnTo>
                  <a:lnTo>
                    <a:pt x="56" y="99"/>
                  </a:lnTo>
                  <a:lnTo>
                    <a:pt x="56" y="97"/>
                  </a:lnTo>
                  <a:lnTo>
                    <a:pt x="54" y="99"/>
                  </a:lnTo>
                  <a:lnTo>
                    <a:pt x="54" y="102"/>
                  </a:lnTo>
                  <a:lnTo>
                    <a:pt x="54" y="102"/>
                  </a:lnTo>
                  <a:lnTo>
                    <a:pt x="54" y="104"/>
                  </a:lnTo>
                  <a:lnTo>
                    <a:pt x="54" y="104"/>
                  </a:lnTo>
                  <a:lnTo>
                    <a:pt x="54" y="104"/>
                  </a:lnTo>
                  <a:lnTo>
                    <a:pt x="54" y="104"/>
                  </a:lnTo>
                  <a:lnTo>
                    <a:pt x="54" y="104"/>
                  </a:lnTo>
                  <a:lnTo>
                    <a:pt x="54" y="104"/>
                  </a:lnTo>
                  <a:lnTo>
                    <a:pt x="56" y="102"/>
                  </a:lnTo>
                  <a:lnTo>
                    <a:pt x="56" y="102"/>
                  </a:lnTo>
                  <a:lnTo>
                    <a:pt x="59" y="102"/>
                  </a:lnTo>
                  <a:lnTo>
                    <a:pt x="59" y="99"/>
                  </a:lnTo>
                  <a:lnTo>
                    <a:pt x="61" y="99"/>
                  </a:lnTo>
                  <a:lnTo>
                    <a:pt x="61" y="99"/>
                  </a:lnTo>
                  <a:lnTo>
                    <a:pt x="59" y="102"/>
                  </a:lnTo>
                  <a:lnTo>
                    <a:pt x="59" y="102"/>
                  </a:lnTo>
                  <a:lnTo>
                    <a:pt x="61" y="104"/>
                  </a:lnTo>
                  <a:lnTo>
                    <a:pt x="64" y="104"/>
                  </a:lnTo>
                  <a:lnTo>
                    <a:pt x="59" y="104"/>
                  </a:lnTo>
                  <a:lnTo>
                    <a:pt x="59" y="104"/>
                  </a:lnTo>
                  <a:lnTo>
                    <a:pt x="59" y="104"/>
                  </a:lnTo>
                  <a:lnTo>
                    <a:pt x="59" y="107"/>
                  </a:lnTo>
                  <a:lnTo>
                    <a:pt x="59" y="110"/>
                  </a:lnTo>
                  <a:lnTo>
                    <a:pt x="61" y="112"/>
                  </a:lnTo>
                  <a:lnTo>
                    <a:pt x="61" y="112"/>
                  </a:lnTo>
                  <a:lnTo>
                    <a:pt x="61" y="112"/>
                  </a:lnTo>
                  <a:lnTo>
                    <a:pt x="61" y="115"/>
                  </a:lnTo>
                  <a:lnTo>
                    <a:pt x="59" y="117"/>
                  </a:lnTo>
                  <a:lnTo>
                    <a:pt x="56" y="120"/>
                  </a:lnTo>
                  <a:lnTo>
                    <a:pt x="54" y="125"/>
                  </a:lnTo>
                  <a:lnTo>
                    <a:pt x="54" y="125"/>
                  </a:lnTo>
                  <a:lnTo>
                    <a:pt x="51" y="125"/>
                  </a:lnTo>
                  <a:lnTo>
                    <a:pt x="51" y="125"/>
                  </a:lnTo>
                  <a:lnTo>
                    <a:pt x="51" y="127"/>
                  </a:lnTo>
                  <a:lnTo>
                    <a:pt x="54" y="130"/>
                  </a:lnTo>
                  <a:lnTo>
                    <a:pt x="56" y="130"/>
                  </a:lnTo>
                  <a:lnTo>
                    <a:pt x="56" y="130"/>
                  </a:lnTo>
                  <a:lnTo>
                    <a:pt x="56" y="127"/>
                  </a:lnTo>
                  <a:lnTo>
                    <a:pt x="56" y="127"/>
                  </a:lnTo>
                  <a:lnTo>
                    <a:pt x="59" y="127"/>
                  </a:lnTo>
                  <a:lnTo>
                    <a:pt x="61" y="130"/>
                  </a:lnTo>
                  <a:lnTo>
                    <a:pt x="64" y="127"/>
                  </a:lnTo>
                  <a:lnTo>
                    <a:pt x="66" y="127"/>
                  </a:lnTo>
                  <a:lnTo>
                    <a:pt x="66" y="127"/>
                  </a:lnTo>
                  <a:lnTo>
                    <a:pt x="66" y="127"/>
                  </a:lnTo>
                  <a:lnTo>
                    <a:pt x="69" y="127"/>
                  </a:lnTo>
                  <a:lnTo>
                    <a:pt x="69" y="130"/>
                  </a:lnTo>
                  <a:lnTo>
                    <a:pt x="69" y="127"/>
                  </a:lnTo>
                  <a:lnTo>
                    <a:pt x="71" y="127"/>
                  </a:lnTo>
                  <a:lnTo>
                    <a:pt x="71" y="127"/>
                  </a:lnTo>
                  <a:lnTo>
                    <a:pt x="74" y="127"/>
                  </a:lnTo>
                  <a:lnTo>
                    <a:pt x="74" y="127"/>
                  </a:lnTo>
                  <a:lnTo>
                    <a:pt x="76" y="127"/>
                  </a:lnTo>
                  <a:lnTo>
                    <a:pt x="76" y="127"/>
                  </a:lnTo>
                  <a:lnTo>
                    <a:pt x="79" y="125"/>
                  </a:lnTo>
                  <a:lnTo>
                    <a:pt x="82" y="125"/>
                  </a:lnTo>
                  <a:lnTo>
                    <a:pt x="87" y="125"/>
                  </a:lnTo>
                  <a:lnTo>
                    <a:pt x="87" y="125"/>
                  </a:lnTo>
                  <a:lnTo>
                    <a:pt x="84" y="125"/>
                  </a:lnTo>
                  <a:lnTo>
                    <a:pt x="79" y="130"/>
                  </a:lnTo>
                  <a:lnTo>
                    <a:pt x="76" y="132"/>
                  </a:lnTo>
                  <a:lnTo>
                    <a:pt x="76" y="135"/>
                  </a:lnTo>
                  <a:lnTo>
                    <a:pt x="79" y="140"/>
                  </a:lnTo>
                  <a:lnTo>
                    <a:pt x="82" y="140"/>
                  </a:lnTo>
                  <a:lnTo>
                    <a:pt x="84" y="143"/>
                  </a:lnTo>
                  <a:lnTo>
                    <a:pt x="84" y="143"/>
                  </a:lnTo>
                  <a:lnTo>
                    <a:pt x="84" y="143"/>
                  </a:lnTo>
                  <a:lnTo>
                    <a:pt x="87" y="143"/>
                  </a:lnTo>
                  <a:lnTo>
                    <a:pt x="89" y="143"/>
                  </a:lnTo>
                  <a:lnTo>
                    <a:pt x="89" y="143"/>
                  </a:lnTo>
                  <a:lnTo>
                    <a:pt x="89" y="145"/>
                  </a:lnTo>
                  <a:lnTo>
                    <a:pt x="87" y="145"/>
                  </a:lnTo>
                  <a:lnTo>
                    <a:pt x="84" y="148"/>
                  </a:lnTo>
                  <a:lnTo>
                    <a:pt x="84" y="148"/>
                  </a:lnTo>
                  <a:lnTo>
                    <a:pt x="84" y="150"/>
                  </a:lnTo>
                  <a:lnTo>
                    <a:pt x="87" y="150"/>
                  </a:lnTo>
                  <a:lnTo>
                    <a:pt x="87" y="150"/>
                  </a:lnTo>
                  <a:lnTo>
                    <a:pt x="87" y="153"/>
                  </a:lnTo>
                  <a:lnTo>
                    <a:pt x="84" y="155"/>
                  </a:lnTo>
                  <a:lnTo>
                    <a:pt x="84" y="155"/>
                  </a:lnTo>
                  <a:lnTo>
                    <a:pt x="84" y="158"/>
                  </a:lnTo>
                  <a:lnTo>
                    <a:pt x="87" y="160"/>
                  </a:lnTo>
                  <a:lnTo>
                    <a:pt x="87" y="160"/>
                  </a:lnTo>
                  <a:lnTo>
                    <a:pt x="89" y="160"/>
                  </a:lnTo>
                  <a:lnTo>
                    <a:pt x="89" y="160"/>
                  </a:lnTo>
                  <a:lnTo>
                    <a:pt x="87" y="160"/>
                  </a:lnTo>
                  <a:lnTo>
                    <a:pt x="87" y="160"/>
                  </a:lnTo>
                  <a:lnTo>
                    <a:pt x="84" y="158"/>
                  </a:lnTo>
                  <a:lnTo>
                    <a:pt x="82" y="158"/>
                  </a:lnTo>
                  <a:lnTo>
                    <a:pt x="84" y="160"/>
                  </a:lnTo>
                  <a:lnTo>
                    <a:pt x="79" y="160"/>
                  </a:lnTo>
                  <a:lnTo>
                    <a:pt x="76" y="160"/>
                  </a:lnTo>
                  <a:lnTo>
                    <a:pt x="76" y="160"/>
                  </a:lnTo>
                  <a:lnTo>
                    <a:pt x="74" y="160"/>
                  </a:lnTo>
                  <a:lnTo>
                    <a:pt x="71" y="160"/>
                  </a:lnTo>
                  <a:lnTo>
                    <a:pt x="71" y="160"/>
                  </a:lnTo>
                  <a:lnTo>
                    <a:pt x="66" y="163"/>
                  </a:lnTo>
                  <a:lnTo>
                    <a:pt x="64" y="163"/>
                  </a:lnTo>
                  <a:lnTo>
                    <a:pt x="61" y="166"/>
                  </a:lnTo>
                  <a:lnTo>
                    <a:pt x="61" y="166"/>
                  </a:lnTo>
                  <a:lnTo>
                    <a:pt x="61" y="166"/>
                  </a:lnTo>
                  <a:lnTo>
                    <a:pt x="59" y="168"/>
                  </a:lnTo>
                  <a:lnTo>
                    <a:pt x="56" y="171"/>
                  </a:lnTo>
                  <a:lnTo>
                    <a:pt x="56" y="171"/>
                  </a:lnTo>
                  <a:lnTo>
                    <a:pt x="56" y="171"/>
                  </a:lnTo>
                  <a:lnTo>
                    <a:pt x="56" y="171"/>
                  </a:lnTo>
                  <a:lnTo>
                    <a:pt x="59" y="171"/>
                  </a:lnTo>
                  <a:lnTo>
                    <a:pt x="61" y="168"/>
                  </a:lnTo>
                  <a:lnTo>
                    <a:pt x="64" y="168"/>
                  </a:lnTo>
                  <a:lnTo>
                    <a:pt x="66" y="168"/>
                  </a:lnTo>
                  <a:lnTo>
                    <a:pt x="64" y="171"/>
                  </a:lnTo>
                  <a:lnTo>
                    <a:pt x="64" y="171"/>
                  </a:lnTo>
                  <a:lnTo>
                    <a:pt x="66" y="173"/>
                  </a:lnTo>
                  <a:lnTo>
                    <a:pt x="66" y="173"/>
                  </a:lnTo>
                  <a:lnTo>
                    <a:pt x="66" y="173"/>
                  </a:lnTo>
                  <a:lnTo>
                    <a:pt x="64" y="176"/>
                  </a:lnTo>
                  <a:lnTo>
                    <a:pt x="66" y="176"/>
                  </a:lnTo>
                  <a:lnTo>
                    <a:pt x="66" y="176"/>
                  </a:lnTo>
                  <a:lnTo>
                    <a:pt x="66" y="178"/>
                  </a:lnTo>
                  <a:lnTo>
                    <a:pt x="64" y="181"/>
                  </a:lnTo>
                  <a:lnTo>
                    <a:pt x="64" y="181"/>
                  </a:lnTo>
                  <a:lnTo>
                    <a:pt x="61" y="183"/>
                  </a:lnTo>
                  <a:lnTo>
                    <a:pt x="59" y="183"/>
                  </a:lnTo>
                  <a:lnTo>
                    <a:pt x="56" y="186"/>
                  </a:lnTo>
                  <a:lnTo>
                    <a:pt x="51" y="188"/>
                  </a:lnTo>
                  <a:lnTo>
                    <a:pt x="46" y="188"/>
                  </a:lnTo>
                  <a:lnTo>
                    <a:pt x="43" y="191"/>
                  </a:lnTo>
                  <a:lnTo>
                    <a:pt x="43" y="191"/>
                  </a:lnTo>
                  <a:lnTo>
                    <a:pt x="43" y="191"/>
                  </a:lnTo>
                  <a:lnTo>
                    <a:pt x="43" y="194"/>
                  </a:lnTo>
                  <a:lnTo>
                    <a:pt x="43" y="194"/>
                  </a:lnTo>
                  <a:lnTo>
                    <a:pt x="46" y="196"/>
                  </a:lnTo>
                  <a:lnTo>
                    <a:pt x="48" y="196"/>
                  </a:lnTo>
                  <a:lnTo>
                    <a:pt x="51" y="196"/>
                  </a:lnTo>
                  <a:lnTo>
                    <a:pt x="54" y="194"/>
                  </a:lnTo>
                  <a:lnTo>
                    <a:pt x="56" y="194"/>
                  </a:lnTo>
                  <a:lnTo>
                    <a:pt x="59" y="194"/>
                  </a:lnTo>
                  <a:lnTo>
                    <a:pt x="59" y="196"/>
                  </a:lnTo>
                  <a:lnTo>
                    <a:pt x="59" y="196"/>
                  </a:lnTo>
                  <a:lnTo>
                    <a:pt x="64" y="196"/>
                  </a:lnTo>
                  <a:lnTo>
                    <a:pt x="61" y="196"/>
                  </a:lnTo>
                  <a:lnTo>
                    <a:pt x="61" y="199"/>
                  </a:lnTo>
                  <a:lnTo>
                    <a:pt x="61" y="199"/>
                  </a:lnTo>
                  <a:lnTo>
                    <a:pt x="64" y="199"/>
                  </a:lnTo>
                  <a:lnTo>
                    <a:pt x="66" y="199"/>
                  </a:lnTo>
                  <a:lnTo>
                    <a:pt x="66" y="199"/>
                  </a:lnTo>
                  <a:lnTo>
                    <a:pt x="69" y="199"/>
                  </a:lnTo>
                  <a:lnTo>
                    <a:pt x="71" y="201"/>
                  </a:lnTo>
                  <a:lnTo>
                    <a:pt x="76" y="201"/>
                  </a:lnTo>
                  <a:lnTo>
                    <a:pt x="76" y="201"/>
                  </a:lnTo>
                  <a:lnTo>
                    <a:pt x="79" y="199"/>
                  </a:lnTo>
                  <a:lnTo>
                    <a:pt x="82" y="199"/>
                  </a:lnTo>
                  <a:lnTo>
                    <a:pt x="87" y="199"/>
                  </a:lnTo>
                  <a:lnTo>
                    <a:pt x="87" y="196"/>
                  </a:lnTo>
                  <a:lnTo>
                    <a:pt x="89" y="196"/>
                  </a:lnTo>
                  <a:lnTo>
                    <a:pt x="92" y="194"/>
                  </a:lnTo>
                  <a:lnTo>
                    <a:pt x="89" y="196"/>
                  </a:lnTo>
                  <a:lnTo>
                    <a:pt x="87" y="199"/>
                  </a:lnTo>
                  <a:lnTo>
                    <a:pt x="84" y="201"/>
                  </a:lnTo>
                  <a:lnTo>
                    <a:pt x="84" y="201"/>
                  </a:lnTo>
                  <a:lnTo>
                    <a:pt x="79" y="206"/>
                  </a:lnTo>
                  <a:lnTo>
                    <a:pt x="79" y="206"/>
                  </a:lnTo>
                  <a:lnTo>
                    <a:pt x="76" y="206"/>
                  </a:lnTo>
                  <a:lnTo>
                    <a:pt x="74" y="206"/>
                  </a:lnTo>
                  <a:lnTo>
                    <a:pt x="71" y="206"/>
                  </a:lnTo>
                  <a:lnTo>
                    <a:pt x="66" y="206"/>
                  </a:lnTo>
                  <a:lnTo>
                    <a:pt x="61" y="206"/>
                  </a:lnTo>
                  <a:lnTo>
                    <a:pt x="61" y="206"/>
                  </a:lnTo>
                  <a:lnTo>
                    <a:pt x="59" y="209"/>
                  </a:lnTo>
                  <a:lnTo>
                    <a:pt x="54" y="211"/>
                  </a:lnTo>
                  <a:lnTo>
                    <a:pt x="54" y="214"/>
                  </a:lnTo>
                  <a:lnTo>
                    <a:pt x="54" y="214"/>
                  </a:lnTo>
                  <a:lnTo>
                    <a:pt x="54" y="216"/>
                  </a:lnTo>
                  <a:lnTo>
                    <a:pt x="48" y="219"/>
                  </a:lnTo>
                  <a:lnTo>
                    <a:pt x="46" y="221"/>
                  </a:lnTo>
                  <a:lnTo>
                    <a:pt x="46" y="221"/>
                  </a:lnTo>
                  <a:lnTo>
                    <a:pt x="46" y="221"/>
                  </a:lnTo>
                  <a:lnTo>
                    <a:pt x="43" y="221"/>
                  </a:lnTo>
                  <a:lnTo>
                    <a:pt x="41" y="224"/>
                  </a:lnTo>
                  <a:lnTo>
                    <a:pt x="38" y="227"/>
                  </a:lnTo>
                  <a:lnTo>
                    <a:pt x="33" y="229"/>
                  </a:lnTo>
                  <a:lnTo>
                    <a:pt x="33" y="229"/>
                  </a:lnTo>
                  <a:lnTo>
                    <a:pt x="33" y="232"/>
                  </a:lnTo>
                  <a:lnTo>
                    <a:pt x="33" y="232"/>
                  </a:lnTo>
                  <a:lnTo>
                    <a:pt x="33" y="232"/>
                  </a:lnTo>
                  <a:lnTo>
                    <a:pt x="36" y="229"/>
                  </a:lnTo>
                  <a:lnTo>
                    <a:pt x="38" y="232"/>
                  </a:lnTo>
                  <a:lnTo>
                    <a:pt x="41" y="232"/>
                  </a:lnTo>
                  <a:lnTo>
                    <a:pt x="41" y="232"/>
                  </a:lnTo>
                  <a:lnTo>
                    <a:pt x="43" y="229"/>
                  </a:lnTo>
                  <a:lnTo>
                    <a:pt x="43" y="229"/>
                  </a:lnTo>
                  <a:lnTo>
                    <a:pt x="48" y="227"/>
                  </a:lnTo>
                  <a:lnTo>
                    <a:pt x="48" y="227"/>
                  </a:lnTo>
                  <a:lnTo>
                    <a:pt x="54" y="224"/>
                  </a:lnTo>
                  <a:lnTo>
                    <a:pt x="56" y="224"/>
                  </a:lnTo>
                  <a:lnTo>
                    <a:pt x="56" y="224"/>
                  </a:lnTo>
                  <a:lnTo>
                    <a:pt x="59" y="224"/>
                  </a:lnTo>
                  <a:lnTo>
                    <a:pt x="59" y="224"/>
                  </a:lnTo>
                  <a:lnTo>
                    <a:pt x="59" y="224"/>
                  </a:lnTo>
                  <a:lnTo>
                    <a:pt x="61" y="224"/>
                  </a:lnTo>
                  <a:lnTo>
                    <a:pt x="64" y="227"/>
                  </a:lnTo>
                  <a:lnTo>
                    <a:pt x="66" y="227"/>
                  </a:lnTo>
                  <a:lnTo>
                    <a:pt x="66" y="227"/>
                  </a:lnTo>
                  <a:lnTo>
                    <a:pt x="69" y="227"/>
                  </a:lnTo>
                  <a:lnTo>
                    <a:pt x="71" y="224"/>
                  </a:lnTo>
                  <a:lnTo>
                    <a:pt x="71" y="221"/>
                  </a:lnTo>
                  <a:lnTo>
                    <a:pt x="74" y="219"/>
                  </a:lnTo>
                  <a:lnTo>
                    <a:pt x="79" y="216"/>
                  </a:lnTo>
                  <a:lnTo>
                    <a:pt x="82" y="216"/>
                  </a:lnTo>
                  <a:lnTo>
                    <a:pt x="84" y="216"/>
                  </a:lnTo>
                  <a:lnTo>
                    <a:pt x="87" y="219"/>
                  </a:lnTo>
                  <a:lnTo>
                    <a:pt x="87" y="219"/>
                  </a:lnTo>
                  <a:lnTo>
                    <a:pt x="89" y="219"/>
                  </a:lnTo>
                  <a:lnTo>
                    <a:pt x="89" y="219"/>
                  </a:lnTo>
                  <a:lnTo>
                    <a:pt x="92" y="219"/>
                  </a:lnTo>
                  <a:lnTo>
                    <a:pt x="97" y="219"/>
                  </a:lnTo>
                  <a:lnTo>
                    <a:pt x="97" y="219"/>
                  </a:lnTo>
                  <a:lnTo>
                    <a:pt x="97" y="219"/>
                  </a:lnTo>
                  <a:lnTo>
                    <a:pt x="97" y="219"/>
                  </a:lnTo>
                  <a:lnTo>
                    <a:pt x="97" y="216"/>
                  </a:lnTo>
                  <a:lnTo>
                    <a:pt x="99" y="216"/>
                  </a:lnTo>
                  <a:lnTo>
                    <a:pt x="102" y="216"/>
                  </a:lnTo>
                  <a:lnTo>
                    <a:pt x="104" y="216"/>
                  </a:lnTo>
                  <a:lnTo>
                    <a:pt x="104" y="216"/>
                  </a:lnTo>
                  <a:lnTo>
                    <a:pt x="110" y="214"/>
                  </a:lnTo>
                  <a:lnTo>
                    <a:pt x="107" y="214"/>
                  </a:lnTo>
                  <a:lnTo>
                    <a:pt x="110" y="214"/>
                  </a:lnTo>
                  <a:lnTo>
                    <a:pt x="112" y="214"/>
                  </a:lnTo>
                  <a:lnTo>
                    <a:pt x="115" y="214"/>
                  </a:lnTo>
                  <a:lnTo>
                    <a:pt x="117" y="216"/>
                  </a:lnTo>
                  <a:lnTo>
                    <a:pt x="117" y="216"/>
                  </a:lnTo>
                  <a:lnTo>
                    <a:pt x="125" y="214"/>
                  </a:lnTo>
                  <a:lnTo>
                    <a:pt x="127" y="214"/>
                  </a:lnTo>
                  <a:lnTo>
                    <a:pt x="135" y="216"/>
                  </a:lnTo>
                  <a:lnTo>
                    <a:pt x="138" y="216"/>
                  </a:lnTo>
                  <a:lnTo>
                    <a:pt x="140" y="214"/>
                  </a:lnTo>
                  <a:lnTo>
                    <a:pt x="140" y="214"/>
                  </a:lnTo>
                  <a:lnTo>
                    <a:pt x="145" y="214"/>
                  </a:lnTo>
                  <a:lnTo>
                    <a:pt x="145" y="211"/>
                  </a:lnTo>
                  <a:lnTo>
                    <a:pt x="148" y="211"/>
                  </a:lnTo>
                  <a:lnTo>
                    <a:pt x="150" y="211"/>
                  </a:lnTo>
                  <a:lnTo>
                    <a:pt x="150" y="209"/>
                  </a:lnTo>
                  <a:lnTo>
                    <a:pt x="155" y="206"/>
                  </a:lnTo>
                  <a:lnTo>
                    <a:pt x="158" y="206"/>
                  </a:lnTo>
                  <a:lnTo>
                    <a:pt x="158" y="204"/>
                  </a:lnTo>
                  <a:lnTo>
                    <a:pt x="158" y="204"/>
                  </a:lnTo>
                  <a:lnTo>
                    <a:pt x="155" y="201"/>
                  </a:lnTo>
                  <a:lnTo>
                    <a:pt x="155" y="201"/>
                  </a:lnTo>
                  <a:lnTo>
                    <a:pt x="150" y="204"/>
                  </a:lnTo>
                  <a:lnTo>
                    <a:pt x="148" y="204"/>
                  </a:lnTo>
                  <a:lnTo>
                    <a:pt x="145" y="201"/>
                  </a:lnTo>
                  <a:lnTo>
                    <a:pt x="145" y="201"/>
                  </a:lnTo>
                  <a:lnTo>
                    <a:pt x="143" y="201"/>
                  </a:lnTo>
                  <a:lnTo>
                    <a:pt x="143" y="201"/>
                  </a:lnTo>
                  <a:lnTo>
                    <a:pt x="140" y="201"/>
                  </a:lnTo>
                  <a:lnTo>
                    <a:pt x="143" y="199"/>
                  </a:lnTo>
                  <a:lnTo>
                    <a:pt x="143" y="199"/>
                  </a:lnTo>
                  <a:lnTo>
                    <a:pt x="145" y="199"/>
                  </a:lnTo>
                  <a:lnTo>
                    <a:pt x="148" y="199"/>
                  </a:lnTo>
                  <a:lnTo>
                    <a:pt x="148" y="199"/>
                  </a:lnTo>
                  <a:lnTo>
                    <a:pt x="150" y="196"/>
                  </a:lnTo>
                  <a:lnTo>
                    <a:pt x="148" y="196"/>
                  </a:lnTo>
                  <a:lnTo>
                    <a:pt x="145" y="194"/>
                  </a:lnTo>
                  <a:lnTo>
                    <a:pt x="150" y="194"/>
                  </a:lnTo>
                  <a:lnTo>
                    <a:pt x="153" y="194"/>
                  </a:lnTo>
                  <a:lnTo>
                    <a:pt x="153" y="194"/>
                  </a:lnTo>
                  <a:lnTo>
                    <a:pt x="155" y="191"/>
                  </a:lnTo>
                  <a:lnTo>
                    <a:pt x="155" y="191"/>
                  </a:lnTo>
                  <a:lnTo>
                    <a:pt x="155" y="191"/>
                  </a:lnTo>
                  <a:lnTo>
                    <a:pt x="155" y="188"/>
                  </a:lnTo>
                  <a:lnTo>
                    <a:pt x="155" y="188"/>
                  </a:lnTo>
                  <a:lnTo>
                    <a:pt x="155" y="188"/>
                  </a:lnTo>
                  <a:lnTo>
                    <a:pt x="158" y="188"/>
                  </a:lnTo>
                  <a:lnTo>
                    <a:pt x="161" y="186"/>
                  </a:lnTo>
                  <a:lnTo>
                    <a:pt x="161" y="186"/>
                  </a:lnTo>
                  <a:lnTo>
                    <a:pt x="161" y="186"/>
                  </a:lnTo>
                  <a:lnTo>
                    <a:pt x="163" y="183"/>
                  </a:lnTo>
                  <a:lnTo>
                    <a:pt x="163" y="181"/>
                  </a:lnTo>
                  <a:lnTo>
                    <a:pt x="166" y="178"/>
                  </a:lnTo>
                  <a:lnTo>
                    <a:pt x="166" y="176"/>
                  </a:lnTo>
                  <a:lnTo>
                    <a:pt x="163" y="173"/>
                  </a:lnTo>
                  <a:close/>
                  <a:moveTo>
                    <a:pt x="97" y="43"/>
                  </a:moveTo>
                  <a:lnTo>
                    <a:pt x="97" y="43"/>
                  </a:lnTo>
                  <a:lnTo>
                    <a:pt x="97" y="43"/>
                  </a:lnTo>
                  <a:lnTo>
                    <a:pt x="97" y="43"/>
                  </a:lnTo>
                  <a:lnTo>
                    <a:pt x="97" y="43"/>
                  </a:lnTo>
                  <a:lnTo>
                    <a:pt x="97" y="43"/>
                  </a:lnTo>
                  <a:lnTo>
                    <a:pt x="94" y="43"/>
                  </a:lnTo>
                  <a:lnTo>
                    <a:pt x="97" y="43"/>
                  </a:lnTo>
                  <a:close/>
                  <a:moveTo>
                    <a:pt x="92" y="43"/>
                  </a:moveTo>
                  <a:lnTo>
                    <a:pt x="92" y="43"/>
                  </a:lnTo>
                  <a:lnTo>
                    <a:pt x="92" y="43"/>
                  </a:lnTo>
                  <a:lnTo>
                    <a:pt x="94" y="43"/>
                  </a:lnTo>
                  <a:lnTo>
                    <a:pt x="92" y="43"/>
                  </a:lnTo>
                  <a:lnTo>
                    <a:pt x="92" y="43"/>
                  </a:lnTo>
                  <a:lnTo>
                    <a:pt x="92" y="41"/>
                  </a:lnTo>
                  <a:lnTo>
                    <a:pt x="92" y="41"/>
                  </a:lnTo>
                  <a:lnTo>
                    <a:pt x="89" y="41"/>
                  </a:lnTo>
                  <a:lnTo>
                    <a:pt x="89" y="41"/>
                  </a:lnTo>
                  <a:lnTo>
                    <a:pt x="89" y="41"/>
                  </a:lnTo>
                  <a:lnTo>
                    <a:pt x="89" y="43"/>
                  </a:lnTo>
                  <a:lnTo>
                    <a:pt x="92" y="43"/>
                  </a:lnTo>
                  <a:close/>
                  <a:moveTo>
                    <a:pt x="92" y="41"/>
                  </a:moveTo>
                  <a:lnTo>
                    <a:pt x="92" y="41"/>
                  </a:lnTo>
                  <a:lnTo>
                    <a:pt x="92" y="38"/>
                  </a:lnTo>
                  <a:lnTo>
                    <a:pt x="92" y="38"/>
                  </a:lnTo>
                  <a:lnTo>
                    <a:pt x="92" y="41"/>
                  </a:lnTo>
                  <a:lnTo>
                    <a:pt x="92" y="41"/>
                  </a:lnTo>
                  <a:lnTo>
                    <a:pt x="92" y="41"/>
                  </a:lnTo>
                  <a:lnTo>
                    <a:pt x="94" y="41"/>
                  </a:lnTo>
                  <a:lnTo>
                    <a:pt x="97" y="41"/>
                  </a:lnTo>
                  <a:lnTo>
                    <a:pt x="97" y="41"/>
                  </a:lnTo>
                  <a:lnTo>
                    <a:pt x="99" y="41"/>
                  </a:lnTo>
                  <a:lnTo>
                    <a:pt x="99" y="41"/>
                  </a:lnTo>
                  <a:lnTo>
                    <a:pt x="99" y="41"/>
                  </a:lnTo>
                  <a:lnTo>
                    <a:pt x="99" y="38"/>
                  </a:lnTo>
                  <a:lnTo>
                    <a:pt x="97" y="38"/>
                  </a:lnTo>
                  <a:lnTo>
                    <a:pt x="97" y="38"/>
                  </a:lnTo>
                  <a:lnTo>
                    <a:pt x="94" y="38"/>
                  </a:lnTo>
                  <a:lnTo>
                    <a:pt x="94" y="38"/>
                  </a:lnTo>
                  <a:lnTo>
                    <a:pt x="97" y="38"/>
                  </a:lnTo>
                  <a:lnTo>
                    <a:pt x="97" y="38"/>
                  </a:lnTo>
                  <a:lnTo>
                    <a:pt x="94" y="36"/>
                  </a:lnTo>
                  <a:lnTo>
                    <a:pt x="94" y="36"/>
                  </a:lnTo>
                  <a:lnTo>
                    <a:pt x="92" y="36"/>
                  </a:lnTo>
                  <a:lnTo>
                    <a:pt x="92" y="36"/>
                  </a:lnTo>
                  <a:lnTo>
                    <a:pt x="92" y="38"/>
                  </a:lnTo>
                  <a:lnTo>
                    <a:pt x="89" y="38"/>
                  </a:lnTo>
                  <a:lnTo>
                    <a:pt x="89" y="38"/>
                  </a:lnTo>
                  <a:lnTo>
                    <a:pt x="92" y="41"/>
                  </a:lnTo>
                  <a:close/>
                  <a:moveTo>
                    <a:pt x="107" y="33"/>
                  </a:moveTo>
                  <a:lnTo>
                    <a:pt x="107" y="33"/>
                  </a:lnTo>
                  <a:lnTo>
                    <a:pt x="104" y="33"/>
                  </a:lnTo>
                  <a:lnTo>
                    <a:pt x="102" y="33"/>
                  </a:lnTo>
                  <a:lnTo>
                    <a:pt x="102" y="33"/>
                  </a:lnTo>
                  <a:lnTo>
                    <a:pt x="104" y="33"/>
                  </a:lnTo>
                  <a:lnTo>
                    <a:pt x="107" y="33"/>
                  </a:lnTo>
                  <a:close/>
                  <a:moveTo>
                    <a:pt x="97" y="33"/>
                  </a:moveTo>
                  <a:lnTo>
                    <a:pt x="99" y="33"/>
                  </a:lnTo>
                  <a:lnTo>
                    <a:pt x="99" y="36"/>
                  </a:lnTo>
                  <a:lnTo>
                    <a:pt x="99" y="36"/>
                  </a:lnTo>
                  <a:lnTo>
                    <a:pt x="102" y="36"/>
                  </a:lnTo>
                  <a:lnTo>
                    <a:pt x="102" y="33"/>
                  </a:lnTo>
                  <a:lnTo>
                    <a:pt x="102" y="33"/>
                  </a:lnTo>
                  <a:lnTo>
                    <a:pt x="99" y="33"/>
                  </a:lnTo>
                  <a:lnTo>
                    <a:pt x="99" y="33"/>
                  </a:lnTo>
                  <a:lnTo>
                    <a:pt x="97" y="31"/>
                  </a:lnTo>
                  <a:lnTo>
                    <a:pt x="97" y="33"/>
                  </a:lnTo>
                  <a:lnTo>
                    <a:pt x="97" y="33"/>
                  </a:lnTo>
                  <a:lnTo>
                    <a:pt x="97" y="33"/>
                  </a:lnTo>
                  <a:lnTo>
                    <a:pt x="97" y="33"/>
                  </a:lnTo>
                  <a:close/>
                  <a:moveTo>
                    <a:pt x="120" y="13"/>
                  </a:moveTo>
                  <a:lnTo>
                    <a:pt x="120" y="13"/>
                  </a:lnTo>
                  <a:lnTo>
                    <a:pt x="122" y="13"/>
                  </a:lnTo>
                  <a:lnTo>
                    <a:pt x="122" y="13"/>
                  </a:lnTo>
                  <a:lnTo>
                    <a:pt x="122" y="15"/>
                  </a:lnTo>
                  <a:lnTo>
                    <a:pt x="122" y="15"/>
                  </a:lnTo>
                  <a:lnTo>
                    <a:pt x="125" y="15"/>
                  </a:lnTo>
                  <a:lnTo>
                    <a:pt x="125" y="15"/>
                  </a:lnTo>
                  <a:lnTo>
                    <a:pt x="125" y="15"/>
                  </a:lnTo>
                  <a:lnTo>
                    <a:pt x="125" y="15"/>
                  </a:lnTo>
                  <a:lnTo>
                    <a:pt x="125" y="18"/>
                  </a:lnTo>
                  <a:lnTo>
                    <a:pt x="125" y="20"/>
                  </a:lnTo>
                  <a:lnTo>
                    <a:pt x="125" y="20"/>
                  </a:lnTo>
                  <a:lnTo>
                    <a:pt x="125" y="20"/>
                  </a:lnTo>
                  <a:lnTo>
                    <a:pt x="127" y="18"/>
                  </a:lnTo>
                  <a:lnTo>
                    <a:pt x="127" y="18"/>
                  </a:lnTo>
                  <a:lnTo>
                    <a:pt x="127" y="15"/>
                  </a:lnTo>
                  <a:lnTo>
                    <a:pt x="127" y="15"/>
                  </a:lnTo>
                  <a:lnTo>
                    <a:pt x="127" y="15"/>
                  </a:lnTo>
                  <a:lnTo>
                    <a:pt x="127" y="13"/>
                  </a:lnTo>
                  <a:lnTo>
                    <a:pt x="130" y="10"/>
                  </a:lnTo>
                  <a:lnTo>
                    <a:pt x="130" y="8"/>
                  </a:lnTo>
                  <a:lnTo>
                    <a:pt x="130" y="10"/>
                  </a:lnTo>
                  <a:lnTo>
                    <a:pt x="127" y="10"/>
                  </a:lnTo>
                  <a:lnTo>
                    <a:pt x="127" y="8"/>
                  </a:lnTo>
                  <a:lnTo>
                    <a:pt x="127" y="8"/>
                  </a:lnTo>
                  <a:lnTo>
                    <a:pt x="127" y="8"/>
                  </a:lnTo>
                  <a:lnTo>
                    <a:pt x="127" y="5"/>
                  </a:lnTo>
                  <a:lnTo>
                    <a:pt x="125" y="5"/>
                  </a:lnTo>
                  <a:lnTo>
                    <a:pt x="125" y="5"/>
                  </a:lnTo>
                  <a:lnTo>
                    <a:pt x="122" y="8"/>
                  </a:lnTo>
                  <a:lnTo>
                    <a:pt x="122" y="8"/>
                  </a:lnTo>
                  <a:lnTo>
                    <a:pt x="122" y="8"/>
                  </a:lnTo>
                  <a:lnTo>
                    <a:pt x="122" y="8"/>
                  </a:lnTo>
                  <a:lnTo>
                    <a:pt x="125" y="8"/>
                  </a:lnTo>
                  <a:lnTo>
                    <a:pt x="125" y="10"/>
                  </a:lnTo>
                  <a:lnTo>
                    <a:pt x="122" y="13"/>
                  </a:lnTo>
                  <a:lnTo>
                    <a:pt x="122" y="13"/>
                  </a:lnTo>
                  <a:lnTo>
                    <a:pt x="120" y="13"/>
                  </a:lnTo>
                  <a:lnTo>
                    <a:pt x="120" y="13"/>
                  </a:lnTo>
                  <a:lnTo>
                    <a:pt x="120" y="13"/>
                  </a:lnTo>
                  <a:close/>
                  <a:moveTo>
                    <a:pt x="130" y="8"/>
                  </a:moveTo>
                  <a:lnTo>
                    <a:pt x="130" y="8"/>
                  </a:lnTo>
                  <a:lnTo>
                    <a:pt x="130" y="5"/>
                  </a:lnTo>
                  <a:lnTo>
                    <a:pt x="130" y="5"/>
                  </a:lnTo>
                  <a:lnTo>
                    <a:pt x="130" y="5"/>
                  </a:lnTo>
                  <a:lnTo>
                    <a:pt x="133" y="5"/>
                  </a:lnTo>
                  <a:lnTo>
                    <a:pt x="133" y="5"/>
                  </a:lnTo>
                  <a:lnTo>
                    <a:pt x="133" y="3"/>
                  </a:lnTo>
                  <a:lnTo>
                    <a:pt x="130" y="3"/>
                  </a:lnTo>
                  <a:lnTo>
                    <a:pt x="130" y="5"/>
                  </a:lnTo>
                  <a:lnTo>
                    <a:pt x="130" y="8"/>
                  </a:lnTo>
                  <a:lnTo>
                    <a:pt x="130" y="8"/>
                  </a:lnTo>
                  <a:close/>
                  <a:moveTo>
                    <a:pt x="133" y="3"/>
                  </a:moveTo>
                  <a:lnTo>
                    <a:pt x="135" y="5"/>
                  </a:lnTo>
                  <a:lnTo>
                    <a:pt x="135" y="3"/>
                  </a:lnTo>
                  <a:lnTo>
                    <a:pt x="135" y="3"/>
                  </a:lnTo>
                  <a:lnTo>
                    <a:pt x="135" y="0"/>
                  </a:lnTo>
                  <a:lnTo>
                    <a:pt x="135" y="0"/>
                  </a:lnTo>
                  <a:lnTo>
                    <a:pt x="135" y="0"/>
                  </a:lnTo>
                  <a:lnTo>
                    <a:pt x="135" y="3"/>
                  </a:lnTo>
                  <a:lnTo>
                    <a:pt x="133" y="0"/>
                  </a:lnTo>
                  <a:lnTo>
                    <a:pt x="133" y="0"/>
                  </a:lnTo>
                  <a:lnTo>
                    <a:pt x="133" y="3"/>
                  </a:lnTo>
                  <a:lnTo>
                    <a:pt x="133" y="3"/>
                  </a:lnTo>
                  <a:lnTo>
                    <a:pt x="133" y="3"/>
                  </a:lnTo>
                  <a:lnTo>
                    <a:pt x="133" y="3"/>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171" name="Freeform 1789">
              <a:extLst>
                <a:ext uri="{FF2B5EF4-FFF2-40B4-BE49-F238E27FC236}">
                  <a16:creationId xmlns:a16="http://schemas.microsoft.com/office/drawing/2014/main" id="{B6322005-2813-AB4F-9BD1-91D0ADCFBD1E}"/>
                </a:ext>
              </a:extLst>
            </p:cNvPr>
            <p:cNvSpPr>
              <a:spLocks noEditPoints="1"/>
            </p:cNvSpPr>
            <p:nvPr/>
          </p:nvSpPr>
          <p:spPr bwMode="auto">
            <a:xfrm>
              <a:off x="7272144" y="2831139"/>
              <a:ext cx="150488" cy="129224"/>
            </a:xfrm>
            <a:custGeom>
              <a:avLst/>
              <a:gdLst>
                <a:gd name="T0" fmla="*/ 46 w 92"/>
                <a:gd name="T1" fmla="*/ 43 h 79"/>
                <a:gd name="T2" fmla="*/ 43 w 92"/>
                <a:gd name="T3" fmla="*/ 41 h 79"/>
                <a:gd name="T4" fmla="*/ 41 w 92"/>
                <a:gd name="T5" fmla="*/ 43 h 79"/>
                <a:gd name="T6" fmla="*/ 20 w 92"/>
                <a:gd name="T7" fmla="*/ 41 h 79"/>
                <a:gd name="T8" fmla="*/ 18 w 92"/>
                <a:gd name="T9" fmla="*/ 41 h 79"/>
                <a:gd name="T10" fmla="*/ 33 w 92"/>
                <a:gd name="T11" fmla="*/ 41 h 79"/>
                <a:gd name="T12" fmla="*/ 35 w 92"/>
                <a:gd name="T13" fmla="*/ 38 h 79"/>
                <a:gd name="T14" fmla="*/ 33 w 92"/>
                <a:gd name="T15" fmla="*/ 41 h 79"/>
                <a:gd name="T16" fmla="*/ 33 w 92"/>
                <a:gd name="T17" fmla="*/ 41 h 79"/>
                <a:gd name="T18" fmla="*/ 56 w 92"/>
                <a:gd name="T19" fmla="*/ 38 h 79"/>
                <a:gd name="T20" fmla="*/ 53 w 92"/>
                <a:gd name="T21" fmla="*/ 36 h 79"/>
                <a:gd name="T22" fmla="*/ 53 w 92"/>
                <a:gd name="T23" fmla="*/ 38 h 79"/>
                <a:gd name="T24" fmla="*/ 89 w 92"/>
                <a:gd name="T25" fmla="*/ 10 h 79"/>
                <a:gd name="T26" fmla="*/ 86 w 92"/>
                <a:gd name="T27" fmla="*/ 10 h 79"/>
                <a:gd name="T28" fmla="*/ 86 w 92"/>
                <a:gd name="T29" fmla="*/ 5 h 79"/>
                <a:gd name="T30" fmla="*/ 84 w 92"/>
                <a:gd name="T31" fmla="*/ 0 h 79"/>
                <a:gd name="T32" fmla="*/ 84 w 92"/>
                <a:gd name="T33" fmla="*/ 5 h 79"/>
                <a:gd name="T34" fmla="*/ 71 w 92"/>
                <a:gd name="T35" fmla="*/ 15 h 79"/>
                <a:gd name="T36" fmla="*/ 66 w 92"/>
                <a:gd name="T37" fmla="*/ 23 h 79"/>
                <a:gd name="T38" fmla="*/ 58 w 92"/>
                <a:gd name="T39" fmla="*/ 33 h 79"/>
                <a:gd name="T40" fmla="*/ 56 w 92"/>
                <a:gd name="T41" fmla="*/ 38 h 79"/>
                <a:gd name="T42" fmla="*/ 53 w 92"/>
                <a:gd name="T43" fmla="*/ 41 h 79"/>
                <a:gd name="T44" fmla="*/ 43 w 92"/>
                <a:gd name="T45" fmla="*/ 46 h 79"/>
                <a:gd name="T46" fmla="*/ 20 w 92"/>
                <a:gd name="T47" fmla="*/ 43 h 79"/>
                <a:gd name="T48" fmla="*/ 10 w 92"/>
                <a:gd name="T49" fmla="*/ 48 h 79"/>
                <a:gd name="T50" fmla="*/ 2 w 92"/>
                <a:gd name="T51" fmla="*/ 46 h 79"/>
                <a:gd name="T52" fmla="*/ 0 w 92"/>
                <a:gd name="T53" fmla="*/ 43 h 79"/>
                <a:gd name="T54" fmla="*/ 0 w 92"/>
                <a:gd name="T55" fmla="*/ 41 h 79"/>
                <a:gd name="T56" fmla="*/ 0 w 92"/>
                <a:gd name="T57" fmla="*/ 46 h 79"/>
                <a:gd name="T58" fmla="*/ 2 w 92"/>
                <a:gd name="T59" fmla="*/ 51 h 79"/>
                <a:gd name="T60" fmla="*/ 7 w 92"/>
                <a:gd name="T61" fmla="*/ 54 h 79"/>
                <a:gd name="T62" fmla="*/ 10 w 92"/>
                <a:gd name="T63" fmla="*/ 59 h 79"/>
                <a:gd name="T64" fmla="*/ 13 w 92"/>
                <a:gd name="T65" fmla="*/ 64 h 79"/>
                <a:gd name="T66" fmla="*/ 18 w 92"/>
                <a:gd name="T67" fmla="*/ 69 h 79"/>
                <a:gd name="T68" fmla="*/ 23 w 92"/>
                <a:gd name="T69" fmla="*/ 71 h 79"/>
                <a:gd name="T70" fmla="*/ 25 w 92"/>
                <a:gd name="T71" fmla="*/ 74 h 79"/>
                <a:gd name="T72" fmla="*/ 38 w 92"/>
                <a:gd name="T73" fmla="*/ 74 h 79"/>
                <a:gd name="T74" fmla="*/ 51 w 92"/>
                <a:gd name="T75" fmla="*/ 76 h 79"/>
                <a:gd name="T76" fmla="*/ 61 w 92"/>
                <a:gd name="T77" fmla="*/ 79 h 79"/>
                <a:gd name="T78" fmla="*/ 69 w 92"/>
                <a:gd name="T79" fmla="*/ 79 h 79"/>
                <a:gd name="T80" fmla="*/ 71 w 92"/>
                <a:gd name="T81" fmla="*/ 79 h 79"/>
                <a:gd name="T82" fmla="*/ 71 w 92"/>
                <a:gd name="T83" fmla="*/ 71 h 79"/>
                <a:gd name="T84" fmla="*/ 74 w 92"/>
                <a:gd name="T85" fmla="*/ 61 h 79"/>
                <a:gd name="T86" fmla="*/ 76 w 92"/>
                <a:gd name="T87" fmla="*/ 54 h 79"/>
                <a:gd name="T88" fmla="*/ 76 w 92"/>
                <a:gd name="T89" fmla="*/ 51 h 79"/>
                <a:gd name="T90" fmla="*/ 81 w 92"/>
                <a:gd name="T91" fmla="*/ 48 h 79"/>
                <a:gd name="T92" fmla="*/ 86 w 92"/>
                <a:gd name="T93" fmla="*/ 46 h 79"/>
                <a:gd name="T94" fmla="*/ 84 w 92"/>
                <a:gd name="T95" fmla="*/ 43 h 79"/>
                <a:gd name="T96" fmla="*/ 81 w 92"/>
                <a:gd name="T97" fmla="*/ 41 h 79"/>
                <a:gd name="T98" fmla="*/ 81 w 92"/>
                <a:gd name="T99" fmla="*/ 36 h 79"/>
                <a:gd name="T100" fmla="*/ 81 w 92"/>
                <a:gd name="T101" fmla="*/ 33 h 79"/>
                <a:gd name="T102" fmla="*/ 81 w 92"/>
                <a:gd name="T103" fmla="*/ 28 h 79"/>
                <a:gd name="T104" fmla="*/ 84 w 92"/>
                <a:gd name="T105" fmla="*/ 26 h 79"/>
                <a:gd name="T106" fmla="*/ 84 w 92"/>
                <a:gd name="T107" fmla="*/ 28 h 79"/>
                <a:gd name="T108" fmla="*/ 84 w 92"/>
                <a:gd name="T109" fmla="*/ 31 h 79"/>
                <a:gd name="T110" fmla="*/ 86 w 92"/>
                <a:gd name="T111" fmla="*/ 31 h 79"/>
                <a:gd name="T112" fmla="*/ 92 w 92"/>
                <a:gd name="T113" fmla="*/ 26 h 79"/>
                <a:gd name="T114" fmla="*/ 92 w 92"/>
                <a:gd name="T115" fmla="*/ 26 h 79"/>
                <a:gd name="T116" fmla="*/ 89 w 92"/>
                <a:gd name="T117" fmla="*/ 20 h 79"/>
                <a:gd name="T118" fmla="*/ 89 w 92"/>
                <a:gd name="T119" fmla="*/ 18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2" h="79">
                  <a:moveTo>
                    <a:pt x="43" y="46"/>
                  </a:moveTo>
                  <a:lnTo>
                    <a:pt x="43" y="43"/>
                  </a:lnTo>
                  <a:lnTo>
                    <a:pt x="46" y="43"/>
                  </a:lnTo>
                  <a:lnTo>
                    <a:pt x="46" y="43"/>
                  </a:lnTo>
                  <a:lnTo>
                    <a:pt x="46" y="43"/>
                  </a:lnTo>
                  <a:lnTo>
                    <a:pt x="43" y="41"/>
                  </a:lnTo>
                  <a:lnTo>
                    <a:pt x="41" y="43"/>
                  </a:lnTo>
                  <a:lnTo>
                    <a:pt x="41" y="43"/>
                  </a:lnTo>
                  <a:lnTo>
                    <a:pt x="41" y="43"/>
                  </a:lnTo>
                  <a:lnTo>
                    <a:pt x="43" y="46"/>
                  </a:lnTo>
                  <a:close/>
                  <a:moveTo>
                    <a:pt x="20" y="41"/>
                  </a:moveTo>
                  <a:lnTo>
                    <a:pt x="20" y="41"/>
                  </a:lnTo>
                  <a:lnTo>
                    <a:pt x="20" y="41"/>
                  </a:lnTo>
                  <a:lnTo>
                    <a:pt x="20" y="38"/>
                  </a:lnTo>
                  <a:lnTo>
                    <a:pt x="18" y="41"/>
                  </a:lnTo>
                  <a:lnTo>
                    <a:pt x="18" y="41"/>
                  </a:lnTo>
                  <a:lnTo>
                    <a:pt x="20" y="41"/>
                  </a:lnTo>
                  <a:close/>
                  <a:moveTo>
                    <a:pt x="33" y="41"/>
                  </a:moveTo>
                  <a:lnTo>
                    <a:pt x="35" y="41"/>
                  </a:lnTo>
                  <a:lnTo>
                    <a:pt x="35" y="41"/>
                  </a:lnTo>
                  <a:lnTo>
                    <a:pt x="35" y="38"/>
                  </a:lnTo>
                  <a:lnTo>
                    <a:pt x="35" y="38"/>
                  </a:lnTo>
                  <a:lnTo>
                    <a:pt x="33" y="38"/>
                  </a:lnTo>
                  <a:lnTo>
                    <a:pt x="33" y="41"/>
                  </a:lnTo>
                  <a:lnTo>
                    <a:pt x="30" y="41"/>
                  </a:lnTo>
                  <a:lnTo>
                    <a:pt x="33" y="41"/>
                  </a:lnTo>
                  <a:lnTo>
                    <a:pt x="33" y="41"/>
                  </a:lnTo>
                  <a:close/>
                  <a:moveTo>
                    <a:pt x="53" y="38"/>
                  </a:moveTo>
                  <a:lnTo>
                    <a:pt x="56" y="38"/>
                  </a:lnTo>
                  <a:lnTo>
                    <a:pt x="56" y="38"/>
                  </a:lnTo>
                  <a:lnTo>
                    <a:pt x="53" y="38"/>
                  </a:lnTo>
                  <a:lnTo>
                    <a:pt x="53" y="36"/>
                  </a:lnTo>
                  <a:lnTo>
                    <a:pt x="53" y="36"/>
                  </a:lnTo>
                  <a:lnTo>
                    <a:pt x="53" y="38"/>
                  </a:lnTo>
                  <a:lnTo>
                    <a:pt x="53" y="38"/>
                  </a:lnTo>
                  <a:lnTo>
                    <a:pt x="53" y="38"/>
                  </a:lnTo>
                  <a:close/>
                  <a:moveTo>
                    <a:pt x="92" y="26"/>
                  </a:moveTo>
                  <a:lnTo>
                    <a:pt x="89" y="13"/>
                  </a:lnTo>
                  <a:lnTo>
                    <a:pt x="89" y="10"/>
                  </a:lnTo>
                  <a:lnTo>
                    <a:pt x="89" y="10"/>
                  </a:lnTo>
                  <a:lnTo>
                    <a:pt x="89" y="10"/>
                  </a:lnTo>
                  <a:lnTo>
                    <a:pt x="86" y="10"/>
                  </a:lnTo>
                  <a:lnTo>
                    <a:pt x="86" y="10"/>
                  </a:lnTo>
                  <a:lnTo>
                    <a:pt x="86" y="8"/>
                  </a:lnTo>
                  <a:lnTo>
                    <a:pt x="86" y="5"/>
                  </a:lnTo>
                  <a:lnTo>
                    <a:pt x="86" y="3"/>
                  </a:lnTo>
                  <a:lnTo>
                    <a:pt x="86" y="0"/>
                  </a:lnTo>
                  <a:lnTo>
                    <a:pt x="84" y="0"/>
                  </a:lnTo>
                  <a:lnTo>
                    <a:pt x="84" y="0"/>
                  </a:lnTo>
                  <a:lnTo>
                    <a:pt x="84" y="0"/>
                  </a:lnTo>
                  <a:lnTo>
                    <a:pt x="84" y="5"/>
                  </a:lnTo>
                  <a:lnTo>
                    <a:pt x="81" y="8"/>
                  </a:lnTo>
                  <a:lnTo>
                    <a:pt x="74" y="13"/>
                  </a:lnTo>
                  <a:lnTo>
                    <a:pt x="71" y="15"/>
                  </a:lnTo>
                  <a:lnTo>
                    <a:pt x="71" y="18"/>
                  </a:lnTo>
                  <a:lnTo>
                    <a:pt x="71" y="20"/>
                  </a:lnTo>
                  <a:lnTo>
                    <a:pt x="66" y="23"/>
                  </a:lnTo>
                  <a:lnTo>
                    <a:pt x="61" y="31"/>
                  </a:lnTo>
                  <a:lnTo>
                    <a:pt x="58" y="31"/>
                  </a:lnTo>
                  <a:lnTo>
                    <a:pt x="58" y="33"/>
                  </a:lnTo>
                  <a:lnTo>
                    <a:pt x="58" y="36"/>
                  </a:lnTo>
                  <a:lnTo>
                    <a:pt x="56" y="36"/>
                  </a:lnTo>
                  <a:lnTo>
                    <a:pt x="56" y="38"/>
                  </a:lnTo>
                  <a:lnTo>
                    <a:pt x="56" y="41"/>
                  </a:lnTo>
                  <a:lnTo>
                    <a:pt x="53" y="41"/>
                  </a:lnTo>
                  <a:lnTo>
                    <a:pt x="53" y="41"/>
                  </a:lnTo>
                  <a:lnTo>
                    <a:pt x="51" y="43"/>
                  </a:lnTo>
                  <a:lnTo>
                    <a:pt x="46" y="46"/>
                  </a:lnTo>
                  <a:lnTo>
                    <a:pt x="43" y="46"/>
                  </a:lnTo>
                  <a:lnTo>
                    <a:pt x="33" y="46"/>
                  </a:lnTo>
                  <a:lnTo>
                    <a:pt x="28" y="43"/>
                  </a:lnTo>
                  <a:lnTo>
                    <a:pt x="20" y="43"/>
                  </a:lnTo>
                  <a:lnTo>
                    <a:pt x="18" y="46"/>
                  </a:lnTo>
                  <a:lnTo>
                    <a:pt x="13" y="48"/>
                  </a:lnTo>
                  <a:lnTo>
                    <a:pt x="10" y="48"/>
                  </a:lnTo>
                  <a:lnTo>
                    <a:pt x="5" y="48"/>
                  </a:lnTo>
                  <a:lnTo>
                    <a:pt x="5" y="48"/>
                  </a:lnTo>
                  <a:lnTo>
                    <a:pt x="2" y="46"/>
                  </a:lnTo>
                  <a:lnTo>
                    <a:pt x="2" y="41"/>
                  </a:lnTo>
                  <a:lnTo>
                    <a:pt x="2" y="41"/>
                  </a:lnTo>
                  <a:lnTo>
                    <a:pt x="0" y="43"/>
                  </a:lnTo>
                  <a:lnTo>
                    <a:pt x="0" y="41"/>
                  </a:lnTo>
                  <a:lnTo>
                    <a:pt x="0" y="41"/>
                  </a:lnTo>
                  <a:lnTo>
                    <a:pt x="0" y="41"/>
                  </a:lnTo>
                  <a:lnTo>
                    <a:pt x="0" y="41"/>
                  </a:lnTo>
                  <a:lnTo>
                    <a:pt x="0" y="46"/>
                  </a:lnTo>
                  <a:lnTo>
                    <a:pt x="0" y="46"/>
                  </a:lnTo>
                  <a:lnTo>
                    <a:pt x="0" y="46"/>
                  </a:lnTo>
                  <a:lnTo>
                    <a:pt x="2" y="48"/>
                  </a:lnTo>
                  <a:lnTo>
                    <a:pt x="2" y="51"/>
                  </a:lnTo>
                  <a:lnTo>
                    <a:pt x="5" y="51"/>
                  </a:lnTo>
                  <a:lnTo>
                    <a:pt x="5" y="54"/>
                  </a:lnTo>
                  <a:lnTo>
                    <a:pt x="7" y="54"/>
                  </a:lnTo>
                  <a:lnTo>
                    <a:pt x="7" y="56"/>
                  </a:lnTo>
                  <a:lnTo>
                    <a:pt x="7" y="59"/>
                  </a:lnTo>
                  <a:lnTo>
                    <a:pt x="10" y="59"/>
                  </a:lnTo>
                  <a:lnTo>
                    <a:pt x="10" y="61"/>
                  </a:lnTo>
                  <a:lnTo>
                    <a:pt x="13" y="61"/>
                  </a:lnTo>
                  <a:lnTo>
                    <a:pt x="13" y="64"/>
                  </a:lnTo>
                  <a:lnTo>
                    <a:pt x="15" y="66"/>
                  </a:lnTo>
                  <a:lnTo>
                    <a:pt x="18" y="69"/>
                  </a:lnTo>
                  <a:lnTo>
                    <a:pt x="18" y="69"/>
                  </a:lnTo>
                  <a:lnTo>
                    <a:pt x="20" y="71"/>
                  </a:lnTo>
                  <a:lnTo>
                    <a:pt x="20" y="71"/>
                  </a:lnTo>
                  <a:lnTo>
                    <a:pt x="23" y="71"/>
                  </a:lnTo>
                  <a:lnTo>
                    <a:pt x="23" y="71"/>
                  </a:lnTo>
                  <a:lnTo>
                    <a:pt x="23" y="71"/>
                  </a:lnTo>
                  <a:lnTo>
                    <a:pt x="25" y="74"/>
                  </a:lnTo>
                  <a:lnTo>
                    <a:pt x="30" y="74"/>
                  </a:lnTo>
                  <a:lnTo>
                    <a:pt x="33" y="74"/>
                  </a:lnTo>
                  <a:lnTo>
                    <a:pt x="38" y="74"/>
                  </a:lnTo>
                  <a:lnTo>
                    <a:pt x="41" y="74"/>
                  </a:lnTo>
                  <a:lnTo>
                    <a:pt x="46" y="76"/>
                  </a:lnTo>
                  <a:lnTo>
                    <a:pt x="51" y="76"/>
                  </a:lnTo>
                  <a:lnTo>
                    <a:pt x="53" y="76"/>
                  </a:lnTo>
                  <a:lnTo>
                    <a:pt x="58" y="76"/>
                  </a:lnTo>
                  <a:lnTo>
                    <a:pt x="61" y="79"/>
                  </a:lnTo>
                  <a:lnTo>
                    <a:pt x="66" y="79"/>
                  </a:lnTo>
                  <a:lnTo>
                    <a:pt x="66" y="79"/>
                  </a:lnTo>
                  <a:lnTo>
                    <a:pt x="69" y="79"/>
                  </a:lnTo>
                  <a:lnTo>
                    <a:pt x="69" y="79"/>
                  </a:lnTo>
                  <a:lnTo>
                    <a:pt x="71" y="79"/>
                  </a:lnTo>
                  <a:lnTo>
                    <a:pt x="71" y="79"/>
                  </a:lnTo>
                  <a:lnTo>
                    <a:pt x="71" y="76"/>
                  </a:lnTo>
                  <a:lnTo>
                    <a:pt x="71" y="74"/>
                  </a:lnTo>
                  <a:lnTo>
                    <a:pt x="71" y="71"/>
                  </a:lnTo>
                  <a:lnTo>
                    <a:pt x="71" y="69"/>
                  </a:lnTo>
                  <a:lnTo>
                    <a:pt x="74" y="66"/>
                  </a:lnTo>
                  <a:lnTo>
                    <a:pt x="74" y="61"/>
                  </a:lnTo>
                  <a:lnTo>
                    <a:pt x="76" y="59"/>
                  </a:lnTo>
                  <a:lnTo>
                    <a:pt x="76" y="56"/>
                  </a:lnTo>
                  <a:lnTo>
                    <a:pt x="76" y="54"/>
                  </a:lnTo>
                  <a:lnTo>
                    <a:pt x="76" y="51"/>
                  </a:lnTo>
                  <a:lnTo>
                    <a:pt x="76" y="51"/>
                  </a:lnTo>
                  <a:lnTo>
                    <a:pt x="76" y="51"/>
                  </a:lnTo>
                  <a:lnTo>
                    <a:pt x="76" y="48"/>
                  </a:lnTo>
                  <a:lnTo>
                    <a:pt x="76" y="48"/>
                  </a:lnTo>
                  <a:lnTo>
                    <a:pt x="81" y="48"/>
                  </a:lnTo>
                  <a:lnTo>
                    <a:pt x="81" y="48"/>
                  </a:lnTo>
                  <a:lnTo>
                    <a:pt x="84" y="46"/>
                  </a:lnTo>
                  <a:lnTo>
                    <a:pt x="86" y="46"/>
                  </a:lnTo>
                  <a:lnTo>
                    <a:pt x="86" y="46"/>
                  </a:lnTo>
                  <a:lnTo>
                    <a:pt x="86" y="43"/>
                  </a:lnTo>
                  <a:lnTo>
                    <a:pt x="84" y="43"/>
                  </a:lnTo>
                  <a:lnTo>
                    <a:pt x="81" y="43"/>
                  </a:lnTo>
                  <a:lnTo>
                    <a:pt x="81" y="43"/>
                  </a:lnTo>
                  <a:lnTo>
                    <a:pt x="81" y="41"/>
                  </a:lnTo>
                  <a:lnTo>
                    <a:pt x="81" y="38"/>
                  </a:lnTo>
                  <a:lnTo>
                    <a:pt x="81" y="38"/>
                  </a:lnTo>
                  <a:lnTo>
                    <a:pt x="81" y="36"/>
                  </a:lnTo>
                  <a:lnTo>
                    <a:pt x="81" y="36"/>
                  </a:lnTo>
                  <a:lnTo>
                    <a:pt x="81" y="33"/>
                  </a:lnTo>
                  <a:lnTo>
                    <a:pt x="81" y="33"/>
                  </a:lnTo>
                  <a:lnTo>
                    <a:pt x="81" y="31"/>
                  </a:lnTo>
                  <a:lnTo>
                    <a:pt x="81" y="28"/>
                  </a:lnTo>
                  <a:lnTo>
                    <a:pt x="81" y="28"/>
                  </a:lnTo>
                  <a:lnTo>
                    <a:pt x="81" y="26"/>
                  </a:lnTo>
                  <a:lnTo>
                    <a:pt x="84" y="26"/>
                  </a:lnTo>
                  <a:lnTo>
                    <a:pt x="84" y="26"/>
                  </a:lnTo>
                  <a:lnTo>
                    <a:pt x="84" y="26"/>
                  </a:lnTo>
                  <a:lnTo>
                    <a:pt x="84" y="28"/>
                  </a:lnTo>
                  <a:lnTo>
                    <a:pt x="84" y="28"/>
                  </a:lnTo>
                  <a:lnTo>
                    <a:pt x="84" y="28"/>
                  </a:lnTo>
                  <a:lnTo>
                    <a:pt x="84" y="28"/>
                  </a:lnTo>
                  <a:lnTo>
                    <a:pt x="84" y="31"/>
                  </a:lnTo>
                  <a:lnTo>
                    <a:pt x="86" y="31"/>
                  </a:lnTo>
                  <a:lnTo>
                    <a:pt x="86" y="31"/>
                  </a:lnTo>
                  <a:lnTo>
                    <a:pt x="86" y="31"/>
                  </a:lnTo>
                  <a:lnTo>
                    <a:pt x="89" y="28"/>
                  </a:lnTo>
                  <a:lnTo>
                    <a:pt x="89" y="28"/>
                  </a:lnTo>
                  <a:lnTo>
                    <a:pt x="92" y="26"/>
                  </a:lnTo>
                  <a:lnTo>
                    <a:pt x="92" y="26"/>
                  </a:lnTo>
                  <a:lnTo>
                    <a:pt x="92" y="26"/>
                  </a:lnTo>
                  <a:lnTo>
                    <a:pt x="92" y="26"/>
                  </a:lnTo>
                  <a:close/>
                  <a:moveTo>
                    <a:pt x="89" y="20"/>
                  </a:moveTo>
                  <a:lnTo>
                    <a:pt x="89" y="20"/>
                  </a:lnTo>
                  <a:lnTo>
                    <a:pt x="89" y="20"/>
                  </a:lnTo>
                  <a:lnTo>
                    <a:pt x="89" y="18"/>
                  </a:lnTo>
                  <a:lnTo>
                    <a:pt x="89" y="18"/>
                  </a:lnTo>
                  <a:lnTo>
                    <a:pt x="89" y="18"/>
                  </a:lnTo>
                  <a:lnTo>
                    <a:pt x="89" y="18"/>
                  </a:lnTo>
                  <a:lnTo>
                    <a:pt x="89" y="2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172" name="Freeform 1790">
              <a:extLst>
                <a:ext uri="{FF2B5EF4-FFF2-40B4-BE49-F238E27FC236}">
                  <a16:creationId xmlns:a16="http://schemas.microsoft.com/office/drawing/2014/main" id="{9D7E49DA-4BD4-964B-BDCF-E894A0A8A46B}"/>
                </a:ext>
              </a:extLst>
            </p:cNvPr>
            <p:cNvSpPr>
              <a:spLocks noEditPoints="1"/>
            </p:cNvSpPr>
            <p:nvPr/>
          </p:nvSpPr>
          <p:spPr bwMode="auto">
            <a:xfrm>
              <a:off x="6292337" y="1866054"/>
              <a:ext cx="511986" cy="291161"/>
            </a:xfrm>
            <a:custGeom>
              <a:avLst/>
              <a:gdLst>
                <a:gd name="T0" fmla="*/ 313 w 313"/>
                <a:gd name="T1" fmla="*/ 89 h 178"/>
                <a:gd name="T2" fmla="*/ 308 w 313"/>
                <a:gd name="T3" fmla="*/ 81 h 178"/>
                <a:gd name="T4" fmla="*/ 306 w 313"/>
                <a:gd name="T5" fmla="*/ 74 h 178"/>
                <a:gd name="T6" fmla="*/ 311 w 313"/>
                <a:gd name="T7" fmla="*/ 61 h 178"/>
                <a:gd name="T8" fmla="*/ 296 w 313"/>
                <a:gd name="T9" fmla="*/ 56 h 178"/>
                <a:gd name="T10" fmla="*/ 278 w 313"/>
                <a:gd name="T11" fmla="*/ 53 h 178"/>
                <a:gd name="T12" fmla="*/ 260 w 313"/>
                <a:gd name="T13" fmla="*/ 43 h 178"/>
                <a:gd name="T14" fmla="*/ 242 w 313"/>
                <a:gd name="T15" fmla="*/ 46 h 178"/>
                <a:gd name="T16" fmla="*/ 227 w 313"/>
                <a:gd name="T17" fmla="*/ 38 h 178"/>
                <a:gd name="T18" fmla="*/ 224 w 313"/>
                <a:gd name="T19" fmla="*/ 28 h 178"/>
                <a:gd name="T20" fmla="*/ 209 w 313"/>
                <a:gd name="T21" fmla="*/ 25 h 178"/>
                <a:gd name="T22" fmla="*/ 201 w 313"/>
                <a:gd name="T23" fmla="*/ 15 h 178"/>
                <a:gd name="T24" fmla="*/ 191 w 313"/>
                <a:gd name="T25" fmla="*/ 0 h 178"/>
                <a:gd name="T26" fmla="*/ 168 w 313"/>
                <a:gd name="T27" fmla="*/ 5 h 178"/>
                <a:gd name="T28" fmla="*/ 150 w 313"/>
                <a:gd name="T29" fmla="*/ 7 h 178"/>
                <a:gd name="T30" fmla="*/ 143 w 313"/>
                <a:gd name="T31" fmla="*/ 20 h 178"/>
                <a:gd name="T32" fmla="*/ 125 w 313"/>
                <a:gd name="T33" fmla="*/ 20 h 178"/>
                <a:gd name="T34" fmla="*/ 112 w 313"/>
                <a:gd name="T35" fmla="*/ 18 h 178"/>
                <a:gd name="T36" fmla="*/ 99 w 313"/>
                <a:gd name="T37" fmla="*/ 15 h 178"/>
                <a:gd name="T38" fmla="*/ 89 w 313"/>
                <a:gd name="T39" fmla="*/ 18 h 178"/>
                <a:gd name="T40" fmla="*/ 69 w 313"/>
                <a:gd name="T41" fmla="*/ 10 h 178"/>
                <a:gd name="T42" fmla="*/ 36 w 313"/>
                <a:gd name="T43" fmla="*/ 10 h 178"/>
                <a:gd name="T44" fmla="*/ 20 w 313"/>
                <a:gd name="T45" fmla="*/ 15 h 178"/>
                <a:gd name="T46" fmla="*/ 30 w 313"/>
                <a:gd name="T47" fmla="*/ 33 h 178"/>
                <a:gd name="T48" fmla="*/ 28 w 313"/>
                <a:gd name="T49" fmla="*/ 40 h 178"/>
                <a:gd name="T50" fmla="*/ 8 w 313"/>
                <a:gd name="T51" fmla="*/ 61 h 178"/>
                <a:gd name="T52" fmla="*/ 10 w 313"/>
                <a:gd name="T53" fmla="*/ 74 h 178"/>
                <a:gd name="T54" fmla="*/ 0 w 313"/>
                <a:gd name="T55" fmla="*/ 86 h 178"/>
                <a:gd name="T56" fmla="*/ 8 w 313"/>
                <a:gd name="T57" fmla="*/ 94 h 178"/>
                <a:gd name="T58" fmla="*/ 13 w 313"/>
                <a:gd name="T59" fmla="*/ 96 h 178"/>
                <a:gd name="T60" fmla="*/ 33 w 313"/>
                <a:gd name="T61" fmla="*/ 96 h 178"/>
                <a:gd name="T62" fmla="*/ 53 w 313"/>
                <a:gd name="T63" fmla="*/ 102 h 178"/>
                <a:gd name="T64" fmla="*/ 79 w 313"/>
                <a:gd name="T65" fmla="*/ 89 h 178"/>
                <a:gd name="T66" fmla="*/ 94 w 313"/>
                <a:gd name="T67" fmla="*/ 86 h 178"/>
                <a:gd name="T68" fmla="*/ 109 w 313"/>
                <a:gd name="T69" fmla="*/ 91 h 178"/>
                <a:gd name="T70" fmla="*/ 122 w 313"/>
                <a:gd name="T71" fmla="*/ 96 h 178"/>
                <a:gd name="T72" fmla="*/ 125 w 313"/>
                <a:gd name="T73" fmla="*/ 109 h 178"/>
                <a:gd name="T74" fmla="*/ 132 w 313"/>
                <a:gd name="T75" fmla="*/ 117 h 178"/>
                <a:gd name="T76" fmla="*/ 145 w 313"/>
                <a:gd name="T77" fmla="*/ 132 h 178"/>
                <a:gd name="T78" fmla="*/ 132 w 313"/>
                <a:gd name="T79" fmla="*/ 130 h 178"/>
                <a:gd name="T80" fmla="*/ 125 w 313"/>
                <a:gd name="T81" fmla="*/ 130 h 178"/>
                <a:gd name="T82" fmla="*/ 117 w 313"/>
                <a:gd name="T83" fmla="*/ 147 h 178"/>
                <a:gd name="T84" fmla="*/ 117 w 313"/>
                <a:gd name="T85" fmla="*/ 155 h 178"/>
                <a:gd name="T86" fmla="*/ 135 w 313"/>
                <a:gd name="T87" fmla="*/ 152 h 178"/>
                <a:gd name="T88" fmla="*/ 143 w 313"/>
                <a:gd name="T89" fmla="*/ 145 h 178"/>
                <a:gd name="T90" fmla="*/ 163 w 313"/>
                <a:gd name="T91" fmla="*/ 127 h 178"/>
                <a:gd name="T92" fmla="*/ 173 w 313"/>
                <a:gd name="T93" fmla="*/ 117 h 178"/>
                <a:gd name="T94" fmla="*/ 183 w 313"/>
                <a:gd name="T95" fmla="*/ 127 h 178"/>
                <a:gd name="T96" fmla="*/ 176 w 313"/>
                <a:gd name="T97" fmla="*/ 130 h 178"/>
                <a:gd name="T98" fmla="*/ 188 w 313"/>
                <a:gd name="T99" fmla="*/ 137 h 178"/>
                <a:gd name="T100" fmla="*/ 204 w 313"/>
                <a:gd name="T101" fmla="*/ 145 h 178"/>
                <a:gd name="T102" fmla="*/ 209 w 313"/>
                <a:gd name="T103" fmla="*/ 160 h 178"/>
                <a:gd name="T104" fmla="*/ 224 w 313"/>
                <a:gd name="T105" fmla="*/ 175 h 178"/>
                <a:gd name="T106" fmla="*/ 250 w 313"/>
                <a:gd name="T107" fmla="*/ 163 h 178"/>
                <a:gd name="T108" fmla="*/ 255 w 313"/>
                <a:gd name="T109" fmla="*/ 152 h 178"/>
                <a:gd name="T110" fmla="*/ 229 w 313"/>
                <a:gd name="T111" fmla="*/ 140 h 178"/>
                <a:gd name="T112" fmla="*/ 234 w 313"/>
                <a:gd name="T113" fmla="*/ 137 h 178"/>
                <a:gd name="T114" fmla="*/ 260 w 313"/>
                <a:gd name="T115" fmla="*/ 124 h 178"/>
                <a:gd name="T116" fmla="*/ 285 w 313"/>
                <a:gd name="T117" fmla="*/ 114 h 178"/>
                <a:gd name="T118" fmla="*/ 288 w 313"/>
                <a:gd name="T119" fmla="*/ 107 h 178"/>
                <a:gd name="T120" fmla="*/ 311 w 313"/>
                <a:gd name="T121" fmla="*/ 99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13" h="178">
                  <a:moveTo>
                    <a:pt x="173" y="135"/>
                  </a:moveTo>
                  <a:lnTo>
                    <a:pt x="171" y="135"/>
                  </a:lnTo>
                  <a:lnTo>
                    <a:pt x="171" y="132"/>
                  </a:lnTo>
                  <a:lnTo>
                    <a:pt x="171" y="135"/>
                  </a:lnTo>
                  <a:lnTo>
                    <a:pt x="171" y="135"/>
                  </a:lnTo>
                  <a:lnTo>
                    <a:pt x="173" y="135"/>
                  </a:lnTo>
                  <a:lnTo>
                    <a:pt x="178" y="137"/>
                  </a:lnTo>
                  <a:lnTo>
                    <a:pt x="181" y="137"/>
                  </a:lnTo>
                  <a:lnTo>
                    <a:pt x="178" y="135"/>
                  </a:lnTo>
                  <a:lnTo>
                    <a:pt x="173" y="135"/>
                  </a:lnTo>
                  <a:close/>
                  <a:moveTo>
                    <a:pt x="313" y="89"/>
                  </a:moveTo>
                  <a:lnTo>
                    <a:pt x="313" y="89"/>
                  </a:lnTo>
                  <a:lnTo>
                    <a:pt x="313" y="89"/>
                  </a:lnTo>
                  <a:lnTo>
                    <a:pt x="313" y="89"/>
                  </a:lnTo>
                  <a:lnTo>
                    <a:pt x="311" y="89"/>
                  </a:lnTo>
                  <a:lnTo>
                    <a:pt x="313" y="89"/>
                  </a:lnTo>
                  <a:lnTo>
                    <a:pt x="313" y="86"/>
                  </a:lnTo>
                  <a:lnTo>
                    <a:pt x="311" y="86"/>
                  </a:lnTo>
                  <a:lnTo>
                    <a:pt x="311" y="84"/>
                  </a:lnTo>
                  <a:lnTo>
                    <a:pt x="311" y="84"/>
                  </a:lnTo>
                  <a:lnTo>
                    <a:pt x="308" y="84"/>
                  </a:lnTo>
                  <a:lnTo>
                    <a:pt x="308" y="81"/>
                  </a:lnTo>
                  <a:lnTo>
                    <a:pt x="308" y="79"/>
                  </a:lnTo>
                  <a:lnTo>
                    <a:pt x="308" y="79"/>
                  </a:lnTo>
                  <a:lnTo>
                    <a:pt x="308" y="79"/>
                  </a:lnTo>
                  <a:lnTo>
                    <a:pt x="311" y="79"/>
                  </a:lnTo>
                  <a:lnTo>
                    <a:pt x="313" y="79"/>
                  </a:lnTo>
                  <a:lnTo>
                    <a:pt x="313" y="79"/>
                  </a:lnTo>
                  <a:lnTo>
                    <a:pt x="313" y="76"/>
                  </a:lnTo>
                  <a:lnTo>
                    <a:pt x="311" y="76"/>
                  </a:lnTo>
                  <a:lnTo>
                    <a:pt x="308" y="76"/>
                  </a:lnTo>
                  <a:lnTo>
                    <a:pt x="308" y="74"/>
                  </a:lnTo>
                  <a:lnTo>
                    <a:pt x="306" y="74"/>
                  </a:lnTo>
                  <a:lnTo>
                    <a:pt x="308" y="74"/>
                  </a:lnTo>
                  <a:lnTo>
                    <a:pt x="311" y="71"/>
                  </a:lnTo>
                  <a:lnTo>
                    <a:pt x="311" y="71"/>
                  </a:lnTo>
                  <a:lnTo>
                    <a:pt x="313" y="68"/>
                  </a:lnTo>
                  <a:lnTo>
                    <a:pt x="313" y="68"/>
                  </a:lnTo>
                  <a:lnTo>
                    <a:pt x="313" y="66"/>
                  </a:lnTo>
                  <a:lnTo>
                    <a:pt x="313" y="66"/>
                  </a:lnTo>
                  <a:lnTo>
                    <a:pt x="311" y="63"/>
                  </a:lnTo>
                  <a:lnTo>
                    <a:pt x="311" y="63"/>
                  </a:lnTo>
                  <a:lnTo>
                    <a:pt x="313" y="61"/>
                  </a:lnTo>
                  <a:lnTo>
                    <a:pt x="311" y="61"/>
                  </a:lnTo>
                  <a:lnTo>
                    <a:pt x="311" y="61"/>
                  </a:lnTo>
                  <a:lnTo>
                    <a:pt x="311" y="61"/>
                  </a:lnTo>
                  <a:lnTo>
                    <a:pt x="308" y="61"/>
                  </a:lnTo>
                  <a:lnTo>
                    <a:pt x="306" y="61"/>
                  </a:lnTo>
                  <a:lnTo>
                    <a:pt x="303" y="58"/>
                  </a:lnTo>
                  <a:lnTo>
                    <a:pt x="301" y="58"/>
                  </a:lnTo>
                  <a:lnTo>
                    <a:pt x="298" y="58"/>
                  </a:lnTo>
                  <a:lnTo>
                    <a:pt x="298" y="58"/>
                  </a:lnTo>
                  <a:lnTo>
                    <a:pt x="296" y="56"/>
                  </a:lnTo>
                  <a:lnTo>
                    <a:pt x="296" y="56"/>
                  </a:lnTo>
                  <a:lnTo>
                    <a:pt x="296" y="56"/>
                  </a:lnTo>
                  <a:lnTo>
                    <a:pt x="293" y="56"/>
                  </a:lnTo>
                  <a:lnTo>
                    <a:pt x="293" y="56"/>
                  </a:lnTo>
                  <a:lnTo>
                    <a:pt x="290" y="56"/>
                  </a:lnTo>
                  <a:lnTo>
                    <a:pt x="288" y="53"/>
                  </a:lnTo>
                  <a:lnTo>
                    <a:pt x="285" y="53"/>
                  </a:lnTo>
                  <a:lnTo>
                    <a:pt x="283" y="53"/>
                  </a:lnTo>
                  <a:lnTo>
                    <a:pt x="283" y="53"/>
                  </a:lnTo>
                  <a:lnTo>
                    <a:pt x="278" y="51"/>
                  </a:lnTo>
                  <a:lnTo>
                    <a:pt x="278" y="51"/>
                  </a:lnTo>
                  <a:lnTo>
                    <a:pt x="278" y="51"/>
                  </a:lnTo>
                  <a:lnTo>
                    <a:pt x="278" y="53"/>
                  </a:lnTo>
                  <a:lnTo>
                    <a:pt x="278" y="53"/>
                  </a:lnTo>
                  <a:lnTo>
                    <a:pt x="275" y="53"/>
                  </a:lnTo>
                  <a:lnTo>
                    <a:pt x="275" y="53"/>
                  </a:lnTo>
                  <a:lnTo>
                    <a:pt x="273" y="53"/>
                  </a:lnTo>
                  <a:lnTo>
                    <a:pt x="267" y="48"/>
                  </a:lnTo>
                  <a:lnTo>
                    <a:pt x="267" y="46"/>
                  </a:lnTo>
                  <a:lnTo>
                    <a:pt x="265" y="46"/>
                  </a:lnTo>
                  <a:lnTo>
                    <a:pt x="265" y="43"/>
                  </a:lnTo>
                  <a:lnTo>
                    <a:pt x="262" y="43"/>
                  </a:lnTo>
                  <a:lnTo>
                    <a:pt x="262" y="43"/>
                  </a:lnTo>
                  <a:lnTo>
                    <a:pt x="260" y="43"/>
                  </a:lnTo>
                  <a:lnTo>
                    <a:pt x="257" y="43"/>
                  </a:lnTo>
                  <a:lnTo>
                    <a:pt x="257" y="43"/>
                  </a:lnTo>
                  <a:lnTo>
                    <a:pt x="255" y="43"/>
                  </a:lnTo>
                  <a:lnTo>
                    <a:pt x="252" y="46"/>
                  </a:lnTo>
                  <a:lnTo>
                    <a:pt x="250" y="46"/>
                  </a:lnTo>
                  <a:lnTo>
                    <a:pt x="250" y="48"/>
                  </a:lnTo>
                  <a:lnTo>
                    <a:pt x="247" y="46"/>
                  </a:lnTo>
                  <a:lnTo>
                    <a:pt x="247" y="46"/>
                  </a:lnTo>
                  <a:lnTo>
                    <a:pt x="245" y="46"/>
                  </a:lnTo>
                  <a:lnTo>
                    <a:pt x="245" y="46"/>
                  </a:lnTo>
                  <a:lnTo>
                    <a:pt x="242" y="46"/>
                  </a:lnTo>
                  <a:lnTo>
                    <a:pt x="242" y="43"/>
                  </a:lnTo>
                  <a:lnTo>
                    <a:pt x="239" y="43"/>
                  </a:lnTo>
                  <a:lnTo>
                    <a:pt x="237" y="43"/>
                  </a:lnTo>
                  <a:lnTo>
                    <a:pt x="237" y="43"/>
                  </a:lnTo>
                  <a:lnTo>
                    <a:pt x="234" y="43"/>
                  </a:lnTo>
                  <a:lnTo>
                    <a:pt x="232" y="43"/>
                  </a:lnTo>
                  <a:lnTo>
                    <a:pt x="232" y="43"/>
                  </a:lnTo>
                  <a:lnTo>
                    <a:pt x="229" y="43"/>
                  </a:lnTo>
                  <a:lnTo>
                    <a:pt x="229" y="40"/>
                  </a:lnTo>
                  <a:lnTo>
                    <a:pt x="227" y="40"/>
                  </a:lnTo>
                  <a:lnTo>
                    <a:pt x="227" y="38"/>
                  </a:lnTo>
                  <a:lnTo>
                    <a:pt x="227" y="38"/>
                  </a:lnTo>
                  <a:lnTo>
                    <a:pt x="227" y="35"/>
                  </a:lnTo>
                  <a:lnTo>
                    <a:pt x="227" y="35"/>
                  </a:lnTo>
                  <a:lnTo>
                    <a:pt x="227" y="35"/>
                  </a:lnTo>
                  <a:lnTo>
                    <a:pt x="227" y="33"/>
                  </a:lnTo>
                  <a:lnTo>
                    <a:pt x="224" y="33"/>
                  </a:lnTo>
                  <a:lnTo>
                    <a:pt x="224" y="30"/>
                  </a:lnTo>
                  <a:lnTo>
                    <a:pt x="224" y="30"/>
                  </a:lnTo>
                  <a:lnTo>
                    <a:pt x="224" y="30"/>
                  </a:lnTo>
                  <a:lnTo>
                    <a:pt x="224" y="28"/>
                  </a:lnTo>
                  <a:lnTo>
                    <a:pt x="224" y="28"/>
                  </a:lnTo>
                  <a:lnTo>
                    <a:pt x="222" y="28"/>
                  </a:lnTo>
                  <a:lnTo>
                    <a:pt x="222" y="28"/>
                  </a:lnTo>
                  <a:lnTo>
                    <a:pt x="222" y="28"/>
                  </a:lnTo>
                  <a:lnTo>
                    <a:pt x="219" y="25"/>
                  </a:lnTo>
                  <a:lnTo>
                    <a:pt x="219" y="25"/>
                  </a:lnTo>
                  <a:lnTo>
                    <a:pt x="219" y="25"/>
                  </a:lnTo>
                  <a:lnTo>
                    <a:pt x="217" y="25"/>
                  </a:lnTo>
                  <a:lnTo>
                    <a:pt x="214" y="25"/>
                  </a:lnTo>
                  <a:lnTo>
                    <a:pt x="214" y="25"/>
                  </a:lnTo>
                  <a:lnTo>
                    <a:pt x="211" y="25"/>
                  </a:lnTo>
                  <a:lnTo>
                    <a:pt x="209" y="25"/>
                  </a:lnTo>
                  <a:lnTo>
                    <a:pt x="204" y="25"/>
                  </a:lnTo>
                  <a:lnTo>
                    <a:pt x="204" y="25"/>
                  </a:lnTo>
                  <a:lnTo>
                    <a:pt x="204" y="23"/>
                  </a:lnTo>
                  <a:lnTo>
                    <a:pt x="206" y="23"/>
                  </a:lnTo>
                  <a:lnTo>
                    <a:pt x="206" y="23"/>
                  </a:lnTo>
                  <a:lnTo>
                    <a:pt x="204" y="23"/>
                  </a:lnTo>
                  <a:lnTo>
                    <a:pt x="204" y="20"/>
                  </a:lnTo>
                  <a:lnTo>
                    <a:pt x="204" y="20"/>
                  </a:lnTo>
                  <a:lnTo>
                    <a:pt x="204" y="18"/>
                  </a:lnTo>
                  <a:lnTo>
                    <a:pt x="201" y="15"/>
                  </a:lnTo>
                  <a:lnTo>
                    <a:pt x="201" y="15"/>
                  </a:lnTo>
                  <a:lnTo>
                    <a:pt x="201" y="15"/>
                  </a:lnTo>
                  <a:lnTo>
                    <a:pt x="204" y="15"/>
                  </a:lnTo>
                  <a:lnTo>
                    <a:pt x="206" y="15"/>
                  </a:lnTo>
                  <a:lnTo>
                    <a:pt x="206" y="13"/>
                  </a:lnTo>
                  <a:lnTo>
                    <a:pt x="206" y="13"/>
                  </a:lnTo>
                  <a:lnTo>
                    <a:pt x="201" y="7"/>
                  </a:lnTo>
                  <a:lnTo>
                    <a:pt x="199" y="5"/>
                  </a:lnTo>
                  <a:lnTo>
                    <a:pt x="196" y="2"/>
                  </a:lnTo>
                  <a:lnTo>
                    <a:pt x="194" y="0"/>
                  </a:lnTo>
                  <a:lnTo>
                    <a:pt x="194" y="0"/>
                  </a:lnTo>
                  <a:lnTo>
                    <a:pt x="191" y="0"/>
                  </a:lnTo>
                  <a:lnTo>
                    <a:pt x="188" y="0"/>
                  </a:lnTo>
                  <a:lnTo>
                    <a:pt x="186" y="0"/>
                  </a:lnTo>
                  <a:lnTo>
                    <a:pt x="183" y="0"/>
                  </a:lnTo>
                  <a:lnTo>
                    <a:pt x="178" y="2"/>
                  </a:lnTo>
                  <a:lnTo>
                    <a:pt x="178" y="2"/>
                  </a:lnTo>
                  <a:lnTo>
                    <a:pt x="173" y="2"/>
                  </a:lnTo>
                  <a:lnTo>
                    <a:pt x="171" y="0"/>
                  </a:lnTo>
                  <a:lnTo>
                    <a:pt x="171" y="0"/>
                  </a:lnTo>
                  <a:lnTo>
                    <a:pt x="171" y="2"/>
                  </a:lnTo>
                  <a:lnTo>
                    <a:pt x="171" y="2"/>
                  </a:lnTo>
                  <a:lnTo>
                    <a:pt x="168" y="5"/>
                  </a:lnTo>
                  <a:lnTo>
                    <a:pt x="168" y="5"/>
                  </a:lnTo>
                  <a:lnTo>
                    <a:pt x="166" y="7"/>
                  </a:lnTo>
                  <a:lnTo>
                    <a:pt x="166" y="7"/>
                  </a:lnTo>
                  <a:lnTo>
                    <a:pt x="163" y="7"/>
                  </a:lnTo>
                  <a:lnTo>
                    <a:pt x="160" y="7"/>
                  </a:lnTo>
                  <a:lnTo>
                    <a:pt x="160" y="5"/>
                  </a:lnTo>
                  <a:lnTo>
                    <a:pt x="160" y="5"/>
                  </a:lnTo>
                  <a:lnTo>
                    <a:pt x="155" y="5"/>
                  </a:lnTo>
                  <a:lnTo>
                    <a:pt x="153" y="5"/>
                  </a:lnTo>
                  <a:lnTo>
                    <a:pt x="150" y="7"/>
                  </a:lnTo>
                  <a:lnTo>
                    <a:pt x="150" y="7"/>
                  </a:lnTo>
                  <a:lnTo>
                    <a:pt x="148" y="5"/>
                  </a:lnTo>
                  <a:lnTo>
                    <a:pt x="145" y="7"/>
                  </a:lnTo>
                  <a:lnTo>
                    <a:pt x="145" y="10"/>
                  </a:lnTo>
                  <a:lnTo>
                    <a:pt x="143" y="10"/>
                  </a:lnTo>
                  <a:lnTo>
                    <a:pt x="143" y="13"/>
                  </a:lnTo>
                  <a:lnTo>
                    <a:pt x="140" y="13"/>
                  </a:lnTo>
                  <a:lnTo>
                    <a:pt x="140" y="15"/>
                  </a:lnTo>
                  <a:lnTo>
                    <a:pt x="140" y="18"/>
                  </a:lnTo>
                  <a:lnTo>
                    <a:pt x="140" y="18"/>
                  </a:lnTo>
                  <a:lnTo>
                    <a:pt x="143" y="20"/>
                  </a:lnTo>
                  <a:lnTo>
                    <a:pt x="143" y="20"/>
                  </a:lnTo>
                  <a:lnTo>
                    <a:pt x="143" y="23"/>
                  </a:lnTo>
                  <a:lnTo>
                    <a:pt x="140" y="23"/>
                  </a:lnTo>
                  <a:lnTo>
                    <a:pt x="140" y="23"/>
                  </a:lnTo>
                  <a:lnTo>
                    <a:pt x="140" y="23"/>
                  </a:lnTo>
                  <a:lnTo>
                    <a:pt x="138" y="23"/>
                  </a:lnTo>
                  <a:lnTo>
                    <a:pt x="138" y="20"/>
                  </a:lnTo>
                  <a:lnTo>
                    <a:pt x="135" y="20"/>
                  </a:lnTo>
                  <a:lnTo>
                    <a:pt x="135" y="20"/>
                  </a:lnTo>
                  <a:lnTo>
                    <a:pt x="132" y="20"/>
                  </a:lnTo>
                  <a:lnTo>
                    <a:pt x="130" y="20"/>
                  </a:lnTo>
                  <a:lnTo>
                    <a:pt x="125" y="20"/>
                  </a:lnTo>
                  <a:lnTo>
                    <a:pt x="122" y="20"/>
                  </a:lnTo>
                  <a:lnTo>
                    <a:pt x="122" y="20"/>
                  </a:lnTo>
                  <a:lnTo>
                    <a:pt x="120" y="20"/>
                  </a:lnTo>
                  <a:lnTo>
                    <a:pt x="120" y="20"/>
                  </a:lnTo>
                  <a:lnTo>
                    <a:pt x="117" y="18"/>
                  </a:lnTo>
                  <a:lnTo>
                    <a:pt x="117" y="18"/>
                  </a:lnTo>
                  <a:lnTo>
                    <a:pt x="115" y="15"/>
                  </a:lnTo>
                  <a:lnTo>
                    <a:pt x="115" y="15"/>
                  </a:lnTo>
                  <a:lnTo>
                    <a:pt x="115" y="15"/>
                  </a:lnTo>
                  <a:lnTo>
                    <a:pt x="115" y="18"/>
                  </a:lnTo>
                  <a:lnTo>
                    <a:pt x="112" y="18"/>
                  </a:lnTo>
                  <a:lnTo>
                    <a:pt x="112" y="18"/>
                  </a:lnTo>
                  <a:lnTo>
                    <a:pt x="112" y="18"/>
                  </a:lnTo>
                  <a:lnTo>
                    <a:pt x="109" y="18"/>
                  </a:lnTo>
                  <a:lnTo>
                    <a:pt x="109" y="20"/>
                  </a:lnTo>
                  <a:lnTo>
                    <a:pt x="109" y="20"/>
                  </a:lnTo>
                  <a:lnTo>
                    <a:pt x="107" y="20"/>
                  </a:lnTo>
                  <a:lnTo>
                    <a:pt x="107" y="18"/>
                  </a:lnTo>
                  <a:lnTo>
                    <a:pt x="104" y="18"/>
                  </a:lnTo>
                  <a:lnTo>
                    <a:pt x="104" y="18"/>
                  </a:lnTo>
                  <a:lnTo>
                    <a:pt x="102" y="18"/>
                  </a:lnTo>
                  <a:lnTo>
                    <a:pt x="99" y="15"/>
                  </a:lnTo>
                  <a:lnTo>
                    <a:pt x="99" y="18"/>
                  </a:lnTo>
                  <a:lnTo>
                    <a:pt x="97" y="18"/>
                  </a:lnTo>
                  <a:lnTo>
                    <a:pt x="97" y="18"/>
                  </a:lnTo>
                  <a:lnTo>
                    <a:pt x="94" y="18"/>
                  </a:lnTo>
                  <a:lnTo>
                    <a:pt x="94" y="18"/>
                  </a:lnTo>
                  <a:lnTo>
                    <a:pt x="92" y="18"/>
                  </a:lnTo>
                  <a:lnTo>
                    <a:pt x="92" y="20"/>
                  </a:lnTo>
                  <a:lnTo>
                    <a:pt x="92" y="20"/>
                  </a:lnTo>
                  <a:lnTo>
                    <a:pt x="92" y="18"/>
                  </a:lnTo>
                  <a:lnTo>
                    <a:pt x="92" y="18"/>
                  </a:lnTo>
                  <a:lnTo>
                    <a:pt x="89" y="18"/>
                  </a:lnTo>
                  <a:lnTo>
                    <a:pt x="87" y="15"/>
                  </a:lnTo>
                  <a:lnTo>
                    <a:pt x="84" y="18"/>
                  </a:lnTo>
                  <a:lnTo>
                    <a:pt x="84" y="18"/>
                  </a:lnTo>
                  <a:lnTo>
                    <a:pt x="84" y="15"/>
                  </a:lnTo>
                  <a:lnTo>
                    <a:pt x="81" y="13"/>
                  </a:lnTo>
                  <a:lnTo>
                    <a:pt x="79" y="13"/>
                  </a:lnTo>
                  <a:lnTo>
                    <a:pt x="79" y="13"/>
                  </a:lnTo>
                  <a:lnTo>
                    <a:pt x="74" y="13"/>
                  </a:lnTo>
                  <a:lnTo>
                    <a:pt x="71" y="13"/>
                  </a:lnTo>
                  <a:lnTo>
                    <a:pt x="69" y="13"/>
                  </a:lnTo>
                  <a:lnTo>
                    <a:pt x="69" y="10"/>
                  </a:lnTo>
                  <a:lnTo>
                    <a:pt x="66" y="10"/>
                  </a:lnTo>
                  <a:lnTo>
                    <a:pt x="59" y="10"/>
                  </a:lnTo>
                  <a:lnTo>
                    <a:pt x="59" y="10"/>
                  </a:lnTo>
                  <a:lnTo>
                    <a:pt x="53" y="10"/>
                  </a:lnTo>
                  <a:lnTo>
                    <a:pt x="48" y="10"/>
                  </a:lnTo>
                  <a:lnTo>
                    <a:pt x="46" y="10"/>
                  </a:lnTo>
                  <a:lnTo>
                    <a:pt x="43" y="10"/>
                  </a:lnTo>
                  <a:lnTo>
                    <a:pt x="41" y="10"/>
                  </a:lnTo>
                  <a:lnTo>
                    <a:pt x="38" y="10"/>
                  </a:lnTo>
                  <a:lnTo>
                    <a:pt x="38" y="10"/>
                  </a:lnTo>
                  <a:lnTo>
                    <a:pt x="36" y="10"/>
                  </a:lnTo>
                  <a:lnTo>
                    <a:pt x="33" y="10"/>
                  </a:lnTo>
                  <a:lnTo>
                    <a:pt x="33" y="13"/>
                  </a:lnTo>
                  <a:lnTo>
                    <a:pt x="30" y="13"/>
                  </a:lnTo>
                  <a:lnTo>
                    <a:pt x="30" y="15"/>
                  </a:lnTo>
                  <a:lnTo>
                    <a:pt x="28" y="18"/>
                  </a:lnTo>
                  <a:lnTo>
                    <a:pt x="25" y="18"/>
                  </a:lnTo>
                  <a:lnTo>
                    <a:pt x="25" y="15"/>
                  </a:lnTo>
                  <a:lnTo>
                    <a:pt x="23" y="15"/>
                  </a:lnTo>
                  <a:lnTo>
                    <a:pt x="23" y="15"/>
                  </a:lnTo>
                  <a:lnTo>
                    <a:pt x="20" y="15"/>
                  </a:lnTo>
                  <a:lnTo>
                    <a:pt x="20" y="15"/>
                  </a:lnTo>
                  <a:lnTo>
                    <a:pt x="20" y="18"/>
                  </a:lnTo>
                  <a:lnTo>
                    <a:pt x="20" y="18"/>
                  </a:lnTo>
                  <a:lnTo>
                    <a:pt x="20" y="20"/>
                  </a:lnTo>
                  <a:lnTo>
                    <a:pt x="23" y="20"/>
                  </a:lnTo>
                  <a:lnTo>
                    <a:pt x="23" y="23"/>
                  </a:lnTo>
                  <a:lnTo>
                    <a:pt x="23" y="23"/>
                  </a:lnTo>
                  <a:lnTo>
                    <a:pt x="23" y="23"/>
                  </a:lnTo>
                  <a:lnTo>
                    <a:pt x="25" y="28"/>
                  </a:lnTo>
                  <a:lnTo>
                    <a:pt x="28" y="30"/>
                  </a:lnTo>
                  <a:lnTo>
                    <a:pt x="28" y="30"/>
                  </a:lnTo>
                  <a:lnTo>
                    <a:pt x="30" y="33"/>
                  </a:lnTo>
                  <a:lnTo>
                    <a:pt x="30" y="33"/>
                  </a:lnTo>
                  <a:lnTo>
                    <a:pt x="30" y="33"/>
                  </a:lnTo>
                  <a:lnTo>
                    <a:pt x="28" y="33"/>
                  </a:lnTo>
                  <a:lnTo>
                    <a:pt x="28" y="33"/>
                  </a:lnTo>
                  <a:lnTo>
                    <a:pt x="28" y="35"/>
                  </a:lnTo>
                  <a:lnTo>
                    <a:pt x="28" y="35"/>
                  </a:lnTo>
                  <a:lnTo>
                    <a:pt x="30" y="35"/>
                  </a:lnTo>
                  <a:lnTo>
                    <a:pt x="30" y="38"/>
                  </a:lnTo>
                  <a:lnTo>
                    <a:pt x="30" y="40"/>
                  </a:lnTo>
                  <a:lnTo>
                    <a:pt x="30" y="40"/>
                  </a:lnTo>
                  <a:lnTo>
                    <a:pt x="28" y="40"/>
                  </a:lnTo>
                  <a:lnTo>
                    <a:pt x="28" y="43"/>
                  </a:lnTo>
                  <a:lnTo>
                    <a:pt x="25" y="43"/>
                  </a:lnTo>
                  <a:lnTo>
                    <a:pt x="23" y="46"/>
                  </a:lnTo>
                  <a:lnTo>
                    <a:pt x="20" y="46"/>
                  </a:lnTo>
                  <a:lnTo>
                    <a:pt x="20" y="48"/>
                  </a:lnTo>
                  <a:lnTo>
                    <a:pt x="18" y="51"/>
                  </a:lnTo>
                  <a:lnTo>
                    <a:pt x="13" y="53"/>
                  </a:lnTo>
                  <a:lnTo>
                    <a:pt x="13" y="56"/>
                  </a:lnTo>
                  <a:lnTo>
                    <a:pt x="10" y="56"/>
                  </a:lnTo>
                  <a:lnTo>
                    <a:pt x="8" y="61"/>
                  </a:lnTo>
                  <a:lnTo>
                    <a:pt x="8" y="61"/>
                  </a:lnTo>
                  <a:lnTo>
                    <a:pt x="8" y="63"/>
                  </a:lnTo>
                  <a:lnTo>
                    <a:pt x="8" y="66"/>
                  </a:lnTo>
                  <a:lnTo>
                    <a:pt x="8" y="66"/>
                  </a:lnTo>
                  <a:lnTo>
                    <a:pt x="8" y="68"/>
                  </a:lnTo>
                  <a:lnTo>
                    <a:pt x="8" y="68"/>
                  </a:lnTo>
                  <a:lnTo>
                    <a:pt x="8" y="71"/>
                  </a:lnTo>
                  <a:lnTo>
                    <a:pt x="10" y="71"/>
                  </a:lnTo>
                  <a:lnTo>
                    <a:pt x="10" y="71"/>
                  </a:lnTo>
                  <a:lnTo>
                    <a:pt x="10" y="71"/>
                  </a:lnTo>
                  <a:lnTo>
                    <a:pt x="10" y="74"/>
                  </a:lnTo>
                  <a:lnTo>
                    <a:pt x="10" y="74"/>
                  </a:lnTo>
                  <a:lnTo>
                    <a:pt x="8" y="74"/>
                  </a:lnTo>
                  <a:lnTo>
                    <a:pt x="8" y="71"/>
                  </a:lnTo>
                  <a:lnTo>
                    <a:pt x="5" y="71"/>
                  </a:lnTo>
                  <a:lnTo>
                    <a:pt x="5" y="74"/>
                  </a:lnTo>
                  <a:lnTo>
                    <a:pt x="5" y="74"/>
                  </a:lnTo>
                  <a:lnTo>
                    <a:pt x="5" y="76"/>
                  </a:lnTo>
                  <a:lnTo>
                    <a:pt x="2" y="76"/>
                  </a:lnTo>
                  <a:lnTo>
                    <a:pt x="2" y="79"/>
                  </a:lnTo>
                  <a:lnTo>
                    <a:pt x="2" y="81"/>
                  </a:lnTo>
                  <a:lnTo>
                    <a:pt x="0" y="84"/>
                  </a:lnTo>
                  <a:lnTo>
                    <a:pt x="0" y="86"/>
                  </a:lnTo>
                  <a:lnTo>
                    <a:pt x="0" y="86"/>
                  </a:lnTo>
                  <a:lnTo>
                    <a:pt x="0" y="86"/>
                  </a:lnTo>
                  <a:lnTo>
                    <a:pt x="2" y="86"/>
                  </a:lnTo>
                  <a:lnTo>
                    <a:pt x="2" y="89"/>
                  </a:lnTo>
                  <a:lnTo>
                    <a:pt x="2" y="89"/>
                  </a:lnTo>
                  <a:lnTo>
                    <a:pt x="2" y="89"/>
                  </a:lnTo>
                  <a:lnTo>
                    <a:pt x="2" y="89"/>
                  </a:lnTo>
                  <a:lnTo>
                    <a:pt x="2" y="91"/>
                  </a:lnTo>
                  <a:lnTo>
                    <a:pt x="5" y="91"/>
                  </a:lnTo>
                  <a:lnTo>
                    <a:pt x="8" y="91"/>
                  </a:lnTo>
                  <a:lnTo>
                    <a:pt x="8" y="94"/>
                  </a:lnTo>
                  <a:lnTo>
                    <a:pt x="10" y="94"/>
                  </a:lnTo>
                  <a:lnTo>
                    <a:pt x="10" y="94"/>
                  </a:lnTo>
                  <a:lnTo>
                    <a:pt x="10" y="94"/>
                  </a:lnTo>
                  <a:lnTo>
                    <a:pt x="10" y="94"/>
                  </a:lnTo>
                  <a:lnTo>
                    <a:pt x="10" y="94"/>
                  </a:lnTo>
                  <a:lnTo>
                    <a:pt x="13" y="94"/>
                  </a:lnTo>
                  <a:lnTo>
                    <a:pt x="13" y="94"/>
                  </a:lnTo>
                  <a:lnTo>
                    <a:pt x="13" y="96"/>
                  </a:lnTo>
                  <a:lnTo>
                    <a:pt x="13" y="96"/>
                  </a:lnTo>
                  <a:lnTo>
                    <a:pt x="13" y="96"/>
                  </a:lnTo>
                  <a:lnTo>
                    <a:pt x="13" y="96"/>
                  </a:lnTo>
                  <a:lnTo>
                    <a:pt x="15" y="96"/>
                  </a:lnTo>
                  <a:lnTo>
                    <a:pt x="18" y="94"/>
                  </a:lnTo>
                  <a:lnTo>
                    <a:pt x="18" y="94"/>
                  </a:lnTo>
                  <a:lnTo>
                    <a:pt x="18" y="94"/>
                  </a:lnTo>
                  <a:lnTo>
                    <a:pt x="23" y="96"/>
                  </a:lnTo>
                  <a:lnTo>
                    <a:pt x="25" y="96"/>
                  </a:lnTo>
                  <a:lnTo>
                    <a:pt x="28" y="96"/>
                  </a:lnTo>
                  <a:lnTo>
                    <a:pt x="28" y="96"/>
                  </a:lnTo>
                  <a:lnTo>
                    <a:pt x="28" y="96"/>
                  </a:lnTo>
                  <a:lnTo>
                    <a:pt x="33" y="96"/>
                  </a:lnTo>
                  <a:lnTo>
                    <a:pt x="33" y="96"/>
                  </a:lnTo>
                  <a:lnTo>
                    <a:pt x="33" y="96"/>
                  </a:lnTo>
                  <a:lnTo>
                    <a:pt x="36" y="99"/>
                  </a:lnTo>
                  <a:lnTo>
                    <a:pt x="38" y="99"/>
                  </a:lnTo>
                  <a:lnTo>
                    <a:pt x="41" y="96"/>
                  </a:lnTo>
                  <a:lnTo>
                    <a:pt x="41" y="96"/>
                  </a:lnTo>
                  <a:lnTo>
                    <a:pt x="43" y="96"/>
                  </a:lnTo>
                  <a:lnTo>
                    <a:pt x="46" y="99"/>
                  </a:lnTo>
                  <a:lnTo>
                    <a:pt x="48" y="102"/>
                  </a:lnTo>
                  <a:lnTo>
                    <a:pt x="48" y="102"/>
                  </a:lnTo>
                  <a:lnTo>
                    <a:pt x="51" y="102"/>
                  </a:lnTo>
                  <a:lnTo>
                    <a:pt x="53" y="102"/>
                  </a:lnTo>
                  <a:lnTo>
                    <a:pt x="53" y="99"/>
                  </a:lnTo>
                  <a:lnTo>
                    <a:pt x="59" y="99"/>
                  </a:lnTo>
                  <a:lnTo>
                    <a:pt x="64" y="96"/>
                  </a:lnTo>
                  <a:lnTo>
                    <a:pt x="66" y="96"/>
                  </a:lnTo>
                  <a:lnTo>
                    <a:pt x="71" y="96"/>
                  </a:lnTo>
                  <a:lnTo>
                    <a:pt x="71" y="94"/>
                  </a:lnTo>
                  <a:lnTo>
                    <a:pt x="74" y="94"/>
                  </a:lnTo>
                  <a:lnTo>
                    <a:pt x="74" y="91"/>
                  </a:lnTo>
                  <a:lnTo>
                    <a:pt x="76" y="91"/>
                  </a:lnTo>
                  <a:lnTo>
                    <a:pt x="79" y="91"/>
                  </a:lnTo>
                  <a:lnTo>
                    <a:pt x="79" y="89"/>
                  </a:lnTo>
                  <a:lnTo>
                    <a:pt x="79" y="89"/>
                  </a:lnTo>
                  <a:lnTo>
                    <a:pt x="81" y="86"/>
                  </a:lnTo>
                  <a:lnTo>
                    <a:pt x="84" y="89"/>
                  </a:lnTo>
                  <a:lnTo>
                    <a:pt x="87" y="89"/>
                  </a:lnTo>
                  <a:lnTo>
                    <a:pt x="89" y="89"/>
                  </a:lnTo>
                  <a:lnTo>
                    <a:pt x="92" y="86"/>
                  </a:lnTo>
                  <a:lnTo>
                    <a:pt x="92" y="86"/>
                  </a:lnTo>
                  <a:lnTo>
                    <a:pt x="94" y="86"/>
                  </a:lnTo>
                  <a:lnTo>
                    <a:pt x="94" y="86"/>
                  </a:lnTo>
                  <a:lnTo>
                    <a:pt x="94" y="86"/>
                  </a:lnTo>
                  <a:lnTo>
                    <a:pt x="94" y="86"/>
                  </a:lnTo>
                  <a:lnTo>
                    <a:pt x="97" y="86"/>
                  </a:lnTo>
                  <a:lnTo>
                    <a:pt x="99" y="86"/>
                  </a:lnTo>
                  <a:lnTo>
                    <a:pt x="102" y="89"/>
                  </a:lnTo>
                  <a:lnTo>
                    <a:pt x="102" y="89"/>
                  </a:lnTo>
                  <a:lnTo>
                    <a:pt x="104" y="89"/>
                  </a:lnTo>
                  <a:lnTo>
                    <a:pt x="104" y="89"/>
                  </a:lnTo>
                  <a:lnTo>
                    <a:pt x="104" y="91"/>
                  </a:lnTo>
                  <a:lnTo>
                    <a:pt x="107" y="91"/>
                  </a:lnTo>
                  <a:lnTo>
                    <a:pt x="109" y="91"/>
                  </a:lnTo>
                  <a:lnTo>
                    <a:pt x="109" y="91"/>
                  </a:lnTo>
                  <a:lnTo>
                    <a:pt x="109" y="91"/>
                  </a:lnTo>
                  <a:lnTo>
                    <a:pt x="109" y="91"/>
                  </a:lnTo>
                  <a:lnTo>
                    <a:pt x="109" y="91"/>
                  </a:lnTo>
                  <a:lnTo>
                    <a:pt x="112" y="91"/>
                  </a:lnTo>
                  <a:lnTo>
                    <a:pt x="112" y="94"/>
                  </a:lnTo>
                  <a:lnTo>
                    <a:pt x="112" y="94"/>
                  </a:lnTo>
                  <a:lnTo>
                    <a:pt x="112" y="91"/>
                  </a:lnTo>
                  <a:lnTo>
                    <a:pt x="115" y="91"/>
                  </a:lnTo>
                  <a:lnTo>
                    <a:pt x="117" y="94"/>
                  </a:lnTo>
                  <a:lnTo>
                    <a:pt x="120" y="96"/>
                  </a:lnTo>
                  <a:lnTo>
                    <a:pt x="120" y="96"/>
                  </a:lnTo>
                  <a:lnTo>
                    <a:pt x="122" y="96"/>
                  </a:lnTo>
                  <a:lnTo>
                    <a:pt x="122" y="96"/>
                  </a:lnTo>
                  <a:lnTo>
                    <a:pt x="122" y="96"/>
                  </a:lnTo>
                  <a:lnTo>
                    <a:pt x="125" y="96"/>
                  </a:lnTo>
                  <a:lnTo>
                    <a:pt x="125" y="99"/>
                  </a:lnTo>
                  <a:lnTo>
                    <a:pt x="125" y="102"/>
                  </a:lnTo>
                  <a:lnTo>
                    <a:pt x="125" y="102"/>
                  </a:lnTo>
                  <a:lnTo>
                    <a:pt x="125" y="104"/>
                  </a:lnTo>
                  <a:lnTo>
                    <a:pt x="125" y="104"/>
                  </a:lnTo>
                  <a:lnTo>
                    <a:pt x="125" y="107"/>
                  </a:lnTo>
                  <a:lnTo>
                    <a:pt x="125" y="107"/>
                  </a:lnTo>
                  <a:lnTo>
                    <a:pt x="125" y="109"/>
                  </a:lnTo>
                  <a:lnTo>
                    <a:pt x="125" y="109"/>
                  </a:lnTo>
                  <a:lnTo>
                    <a:pt x="127" y="109"/>
                  </a:lnTo>
                  <a:lnTo>
                    <a:pt x="130" y="112"/>
                  </a:lnTo>
                  <a:lnTo>
                    <a:pt x="130" y="112"/>
                  </a:lnTo>
                  <a:lnTo>
                    <a:pt x="132" y="112"/>
                  </a:lnTo>
                  <a:lnTo>
                    <a:pt x="132" y="112"/>
                  </a:lnTo>
                  <a:lnTo>
                    <a:pt x="132" y="112"/>
                  </a:lnTo>
                  <a:lnTo>
                    <a:pt x="132" y="114"/>
                  </a:lnTo>
                  <a:lnTo>
                    <a:pt x="132" y="114"/>
                  </a:lnTo>
                  <a:lnTo>
                    <a:pt x="132" y="117"/>
                  </a:lnTo>
                  <a:lnTo>
                    <a:pt x="132" y="117"/>
                  </a:lnTo>
                  <a:lnTo>
                    <a:pt x="132" y="119"/>
                  </a:lnTo>
                  <a:lnTo>
                    <a:pt x="132" y="119"/>
                  </a:lnTo>
                  <a:lnTo>
                    <a:pt x="135" y="119"/>
                  </a:lnTo>
                  <a:lnTo>
                    <a:pt x="138" y="122"/>
                  </a:lnTo>
                  <a:lnTo>
                    <a:pt x="140" y="122"/>
                  </a:lnTo>
                  <a:lnTo>
                    <a:pt x="140" y="122"/>
                  </a:lnTo>
                  <a:lnTo>
                    <a:pt x="140" y="124"/>
                  </a:lnTo>
                  <a:lnTo>
                    <a:pt x="140" y="127"/>
                  </a:lnTo>
                  <a:lnTo>
                    <a:pt x="140" y="130"/>
                  </a:lnTo>
                  <a:lnTo>
                    <a:pt x="145" y="132"/>
                  </a:lnTo>
                  <a:lnTo>
                    <a:pt x="145" y="132"/>
                  </a:lnTo>
                  <a:lnTo>
                    <a:pt x="143" y="132"/>
                  </a:lnTo>
                  <a:lnTo>
                    <a:pt x="140" y="132"/>
                  </a:lnTo>
                  <a:lnTo>
                    <a:pt x="140" y="132"/>
                  </a:lnTo>
                  <a:lnTo>
                    <a:pt x="138" y="130"/>
                  </a:lnTo>
                  <a:lnTo>
                    <a:pt x="138" y="130"/>
                  </a:lnTo>
                  <a:lnTo>
                    <a:pt x="138" y="132"/>
                  </a:lnTo>
                  <a:lnTo>
                    <a:pt x="135" y="132"/>
                  </a:lnTo>
                  <a:lnTo>
                    <a:pt x="135" y="132"/>
                  </a:lnTo>
                  <a:lnTo>
                    <a:pt x="132" y="130"/>
                  </a:lnTo>
                  <a:lnTo>
                    <a:pt x="132" y="130"/>
                  </a:lnTo>
                  <a:lnTo>
                    <a:pt x="132" y="130"/>
                  </a:lnTo>
                  <a:lnTo>
                    <a:pt x="132" y="130"/>
                  </a:lnTo>
                  <a:lnTo>
                    <a:pt x="130" y="130"/>
                  </a:lnTo>
                  <a:lnTo>
                    <a:pt x="130" y="130"/>
                  </a:lnTo>
                  <a:lnTo>
                    <a:pt x="130" y="132"/>
                  </a:lnTo>
                  <a:lnTo>
                    <a:pt x="127" y="132"/>
                  </a:lnTo>
                  <a:lnTo>
                    <a:pt x="127" y="132"/>
                  </a:lnTo>
                  <a:lnTo>
                    <a:pt x="127" y="130"/>
                  </a:lnTo>
                  <a:lnTo>
                    <a:pt x="127" y="130"/>
                  </a:lnTo>
                  <a:lnTo>
                    <a:pt x="127" y="130"/>
                  </a:lnTo>
                  <a:lnTo>
                    <a:pt x="125" y="130"/>
                  </a:lnTo>
                  <a:lnTo>
                    <a:pt x="125" y="130"/>
                  </a:lnTo>
                  <a:lnTo>
                    <a:pt x="122" y="132"/>
                  </a:lnTo>
                  <a:lnTo>
                    <a:pt x="122" y="132"/>
                  </a:lnTo>
                  <a:lnTo>
                    <a:pt x="125" y="135"/>
                  </a:lnTo>
                  <a:lnTo>
                    <a:pt x="125" y="137"/>
                  </a:lnTo>
                  <a:lnTo>
                    <a:pt x="125" y="137"/>
                  </a:lnTo>
                  <a:lnTo>
                    <a:pt x="125" y="140"/>
                  </a:lnTo>
                  <a:lnTo>
                    <a:pt x="122" y="140"/>
                  </a:lnTo>
                  <a:lnTo>
                    <a:pt x="120" y="142"/>
                  </a:lnTo>
                  <a:lnTo>
                    <a:pt x="120" y="145"/>
                  </a:lnTo>
                  <a:lnTo>
                    <a:pt x="120" y="145"/>
                  </a:lnTo>
                  <a:lnTo>
                    <a:pt x="117" y="147"/>
                  </a:lnTo>
                  <a:lnTo>
                    <a:pt x="117" y="147"/>
                  </a:lnTo>
                  <a:lnTo>
                    <a:pt x="117" y="150"/>
                  </a:lnTo>
                  <a:lnTo>
                    <a:pt x="117" y="150"/>
                  </a:lnTo>
                  <a:lnTo>
                    <a:pt x="117" y="150"/>
                  </a:lnTo>
                  <a:lnTo>
                    <a:pt x="117" y="150"/>
                  </a:lnTo>
                  <a:lnTo>
                    <a:pt x="117" y="152"/>
                  </a:lnTo>
                  <a:lnTo>
                    <a:pt x="115" y="152"/>
                  </a:lnTo>
                  <a:lnTo>
                    <a:pt x="112" y="152"/>
                  </a:lnTo>
                  <a:lnTo>
                    <a:pt x="112" y="152"/>
                  </a:lnTo>
                  <a:lnTo>
                    <a:pt x="115" y="155"/>
                  </a:lnTo>
                  <a:lnTo>
                    <a:pt x="117" y="155"/>
                  </a:lnTo>
                  <a:lnTo>
                    <a:pt x="122" y="158"/>
                  </a:lnTo>
                  <a:lnTo>
                    <a:pt x="122" y="158"/>
                  </a:lnTo>
                  <a:lnTo>
                    <a:pt x="122" y="158"/>
                  </a:lnTo>
                  <a:lnTo>
                    <a:pt x="122" y="158"/>
                  </a:lnTo>
                  <a:lnTo>
                    <a:pt x="122" y="155"/>
                  </a:lnTo>
                  <a:lnTo>
                    <a:pt x="122" y="155"/>
                  </a:lnTo>
                  <a:lnTo>
                    <a:pt x="125" y="155"/>
                  </a:lnTo>
                  <a:lnTo>
                    <a:pt x="125" y="155"/>
                  </a:lnTo>
                  <a:lnTo>
                    <a:pt x="127" y="155"/>
                  </a:lnTo>
                  <a:lnTo>
                    <a:pt x="130" y="152"/>
                  </a:lnTo>
                  <a:lnTo>
                    <a:pt x="135" y="152"/>
                  </a:lnTo>
                  <a:lnTo>
                    <a:pt x="138" y="155"/>
                  </a:lnTo>
                  <a:lnTo>
                    <a:pt x="138" y="155"/>
                  </a:lnTo>
                  <a:lnTo>
                    <a:pt x="140" y="158"/>
                  </a:lnTo>
                  <a:lnTo>
                    <a:pt x="140" y="155"/>
                  </a:lnTo>
                  <a:lnTo>
                    <a:pt x="138" y="150"/>
                  </a:lnTo>
                  <a:lnTo>
                    <a:pt x="138" y="150"/>
                  </a:lnTo>
                  <a:lnTo>
                    <a:pt x="138" y="147"/>
                  </a:lnTo>
                  <a:lnTo>
                    <a:pt x="138" y="147"/>
                  </a:lnTo>
                  <a:lnTo>
                    <a:pt x="138" y="145"/>
                  </a:lnTo>
                  <a:lnTo>
                    <a:pt x="140" y="147"/>
                  </a:lnTo>
                  <a:lnTo>
                    <a:pt x="143" y="145"/>
                  </a:lnTo>
                  <a:lnTo>
                    <a:pt x="143" y="145"/>
                  </a:lnTo>
                  <a:lnTo>
                    <a:pt x="148" y="145"/>
                  </a:lnTo>
                  <a:lnTo>
                    <a:pt x="148" y="142"/>
                  </a:lnTo>
                  <a:lnTo>
                    <a:pt x="153" y="137"/>
                  </a:lnTo>
                  <a:lnTo>
                    <a:pt x="153" y="137"/>
                  </a:lnTo>
                  <a:lnTo>
                    <a:pt x="155" y="135"/>
                  </a:lnTo>
                  <a:lnTo>
                    <a:pt x="155" y="135"/>
                  </a:lnTo>
                  <a:lnTo>
                    <a:pt x="155" y="132"/>
                  </a:lnTo>
                  <a:lnTo>
                    <a:pt x="155" y="130"/>
                  </a:lnTo>
                  <a:lnTo>
                    <a:pt x="155" y="127"/>
                  </a:lnTo>
                  <a:lnTo>
                    <a:pt x="163" y="127"/>
                  </a:lnTo>
                  <a:lnTo>
                    <a:pt x="166" y="127"/>
                  </a:lnTo>
                  <a:lnTo>
                    <a:pt x="168" y="127"/>
                  </a:lnTo>
                  <a:lnTo>
                    <a:pt x="168" y="124"/>
                  </a:lnTo>
                  <a:lnTo>
                    <a:pt x="171" y="122"/>
                  </a:lnTo>
                  <a:lnTo>
                    <a:pt x="168" y="124"/>
                  </a:lnTo>
                  <a:lnTo>
                    <a:pt x="171" y="127"/>
                  </a:lnTo>
                  <a:lnTo>
                    <a:pt x="173" y="127"/>
                  </a:lnTo>
                  <a:lnTo>
                    <a:pt x="176" y="127"/>
                  </a:lnTo>
                  <a:lnTo>
                    <a:pt x="176" y="124"/>
                  </a:lnTo>
                  <a:lnTo>
                    <a:pt x="176" y="119"/>
                  </a:lnTo>
                  <a:lnTo>
                    <a:pt x="173" y="117"/>
                  </a:lnTo>
                  <a:lnTo>
                    <a:pt x="173" y="117"/>
                  </a:lnTo>
                  <a:lnTo>
                    <a:pt x="173" y="114"/>
                  </a:lnTo>
                  <a:lnTo>
                    <a:pt x="173" y="114"/>
                  </a:lnTo>
                  <a:lnTo>
                    <a:pt x="173" y="117"/>
                  </a:lnTo>
                  <a:lnTo>
                    <a:pt x="176" y="119"/>
                  </a:lnTo>
                  <a:lnTo>
                    <a:pt x="176" y="122"/>
                  </a:lnTo>
                  <a:lnTo>
                    <a:pt x="176" y="122"/>
                  </a:lnTo>
                  <a:lnTo>
                    <a:pt x="176" y="124"/>
                  </a:lnTo>
                  <a:lnTo>
                    <a:pt x="178" y="127"/>
                  </a:lnTo>
                  <a:lnTo>
                    <a:pt x="181" y="127"/>
                  </a:lnTo>
                  <a:lnTo>
                    <a:pt x="183" y="127"/>
                  </a:lnTo>
                  <a:lnTo>
                    <a:pt x="188" y="127"/>
                  </a:lnTo>
                  <a:lnTo>
                    <a:pt x="188" y="127"/>
                  </a:lnTo>
                  <a:lnTo>
                    <a:pt x="186" y="130"/>
                  </a:lnTo>
                  <a:lnTo>
                    <a:pt x="183" y="130"/>
                  </a:lnTo>
                  <a:lnTo>
                    <a:pt x="181" y="130"/>
                  </a:lnTo>
                  <a:lnTo>
                    <a:pt x="176" y="130"/>
                  </a:lnTo>
                  <a:lnTo>
                    <a:pt x="173" y="127"/>
                  </a:lnTo>
                  <a:lnTo>
                    <a:pt x="171" y="127"/>
                  </a:lnTo>
                  <a:lnTo>
                    <a:pt x="171" y="130"/>
                  </a:lnTo>
                  <a:lnTo>
                    <a:pt x="173" y="130"/>
                  </a:lnTo>
                  <a:lnTo>
                    <a:pt x="176" y="130"/>
                  </a:lnTo>
                  <a:lnTo>
                    <a:pt x="178" y="130"/>
                  </a:lnTo>
                  <a:lnTo>
                    <a:pt x="178" y="132"/>
                  </a:lnTo>
                  <a:lnTo>
                    <a:pt x="178" y="132"/>
                  </a:lnTo>
                  <a:lnTo>
                    <a:pt x="176" y="132"/>
                  </a:lnTo>
                  <a:lnTo>
                    <a:pt x="176" y="132"/>
                  </a:lnTo>
                  <a:lnTo>
                    <a:pt x="173" y="132"/>
                  </a:lnTo>
                  <a:lnTo>
                    <a:pt x="176" y="135"/>
                  </a:lnTo>
                  <a:lnTo>
                    <a:pt x="178" y="135"/>
                  </a:lnTo>
                  <a:lnTo>
                    <a:pt x="178" y="135"/>
                  </a:lnTo>
                  <a:lnTo>
                    <a:pt x="183" y="137"/>
                  </a:lnTo>
                  <a:lnTo>
                    <a:pt x="188" y="137"/>
                  </a:lnTo>
                  <a:lnTo>
                    <a:pt x="194" y="137"/>
                  </a:lnTo>
                  <a:lnTo>
                    <a:pt x="196" y="137"/>
                  </a:lnTo>
                  <a:lnTo>
                    <a:pt x="201" y="137"/>
                  </a:lnTo>
                  <a:lnTo>
                    <a:pt x="201" y="137"/>
                  </a:lnTo>
                  <a:lnTo>
                    <a:pt x="204" y="140"/>
                  </a:lnTo>
                  <a:lnTo>
                    <a:pt x="206" y="140"/>
                  </a:lnTo>
                  <a:lnTo>
                    <a:pt x="206" y="137"/>
                  </a:lnTo>
                  <a:lnTo>
                    <a:pt x="209" y="140"/>
                  </a:lnTo>
                  <a:lnTo>
                    <a:pt x="209" y="142"/>
                  </a:lnTo>
                  <a:lnTo>
                    <a:pt x="206" y="145"/>
                  </a:lnTo>
                  <a:lnTo>
                    <a:pt x="204" y="145"/>
                  </a:lnTo>
                  <a:lnTo>
                    <a:pt x="201" y="145"/>
                  </a:lnTo>
                  <a:lnTo>
                    <a:pt x="194" y="150"/>
                  </a:lnTo>
                  <a:lnTo>
                    <a:pt x="188" y="152"/>
                  </a:lnTo>
                  <a:lnTo>
                    <a:pt x="191" y="155"/>
                  </a:lnTo>
                  <a:lnTo>
                    <a:pt x="191" y="155"/>
                  </a:lnTo>
                  <a:lnTo>
                    <a:pt x="194" y="155"/>
                  </a:lnTo>
                  <a:lnTo>
                    <a:pt x="196" y="155"/>
                  </a:lnTo>
                  <a:lnTo>
                    <a:pt x="201" y="158"/>
                  </a:lnTo>
                  <a:lnTo>
                    <a:pt x="204" y="158"/>
                  </a:lnTo>
                  <a:lnTo>
                    <a:pt x="206" y="158"/>
                  </a:lnTo>
                  <a:lnTo>
                    <a:pt x="209" y="160"/>
                  </a:lnTo>
                  <a:lnTo>
                    <a:pt x="211" y="165"/>
                  </a:lnTo>
                  <a:lnTo>
                    <a:pt x="211" y="165"/>
                  </a:lnTo>
                  <a:lnTo>
                    <a:pt x="209" y="170"/>
                  </a:lnTo>
                  <a:lnTo>
                    <a:pt x="209" y="173"/>
                  </a:lnTo>
                  <a:lnTo>
                    <a:pt x="209" y="173"/>
                  </a:lnTo>
                  <a:lnTo>
                    <a:pt x="209" y="173"/>
                  </a:lnTo>
                  <a:lnTo>
                    <a:pt x="211" y="178"/>
                  </a:lnTo>
                  <a:lnTo>
                    <a:pt x="214" y="178"/>
                  </a:lnTo>
                  <a:lnTo>
                    <a:pt x="217" y="178"/>
                  </a:lnTo>
                  <a:lnTo>
                    <a:pt x="219" y="178"/>
                  </a:lnTo>
                  <a:lnTo>
                    <a:pt x="224" y="175"/>
                  </a:lnTo>
                  <a:lnTo>
                    <a:pt x="227" y="170"/>
                  </a:lnTo>
                  <a:lnTo>
                    <a:pt x="232" y="168"/>
                  </a:lnTo>
                  <a:lnTo>
                    <a:pt x="234" y="168"/>
                  </a:lnTo>
                  <a:lnTo>
                    <a:pt x="237" y="168"/>
                  </a:lnTo>
                  <a:lnTo>
                    <a:pt x="239" y="168"/>
                  </a:lnTo>
                  <a:lnTo>
                    <a:pt x="242" y="165"/>
                  </a:lnTo>
                  <a:lnTo>
                    <a:pt x="245" y="160"/>
                  </a:lnTo>
                  <a:lnTo>
                    <a:pt x="245" y="160"/>
                  </a:lnTo>
                  <a:lnTo>
                    <a:pt x="247" y="160"/>
                  </a:lnTo>
                  <a:lnTo>
                    <a:pt x="250" y="160"/>
                  </a:lnTo>
                  <a:lnTo>
                    <a:pt x="250" y="163"/>
                  </a:lnTo>
                  <a:lnTo>
                    <a:pt x="252" y="163"/>
                  </a:lnTo>
                  <a:lnTo>
                    <a:pt x="255" y="163"/>
                  </a:lnTo>
                  <a:lnTo>
                    <a:pt x="257" y="163"/>
                  </a:lnTo>
                  <a:lnTo>
                    <a:pt x="260" y="160"/>
                  </a:lnTo>
                  <a:lnTo>
                    <a:pt x="260" y="160"/>
                  </a:lnTo>
                  <a:lnTo>
                    <a:pt x="260" y="158"/>
                  </a:lnTo>
                  <a:lnTo>
                    <a:pt x="262" y="155"/>
                  </a:lnTo>
                  <a:lnTo>
                    <a:pt x="262" y="152"/>
                  </a:lnTo>
                  <a:lnTo>
                    <a:pt x="260" y="152"/>
                  </a:lnTo>
                  <a:lnTo>
                    <a:pt x="257" y="152"/>
                  </a:lnTo>
                  <a:lnTo>
                    <a:pt x="255" y="152"/>
                  </a:lnTo>
                  <a:lnTo>
                    <a:pt x="255" y="152"/>
                  </a:lnTo>
                  <a:lnTo>
                    <a:pt x="252" y="155"/>
                  </a:lnTo>
                  <a:lnTo>
                    <a:pt x="250" y="152"/>
                  </a:lnTo>
                  <a:lnTo>
                    <a:pt x="247" y="155"/>
                  </a:lnTo>
                  <a:lnTo>
                    <a:pt x="245" y="155"/>
                  </a:lnTo>
                  <a:lnTo>
                    <a:pt x="242" y="155"/>
                  </a:lnTo>
                  <a:lnTo>
                    <a:pt x="242" y="155"/>
                  </a:lnTo>
                  <a:lnTo>
                    <a:pt x="239" y="152"/>
                  </a:lnTo>
                  <a:lnTo>
                    <a:pt x="234" y="147"/>
                  </a:lnTo>
                  <a:lnTo>
                    <a:pt x="232" y="142"/>
                  </a:lnTo>
                  <a:lnTo>
                    <a:pt x="229" y="140"/>
                  </a:lnTo>
                  <a:lnTo>
                    <a:pt x="229" y="140"/>
                  </a:lnTo>
                  <a:lnTo>
                    <a:pt x="229" y="137"/>
                  </a:lnTo>
                  <a:lnTo>
                    <a:pt x="232" y="135"/>
                  </a:lnTo>
                  <a:lnTo>
                    <a:pt x="234" y="135"/>
                  </a:lnTo>
                  <a:lnTo>
                    <a:pt x="237" y="130"/>
                  </a:lnTo>
                  <a:lnTo>
                    <a:pt x="237" y="132"/>
                  </a:lnTo>
                  <a:lnTo>
                    <a:pt x="237" y="132"/>
                  </a:lnTo>
                  <a:lnTo>
                    <a:pt x="237" y="135"/>
                  </a:lnTo>
                  <a:lnTo>
                    <a:pt x="237" y="135"/>
                  </a:lnTo>
                  <a:lnTo>
                    <a:pt x="232" y="137"/>
                  </a:lnTo>
                  <a:lnTo>
                    <a:pt x="234" y="137"/>
                  </a:lnTo>
                  <a:lnTo>
                    <a:pt x="234" y="137"/>
                  </a:lnTo>
                  <a:lnTo>
                    <a:pt x="237" y="137"/>
                  </a:lnTo>
                  <a:lnTo>
                    <a:pt x="237" y="135"/>
                  </a:lnTo>
                  <a:lnTo>
                    <a:pt x="239" y="132"/>
                  </a:lnTo>
                  <a:lnTo>
                    <a:pt x="247" y="127"/>
                  </a:lnTo>
                  <a:lnTo>
                    <a:pt x="250" y="124"/>
                  </a:lnTo>
                  <a:lnTo>
                    <a:pt x="252" y="127"/>
                  </a:lnTo>
                  <a:lnTo>
                    <a:pt x="255" y="124"/>
                  </a:lnTo>
                  <a:lnTo>
                    <a:pt x="257" y="124"/>
                  </a:lnTo>
                  <a:lnTo>
                    <a:pt x="257" y="124"/>
                  </a:lnTo>
                  <a:lnTo>
                    <a:pt x="260" y="124"/>
                  </a:lnTo>
                  <a:lnTo>
                    <a:pt x="262" y="124"/>
                  </a:lnTo>
                  <a:lnTo>
                    <a:pt x="265" y="122"/>
                  </a:lnTo>
                  <a:lnTo>
                    <a:pt x="267" y="122"/>
                  </a:lnTo>
                  <a:lnTo>
                    <a:pt x="270" y="119"/>
                  </a:lnTo>
                  <a:lnTo>
                    <a:pt x="273" y="119"/>
                  </a:lnTo>
                  <a:lnTo>
                    <a:pt x="275" y="117"/>
                  </a:lnTo>
                  <a:lnTo>
                    <a:pt x="280" y="117"/>
                  </a:lnTo>
                  <a:lnTo>
                    <a:pt x="285" y="117"/>
                  </a:lnTo>
                  <a:lnTo>
                    <a:pt x="288" y="117"/>
                  </a:lnTo>
                  <a:lnTo>
                    <a:pt x="288" y="114"/>
                  </a:lnTo>
                  <a:lnTo>
                    <a:pt x="285" y="114"/>
                  </a:lnTo>
                  <a:lnTo>
                    <a:pt x="288" y="114"/>
                  </a:lnTo>
                  <a:lnTo>
                    <a:pt x="288" y="112"/>
                  </a:lnTo>
                  <a:lnTo>
                    <a:pt x="288" y="112"/>
                  </a:lnTo>
                  <a:lnTo>
                    <a:pt x="288" y="112"/>
                  </a:lnTo>
                  <a:lnTo>
                    <a:pt x="288" y="112"/>
                  </a:lnTo>
                  <a:lnTo>
                    <a:pt x="285" y="112"/>
                  </a:lnTo>
                  <a:lnTo>
                    <a:pt x="285" y="112"/>
                  </a:lnTo>
                  <a:lnTo>
                    <a:pt x="285" y="109"/>
                  </a:lnTo>
                  <a:lnTo>
                    <a:pt x="288" y="109"/>
                  </a:lnTo>
                  <a:lnTo>
                    <a:pt x="288" y="109"/>
                  </a:lnTo>
                  <a:lnTo>
                    <a:pt x="288" y="107"/>
                  </a:lnTo>
                  <a:lnTo>
                    <a:pt x="288" y="107"/>
                  </a:lnTo>
                  <a:lnTo>
                    <a:pt x="288" y="104"/>
                  </a:lnTo>
                  <a:lnTo>
                    <a:pt x="290" y="104"/>
                  </a:lnTo>
                  <a:lnTo>
                    <a:pt x="293" y="104"/>
                  </a:lnTo>
                  <a:lnTo>
                    <a:pt x="293" y="102"/>
                  </a:lnTo>
                  <a:lnTo>
                    <a:pt x="296" y="99"/>
                  </a:lnTo>
                  <a:lnTo>
                    <a:pt x="298" y="99"/>
                  </a:lnTo>
                  <a:lnTo>
                    <a:pt x="301" y="99"/>
                  </a:lnTo>
                  <a:lnTo>
                    <a:pt x="301" y="99"/>
                  </a:lnTo>
                  <a:lnTo>
                    <a:pt x="306" y="99"/>
                  </a:lnTo>
                  <a:lnTo>
                    <a:pt x="311" y="99"/>
                  </a:lnTo>
                  <a:lnTo>
                    <a:pt x="311" y="99"/>
                  </a:lnTo>
                  <a:lnTo>
                    <a:pt x="313" y="99"/>
                  </a:lnTo>
                  <a:lnTo>
                    <a:pt x="311" y="96"/>
                  </a:lnTo>
                  <a:lnTo>
                    <a:pt x="313" y="94"/>
                  </a:lnTo>
                  <a:lnTo>
                    <a:pt x="313" y="91"/>
                  </a:lnTo>
                  <a:lnTo>
                    <a:pt x="313" y="91"/>
                  </a:lnTo>
                  <a:lnTo>
                    <a:pt x="313" y="89"/>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173" name="Freeform 1791">
              <a:extLst>
                <a:ext uri="{FF2B5EF4-FFF2-40B4-BE49-F238E27FC236}">
                  <a16:creationId xmlns:a16="http://schemas.microsoft.com/office/drawing/2014/main" id="{22D4A554-E122-5E40-9769-F1E13942B806}"/>
                </a:ext>
              </a:extLst>
            </p:cNvPr>
            <p:cNvSpPr>
              <a:spLocks/>
            </p:cNvSpPr>
            <p:nvPr/>
          </p:nvSpPr>
          <p:spPr bwMode="auto">
            <a:xfrm>
              <a:off x="6580227" y="3642464"/>
              <a:ext cx="178296" cy="212646"/>
            </a:xfrm>
            <a:custGeom>
              <a:avLst/>
              <a:gdLst>
                <a:gd name="T0" fmla="*/ 107 w 109"/>
                <a:gd name="T1" fmla="*/ 46 h 130"/>
                <a:gd name="T2" fmla="*/ 107 w 109"/>
                <a:gd name="T3" fmla="*/ 38 h 130"/>
                <a:gd name="T4" fmla="*/ 104 w 109"/>
                <a:gd name="T5" fmla="*/ 36 h 130"/>
                <a:gd name="T6" fmla="*/ 102 w 109"/>
                <a:gd name="T7" fmla="*/ 31 h 130"/>
                <a:gd name="T8" fmla="*/ 97 w 109"/>
                <a:gd name="T9" fmla="*/ 21 h 130"/>
                <a:gd name="T10" fmla="*/ 97 w 109"/>
                <a:gd name="T11" fmla="*/ 13 h 130"/>
                <a:gd name="T12" fmla="*/ 91 w 109"/>
                <a:gd name="T13" fmla="*/ 10 h 130"/>
                <a:gd name="T14" fmla="*/ 91 w 109"/>
                <a:gd name="T15" fmla="*/ 8 h 130"/>
                <a:gd name="T16" fmla="*/ 81 w 109"/>
                <a:gd name="T17" fmla="*/ 10 h 130"/>
                <a:gd name="T18" fmla="*/ 76 w 109"/>
                <a:gd name="T19" fmla="*/ 13 h 130"/>
                <a:gd name="T20" fmla="*/ 66 w 109"/>
                <a:gd name="T21" fmla="*/ 10 h 130"/>
                <a:gd name="T22" fmla="*/ 58 w 109"/>
                <a:gd name="T23" fmla="*/ 13 h 130"/>
                <a:gd name="T24" fmla="*/ 53 w 109"/>
                <a:gd name="T25" fmla="*/ 16 h 130"/>
                <a:gd name="T26" fmla="*/ 51 w 109"/>
                <a:gd name="T27" fmla="*/ 18 h 130"/>
                <a:gd name="T28" fmla="*/ 46 w 109"/>
                <a:gd name="T29" fmla="*/ 13 h 130"/>
                <a:gd name="T30" fmla="*/ 41 w 109"/>
                <a:gd name="T31" fmla="*/ 13 h 130"/>
                <a:gd name="T32" fmla="*/ 35 w 109"/>
                <a:gd name="T33" fmla="*/ 13 h 130"/>
                <a:gd name="T34" fmla="*/ 30 w 109"/>
                <a:gd name="T35" fmla="*/ 13 h 130"/>
                <a:gd name="T36" fmla="*/ 25 w 109"/>
                <a:gd name="T37" fmla="*/ 18 h 130"/>
                <a:gd name="T38" fmla="*/ 25 w 109"/>
                <a:gd name="T39" fmla="*/ 21 h 130"/>
                <a:gd name="T40" fmla="*/ 23 w 109"/>
                <a:gd name="T41" fmla="*/ 28 h 130"/>
                <a:gd name="T42" fmla="*/ 25 w 109"/>
                <a:gd name="T43" fmla="*/ 31 h 130"/>
                <a:gd name="T44" fmla="*/ 25 w 109"/>
                <a:gd name="T45" fmla="*/ 36 h 130"/>
                <a:gd name="T46" fmla="*/ 25 w 109"/>
                <a:gd name="T47" fmla="*/ 44 h 130"/>
                <a:gd name="T48" fmla="*/ 30 w 109"/>
                <a:gd name="T49" fmla="*/ 44 h 130"/>
                <a:gd name="T50" fmla="*/ 33 w 109"/>
                <a:gd name="T51" fmla="*/ 46 h 130"/>
                <a:gd name="T52" fmla="*/ 35 w 109"/>
                <a:gd name="T53" fmla="*/ 49 h 130"/>
                <a:gd name="T54" fmla="*/ 33 w 109"/>
                <a:gd name="T55" fmla="*/ 54 h 130"/>
                <a:gd name="T56" fmla="*/ 18 w 109"/>
                <a:gd name="T57" fmla="*/ 69 h 130"/>
                <a:gd name="T58" fmla="*/ 12 w 109"/>
                <a:gd name="T59" fmla="*/ 74 h 130"/>
                <a:gd name="T60" fmla="*/ 7 w 109"/>
                <a:gd name="T61" fmla="*/ 79 h 130"/>
                <a:gd name="T62" fmla="*/ 7 w 109"/>
                <a:gd name="T63" fmla="*/ 87 h 130"/>
                <a:gd name="T64" fmla="*/ 5 w 109"/>
                <a:gd name="T65" fmla="*/ 94 h 130"/>
                <a:gd name="T66" fmla="*/ 2 w 109"/>
                <a:gd name="T67" fmla="*/ 100 h 130"/>
                <a:gd name="T68" fmla="*/ 2 w 109"/>
                <a:gd name="T69" fmla="*/ 112 h 130"/>
                <a:gd name="T70" fmla="*/ 0 w 109"/>
                <a:gd name="T71" fmla="*/ 120 h 130"/>
                <a:gd name="T72" fmla="*/ 0 w 109"/>
                <a:gd name="T73" fmla="*/ 128 h 130"/>
                <a:gd name="T74" fmla="*/ 5 w 109"/>
                <a:gd name="T75" fmla="*/ 128 h 130"/>
                <a:gd name="T76" fmla="*/ 7 w 109"/>
                <a:gd name="T77" fmla="*/ 130 h 130"/>
                <a:gd name="T78" fmla="*/ 12 w 109"/>
                <a:gd name="T79" fmla="*/ 128 h 130"/>
                <a:gd name="T80" fmla="*/ 15 w 109"/>
                <a:gd name="T81" fmla="*/ 122 h 130"/>
                <a:gd name="T82" fmla="*/ 18 w 109"/>
                <a:gd name="T83" fmla="*/ 122 h 130"/>
                <a:gd name="T84" fmla="*/ 20 w 109"/>
                <a:gd name="T85" fmla="*/ 122 h 130"/>
                <a:gd name="T86" fmla="*/ 25 w 109"/>
                <a:gd name="T87" fmla="*/ 120 h 130"/>
                <a:gd name="T88" fmla="*/ 86 w 109"/>
                <a:gd name="T89" fmla="*/ 120 h 130"/>
                <a:gd name="T90" fmla="*/ 89 w 109"/>
                <a:gd name="T91" fmla="*/ 97 h 130"/>
                <a:gd name="T92" fmla="*/ 91 w 109"/>
                <a:gd name="T93" fmla="*/ 89 h 130"/>
                <a:gd name="T94" fmla="*/ 94 w 109"/>
                <a:gd name="T95" fmla="*/ 82 h 130"/>
                <a:gd name="T96" fmla="*/ 99 w 109"/>
                <a:gd name="T97" fmla="*/ 74 h 130"/>
                <a:gd name="T98" fmla="*/ 102 w 109"/>
                <a:gd name="T99" fmla="*/ 69 h 130"/>
                <a:gd name="T100" fmla="*/ 104 w 109"/>
                <a:gd name="T101" fmla="*/ 69 h 130"/>
                <a:gd name="T102" fmla="*/ 107 w 109"/>
                <a:gd name="T103" fmla="*/ 64 h 130"/>
                <a:gd name="T104" fmla="*/ 109 w 109"/>
                <a:gd name="T105" fmla="*/ 61 h 130"/>
                <a:gd name="T106" fmla="*/ 109 w 109"/>
                <a:gd name="T107" fmla="*/ 56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9" h="130">
                  <a:moveTo>
                    <a:pt x="109" y="54"/>
                  </a:moveTo>
                  <a:lnTo>
                    <a:pt x="109" y="51"/>
                  </a:lnTo>
                  <a:lnTo>
                    <a:pt x="107" y="46"/>
                  </a:lnTo>
                  <a:lnTo>
                    <a:pt x="107" y="41"/>
                  </a:lnTo>
                  <a:lnTo>
                    <a:pt x="107" y="41"/>
                  </a:lnTo>
                  <a:lnTo>
                    <a:pt x="107" y="38"/>
                  </a:lnTo>
                  <a:lnTo>
                    <a:pt x="107" y="38"/>
                  </a:lnTo>
                  <a:lnTo>
                    <a:pt x="107" y="38"/>
                  </a:lnTo>
                  <a:lnTo>
                    <a:pt x="104" y="36"/>
                  </a:lnTo>
                  <a:lnTo>
                    <a:pt x="104" y="33"/>
                  </a:lnTo>
                  <a:lnTo>
                    <a:pt x="104" y="33"/>
                  </a:lnTo>
                  <a:lnTo>
                    <a:pt x="102" y="31"/>
                  </a:lnTo>
                  <a:lnTo>
                    <a:pt x="99" y="26"/>
                  </a:lnTo>
                  <a:lnTo>
                    <a:pt x="99" y="26"/>
                  </a:lnTo>
                  <a:lnTo>
                    <a:pt x="97" y="21"/>
                  </a:lnTo>
                  <a:lnTo>
                    <a:pt x="97" y="21"/>
                  </a:lnTo>
                  <a:lnTo>
                    <a:pt x="99" y="16"/>
                  </a:lnTo>
                  <a:lnTo>
                    <a:pt x="97" y="13"/>
                  </a:lnTo>
                  <a:lnTo>
                    <a:pt x="97" y="13"/>
                  </a:lnTo>
                  <a:lnTo>
                    <a:pt x="94" y="13"/>
                  </a:lnTo>
                  <a:lnTo>
                    <a:pt x="91" y="10"/>
                  </a:lnTo>
                  <a:lnTo>
                    <a:pt x="91" y="10"/>
                  </a:lnTo>
                  <a:lnTo>
                    <a:pt x="91" y="8"/>
                  </a:lnTo>
                  <a:lnTo>
                    <a:pt x="91" y="8"/>
                  </a:lnTo>
                  <a:lnTo>
                    <a:pt x="89" y="0"/>
                  </a:lnTo>
                  <a:lnTo>
                    <a:pt x="84" y="5"/>
                  </a:lnTo>
                  <a:lnTo>
                    <a:pt x="81" y="10"/>
                  </a:lnTo>
                  <a:lnTo>
                    <a:pt x="79" y="10"/>
                  </a:lnTo>
                  <a:lnTo>
                    <a:pt x="79" y="13"/>
                  </a:lnTo>
                  <a:lnTo>
                    <a:pt x="76" y="13"/>
                  </a:lnTo>
                  <a:lnTo>
                    <a:pt x="71" y="10"/>
                  </a:lnTo>
                  <a:lnTo>
                    <a:pt x="69" y="8"/>
                  </a:lnTo>
                  <a:lnTo>
                    <a:pt x="66" y="10"/>
                  </a:lnTo>
                  <a:lnTo>
                    <a:pt x="63" y="10"/>
                  </a:lnTo>
                  <a:lnTo>
                    <a:pt x="63" y="10"/>
                  </a:lnTo>
                  <a:lnTo>
                    <a:pt x="58" y="13"/>
                  </a:lnTo>
                  <a:lnTo>
                    <a:pt x="56" y="13"/>
                  </a:lnTo>
                  <a:lnTo>
                    <a:pt x="53" y="13"/>
                  </a:lnTo>
                  <a:lnTo>
                    <a:pt x="53" y="16"/>
                  </a:lnTo>
                  <a:lnTo>
                    <a:pt x="51" y="18"/>
                  </a:lnTo>
                  <a:lnTo>
                    <a:pt x="51" y="18"/>
                  </a:lnTo>
                  <a:lnTo>
                    <a:pt x="51" y="18"/>
                  </a:lnTo>
                  <a:lnTo>
                    <a:pt x="51" y="16"/>
                  </a:lnTo>
                  <a:lnTo>
                    <a:pt x="48" y="16"/>
                  </a:lnTo>
                  <a:lnTo>
                    <a:pt x="46" y="13"/>
                  </a:lnTo>
                  <a:lnTo>
                    <a:pt x="46" y="10"/>
                  </a:lnTo>
                  <a:lnTo>
                    <a:pt x="46" y="10"/>
                  </a:lnTo>
                  <a:lnTo>
                    <a:pt x="41" y="13"/>
                  </a:lnTo>
                  <a:lnTo>
                    <a:pt x="41" y="13"/>
                  </a:lnTo>
                  <a:lnTo>
                    <a:pt x="38" y="13"/>
                  </a:lnTo>
                  <a:lnTo>
                    <a:pt x="35" y="13"/>
                  </a:lnTo>
                  <a:lnTo>
                    <a:pt x="33" y="10"/>
                  </a:lnTo>
                  <a:lnTo>
                    <a:pt x="33" y="10"/>
                  </a:lnTo>
                  <a:lnTo>
                    <a:pt x="30" y="13"/>
                  </a:lnTo>
                  <a:lnTo>
                    <a:pt x="28" y="16"/>
                  </a:lnTo>
                  <a:lnTo>
                    <a:pt x="25" y="16"/>
                  </a:lnTo>
                  <a:lnTo>
                    <a:pt x="25" y="18"/>
                  </a:lnTo>
                  <a:lnTo>
                    <a:pt x="28" y="18"/>
                  </a:lnTo>
                  <a:lnTo>
                    <a:pt x="28" y="21"/>
                  </a:lnTo>
                  <a:lnTo>
                    <a:pt x="25" y="21"/>
                  </a:lnTo>
                  <a:lnTo>
                    <a:pt x="25" y="23"/>
                  </a:lnTo>
                  <a:lnTo>
                    <a:pt x="25" y="26"/>
                  </a:lnTo>
                  <a:lnTo>
                    <a:pt x="23" y="28"/>
                  </a:lnTo>
                  <a:lnTo>
                    <a:pt x="25" y="28"/>
                  </a:lnTo>
                  <a:lnTo>
                    <a:pt x="25" y="31"/>
                  </a:lnTo>
                  <a:lnTo>
                    <a:pt x="25" y="31"/>
                  </a:lnTo>
                  <a:lnTo>
                    <a:pt x="25" y="31"/>
                  </a:lnTo>
                  <a:lnTo>
                    <a:pt x="25" y="33"/>
                  </a:lnTo>
                  <a:lnTo>
                    <a:pt x="25" y="36"/>
                  </a:lnTo>
                  <a:lnTo>
                    <a:pt x="23" y="38"/>
                  </a:lnTo>
                  <a:lnTo>
                    <a:pt x="23" y="41"/>
                  </a:lnTo>
                  <a:lnTo>
                    <a:pt x="25" y="44"/>
                  </a:lnTo>
                  <a:lnTo>
                    <a:pt x="28" y="44"/>
                  </a:lnTo>
                  <a:lnTo>
                    <a:pt x="28" y="44"/>
                  </a:lnTo>
                  <a:lnTo>
                    <a:pt x="30" y="44"/>
                  </a:lnTo>
                  <a:lnTo>
                    <a:pt x="30" y="46"/>
                  </a:lnTo>
                  <a:lnTo>
                    <a:pt x="33" y="46"/>
                  </a:lnTo>
                  <a:lnTo>
                    <a:pt x="33" y="46"/>
                  </a:lnTo>
                  <a:lnTo>
                    <a:pt x="33" y="46"/>
                  </a:lnTo>
                  <a:lnTo>
                    <a:pt x="33" y="46"/>
                  </a:lnTo>
                  <a:lnTo>
                    <a:pt x="35" y="49"/>
                  </a:lnTo>
                  <a:lnTo>
                    <a:pt x="33" y="49"/>
                  </a:lnTo>
                  <a:lnTo>
                    <a:pt x="33" y="51"/>
                  </a:lnTo>
                  <a:lnTo>
                    <a:pt x="33" y="54"/>
                  </a:lnTo>
                  <a:lnTo>
                    <a:pt x="28" y="59"/>
                  </a:lnTo>
                  <a:lnTo>
                    <a:pt x="18" y="69"/>
                  </a:lnTo>
                  <a:lnTo>
                    <a:pt x="18" y="69"/>
                  </a:lnTo>
                  <a:lnTo>
                    <a:pt x="15" y="69"/>
                  </a:lnTo>
                  <a:lnTo>
                    <a:pt x="12" y="72"/>
                  </a:lnTo>
                  <a:lnTo>
                    <a:pt x="12" y="74"/>
                  </a:lnTo>
                  <a:lnTo>
                    <a:pt x="10" y="77"/>
                  </a:lnTo>
                  <a:lnTo>
                    <a:pt x="7" y="79"/>
                  </a:lnTo>
                  <a:lnTo>
                    <a:pt x="7" y="79"/>
                  </a:lnTo>
                  <a:lnTo>
                    <a:pt x="7" y="82"/>
                  </a:lnTo>
                  <a:lnTo>
                    <a:pt x="7" y="87"/>
                  </a:lnTo>
                  <a:lnTo>
                    <a:pt x="7" y="87"/>
                  </a:lnTo>
                  <a:lnTo>
                    <a:pt x="5" y="92"/>
                  </a:lnTo>
                  <a:lnTo>
                    <a:pt x="5" y="94"/>
                  </a:lnTo>
                  <a:lnTo>
                    <a:pt x="5" y="94"/>
                  </a:lnTo>
                  <a:lnTo>
                    <a:pt x="2" y="94"/>
                  </a:lnTo>
                  <a:lnTo>
                    <a:pt x="2" y="100"/>
                  </a:lnTo>
                  <a:lnTo>
                    <a:pt x="2" y="100"/>
                  </a:lnTo>
                  <a:lnTo>
                    <a:pt x="2" y="107"/>
                  </a:lnTo>
                  <a:lnTo>
                    <a:pt x="2" y="110"/>
                  </a:lnTo>
                  <a:lnTo>
                    <a:pt x="2" y="112"/>
                  </a:lnTo>
                  <a:lnTo>
                    <a:pt x="0" y="115"/>
                  </a:lnTo>
                  <a:lnTo>
                    <a:pt x="0" y="117"/>
                  </a:lnTo>
                  <a:lnTo>
                    <a:pt x="0" y="120"/>
                  </a:lnTo>
                  <a:lnTo>
                    <a:pt x="0" y="122"/>
                  </a:lnTo>
                  <a:lnTo>
                    <a:pt x="0" y="128"/>
                  </a:lnTo>
                  <a:lnTo>
                    <a:pt x="0" y="128"/>
                  </a:lnTo>
                  <a:lnTo>
                    <a:pt x="2" y="128"/>
                  </a:lnTo>
                  <a:lnTo>
                    <a:pt x="5" y="128"/>
                  </a:lnTo>
                  <a:lnTo>
                    <a:pt x="5" y="128"/>
                  </a:lnTo>
                  <a:lnTo>
                    <a:pt x="7" y="130"/>
                  </a:lnTo>
                  <a:lnTo>
                    <a:pt x="7" y="130"/>
                  </a:lnTo>
                  <a:lnTo>
                    <a:pt x="7" y="130"/>
                  </a:lnTo>
                  <a:lnTo>
                    <a:pt x="10" y="130"/>
                  </a:lnTo>
                  <a:lnTo>
                    <a:pt x="10" y="128"/>
                  </a:lnTo>
                  <a:lnTo>
                    <a:pt x="12" y="128"/>
                  </a:lnTo>
                  <a:lnTo>
                    <a:pt x="12" y="125"/>
                  </a:lnTo>
                  <a:lnTo>
                    <a:pt x="15" y="125"/>
                  </a:lnTo>
                  <a:lnTo>
                    <a:pt x="15" y="122"/>
                  </a:lnTo>
                  <a:lnTo>
                    <a:pt x="15" y="122"/>
                  </a:lnTo>
                  <a:lnTo>
                    <a:pt x="18" y="122"/>
                  </a:lnTo>
                  <a:lnTo>
                    <a:pt x="18" y="122"/>
                  </a:lnTo>
                  <a:lnTo>
                    <a:pt x="20" y="122"/>
                  </a:lnTo>
                  <a:lnTo>
                    <a:pt x="20" y="122"/>
                  </a:lnTo>
                  <a:lnTo>
                    <a:pt x="20" y="122"/>
                  </a:lnTo>
                  <a:lnTo>
                    <a:pt x="23" y="120"/>
                  </a:lnTo>
                  <a:lnTo>
                    <a:pt x="23" y="120"/>
                  </a:lnTo>
                  <a:lnTo>
                    <a:pt x="25" y="120"/>
                  </a:lnTo>
                  <a:lnTo>
                    <a:pt x="25" y="120"/>
                  </a:lnTo>
                  <a:lnTo>
                    <a:pt x="25" y="120"/>
                  </a:lnTo>
                  <a:lnTo>
                    <a:pt x="86" y="120"/>
                  </a:lnTo>
                  <a:lnTo>
                    <a:pt x="86" y="115"/>
                  </a:lnTo>
                  <a:lnTo>
                    <a:pt x="89" y="107"/>
                  </a:lnTo>
                  <a:lnTo>
                    <a:pt x="89" y="97"/>
                  </a:lnTo>
                  <a:lnTo>
                    <a:pt x="89" y="92"/>
                  </a:lnTo>
                  <a:lnTo>
                    <a:pt x="89" y="89"/>
                  </a:lnTo>
                  <a:lnTo>
                    <a:pt x="91" y="89"/>
                  </a:lnTo>
                  <a:lnTo>
                    <a:pt x="91" y="87"/>
                  </a:lnTo>
                  <a:lnTo>
                    <a:pt x="91" y="84"/>
                  </a:lnTo>
                  <a:lnTo>
                    <a:pt x="94" y="82"/>
                  </a:lnTo>
                  <a:lnTo>
                    <a:pt x="94" y="82"/>
                  </a:lnTo>
                  <a:lnTo>
                    <a:pt x="97" y="77"/>
                  </a:lnTo>
                  <a:lnTo>
                    <a:pt x="99" y="74"/>
                  </a:lnTo>
                  <a:lnTo>
                    <a:pt x="99" y="72"/>
                  </a:lnTo>
                  <a:lnTo>
                    <a:pt x="102" y="72"/>
                  </a:lnTo>
                  <a:lnTo>
                    <a:pt x="102" y="69"/>
                  </a:lnTo>
                  <a:lnTo>
                    <a:pt x="104" y="69"/>
                  </a:lnTo>
                  <a:lnTo>
                    <a:pt x="104" y="69"/>
                  </a:lnTo>
                  <a:lnTo>
                    <a:pt x="104" y="69"/>
                  </a:lnTo>
                  <a:lnTo>
                    <a:pt x="104" y="69"/>
                  </a:lnTo>
                  <a:lnTo>
                    <a:pt x="104" y="66"/>
                  </a:lnTo>
                  <a:lnTo>
                    <a:pt x="107" y="64"/>
                  </a:lnTo>
                  <a:lnTo>
                    <a:pt x="107" y="64"/>
                  </a:lnTo>
                  <a:lnTo>
                    <a:pt x="107" y="61"/>
                  </a:lnTo>
                  <a:lnTo>
                    <a:pt x="109" y="61"/>
                  </a:lnTo>
                  <a:lnTo>
                    <a:pt x="109" y="59"/>
                  </a:lnTo>
                  <a:lnTo>
                    <a:pt x="109" y="59"/>
                  </a:lnTo>
                  <a:lnTo>
                    <a:pt x="109" y="56"/>
                  </a:lnTo>
                  <a:lnTo>
                    <a:pt x="109" y="54"/>
                  </a:lnTo>
                  <a:close/>
                </a:path>
              </a:pathLst>
            </a:custGeom>
            <a:solidFill>
              <a:srgbClr val="FFC000"/>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174" name="Freeform 1792">
              <a:extLst>
                <a:ext uri="{FF2B5EF4-FFF2-40B4-BE49-F238E27FC236}">
                  <a16:creationId xmlns:a16="http://schemas.microsoft.com/office/drawing/2014/main" id="{4AC8FEA9-8C29-3346-B95B-608A8BF5B589}"/>
                </a:ext>
              </a:extLst>
            </p:cNvPr>
            <p:cNvSpPr>
              <a:spLocks noEditPoints="1"/>
            </p:cNvSpPr>
            <p:nvPr/>
          </p:nvSpPr>
          <p:spPr bwMode="auto">
            <a:xfrm>
              <a:off x="3506678" y="3119028"/>
              <a:ext cx="13086" cy="24537"/>
            </a:xfrm>
            <a:custGeom>
              <a:avLst/>
              <a:gdLst>
                <a:gd name="T0" fmla="*/ 6 w 8"/>
                <a:gd name="T1" fmla="*/ 15 h 15"/>
                <a:gd name="T2" fmla="*/ 3 w 8"/>
                <a:gd name="T3" fmla="*/ 12 h 15"/>
                <a:gd name="T4" fmla="*/ 3 w 8"/>
                <a:gd name="T5" fmla="*/ 12 h 15"/>
                <a:gd name="T6" fmla="*/ 0 w 8"/>
                <a:gd name="T7" fmla="*/ 15 h 15"/>
                <a:gd name="T8" fmla="*/ 6 w 8"/>
                <a:gd name="T9" fmla="*/ 15 h 15"/>
                <a:gd name="T10" fmla="*/ 8 w 8"/>
                <a:gd name="T11" fmla="*/ 15 h 15"/>
                <a:gd name="T12" fmla="*/ 6 w 8"/>
                <a:gd name="T13" fmla="*/ 15 h 15"/>
                <a:gd name="T14" fmla="*/ 6 w 8"/>
                <a:gd name="T15" fmla="*/ 0 h 15"/>
                <a:gd name="T16" fmla="*/ 8 w 8"/>
                <a:gd name="T17" fmla="*/ 0 h 15"/>
                <a:gd name="T18" fmla="*/ 6 w 8"/>
                <a:gd name="T19" fmla="*/ 0 h 15"/>
                <a:gd name="T20" fmla="*/ 6 w 8"/>
                <a:gd name="T21" fmla="*/ 0 h 15"/>
                <a:gd name="T22" fmla="*/ 6 w 8"/>
                <a:gd name="T23" fmla="*/ 0 h 15"/>
                <a:gd name="T24" fmla="*/ 6 w 8"/>
                <a:gd name="T25" fmla="*/ 0 h 15"/>
                <a:gd name="T26" fmla="*/ 3 w 8"/>
                <a:gd name="T27" fmla="*/ 0 h 15"/>
                <a:gd name="T28" fmla="*/ 3 w 8"/>
                <a:gd name="T29" fmla="*/ 0 h 15"/>
                <a:gd name="T30" fmla="*/ 3 w 8"/>
                <a:gd name="T31" fmla="*/ 0 h 15"/>
                <a:gd name="T32" fmla="*/ 0 w 8"/>
                <a:gd name="T33" fmla="*/ 0 h 15"/>
                <a:gd name="T34" fmla="*/ 3 w 8"/>
                <a:gd name="T35" fmla="*/ 0 h 15"/>
                <a:gd name="T36" fmla="*/ 3 w 8"/>
                <a:gd name="T3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 h="15">
                  <a:moveTo>
                    <a:pt x="6" y="15"/>
                  </a:moveTo>
                  <a:lnTo>
                    <a:pt x="3" y="12"/>
                  </a:lnTo>
                  <a:lnTo>
                    <a:pt x="3" y="12"/>
                  </a:lnTo>
                  <a:lnTo>
                    <a:pt x="0" y="15"/>
                  </a:lnTo>
                  <a:lnTo>
                    <a:pt x="6" y="15"/>
                  </a:lnTo>
                  <a:lnTo>
                    <a:pt x="8" y="15"/>
                  </a:lnTo>
                  <a:lnTo>
                    <a:pt x="6" y="15"/>
                  </a:lnTo>
                  <a:close/>
                  <a:moveTo>
                    <a:pt x="6" y="0"/>
                  </a:moveTo>
                  <a:lnTo>
                    <a:pt x="8" y="0"/>
                  </a:lnTo>
                  <a:lnTo>
                    <a:pt x="6" y="0"/>
                  </a:lnTo>
                  <a:lnTo>
                    <a:pt x="6" y="0"/>
                  </a:lnTo>
                  <a:lnTo>
                    <a:pt x="6" y="0"/>
                  </a:lnTo>
                  <a:lnTo>
                    <a:pt x="6" y="0"/>
                  </a:lnTo>
                  <a:close/>
                  <a:moveTo>
                    <a:pt x="3" y="0"/>
                  </a:moveTo>
                  <a:lnTo>
                    <a:pt x="3" y="0"/>
                  </a:lnTo>
                  <a:lnTo>
                    <a:pt x="3" y="0"/>
                  </a:lnTo>
                  <a:lnTo>
                    <a:pt x="0" y="0"/>
                  </a:lnTo>
                  <a:lnTo>
                    <a:pt x="3" y="0"/>
                  </a:lnTo>
                  <a:lnTo>
                    <a:pt x="3"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175" name="Freeform 1793">
              <a:extLst>
                <a:ext uri="{FF2B5EF4-FFF2-40B4-BE49-F238E27FC236}">
                  <a16:creationId xmlns:a16="http://schemas.microsoft.com/office/drawing/2014/main" id="{73554CCC-1F00-B84D-AD3D-BDF6EFCD0205}"/>
                </a:ext>
              </a:extLst>
            </p:cNvPr>
            <p:cNvSpPr>
              <a:spLocks noEditPoints="1"/>
            </p:cNvSpPr>
            <p:nvPr/>
          </p:nvSpPr>
          <p:spPr bwMode="auto">
            <a:xfrm>
              <a:off x="3285853" y="2984898"/>
              <a:ext cx="21265" cy="8179"/>
            </a:xfrm>
            <a:custGeom>
              <a:avLst/>
              <a:gdLst>
                <a:gd name="T0" fmla="*/ 3 w 13"/>
                <a:gd name="T1" fmla="*/ 3 h 5"/>
                <a:gd name="T2" fmla="*/ 0 w 13"/>
                <a:gd name="T3" fmla="*/ 3 h 5"/>
                <a:gd name="T4" fmla="*/ 0 w 13"/>
                <a:gd name="T5" fmla="*/ 3 h 5"/>
                <a:gd name="T6" fmla="*/ 0 w 13"/>
                <a:gd name="T7" fmla="*/ 5 h 5"/>
                <a:gd name="T8" fmla="*/ 0 w 13"/>
                <a:gd name="T9" fmla="*/ 5 h 5"/>
                <a:gd name="T10" fmla="*/ 3 w 13"/>
                <a:gd name="T11" fmla="*/ 5 h 5"/>
                <a:gd name="T12" fmla="*/ 3 w 13"/>
                <a:gd name="T13" fmla="*/ 5 h 5"/>
                <a:gd name="T14" fmla="*/ 3 w 13"/>
                <a:gd name="T15" fmla="*/ 3 h 5"/>
                <a:gd name="T16" fmla="*/ 3 w 13"/>
                <a:gd name="T17" fmla="*/ 3 h 5"/>
                <a:gd name="T18" fmla="*/ 3 w 13"/>
                <a:gd name="T19" fmla="*/ 3 h 5"/>
                <a:gd name="T20" fmla="*/ 13 w 13"/>
                <a:gd name="T21" fmla="*/ 3 h 5"/>
                <a:gd name="T22" fmla="*/ 11 w 13"/>
                <a:gd name="T23" fmla="*/ 3 h 5"/>
                <a:gd name="T24" fmla="*/ 11 w 13"/>
                <a:gd name="T25" fmla="*/ 3 h 5"/>
                <a:gd name="T26" fmla="*/ 11 w 13"/>
                <a:gd name="T27" fmla="*/ 3 h 5"/>
                <a:gd name="T28" fmla="*/ 13 w 13"/>
                <a:gd name="T29" fmla="*/ 3 h 5"/>
                <a:gd name="T30" fmla="*/ 13 w 13"/>
                <a:gd name="T31" fmla="*/ 5 h 5"/>
                <a:gd name="T32" fmla="*/ 13 w 13"/>
                <a:gd name="T33" fmla="*/ 5 h 5"/>
                <a:gd name="T34" fmla="*/ 13 w 13"/>
                <a:gd name="T35" fmla="*/ 5 h 5"/>
                <a:gd name="T36" fmla="*/ 13 w 13"/>
                <a:gd name="T37" fmla="*/ 3 h 5"/>
                <a:gd name="T38" fmla="*/ 8 w 13"/>
                <a:gd name="T39" fmla="*/ 0 h 5"/>
                <a:gd name="T40" fmla="*/ 8 w 13"/>
                <a:gd name="T41" fmla="*/ 0 h 5"/>
                <a:gd name="T42" fmla="*/ 8 w 13"/>
                <a:gd name="T43" fmla="*/ 0 h 5"/>
                <a:gd name="T44" fmla="*/ 8 w 13"/>
                <a:gd name="T45" fmla="*/ 3 h 5"/>
                <a:gd name="T46" fmla="*/ 8 w 13"/>
                <a:gd name="T47" fmla="*/ 3 h 5"/>
                <a:gd name="T48" fmla="*/ 8 w 13"/>
                <a:gd name="T49" fmla="*/ 3 h 5"/>
                <a:gd name="T50" fmla="*/ 8 w 13"/>
                <a:gd name="T51" fmla="*/ 3 h 5"/>
                <a:gd name="T52" fmla="*/ 11 w 13"/>
                <a:gd name="T53" fmla="*/ 3 h 5"/>
                <a:gd name="T54" fmla="*/ 8 w 13"/>
                <a:gd name="T55" fmla="*/ 3 h 5"/>
                <a:gd name="T56" fmla="*/ 8 w 13"/>
                <a:gd name="T5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 h="5">
                  <a:moveTo>
                    <a:pt x="3" y="3"/>
                  </a:moveTo>
                  <a:lnTo>
                    <a:pt x="0" y="3"/>
                  </a:lnTo>
                  <a:lnTo>
                    <a:pt x="0" y="3"/>
                  </a:lnTo>
                  <a:lnTo>
                    <a:pt x="0" y="5"/>
                  </a:lnTo>
                  <a:lnTo>
                    <a:pt x="0" y="5"/>
                  </a:lnTo>
                  <a:lnTo>
                    <a:pt x="3" y="5"/>
                  </a:lnTo>
                  <a:lnTo>
                    <a:pt x="3" y="5"/>
                  </a:lnTo>
                  <a:lnTo>
                    <a:pt x="3" y="3"/>
                  </a:lnTo>
                  <a:lnTo>
                    <a:pt x="3" y="3"/>
                  </a:lnTo>
                  <a:lnTo>
                    <a:pt x="3" y="3"/>
                  </a:lnTo>
                  <a:close/>
                  <a:moveTo>
                    <a:pt x="13" y="3"/>
                  </a:moveTo>
                  <a:lnTo>
                    <a:pt x="11" y="3"/>
                  </a:lnTo>
                  <a:lnTo>
                    <a:pt x="11" y="3"/>
                  </a:lnTo>
                  <a:lnTo>
                    <a:pt x="11" y="3"/>
                  </a:lnTo>
                  <a:lnTo>
                    <a:pt x="13" y="3"/>
                  </a:lnTo>
                  <a:lnTo>
                    <a:pt x="13" y="5"/>
                  </a:lnTo>
                  <a:lnTo>
                    <a:pt x="13" y="5"/>
                  </a:lnTo>
                  <a:lnTo>
                    <a:pt x="13" y="5"/>
                  </a:lnTo>
                  <a:lnTo>
                    <a:pt x="13" y="3"/>
                  </a:lnTo>
                  <a:close/>
                  <a:moveTo>
                    <a:pt x="8" y="0"/>
                  </a:moveTo>
                  <a:lnTo>
                    <a:pt x="8" y="0"/>
                  </a:lnTo>
                  <a:lnTo>
                    <a:pt x="8" y="0"/>
                  </a:lnTo>
                  <a:lnTo>
                    <a:pt x="8" y="3"/>
                  </a:lnTo>
                  <a:lnTo>
                    <a:pt x="8" y="3"/>
                  </a:lnTo>
                  <a:lnTo>
                    <a:pt x="8" y="3"/>
                  </a:lnTo>
                  <a:lnTo>
                    <a:pt x="8" y="3"/>
                  </a:lnTo>
                  <a:lnTo>
                    <a:pt x="11" y="3"/>
                  </a:lnTo>
                  <a:lnTo>
                    <a:pt x="8" y="3"/>
                  </a:lnTo>
                  <a:lnTo>
                    <a:pt x="8"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176" name="Freeform 1794">
              <a:extLst>
                <a:ext uri="{FF2B5EF4-FFF2-40B4-BE49-F238E27FC236}">
                  <a16:creationId xmlns:a16="http://schemas.microsoft.com/office/drawing/2014/main" id="{E8603F58-ABB7-9D49-897E-001C3F29B011}"/>
                </a:ext>
              </a:extLst>
            </p:cNvPr>
            <p:cNvSpPr>
              <a:spLocks noEditPoints="1"/>
            </p:cNvSpPr>
            <p:nvPr/>
          </p:nvSpPr>
          <p:spPr bwMode="auto">
            <a:xfrm>
              <a:off x="7218164" y="2216102"/>
              <a:ext cx="458006" cy="278075"/>
            </a:xfrm>
            <a:custGeom>
              <a:avLst/>
              <a:gdLst>
                <a:gd name="T0" fmla="*/ 23 w 280"/>
                <a:gd name="T1" fmla="*/ 86 h 170"/>
                <a:gd name="T2" fmla="*/ 277 w 280"/>
                <a:gd name="T3" fmla="*/ 104 h 170"/>
                <a:gd name="T4" fmla="*/ 265 w 280"/>
                <a:gd name="T5" fmla="*/ 99 h 170"/>
                <a:gd name="T6" fmla="*/ 247 w 280"/>
                <a:gd name="T7" fmla="*/ 91 h 170"/>
                <a:gd name="T8" fmla="*/ 224 w 280"/>
                <a:gd name="T9" fmla="*/ 81 h 170"/>
                <a:gd name="T10" fmla="*/ 196 w 280"/>
                <a:gd name="T11" fmla="*/ 63 h 170"/>
                <a:gd name="T12" fmla="*/ 181 w 280"/>
                <a:gd name="T13" fmla="*/ 45 h 170"/>
                <a:gd name="T14" fmla="*/ 165 w 280"/>
                <a:gd name="T15" fmla="*/ 33 h 170"/>
                <a:gd name="T16" fmla="*/ 155 w 280"/>
                <a:gd name="T17" fmla="*/ 33 h 170"/>
                <a:gd name="T18" fmla="*/ 140 w 280"/>
                <a:gd name="T19" fmla="*/ 30 h 170"/>
                <a:gd name="T20" fmla="*/ 137 w 280"/>
                <a:gd name="T21" fmla="*/ 20 h 170"/>
                <a:gd name="T22" fmla="*/ 135 w 280"/>
                <a:gd name="T23" fmla="*/ 17 h 170"/>
                <a:gd name="T24" fmla="*/ 135 w 280"/>
                <a:gd name="T25" fmla="*/ 12 h 170"/>
                <a:gd name="T26" fmla="*/ 119 w 280"/>
                <a:gd name="T27" fmla="*/ 5 h 170"/>
                <a:gd name="T28" fmla="*/ 107 w 280"/>
                <a:gd name="T29" fmla="*/ 0 h 170"/>
                <a:gd name="T30" fmla="*/ 99 w 280"/>
                <a:gd name="T31" fmla="*/ 2 h 170"/>
                <a:gd name="T32" fmla="*/ 107 w 280"/>
                <a:gd name="T33" fmla="*/ 10 h 170"/>
                <a:gd name="T34" fmla="*/ 102 w 280"/>
                <a:gd name="T35" fmla="*/ 7 h 170"/>
                <a:gd name="T36" fmla="*/ 94 w 280"/>
                <a:gd name="T37" fmla="*/ 12 h 170"/>
                <a:gd name="T38" fmla="*/ 81 w 280"/>
                <a:gd name="T39" fmla="*/ 17 h 170"/>
                <a:gd name="T40" fmla="*/ 86 w 280"/>
                <a:gd name="T41" fmla="*/ 30 h 170"/>
                <a:gd name="T42" fmla="*/ 68 w 280"/>
                <a:gd name="T43" fmla="*/ 33 h 170"/>
                <a:gd name="T44" fmla="*/ 56 w 280"/>
                <a:gd name="T45" fmla="*/ 33 h 170"/>
                <a:gd name="T46" fmla="*/ 43 w 280"/>
                <a:gd name="T47" fmla="*/ 20 h 170"/>
                <a:gd name="T48" fmla="*/ 25 w 280"/>
                <a:gd name="T49" fmla="*/ 10 h 170"/>
                <a:gd name="T50" fmla="*/ 7 w 280"/>
                <a:gd name="T51" fmla="*/ 12 h 170"/>
                <a:gd name="T52" fmla="*/ 7 w 280"/>
                <a:gd name="T53" fmla="*/ 33 h 170"/>
                <a:gd name="T54" fmla="*/ 7 w 280"/>
                <a:gd name="T55" fmla="*/ 17 h 170"/>
                <a:gd name="T56" fmla="*/ 20 w 280"/>
                <a:gd name="T57" fmla="*/ 15 h 170"/>
                <a:gd name="T58" fmla="*/ 33 w 280"/>
                <a:gd name="T59" fmla="*/ 30 h 170"/>
                <a:gd name="T60" fmla="*/ 43 w 280"/>
                <a:gd name="T61" fmla="*/ 40 h 170"/>
                <a:gd name="T62" fmla="*/ 38 w 280"/>
                <a:gd name="T63" fmla="*/ 45 h 170"/>
                <a:gd name="T64" fmla="*/ 23 w 280"/>
                <a:gd name="T65" fmla="*/ 43 h 170"/>
                <a:gd name="T66" fmla="*/ 12 w 280"/>
                <a:gd name="T67" fmla="*/ 40 h 170"/>
                <a:gd name="T68" fmla="*/ 12 w 280"/>
                <a:gd name="T69" fmla="*/ 61 h 170"/>
                <a:gd name="T70" fmla="*/ 20 w 280"/>
                <a:gd name="T71" fmla="*/ 61 h 170"/>
                <a:gd name="T72" fmla="*/ 28 w 280"/>
                <a:gd name="T73" fmla="*/ 68 h 170"/>
                <a:gd name="T74" fmla="*/ 20 w 280"/>
                <a:gd name="T75" fmla="*/ 71 h 170"/>
                <a:gd name="T76" fmla="*/ 28 w 280"/>
                <a:gd name="T77" fmla="*/ 76 h 170"/>
                <a:gd name="T78" fmla="*/ 35 w 280"/>
                <a:gd name="T79" fmla="*/ 83 h 170"/>
                <a:gd name="T80" fmla="*/ 38 w 280"/>
                <a:gd name="T81" fmla="*/ 106 h 170"/>
                <a:gd name="T82" fmla="*/ 53 w 280"/>
                <a:gd name="T83" fmla="*/ 117 h 170"/>
                <a:gd name="T84" fmla="*/ 63 w 280"/>
                <a:gd name="T85" fmla="*/ 104 h 170"/>
                <a:gd name="T86" fmla="*/ 84 w 280"/>
                <a:gd name="T87" fmla="*/ 104 h 170"/>
                <a:gd name="T88" fmla="*/ 91 w 280"/>
                <a:gd name="T89" fmla="*/ 99 h 170"/>
                <a:gd name="T90" fmla="*/ 104 w 280"/>
                <a:gd name="T91" fmla="*/ 104 h 170"/>
                <a:gd name="T92" fmla="*/ 117 w 280"/>
                <a:gd name="T93" fmla="*/ 109 h 170"/>
                <a:gd name="T94" fmla="*/ 130 w 280"/>
                <a:gd name="T95" fmla="*/ 111 h 170"/>
                <a:gd name="T96" fmla="*/ 142 w 280"/>
                <a:gd name="T97" fmla="*/ 117 h 170"/>
                <a:gd name="T98" fmla="*/ 160 w 280"/>
                <a:gd name="T99" fmla="*/ 129 h 170"/>
                <a:gd name="T100" fmla="*/ 183 w 280"/>
                <a:gd name="T101" fmla="*/ 142 h 170"/>
                <a:gd name="T102" fmla="*/ 186 w 280"/>
                <a:gd name="T103" fmla="*/ 152 h 170"/>
                <a:gd name="T104" fmla="*/ 188 w 280"/>
                <a:gd name="T105" fmla="*/ 160 h 170"/>
                <a:gd name="T106" fmla="*/ 201 w 280"/>
                <a:gd name="T107" fmla="*/ 165 h 170"/>
                <a:gd name="T108" fmla="*/ 211 w 280"/>
                <a:gd name="T109" fmla="*/ 167 h 170"/>
                <a:gd name="T110" fmla="*/ 221 w 280"/>
                <a:gd name="T111" fmla="*/ 165 h 170"/>
                <a:gd name="T112" fmla="*/ 221 w 280"/>
                <a:gd name="T113" fmla="*/ 155 h 170"/>
                <a:gd name="T114" fmla="*/ 237 w 280"/>
                <a:gd name="T115" fmla="*/ 150 h 170"/>
                <a:gd name="T116" fmla="*/ 247 w 280"/>
                <a:gd name="T117" fmla="*/ 142 h 170"/>
                <a:gd name="T118" fmla="*/ 252 w 280"/>
                <a:gd name="T119" fmla="*/ 122 h 170"/>
                <a:gd name="T120" fmla="*/ 265 w 280"/>
                <a:gd name="T121" fmla="*/ 114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80" h="170">
                  <a:moveTo>
                    <a:pt x="20" y="81"/>
                  </a:moveTo>
                  <a:lnTo>
                    <a:pt x="20" y="78"/>
                  </a:lnTo>
                  <a:lnTo>
                    <a:pt x="20" y="78"/>
                  </a:lnTo>
                  <a:lnTo>
                    <a:pt x="20" y="81"/>
                  </a:lnTo>
                  <a:lnTo>
                    <a:pt x="20" y="83"/>
                  </a:lnTo>
                  <a:lnTo>
                    <a:pt x="23" y="86"/>
                  </a:lnTo>
                  <a:lnTo>
                    <a:pt x="23" y="86"/>
                  </a:lnTo>
                  <a:lnTo>
                    <a:pt x="20" y="81"/>
                  </a:lnTo>
                  <a:close/>
                  <a:moveTo>
                    <a:pt x="277" y="117"/>
                  </a:moveTo>
                  <a:lnTo>
                    <a:pt x="277" y="114"/>
                  </a:lnTo>
                  <a:lnTo>
                    <a:pt x="277" y="109"/>
                  </a:lnTo>
                  <a:lnTo>
                    <a:pt x="277" y="106"/>
                  </a:lnTo>
                  <a:lnTo>
                    <a:pt x="277" y="106"/>
                  </a:lnTo>
                  <a:lnTo>
                    <a:pt x="277" y="104"/>
                  </a:lnTo>
                  <a:lnTo>
                    <a:pt x="277" y="104"/>
                  </a:lnTo>
                  <a:lnTo>
                    <a:pt x="272" y="104"/>
                  </a:lnTo>
                  <a:lnTo>
                    <a:pt x="272" y="104"/>
                  </a:lnTo>
                  <a:lnTo>
                    <a:pt x="270" y="101"/>
                  </a:lnTo>
                  <a:lnTo>
                    <a:pt x="267" y="101"/>
                  </a:lnTo>
                  <a:lnTo>
                    <a:pt x="267" y="99"/>
                  </a:lnTo>
                  <a:lnTo>
                    <a:pt x="265" y="99"/>
                  </a:lnTo>
                  <a:lnTo>
                    <a:pt x="262" y="99"/>
                  </a:lnTo>
                  <a:lnTo>
                    <a:pt x="260" y="99"/>
                  </a:lnTo>
                  <a:lnTo>
                    <a:pt x="260" y="99"/>
                  </a:lnTo>
                  <a:lnTo>
                    <a:pt x="260" y="99"/>
                  </a:lnTo>
                  <a:lnTo>
                    <a:pt x="257" y="99"/>
                  </a:lnTo>
                  <a:lnTo>
                    <a:pt x="252" y="96"/>
                  </a:lnTo>
                  <a:lnTo>
                    <a:pt x="247" y="91"/>
                  </a:lnTo>
                  <a:lnTo>
                    <a:pt x="242" y="89"/>
                  </a:lnTo>
                  <a:lnTo>
                    <a:pt x="237" y="89"/>
                  </a:lnTo>
                  <a:lnTo>
                    <a:pt x="237" y="86"/>
                  </a:lnTo>
                  <a:lnTo>
                    <a:pt x="234" y="86"/>
                  </a:lnTo>
                  <a:lnTo>
                    <a:pt x="229" y="81"/>
                  </a:lnTo>
                  <a:lnTo>
                    <a:pt x="226" y="83"/>
                  </a:lnTo>
                  <a:lnTo>
                    <a:pt x="224" y="81"/>
                  </a:lnTo>
                  <a:lnTo>
                    <a:pt x="219" y="78"/>
                  </a:lnTo>
                  <a:lnTo>
                    <a:pt x="219" y="78"/>
                  </a:lnTo>
                  <a:lnTo>
                    <a:pt x="214" y="73"/>
                  </a:lnTo>
                  <a:lnTo>
                    <a:pt x="209" y="71"/>
                  </a:lnTo>
                  <a:lnTo>
                    <a:pt x="204" y="68"/>
                  </a:lnTo>
                  <a:lnTo>
                    <a:pt x="201" y="66"/>
                  </a:lnTo>
                  <a:lnTo>
                    <a:pt x="196" y="63"/>
                  </a:lnTo>
                  <a:lnTo>
                    <a:pt x="191" y="61"/>
                  </a:lnTo>
                  <a:lnTo>
                    <a:pt x="191" y="61"/>
                  </a:lnTo>
                  <a:lnTo>
                    <a:pt x="191" y="61"/>
                  </a:lnTo>
                  <a:lnTo>
                    <a:pt x="188" y="53"/>
                  </a:lnTo>
                  <a:lnTo>
                    <a:pt x="186" y="50"/>
                  </a:lnTo>
                  <a:lnTo>
                    <a:pt x="183" y="48"/>
                  </a:lnTo>
                  <a:lnTo>
                    <a:pt x="181" y="45"/>
                  </a:lnTo>
                  <a:lnTo>
                    <a:pt x="178" y="40"/>
                  </a:lnTo>
                  <a:lnTo>
                    <a:pt x="176" y="38"/>
                  </a:lnTo>
                  <a:lnTo>
                    <a:pt x="176" y="35"/>
                  </a:lnTo>
                  <a:lnTo>
                    <a:pt x="173" y="35"/>
                  </a:lnTo>
                  <a:lnTo>
                    <a:pt x="170" y="33"/>
                  </a:lnTo>
                  <a:lnTo>
                    <a:pt x="165" y="33"/>
                  </a:lnTo>
                  <a:lnTo>
                    <a:pt x="165" y="33"/>
                  </a:lnTo>
                  <a:lnTo>
                    <a:pt x="165" y="33"/>
                  </a:lnTo>
                  <a:lnTo>
                    <a:pt x="165" y="33"/>
                  </a:lnTo>
                  <a:lnTo>
                    <a:pt x="163" y="35"/>
                  </a:lnTo>
                  <a:lnTo>
                    <a:pt x="163" y="35"/>
                  </a:lnTo>
                  <a:lnTo>
                    <a:pt x="160" y="35"/>
                  </a:lnTo>
                  <a:lnTo>
                    <a:pt x="160" y="33"/>
                  </a:lnTo>
                  <a:lnTo>
                    <a:pt x="155" y="33"/>
                  </a:lnTo>
                  <a:lnTo>
                    <a:pt x="155" y="33"/>
                  </a:lnTo>
                  <a:lnTo>
                    <a:pt x="153" y="33"/>
                  </a:lnTo>
                  <a:lnTo>
                    <a:pt x="147" y="33"/>
                  </a:lnTo>
                  <a:lnTo>
                    <a:pt x="147" y="33"/>
                  </a:lnTo>
                  <a:lnTo>
                    <a:pt x="142" y="30"/>
                  </a:lnTo>
                  <a:lnTo>
                    <a:pt x="140" y="30"/>
                  </a:lnTo>
                  <a:lnTo>
                    <a:pt x="140" y="30"/>
                  </a:lnTo>
                  <a:lnTo>
                    <a:pt x="140" y="28"/>
                  </a:lnTo>
                  <a:lnTo>
                    <a:pt x="140" y="25"/>
                  </a:lnTo>
                  <a:lnTo>
                    <a:pt x="140" y="25"/>
                  </a:lnTo>
                  <a:lnTo>
                    <a:pt x="140" y="25"/>
                  </a:lnTo>
                  <a:lnTo>
                    <a:pt x="137" y="22"/>
                  </a:lnTo>
                  <a:lnTo>
                    <a:pt x="137" y="22"/>
                  </a:lnTo>
                  <a:lnTo>
                    <a:pt x="137" y="20"/>
                  </a:lnTo>
                  <a:lnTo>
                    <a:pt x="140" y="20"/>
                  </a:lnTo>
                  <a:lnTo>
                    <a:pt x="140" y="20"/>
                  </a:lnTo>
                  <a:lnTo>
                    <a:pt x="140" y="20"/>
                  </a:lnTo>
                  <a:lnTo>
                    <a:pt x="140" y="20"/>
                  </a:lnTo>
                  <a:lnTo>
                    <a:pt x="137" y="17"/>
                  </a:lnTo>
                  <a:lnTo>
                    <a:pt x="135" y="17"/>
                  </a:lnTo>
                  <a:lnTo>
                    <a:pt x="135" y="17"/>
                  </a:lnTo>
                  <a:lnTo>
                    <a:pt x="135" y="17"/>
                  </a:lnTo>
                  <a:lnTo>
                    <a:pt x="135" y="15"/>
                  </a:lnTo>
                  <a:lnTo>
                    <a:pt x="135" y="15"/>
                  </a:lnTo>
                  <a:lnTo>
                    <a:pt x="135" y="12"/>
                  </a:lnTo>
                  <a:lnTo>
                    <a:pt x="135" y="12"/>
                  </a:lnTo>
                  <a:lnTo>
                    <a:pt x="135" y="12"/>
                  </a:lnTo>
                  <a:lnTo>
                    <a:pt x="135" y="12"/>
                  </a:lnTo>
                  <a:lnTo>
                    <a:pt x="132" y="10"/>
                  </a:lnTo>
                  <a:lnTo>
                    <a:pt x="132" y="10"/>
                  </a:lnTo>
                  <a:lnTo>
                    <a:pt x="130" y="10"/>
                  </a:lnTo>
                  <a:lnTo>
                    <a:pt x="125" y="10"/>
                  </a:lnTo>
                  <a:lnTo>
                    <a:pt x="122" y="10"/>
                  </a:lnTo>
                  <a:lnTo>
                    <a:pt x="119" y="7"/>
                  </a:lnTo>
                  <a:lnTo>
                    <a:pt x="119" y="5"/>
                  </a:lnTo>
                  <a:lnTo>
                    <a:pt x="117" y="5"/>
                  </a:lnTo>
                  <a:lnTo>
                    <a:pt x="117" y="5"/>
                  </a:lnTo>
                  <a:lnTo>
                    <a:pt x="114" y="5"/>
                  </a:lnTo>
                  <a:lnTo>
                    <a:pt x="112" y="5"/>
                  </a:lnTo>
                  <a:lnTo>
                    <a:pt x="112" y="5"/>
                  </a:lnTo>
                  <a:lnTo>
                    <a:pt x="109" y="2"/>
                  </a:lnTo>
                  <a:lnTo>
                    <a:pt x="107" y="0"/>
                  </a:lnTo>
                  <a:lnTo>
                    <a:pt x="104" y="2"/>
                  </a:lnTo>
                  <a:lnTo>
                    <a:pt x="104" y="2"/>
                  </a:lnTo>
                  <a:lnTo>
                    <a:pt x="102" y="2"/>
                  </a:lnTo>
                  <a:lnTo>
                    <a:pt x="99" y="2"/>
                  </a:lnTo>
                  <a:lnTo>
                    <a:pt x="99" y="2"/>
                  </a:lnTo>
                  <a:lnTo>
                    <a:pt x="99" y="2"/>
                  </a:lnTo>
                  <a:lnTo>
                    <a:pt x="99" y="2"/>
                  </a:lnTo>
                  <a:lnTo>
                    <a:pt x="99" y="5"/>
                  </a:lnTo>
                  <a:lnTo>
                    <a:pt x="102" y="5"/>
                  </a:lnTo>
                  <a:lnTo>
                    <a:pt x="104" y="7"/>
                  </a:lnTo>
                  <a:lnTo>
                    <a:pt x="107" y="10"/>
                  </a:lnTo>
                  <a:lnTo>
                    <a:pt x="107" y="10"/>
                  </a:lnTo>
                  <a:lnTo>
                    <a:pt x="107" y="10"/>
                  </a:lnTo>
                  <a:lnTo>
                    <a:pt x="107" y="10"/>
                  </a:lnTo>
                  <a:lnTo>
                    <a:pt x="104" y="10"/>
                  </a:lnTo>
                  <a:lnTo>
                    <a:pt x="104" y="10"/>
                  </a:lnTo>
                  <a:lnTo>
                    <a:pt x="104" y="10"/>
                  </a:lnTo>
                  <a:lnTo>
                    <a:pt x="104" y="10"/>
                  </a:lnTo>
                  <a:lnTo>
                    <a:pt x="102" y="7"/>
                  </a:lnTo>
                  <a:lnTo>
                    <a:pt x="102" y="7"/>
                  </a:lnTo>
                  <a:lnTo>
                    <a:pt x="102" y="7"/>
                  </a:lnTo>
                  <a:lnTo>
                    <a:pt x="99" y="7"/>
                  </a:lnTo>
                  <a:lnTo>
                    <a:pt x="97" y="5"/>
                  </a:lnTo>
                  <a:lnTo>
                    <a:pt x="97" y="5"/>
                  </a:lnTo>
                  <a:lnTo>
                    <a:pt x="97" y="7"/>
                  </a:lnTo>
                  <a:lnTo>
                    <a:pt x="97" y="7"/>
                  </a:lnTo>
                  <a:lnTo>
                    <a:pt x="97" y="10"/>
                  </a:lnTo>
                  <a:lnTo>
                    <a:pt x="94" y="12"/>
                  </a:lnTo>
                  <a:lnTo>
                    <a:pt x="94" y="12"/>
                  </a:lnTo>
                  <a:lnTo>
                    <a:pt x="91" y="12"/>
                  </a:lnTo>
                  <a:lnTo>
                    <a:pt x="86" y="12"/>
                  </a:lnTo>
                  <a:lnTo>
                    <a:pt x="84" y="12"/>
                  </a:lnTo>
                  <a:lnTo>
                    <a:pt x="84" y="15"/>
                  </a:lnTo>
                  <a:lnTo>
                    <a:pt x="84" y="17"/>
                  </a:lnTo>
                  <a:lnTo>
                    <a:pt x="81" y="17"/>
                  </a:lnTo>
                  <a:lnTo>
                    <a:pt x="81" y="20"/>
                  </a:lnTo>
                  <a:lnTo>
                    <a:pt x="81" y="22"/>
                  </a:lnTo>
                  <a:lnTo>
                    <a:pt x="84" y="28"/>
                  </a:lnTo>
                  <a:lnTo>
                    <a:pt x="84" y="30"/>
                  </a:lnTo>
                  <a:lnTo>
                    <a:pt x="86" y="30"/>
                  </a:lnTo>
                  <a:lnTo>
                    <a:pt x="86" y="30"/>
                  </a:lnTo>
                  <a:lnTo>
                    <a:pt x="86" y="30"/>
                  </a:lnTo>
                  <a:lnTo>
                    <a:pt x="84" y="33"/>
                  </a:lnTo>
                  <a:lnTo>
                    <a:pt x="84" y="33"/>
                  </a:lnTo>
                  <a:lnTo>
                    <a:pt x="84" y="33"/>
                  </a:lnTo>
                  <a:lnTo>
                    <a:pt x="81" y="33"/>
                  </a:lnTo>
                  <a:lnTo>
                    <a:pt x="79" y="33"/>
                  </a:lnTo>
                  <a:lnTo>
                    <a:pt x="74" y="33"/>
                  </a:lnTo>
                  <a:lnTo>
                    <a:pt x="68" y="33"/>
                  </a:lnTo>
                  <a:lnTo>
                    <a:pt x="63" y="30"/>
                  </a:lnTo>
                  <a:lnTo>
                    <a:pt x="63" y="30"/>
                  </a:lnTo>
                  <a:lnTo>
                    <a:pt x="61" y="33"/>
                  </a:lnTo>
                  <a:lnTo>
                    <a:pt x="58" y="33"/>
                  </a:lnTo>
                  <a:lnTo>
                    <a:pt x="56" y="33"/>
                  </a:lnTo>
                  <a:lnTo>
                    <a:pt x="56" y="33"/>
                  </a:lnTo>
                  <a:lnTo>
                    <a:pt x="56" y="33"/>
                  </a:lnTo>
                  <a:lnTo>
                    <a:pt x="53" y="30"/>
                  </a:lnTo>
                  <a:lnTo>
                    <a:pt x="53" y="30"/>
                  </a:lnTo>
                  <a:lnTo>
                    <a:pt x="51" y="28"/>
                  </a:lnTo>
                  <a:lnTo>
                    <a:pt x="48" y="25"/>
                  </a:lnTo>
                  <a:lnTo>
                    <a:pt x="48" y="25"/>
                  </a:lnTo>
                  <a:lnTo>
                    <a:pt x="43" y="20"/>
                  </a:lnTo>
                  <a:lnTo>
                    <a:pt x="43" y="20"/>
                  </a:lnTo>
                  <a:lnTo>
                    <a:pt x="43" y="17"/>
                  </a:lnTo>
                  <a:lnTo>
                    <a:pt x="40" y="17"/>
                  </a:lnTo>
                  <a:lnTo>
                    <a:pt x="38" y="15"/>
                  </a:lnTo>
                  <a:lnTo>
                    <a:pt x="33" y="12"/>
                  </a:lnTo>
                  <a:lnTo>
                    <a:pt x="30" y="10"/>
                  </a:lnTo>
                  <a:lnTo>
                    <a:pt x="28" y="10"/>
                  </a:lnTo>
                  <a:lnTo>
                    <a:pt x="25" y="10"/>
                  </a:lnTo>
                  <a:lnTo>
                    <a:pt x="25" y="10"/>
                  </a:lnTo>
                  <a:lnTo>
                    <a:pt x="23" y="10"/>
                  </a:lnTo>
                  <a:lnTo>
                    <a:pt x="18" y="10"/>
                  </a:lnTo>
                  <a:lnTo>
                    <a:pt x="15" y="10"/>
                  </a:lnTo>
                  <a:lnTo>
                    <a:pt x="10" y="12"/>
                  </a:lnTo>
                  <a:lnTo>
                    <a:pt x="7" y="12"/>
                  </a:lnTo>
                  <a:lnTo>
                    <a:pt x="7" y="12"/>
                  </a:lnTo>
                  <a:lnTo>
                    <a:pt x="5" y="15"/>
                  </a:lnTo>
                  <a:lnTo>
                    <a:pt x="2" y="17"/>
                  </a:lnTo>
                  <a:lnTo>
                    <a:pt x="0" y="20"/>
                  </a:lnTo>
                  <a:lnTo>
                    <a:pt x="2" y="28"/>
                  </a:lnTo>
                  <a:lnTo>
                    <a:pt x="5" y="30"/>
                  </a:lnTo>
                  <a:lnTo>
                    <a:pt x="7" y="33"/>
                  </a:lnTo>
                  <a:lnTo>
                    <a:pt x="7" y="33"/>
                  </a:lnTo>
                  <a:lnTo>
                    <a:pt x="7" y="33"/>
                  </a:lnTo>
                  <a:lnTo>
                    <a:pt x="7" y="30"/>
                  </a:lnTo>
                  <a:lnTo>
                    <a:pt x="7" y="25"/>
                  </a:lnTo>
                  <a:lnTo>
                    <a:pt x="7" y="25"/>
                  </a:lnTo>
                  <a:lnTo>
                    <a:pt x="5" y="22"/>
                  </a:lnTo>
                  <a:lnTo>
                    <a:pt x="5" y="17"/>
                  </a:lnTo>
                  <a:lnTo>
                    <a:pt x="7" y="17"/>
                  </a:lnTo>
                  <a:lnTo>
                    <a:pt x="10" y="15"/>
                  </a:lnTo>
                  <a:lnTo>
                    <a:pt x="10" y="15"/>
                  </a:lnTo>
                  <a:lnTo>
                    <a:pt x="12" y="15"/>
                  </a:lnTo>
                  <a:lnTo>
                    <a:pt x="15" y="12"/>
                  </a:lnTo>
                  <a:lnTo>
                    <a:pt x="18" y="12"/>
                  </a:lnTo>
                  <a:lnTo>
                    <a:pt x="20" y="12"/>
                  </a:lnTo>
                  <a:lnTo>
                    <a:pt x="20" y="15"/>
                  </a:lnTo>
                  <a:lnTo>
                    <a:pt x="23" y="15"/>
                  </a:lnTo>
                  <a:lnTo>
                    <a:pt x="25" y="20"/>
                  </a:lnTo>
                  <a:lnTo>
                    <a:pt x="25" y="22"/>
                  </a:lnTo>
                  <a:lnTo>
                    <a:pt x="28" y="25"/>
                  </a:lnTo>
                  <a:lnTo>
                    <a:pt x="30" y="28"/>
                  </a:lnTo>
                  <a:lnTo>
                    <a:pt x="30" y="28"/>
                  </a:lnTo>
                  <a:lnTo>
                    <a:pt x="33" y="30"/>
                  </a:lnTo>
                  <a:lnTo>
                    <a:pt x="40" y="35"/>
                  </a:lnTo>
                  <a:lnTo>
                    <a:pt x="40" y="35"/>
                  </a:lnTo>
                  <a:lnTo>
                    <a:pt x="43" y="38"/>
                  </a:lnTo>
                  <a:lnTo>
                    <a:pt x="43" y="38"/>
                  </a:lnTo>
                  <a:lnTo>
                    <a:pt x="43" y="40"/>
                  </a:lnTo>
                  <a:lnTo>
                    <a:pt x="43" y="40"/>
                  </a:lnTo>
                  <a:lnTo>
                    <a:pt x="43" y="40"/>
                  </a:lnTo>
                  <a:lnTo>
                    <a:pt x="43" y="40"/>
                  </a:lnTo>
                  <a:lnTo>
                    <a:pt x="40" y="43"/>
                  </a:lnTo>
                  <a:lnTo>
                    <a:pt x="38" y="40"/>
                  </a:lnTo>
                  <a:lnTo>
                    <a:pt x="35" y="43"/>
                  </a:lnTo>
                  <a:lnTo>
                    <a:pt x="38" y="43"/>
                  </a:lnTo>
                  <a:lnTo>
                    <a:pt x="38" y="45"/>
                  </a:lnTo>
                  <a:lnTo>
                    <a:pt x="38" y="45"/>
                  </a:lnTo>
                  <a:lnTo>
                    <a:pt x="35" y="45"/>
                  </a:lnTo>
                  <a:lnTo>
                    <a:pt x="35" y="45"/>
                  </a:lnTo>
                  <a:lnTo>
                    <a:pt x="33" y="45"/>
                  </a:lnTo>
                  <a:lnTo>
                    <a:pt x="28" y="45"/>
                  </a:lnTo>
                  <a:lnTo>
                    <a:pt x="28" y="45"/>
                  </a:lnTo>
                  <a:lnTo>
                    <a:pt x="25" y="43"/>
                  </a:lnTo>
                  <a:lnTo>
                    <a:pt x="23" y="43"/>
                  </a:lnTo>
                  <a:lnTo>
                    <a:pt x="23" y="43"/>
                  </a:lnTo>
                  <a:lnTo>
                    <a:pt x="20" y="43"/>
                  </a:lnTo>
                  <a:lnTo>
                    <a:pt x="18" y="43"/>
                  </a:lnTo>
                  <a:lnTo>
                    <a:pt x="15" y="43"/>
                  </a:lnTo>
                  <a:lnTo>
                    <a:pt x="15" y="43"/>
                  </a:lnTo>
                  <a:lnTo>
                    <a:pt x="12" y="40"/>
                  </a:lnTo>
                  <a:lnTo>
                    <a:pt x="12" y="40"/>
                  </a:lnTo>
                  <a:lnTo>
                    <a:pt x="10" y="38"/>
                  </a:lnTo>
                  <a:lnTo>
                    <a:pt x="10" y="40"/>
                  </a:lnTo>
                  <a:lnTo>
                    <a:pt x="10" y="45"/>
                  </a:lnTo>
                  <a:lnTo>
                    <a:pt x="10" y="48"/>
                  </a:lnTo>
                  <a:lnTo>
                    <a:pt x="10" y="53"/>
                  </a:lnTo>
                  <a:lnTo>
                    <a:pt x="10" y="56"/>
                  </a:lnTo>
                  <a:lnTo>
                    <a:pt x="12" y="61"/>
                  </a:lnTo>
                  <a:lnTo>
                    <a:pt x="12" y="61"/>
                  </a:lnTo>
                  <a:lnTo>
                    <a:pt x="15" y="63"/>
                  </a:lnTo>
                  <a:lnTo>
                    <a:pt x="18" y="63"/>
                  </a:lnTo>
                  <a:lnTo>
                    <a:pt x="15" y="61"/>
                  </a:lnTo>
                  <a:lnTo>
                    <a:pt x="15" y="58"/>
                  </a:lnTo>
                  <a:lnTo>
                    <a:pt x="18" y="61"/>
                  </a:lnTo>
                  <a:lnTo>
                    <a:pt x="20" y="61"/>
                  </a:lnTo>
                  <a:lnTo>
                    <a:pt x="23" y="61"/>
                  </a:lnTo>
                  <a:lnTo>
                    <a:pt x="23" y="61"/>
                  </a:lnTo>
                  <a:lnTo>
                    <a:pt x="25" y="61"/>
                  </a:lnTo>
                  <a:lnTo>
                    <a:pt x="25" y="63"/>
                  </a:lnTo>
                  <a:lnTo>
                    <a:pt x="25" y="66"/>
                  </a:lnTo>
                  <a:lnTo>
                    <a:pt x="25" y="66"/>
                  </a:lnTo>
                  <a:lnTo>
                    <a:pt x="28" y="68"/>
                  </a:lnTo>
                  <a:lnTo>
                    <a:pt x="28" y="68"/>
                  </a:lnTo>
                  <a:lnTo>
                    <a:pt x="28" y="68"/>
                  </a:lnTo>
                  <a:lnTo>
                    <a:pt x="25" y="68"/>
                  </a:lnTo>
                  <a:lnTo>
                    <a:pt x="25" y="68"/>
                  </a:lnTo>
                  <a:lnTo>
                    <a:pt x="23" y="68"/>
                  </a:lnTo>
                  <a:lnTo>
                    <a:pt x="20" y="68"/>
                  </a:lnTo>
                  <a:lnTo>
                    <a:pt x="20" y="71"/>
                  </a:lnTo>
                  <a:lnTo>
                    <a:pt x="20" y="73"/>
                  </a:lnTo>
                  <a:lnTo>
                    <a:pt x="20" y="76"/>
                  </a:lnTo>
                  <a:lnTo>
                    <a:pt x="23" y="73"/>
                  </a:lnTo>
                  <a:lnTo>
                    <a:pt x="23" y="73"/>
                  </a:lnTo>
                  <a:lnTo>
                    <a:pt x="25" y="73"/>
                  </a:lnTo>
                  <a:lnTo>
                    <a:pt x="28" y="76"/>
                  </a:lnTo>
                  <a:lnTo>
                    <a:pt x="28" y="76"/>
                  </a:lnTo>
                  <a:lnTo>
                    <a:pt x="30" y="76"/>
                  </a:lnTo>
                  <a:lnTo>
                    <a:pt x="30" y="76"/>
                  </a:lnTo>
                  <a:lnTo>
                    <a:pt x="33" y="78"/>
                  </a:lnTo>
                  <a:lnTo>
                    <a:pt x="33" y="78"/>
                  </a:lnTo>
                  <a:lnTo>
                    <a:pt x="35" y="81"/>
                  </a:lnTo>
                  <a:lnTo>
                    <a:pt x="35" y="83"/>
                  </a:lnTo>
                  <a:lnTo>
                    <a:pt x="35" y="83"/>
                  </a:lnTo>
                  <a:lnTo>
                    <a:pt x="35" y="89"/>
                  </a:lnTo>
                  <a:lnTo>
                    <a:pt x="35" y="91"/>
                  </a:lnTo>
                  <a:lnTo>
                    <a:pt x="35" y="94"/>
                  </a:lnTo>
                  <a:lnTo>
                    <a:pt x="38" y="96"/>
                  </a:lnTo>
                  <a:lnTo>
                    <a:pt x="38" y="99"/>
                  </a:lnTo>
                  <a:lnTo>
                    <a:pt x="38" y="104"/>
                  </a:lnTo>
                  <a:lnTo>
                    <a:pt x="38" y="106"/>
                  </a:lnTo>
                  <a:lnTo>
                    <a:pt x="40" y="111"/>
                  </a:lnTo>
                  <a:lnTo>
                    <a:pt x="40" y="119"/>
                  </a:lnTo>
                  <a:lnTo>
                    <a:pt x="43" y="119"/>
                  </a:lnTo>
                  <a:lnTo>
                    <a:pt x="48" y="119"/>
                  </a:lnTo>
                  <a:lnTo>
                    <a:pt x="51" y="119"/>
                  </a:lnTo>
                  <a:lnTo>
                    <a:pt x="53" y="119"/>
                  </a:lnTo>
                  <a:lnTo>
                    <a:pt x="53" y="117"/>
                  </a:lnTo>
                  <a:lnTo>
                    <a:pt x="56" y="117"/>
                  </a:lnTo>
                  <a:lnTo>
                    <a:pt x="56" y="117"/>
                  </a:lnTo>
                  <a:lnTo>
                    <a:pt x="58" y="117"/>
                  </a:lnTo>
                  <a:lnTo>
                    <a:pt x="58" y="111"/>
                  </a:lnTo>
                  <a:lnTo>
                    <a:pt x="58" y="109"/>
                  </a:lnTo>
                  <a:lnTo>
                    <a:pt x="61" y="106"/>
                  </a:lnTo>
                  <a:lnTo>
                    <a:pt x="63" y="104"/>
                  </a:lnTo>
                  <a:lnTo>
                    <a:pt x="66" y="104"/>
                  </a:lnTo>
                  <a:lnTo>
                    <a:pt x="71" y="101"/>
                  </a:lnTo>
                  <a:lnTo>
                    <a:pt x="76" y="101"/>
                  </a:lnTo>
                  <a:lnTo>
                    <a:pt x="79" y="104"/>
                  </a:lnTo>
                  <a:lnTo>
                    <a:pt x="81" y="104"/>
                  </a:lnTo>
                  <a:lnTo>
                    <a:pt x="84" y="104"/>
                  </a:lnTo>
                  <a:lnTo>
                    <a:pt x="84" y="104"/>
                  </a:lnTo>
                  <a:lnTo>
                    <a:pt x="84" y="101"/>
                  </a:lnTo>
                  <a:lnTo>
                    <a:pt x="84" y="101"/>
                  </a:lnTo>
                  <a:lnTo>
                    <a:pt x="84" y="99"/>
                  </a:lnTo>
                  <a:lnTo>
                    <a:pt x="86" y="99"/>
                  </a:lnTo>
                  <a:lnTo>
                    <a:pt x="89" y="99"/>
                  </a:lnTo>
                  <a:lnTo>
                    <a:pt x="91" y="99"/>
                  </a:lnTo>
                  <a:lnTo>
                    <a:pt x="91" y="99"/>
                  </a:lnTo>
                  <a:lnTo>
                    <a:pt x="94" y="99"/>
                  </a:lnTo>
                  <a:lnTo>
                    <a:pt x="99" y="99"/>
                  </a:lnTo>
                  <a:lnTo>
                    <a:pt x="99" y="99"/>
                  </a:lnTo>
                  <a:lnTo>
                    <a:pt x="102" y="101"/>
                  </a:lnTo>
                  <a:lnTo>
                    <a:pt x="102" y="101"/>
                  </a:lnTo>
                  <a:lnTo>
                    <a:pt x="104" y="101"/>
                  </a:lnTo>
                  <a:lnTo>
                    <a:pt x="104" y="104"/>
                  </a:lnTo>
                  <a:lnTo>
                    <a:pt x="104" y="104"/>
                  </a:lnTo>
                  <a:lnTo>
                    <a:pt x="104" y="106"/>
                  </a:lnTo>
                  <a:lnTo>
                    <a:pt x="107" y="106"/>
                  </a:lnTo>
                  <a:lnTo>
                    <a:pt x="107" y="106"/>
                  </a:lnTo>
                  <a:lnTo>
                    <a:pt x="112" y="106"/>
                  </a:lnTo>
                  <a:lnTo>
                    <a:pt x="114" y="109"/>
                  </a:lnTo>
                  <a:lnTo>
                    <a:pt x="117" y="109"/>
                  </a:lnTo>
                  <a:lnTo>
                    <a:pt x="119" y="109"/>
                  </a:lnTo>
                  <a:lnTo>
                    <a:pt x="122" y="111"/>
                  </a:lnTo>
                  <a:lnTo>
                    <a:pt x="125" y="111"/>
                  </a:lnTo>
                  <a:lnTo>
                    <a:pt x="125" y="114"/>
                  </a:lnTo>
                  <a:lnTo>
                    <a:pt x="127" y="114"/>
                  </a:lnTo>
                  <a:lnTo>
                    <a:pt x="127" y="111"/>
                  </a:lnTo>
                  <a:lnTo>
                    <a:pt x="130" y="111"/>
                  </a:lnTo>
                  <a:lnTo>
                    <a:pt x="130" y="111"/>
                  </a:lnTo>
                  <a:lnTo>
                    <a:pt x="132" y="111"/>
                  </a:lnTo>
                  <a:lnTo>
                    <a:pt x="135" y="111"/>
                  </a:lnTo>
                  <a:lnTo>
                    <a:pt x="142" y="117"/>
                  </a:lnTo>
                  <a:lnTo>
                    <a:pt x="142" y="117"/>
                  </a:lnTo>
                  <a:lnTo>
                    <a:pt x="142" y="117"/>
                  </a:lnTo>
                  <a:lnTo>
                    <a:pt x="142" y="117"/>
                  </a:lnTo>
                  <a:lnTo>
                    <a:pt x="145" y="117"/>
                  </a:lnTo>
                  <a:lnTo>
                    <a:pt x="145" y="119"/>
                  </a:lnTo>
                  <a:lnTo>
                    <a:pt x="147" y="122"/>
                  </a:lnTo>
                  <a:lnTo>
                    <a:pt x="150" y="124"/>
                  </a:lnTo>
                  <a:lnTo>
                    <a:pt x="153" y="124"/>
                  </a:lnTo>
                  <a:lnTo>
                    <a:pt x="158" y="127"/>
                  </a:lnTo>
                  <a:lnTo>
                    <a:pt x="160" y="129"/>
                  </a:lnTo>
                  <a:lnTo>
                    <a:pt x="163" y="132"/>
                  </a:lnTo>
                  <a:lnTo>
                    <a:pt x="165" y="137"/>
                  </a:lnTo>
                  <a:lnTo>
                    <a:pt x="165" y="137"/>
                  </a:lnTo>
                  <a:lnTo>
                    <a:pt x="173" y="137"/>
                  </a:lnTo>
                  <a:lnTo>
                    <a:pt x="181" y="137"/>
                  </a:lnTo>
                  <a:lnTo>
                    <a:pt x="181" y="137"/>
                  </a:lnTo>
                  <a:lnTo>
                    <a:pt x="183" y="142"/>
                  </a:lnTo>
                  <a:lnTo>
                    <a:pt x="183" y="145"/>
                  </a:lnTo>
                  <a:lnTo>
                    <a:pt x="183" y="147"/>
                  </a:lnTo>
                  <a:lnTo>
                    <a:pt x="183" y="150"/>
                  </a:lnTo>
                  <a:lnTo>
                    <a:pt x="183" y="150"/>
                  </a:lnTo>
                  <a:lnTo>
                    <a:pt x="183" y="150"/>
                  </a:lnTo>
                  <a:lnTo>
                    <a:pt x="183" y="152"/>
                  </a:lnTo>
                  <a:lnTo>
                    <a:pt x="186" y="152"/>
                  </a:lnTo>
                  <a:lnTo>
                    <a:pt x="186" y="155"/>
                  </a:lnTo>
                  <a:lnTo>
                    <a:pt x="186" y="157"/>
                  </a:lnTo>
                  <a:lnTo>
                    <a:pt x="186" y="157"/>
                  </a:lnTo>
                  <a:lnTo>
                    <a:pt x="186" y="160"/>
                  </a:lnTo>
                  <a:lnTo>
                    <a:pt x="188" y="160"/>
                  </a:lnTo>
                  <a:lnTo>
                    <a:pt x="188" y="160"/>
                  </a:lnTo>
                  <a:lnTo>
                    <a:pt x="188" y="160"/>
                  </a:lnTo>
                  <a:lnTo>
                    <a:pt x="191" y="162"/>
                  </a:lnTo>
                  <a:lnTo>
                    <a:pt x="193" y="162"/>
                  </a:lnTo>
                  <a:lnTo>
                    <a:pt x="196" y="165"/>
                  </a:lnTo>
                  <a:lnTo>
                    <a:pt x="196" y="165"/>
                  </a:lnTo>
                  <a:lnTo>
                    <a:pt x="198" y="165"/>
                  </a:lnTo>
                  <a:lnTo>
                    <a:pt x="201" y="162"/>
                  </a:lnTo>
                  <a:lnTo>
                    <a:pt x="201" y="165"/>
                  </a:lnTo>
                  <a:lnTo>
                    <a:pt x="204" y="165"/>
                  </a:lnTo>
                  <a:lnTo>
                    <a:pt x="206" y="167"/>
                  </a:lnTo>
                  <a:lnTo>
                    <a:pt x="206" y="167"/>
                  </a:lnTo>
                  <a:lnTo>
                    <a:pt x="209" y="170"/>
                  </a:lnTo>
                  <a:lnTo>
                    <a:pt x="209" y="170"/>
                  </a:lnTo>
                  <a:lnTo>
                    <a:pt x="211" y="167"/>
                  </a:lnTo>
                  <a:lnTo>
                    <a:pt x="211" y="167"/>
                  </a:lnTo>
                  <a:lnTo>
                    <a:pt x="214" y="167"/>
                  </a:lnTo>
                  <a:lnTo>
                    <a:pt x="214" y="167"/>
                  </a:lnTo>
                  <a:lnTo>
                    <a:pt x="216" y="167"/>
                  </a:lnTo>
                  <a:lnTo>
                    <a:pt x="216" y="167"/>
                  </a:lnTo>
                  <a:lnTo>
                    <a:pt x="219" y="165"/>
                  </a:lnTo>
                  <a:lnTo>
                    <a:pt x="221" y="165"/>
                  </a:lnTo>
                  <a:lnTo>
                    <a:pt x="221" y="165"/>
                  </a:lnTo>
                  <a:lnTo>
                    <a:pt x="221" y="160"/>
                  </a:lnTo>
                  <a:lnTo>
                    <a:pt x="221" y="160"/>
                  </a:lnTo>
                  <a:lnTo>
                    <a:pt x="224" y="157"/>
                  </a:lnTo>
                  <a:lnTo>
                    <a:pt x="221" y="157"/>
                  </a:lnTo>
                  <a:lnTo>
                    <a:pt x="221" y="157"/>
                  </a:lnTo>
                  <a:lnTo>
                    <a:pt x="221" y="155"/>
                  </a:lnTo>
                  <a:lnTo>
                    <a:pt x="221" y="155"/>
                  </a:lnTo>
                  <a:lnTo>
                    <a:pt x="221" y="155"/>
                  </a:lnTo>
                  <a:lnTo>
                    <a:pt x="224" y="155"/>
                  </a:lnTo>
                  <a:lnTo>
                    <a:pt x="229" y="152"/>
                  </a:lnTo>
                  <a:lnTo>
                    <a:pt x="232" y="152"/>
                  </a:lnTo>
                  <a:lnTo>
                    <a:pt x="234" y="150"/>
                  </a:lnTo>
                  <a:lnTo>
                    <a:pt x="237" y="150"/>
                  </a:lnTo>
                  <a:lnTo>
                    <a:pt x="237" y="150"/>
                  </a:lnTo>
                  <a:lnTo>
                    <a:pt x="239" y="150"/>
                  </a:lnTo>
                  <a:lnTo>
                    <a:pt x="239" y="150"/>
                  </a:lnTo>
                  <a:lnTo>
                    <a:pt x="239" y="147"/>
                  </a:lnTo>
                  <a:lnTo>
                    <a:pt x="239" y="147"/>
                  </a:lnTo>
                  <a:lnTo>
                    <a:pt x="244" y="145"/>
                  </a:lnTo>
                  <a:lnTo>
                    <a:pt x="244" y="142"/>
                  </a:lnTo>
                  <a:lnTo>
                    <a:pt x="247" y="142"/>
                  </a:lnTo>
                  <a:lnTo>
                    <a:pt x="247" y="137"/>
                  </a:lnTo>
                  <a:lnTo>
                    <a:pt x="247" y="134"/>
                  </a:lnTo>
                  <a:lnTo>
                    <a:pt x="247" y="129"/>
                  </a:lnTo>
                  <a:lnTo>
                    <a:pt x="247" y="127"/>
                  </a:lnTo>
                  <a:lnTo>
                    <a:pt x="247" y="124"/>
                  </a:lnTo>
                  <a:lnTo>
                    <a:pt x="249" y="124"/>
                  </a:lnTo>
                  <a:lnTo>
                    <a:pt x="252" y="122"/>
                  </a:lnTo>
                  <a:lnTo>
                    <a:pt x="257" y="122"/>
                  </a:lnTo>
                  <a:lnTo>
                    <a:pt x="262" y="122"/>
                  </a:lnTo>
                  <a:lnTo>
                    <a:pt x="262" y="119"/>
                  </a:lnTo>
                  <a:lnTo>
                    <a:pt x="262" y="117"/>
                  </a:lnTo>
                  <a:lnTo>
                    <a:pt x="262" y="117"/>
                  </a:lnTo>
                  <a:lnTo>
                    <a:pt x="262" y="114"/>
                  </a:lnTo>
                  <a:lnTo>
                    <a:pt x="265" y="114"/>
                  </a:lnTo>
                  <a:lnTo>
                    <a:pt x="267" y="117"/>
                  </a:lnTo>
                  <a:lnTo>
                    <a:pt x="270" y="119"/>
                  </a:lnTo>
                  <a:lnTo>
                    <a:pt x="275" y="119"/>
                  </a:lnTo>
                  <a:lnTo>
                    <a:pt x="277" y="119"/>
                  </a:lnTo>
                  <a:lnTo>
                    <a:pt x="280" y="119"/>
                  </a:lnTo>
                  <a:lnTo>
                    <a:pt x="277" y="117"/>
                  </a:lnTo>
                  <a:close/>
                </a:path>
              </a:pathLst>
            </a:custGeom>
            <a:solidFill>
              <a:schemeClr val="bg2">
                <a:lumMod val="60000"/>
                <a:lumOff val="40000"/>
              </a:schemeClr>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177" name="Freeform 1795">
              <a:extLst>
                <a:ext uri="{FF2B5EF4-FFF2-40B4-BE49-F238E27FC236}">
                  <a16:creationId xmlns:a16="http://schemas.microsoft.com/office/drawing/2014/main" id="{68FEB966-0E8E-F44E-AA63-52C428A11DDA}"/>
                </a:ext>
              </a:extLst>
            </p:cNvPr>
            <p:cNvSpPr>
              <a:spLocks noEditPoints="1"/>
            </p:cNvSpPr>
            <p:nvPr/>
          </p:nvSpPr>
          <p:spPr bwMode="auto">
            <a:xfrm>
              <a:off x="6413382" y="2240637"/>
              <a:ext cx="595408" cy="229003"/>
            </a:xfrm>
            <a:custGeom>
              <a:avLst/>
              <a:gdLst>
                <a:gd name="T0" fmla="*/ 362 w 364"/>
                <a:gd name="T1" fmla="*/ 107 h 140"/>
                <a:gd name="T2" fmla="*/ 357 w 364"/>
                <a:gd name="T3" fmla="*/ 99 h 140"/>
                <a:gd name="T4" fmla="*/ 351 w 364"/>
                <a:gd name="T5" fmla="*/ 89 h 140"/>
                <a:gd name="T6" fmla="*/ 351 w 364"/>
                <a:gd name="T7" fmla="*/ 81 h 140"/>
                <a:gd name="T8" fmla="*/ 346 w 364"/>
                <a:gd name="T9" fmla="*/ 66 h 140"/>
                <a:gd name="T10" fmla="*/ 344 w 364"/>
                <a:gd name="T11" fmla="*/ 58 h 140"/>
                <a:gd name="T12" fmla="*/ 351 w 364"/>
                <a:gd name="T13" fmla="*/ 48 h 140"/>
                <a:gd name="T14" fmla="*/ 346 w 364"/>
                <a:gd name="T15" fmla="*/ 46 h 140"/>
                <a:gd name="T16" fmla="*/ 331 w 364"/>
                <a:gd name="T17" fmla="*/ 38 h 140"/>
                <a:gd name="T18" fmla="*/ 329 w 364"/>
                <a:gd name="T19" fmla="*/ 25 h 140"/>
                <a:gd name="T20" fmla="*/ 321 w 364"/>
                <a:gd name="T21" fmla="*/ 18 h 140"/>
                <a:gd name="T22" fmla="*/ 313 w 364"/>
                <a:gd name="T23" fmla="*/ 10 h 140"/>
                <a:gd name="T24" fmla="*/ 303 w 364"/>
                <a:gd name="T25" fmla="*/ 13 h 140"/>
                <a:gd name="T26" fmla="*/ 283 w 364"/>
                <a:gd name="T27" fmla="*/ 18 h 140"/>
                <a:gd name="T28" fmla="*/ 252 w 364"/>
                <a:gd name="T29" fmla="*/ 20 h 140"/>
                <a:gd name="T30" fmla="*/ 204 w 364"/>
                <a:gd name="T31" fmla="*/ 15 h 140"/>
                <a:gd name="T32" fmla="*/ 186 w 364"/>
                <a:gd name="T33" fmla="*/ 7 h 140"/>
                <a:gd name="T34" fmla="*/ 165 w 364"/>
                <a:gd name="T35" fmla="*/ 2 h 140"/>
                <a:gd name="T36" fmla="*/ 104 w 364"/>
                <a:gd name="T37" fmla="*/ 20 h 140"/>
                <a:gd name="T38" fmla="*/ 61 w 364"/>
                <a:gd name="T39" fmla="*/ 23 h 140"/>
                <a:gd name="T40" fmla="*/ 64 w 364"/>
                <a:gd name="T41" fmla="*/ 30 h 140"/>
                <a:gd name="T42" fmla="*/ 56 w 364"/>
                <a:gd name="T43" fmla="*/ 38 h 140"/>
                <a:gd name="T44" fmla="*/ 38 w 364"/>
                <a:gd name="T45" fmla="*/ 35 h 140"/>
                <a:gd name="T46" fmla="*/ 25 w 364"/>
                <a:gd name="T47" fmla="*/ 38 h 140"/>
                <a:gd name="T48" fmla="*/ 10 w 364"/>
                <a:gd name="T49" fmla="*/ 56 h 140"/>
                <a:gd name="T50" fmla="*/ 20 w 364"/>
                <a:gd name="T51" fmla="*/ 61 h 140"/>
                <a:gd name="T52" fmla="*/ 25 w 364"/>
                <a:gd name="T53" fmla="*/ 71 h 140"/>
                <a:gd name="T54" fmla="*/ 30 w 364"/>
                <a:gd name="T55" fmla="*/ 81 h 140"/>
                <a:gd name="T56" fmla="*/ 20 w 364"/>
                <a:gd name="T57" fmla="*/ 76 h 140"/>
                <a:gd name="T58" fmla="*/ 15 w 364"/>
                <a:gd name="T59" fmla="*/ 84 h 140"/>
                <a:gd name="T60" fmla="*/ 30 w 364"/>
                <a:gd name="T61" fmla="*/ 89 h 140"/>
                <a:gd name="T62" fmla="*/ 35 w 364"/>
                <a:gd name="T63" fmla="*/ 104 h 140"/>
                <a:gd name="T64" fmla="*/ 35 w 364"/>
                <a:gd name="T65" fmla="*/ 114 h 140"/>
                <a:gd name="T66" fmla="*/ 41 w 364"/>
                <a:gd name="T67" fmla="*/ 117 h 140"/>
                <a:gd name="T68" fmla="*/ 48 w 364"/>
                <a:gd name="T69" fmla="*/ 122 h 140"/>
                <a:gd name="T70" fmla="*/ 69 w 364"/>
                <a:gd name="T71" fmla="*/ 119 h 140"/>
                <a:gd name="T72" fmla="*/ 89 w 364"/>
                <a:gd name="T73" fmla="*/ 130 h 140"/>
                <a:gd name="T74" fmla="*/ 99 w 364"/>
                <a:gd name="T75" fmla="*/ 117 h 140"/>
                <a:gd name="T76" fmla="*/ 135 w 364"/>
                <a:gd name="T77" fmla="*/ 135 h 140"/>
                <a:gd name="T78" fmla="*/ 168 w 364"/>
                <a:gd name="T79" fmla="*/ 122 h 140"/>
                <a:gd name="T80" fmla="*/ 193 w 364"/>
                <a:gd name="T81" fmla="*/ 119 h 140"/>
                <a:gd name="T82" fmla="*/ 201 w 364"/>
                <a:gd name="T83" fmla="*/ 124 h 140"/>
                <a:gd name="T84" fmla="*/ 204 w 364"/>
                <a:gd name="T85" fmla="*/ 137 h 140"/>
                <a:gd name="T86" fmla="*/ 209 w 364"/>
                <a:gd name="T87" fmla="*/ 124 h 140"/>
                <a:gd name="T88" fmla="*/ 222 w 364"/>
                <a:gd name="T89" fmla="*/ 122 h 140"/>
                <a:gd name="T90" fmla="*/ 244 w 364"/>
                <a:gd name="T91" fmla="*/ 114 h 140"/>
                <a:gd name="T92" fmla="*/ 270 w 364"/>
                <a:gd name="T93" fmla="*/ 119 h 140"/>
                <a:gd name="T94" fmla="*/ 303 w 364"/>
                <a:gd name="T95" fmla="*/ 112 h 140"/>
                <a:gd name="T96" fmla="*/ 318 w 364"/>
                <a:gd name="T97" fmla="*/ 109 h 140"/>
                <a:gd name="T98" fmla="*/ 334 w 364"/>
                <a:gd name="T99" fmla="*/ 104 h 140"/>
                <a:gd name="T100" fmla="*/ 351 w 364"/>
                <a:gd name="T101" fmla="*/ 107 h 140"/>
                <a:gd name="T102" fmla="*/ 357 w 364"/>
                <a:gd name="T103" fmla="*/ 112 h 140"/>
                <a:gd name="T104" fmla="*/ 13 w 364"/>
                <a:gd name="T105" fmla="*/ 33 h 140"/>
                <a:gd name="T106" fmla="*/ 10 w 364"/>
                <a:gd name="T107" fmla="*/ 43 h 140"/>
                <a:gd name="T108" fmla="*/ 33 w 364"/>
                <a:gd name="T109" fmla="*/ 23 h 140"/>
                <a:gd name="T110" fmla="*/ 61 w 364"/>
                <a:gd name="T111" fmla="*/ 20 h 140"/>
                <a:gd name="T112" fmla="*/ 38 w 364"/>
                <a:gd name="T113" fmla="*/ 2 h 140"/>
                <a:gd name="T114" fmla="*/ 28 w 364"/>
                <a:gd name="T115" fmla="*/ 0 h 140"/>
                <a:gd name="T116" fmla="*/ 15 w 364"/>
                <a:gd name="T117" fmla="*/ 2 h 140"/>
                <a:gd name="T118" fmla="*/ 13 w 364"/>
                <a:gd name="T119" fmla="*/ 10 h 140"/>
                <a:gd name="T120" fmla="*/ 13 w 364"/>
                <a:gd name="T121" fmla="*/ 20 h 140"/>
                <a:gd name="T122" fmla="*/ 7 w 364"/>
                <a:gd name="T123" fmla="*/ 3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64" h="140">
                  <a:moveTo>
                    <a:pt x="5" y="41"/>
                  </a:moveTo>
                  <a:lnTo>
                    <a:pt x="2" y="41"/>
                  </a:lnTo>
                  <a:lnTo>
                    <a:pt x="0" y="43"/>
                  </a:lnTo>
                  <a:lnTo>
                    <a:pt x="2" y="43"/>
                  </a:lnTo>
                  <a:lnTo>
                    <a:pt x="5" y="43"/>
                  </a:lnTo>
                  <a:lnTo>
                    <a:pt x="7" y="41"/>
                  </a:lnTo>
                  <a:lnTo>
                    <a:pt x="5" y="41"/>
                  </a:lnTo>
                  <a:lnTo>
                    <a:pt x="5" y="41"/>
                  </a:lnTo>
                  <a:close/>
                  <a:moveTo>
                    <a:pt x="362" y="107"/>
                  </a:moveTo>
                  <a:lnTo>
                    <a:pt x="364" y="107"/>
                  </a:lnTo>
                  <a:lnTo>
                    <a:pt x="364" y="107"/>
                  </a:lnTo>
                  <a:lnTo>
                    <a:pt x="362" y="104"/>
                  </a:lnTo>
                  <a:lnTo>
                    <a:pt x="359" y="104"/>
                  </a:lnTo>
                  <a:lnTo>
                    <a:pt x="359" y="102"/>
                  </a:lnTo>
                  <a:lnTo>
                    <a:pt x="359" y="102"/>
                  </a:lnTo>
                  <a:lnTo>
                    <a:pt x="359" y="99"/>
                  </a:lnTo>
                  <a:lnTo>
                    <a:pt x="359" y="99"/>
                  </a:lnTo>
                  <a:lnTo>
                    <a:pt x="357" y="99"/>
                  </a:lnTo>
                  <a:lnTo>
                    <a:pt x="357" y="96"/>
                  </a:lnTo>
                  <a:lnTo>
                    <a:pt x="359" y="96"/>
                  </a:lnTo>
                  <a:lnTo>
                    <a:pt x="357" y="96"/>
                  </a:lnTo>
                  <a:lnTo>
                    <a:pt x="354" y="94"/>
                  </a:lnTo>
                  <a:lnTo>
                    <a:pt x="354" y="91"/>
                  </a:lnTo>
                  <a:lnTo>
                    <a:pt x="351" y="91"/>
                  </a:lnTo>
                  <a:lnTo>
                    <a:pt x="351" y="91"/>
                  </a:lnTo>
                  <a:lnTo>
                    <a:pt x="351" y="91"/>
                  </a:lnTo>
                  <a:lnTo>
                    <a:pt x="351" y="89"/>
                  </a:lnTo>
                  <a:lnTo>
                    <a:pt x="351" y="86"/>
                  </a:lnTo>
                  <a:lnTo>
                    <a:pt x="351" y="86"/>
                  </a:lnTo>
                  <a:lnTo>
                    <a:pt x="351" y="84"/>
                  </a:lnTo>
                  <a:lnTo>
                    <a:pt x="351" y="84"/>
                  </a:lnTo>
                  <a:lnTo>
                    <a:pt x="354" y="81"/>
                  </a:lnTo>
                  <a:lnTo>
                    <a:pt x="354" y="81"/>
                  </a:lnTo>
                  <a:lnTo>
                    <a:pt x="354" y="81"/>
                  </a:lnTo>
                  <a:lnTo>
                    <a:pt x="351" y="81"/>
                  </a:lnTo>
                  <a:lnTo>
                    <a:pt x="351" y="81"/>
                  </a:lnTo>
                  <a:lnTo>
                    <a:pt x="351" y="81"/>
                  </a:lnTo>
                  <a:lnTo>
                    <a:pt x="351" y="79"/>
                  </a:lnTo>
                  <a:lnTo>
                    <a:pt x="351" y="76"/>
                  </a:lnTo>
                  <a:lnTo>
                    <a:pt x="349" y="74"/>
                  </a:lnTo>
                  <a:lnTo>
                    <a:pt x="349" y="74"/>
                  </a:lnTo>
                  <a:lnTo>
                    <a:pt x="349" y="71"/>
                  </a:lnTo>
                  <a:lnTo>
                    <a:pt x="349" y="68"/>
                  </a:lnTo>
                  <a:lnTo>
                    <a:pt x="346" y="68"/>
                  </a:lnTo>
                  <a:lnTo>
                    <a:pt x="346" y="66"/>
                  </a:lnTo>
                  <a:lnTo>
                    <a:pt x="346" y="66"/>
                  </a:lnTo>
                  <a:lnTo>
                    <a:pt x="346" y="66"/>
                  </a:lnTo>
                  <a:lnTo>
                    <a:pt x="346" y="63"/>
                  </a:lnTo>
                  <a:lnTo>
                    <a:pt x="346" y="63"/>
                  </a:lnTo>
                  <a:lnTo>
                    <a:pt x="346" y="63"/>
                  </a:lnTo>
                  <a:lnTo>
                    <a:pt x="344" y="61"/>
                  </a:lnTo>
                  <a:lnTo>
                    <a:pt x="344" y="61"/>
                  </a:lnTo>
                  <a:lnTo>
                    <a:pt x="344" y="58"/>
                  </a:lnTo>
                  <a:lnTo>
                    <a:pt x="344" y="58"/>
                  </a:lnTo>
                  <a:lnTo>
                    <a:pt x="344" y="58"/>
                  </a:lnTo>
                  <a:lnTo>
                    <a:pt x="344" y="58"/>
                  </a:lnTo>
                  <a:lnTo>
                    <a:pt x="344" y="58"/>
                  </a:lnTo>
                  <a:lnTo>
                    <a:pt x="346" y="58"/>
                  </a:lnTo>
                  <a:lnTo>
                    <a:pt x="349" y="58"/>
                  </a:lnTo>
                  <a:lnTo>
                    <a:pt x="349" y="56"/>
                  </a:lnTo>
                  <a:lnTo>
                    <a:pt x="349" y="51"/>
                  </a:lnTo>
                  <a:lnTo>
                    <a:pt x="351" y="51"/>
                  </a:lnTo>
                  <a:lnTo>
                    <a:pt x="351" y="48"/>
                  </a:lnTo>
                  <a:lnTo>
                    <a:pt x="354" y="51"/>
                  </a:lnTo>
                  <a:lnTo>
                    <a:pt x="357" y="51"/>
                  </a:lnTo>
                  <a:lnTo>
                    <a:pt x="357" y="51"/>
                  </a:lnTo>
                  <a:lnTo>
                    <a:pt x="357" y="51"/>
                  </a:lnTo>
                  <a:lnTo>
                    <a:pt x="357" y="51"/>
                  </a:lnTo>
                  <a:lnTo>
                    <a:pt x="354" y="51"/>
                  </a:lnTo>
                  <a:lnTo>
                    <a:pt x="351" y="46"/>
                  </a:lnTo>
                  <a:lnTo>
                    <a:pt x="349" y="43"/>
                  </a:lnTo>
                  <a:lnTo>
                    <a:pt x="346" y="46"/>
                  </a:lnTo>
                  <a:lnTo>
                    <a:pt x="344" y="46"/>
                  </a:lnTo>
                  <a:lnTo>
                    <a:pt x="341" y="46"/>
                  </a:lnTo>
                  <a:lnTo>
                    <a:pt x="339" y="46"/>
                  </a:lnTo>
                  <a:lnTo>
                    <a:pt x="336" y="43"/>
                  </a:lnTo>
                  <a:lnTo>
                    <a:pt x="334" y="43"/>
                  </a:lnTo>
                  <a:lnTo>
                    <a:pt x="334" y="43"/>
                  </a:lnTo>
                  <a:lnTo>
                    <a:pt x="334" y="43"/>
                  </a:lnTo>
                  <a:lnTo>
                    <a:pt x="334" y="41"/>
                  </a:lnTo>
                  <a:lnTo>
                    <a:pt x="331" y="38"/>
                  </a:lnTo>
                  <a:lnTo>
                    <a:pt x="331" y="38"/>
                  </a:lnTo>
                  <a:lnTo>
                    <a:pt x="331" y="35"/>
                  </a:lnTo>
                  <a:lnTo>
                    <a:pt x="331" y="35"/>
                  </a:lnTo>
                  <a:lnTo>
                    <a:pt x="334" y="33"/>
                  </a:lnTo>
                  <a:lnTo>
                    <a:pt x="334" y="30"/>
                  </a:lnTo>
                  <a:lnTo>
                    <a:pt x="334" y="30"/>
                  </a:lnTo>
                  <a:lnTo>
                    <a:pt x="331" y="28"/>
                  </a:lnTo>
                  <a:lnTo>
                    <a:pt x="331" y="25"/>
                  </a:lnTo>
                  <a:lnTo>
                    <a:pt x="329" y="25"/>
                  </a:lnTo>
                  <a:lnTo>
                    <a:pt x="329" y="23"/>
                  </a:lnTo>
                  <a:lnTo>
                    <a:pt x="326" y="23"/>
                  </a:lnTo>
                  <a:lnTo>
                    <a:pt x="326" y="20"/>
                  </a:lnTo>
                  <a:lnTo>
                    <a:pt x="326" y="20"/>
                  </a:lnTo>
                  <a:lnTo>
                    <a:pt x="326" y="20"/>
                  </a:lnTo>
                  <a:lnTo>
                    <a:pt x="326" y="20"/>
                  </a:lnTo>
                  <a:lnTo>
                    <a:pt x="326" y="20"/>
                  </a:lnTo>
                  <a:lnTo>
                    <a:pt x="323" y="20"/>
                  </a:lnTo>
                  <a:lnTo>
                    <a:pt x="321" y="18"/>
                  </a:lnTo>
                  <a:lnTo>
                    <a:pt x="321" y="18"/>
                  </a:lnTo>
                  <a:lnTo>
                    <a:pt x="321" y="18"/>
                  </a:lnTo>
                  <a:lnTo>
                    <a:pt x="321" y="18"/>
                  </a:lnTo>
                  <a:lnTo>
                    <a:pt x="321" y="18"/>
                  </a:lnTo>
                  <a:lnTo>
                    <a:pt x="318" y="15"/>
                  </a:lnTo>
                  <a:lnTo>
                    <a:pt x="316" y="13"/>
                  </a:lnTo>
                  <a:lnTo>
                    <a:pt x="313" y="13"/>
                  </a:lnTo>
                  <a:lnTo>
                    <a:pt x="313" y="10"/>
                  </a:lnTo>
                  <a:lnTo>
                    <a:pt x="313" y="10"/>
                  </a:lnTo>
                  <a:lnTo>
                    <a:pt x="311" y="10"/>
                  </a:lnTo>
                  <a:lnTo>
                    <a:pt x="311" y="10"/>
                  </a:lnTo>
                  <a:lnTo>
                    <a:pt x="311" y="10"/>
                  </a:lnTo>
                  <a:lnTo>
                    <a:pt x="308" y="10"/>
                  </a:lnTo>
                  <a:lnTo>
                    <a:pt x="308" y="13"/>
                  </a:lnTo>
                  <a:lnTo>
                    <a:pt x="308" y="13"/>
                  </a:lnTo>
                  <a:lnTo>
                    <a:pt x="306" y="13"/>
                  </a:lnTo>
                  <a:lnTo>
                    <a:pt x="303" y="13"/>
                  </a:lnTo>
                  <a:lnTo>
                    <a:pt x="303" y="13"/>
                  </a:lnTo>
                  <a:lnTo>
                    <a:pt x="301" y="13"/>
                  </a:lnTo>
                  <a:lnTo>
                    <a:pt x="298" y="13"/>
                  </a:lnTo>
                  <a:lnTo>
                    <a:pt x="295" y="13"/>
                  </a:lnTo>
                  <a:lnTo>
                    <a:pt x="295" y="13"/>
                  </a:lnTo>
                  <a:lnTo>
                    <a:pt x="293" y="13"/>
                  </a:lnTo>
                  <a:lnTo>
                    <a:pt x="290" y="13"/>
                  </a:lnTo>
                  <a:lnTo>
                    <a:pt x="290" y="13"/>
                  </a:lnTo>
                  <a:lnTo>
                    <a:pt x="288" y="15"/>
                  </a:lnTo>
                  <a:lnTo>
                    <a:pt x="283" y="18"/>
                  </a:lnTo>
                  <a:lnTo>
                    <a:pt x="280" y="18"/>
                  </a:lnTo>
                  <a:lnTo>
                    <a:pt x="278" y="20"/>
                  </a:lnTo>
                  <a:lnTo>
                    <a:pt x="275" y="20"/>
                  </a:lnTo>
                  <a:lnTo>
                    <a:pt x="267" y="25"/>
                  </a:lnTo>
                  <a:lnTo>
                    <a:pt x="265" y="25"/>
                  </a:lnTo>
                  <a:lnTo>
                    <a:pt x="262" y="23"/>
                  </a:lnTo>
                  <a:lnTo>
                    <a:pt x="262" y="25"/>
                  </a:lnTo>
                  <a:lnTo>
                    <a:pt x="260" y="23"/>
                  </a:lnTo>
                  <a:lnTo>
                    <a:pt x="252" y="20"/>
                  </a:lnTo>
                  <a:lnTo>
                    <a:pt x="242" y="23"/>
                  </a:lnTo>
                  <a:lnTo>
                    <a:pt x="237" y="25"/>
                  </a:lnTo>
                  <a:lnTo>
                    <a:pt x="234" y="25"/>
                  </a:lnTo>
                  <a:lnTo>
                    <a:pt x="224" y="23"/>
                  </a:lnTo>
                  <a:lnTo>
                    <a:pt x="222" y="23"/>
                  </a:lnTo>
                  <a:lnTo>
                    <a:pt x="216" y="20"/>
                  </a:lnTo>
                  <a:lnTo>
                    <a:pt x="209" y="20"/>
                  </a:lnTo>
                  <a:lnTo>
                    <a:pt x="206" y="18"/>
                  </a:lnTo>
                  <a:lnTo>
                    <a:pt x="204" y="15"/>
                  </a:lnTo>
                  <a:lnTo>
                    <a:pt x="201" y="15"/>
                  </a:lnTo>
                  <a:lnTo>
                    <a:pt x="199" y="15"/>
                  </a:lnTo>
                  <a:lnTo>
                    <a:pt x="199" y="18"/>
                  </a:lnTo>
                  <a:lnTo>
                    <a:pt x="196" y="18"/>
                  </a:lnTo>
                  <a:lnTo>
                    <a:pt x="193" y="15"/>
                  </a:lnTo>
                  <a:lnTo>
                    <a:pt x="191" y="15"/>
                  </a:lnTo>
                  <a:lnTo>
                    <a:pt x="188" y="7"/>
                  </a:lnTo>
                  <a:lnTo>
                    <a:pt x="188" y="7"/>
                  </a:lnTo>
                  <a:lnTo>
                    <a:pt x="186" y="7"/>
                  </a:lnTo>
                  <a:lnTo>
                    <a:pt x="181" y="10"/>
                  </a:lnTo>
                  <a:lnTo>
                    <a:pt x="176" y="7"/>
                  </a:lnTo>
                  <a:lnTo>
                    <a:pt x="173" y="5"/>
                  </a:lnTo>
                  <a:lnTo>
                    <a:pt x="171" y="2"/>
                  </a:lnTo>
                  <a:lnTo>
                    <a:pt x="171" y="2"/>
                  </a:lnTo>
                  <a:lnTo>
                    <a:pt x="171" y="2"/>
                  </a:lnTo>
                  <a:lnTo>
                    <a:pt x="171" y="0"/>
                  </a:lnTo>
                  <a:lnTo>
                    <a:pt x="168" y="0"/>
                  </a:lnTo>
                  <a:lnTo>
                    <a:pt x="165" y="2"/>
                  </a:lnTo>
                  <a:lnTo>
                    <a:pt x="155" y="2"/>
                  </a:lnTo>
                  <a:lnTo>
                    <a:pt x="140" y="0"/>
                  </a:lnTo>
                  <a:lnTo>
                    <a:pt x="137" y="0"/>
                  </a:lnTo>
                  <a:lnTo>
                    <a:pt x="132" y="2"/>
                  </a:lnTo>
                  <a:lnTo>
                    <a:pt x="125" y="5"/>
                  </a:lnTo>
                  <a:lnTo>
                    <a:pt x="120" y="7"/>
                  </a:lnTo>
                  <a:lnTo>
                    <a:pt x="117" y="10"/>
                  </a:lnTo>
                  <a:lnTo>
                    <a:pt x="104" y="15"/>
                  </a:lnTo>
                  <a:lnTo>
                    <a:pt x="104" y="20"/>
                  </a:lnTo>
                  <a:lnTo>
                    <a:pt x="102" y="20"/>
                  </a:lnTo>
                  <a:lnTo>
                    <a:pt x="94" y="20"/>
                  </a:lnTo>
                  <a:lnTo>
                    <a:pt x="84" y="20"/>
                  </a:lnTo>
                  <a:lnTo>
                    <a:pt x="76" y="20"/>
                  </a:lnTo>
                  <a:lnTo>
                    <a:pt x="66" y="18"/>
                  </a:lnTo>
                  <a:lnTo>
                    <a:pt x="64" y="18"/>
                  </a:lnTo>
                  <a:lnTo>
                    <a:pt x="61" y="20"/>
                  </a:lnTo>
                  <a:lnTo>
                    <a:pt x="61" y="20"/>
                  </a:lnTo>
                  <a:lnTo>
                    <a:pt x="61" y="23"/>
                  </a:lnTo>
                  <a:lnTo>
                    <a:pt x="64" y="25"/>
                  </a:lnTo>
                  <a:lnTo>
                    <a:pt x="64" y="25"/>
                  </a:lnTo>
                  <a:lnTo>
                    <a:pt x="66" y="28"/>
                  </a:lnTo>
                  <a:lnTo>
                    <a:pt x="69" y="28"/>
                  </a:lnTo>
                  <a:lnTo>
                    <a:pt x="76" y="28"/>
                  </a:lnTo>
                  <a:lnTo>
                    <a:pt x="76" y="28"/>
                  </a:lnTo>
                  <a:lnTo>
                    <a:pt x="76" y="30"/>
                  </a:lnTo>
                  <a:lnTo>
                    <a:pt x="71" y="30"/>
                  </a:lnTo>
                  <a:lnTo>
                    <a:pt x="64" y="30"/>
                  </a:lnTo>
                  <a:lnTo>
                    <a:pt x="61" y="30"/>
                  </a:lnTo>
                  <a:lnTo>
                    <a:pt x="58" y="33"/>
                  </a:lnTo>
                  <a:lnTo>
                    <a:pt x="58" y="35"/>
                  </a:lnTo>
                  <a:lnTo>
                    <a:pt x="58" y="35"/>
                  </a:lnTo>
                  <a:lnTo>
                    <a:pt x="61" y="35"/>
                  </a:lnTo>
                  <a:lnTo>
                    <a:pt x="64" y="35"/>
                  </a:lnTo>
                  <a:lnTo>
                    <a:pt x="61" y="38"/>
                  </a:lnTo>
                  <a:lnTo>
                    <a:pt x="56" y="38"/>
                  </a:lnTo>
                  <a:lnTo>
                    <a:pt x="56" y="38"/>
                  </a:lnTo>
                  <a:lnTo>
                    <a:pt x="48" y="35"/>
                  </a:lnTo>
                  <a:lnTo>
                    <a:pt x="43" y="38"/>
                  </a:lnTo>
                  <a:lnTo>
                    <a:pt x="43" y="38"/>
                  </a:lnTo>
                  <a:lnTo>
                    <a:pt x="43" y="35"/>
                  </a:lnTo>
                  <a:lnTo>
                    <a:pt x="43" y="35"/>
                  </a:lnTo>
                  <a:lnTo>
                    <a:pt x="43" y="35"/>
                  </a:lnTo>
                  <a:lnTo>
                    <a:pt x="41" y="35"/>
                  </a:lnTo>
                  <a:lnTo>
                    <a:pt x="38" y="35"/>
                  </a:lnTo>
                  <a:lnTo>
                    <a:pt x="38" y="35"/>
                  </a:lnTo>
                  <a:lnTo>
                    <a:pt x="41" y="38"/>
                  </a:lnTo>
                  <a:lnTo>
                    <a:pt x="41" y="38"/>
                  </a:lnTo>
                  <a:lnTo>
                    <a:pt x="38" y="38"/>
                  </a:lnTo>
                  <a:lnTo>
                    <a:pt x="33" y="38"/>
                  </a:lnTo>
                  <a:lnTo>
                    <a:pt x="30" y="38"/>
                  </a:lnTo>
                  <a:lnTo>
                    <a:pt x="30" y="35"/>
                  </a:lnTo>
                  <a:lnTo>
                    <a:pt x="30" y="35"/>
                  </a:lnTo>
                  <a:lnTo>
                    <a:pt x="28" y="35"/>
                  </a:lnTo>
                  <a:lnTo>
                    <a:pt x="25" y="38"/>
                  </a:lnTo>
                  <a:lnTo>
                    <a:pt x="20" y="38"/>
                  </a:lnTo>
                  <a:lnTo>
                    <a:pt x="15" y="41"/>
                  </a:lnTo>
                  <a:lnTo>
                    <a:pt x="13" y="46"/>
                  </a:lnTo>
                  <a:lnTo>
                    <a:pt x="10" y="43"/>
                  </a:lnTo>
                  <a:lnTo>
                    <a:pt x="10" y="46"/>
                  </a:lnTo>
                  <a:lnTo>
                    <a:pt x="10" y="51"/>
                  </a:lnTo>
                  <a:lnTo>
                    <a:pt x="10" y="53"/>
                  </a:lnTo>
                  <a:lnTo>
                    <a:pt x="10" y="56"/>
                  </a:lnTo>
                  <a:lnTo>
                    <a:pt x="10" y="56"/>
                  </a:lnTo>
                  <a:lnTo>
                    <a:pt x="15" y="56"/>
                  </a:lnTo>
                  <a:lnTo>
                    <a:pt x="18" y="56"/>
                  </a:lnTo>
                  <a:lnTo>
                    <a:pt x="23" y="53"/>
                  </a:lnTo>
                  <a:lnTo>
                    <a:pt x="25" y="53"/>
                  </a:lnTo>
                  <a:lnTo>
                    <a:pt x="25" y="56"/>
                  </a:lnTo>
                  <a:lnTo>
                    <a:pt x="23" y="56"/>
                  </a:lnTo>
                  <a:lnTo>
                    <a:pt x="20" y="58"/>
                  </a:lnTo>
                  <a:lnTo>
                    <a:pt x="20" y="61"/>
                  </a:lnTo>
                  <a:lnTo>
                    <a:pt x="20" y="61"/>
                  </a:lnTo>
                  <a:lnTo>
                    <a:pt x="23" y="63"/>
                  </a:lnTo>
                  <a:lnTo>
                    <a:pt x="23" y="66"/>
                  </a:lnTo>
                  <a:lnTo>
                    <a:pt x="23" y="66"/>
                  </a:lnTo>
                  <a:lnTo>
                    <a:pt x="23" y="68"/>
                  </a:lnTo>
                  <a:lnTo>
                    <a:pt x="25" y="68"/>
                  </a:lnTo>
                  <a:lnTo>
                    <a:pt x="25" y="68"/>
                  </a:lnTo>
                  <a:lnTo>
                    <a:pt x="25" y="68"/>
                  </a:lnTo>
                  <a:lnTo>
                    <a:pt x="28" y="68"/>
                  </a:lnTo>
                  <a:lnTo>
                    <a:pt x="25" y="71"/>
                  </a:lnTo>
                  <a:lnTo>
                    <a:pt x="23" y="74"/>
                  </a:lnTo>
                  <a:lnTo>
                    <a:pt x="23" y="74"/>
                  </a:lnTo>
                  <a:lnTo>
                    <a:pt x="23" y="74"/>
                  </a:lnTo>
                  <a:lnTo>
                    <a:pt x="23" y="76"/>
                  </a:lnTo>
                  <a:lnTo>
                    <a:pt x="25" y="76"/>
                  </a:lnTo>
                  <a:lnTo>
                    <a:pt x="25" y="79"/>
                  </a:lnTo>
                  <a:lnTo>
                    <a:pt x="28" y="79"/>
                  </a:lnTo>
                  <a:lnTo>
                    <a:pt x="30" y="79"/>
                  </a:lnTo>
                  <a:lnTo>
                    <a:pt x="30" y="81"/>
                  </a:lnTo>
                  <a:lnTo>
                    <a:pt x="25" y="81"/>
                  </a:lnTo>
                  <a:lnTo>
                    <a:pt x="23" y="81"/>
                  </a:lnTo>
                  <a:lnTo>
                    <a:pt x="23" y="79"/>
                  </a:lnTo>
                  <a:lnTo>
                    <a:pt x="23" y="81"/>
                  </a:lnTo>
                  <a:lnTo>
                    <a:pt x="23" y="81"/>
                  </a:lnTo>
                  <a:lnTo>
                    <a:pt x="20" y="81"/>
                  </a:lnTo>
                  <a:lnTo>
                    <a:pt x="20" y="79"/>
                  </a:lnTo>
                  <a:lnTo>
                    <a:pt x="20" y="79"/>
                  </a:lnTo>
                  <a:lnTo>
                    <a:pt x="20" y="76"/>
                  </a:lnTo>
                  <a:lnTo>
                    <a:pt x="18" y="76"/>
                  </a:lnTo>
                  <a:lnTo>
                    <a:pt x="18" y="74"/>
                  </a:lnTo>
                  <a:lnTo>
                    <a:pt x="15" y="76"/>
                  </a:lnTo>
                  <a:lnTo>
                    <a:pt x="15" y="76"/>
                  </a:lnTo>
                  <a:lnTo>
                    <a:pt x="18" y="79"/>
                  </a:lnTo>
                  <a:lnTo>
                    <a:pt x="18" y="81"/>
                  </a:lnTo>
                  <a:lnTo>
                    <a:pt x="15" y="81"/>
                  </a:lnTo>
                  <a:lnTo>
                    <a:pt x="15" y="84"/>
                  </a:lnTo>
                  <a:lnTo>
                    <a:pt x="15" y="84"/>
                  </a:lnTo>
                  <a:lnTo>
                    <a:pt x="18" y="84"/>
                  </a:lnTo>
                  <a:lnTo>
                    <a:pt x="20" y="86"/>
                  </a:lnTo>
                  <a:lnTo>
                    <a:pt x="20" y="86"/>
                  </a:lnTo>
                  <a:lnTo>
                    <a:pt x="20" y="86"/>
                  </a:lnTo>
                  <a:lnTo>
                    <a:pt x="23" y="84"/>
                  </a:lnTo>
                  <a:lnTo>
                    <a:pt x="25" y="86"/>
                  </a:lnTo>
                  <a:lnTo>
                    <a:pt x="25" y="89"/>
                  </a:lnTo>
                  <a:lnTo>
                    <a:pt x="28" y="89"/>
                  </a:lnTo>
                  <a:lnTo>
                    <a:pt x="30" y="89"/>
                  </a:lnTo>
                  <a:lnTo>
                    <a:pt x="33" y="89"/>
                  </a:lnTo>
                  <a:lnTo>
                    <a:pt x="33" y="91"/>
                  </a:lnTo>
                  <a:lnTo>
                    <a:pt x="33" y="96"/>
                  </a:lnTo>
                  <a:lnTo>
                    <a:pt x="30" y="96"/>
                  </a:lnTo>
                  <a:lnTo>
                    <a:pt x="30" y="96"/>
                  </a:lnTo>
                  <a:lnTo>
                    <a:pt x="30" y="99"/>
                  </a:lnTo>
                  <a:lnTo>
                    <a:pt x="33" y="102"/>
                  </a:lnTo>
                  <a:lnTo>
                    <a:pt x="33" y="104"/>
                  </a:lnTo>
                  <a:lnTo>
                    <a:pt x="35" y="104"/>
                  </a:lnTo>
                  <a:lnTo>
                    <a:pt x="35" y="104"/>
                  </a:lnTo>
                  <a:lnTo>
                    <a:pt x="35" y="107"/>
                  </a:lnTo>
                  <a:lnTo>
                    <a:pt x="38" y="107"/>
                  </a:lnTo>
                  <a:lnTo>
                    <a:pt x="41" y="109"/>
                  </a:lnTo>
                  <a:lnTo>
                    <a:pt x="35" y="109"/>
                  </a:lnTo>
                  <a:lnTo>
                    <a:pt x="35" y="109"/>
                  </a:lnTo>
                  <a:lnTo>
                    <a:pt x="35" y="112"/>
                  </a:lnTo>
                  <a:lnTo>
                    <a:pt x="35" y="114"/>
                  </a:lnTo>
                  <a:lnTo>
                    <a:pt x="35" y="114"/>
                  </a:lnTo>
                  <a:lnTo>
                    <a:pt x="35" y="112"/>
                  </a:lnTo>
                  <a:lnTo>
                    <a:pt x="43" y="112"/>
                  </a:lnTo>
                  <a:lnTo>
                    <a:pt x="51" y="112"/>
                  </a:lnTo>
                  <a:lnTo>
                    <a:pt x="53" y="112"/>
                  </a:lnTo>
                  <a:lnTo>
                    <a:pt x="53" y="112"/>
                  </a:lnTo>
                  <a:lnTo>
                    <a:pt x="51" y="114"/>
                  </a:lnTo>
                  <a:lnTo>
                    <a:pt x="48" y="117"/>
                  </a:lnTo>
                  <a:lnTo>
                    <a:pt x="48" y="117"/>
                  </a:lnTo>
                  <a:lnTo>
                    <a:pt x="41" y="117"/>
                  </a:lnTo>
                  <a:lnTo>
                    <a:pt x="41" y="119"/>
                  </a:lnTo>
                  <a:lnTo>
                    <a:pt x="38" y="119"/>
                  </a:lnTo>
                  <a:lnTo>
                    <a:pt x="38" y="119"/>
                  </a:lnTo>
                  <a:lnTo>
                    <a:pt x="41" y="119"/>
                  </a:lnTo>
                  <a:lnTo>
                    <a:pt x="43" y="119"/>
                  </a:lnTo>
                  <a:lnTo>
                    <a:pt x="46" y="119"/>
                  </a:lnTo>
                  <a:lnTo>
                    <a:pt x="51" y="119"/>
                  </a:lnTo>
                  <a:lnTo>
                    <a:pt x="48" y="119"/>
                  </a:lnTo>
                  <a:lnTo>
                    <a:pt x="48" y="122"/>
                  </a:lnTo>
                  <a:lnTo>
                    <a:pt x="51" y="122"/>
                  </a:lnTo>
                  <a:lnTo>
                    <a:pt x="53" y="119"/>
                  </a:lnTo>
                  <a:lnTo>
                    <a:pt x="53" y="117"/>
                  </a:lnTo>
                  <a:lnTo>
                    <a:pt x="58" y="117"/>
                  </a:lnTo>
                  <a:lnTo>
                    <a:pt x="64" y="119"/>
                  </a:lnTo>
                  <a:lnTo>
                    <a:pt x="64" y="119"/>
                  </a:lnTo>
                  <a:lnTo>
                    <a:pt x="66" y="119"/>
                  </a:lnTo>
                  <a:lnTo>
                    <a:pt x="66" y="119"/>
                  </a:lnTo>
                  <a:lnTo>
                    <a:pt x="69" y="119"/>
                  </a:lnTo>
                  <a:lnTo>
                    <a:pt x="69" y="122"/>
                  </a:lnTo>
                  <a:lnTo>
                    <a:pt x="69" y="122"/>
                  </a:lnTo>
                  <a:lnTo>
                    <a:pt x="71" y="124"/>
                  </a:lnTo>
                  <a:lnTo>
                    <a:pt x="71" y="127"/>
                  </a:lnTo>
                  <a:lnTo>
                    <a:pt x="74" y="130"/>
                  </a:lnTo>
                  <a:lnTo>
                    <a:pt x="74" y="130"/>
                  </a:lnTo>
                  <a:lnTo>
                    <a:pt x="81" y="132"/>
                  </a:lnTo>
                  <a:lnTo>
                    <a:pt x="84" y="132"/>
                  </a:lnTo>
                  <a:lnTo>
                    <a:pt x="89" y="130"/>
                  </a:lnTo>
                  <a:lnTo>
                    <a:pt x="92" y="130"/>
                  </a:lnTo>
                  <a:lnTo>
                    <a:pt x="92" y="130"/>
                  </a:lnTo>
                  <a:lnTo>
                    <a:pt x="94" y="130"/>
                  </a:lnTo>
                  <a:lnTo>
                    <a:pt x="97" y="130"/>
                  </a:lnTo>
                  <a:lnTo>
                    <a:pt x="97" y="130"/>
                  </a:lnTo>
                  <a:lnTo>
                    <a:pt x="97" y="124"/>
                  </a:lnTo>
                  <a:lnTo>
                    <a:pt x="97" y="124"/>
                  </a:lnTo>
                  <a:lnTo>
                    <a:pt x="97" y="117"/>
                  </a:lnTo>
                  <a:lnTo>
                    <a:pt x="99" y="117"/>
                  </a:lnTo>
                  <a:lnTo>
                    <a:pt x="104" y="117"/>
                  </a:lnTo>
                  <a:lnTo>
                    <a:pt x="109" y="117"/>
                  </a:lnTo>
                  <a:lnTo>
                    <a:pt x="112" y="117"/>
                  </a:lnTo>
                  <a:lnTo>
                    <a:pt x="120" y="122"/>
                  </a:lnTo>
                  <a:lnTo>
                    <a:pt x="125" y="124"/>
                  </a:lnTo>
                  <a:lnTo>
                    <a:pt x="127" y="124"/>
                  </a:lnTo>
                  <a:lnTo>
                    <a:pt x="130" y="130"/>
                  </a:lnTo>
                  <a:lnTo>
                    <a:pt x="132" y="132"/>
                  </a:lnTo>
                  <a:lnTo>
                    <a:pt x="135" y="135"/>
                  </a:lnTo>
                  <a:lnTo>
                    <a:pt x="140" y="135"/>
                  </a:lnTo>
                  <a:lnTo>
                    <a:pt x="143" y="135"/>
                  </a:lnTo>
                  <a:lnTo>
                    <a:pt x="145" y="135"/>
                  </a:lnTo>
                  <a:lnTo>
                    <a:pt x="153" y="132"/>
                  </a:lnTo>
                  <a:lnTo>
                    <a:pt x="153" y="132"/>
                  </a:lnTo>
                  <a:lnTo>
                    <a:pt x="158" y="132"/>
                  </a:lnTo>
                  <a:lnTo>
                    <a:pt x="163" y="130"/>
                  </a:lnTo>
                  <a:lnTo>
                    <a:pt x="163" y="127"/>
                  </a:lnTo>
                  <a:lnTo>
                    <a:pt x="168" y="122"/>
                  </a:lnTo>
                  <a:lnTo>
                    <a:pt x="173" y="117"/>
                  </a:lnTo>
                  <a:lnTo>
                    <a:pt x="176" y="117"/>
                  </a:lnTo>
                  <a:lnTo>
                    <a:pt x="176" y="117"/>
                  </a:lnTo>
                  <a:lnTo>
                    <a:pt x="178" y="119"/>
                  </a:lnTo>
                  <a:lnTo>
                    <a:pt x="183" y="122"/>
                  </a:lnTo>
                  <a:lnTo>
                    <a:pt x="188" y="122"/>
                  </a:lnTo>
                  <a:lnTo>
                    <a:pt x="191" y="122"/>
                  </a:lnTo>
                  <a:lnTo>
                    <a:pt x="193" y="122"/>
                  </a:lnTo>
                  <a:lnTo>
                    <a:pt x="193" y="119"/>
                  </a:lnTo>
                  <a:lnTo>
                    <a:pt x="193" y="119"/>
                  </a:lnTo>
                  <a:lnTo>
                    <a:pt x="196" y="117"/>
                  </a:lnTo>
                  <a:lnTo>
                    <a:pt x="196" y="117"/>
                  </a:lnTo>
                  <a:lnTo>
                    <a:pt x="201" y="114"/>
                  </a:lnTo>
                  <a:lnTo>
                    <a:pt x="201" y="117"/>
                  </a:lnTo>
                  <a:lnTo>
                    <a:pt x="204" y="117"/>
                  </a:lnTo>
                  <a:lnTo>
                    <a:pt x="204" y="119"/>
                  </a:lnTo>
                  <a:lnTo>
                    <a:pt x="204" y="119"/>
                  </a:lnTo>
                  <a:lnTo>
                    <a:pt x="201" y="124"/>
                  </a:lnTo>
                  <a:lnTo>
                    <a:pt x="199" y="127"/>
                  </a:lnTo>
                  <a:lnTo>
                    <a:pt x="196" y="130"/>
                  </a:lnTo>
                  <a:lnTo>
                    <a:pt x="199" y="132"/>
                  </a:lnTo>
                  <a:lnTo>
                    <a:pt x="201" y="135"/>
                  </a:lnTo>
                  <a:lnTo>
                    <a:pt x="199" y="137"/>
                  </a:lnTo>
                  <a:lnTo>
                    <a:pt x="201" y="137"/>
                  </a:lnTo>
                  <a:lnTo>
                    <a:pt x="204" y="140"/>
                  </a:lnTo>
                  <a:lnTo>
                    <a:pt x="204" y="140"/>
                  </a:lnTo>
                  <a:lnTo>
                    <a:pt x="204" y="137"/>
                  </a:lnTo>
                  <a:lnTo>
                    <a:pt x="206" y="137"/>
                  </a:lnTo>
                  <a:lnTo>
                    <a:pt x="206" y="135"/>
                  </a:lnTo>
                  <a:lnTo>
                    <a:pt x="209" y="132"/>
                  </a:lnTo>
                  <a:lnTo>
                    <a:pt x="209" y="132"/>
                  </a:lnTo>
                  <a:lnTo>
                    <a:pt x="209" y="130"/>
                  </a:lnTo>
                  <a:lnTo>
                    <a:pt x="211" y="130"/>
                  </a:lnTo>
                  <a:lnTo>
                    <a:pt x="211" y="130"/>
                  </a:lnTo>
                  <a:lnTo>
                    <a:pt x="211" y="130"/>
                  </a:lnTo>
                  <a:lnTo>
                    <a:pt x="209" y="124"/>
                  </a:lnTo>
                  <a:lnTo>
                    <a:pt x="211" y="124"/>
                  </a:lnTo>
                  <a:lnTo>
                    <a:pt x="211" y="119"/>
                  </a:lnTo>
                  <a:lnTo>
                    <a:pt x="211" y="117"/>
                  </a:lnTo>
                  <a:lnTo>
                    <a:pt x="211" y="117"/>
                  </a:lnTo>
                  <a:lnTo>
                    <a:pt x="214" y="117"/>
                  </a:lnTo>
                  <a:lnTo>
                    <a:pt x="216" y="119"/>
                  </a:lnTo>
                  <a:lnTo>
                    <a:pt x="219" y="119"/>
                  </a:lnTo>
                  <a:lnTo>
                    <a:pt x="219" y="122"/>
                  </a:lnTo>
                  <a:lnTo>
                    <a:pt x="222" y="122"/>
                  </a:lnTo>
                  <a:lnTo>
                    <a:pt x="224" y="122"/>
                  </a:lnTo>
                  <a:lnTo>
                    <a:pt x="227" y="122"/>
                  </a:lnTo>
                  <a:lnTo>
                    <a:pt x="229" y="119"/>
                  </a:lnTo>
                  <a:lnTo>
                    <a:pt x="232" y="119"/>
                  </a:lnTo>
                  <a:lnTo>
                    <a:pt x="234" y="119"/>
                  </a:lnTo>
                  <a:lnTo>
                    <a:pt x="234" y="117"/>
                  </a:lnTo>
                  <a:lnTo>
                    <a:pt x="239" y="114"/>
                  </a:lnTo>
                  <a:lnTo>
                    <a:pt x="242" y="114"/>
                  </a:lnTo>
                  <a:lnTo>
                    <a:pt x="244" y="114"/>
                  </a:lnTo>
                  <a:lnTo>
                    <a:pt x="244" y="117"/>
                  </a:lnTo>
                  <a:lnTo>
                    <a:pt x="247" y="117"/>
                  </a:lnTo>
                  <a:lnTo>
                    <a:pt x="250" y="119"/>
                  </a:lnTo>
                  <a:lnTo>
                    <a:pt x="252" y="119"/>
                  </a:lnTo>
                  <a:lnTo>
                    <a:pt x="255" y="119"/>
                  </a:lnTo>
                  <a:lnTo>
                    <a:pt x="257" y="119"/>
                  </a:lnTo>
                  <a:lnTo>
                    <a:pt x="262" y="119"/>
                  </a:lnTo>
                  <a:lnTo>
                    <a:pt x="265" y="119"/>
                  </a:lnTo>
                  <a:lnTo>
                    <a:pt x="270" y="119"/>
                  </a:lnTo>
                  <a:lnTo>
                    <a:pt x="275" y="117"/>
                  </a:lnTo>
                  <a:lnTo>
                    <a:pt x="283" y="112"/>
                  </a:lnTo>
                  <a:lnTo>
                    <a:pt x="288" y="109"/>
                  </a:lnTo>
                  <a:lnTo>
                    <a:pt x="288" y="109"/>
                  </a:lnTo>
                  <a:lnTo>
                    <a:pt x="293" y="109"/>
                  </a:lnTo>
                  <a:lnTo>
                    <a:pt x="295" y="112"/>
                  </a:lnTo>
                  <a:lnTo>
                    <a:pt x="298" y="112"/>
                  </a:lnTo>
                  <a:lnTo>
                    <a:pt x="298" y="112"/>
                  </a:lnTo>
                  <a:lnTo>
                    <a:pt x="303" y="112"/>
                  </a:lnTo>
                  <a:lnTo>
                    <a:pt x="306" y="109"/>
                  </a:lnTo>
                  <a:lnTo>
                    <a:pt x="308" y="109"/>
                  </a:lnTo>
                  <a:lnTo>
                    <a:pt x="313" y="107"/>
                  </a:lnTo>
                  <a:lnTo>
                    <a:pt x="313" y="107"/>
                  </a:lnTo>
                  <a:lnTo>
                    <a:pt x="316" y="107"/>
                  </a:lnTo>
                  <a:lnTo>
                    <a:pt x="316" y="107"/>
                  </a:lnTo>
                  <a:lnTo>
                    <a:pt x="316" y="107"/>
                  </a:lnTo>
                  <a:lnTo>
                    <a:pt x="316" y="107"/>
                  </a:lnTo>
                  <a:lnTo>
                    <a:pt x="318" y="109"/>
                  </a:lnTo>
                  <a:lnTo>
                    <a:pt x="321" y="109"/>
                  </a:lnTo>
                  <a:lnTo>
                    <a:pt x="323" y="107"/>
                  </a:lnTo>
                  <a:lnTo>
                    <a:pt x="323" y="104"/>
                  </a:lnTo>
                  <a:lnTo>
                    <a:pt x="326" y="104"/>
                  </a:lnTo>
                  <a:lnTo>
                    <a:pt x="326" y="104"/>
                  </a:lnTo>
                  <a:lnTo>
                    <a:pt x="329" y="104"/>
                  </a:lnTo>
                  <a:lnTo>
                    <a:pt x="331" y="104"/>
                  </a:lnTo>
                  <a:lnTo>
                    <a:pt x="334" y="104"/>
                  </a:lnTo>
                  <a:lnTo>
                    <a:pt x="334" y="104"/>
                  </a:lnTo>
                  <a:lnTo>
                    <a:pt x="336" y="107"/>
                  </a:lnTo>
                  <a:lnTo>
                    <a:pt x="339" y="107"/>
                  </a:lnTo>
                  <a:lnTo>
                    <a:pt x="341" y="107"/>
                  </a:lnTo>
                  <a:lnTo>
                    <a:pt x="341" y="107"/>
                  </a:lnTo>
                  <a:lnTo>
                    <a:pt x="346" y="107"/>
                  </a:lnTo>
                  <a:lnTo>
                    <a:pt x="346" y="107"/>
                  </a:lnTo>
                  <a:lnTo>
                    <a:pt x="349" y="107"/>
                  </a:lnTo>
                  <a:lnTo>
                    <a:pt x="349" y="107"/>
                  </a:lnTo>
                  <a:lnTo>
                    <a:pt x="351" y="107"/>
                  </a:lnTo>
                  <a:lnTo>
                    <a:pt x="351" y="107"/>
                  </a:lnTo>
                  <a:lnTo>
                    <a:pt x="351" y="107"/>
                  </a:lnTo>
                  <a:lnTo>
                    <a:pt x="351" y="109"/>
                  </a:lnTo>
                  <a:lnTo>
                    <a:pt x="354" y="112"/>
                  </a:lnTo>
                  <a:lnTo>
                    <a:pt x="354" y="112"/>
                  </a:lnTo>
                  <a:lnTo>
                    <a:pt x="354" y="114"/>
                  </a:lnTo>
                  <a:lnTo>
                    <a:pt x="354" y="114"/>
                  </a:lnTo>
                  <a:lnTo>
                    <a:pt x="354" y="112"/>
                  </a:lnTo>
                  <a:lnTo>
                    <a:pt x="357" y="112"/>
                  </a:lnTo>
                  <a:lnTo>
                    <a:pt x="359" y="109"/>
                  </a:lnTo>
                  <a:lnTo>
                    <a:pt x="359" y="109"/>
                  </a:lnTo>
                  <a:lnTo>
                    <a:pt x="359" y="109"/>
                  </a:lnTo>
                  <a:lnTo>
                    <a:pt x="362" y="109"/>
                  </a:lnTo>
                  <a:lnTo>
                    <a:pt x="362" y="109"/>
                  </a:lnTo>
                  <a:lnTo>
                    <a:pt x="364" y="109"/>
                  </a:lnTo>
                  <a:lnTo>
                    <a:pt x="364" y="109"/>
                  </a:lnTo>
                  <a:lnTo>
                    <a:pt x="362" y="107"/>
                  </a:lnTo>
                  <a:close/>
                  <a:moveTo>
                    <a:pt x="13" y="33"/>
                  </a:moveTo>
                  <a:lnTo>
                    <a:pt x="18" y="33"/>
                  </a:lnTo>
                  <a:lnTo>
                    <a:pt x="20" y="33"/>
                  </a:lnTo>
                  <a:lnTo>
                    <a:pt x="20" y="33"/>
                  </a:lnTo>
                  <a:lnTo>
                    <a:pt x="15" y="35"/>
                  </a:lnTo>
                  <a:lnTo>
                    <a:pt x="13" y="38"/>
                  </a:lnTo>
                  <a:lnTo>
                    <a:pt x="10" y="38"/>
                  </a:lnTo>
                  <a:lnTo>
                    <a:pt x="10" y="41"/>
                  </a:lnTo>
                  <a:lnTo>
                    <a:pt x="13" y="41"/>
                  </a:lnTo>
                  <a:lnTo>
                    <a:pt x="10" y="43"/>
                  </a:lnTo>
                  <a:lnTo>
                    <a:pt x="10" y="43"/>
                  </a:lnTo>
                  <a:lnTo>
                    <a:pt x="13" y="43"/>
                  </a:lnTo>
                  <a:lnTo>
                    <a:pt x="13" y="43"/>
                  </a:lnTo>
                  <a:lnTo>
                    <a:pt x="15" y="41"/>
                  </a:lnTo>
                  <a:lnTo>
                    <a:pt x="20" y="35"/>
                  </a:lnTo>
                  <a:lnTo>
                    <a:pt x="25" y="33"/>
                  </a:lnTo>
                  <a:lnTo>
                    <a:pt x="30" y="30"/>
                  </a:lnTo>
                  <a:lnTo>
                    <a:pt x="33" y="28"/>
                  </a:lnTo>
                  <a:lnTo>
                    <a:pt x="33" y="23"/>
                  </a:lnTo>
                  <a:lnTo>
                    <a:pt x="38" y="23"/>
                  </a:lnTo>
                  <a:lnTo>
                    <a:pt x="41" y="23"/>
                  </a:lnTo>
                  <a:lnTo>
                    <a:pt x="43" y="23"/>
                  </a:lnTo>
                  <a:lnTo>
                    <a:pt x="46" y="23"/>
                  </a:lnTo>
                  <a:lnTo>
                    <a:pt x="48" y="23"/>
                  </a:lnTo>
                  <a:lnTo>
                    <a:pt x="56" y="23"/>
                  </a:lnTo>
                  <a:lnTo>
                    <a:pt x="61" y="23"/>
                  </a:lnTo>
                  <a:lnTo>
                    <a:pt x="61" y="23"/>
                  </a:lnTo>
                  <a:lnTo>
                    <a:pt x="61" y="20"/>
                  </a:lnTo>
                  <a:lnTo>
                    <a:pt x="61" y="18"/>
                  </a:lnTo>
                  <a:lnTo>
                    <a:pt x="58" y="18"/>
                  </a:lnTo>
                  <a:lnTo>
                    <a:pt x="48" y="13"/>
                  </a:lnTo>
                  <a:lnTo>
                    <a:pt x="46" y="10"/>
                  </a:lnTo>
                  <a:lnTo>
                    <a:pt x="43" y="7"/>
                  </a:lnTo>
                  <a:lnTo>
                    <a:pt x="41" y="5"/>
                  </a:lnTo>
                  <a:lnTo>
                    <a:pt x="41" y="2"/>
                  </a:lnTo>
                  <a:lnTo>
                    <a:pt x="38" y="2"/>
                  </a:lnTo>
                  <a:lnTo>
                    <a:pt x="38" y="2"/>
                  </a:lnTo>
                  <a:lnTo>
                    <a:pt x="38" y="2"/>
                  </a:lnTo>
                  <a:lnTo>
                    <a:pt x="35" y="2"/>
                  </a:lnTo>
                  <a:lnTo>
                    <a:pt x="35" y="2"/>
                  </a:lnTo>
                  <a:lnTo>
                    <a:pt x="33" y="2"/>
                  </a:lnTo>
                  <a:lnTo>
                    <a:pt x="33" y="2"/>
                  </a:lnTo>
                  <a:lnTo>
                    <a:pt x="30" y="2"/>
                  </a:lnTo>
                  <a:lnTo>
                    <a:pt x="28" y="0"/>
                  </a:lnTo>
                  <a:lnTo>
                    <a:pt x="28" y="0"/>
                  </a:lnTo>
                  <a:lnTo>
                    <a:pt x="28" y="0"/>
                  </a:lnTo>
                  <a:lnTo>
                    <a:pt x="25" y="0"/>
                  </a:lnTo>
                  <a:lnTo>
                    <a:pt x="23" y="0"/>
                  </a:lnTo>
                  <a:lnTo>
                    <a:pt x="23" y="0"/>
                  </a:lnTo>
                  <a:lnTo>
                    <a:pt x="20" y="2"/>
                  </a:lnTo>
                  <a:lnTo>
                    <a:pt x="18" y="2"/>
                  </a:lnTo>
                  <a:lnTo>
                    <a:pt x="18" y="2"/>
                  </a:lnTo>
                  <a:lnTo>
                    <a:pt x="15" y="2"/>
                  </a:lnTo>
                  <a:lnTo>
                    <a:pt x="15" y="2"/>
                  </a:lnTo>
                  <a:lnTo>
                    <a:pt x="15" y="2"/>
                  </a:lnTo>
                  <a:lnTo>
                    <a:pt x="15" y="5"/>
                  </a:lnTo>
                  <a:lnTo>
                    <a:pt x="13" y="5"/>
                  </a:lnTo>
                  <a:lnTo>
                    <a:pt x="10" y="5"/>
                  </a:lnTo>
                  <a:lnTo>
                    <a:pt x="10" y="7"/>
                  </a:lnTo>
                  <a:lnTo>
                    <a:pt x="10" y="7"/>
                  </a:lnTo>
                  <a:lnTo>
                    <a:pt x="10" y="7"/>
                  </a:lnTo>
                  <a:lnTo>
                    <a:pt x="13" y="7"/>
                  </a:lnTo>
                  <a:lnTo>
                    <a:pt x="13" y="7"/>
                  </a:lnTo>
                  <a:lnTo>
                    <a:pt x="13" y="10"/>
                  </a:lnTo>
                  <a:lnTo>
                    <a:pt x="15" y="10"/>
                  </a:lnTo>
                  <a:lnTo>
                    <a:pt x="15" y="10"/>
                  </a:lnTo>
                  <a:lnTo>
                    <a:pt x="15" y="13"/>
                  </a:lnTo>
                  <a:lnTo>
                    <a:pt x="15" y="15"/>
                  </a:lnTo>
                  <a:lnTo>
                    <a:pt x="15" y="15"/>
                  </a:lnTo>
                  <a:lnTo>
                    <a:pt x="15" y="15"/>
                  </a:lnTo>
                  <a:lnTo>
                    <a:pt x="10" y="18"/>
                  </a:lnTo>
                  <a:lnTo>
                    <a:pt x="10" y="20"/>
                  </a:lnTo>
                  <a:lnTo>
                    <a:pt x="13" y="20"/>
                  </a:lnTo>
                  <a:lnTo>
                    <a:pt x="13" y="23"/>
                  </a:lnTo>
                  <a:lnTo>
                    <a:pt x="13" y="23"/>
                  </a:lnTo>
                  <a:lnTo>
                    <a:pt x="13" y="23"/>
                  </a:lnTo>
                  <a:lnTo>
                    <a:pt x="13" y="25"/>
                  </a:lnTo>
                  <a:lnTo>
                    <a:pt x="10" y="25"/>
                  </a:lnTo>
                  <a:lnTo>
                    <a:pt x="10" y="28"/>
                  </a:lnTo>
                  <a:lnTo>
                    <a:pt x="7" y="28"/>
                  </a:lnTo>
                  <a:lnTo>
                    <a:pt x="7" y="30"/>
                  </a:lnTo>
                  <a:lnTo>
                    <a:pt x="7" y="30"/>
                  </a:lnTo>
                  <a:lnTo>
                    <a:pt x="7" y="30"/>
                  </a:lnTo>
                  <a:lnTo>
                    <a:pt x="7" y="33"/>
                  </a:lnTo>
                  <a:lnTo>
                    <a:pt x="10" y="33"/>
                  </a:lnTo>
                  <a:lnTo>
                    <a:pt x="13" y="33"/>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178" name="Freeform 1796">
              <a:extLst>
                <a:ext uri="{FF2B5EF4-FFF2-40B4-BE49-F238E27FC236}">
                  <a16:creationId xmlns:a16="http://schemas.microsoft.com/office/drawing/2014/main" id="{BD8F3504-4C49-6946-BCE2-504BAA57BFF2}"/>
                </a:ext>
              </a:extLst>
            </p:cNvPr>
            <p:cNvSpPr>
              <a:spLocks noEditPoints="1"/>
            </p:cNvSpPr>
            <p:nvPr/>
          </p:nvSpPr>
          <p:spPr bwMode="auto">
            <a:xfrm>
              <a:off x="5862139" y="2410754"/>
              <a:ext cx="125952" cy="266626"/>
            </a:xfrm>
            <a:custGeom>
              <a:avLst/>
              <a:gdLst>
                <a:gd name="T0" fmla="*/ 62 w 77"/>
                <a:gd name="T1" fmla="*/ 82 h 163"/>
                <a:gd name="T2" fmla="*/ 62 w 77"/>
                <a:gd name="T3" fmla="*/ 84 h 163"/>
                <a:gd name="T4" fmla="*/ 64 w 77"/>
                <a:gd name="T5" fmla="*/ 84 h 163"/>
                <a:gd name="T6" fmla="*/ 67 w 77"/>
                <a:gd name="T7" fmla="*/ 82 h 163"/>
                <a:gd name="T8" fmla="*/ 64 w 77"/>
                <a:gd name="T9" fmla="*/ 79 h 163"/>
                <a:gd name="T10" fmla="*/ 72 w 77"/>
                <a:gd name="T11" fmla="*/ 59 h 163"/>
                <a:gd name="T12" fmla="*/ 72 w 77"/>
                <a:gd name="T13" fmla="*/ 61 h 163"/>
                <a:gd name="T14" fmla="*/ 74 w 77"/>
                <a:gd name="T15" fmla="*/ 104 h 163"/>
                <a:gd name="T16" fmla="*/ 74 w 77"/>
                <a:gd name="T17" fmla="*/ 97 h 163"/>
                <a:gd name="T18" fmla="*/ 72 w 77"/>
                <a:gd name="T19" fmla="*/ 97 h 163"/>
                <a:gd name="T20" fmla="*/ 69 w 77"/>
                <a:gd name="T21" fmla="*/ 94 h 163"/>
                <a:gd name="T22" fmla="*/ 69 w 77"/>
                <a:gd name="T23" fmla="*/ 92 h 163"/>
                <a:gd name="T24" fmla="*/ 64 w 77"/>
                <a:gd name="T25" fmla="*/ 89 h 163"/>
                <a:gd name="T26" fmla="*/ 62 w 77"/>
                <a:gd name="T27" fmla="*/ 87 h 163"/>
                <a:gd name="T28" fmla="*/ 54 w 77"/>
                <a:gd name="T29" fmla="*/ 84 h 163"/>
                <a:gd name="T30" fmla="*/ 49 w 77"/>
                <a:gd name="T31" fmla="*/ 74 h 163"/>
                <a:gd name="T32" fmla="*/ 51 w 77"/>
                <a:gd name="T33" fmla="*/ 69 h 163"/>
                <a:gd name="T34" fmla="*/ 64 w 77"/>
                <a:gd name="T35" fmla="*/ 59 h 163"/>
                <a:gd name="T36" fmla="*/ 67 w 77"/>
                <a:gd name="T37" fmla="*/ 48 h 163"/>
                <a:gd name="T38" fmla="*/ 67 w 77"/>
                <a:gd name="T39" fmla="*/ 41 h 163"/>
                <a:gd name="T40" fmla="*/ 59 w 77"/>
                <a:gd name="T41" fmla="*/ 33 h 163"/>
                <a:gd name="T42" fmla="*/ 56 w 77"/>
                <a:gd name="T43" fmla="*/ 26 h 163"/>
                <a:gd name="T44" fmla="*/ 62 w 77"/>
                <a:gd name="T45" fmla="*/ 20 h 163"/>
                <a:gd name="T46" fmla="*/ 69 w 77"/>
                <a:gd name="T47" fmla="*/ 13 h 163"/>
                <a:gd name="T48" fmla="*/ 64 w 77"/>
                <a:gd name="T49" fmla="*/ 8 h 163"/>
                <a:gd name="T50" fmla="*/ 56 w 77"/>
                <a:gd name="T51" fmla="*/ 13 h 163"/>
                <a:gd name="T52" fmla="*/ 54 w 77"/>
                <a:gd name="T53" fmla="*/ 13 h 163"/>
                <a:gd name="T54" fmla="*/ 49 w 77"/>
                <a:gd name="T55" fmla="*/ 3 h 163"/>
                <a:gd name="T56" fmla="*/ 44 w 77"/>
                <a:gd name="T57" fmla="*/ 3 h 163"/>
                <a:gd name="T58" fmla="*/ 44 w 77"/>
                <a:gd name="T59" fmla="*/ 3 h 163"/>
                <a:gd name="T60" fmla="*/ 44 w 77"/>
                <a:gd name="T61" fmla="*/ 0 h 163"/>
                <a:gd name="T62" fmla="*/ 28 w 77"/>
                <a:gd name="T63" fmla="*/ 5 h 163"/>
                <a:gd name="T64" fmla="*/ 21 w 77"/>
                <a:gd name="T65" fmla="*/ 10 h 163"/>
                <a:gd name="T66" fmla="*/ 18 w 77"/>
                <a:gd name="T67" fmla="*/ 15 h 163"/>
                <a:gd name="T68" fmla="*/ 13 w 77"/>
                <a:gd name="T69" fmla="*/ 20 h 163"/>
                <a:gd name="T70" fmla="*/ 16 w 77"/>
                <a:gd name="T71" fmla="*/ 23 h 163"/>
                <a:gd name="T72" fmla="*/ 16 w 77"/>
                <a:gd name="T73" fmla="*/ 31 h 163"/>
                <a:gd name="T74" fmla="*/ 16 w 77"/>
                <a:gd name="T75" fmla="*/ 38 h 163"/>
                <a:gd name="T76" fmla="*/ 16 w 77"/>
                <a:gd name="T77" fmla="*/ 46 h 163"/>
                <a:gd name="T78" fmla="*/ 16 w 77"/>
                <a:gd name="T79" fmla="*/ 54 h 163"/>
                <a:gd name="T80" fmla="*/ 13 w 77"/>
                <a:gd name="T81" fmla="*/ 61 h 163"/>
                <a:gd name="T82" fmla="*/ 11 w 77"/>
                <a:gd name="T83" fmla="*/ 66 h 163"/>
                <a:gd name="T84" fmla="*/ 3 w 77"/>
                <a:gd name="T85" fmla="*/ 71 h 163"/>
                <a:gd name="T86" fmla="*/ 0 w 77"/>
                <a:gd name="T87" fmla="*/ 79 h 163"/>
                <a:gd name="T88" fmla="*/ 0 w 77"/>
                <a:gd name="T89" fmla="*/ 89 h 163"/>
                <a:gd name="T90" fmla="*/ 3 w 77"/>
                <a:gd name="T91" fmla="*/ 94 h 163"/>
                <a:gd name="T92" fmla="*/ 11 w 77"/>
                <a:gd name="T93" fmla="*/ 99 h 163"/>
                <a:gd name="T94" fmla="*/ 16 w 77"/>
                <a:gd name="T95" fmla="*/ 112 h 163"/>
                <a:gd name="T96" fmla="*/ 26 w 77"/>
                <a:gd name="T97" fmla="*/ 120 h 163"/>
                <a:gd name="T98" fmla="*/ 28 w 77"/>
                <a:gd name="T99" fmla="*/ 127 h 163"/>
                <a:gd name="T100" fmla="*/ 34 w 77"/>
                <a:gd name="T101" fmla="*/ 143 h 163"/>
                <a:gd name="T102" fmla="*/ 36 w 77"/>
                <a:gd name="T103" fmla="*/ 158 h 163"/>
                <a:gd name="T104" fmla="*/ 44 w 77"/>
                <a:gd name="T105" fmla="*/ 160 h 163"/>
                <a:gd name="T106" fmla="*/ 49 w 77"/>
                <a:gd name="T107" fmla="*/ 155 h 163"/>
                <a:gd name="T108" fmla="*/ 51 w 77"/>
                <a:gd name="T109" fmla="*/ 148 h 163"/>
                <a:gd name="T110" fmla="*/ 49 w 77"/>
                <a:gd name="T111" fmla="*/ 140 h 163"/>
                <a:gd name="T112" fmla="*/ 51 w 77"/>
                <a:gd name="T113" fmla="*/ 132 h 163"/>
                <a:gd name="T114" fmla="*/ 56 w 77"/>
                <a:gd name="T115" fmla="*/ 130 h 163"/>
                <a:gd name="T116" fmla="*/ 59 w 77"/>
                <a:gd name="T117" fmla="*/ 125 h 163"/>
                <a:gd name="T118" fmla="*/ 62 w 77"/>
                <a:gd name="T119" fmla="*/ 122 h 163"/>
                <a:gd name="T120" fmla="*/ 72 w 77"/>
                <a:gd name="T121" fmla="*/ 115 h 163"/>
                <a:gd name="T122" fmla="*/ 77 w 77"/>
                <a:gd name="T123" fmla="*/ 112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7" h="163">
                  <a:moveTo>
                    <a:pt x="64" y="79"/>
                  </a:moveTo>
                  <a:lnTo>
                    <a:pt x="62" y="82"/>
                  </a:lnTo>
                  <a:lnTo>
                    <a:pt x="62" y="82"/>
                  </a:lnTo>
                  <a:lnTo>
                    <a:pt x="62" y="84"/>
                  </a:lnTo>
                  <a:lnTo>
                    <a:pt x="62" y="84"/>
                  </a:lnTo>
                  <a:lnTo>
                    <a:pt x="62" y="84"/>
                  </a:lnTo>
                  <a:lnTo>
                    <a:pt x="64" y="84"/>
                  </a:lnTo>
                  <a:lnTo>
                    <a:pt x="64" y="84"/>
                  </a:lnTo>
                  <a:lnTo>
                    <a:pt x="64" y="84"/>
                  </a:lnTo>
                  <a:lnTo>
                    <a:pt x="64" y="84"/>
                  </a:lnTo>
                  <a:lnTo>
                    <a:pt x="67" y="84"/>
                  </a:lnTo>
                  <a:lnTo>
                    <a:pt x="67" y="82"/>
                  </a:lnTo>
                  <a:lnTo>
                    <a:pt x="67" y="82"/>
                  </a:lnTo>
                  <a:lnTo>
                    <a:pt x="67" y="82"/>
                  </a:lnTo>
                  <a:lnTo>
                    <a:pt x="64" y="79"/>
                  </a:lnTo>
                  <a:close/>
                  <a:moveTo>
                    <a:pt x="72" y="61"/>
                  </a:moveTo>
                  <a:lnTo>
                    <a:pt x="72" y="59"/>
                  </a:lnTo>
                  <a:lnTo>
                    <a:pt x="72" y="59"/>
                  </a:lnTo>
                  <a:lnTo>
                    <a:pt x="69" y="61"/>
                  </a:lnTo>
                  <a:lnTo>
                    <a:pt x="69" y="61"/>
                  </a:lnTo>
                  <a:lnTo>
                    <a:pt x="72" y="61"/>
                  </a:lnTo>
                  <a:close/>
                  <a:moveTo>
                    <a:pt x="77" y="112"/>
                  </a:moveTo>
                  <a:lnTo>
                    <a:pt x="74" y="110"/>
                  </a:lnTo>
                  <a:lnTo>
                    <a:pt x="74" y="104"/>
                  </a:lnTo>
                  <a:lnTo>
                    <a:pt x="74" y="102"/>
                  </a:lnTo>
                  <a:lnTo>
                    <a:pt x="74" y="102"/>
                  </a:lnTo>
                  <a:lnTo>
                    <a:pt x="74" y="97"/>
                  </a:lnTo>
                  <a:lnTo>
                    <a:pt x="74" y="97"/>
                  </a:lnTo>
                  <a:lnTo>
                    <a:pt x="74" y="94"/>
                  </a:lnTo>
                  <a:lnTo>
                    <a:pt x="72" y="97"/>
                  </a:lnTo>
                  <a:lnTo>
                    <a:pt x="69" y="94"/>
                  </a:lnTo>
                  <a:lnTo>
                    <a:pt x="69" y="94"/>
                  </a:lnTo>
                  <a:lnTo>
                    <a:pt x="69" y="94"/>
                  </a:lnTo>
                  <a:lnTo>
                    <a:pt x="72" y="94"/>
                  </a:lnTo>
                  <a:lnTo>
                    <a:pt x="72" y="94"/>
                  </a:lnTo>
                  <a:lnTo>
                    <a:pt x="69" y="92"/>
                  </a:lnTo>
                  <a:lnTo>
                    <a:pt x="67" y="87"/>
                  </a:lnTo>
                  <a:lnTo>
                    <a:pt x="64" y="87"/>
                  </a:lnTo>
                  <a:lnTo>
                    <a:pt x="64" y="89"/>
                  </a:lnTo>
                  <a:lnTo>
                    <a:pt x="62" y="89"/>
                  </a:lnTo>
                  <a:lnTo>
                    <a:pt x="62" y="89"/>
                  </a:lnTo>
                  <a:lnTo>
                    <a:pt x="62" y="87"/>
                  </a:lnTo>
                  <a:lnTo>
                    <a:pt x="62" y="84"/>
                  </a:lnTo>
                  <a:lnTo>
                    <a:pt x="56" y="87"/>
                  </a:lnTo>
                  <a:lnTo>
                    <a:pt x="54" y="84"/>
                  </a:lnTo>
                  <a:lnTo>
                    <a:pt x="49" y="82"/>
                  </a:lnTo>
                  <a:lnTo>
                    <a:pt x="49" y="76"/>
                  </a:lnTo>
                  <a:lnTo>
                    <a:pt x="49" y="74"/>
                  </a:lnTo>
                  <a:lnTo>
                    <a:pt x="49" y="74"/>
                  </a:lnTo>
                  <a:lnTo>
                    <a:pt x="49" y="71"/>
                  </a:lnTo>
                  <a:lnTo>
                    <a:pt x="51" y="69"/>
                  </a:lnTo>
                  <a:lnTo>
                    <a:pt x="56" y="66"/>
                  </a:lnTo>
                  <a:lnTo>
                    <a:pt x="59" y="61"/>
                  </a:lnTo>
                  <a:lnTo>
                    <a:pt x="64" y="59"/>
                  </a:lnTo>
                  <a:lnTo>
                    <a:pt x="64" y="54"/>
                  </a:lnTo>
                  <a:lnTo>
                    <a:pt x="69" y="48"/>
                  </a:lnTo>
                  <a:lnTo>
                    <a:pt x="67" y="48"/>
                  </a:lnTo>
                  <a:lnTo>
                    <a:pt x="67" y="43"/>
                  </a:lnTo>
                  <a:lnTo>
                    <a:pt x="67" y="43"/>
                  </a:lnTo>
                  <a:lnTo>
                    <a:pt x="67" y="41"/>
                  </a:lnTo>
                  <a:lnTo>
                    <a:pt x="62" y="38"/>
                  </a:lnTo>
                  <a:lnTo>
                    <a:pt x="59" y="36"/>
                  </a:lnTo>
                  <a:lnTo>
                    <a:pt x="59" y="33"/>
                  </a:lnTo>
                  <a:lnTo>
                    <a:pt x="56" y="31"/>
                  </a:lnTo>
                  <a:lnTo>
                    <a:pt x="56" y="28"/>
                  </a:lnTo>
                  <a:lnTo>
                    <a:pt x="56" y="26"/>
                  </a:lnTo>
                  <a:lnTo>
                    <a:pt x="56" y="26"/>
                  </a:lnTo>
                  <a:lnTo>
                    <a:pt x="59" y="23"/>
                  </a:lnTo>
                  <a:lnTo>
                    <a:pt x="62" y="20"/>
                  </a:lnTo>
                  <a:lnTo>
                    <a:pt x="64" y="15"/>
                  </a:lnTo>
                  <a:lnTo>
                    <a:pt x="67" y="13"/>
                  </a:lnTo>
                  <a:lnTo>
                    <a:pt x="69" y="13"/>
                  </a:lnTo>
                  <a:lnTo>
                    <a:pt x="67" y="10"/>
                  </a:lnTo>
                  <a:lnTo>
                    <a:pt x="67" y="8"/>
                  </a:lnTo>
                  <a:lnTo>
                    <a:pt x="64" y="8"/>
                  </a:lnTo>
                  <a:lnTo>
                    <a:pt x="62" y="10"/>
                  </a:lnTo>
                  <a:lnTo>
                    <a:pt x="59" y="10"/>
                  </a:lnTo>
                  <a:lnTo>
                    <a:pt x="56" y="13"/>
                  </a:lnTo>
                  <a:lnTo>
                    <a:pt x="54" y="15"/>
                  </a:lnTo>
                  <a:lnTo>
                    <a:pt x="54" y="13"/>
                  </a:lnTo>
                  <a:lnTo>
                    <a:pt x="54" y="13"/>
                  </a:lnTo>
                  <a:lnTo>
                    <a:pt x="51" y="8"/>
                  </a:lnTo>
                  <a:lnTo>
                    <a:pt x="51" y="5"/>
                  </a:lnTo>
                  <a:lnTo>
                    <a:pt x="49" y="3"/>
                  </a:lnTo>
                  <a:lnTo>
                    <a:pt x="46" y="3"/>
                  </a:lnTo>
                  <a:lnTo>
                    <a:pt x="44" y="3"/>
                  </a:lnTo>
                  <a:lnTo>
                    <a:pt x="44" y="3"/>
                  </a:lnTo>
                  <a:lnTo>
                    <a:pt x="46" y="5"/>
                  </a:lnTo>
                  <a:lnTo>
                    <a:pt x="44" y="5"/>
                  </a:lnTo>
                  <a:lnTo>
                    <a:pt x="44" y="3"/>
                  </a:lnTo>
                  <a:lnTo>
                    <a:pt x="44" y="3"/>
                  </a:lnTo>
                  <a:lnTo>
                    <a:pt x="44" y="3"/>
                  </a:lnTo>
                  <a:lnTo>
                    <a:pt x="44" y="0"/>
                  </a:lnTo>
                  <a:lnTo>
                    <a:pt x="41" y="0"/>
                  </a:lnTo>
                  <a:lnTo>
                    <a:pt x="31" y="5"/>
                  </a:lnTo>
                  <a:lnTo>
                    <a:pt x="28" y="5"/>
                  </a:lnTo>
                  <a:lnTo>
                    <a:pt x="26" y="8"/>
                  </a:lnTo>
                  <a:lnTo>
                    <a:pt x="21" y="10"/>
                  </a:lnTo>
                  <a:lnTo>
                    <a:pt x="21" y="10"/>
                  </a:lnTo>
                  <a:lnTo>
                    <a:pt x="21" y="13"/>
                  </a:lnTo>
                  <a:lnTo>
                    <a:pt x="18" y="13"/>
                  </a:lnTo>
                  <a:lnTo>
                    <a:pt x="18" y="15"/>
                  </a:lnTo>
                  <a:lnTo>
                    <a:pt x="16" y="18"/>
                  </a:lnTo>
                  <a:lnTo>
                    <a:pt x="13" y="20"/>
                  </a:lnTo>
                  <a:lnTo>
                    <a:pt x="13" y="20"/>
                  </a:lnTo>
                  <a:lnTo>
                    <a:pt x="13" y="20"/>
                  </a:lnTo>
                  <a:lnTo>
                    <a:pt x="16" y="20"/>
                  </a:lnTo>
                  <a:lnTo>
                    <a:pt x="16" y="23"/>
                  </a:lnTo>
                  <a:lnTo>
                    <a:pt x="16" y="23"/>
                  </a:lnTo>
                  <a:lnTo>
                    <a:pt x="16" y="28"/>
                  </a:lnTo>
                  <a:lnTo>
                    <a:pt x="16" y="31"/>
                  </a:lnTo>
                  <a:lnTo>
                    <a:pt x="13" y="36"/>
                  </a:lnTo>
                  <a:lnTo>
                    <a:pt x="13" y="36"/>
                  </a:lnTo>
                  <a:lnTo>
                    <a:pt x="16" y="38"/>
                  </a:lnTo>
                  <a:lnTo>
                    <a:pt x="16" y="41"/>
                  </a:lnTo>
                  <a:lnTo>
                    <a:pt x="16" y="41"/>
                  </a:lnTo>
                  <a:lnTo>
                    <a:pt x="16" y="46"/>
                  </a:lnTo>
                  <a:lnTo>
                    <a:pt x="16" y="48"/>
                  </a:lnTo>
                  <a:lnTo>
                    <a:pt x="16" y="51"/>
                  </a:lnTo>
                  <a:lnTo>
                    <a:pt x="16" y="54"/>
                  </a:lnTo>
                  <a:lnTo>
                    <a:pt x="13" y="56"/>
                  </a:lnTo>
                  <a:lnTo>
                    <a:pt x="13" y="59"/>
                  </a:lnTo>
                  <a:lnTo>
                    <a:pt x="13" y="61"/>
                  </a:lnTo>
                  <a:lnTo>
                    <a:pt x="13" y="64"/>
                  </a:lnTo>
                  <a:lnTo>
                    <a:pt x="11" y="64"/>
                  </a:lnTo>
                  <a:lnTo>
                    <a:pt x="11" y="66"/>
                  </a:lnTo>
                  <a:lnTo>
                    <a:pt x="8" y="66"/>
                  </a:lnTo>
                  <a:lnTo>
                    <a:pt x="5" y="69"/>
                  </a:lnTo>
                  <a:lnTo>
                    <a:pt x="3" y="71"/>
                  </a:lnTo>
                  <a:lnTo>
                    <a:pt x="0" y="74"/>
                  </a:lnTo>
                  <a:lnTo>
                    <a:pt x="0" y="76"/>
                  </a:lnTo>
                  <a:lnTo>
                    <a:pt x="0" y="79"/>
                  </a:lnTo>
                  <a:lnTo>
                    <a:pt x="0" y="82"/>
                  </a:lnTo>
                  <a:lnTo>
                    <a:pt x="0" y="84"/>
                  </a:lnTo>
                  <a:lnTo>
                    <a:pt x="0" y="89"/>
                  </a:lnTo>
                  <a:lnTo>
                    <a:pt x="3" y="92"/>
                  </a:lnTo>
                  <a:lnTo>
                    <a:pt x="3" y="94"/>
                  </a:lnTo>
                  <a:lnTo>
                    <a:pt x="3" y="94"/>
                  </a:lnTo>
                  <a:lnTo>
                    <a:pt x="5" y="97"/>
                  </a:lnTo>
                  <a:lnTo>
                    <a:pt x="11" y="99"/>
                  </a:lnTo>
                  <a:lnTo>
                    <a:pt x="11" y="99"/>
                  </a:lnTo>
                  <a:lnTo>
                    <a:pt x="13" y="102"/>
                  </a:lnTo>
                  <a:lnTo>
                    <a:pt x="13" y="107"/>
                  </a:lnTo>
                  <a:lnTo>
                    <a:pt x="16" y="112"/>
                  </a:lnTo>
                  <a:lnTo>
                    <a:pt x="18" y="115"/>
                  </a:lnTo>
                  <a:lnTo>
                    <a:pt x="21" y="117"/>
                  </a:lnTo>
                  <a:lnTo>
                    <a:pt x="26" y="120"/>
                  </a:lnTo>
                  <a:lnTo>
                    <a:pt x="28" y="120"/>
                  </a:lnTo>
                  <a:lnTo>
                    <a:pt x="28" y="122"/>
                  </a:lnTo>
                  <a:lnTo>
                    <a:pt x="28" y="127"/>
                  </a:lnTo>
                  <a:lnTo>
                    <a:pt x="31" y="132"/>
                  </a:lnTo>
                  <a:lnTo>
                    <a:pt x="31" y="138"/>
                  </a:lnTo>
                  <a:lnTo>
                    <a:pt x="34" y="143"/>
                  </a:lnTo>
                  <a:lnTo>
                    <a:pt x="34" y="150"/>
                  </a:lnTo>
                  <a:lnTo>
                    <a:pt x="36" y="153"/>
                  </a:lnTo>
                  <a:lnTo>
                    <a:pt x="36" y="158"/>
                  </a:lnTo>
                  <a:lnTo>
                    <a:pt x="39" y="163"/>
                  </a:lnTo>
                  <a:lnTo>
                    <a:pt x="39" y="163"/>
                  </a:lnTo>
                  <a:lnTo>
                    <a:pt x="44" y="160"/>
                  </a:lnTo>
                  <a:lnTo>
                    <a:pt x="44" y="160"/>
                  </a:lnTo>
                  <a:lnTo>
                    <a:pt x="46" y="158"/>
                  </a:lnTo>
                  <a:lnTo>
                    <a:pt x="49" y="155"/>
                  </a:lnTo>
                  <a:lnTo>
                    <a:pt x="49" y="153"/>
                  </a:lnTo>
                  <a:lnTo>
                    <a:pt x="51" y="150"/>
                  </a:lnTo>
                  <a:lnTo>
                    <a:pt x="51" y="148"/>
                  </a:lnTo>
                  <a:lnTo>
                    <a:pt x="51" y="148"/>
                  </a:lnTo>
                  <a:lnTo>
                    <a:pt x="51" y="145"/>
                  </a:lnTo>
                  <a:lnTo>
                    <a:pt x="49" y="140"/>
                  </a:lnTo>
                  <a:lnTo>
                    <a:pt x="49" y="135"/>
                  </a:lnTo>
                  <a:lnTo>
                    <a:pt x="49" y="132"/>
                  </a:lnTo>
                  <a:lnTo>
                    <a:pt x="51" y="132"/>
                  </a:lnTo>
                  <a:lnTo>
                    <a:pt x="51" y="130"/>
                  </a:lnTo>
                  <a:lnTo>
                    <a:pt x="51" y="130"/>
                  </a:lnTo>
                  <a:lnTo>
                    <a:pt x="56" y="130"/>
                  </a:lnTo>
                  <a:lnTo>
                    <a:pt x="56" y="127"/>
                  </a:lnTo>
                  <a:lnTo>
                    <a:pt x="59" y="125"/>
                  </a:lnTo>
                  <a:lnTo>
                    <a:pt x="59" y="125"/>
                  </a:lnTo>
                  <a:lnTo>
                    <a:pt x="59" y="125"/>
                  </a:lnTo>
                  <a:lnTo>
                    <a:pt x="62" y="122"/>
                  </a:lnTo>
                  <a:lnTo>
                    <a:pt x="62" y="122"/>
                  </a:lnTo>
                  <a:lnTo>
                    <a:pt x="67" y="120"/>
                  </a:lnTo>
                  <a:lnTo>
                    <a:pt x="69" y="117"/>
                  </a:lnTo>
                  <a:lnTo>
                    <a:pt x="72" y="115"/>
                  </a:lnTo>
                  <a:lnTo>
                    <a:pt x="77" y="115"/>
                  </a:lnTo>
                  <a:lnTo>
                    <a:pt x="77" y="112"/>
                  </a:lnTo>
                  <a:lnTo>
                    <a:pt x="77" y="11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179" name="Freeform 1797">
              <a:extLst>
                <a:ext uri="{FF2B5EF4-FFF2-40B4-BE49-F238E27FC236}">
                  <a16:creationId xmlns:a16="http://schemas.microsoft.com/office/drawing/2014/main" id="{3A647993-87F0-BB48-9411-87082140173C}"/>
                </a:ext>
              </a:extLst>
            </p:cNvPr>
            <p:cNvSpPr>
              <a:spLocks noEditPoints="1"/>
            </p:cNvSpPr>
            <p:nvPr/>
          </p:nvSpPr>
          <p:spPr bwMode="auto">
            <a:xfrm>
              <a:off x="3581922" y="3380746"/>
              <a:ext cx="50708" cy="45801"/>
            </a:xfrm>
            <a:custGeom>
              <a:avLst/>
              <a:gdLst>
                <a:gd name="T0" fmla="*/ 21 w 31"/>
                <a:gd name="T1" fmla="*/ 10 h 28"/>
                <a:gd name="T2" fmla="*/ 18 w 31"/>
                <a:gd name="T3" fmla="*/ 10 h 28"/>
                <a:gd name="T4" fmla="*/ 16 w 31"/>
                <a:gd name="T5" fmla="*/ 13 h 28"/>
                <a:gd name="T6" fmla="*/ 13 w 31"/>
                <a:gd name="T7" fmla="*/ 13 h 28"/>
                <a:gd name="T8" fmla="*/ 11 w 31"/>
                <a:gd name="T9" fmla="*/ 13 h 28"/>
                <a:gd name="T10" fmla="*/ 8 w 31"/>
                <a:gd name="T11" fmla="*/ 13 h 28"/>
                <a:gd name="T12" fmla="*/ 8 w 31"/>
                <a:gd name="T13" fmla="*/ 13 h 28"/>
                <a:gd name="T14" fmla="*/ 8 w 31"/>
                <a:gd name="T15" fmla="*/ 15 h 28"/>
                <a:gd name="T16" fmla="*/ 8 w 31"/>
                <a:gd name="T17" fmla="*/ 15 h 28"/>
                <a:gd name="T18" fmla="*/ 11 w 31"/>
                <a:gd name="T19" fmla="*/ 15 h 28"/>
                <a:gd name="T20" fmla="*/ 11 w 31"/>
                <a:gd name="T21" fmla="*/ 15 h 28"/>
                <a:gd name="T22" fmla="*/ 11 w 31"/>
                <a:gd name="T23" fmla="*/ 18 h 28"/>
                <a:gd name="T24" fmla="*/ 11 w 31"/>
                <a:gd name="T25" fmla="*/ 23 h 28"/>
                <a:gd name="T26" fmla="*/ 8 w 31"/>
                <a:gd name="T27" fmla="*/ 23 h 28"/>
                <a:gd name="T28" fmla="*/ 5 w 31"/>
                <a:gd name="T29" fmla="*/ 25 h 28"/>
                <a:gd name="T30" fmla="*/ 5 w 31"/>
                <a:gd name="T31" fmla="*/ 25 h 28"/>
                <a:gd name="T32" fmla="*/ 0 w 31"/>
                <a:gd name="T33" fmla="*/ 28 h 28"/>
                <a:gd name="T34" fmla="*/ 3 w 31"/>
                <a:gd name="T35" fmla="*/ 28 h 28"/>
                <a:gd name="T36" fmla="*/ 8 w 31"/>
                <a:gd name="T37" fmla="*/ 28 h 28"/>
                <a:gd name="T38" fmla="*/ 16 w 31"/>
                <a:gd name="T39" fmla="*/ 28 h 28"/>
                <a:gd name="T40" fmla="*/ 18 w 31"/>
                <a:gd name="T41" fmla="*/ 28 h 28"/>
                <a:gd name="T42" fmla="*/ 18 w 31"/>
                <a:gd name="T43" fmla="*/ 25 h 28"/>
                <a:gd name="T44" fmla="*/ 18 w 31"/>
                <a:gd name="T45" fmla="*/ 23 h 28"/>
                <a:gd name="T46" fmla="*/ 21 w 31"/>
                <a:gd name="T47" fmla="*/ 23 h 28"/>
                <a:gd name="T48" fmla="*/ 18 w 31"/>
                <a:gd name="T49" fmla="*/ 20 h 28"/>
                <a:gd name="T50" fmla="*/ 18 w 31"/>
                <a:gd name="T51" fmla="*/ 18 h 28"/>
                <a:gd name="T52" fmla="*/ 18 w 31"/>
                <a:gd name="T53" fmla="*/ 18 h 28"/>
                <a:gd name="T54" fmla="*/ 18 w 31"/>
                <a:gd name="T55" fmla="*/ 15 h 28"/>
                <a:gd name="T56" fmla="*/ 21 w 31"/>
                <a:gd name="T57" fmla="*/ 13 h 28"/>
                <a:gd name="T58" fmla="*/ 21 w 31"/>
                <a:gd name="T59" fmla="*/ 10 h 28"/>
                <a:gd name="T60" fmla="*/ 28 w 31"/>
                <a:gd name="T61" fmla="*/ 0 h 28"/>
                <a:gd name="T62" fmla="*/ 26 w 31"/>
                <a:gd name="T63" fmla="*/ 0 h 28"/>
                <a:gd name="T64" fmla="*/ 23 w 31"/>
                <a:gd name="T65" fmla="*/ 3 h 28"/>
                <a:gd name="T66" fmla="*/ 23 w 31"/>
                <a:gd name="T67" fmla="*/ 3 h 28"/>
                <a:gd name="T68" fmla="*/ 26 w 31"/>
                <a:gd name="T69" fmla="*/ 3 h 28"/>
                <a:gd name="T70" fmla="*/ 31 w 31"/>
                <a:gd name="T71" fmla="*/ 0 h 28"/>
                <a:gd name="T72" fmla="*/ 31 w 31"/>
                <a:gd name="T73" fmla="*/ 0 h 28"/>
                <a:gd name="T74" fmla="*/ 28 w 31"/>
                <a:gd name="T75" fmla="*/ 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1" h="28">
                  <a:moveTo>
                    <a:pt x="21" y="10"/>
                  </a:moveTo>
                  <a:lnTo>
                    <a:pt x="18" y="10"/>
                  </a:lnTo>
                  <a:lnTo>
                    <a:pt x="16" y="13"/>
                  </a:lnTo>
                  <a:lnTo>
                    <a:pt x="13" y="13"/>
                  </a:lnTo>
                  <a:lnTo>
                    <a:pt x="11" y="13"/>
                  </a:lnTo>
                  <a:lnTo>
                    <a:pt x="8" y="13"/>
                  </a:lnTo>
                  <a:lnTo>
                    <a:pt x="8" y="13"/>
                  </a:lnTo>
                  <a:lnTo>
                    <a:pt x="8" y="15"/>
                  </a:lnTo>
                  <a:lnTo>
                    <a:pt x="8" y="15"/>
                  </a:lnTo>
                  <a:lnTo>
                    <a:pt x="11" y="15"/>
                  </a:lnTo>
                  <a:lnTo>
                    <a:pt x="11" y="15"/>
                  </a:lnTo>
                  <a:lnTo>
                    <a:pt x="11" y="18"/>
                  </a:lnTo>
                  <a:lnTo>
                    <a:pt x="11" y="23"/>
                  </a:lnTo>
                  <a:lnTo>
                    <a:pt x="8" y="23"/>
                  </a:lnTo>
                  <a:lnTo>
                    <a:pt x="5" y="25"/>
                  </a:lnTo>
                  <a:lnTo>
                    <a:pt x="5" y="25"/>
                  </a:lnTo>
                  <a:lnTo>
                    <a:pt x="0" y="28"/>
                  </a:lnTo>
                  <a:lnTo>
                    <a:pt x="3" y="28"/>
                  </a:lnTo>
                  <a:lnTo>
                    <a:pt x="8" y="28"/>
                  </a:lnTo>
                  <a:lnTo>
                    <a:pt x="16" y="28"/>
                  </a:lnTo>
                  <a:lnTo>
                    <a:pt x="18" y="28"/>
                  </a:lnTo>
                  <a:lnTo>
                    <a:pt x="18" y="25"/>
                  </a:lnTo>
                  <a:lnTo>
                    <a:pt x="18" y="23"/>
                  </a:lnTo>
                  <a:lnTo>
                    <a:pt x="21" y="23"/>
                  </a:lnTo>
                  <a:lnTo>
                    <a:pt x="18" y="20"/>
                  </a:lnTo>
                  <a:lnTo>
                    <a:pt x="18" y="18"/>
                  </a:lnTo>
                  <a:lnTo>
                    <a:pt x="18" y="18"/>
                  </a:lnTo>
                  <a:lnTo>
                    <a:pt x="18" y="15"/>
                  </a:lnTo>
                  <a:lnTo>
                    <a:pt x="21" y="13"/>
                  </a:lnTo>
                  <a:lnTo>
                    <a:pt x="21" y="10"/>
                  </a:lnTo>
                  <a:close/>
                  <a:moveTo>
                    <a:pt x="28" y="0"/>
                  </a:moveTo>
                  <a:lnTo>
                    <a:pt x="26" y="0"/>
                  </a:lnTo>
                  <a:lnTo>
                    <a:pt x="23" y="3"/>
                  </a:lnTo>
                  <a:lnTo>
                    <a:pt x="23" y="3"/>
                  </a:lnTo>
                  <a:lnTo>
                    <a:pt x="26" y="3"/>
                  </a:lnTo>
                  <a:lnTo>
                    <a:pt x="31" y="0"/>
                  </a:lnTo>
                  <a:lnTo>
                    <a:pt x="31" y="0"/>
                  </a:lnTo>
                  <a:lnTo>
                    <a:pt x="28"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180" name="Freeform 1798">
              <a:extLst>
                <a:ext uri="{FF2B5EF4-FFF2-40B4-BE49-F238E27FC236}">
                  <a16:creationId xmlns:a16="http://schemas.microsoft.com/office/drawing/2014/main" id="{A7102405-13C1-1E47-AB53-21F406AE51D9}"/>
                </a:ext>
              </a:extLst>
            </p:cNvPr>
            <p:cNvSpPr>
              <a:spLocks/>
            </p:cNvSpPr>
            <p:nvPr/>
          </p:nvSpPr>
          <p:spPr bwMode="auto">
            <a:xfrm>
              <a:off x="5608599" y="3388924"/>
              <a:ext cx="58887" cy="188110"/>
            </a:xfrm>
            <a:custGeom>
              <a:avLst/>
              <a:gdLst>
                <a:gd name="T0" fmla="*/ 33 w 36"/>
                <a:gd name="T1" fmla="*/ 102 h 115"/>
                <a:gd name="T2" fmla="*/ 33 w 36"/>
                <a:gd name="T3" fmla="*/ 99 h 115"/>
                <a:gd name="T4" fmla="*/ 31 w 36"/>
                <a:gd name="T5" fmla="*/ 94 h 115"/>
                <a:gd name="T6" fmla="*/ 33 w 36"/>
                <a:gd name="T7" fmla="*/ 76 h 115"/>
                <a:gd name="T8" fmla="*/ 33 w 36"/>
                <a:gd name="T9" fmla="*/ 59 h 115"/>
                <a:gd name="T10" fmla="*/ 33 w 36"/>
                <a:gd name="T11" fmla="*/ 43 h 115"/>
                <a:gd name="T12" fmla="*/ 28 w 36"/>
                <a:gd name="T13" fmla="*/ 38 h 115"/>
                <a:gd name="T14" fmla="*/ 28 w 36"/>
                <a:gd name="T15" fmla="*/ 26 h 115"/>
                <a:gd name="T16" fmla="*/ 20 w 36"/>
                <a:gd name="T17" fmla="*/ 20 h 115"/>
                <a:gd name="T18" fmla="*/ 15 w 36"/>
                <a:gd name="T19" fmla="*/ 15 h 115"/>
                <a:gd name="T20" fmla="*/ 18 w 36"/>
                <a:gd name="T21" fmla="*/ 5 h 115"/>
                <a:gd name="T22" fmla="*/ 13 w 36"/>
                <a:gd name="T23" fmla="*/ 3 h 115"/>
                <a:gd name="T24" fmla="*/ 10 w 36"/>
                <a:gd name="T25" fmla="*/ 3 h 115"/>
                <a:gd name="T26" fmla="*/ 0 w 36"/>
                <a:gd name="T27" fmla="*/ 0 h 115"/>
                <a:gd name="T28" fmla="*/ 0 w 36"/>
                <a:gd name="T29" fmla="*/ 8 h 115"/>
                <a:gd name="T30" fmla="*/ 0 w 36"/>
                <a:gd name="T31" fmla="*/ 10 h 115"/>
                <a:gd name="T32" fmla="*/ 5 w 36"/>
                <a:gd name="T33" fmla="*/ 15 h 115"/>
                <a:gd name="T34" fmla="*/ 8 w 36"/>
                <a:gd name="T35" fmla="*/ 18 h 115"/>
                <a:gd name="T36" fmla="*/ 8 w 36"/>
                <a:gd name="T37" fmla="*/ 26 h 115"/>
                <a:gd name="T38" fmla="*/ 8 w 36"/>
                <a:gd name="T39" fmla="*/ 33 h 115"/>
                <a:gd name="T40" fmla="*/ 5 w 36"/>
                <a:gd name="T41" fmla="*/ 33 h 115"/>
                <a:gd name="T42" fmla="*/ 8 w 36"/>
                <a:gd name="T43" fmla="*/ 33 h 115"/>
                <a:gd name="T44" fmla="*/ 5 w 36"/>
                <a:gd name="T45" fmla="*/ 36 h 115"/>
                <a:gd name="T46" fmla="*/ 5 w 36"/>
                <a:gd name="T47" fmla="*/ 38 h 115"/>
                <a:gd name="T48" fmla="*/ 8 w 36"/>
                <a:gd name="T49" fmla="*/ 36 h 115"/>
                <a:gd name="T50" fmla="*/ 10 w 36"/>
                <a:gd name="T51" fmla="*/ 38 h 115"/>
                <a:gd name="T52" fmla="*/ 10 w 36"/>
                <a:gd name="T53" fmla="*/ 46 h 115"/>
                <a:gd name="T54" fmla="*/ 10 w 36"/>
                <a:gd name="T55" fmla="*/ 51 h 115"/>
                <a:gd name="T56" fmla="*/ 8 w 36"/>
                <a:gd name="T57" fmla="*/ 54 h 115"/>
                <a:gd name="T58" fmla="*/ 13 w 36"/>
                <a:gd name="T59" fmla="*/ 59 h 115"/>
                <a:gd name="T60" fmla="*/ 13 w 36"/>
                <a:gd name="T61" fmla="*/ 64 h 115"/>
                <a:gd name="T62" fmla="*/ 13 w 36"/>
                <a:gd name="T63" fmla="*/ 76 h 115"/>
                <a:gd name="T64" fmla="*/ 10 w 36"/>
                <a:gd name="T65" fmla="*/ 84 h 115"/>
                <a:gd name="T66" fmla="*/ 13 w 36"/>
                <a:gd name="T67" fmla="*/ 84 h 115"/>
                <a:gd name="T68" fmla="*/ 13 w 36"/>
                <a:gd name="T69" fmla="*/ 92 h 115"/>
                <a:gd name="T70" fmla="*/ 10 w 36"/>
                <a:gd name="T71" fmla="*/ 94 h 115"/>
                <a:gd name="T72" fmla="*/ 10 w 36"/>
                <a:gd name="T73" fmla="*/ 97 h 115"/>
                <a:gd name="T74" fmla="*/ 15 w 36"/>
                <a:gd name="T75" fmla="*/ 102 h 115"/>
                <a:gd name="T76" fmla="*/ 15 w 36"/>
                <a:gd name="T77" fmla="*/ 104 h 115"/>
                <a:gd name="T78" fmla="*/ 20 w 36"/>
                <a:gd name="T79" fmla="*/ 110 h 115"/>
                <a:gd name="T80" fmla="*/ 23 w 36"/>
                <a:gd name="T81" fmla="*/ 112 h 115"/>
                <a:gd name="T82" fmla="*/ 23 w 36"/>
                <a:gd name="T83" fmla="*/ 115 h 115"/>
                <a:gd name="T84" fmla="*/ 33 w 36"/>
                <a:gd name="T85" fmla="*/ 110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6" h="115">
                  <a:moveTo>
                    <a:pt x="36" y="110"/>
                  </a:moveTo>
                  <a:lnTo>
                    <a:pt x="36" y="107"/>
                  </a:lnTo>
                  <a:lnTo>
                    <a:pt x="33" y="102"/>
                  </a:lnTo>
                  <a:lnTo>
                    <a:pt x="33" y="102"/>
                  </a:lnTo>
                  <a:lnTo>
                    <a:pt x="33" y="99"/>
                  </a:lnTo>
                  <a:lnTo>
                    <a:pt x="33" y="99"/>
                  </a:lnTo>
                  <a:lnTo>
                    <a:pt x="33" y="99"/>
                  </a:lnTo>
                  <a:lnTo>
                    <a:pt x="33" y="97"/>
                  </a:lnTo>
                  <a:lnTo>
                    <a:pt x="31" y="94"/>
                  </a:lnTo>
                  <a:lnTo>
                    <a:pt x="33" y="94"/>
                  </a:lnTo>
                  <a:lnTo>
                    <a:pt x="33" y="84"/>
                  </a:lnTo>
                  <a:lnTo>
                    <a:pt x="33" y="76"/>
                  </a:lnTo>
                  <a:lnTo>
                    <a:pt x="33" y="69"/>
                  </a:lnTo>
                  <a:lnTo>
                    <a:pt x="33" y="64"/>
                  </a:lnTo>
                  <a:lnTo>
                    <a:pt x="33" y="59"/>
                  </a:lnTo>
                  <a:lnTo>
                    <a:pt x="33" y="54"/>
                  </a:lnTo>
                  <a:lnTo>
                    <a:pt x="33" y="46"/>
                  </a:lnTo>
                  <a:lnTo>
                    <a:pt x="33" y="43"/>
                  </a:lnTo>
                  <a:lnTo>
                    <a:pt x="28" y="41"/>
                  </a:lnTo>
                  <a:lnTo>
                    <a:pt x="28" y="38"/>
                  </a:lnTo>
                  <a:lnTo>
                    <a:pt x="28" y="38"/>
                  </a:lnTo>
                  <a:lnTo>
                    <a:pt x="28" y="36"/>
                  </a:lnTo>
                  <a:lnTo>
                    <a:pt x="28" y="31"/>
                  </a:lnTo>
                  <a:lnTo>
                    <a:pt x="28" y="26"/>
                  </a:lnTo>
                  <a:lnTo>
                    <a:pt x="28" y="26"/>
                  </a:lnTo>
                  <a:lnTo>
                    <a:pt x="25" y="23"/>
                  </a:lnTo>
                  <a:lnTo>
                    <a:pt x="20" y="20"/>
                  </a:lnTo>
                  <a:lnTo>
                    <a:pt x="18" y="18"/>
                  </a:lnTo>
                  <a:lnTo>
                    <a:pt x="15" y="18"/>
                  </a:lnTo>
                  <a:lnTo>
                    <a:pt x="15" y="15"/>
                  </a:lnTo>
                  <a:lnTo>
                    <a:pt x="18" y="8"/>
                  </a:lnTo>
                  <a:lnTo>
                    <a:pt x="18" y="8"/>
                  </a:lnTo>
                  <a:lnTo>
                    <a:pt x="18" y="5"/>
                  </a:lnTo>
                  <a:lnTo>
                    <a:pt x="18" y="3"/>
                  </a:lnTo>
                  <a:lnTo>
                    <a:pt x="13" y="3"/>
                  </a:lnTo>
                  <a:lnTo>
                    <a:pt x="13" y="3"/>
                  </a:lnTo>
                  <a:lnTo>
                    <a:pt x="10" y="3"/>
                  </a:lnTo>
                  <a:lnTo>
                    <a:pt x="10" y="3"/>
                  </a:lnTo>
                  <a:lnTo>
                    <a:pt x="10" y="3"/>
                  </a:lnTo>
                  <a:lnTo>
                    <a:pt x="5" y="0"/>
                  </a:lnTo>
                  <a:lnTo>
                    <a:pt x="0" y="0"/>
                  </a:lnTo>
                  <a:lnTo>
                    <a:pt x="0" y="0"/>
                  </a:lnTo>
                  <a:lnTo>
                    <a:pt x="0" y="3"/>
                  </a:lnTo>
                  <a:lnTo>
                    <a:pt x="0" y="5"/>
                  </a:lnTo>
                  <a:lnTo>
                    <a:pt x="0" y="8"/>
                  </a:lnTo>
                  <a:lnTo>
                    <a:pt x="0" y="8"/>
                  </a:lnTo>
                  <a:lnTo>
                    <a:pt x="0" y="10"/>
                  </a:lnTo>
                  <a:lnTo>
                    <a:pt x="0" y="10"/>
                  </a:lnTo>
                  <a:lnTo>
                    <a:pt x="2" y="13"/>
                  </a:lnTo>
                  <a:lnTo>
                    <a:pt x="2" y="13"/>
                  </a:lnTo>
                  <a:lnTo>
                    <a:pt x="5" y="15"/>
                  </a:lnTo>
                  <a:lnTo>
                    <a:pt x="5" y="15"/>
                  </a:lnTo>
                  <a:lnTo>
                    <a:pt x="8" y="18"/>
                  </a:lnTo>
                  <a:lnTo>
                    <a:pt x="8" y="18"/>
                  </a:lnTo>
                  <a:lnTo>
                    <a:pt x="8" y="18"/>
                  </a:lnTo>
                  <a:lnTo>
                    <a:pt x="8" y="20"/>
                  </a:lnTo>
                  <a:lnTo>
                    <a:pt x="8" y="26"/>
                  </a:lnTo>
                  <a:lnTo>
                    <a:pt x="8" y="28"/>
                  </a:lnTo>
                  <a:lnTo>
                    <a:pt x="8" y="28"/>
                  </a:lnTo>
                  <a:lnTo>
                    <a:pt x="8" y="33"/>
                  </a:lnTo>
                  <a:lnTo>
                    <a:pt x="8" y="33"/>
                  </a:lnTo>
                  <a:lnTo>
                    <a:pt x="8" y="33"/>
                  </a:lnTo>
                  <a:lnTo>
                    <a:pt x="5" y="33"/>
                  </a:lnTo>
                  <a:lnTo>
                    <a:pt x="5" y="33"/>
                  </a:lnTo>
                  <a:lnTo>
                    <a:pt x="5" y="33"/>
                  </a:lnTo>
                  <a:lnTo>
                    <a:pt x="8" y="33"/>
                  </a:lnTo>
                  <a:lnTo>
                    <a:pt x="8" y="33"/>
                  </a:lnTo>
                  <a:lnTo>
                    <a:pt x="5" y="36"/>
                  </a:lnTo>
                  <a:lnTo>
                    <a:pt x="5" y="36"/>
                  </a:lnTo>
                  <a:lnTo>
                    <a:pt x="5" y="36"/>
                  </a:lnTo>
                  <a:lnTo>
                    <a:pt x="5" y="38"/>
                  </a:lnTo>
                  <a:lnTo>
                    <a:pt x="5" y="38"/>
                  </a:lnTo>
                  <a:lnTo>
                    <a:pt x="5" y="38"/>
                  </a:lnTo>
                  <a:lnTo>
                    <a:pt x="8" y="38"/>
                  </a:lnTo>
                  <a:lnTo>
                    <a:pt x="8" y="36"/>
                  </a:lnTo>
                  <a:lnTo>
                    <a:pt x="8" y="36"/>
                  </a:lnTo>
                  <a:lnTo>
                    <a:pt x="10" y="36"/>
                  </a:lnTo>
                  <a:lnTo>
                    <a:pt x="10" y="38"/>
                  </a:lnTo>
                  <a:lnTo>
                    <a:pt x="10" y="38"/>
                  </a:lnTo>
                  <a:lnTo>
                    <a:pt x="10" y="43"/>
                  </a:lnTo>
                  <a:lnTo>
                    <a:pt x="10" y="46"/>
                  </a:lnTo>
                  <a:lnTo>
                    <a:pt x="10" y="48"/>
                  </a:lnTo>
                  <a:lnTo>
                    <a:pt x="10" y="51"/>
                  </a:lnTo>
                  <a:lnTo>
                    <a:pt x="10" y="51"/>
                  </a:lnTo>
                  <a:lnTo>
                    <a:pt x="10" y="51"/>
                  </a:lnTo>
                  <a:lnTo>
                    <a:pt x="8" y="54"/>
                  </a:lnTo>
                  <a:lnTo>
                    <a:pt x="8" y="54"/>
                  </a:lnTo>
                  <a:lnTo>
                    <a:pt x="10" y="56"/>
                  </a:lnTo>
                  <a:lnTo>
                    <a:pt x="10" y="56"/>
                  </a:lnTo>
                  <a:lnTo>
                    <a:pt x="13" y="59"/>
                  </a:lnTo>
                  <a:lnTo>
                    <a:pt x="15" y="61"/>
                  </a:lnTo>
                  <a:lnTo>
                    <a:pt x="15" y="64"/>
                  </a:lnTo>
                  <a:lnTo>
                    <a:pt x="13" y="64"/>
                  </a:lnTo>
                  <a:lnTo>
                    <a:pt x="13" y="66"/>
                  </a:lnTo>
                  <a:lnTo>
                    <a:pt x="13" y="66"/>
                  </a:lnTo>
                  <a:lnTo>
                    <a:pt x="13" y="76"/>
                  </a:lnTo>
                  <a:lnTo>
                    <a:pt x="10" y="82"/>
                  </a:lnTo>
                  <a:lnTo>
                    <a:pt x="10" y="82"/>
                  </a:lnTo>
                  <a:lnTo>
                    <a:pt x="10" y="84"/>
                  </a:lnTo>
                  <a:lnTo>
                    <a:pt x="10" y="84"/>
                  </a:lnTo>
                  <a:lnTo>
                    <a:pt x="13" y="84"/>
                  </a:lnTo>
                  <a:lnTo>
                    <a:pt x="13" y="84"/>
                  </a:lnTo>
                  <a:lnTo>
                    <a:pt x="13" y="89"/>
                  </a:lnTo>
                  <a:lnTo>
                    <a:pt x="13" y="92"/>
                  </a:lnTo>
                  <a:lnTo>
                    <a:pt x="13" y="92"/>
                  </a:lnTo>
                  <a:lnTo>
                    <a:pt x="13" y="92"/>
                  </a:lnTo>
                  <a:lnTo>
                    <a:pt x="10" y="94"/>
                  </a:lnTo>
                  <a:lnTo>
                    <a:pt x="10" y="94"/>
                  </a:lnTo>
                  <a:lnTo>
                    <a:pt x="10" y="97"/>
                  </a:lnTo>
                  <a:lnTo>
                    <a:pt x="10" y="97"/>
                  </a:lnTo>
                  <a:lnTo>
                    <a:pt x="10" y="97"/>
                  </a:lnTo>
                  <a:lnTo>
                    <a:pt x="13" y="99"/>
                  </a:lnTo>
                  <a:lnTo>
                    <a:pt x="13" y="102"/>
                  </a:lnTo>
                  <a:lnTo>
                    <a:pt x="15" y="102"/>
                  </a:lnTo>
                  <a:lnTo>
                    <a:pt x="15" y="104"/>
                  </a:lnTo>
                  <a:lnTo>
                    <a:pt x="15" y="104"/>
                  </a:lnTo>
                  <a:lnTo>
                    <a:pt x="15" y="104"/>
                  </a:lnTo>
                  <a:lnTo>
                    <a:pt x="18" y="107"/>
                  </a:lnTo>
                  <a:lnTo>
                    <a:pt x="18" y="110"/>
                  </a:lnTo>
                  <a:lnTo>
                    <a:pt x="20" y="110"/>
                  </a:lnTo>
                  <a:lnTo>
                    <a:pt x="20" y="110"/>
                  </a:lnTo>
                  <a:lnTo>
                    <a:pt x="20" y="112"/>
                  </a:lnTo>
                  <a:lnTo>
                    <a:pt x="23" y="112"/>
                  </a:lnTo>
                  <a:lnTo>
                    <a:pt x="23" y="112"/>
                  </a:lnTo>
                  <a:lnTo>
                    <a:pt x="23" y="112"/>
                  </a:lnTo>
                  <a:lnTo>
                    <a:pt x="23" y="115"/>
                  </a:lnTo>
                  <a:lnTo>
                    <a:pt x="25" y="112"/>
                  </a:lnTo>
                  <a:lnTo>
                    <a:pt x="33" y="112"/>
                  </a:lnTo>
                  <a:lnTo>
                    <a:pt x="33" y="110"/>
                  </a:lnTo>
                  <a:lnTo>
                    <a:pt x="36" y="110"/>
                  </a:lnTo>
                  <a:close/>
                </a:path>
              </a:pathLst>
            </a:custGeom>
            <a:solidFill>
              <a:srgbClr val="FFC000"/>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181" name="Freeform 1799">
              <a:extLst>
                <a:ext uri="{FF2B5EF4-FFF2-40B4-BE49-F238E27FC236}">
                  <a16:creationId xmlns:a16="http://schemas.microsoft.com/office/drawing/2014/main" id="{66320C84-6748-7E4A-87CA-870D58ACBB7D}"/>
                </a:ext>
              </a:extLst>
            </p:cNvPr>
            <p:cNvSpPr>
              <a:spLocks noEditPoints="1"/>
            </p:cNvSpPr>
            <p:nvPr/>
          </p:nvSpPr>
          <p:spPr bwMode="auto">
            <a:xfrm>
              <a:off x="8768843" y="3043784"/>
              <a:ext cx="278075" cy="549607"/>
            </a:xfrm>
            <a:custGeom>
              <a:avLst/>
              <a:gdLst>
                <a:gd name="T0" fmla="*/ 56 w 170"/>
                <a:gd name="T1" fmla="*/ 293 h 336"/>
                <a:gd name="T2" fmla="*/ 38 w 170"/>
                <a:gd name="T3" fmla="*/ 277 h 336"/>
                <a:gd name="T4" fmla="*/ 41 w 170"/>
                <a:gd name="T5" fmla="*/ 280 h 336"/>
                <a:gd name="T6" fmla="*/ 71 w 170"/>
                <a:gd name="T7" fmla="*/ 249 h 336"/>
                <a:gd name="T8" fmla="*/ 71 w 170"/>
                <a:gd name="T9" fmla="*/ 242 h 336"/>
                <a:gd name="T10" fmla="*/ 120 w 170"/>
                <a:gd name="T11" fmla="*/ 198 h 336"/>
                <a:gd name="T12" fmla="*/ 114 w 170"/>
                <a:gd name="T13" fmla="*/ 191 h 336"/>
                <a:gd name="T14" fmla="*/ 170 w 170"/>
                <a:gd name="T15" fmla="*/ 107 h 336"/>
                <a:gd name="T16" fmla="*/ 158 w 170"/>
                <a:gd name="T17" fmla="*/ 97 h 336"/>
                <a:gd name="T18" fmla="*/ 142 w 170"/>
                <a:gd name="T19" fmla="*/ 64 h 336"/>
                <a:gd name="T20" fmla="*/ 117 w 170"/>
                <a:gd name="T21" fmla="*/ 46 h 336"/>
                <a:gd name="T22" fmla="*/ 112 w 170"/>
                <a:gd name="T23" fmla="*/ 53 h 336"/>
                <a:gd name="T24" fmla="*/ 104 w 170"/>
                <a:gd name="T25" fmla="*/ 56 h 336"/>
                <a:gd name="T26" fmla="*/ 86 w 170"/>
                <a:gd name="T27" fmla="*/ 53 h 336"/>
                <a:gd name="T28" fmla="*/ 74 w 170"/>
                <a:gd name="T29" fmla="*/ 64 h 336"/>
                <a:gd name="T30" fmla="*/ 71 w 170"/>
                <a:gd name="T31" fmla="*/ 43 h 336"/>
                <a:gd name="T32" fmla="*/ 71 w 170"/>
                <a:gd name="T33" fmla="*/ 18 h 336"/>
                <a:gd name="T34" fmla="*/ 56 w 170"/>
                <a:gd name="T35" fmla="*/ 10 h 336"/>
                <a:gd name="T36" fmla="*/ 51 w 170"/>
                <a:gd name="T37" fmla="*/ 0 h 336"/>
                <a:gd name="T38" fmla="*/ 41 w 170"/>
                <a:gd name="T39" fmla="*/ 2 h 336"/>
                <a:gd name="T40" fmla="*/ 33 w 170"/>
                <a:gd name="T41" fmla="*/ 8 h 336"/>
                <a:gd name="T42" fmla="*/ 25 w 170"/>
                <a:gd name="T43" fmla="*/ 15 h 336"/>
                <a:gd name="T44" fmla="*/ 7 w 170"/>
                <a:gd name="T45" fmla="*/ 15 h 336"/>
                <a:gd name="T46" fmla="*/ 5 w 170"/>
                <a:gd name="T47" fmla="*/ 41 h 336"/>
                <a:gd name="T48" fmla="*/ 5 w 170"/>
                <a:gd name="T49" fmla="*/ 48 h 336"/>
                <a:gd name="T50" fmla="*/ 12 w 170"/>
                <a:gd name="T51" fmla="*/ 64 h 336"/>
                <a:gd name="T52" fmla="*/ 30 w 170"/>
                <a:gd name="T53" fmla="*/ 91 h 336"/>
                <a:gd name="T54" fmla="*/ 30 w 170"/>
                <a:gd name="T55" fmla="*/ 104 h 336"/>
                <a:gd name="T56" fmla="*/ 23 w 170"/>
                <a:gd name="T57" fmla="*/ 119 h 336"/>
                <a:gd name="T58" fmla="*/ 46 w 170"/>
                <a:gd name="T59" fmla="*/ 150 h 336"/>
                <a:gd name="T60" fmla="*/ 51 w 170"/>
                <a:gd name="T61" fmla="*/ 173 h 336"/>
                <a:gd name="T62" fmla="*/ 58 w 170"/>
                <a:gd name="T63" fmla="*/ 196 h 336"/>
                <a:gd name="T64" fmla="*/ 43 w 170"/>
                <a:gd name="T65" fmla="*/ 221 h 336"/>
                <a:gd name="T66" fmla="*/ 38 w 170"/>
                <a:gd name="T67" fmla="*/ 252 h 336"/>
                <a:gd name="T68" fmla="*/ 43 w 170"/>
                <a:gd name="T69" fmla="*/ 275 h 336"/>
                <a:gd name="T70" fmla="*/ 58 w 170"/>
                <a:gd name="T71" fmla="*/ 290 h 336"/>
                <a:gd name="T72" fmla="*/ 69 w 170"/>
                <a:gd name="T73" fmla="*/ 308 h 336"/>
                <a:gd name="T74" fmla="*/ 86 w 170"/>
                <a:gd name="T75" fmla="*/ 315 h 336"/>
                <a:gd name="T76" fmla="*/ 97 w 170"/>
                <a:gd name="T77" fmla="*/ 326 h 336"/>
                <a:gd name="T78" fmla="*/ 99 w 170"/>
                <a:gd name="T79" fmla="*/ 331 h 336"/>
                <a:gd name="T80" fmla="*/ 114 w 170"/>
                <a:gd name="T81" fmla="*/ 328 h 336"/>
                <a:gd name="T82" fmla="*/ 97 w 170"/>
                <a:gd name="T83" fmla="*/ 308 h 336"/>
                <a:gd name="T84" fmla="*/ 76 w 170"/>
                <a:gd name="T85" fmla="*/ 287 h 336"/>
                <a:gd name="T86" fmla="*/ 84 w 170"/>
                <a:gd name="T87" fmla="*/ 300 h 336"/>
                <a:gd name="T88" fmla="*/ 71 w 170"/>
                <a:gd name="T89" fmla="*/ 267 h 336"/>
                <a:gd name="T90" fmla="*/ 56 w 170"/>
                <a:gd name="T91" fmla="*/ 249 h 336"/>
                <a:gd name="T92" fmla="*/ 58 w 170"/>
                <a:gd name="T93" fmla="*/ 211 h 336"/>
                <a:gd name="T94" fmla="*/ 66 w 170"/>
                <a:gd name="T95" fmla="*/ 173 h 336"/>
                <a:gd name="T96" fmla="*/ 81 w 170"/>
                <a:gd name="T97" fmla="*/ 158 h 336"/>
                <a:gd name="T98" fmla="*/ 86 w 170"/>
                <a:gd name="T99" fmla="*/ 175 h 336"/>
                <a:gd name="T100" fmla="*/ 112 w 170"/>
                <a:gd name="T101" fmla="*/ 181 h 336"/>
                <a:gd name="T102" fmla="*/ 125 w 170"/>
                <a:gd name="T103" fmla="*/ 198 h 336"/>
                <a:gd name="T104" fmla="*/ 114 w 170"/>
                <a:gd name="T105" fmla="*/ 170 h 336"/>
                <a:gd name="T106" fmla="*/ 114 w 170"/>
                <a:gd name="T107" fmla="*/ 153 h 336"/>
                <a:gd name="T108" fmla="*/ 132 w 170"/>
                <a:gd name="T109" fmla="*/ 135 h 336"/>
                <a:gd name="T110" fmla="*/ 158 w 170"/>
                <a:gd name="T111" fmla="*/ 135 h 336"/>
                <a:gd name="T112" fmla="*/ 165 w 170"/>
                <a:gd name="T113" fmla="*/ 137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0" h="336">
                  <a:moveTo>
                    <a:pt x="66" y="313"/>
                  </a:moveTo>
                  <a:lnTo>
                    <a:pt x="66" y="315"/>
                  </a:lnTo>
                  <a:lnTo>
                    <a:pt x="69" y="315"/>
                  </a:lnTo>
                  <a:lnTo>
                    <a:pt x="69" y="313"/>
                  </a:lnTo>
                  <a:lnTo>
                    <a:pt x="66" y="310"/>
                  </a:lnTo>
                  <a:lnTo>
                    <a:pt x="66" y="313"/>
                  </a:lnTo>
                  <a:close/>
                  <a:moveTo>
                    <a:pt x="53" y="290"/>
                  </a:moveTo>
                  <a:lnTo>
                    <a:pt x="53" y="290"/>
                  </a:lnTo>
                  <a:lnTo>
                    <a:pt x="53" y="293"/>
                  </a:lnTo>
                  <a:lnTo>
                    <a:pt x="56" y="293"/>
                  </a:lnTo>
                  <a:lnTo>
                    <a:pt x="56" y="293"/>
                  </a:lnTo>
                  <a:lnTo>
                    <a:pt x="56" y="290"/>
                  </a:lnTo>
                  <a:lnTo>
                    <a:pt x="53" y="290"/>
                  </a:lnTo>
                  <a:close/>
                  <a:moveTo>
                    <a:pt x="46" y="282"/>
                  </a:moveTo>
                  <a:lnTo>
                    <a:pt x="46" y="282"/>
                  </a:lnTo>
                  <a:lnTo>
                    <a:pt x="46" y="280"/>
                  </a:lnTo>
                  <a:lnTo>
                    <a:pt x="43" y="280"/>
                  </a:lnTo>
                  <a:lnTo>
                    <a:pt x="46" y="282"/>
                  </a:lnTo>
                  <a:close/>
                  <a:moveTo>
                    <a:pt x="41" y="280"/>
                  </a:moveTo>
                  <a:lnTo>
                    <a:pt x="38" y="277"/>
                  </a:lnTo>
                  <a:lnTo>
                    <a:pt x="38" y="277"/>
                  </a:lnTo>
                  <a:lnTo>
                    <a:pt x="38" y="282"/>
                  </a:lnTo>
                  <a:lnTo>
                    <a:pt x="38" y="287"/>
                  </a:lnTo>
                  <a:lnTo>
                    <a:pt x="41" y="287"/>
                  </a:lnTo>
                  <a:lnTo>
                    <a:pt x="41" y="285"/>
                  </a:lnTo>
                  <a:lnTo>
                    <a:pt x="41" y="285"/>
                  </a:lnTo>
                  <a:lnTo>
                    <a:pt x="41" y="282"/>
                  </a:lnTo>
                  <a:lnTo>
                    <a:pt x="41" y="282"/>
                  </a:lnTo>
                  <a:lnTo>
                    <a:pt x="41" y="280"/>
                  </a:lnTo>
                  <a:lnTo>
                    <a:pt x="41" y="280"/>
                  </a:lnTo>
                  <a:close/>
                  <a:moveTo>
                    <a:pt x="38" y="257"/>
                  </a:moveTo>
                  <a:lnTo>
                    <a:pt x="38" y="254"/>
                  </a:lnTo>
                  <a:lnTo>
                    <a:pt x="38" y="257"/>
                  </a:lnTo>
                  <a:lnTo>
                    <a:pt x="35" y="257"/>
                  </a:lnTo>
                  <a:lnTo>
                    <a:pt x="35" y="257"/>
                  </a:lnTo>
                  <a:lnTo>
                    <a:pt x="38" y="257"/>
                  </a:lnTo>
                  <a:lnTo>
                    <a:pt x="38" y="257"/>
                  </a:lnTo>
                  <a:close/>
                  <a:moveTo>
                    <a:pt x="69" y="247"/>
                  </a:moveTo>
                  <a:lnTo>
                    <a:pt x="69" y="247"/>
                  </a:lnTo>
                  <a:lnTo>
                    <a:pt x="71" y="249"/>
                  </a:lnTo>
                  <a:lnTo>
                    <a:pt x="71" y="249"/>
                  </a:lnTo>
                  <a:lnTo>
                    <a:pt x="71" y="247"/>
                  </a:lnTo>
                  <a:lnTo>
                    <a:pt x="71" y="244"/>
                  </a:lnTo>
                  <a:lnTo>
                    <a:pt x="71" y="247"/>
                  </a:lnTo>
                  <a:lnTo>
                    <a:pt x="69" y="244"/>
                  </a:lnTo>
                  <a:lnTo>
                    <a:pt x="69" y="247"/>
                  </a:lnTo>
                  <a:close/>
                  <a:moveTo>
                    <a:pt x="71" y="244"/>
                  </a:moveTo>
                  <a:lnTo>
                    <a:pt x="71" y="242"/>
                  </a:lnTo>
                  <a:lnTo>
                    <a:pt x="71" y="242"/>
                  </a:lnTo>
                  <a:lnTo>
                    <a:pt x="71" y="242"/>
                  </a:lnTo>
                  <a:lnTo>
                    <a:pt x="71" y="242"/>
                  </a:lnTo>
                  <a:lnTo>
                    <a:pt x="71" y="242"/>
                  </a:lnTo>
                  <a:lnTo>
                    <a:pt x="71" y="242"/>
                  </a:lnTo>
                  <a:lnTo>
                    <a:pt x="71" y="244"/>
                  </a:lnTo>
                  <a:close/>
                  <a:moveTo>
                    <a:pt x="120" y="198"/>
                  </a:moveTo>
                  <a:lnTo>
                    <a:pt x="117" y="198"/>
                  </a:lnTo>
                  <a:lnTo>
                    <a:pt x="120" y="201"/>
                  </a:lnTo>
                  <a:lnTo>
                    <a:pt x="120" y="198"/>
                  </a:lnTo>
                  <a:lnTo>
                    <a:pt x="120" y="198"/>
                  </a:lnTo>
                  <a:lnTo>
                    <a:pt x="120" y="198"/>
                  </a:lnTo>
                  <a:close/>
                  <a:moveTo>
                    <a:pt x="114" y="188"/>
                  </a:moveTo>
                  <a:lnTo>
                    <a:pt x="112" y="188"/>
                  </a:lnTo>
                  <a:lnTo>
                    <a:pt x="112" y="188"/>
                  </a:lnTo>
                  <a:lnTo>
                    <a:pt x="112" y="188"/>
                  </a:lnTo>
                  <a:lnTo>
                    <a:pt x="112" y="191"/>
                  </a:lnTo>
                  <a:lnTo>
                    <a:pt x="114" y="191"/>
                  </a:lnTo>
                  <a:lnTo>
                    <a:pt x="114" y="191"/>
                  </a:lnTo>
                  <a:lnTo>
                    <a:pt x="114" y="191"/>
                  </a:lnTo>
                  <a:lnTo>
                    <a:pt x="114" y="191"/>
                  </a:lnTo>
                  <a:lnTo>
                    <a:pt x="114" y="191"/>
                  </a:lnTo>
                  <a:lnTo>
                    <a:pt x="114" y="188"/>
                  </a:lnTo>
                  <a:close/>
                  <a:moveTo>
                    <a:pt x="170" y="122"/>
                  </a:moveTo>
                  <a:lnTo>
                    <a:pt x="170" y="119"/>
                  </a:lnTo>
                  <a:lnTo>
                    <a:pt x="168" y="117"/>
                  </a:lnTo>
                  <a:lnTo>
                    <a:pt x="168" y="114"/>
                  </a:lnTo>
                  <a:lnTo>
                    <a:pt x="170" y="114"/>
                  </a:lnTo>
                  <a:lnTo>
                    <a:pt x="170" y="112"/>
                  </a:lnTo>
                  <a:lnTo>
                    <a:pt x="170" y="112"/>
                  </a:lnTo>
                  <a:lnTo>
                    <a:pt x="170" y="109"/>
                  </a:lnTo>
                  <a:lnTo>
                    <a:pt x="170" y="107"/>
                  </a:lnTo>
                  <a:lnTo>
                    <a:pt x="170" y="107"/>
                  </a:lnTo>
                  <a:lnTo>
                    <a:pt x="168" y="104"/>
                  </a:lnTo>
                  <a:lnTo>
                    <a:pt x="168" y="104"/>
                  </a:lnTo>
                  <a:lnTo>
                    <a:pt x="165" y="104"/>
                  </a:lnTo>
                  <a:lnTo>
                    <a:pt x="165" y="102"/>
                  </a:lnTo>
                  <a:lnTo>
                    <a:pt x="165" y="102"/>
                  </a:lnTo>
                  <a:lnTo>
                    <a:pt x="165" y="99"/>
                  </a:lnTo>
                  <a:lnTo>
                    <a:pt x="163" y="99"/>
                  </a:lnTo>
                  <a:lnTo>
                    <a:pt x="160" y="97"/>
                  </a:lnTo>
                  <a:lnTo>
                    <a:pt x="158" y="97"/>
                  </a:lnTo>
                  <a:lnTo>
                    <a:pt x="158" y="94"/>
                  </a:lnTo>
                  <a:lnTo>
                    <a:pt x="155" y="91"/>
                  </a:lnTo>
                  <a:lnTo>
                    <a:pt x="153" y="89"/>
                  </a:lnTo>
                  <a:lnTo>
                    <a:pt x="150" y="84"/>
                  </a:lnTo>
                  <a:lnTo>
                    <a:pt x="150" y="79"/>
                  </a:lnTo>
                  <a:lnTo>
                    <a:pt x="150" y="76"/>
                  </a:lnTo>
                  <a:lnTo>
                    <a:pt x="150" y="71"/>
                  </a:lnTo>
                  <a:lnTo>
                    <a:pt x="148" y="66"/>
                  </a:lnTo>
                  <a:lnTo>
                    <a:pt x="145" y="64"/>
                  </a:lnTo>
                  <a:lnTo>
                    <a:pt x="142" y="64"/>
                  </a:lnTo>
                  <a:lnTo>
                    <a:pt x="140" y="61"/>
                  </a:lnTo>
                  <a:lnTo>
                    <a:pt x="137" y="58"/>
                  </a:lnTo>
                  <a:lnTo>
                    <a:pt x="135" y="53"/>
                  </a:lnTo>
                  <a:lnTo>
                    <a:pt x="132" y="48"/>
                  </a:lnTo>
                  <a:lnTo>
                    <a:pt x="130" y="46"/>
                  </a:lnTo>
                  <a:lnTo>
                    <a:pt x="130" y="48"/>
                  </a:lnTo>
                  <a:lnTo>
                    <a:pt x="127" y="46"/>
                  </a:lnTo>
                  <a:lnTo>
                    <a:pt x="122" y="46"/>
                  </a:lnTo>
                  <a:lnTo>
                    <a:pt x="120" y="46"/>
                  </a:lnTo>
                  <a:lnTo>
                    <a:pt x="117" y="46"/>
                  </a:lnTo>
                  <a:lnTo>
                    <a:pt x="117" y="46"/>
                  </a:lnTo>
                  <a:lnTo>
                    <a:pt x="114" y="46"/>
                  </a:lnTo>
                  <a:lnTo>
                    <a:pt x="117" y="46"/>
                  </a:lnTo>
                  <a:lnTo>
                    <a:pt x="117" y="48"/>
                  </a:lnTo>
                  <a:lnTo>
                    <a:pt x="117" y="48"/>
                  </a:lnTo>
                  <a:lnTo>
                    <a:pt x="114" y="48"/>
                  </a:lnTo>
                  <a:lnTo>
                    <a:pt x="114" y="48"/>
                  </a:lnTo>
                  <a:lnTo>
                    <a:pt x="114" y="51"/>
                  </a:lnTo>
                  <a:lnTo>
                    <a:pt x="112" y="53"/>
                  </a:lnTo>
                  <a:lnTo>
                    <a:pt x="112" y="53"/>
                  </a:lnTo>
                  <a:lnTo>
                    <a:pt x="109" y="56"/>
                  </a:lnTo>
                  <a:lnTo>
                    <a:pt x="109" y="56"/>
                  </a:lnTo>
                  <a:lnTo>
                    <a:pt x="107" y="56"/>
                  </a:lnTo>
                  <a:lnTo>
                    <a:pt x="107" y="58"/>
                  </a:lnTo>
                  <a:lnTo>
                    <a:pt x="107" y="58"/>
                  </a:lnTo>
                  <a:lnTo>
                    <a:pt x="107" y="58"/>
                  </a:lnTo>
                  <a:lnTo>
                    <a:pt x="104" y="58"/>
                  </a:lnTo>
                  <a:lnTo>
                    <a:pt x="104" y="56"/>
                  </a:lnTo>
                  <a:lnTo>
                    <a:pt x="104" y="56"/>
                  </a:lnTo>
                  <a:lnTo>
                    <a:pt x="104" y="56"/>
                  </a:lnTo>
                  <a:lnTo>
                    <a:pt x="102" y="53"/>
                  </a:lnTo>
                  <a:lnTo>
                    <a:pt x="99" y="53"/>
                  </a:lnTo>
                  <a:lnTo>
                    <a:pt x="97" y="51"/>
                  </a:lnTo>
                  <a:lnTo>
                    <a:pt x="94" y="48"/>
                  </a:lnTo>
                  <a:lnTo>
                    <a:pt x="94" y="48"/>
                  </a:lnTo>
                  <a:lnTo>
                    <a:pt x="91" y="51"/>
                  </a:lnTo>
                  <a:lnTo>
                    <a:pt x="91" y="53"/>
                  </a:lnTo>
                  <a:lnTo>
                    <a:pt x="89" y="53"/>
                  </a:lnTo>
                  <a:lnTo>
                    <a:pt x="89" y="53"/>
                  </a:lnTo>
                  <a:lnTo>
                    <a:pt x="86" y="53"/>
                  </a:lnTo>
                  <a:lnTo>
                    <a:pt x="86" y="56"/>
                  </a:lnTo>
                  <a:lnTo>
                    <a:pt x="86" y="56"/>
                  </a:lnTo>
                  <a:lnTo>
                    <a:pt x="84" y="58"/>
                  </a:lnTo>
                  <a:lnTo>
                    <a:pt x="84" y="58"/>
                  </a:lnTo>
                  <a:lnTo>
                    <a:pt x="81" y="61"/>
                  </a:lnTo>
                  <a:lnTo>
                    <a:pt x="79" y="64"/>
                  </a:lnTo>
                  <a:lnTo>
                    <a:pt x="76" y="66"/>
                  </a:lnTo>
                  <a:lnTo>
                    <a:pt x="76" y="66"/>
                  </a:lnTo>
                  <a:lnTo>
                    <a:pt x="74" y="66"/>
                  </a:lnTo>
                  <a:lnTo>
                    <a:pt x="74" y="64"/>
                  </a:lnTo>
                  <a:lnTo>
                    <a:pt x="71" y="64"/>
                  </a:lnTo>
                  <a:lnTo>
                    <a:pt x="74" y="58"/>
                  </a:lnTo>
                  <a:lnTo>
                    <a:pt x="74" y="53"/>
                  </a:lnTo>
                  <a:lnTo>
                    <a:pt x="74" y="51"/>
                  </a:lnTo>
                  <a:lnTo>
                    <a:pt x="74" y="48"/>
                  </a:lnTo>
                  <a:lnTo>
                    <a:pt x="74" y="48"/>
                  </a:lnTo>
                  <a:lnTo>
                    <a:pt x="74" y="46"/>
                  </a:lnTo>
                  <a:lnTo>
                    <a:pt x="71" y="46"/>
                  </a:lnTo>
                  <a:lnTo>
                    <a:pt x="71" y="43"/>
                  </a:lnTo>
                  <a:lnTo>
                    <a:pt x="71" y="43"/>
                  </a:lnTo>
                  <a:lnTo>
                    <a:pt x="74" y="43"/>
                  </a:lnTo>
                  <a:lnTo>
                    <a:pt x="74" y="41"/>
                  </a:lnTo>
                  <a:lnTo>
                    <a:pt x="74" y="36"/>
                  </a:lnTo>
                  <a:lnTo>
                    <a:pt x="76" y="33"/>
                  </a:lnTo>
                  <a:lnTo>
                    <a:pt x="74" y="30"/>
                  </a:lnTo>
                  <a:lnTo>
                    <a:pt x="74" y="28"/>
                  </a:lnTo>
                  <a:lnTo>
                    <a:pt x="71" y="23"/>
                  </a:lnTo>
                  <a:lnTo>
                    <a:pt x="71" y="20"/>
                  </a:lnTo>
                  <a:lnTo>
                    <a:pt x="71" y="18"/>
                  </a:lnTo>
                  <a:lnTo>
                    <a:pt x="71" y="18"/>
                  </a:lnTo>
                  <a:lnTo>
                    <a:pt x="66" y="18"/>
                  </a:lnTo>
                  <a:lnTo>
                    <a:pt x="66" y="18"/>
                  </a:lnTo>
                  <a:lnTo>
                    <a:pt x="63" y="18"/>
                  </a:lnTo>
                  <a:lnTo>
                    <a:pt x="63" y="20"/>
                  </a:lnTo>
                  <a:lnTo>
                    <a:pt x="63" y="20"/>
                  </a:lnTo>
                  <a:lnTo>
                    <a:pt x="61" y="20"/>
                  </a:lnTo>
                  <a:lnTo>
                    <a:pt x="58" y="18"/>
                  </a:lnTo>
                  <a:lnTo>
                    <a:pt x="56" y="18"/>
                  </a:lnTo>
                  <a:lnTo>
                    <a:pt x="56" y="15"/>
                  </a:lnTo>
                  <a:lnTo>
                    <a:pt x="56" y="10"/>
                  </a:lnTo>
                  <a:lnTo>
                    <a:pt x="56" y="8"/>
                  </a:lnTo>
                  <a:lnTo>
                    <a:pt x="56" y="8"/>
                  </a:lnTo>
                  <a:lnTo>
                    <a:pt x="56" y="5"/>
                  </a:lnTo>
                  <a:lnTo>
                    <a:pt x="56" y="5"/>
                  </a:lnTo>
                  <a:lnTo>
                    <a:pt x="56" y="5"/>
                  </a:lnTo>
                  <a:lnTo>
                    <a:pt x="53" y="2"/>
                  </a:lnTo>
                  <a:lnTo>
                    <a:pt x="53" y="0"/>
                  </a:lnTo>
                  <a:lnTo>
                    <a:pt x="51" y="0"/>
                  </a:lnTo>
                  <a:lnTo>
                    <a:pt x="51" y="0"/>
                  </a:lnTo>
                  <a:lnTo>
                    <a:pt x="51" y="0"/>
                  </a:lnTo>
                  <a:lnTo>
                    <a:pt x="48" y="2"/>
                  </a:lnTo>
                  <a:lnTo>
                    <a:pt x="48" y="2"/>
                  </a:lnTo>
                  <a:lnTo>
                    <a:pt x="48" y="2"/>
                  </a:lnTo>
                  <a:lnTo>
                    <a:pt x="48" y="2"/>
                  </a:lnTo>
                  <a:lnTo>
                    <a:pt x="46" y="0"/>
                  </a:lnTo>
                  <a:lnTo>
                    <a:pt x="43" y="0"/>
                  </a:lnTo>
                  <a:lnTo>
                    <a:pt x="43" y="0"/>
                  </a:lnTo>
                  <a:lnTo>
                    <a:pt x="43" y="0"/>
                  </a:lnTo>
                  <a:lnTo>
                    <a:pt x="41" y="0"/>
                  </a:lnTo>
                  <a:lnTo>
                    <a:pt x="41" y="2"/>
                  </a:lnTo>
                  <a:lnTo>
                    <a:pt x="38" y="2"/>
                  </a:lnTo>
                  <a:lnTo>
                    <a:pt x="35" y="0"/>
                  </a:lnTo>
                  <a:lnTo>
                    <a:pt x="35" y="0"/>
                  </a:lnTo>
                  <a:lnTo>
                    <a:pt x="35" y="0"/>
                  </a:lnTo>
                  <a:lnTo>
                    <a:pt x="35" y="2"/>
                  </a:lnTo>
                  <a:lnTo>
                    <a:pt x="35" y="5"/>
                  </a:lnTo>
                  <a:lnTo>
                    <a:pt x="35" y="5"/>
                  </a:lnTo>
                  <a:lnTo>
                    <a:pt x="35" y="5"/>
                  </a:lnTo>
                  <a:lnTo>
                    <a:pt x="35" y="8"/>
                  </a:lnTo>
                  <a:lnTo>
                    <a:pt x="33" y="8"/>
                  </a:lnTo>
                  <a:lnTo>
                    <a:pt x="33" y="8"/>
                  </a:lnTo>
                  <a:lnTo>
                    <a:pt x="30" y="5"/>
                  </a:lnTo>
                  <a:lnTo>
                    <a:pt x="28" y="5"/>
                  </a:lnTo>
                  <a:lnTo>
                    <a:pt x="28" y="8"/>
                  </a:lnTo>
                  <a:lnTo>
                    <a:pt x="28" y="8"/>
                  </a:lnTo>
                  <a:lnTo>
                    <a:pt x="28" y="8"/>
                  </a:lnTo>
                  <a:lnTo>
                    <a:pt x="28" y="13"/>
                  </a:lnTo>
                  <a:lnTo>
                    <a:pt x="25" y="13"/>
                  </a:lnTo>
                  <a:lnTo>
                    <a:pt x="25" y="13"/>
                  </a:lnTo>
                  <a:lnTo>
                    <a:pt x="25" y="15"/>
                  </a:lnTo>
                  <a:lnTo>
                    <a:pt x="23" y="13"/>
                  </a:lnTo>
                  <a:lnTo>
                    <a:pt x="23" y="15"/>
                  </a:lnTo>
                  <a:lnTo>
                    <a:pt x="18" y="15"/>
                  </a:lnTo>
                  <a:lnTo>
                    <a:pt x="18" y="15"/>
                  </a:lnTo>
                  <a:lnTo>
                    <a:pt x="15" y="15"/>
                  </a:lnTo>
                  <a:lnTo>
                    <a:pt x="12" y="15"/>
                  </a:lnTo>
                  <a:lnTo>
                    <a:pt x="12" y="15"/>
                  </a:lnTo>
                  <a:lnTo>
                    <a:pt x="10" y="15"/>
                  </a:lnTo>
                  <a:lnTo>
                    <a:pt x="7" y="15"/>
                  </a:lnTo>
                  <a:lnTo>
                    <a:pt x="7" y="15"/>
                  </a:lnTo>
                  <a:lnTo>
                    <a:pt x="7" y="18"/>
                  </a:lnTo>
                  <a:lnTo>
                    <a:pt x="7" y="18"/>
                  </a:lnTo>
                  <a:lnTo>
                    <a:pt x="5" y="20"/>
                  </a:lnTo>
                  <a:lnTo>
                    <a:pt x="5" y="25"/>
                  </a:lnTo>
                  <a:lnTo>
                    <a:pt x="5" y="28"/>
                  </a:lnTo>
                  <a:lnTo>
                    <a:pt x="5" y="30"/>
                  </a:lnTo>
                  <a:lnTo>
                    <a:pt x="5" y="33"/>
                  </a:lnTo>
                  <a:lnTo>
                    <a:pt x="7" y="41"/>
                  </a:lnTo>
                  <a:lnTo>
                    <a:pt x="5" y="41"/>
                  </a:lnTo>
                  <a:lnTo>
                    <a:pt x="5" y="41"/>
                  </a:lnTo>
                  <a:lnTo>
                    <a:pt x="5" y="41"/>
                  </a:lnTo>
                  <a:lnTo>
                    <a:pt x="2" y="43"/>
                  </a:lnTo>
                  <a:lnTo>
                    <a:pt x="2" y="43"/>
                  </a:lnTo>
                  <a:lnTo>
                    <a:pt x="2" y="43"/>
                  </a:lnTo>
                  <a:lnTo>
                    <a:pt x="0" y="43"/>
                  </a:lnTo>
                  <a:lnTo>
                    <a:pt x="0" y="43"/>
                  </a:lnTo>
                  <a:lnTo>
                    <a:pt x="0" y="43"/>
                  </a:lnTo>
                  <a:lnTo>
                    <a:pt x="0" y="46"/>
                  </a:lnTo>
                  <a:lnTo>
                    <a:pt x="2" y="48"/>
                  </a:lnTo>
                  <a:lnTo>
                    <a:pt x="5" y="48"/>
                  </a:lnTo>
                  <a:lnTo>
                    <a:pt x="5" y="48"/>
                  </a:lnTo>
                  <a:lnTo>
                    <a:pt x="5" y="48"/>
                  </a:lnTo>
                  <a:lnTo>
                    <a:pt x="5" y="51"/>
                  </a:lnTo>
                  <a:lnTo>
                    <a:pt x="7" y="53"/>
                  </a:lnTo>
                  <a:lnTo>
                    <a:pt x="7" y="56"/>
                  </a:lnTo>
                  <a:lnTo>
                    <a:pt x="7" y="58"/>
                  </a:lnTo>
                  <a:lnTo>
                    <a:pt x="7" y="58"/>
                  </a:lnTo>
                  <a:lnTo>
                    <a:pt x="7" y="58"/>
                  </a:lnTo>
                  <a:lnTo>
                    <a:pt x="10" y="61"/>
                  </a:lnTo>
                  <a:lnTo>
                    <a:pt x="12" y="64"/>
                  </a:lnTo>
                  <a:lnTo>
                    <a:pt x="15" y="69"/>
                  </a:lnTo>
                  <a:lnTo>
                    <a:pt x="18" y="71"/>
                  </a:lnTo>
                  <a:lnTo>
                    <a:pt x="20" y="74"/>
                  </a:lnTo>
                  <a:lnTo>
                    <a:pt x="25" y="76"/>
                  </a:lnTo>
                  <a:lnTo>
                    <a:pt x="25" y="79"/>
                  </a:lnTo>
                  <a:lnTo>
                    <a:pt x="25" y="84"/>
                  </a:lnTo>
                  <a:lnTo>
                    <a:pt x="28" y="84"/>
                  </a:lnTo>
                  <a:lnTo>
                    <a:pt x="28" y="86"/>
                  </a:lnTo>
                  <a:lnTo>
                    <a:pt x="28" y="89"/>
                  </a:lnTo>
                  <a:lnTo>
                    <a:pt x="30" y="91"/>
                  </a:lnTo>
                  <a:lnTo>
                    <a:pt x="30" y="91"/>
                  </a:lnTo>
                  <a:lnTo>
                    <a:pt x="33" y="89"/>
                  </a:lnTo>
                  <a:lnTo>
                    <a:pt x="35" y="91"/>
                  </a:lnTo>
                  <a:lnTo>
                    <a:pt x="35" y="91"/>
                  </a:lnTo>
                  <a:lnTo>
                    <a:pt x="35" y="94"/>
                  </a:lnTo>
                  <a:lnTo>
                    <a:pt x="35" y="94"/>
                  </a:lnTo>
                  <a:lnTo>
                    <a:pt x="33" y="97"/>
                  </a:lnTo>
                  <a:lnTo>
                    <a:pt x="30" y="99"/>
                  </a:lnTo>
                  <a:lnTo>
                    <a:pt x="30" y="102"/>
                  </a:lnTo>
                  <a:lnTo>
                    <a:pt x="30" y="104"/>
                  </a:lnTo>
                  <a:lnTo>
                    <a:pt x="30" y="109"/>
                  </a:lnTo>
                  <a:lnTo>
                    <a:pt x="30" y="114"/>
                  </a:lnTo>
                  <a:lnTo>
                    <a:pt x="30" y="114"/>
                  </a:lnTo>
                  <a:lnTo>
                    <a:pt x="30" y="114"/>
                  </a:lnTo>
                  <a:lnTo>
                    <a:pt x="28" y="114"/>
                  </a:lnTo>
                  <a:lnTo>
                    <a:pt x="28" y="117"/>
                  </a:lnTo>
                  <a:lnTo>
                    <a:pt x="25" y="117"/>
                  </a:lnTo>
                  <a:lnTo>
                    <a:pt x="25" y="117"/>
                  </a:lnTo>
                  <a:lnTo>
                    <a:pt x="23" y="117"/>
                  </a:lnTo>
                  <a:lnTo>
                    <a:pt x="23" y="119"/>
                  </a:lnTo>
                  <a:lnTo>
                    <a:pt x="25" y="122"/>
                  </a:lnTo>
                  <a:lnTo>
                    <a:pt x="25" y="127"/>
                  </a:lnTo>
                  <a:lnTo>
                    <a:pt x="28" y="130"/>
                  </a:lnTo>
                  <a:lnTo>
                    <a:pt x="30" y="132"/>
                  </a:lnTo>
                  <a:lnTo>
                    <a:pt x="33" y="135"/>
                  </a:lnTo>
                  <a:lnTo>
                    <a:pt x="33" y="137"/>
                  </a:lnTo>
                  <a:lnTo>
                    <a:pt x="38" y="140"/>
                  </a:lnTo>
                  <a:lnTo>
                    <a:pt x="41" y="145"/>
                  </a:lnTo>
                  <a:lnTo>
                    <a:pt x="43" y="147"/>
                  </a:lnTo>
                  <a:lnTo>
                    <a:pt x="46" y="150"/>
                  </a:lnTo>
                  <a:lnTo>
                    <a:pt x="46" y="153"/>
                  </a:lnTo>
                  <a:lnTo>
                    <a:pt x="46" y="155"/>
                  </a:lnTo>
                  <a:lnTo>
                    <a:pt x="48" y="158"/>
                  </a:lnTo>
                  <a:lnTo>
                    <a:pt x="48" y="163"/>
                  </a:lnTo>
                  <a:lnTo>
                    <a:pt x="48" y="163"/>
                  </a:lnTo>
                  <a:lnTo>
                    <a:pt x="46" y="165"/>
                  </a:lnTo>
                  <a:lnTo>
                    <a:pt x="48" y="168"/>
                  </a:lnTo>
                  <a:lnTo>
                    <a:pt x="48" y="168"/>
                  </a:lnTo>
                  <a:lnTo>
                    <a:pt x="48" y="170"/>
                  </a:lnTo>
                  <a:lnTo>
                    <a:pt x="51" y="173"/>
                  </a:lnTo>
                  <a:lnTo>
                    <a:pt x="51" y="175"/>
                  </a:lnTo>
                  <a:lnTo>
                    <a:pt x="53" y="178"/>
                  </a:lnTo>
                  <a:lnTo>
                    <a:pt x="53" y="178"/>
                  </a:lnTo>
                  <a:lnTo>
                    <a:pt x="53" y="181"/>
                  </a:lnTo>
                  <a:lnTo>
                    <a:pt x="53" y="181"/>
                  </a:lnTo>
                  <a:lnTo>
                    <a:pt x="56" y="183"/>
                  </a:lnTo>
                  <a:lnTo>
                    <a:pt x="56" y="186"/>
                  </a:lnTo>
                  <a:lnTo>
                    <a:pt x="58" y="188"/>
                  </a:lnTo>
                  <a:lnTo>
                    <a:pt x="58" y="196"/>
                  </a:lnTo>
                  <a:lnTo>
                    <a:pt x="58" y="196"/>
                  </a:lnTo>
                  <a:lnTo>
                    <a:pt x="58" y="198"/>
                  </a:lnTo>
                  <a:lnTo>
                    <a:pt x="58" y="198"/>
                  </a:lnTo>
                  <a:lnTo>
                    <a:pt x="56" y="198"/>
                  </a:lnTo>
                  <a:lnTo>
                    <a:pt x="56" y="201"/>
                  </a:lnTo>
                  <a:lnTo>
                    <a:pt x="56" y="203"/>
                  </a:lnTo>
                  <a:lnTo>
                    <a:pt x="53" y="211"/>
                  </a:lnTo>
                  <a:lnTo>
                    <a:pt x="48" y="216"/>
                  </a:lnTo>
                  <a:lnTo>
                    <a:pt x="46" y="219"/>
                  </a:lnTo>
                  <a:lnTo>
                    <a:pt x="46" y="219"/>
                  </a:lnTo>
                  <a:lnTo>
                    <a:pt x="43" y="221"/>
                  </a:lnTo>
                  <a:lnTo>
                    <a:pt x="43" y="221"/>
                  </a:lnTo>
                  <a:lnTo>
                    <a:pt x="46" y="224"/>
                  </a:lnTo>
                  <a:lnTo>
                    <a:pt x="46" y="226"/>
                  </a:lnTo>
                  <a:lnTo>
                    <a:pt x="46" y="229"/>
                  </a:lnTo>
                  <a:lnTo>
                    <a:pt x="43" y="229"/>
                  </a:lnTo>
                  <a:lnTo>
                    <a:pt x="43" y="231"/>
                  </a:lnTo>
                  <a:lnTo>
                    <a:pt x="41" y="239"/>
                  </a:lnTo>
                  <a:lnTo>
                    <a:pt x="41" y="247"/>
                  </a:lnTo>
                  <a:lnTo>
                    <a:pt x="41" y="247"/>
                  </a:lnTo>
                  <a:lnTo>
                    <a:pt x="38" y="252"/>
                  </a:lnTo>
                  <a:lnTo>
                    <a:pt x="38" y="259"/>
                  </a:lnTo>
                  <a:lnTo>
                    <a:pt x="35" y="265"/>
                  </a:lnTo>
                  <a:lnTo>
                    <a:pt x="35" y="270"/>
                  </a:lnTo>
                  <a:lnTo>
                    <a:pt x="38" y="272"/>
                  </a:lnTo>
                  <a:lnTo>
                    <a:pt x="38" y="277"/>
                  </a:lnTo>
                  <a:lnTo>
                    <a:pt x="41" y="277"/>
                  </a:lnTo>
                  <a:lnTo>
                    <a:pt x="41" y="277"/>
                  </a:lnTo>
                  <a:lnTo>
                    <a:pt x="43" y="275"/>
                  </a:lnTo>
                  <a:lnTo>
                    <a:pt x="43" y="275"/>
                  </a:lnTo>
                  <a:lnTo>
                    <a:pt x="43" y="275"/>
                  </a:lnTo>
                  <a:lnTo>
                    <a:pt x="46" y="275"/>
                  </a:lnTo>
                  <a:lnTo>
                    <a:pt x="46" y="275"/>
                  </a:lnTo>
                  <a:lnTo>
                    <a:pt x="48" y="280"/>
                  </a:lnTo>
                  <a:lnTo>
                    <a:pt x="51" y="280"/>
                  </a:lnTo>
                  <a:lnTo>
                    <a:pt x="53" y="282"/>
                  </a:lnTo>
                  <a:lnTo>
                    <a:pt x="53" y="285"/>
                  </a:lnTo>
                  <a:lnTo>
                    <a:pt x="53" y="287"/>
                  </a:lnTo>
                  <a:lnTo>
                    <a:pt x="56" y="287"/>
                  </a:lnTo>
                  <a:lnTo>
                    <a:pt x="56" y="287"/>
                  </a:lnTo>
                  <a:lnTo>
                    <a:pt x="58" y="290"/>
                  </a:lnTo>
                  <a:lnTo>
                    <a:pt x="58" y="293"/>
                  </a:lnTo>
                  <a:lnTo>
                    <a:pt x="61" y="295"/>
                  </a:lnTo>
                  <a:lnTo>
                    <a:pt x="63" y="298"/>
                  </a:lnTo>
                  <a:lnTo>
                    <a:pt x="63" y="298"/>
                  </a:lnTo>
                  <a:lnTo>
                    <a:pt x="66" y="295"/>
                  </a:lnTo>
                  <a:lnTo>
                    <a:pt x="63" y="300"/>
                  </a:lnTo>
                  <a:lnTo>
                    <a:pt x="66" y="300"/>
                  </a:lnTo>
                  <a:lnTo>
                    <a:pt x="66" y="300"/>
                  </a:lnTo>
                  <a:lnTo>
                    <a:pt x="69" y="303"/>
                  </a:lnTo>
                  <a:lnTo>
                    <a:pt x="69" y="308"/>
                  </a:lnTo>
                  <a:lnTo>
                    <a:pt x="71" y="310"/>
                  </a:lnTo>
                  <a:lnTo>
                    <a:pt x="76" y="318"/>
                  </a:lnTo>
                  <a:lnTo>
                    <a:pt x="76" y="315"/>
                  </a:lnTo>
                  <a:lnTo>
                    <a:pt x="79" y="313"/>
                  </a:lnTo>
                  <a:lnTo>
                    <a:pt x="79" y="310"/>
                  </a:lnTo>
                  <a:lnTo>
                    <a:pt x="79" y="310"/>
                  </a:lnTo>
                  <a:lnTo>
                    <a:pt x="79" y="310"/>
                  </a:lnTo>
                  <a:lnTo>
                    <a:pt x="81" y="315"/>
                  </a:lnTo>
                  <a:lnTo>
                    <a:pt x="86" y="315"/>
                  </a:lnTo>
                  <a:lnTo>
                    <a:pt x="86" y="315"/>
                  </a:lnTo>
                  <a:lnTo>
                    <a:pt x="89" y="315"/>
                  </a:lnTo>
                  <a:lnTo>
                    <a:pt x="89" y="315"/>
                  </a:lnTo>
                  <a:lnTo>
                    <a:pt x="91" y="318"/>
                  </a:lnTo>
                  <a:lnTo>
                    <a:pt x="91" y="318"/>
                  </a:lnTo>
                  <a:lnTo>
                    <a:pt x="91" y="321"/>
                  </a:lnTo>
                  <a:lnTo>
                    <a:pt x="94" y="321"/>
                  </a:lnTo>
                  <a:lnTo>
                    <a:pt x="97" y="321"/>
                  </a:lnTo>
                  <a:lnTo>
                    <a:pt x="97" y="321"/>
                  </a:lnTo>
                  <a:lnTo>
                    <a:pt x="97" y="323"/>
                  </a:lnTo>
                  <a:lnTo>
                    <a:pt x="97" y="326"/>
                  </a:lnTo>
                  <a:lnTo>
                    <a:pt x="97" y="328"/>
                  </a:lnTo>
                  <a:lnTo>
                    <a:pt x="94" y="331"/>
                  </a:lnTo>
                  <a:lnTo>
                    <a:pt x="94" y="333"/>
                  </a:lnTo>
                  <a:lnTo>
                    <a:pt x="97" y="333"/>
                  </a:lnTo>
                  <a:lnTo>
                    <a:pt x="97" y="333"/>
                  </a:lnTo>
                  <a:lnTo>
                    <a:pt x="97" y="336"/>
                  </a:lnTo>
                  <a:lnTo>
                    <a:pt x="99" y="336"/>
                  </a:lnTo>
                  <a:lnTo>
                    <a:pt x="99" y="333"/>
                  </a:lnTo>
                  <a:lnTo>
                    <a:pt x="99" y="333"/>
                  </a:lnTo>
                  <a:lnTo>
                    <a:pt x="99" y="331"/>
                  </a:lnTo>
                  <a:lnTo>
                    <a:pt x="104" y="331"/>
                  </a:lnTo>
                  <a:lnTo>
                    <a:pt x="107" y="328"/>
                  </a:lnTo>
                  <a:lnTo>
                    <a:pt x="107" y="328"/>
                  </a:lnTo>
                  <a:lnTo>
                    <a:pt x="107" y="331"/>
                  </a:lnTo>
                  <a:lnTo>
                    <a:pt x="109" y="331"/>
                  </a:lnTo>
                  <a:lnTo>
                    <a:pt x="109" y="331"/>
                  </a:lnTo>
                  <a:lnTo>
                    <a:pt x="109" y="333"/>
                  </a:lnTo>
                  <a:lnTo>
                    <a:pt x="112" y="331"/>
                  </a:lnTo>
                  <a:lnTo>
                    <a:pt x="112" y="331"/>
                  </a:lnTo>
                  <a:lnTo>
                    <a:pt x="114" y="328"/>
                  </a:lnTo>
                  <a:lnTo>
                    <a:pt x="114" y="328"/>
                  </a:lnTo>
                  <a:lnTo>
                    <a:pt x="117" y="326"/>
                  </a:lnTo>
                  <a:lnTo>
                    <a:pt x="117" y="323"/>
                  </a:lnTo>
                  <a:lnTo>
                    <a:pt x="117" y="321"/>
                  </a:lnTo>
                  <a:lnTo>
                    <a:pt x="109" y="315"/>
                  </a:lnTo>
                  <a:lnTo>
                    <a:pt x="107" y="310"/>
                  </a:lnTo>
                  <a:lnTo>
                    <a:pt x="104" y="308"/>
                  </a:lnTo>
                  <a:lnTo>
                    <a:pt x="102" y="305"/>
                  </a:lnTo>
                  <a:lnTo>
                    <a:pt x="99" y="305"/>
                  </a:lnTo>
                  <a:lnTo>
                    <a:pt x="97" y="308"/>
                  </a:lnTo>
                  <a:lnTo>
                    <a:pt x="94" y="308"/>
                  </a:lnTo>
                  <a:lnTo>
                    <a:pt x="89" y="305"/>
                  </a:lnTo>
                  <a:lnTo>
                    <a:pt x="89" y="303"/>
                  </a:lnTo>
                  <a:lnTo>
                    <a:pt x="86" y="300"/>
                  </a:lnTo>
                  <a:lnTo>
                    <a:pt x="84" y="300"/>
                  </a:lnTo>
                  <a:lnTo>
                    <a:pt x="81" y="300"/>
                  </a:lnTo>
                  <a:lnTo>
                    <a:pt x="81" y="298"/>
                  </a:lnTo>
                  <a:lnTo>
                    <a:pt x="76" y="293"/>
                  </a:lnTo>
                  <a:lnTo>
                    <a:pt x="76" y="290"/>
                  </a:lnTo>
                  <a:lnTo>
                    <a:pt x="76" y="287"/>
                  </a:lnTo>
                  <a:lnTo>
                    <a:pt x="79" y="287"/>
                  </a:lnTo>
                  <a:lnTo>
                    <a:pt x="79" y="287"/>
                  </a:lnTo>
                  <a:lnTo>
                    <a:pt x="79" y="290"/>
                  </a:lnTo>
                  <a:lnTo>
                    <a:pt x="79" y="290"/>
                  </a:lnTo>
                  <a:lnTo>
                    <a:pt x="79" y="293"/>
                  </a:lnTo>
                  <a:lnTo>
                    <a:pt x="81" y="293"/>
                  </a:lnTo>
                  <a:lnTo>
                    <a:pt x="81" y="293"/>
                  </a:lnTo>
                  <a:lnTo>
                    <a:pt x="81" y="293"/>
                  </a:lnTo>
                  <a:lnTo>
                    <a:pt x="81" y="298"/>
                  </a:lnTo>
                  <a:lnTo>
                    <a:pt x="84" y="300"/>
                  </a:lnTo>
                  <a:lnTo>
                    <a:pt x="84" y="298"/>
                  </a:lnTo>
                  <a:lnTo>
                    <a:pt x="81" y="295"/>
                  </a:lnTo>
                  <a:lnTo>
                    <a:pt x="79" y="275"/>
                  </a:lnTo>
                  <a:lnTo>
                    <a:pt x="76" y="272"/>
                  </a:lnTo>
                  <a:lnTo>
                    <a:pt x="76" y="270"/>
                  </a:lnTo>
                  <a:lnTo>
                    <a:pt x="76" y="270"/>
                  </a:lnTo>
                  <a:lnTo>
                    <a:pt x="76" y="272"/>
                  </a:lnTo>
                  <a:lnTo>
                    <a:pt x="74" y="272"/>
                  </a:lnTo>
                  <a:lnTo>
                    <a:pt x="74" y="270"/>
                  </a:lnTo>
                  <a:lnTo>
                    <a:pt x="71" y="267"/>
                  </a:lnTo>
                  <a:lnTo>
                    <a:pt x="71" y="267"/>
                  </a:lnTo>
                  <a:lnTo>
                    <a:pt x="69" y="257"/>
                  </a:lnTo>
                  <a:lnTo>
                    <a:pt x="69" y="254"/>
                  </a:lnTo>
                  <a:lnTo>
                    <a:pt x="69" y="252"/>
                  </a:lnTo>
                  <a:lnTo>
                    <a:pt x="66" y="252"/>
                  </a:lnTo>
                  <a:lnTo>
                    <a:pt x="58" y="254"/>
                  </a:lnTo>
                  <a:lnTo>
                    <a:pt x="58" y="254"/>
                  </a:lnTo>
                  <a:lnTo>
                    <a:pt x="56" y="252"/>
                  </a:lnTo>
                  <a:lnTo>
                    <a:pt x="56" y="252"/>
                  </a:lnTo>
                  <a:lnTo>
                    <a:pt x="56" y="249"/>
                  </a:lnTo>
                  <a:lnTo>
                    <a:pt x="53" y="244"/>
                  </a:lnTo>
                  <a:lnTo>
                    <a:pt x="53" y="242"/>
                  </a:lnTo>
                  <a:lnTo>
                    <a:pt x="53" y="237"/>
                  </a:lnTo>
                  <a:lnTo>
                    <a:pt x="53" y="231"/>
                  </a:lnTo>
                  <a:lnTo>
                    <a:pt x="53" y="229"/>
                  </a:lnTo>
                  <a:lnTo>
                    <a:pt x="53" y="229"/>
                  </a:lnTo>
                  <a:lnTo>
                    <a:pt x="53" y="226"/>
                  </a:lnTo>
                  <a:lnTo>
                    <a:pt x="56" y="224"/>
                  </a:lnTo>
                  <a:lnTo>
                    <a:pt x="58" y="216"/>
                  </a:lnTo>
                  <a:lnTo>
                    <a:pt x="58" y="211"/>
                  </a:lnTo>
                  <a:lnTo>
                    <a:pt x="58" y="209"/>
                  </a:lnTo>
                  <a:lnTo>
                    <a:pt x="61" y="203"/>
                  </a:lnTo>
                  <a:lnTo>
                    <a:pt x="61" y="198"/>
                  </a:lnTo>
                  <a:lnTo>
                    <a:pt x="63" y="196"/>
                  </a:lnTo>
                  <a:lnTo>
                    <a:pt x="63" y="191"/>
                  </a:lnTo>
                  <a:lnTo>
                    <a:pt x="66" y="188"/>
                  </a:lnTo>
                  <a:lnTo>
                    <a:pt x="66" y="186"/>
                  </a:lnTo>
                  <a:lnTo>
                    <a:pt x="66" y="183"/>
                  </a:lnTo>
                  <a:lnTo>
                    <a:pt x="66" y="175"/>
                  </a:lnTo>
                  <a:lnTo>
                    <a:pt x="66" y="173"/>
                  </a:lnTo>
                  <a:lnTo>
                    <a:pt x="66" y="168"/>
                  </a:lnTo>
                  <a:lnTo>
                    <a:pt x="66" y="163"/>
                  </a:lnTo>
                  <a:lnTo>
                    <a:pt x="63" y="163"/>
                  </a:lnTo>
                  <a:lnTo>
                    <a:pt x="63" y="160"/>
                  </a:lnTo>
                  <a:lnTo>
                    <a:pt x="66" y="158"/>
                  </a:lnTo>
                  <a:lnTo>
                    <a:pt x="69" y="158"/>
                  </a:lnTo>
                  <a:lnTo>
                    <a:pt x="74" y="155"/>
                  </a:lnTo>
                  <a:lnTo>
                    <a:pt x="76" y="155"/>
                  </a:lnTo>
                  <a:lnTo>
                    <a:pt x="76" y="155"/>
                  </a:lnTo>
                  <a:lnTo>
                    <a:pt x="81" y="158"/>
                  </a:lnTo>
                  <a:lnTo>
                    <a:pt x="84" y="158"/>
                  </a:lnTo>
                  <a:lnTo>
                    <a:pt x="84" y="160"/>
                  </a:lnTo>
                  <a:lnTo>
                    <a:pt x="84" y="160"/>
                  </a:lnTo>
                  <a:lnTo>
                    <a:pt x="84" y="163"/>
                  </a:lnTo>
                  <a:lnTo>
                    <a:pt x="84" y="168"/>
                  </a:lnTo>
                  <a:lnTo>
                    <a:pt x="84" y="173"/>
                  </a:lnTo>
                  <a:lnTo>
                    <a:pt x="84" y="175"/>
                  </a:lnTo>
                  <a:lnTo>
                    <a:pt x="84" y="175"/>
                  </a:lnTo>
                  <a:lnTo>
                    <a:pt x="84" y="175"/>
                  </a:lnTo>
                  <a:lnTo>
                    <a:pt x="86" y="175"/>
                  </a:lnTo>
                  <a:lnTo>
                    <a:pt x="94" y="175"/>
                  </a:lnTo>
                  <a:lnTo>
                    <a:pt x="99" y="175"/>
                  </a:lnTo>
                  <a:lnTo>
                    <a:pt x="102" y="175"/>
                  </a:lnTo>
                  <a:lnTo>
                    <a:pt x="104" y="178"/>
                  </a:lnTo>
                  <a:lnTo>
                    <a:pt x="104" y="178"/>
                  </a:lnTo>
                  <a:lnTo>
                    <a:pt x="107" y="178"/>
                  </a:lnTo>
                  <a:lnTo>
                    <a:pt x="109" y="181"/>
                  </a:lnTo>
                  <a:lnTo>
                    <a:pt x="112" y="183"/>
                  </a:lnTo>
                  <a:lnTo>
                    <a:pt x="112" y="183"/>
                  </a:lnTo>
                  <a:lnTo>
                    <a:pt x="112" y="181"/>
                  </a:lnTo>
                  <a:lnTo>
                    <a:pt x="112" y="186"/>
                  </a:lnTo>
                  <a:lnTo>
                    <a:pt x="114" y="186"/>
                  </a:lnTo>
                  <a:lnTo>
                    <a:pt x="117" y="188"/>
                  </a:lnTo>
                  <a:lnTo>
                    <a:pt x="117" y="186"/>
                  </a:lnTo>
                  <a:lnTo>
                    <a:pt x="117" y="186"/>
                  </a:lnTo>
                  <a:lnTo>
                    <a:pt x="120" y="188"/>
                  </a:lnTo>
                  <a:lnTo>
                    <a:pt x="122" y="191"/>
                  </a:lnTo>
                  <a:lnTo>
                    <a:pt x="122" y="193"/>
                  </a:lnTo>
                  <a:lnTo>
                    <a:pt x="125" y="196"/>
                  </a:lnTo>
                  <a:lnTo>
                    <a:pt x="125" y="198"/>
                  </a:lnTo>
                  <a:lnTo>
                    <a:pt x="127" y="198"/>
                  </a:lnTo>
                  <a:lnTo>
                    <a:pt x="125" y="196"/>
                  </a:lnTo>
                  <a:lnTo>
                    <a:pt x="122" y="188"/>
                  </a:lnTo>
                  <a:lnTo>
                    <a:pt x="120" y="186"/>
                  </a:lnTo>
                  <a:lnTo>
                    <a:pt x="120" y="181"/>
                  </a:lnTo>
                  <a:lnTo>
                    <a:pt x="122" y="181"/>
                  </a:lnTo>
                  <a:lnTo>
                    <a:pt x="120" y="178"/>
                  </a:lnTo>
                  <a:lnTo>
                    <a:pt x="117" y="178"/>
                  </a:lnTo>
                  <a:lnTo>
                    <a:pt x="114" y="175"/>
                  </a:lnTo>
                  <a:lnTo>
                    <a:pt x="114" y="170"/>
                  </a:lnTo>
                  <a:lnTo>
                    <a:pt x="114" y="168"/>
                  </a:lnTo>
                  <a:lnTo>
                    <a:pt x="112" y="165"/>
                  </a:lnTo>
                  <a:lnTo>
                    <a:pt x="112" y="163"/>
                  </a:lnTo>
                  <a:lnTo>
                    <a:pt x="112" y="160"/>
                  </a:lnTo>
                  <a:lnTo>
                    <a:pt x="109" y="155"/>
                  </a:lnTo>
                  <a:lnTo>
                    <a:pt x="109" y="155"/>
                  </a:lnTo>
                  <a:lnTo>
                    <a:pt x="112" y="155"/>
                  </a:lnTo>
                  <a:lnTo>
                    <a:pt x="114" y="155"/>
                  </a:lnTo>
                  <a:lnTo>
                    <a:pt x="114" y="153"/>
                  </a:lnTo>
                  <a:lnTo>
                    <a:pt x="114" y="153"/>
                  </a:lnTo>
                  <a:lnTo>
                    <a:pt x="114" y="153"/>
                  </a:lnTo>
                  <a:lnTo>
                    <a:pt x="117" y="147"/>
                  </a:lnTo>
                  <a:lnTo>
                    <a:pt x="120" y="145"/>
                  </a:lnTo>
                  <a:lnTo>
                    <a:pt x="120" y="145"/>
                  </a:lnTo>
                  <a:lnTo>
                    <a:pt x="120" y="142"/>
                  </a:lnTo>
                  <a:lnTo>
                    <a:pt x="122" y="140"/>
                  </a:lnTo>
                  <a:lnTo>
                    <a:pt x="125" y="137"/>
                  </a:lnTo>
                  <a:lnTo>
                    <a:pt x="127" y="137"/>
                  </a:lnTo>
                  <a:lnTo>
                    <a:pt x="130" y="137"/>
                  </a:lnTo>
                  <a:lnTo>
                    <a:pt x="132" y="135"/>
                  </a:lnTo>
                  <a:lnTo>
                    <a:pt x="132" y="135"/>
                  </a:lnTo>
                  <a:lnTo>
                    <a:pt x="137" y="137"/>
                  </a:lnTo>
                  <a:lnTo>
                    <a:pt x="137" y="137"/>
                  </a:lnTo>
                  <a:lnTo>
                    <a:pt x="140" y="137"/>
                  </a:lnTo>
                  <a:lnTo>
                    <a:pt x="142" y="137"/>
                  </a:lnTo>
                  <a:lnTo>
                    <a:pt x="142" y="137"/>
                  </a:lnTo>
                  <a:lnTo>
                    <a:pt x="145" y="137"/>
                  </a:lnTo>
                  <a:lnTo>
                    <a:pt x="150" y="137"/>
                  </a:lnTo>
                  <a:lnTo>
                    <a:pt x="153" y="137"/>
                  </a:lnTo>
                  <a:lnTo>
                    <a:pt x="158" y="135"/>
                  </a:lnTo>
                  <a:lnTo>
                    <a:pt x="160" y="135"/>
                  </a:lnTo>
                  <a:lnTo>
                    <a:pt x="160" y="137"/>
                  </a:lnTo>
                  <a:lnTo>
                    <a:pt x="160" y="137"/>
                  </a:lnTo>
                  <a:lnTo>
                    <a:pt x="163" y="140"/>
                  </a:lnTo>
                  <a:lnTo>
                    <a:pt x="163" y="140"/>
                  </a:lnTo>
                  <a:lnTo>
                    <a:pt x="163" y="140"/>
                  </a:lnTo>
                  <a:lnTo>
                    <a:pt x="165" y="140"/>
                  </a:lnTo>
                  <a:lnTo>
                    <a:pt x="165" y="137"/>
                  </a:lnTo>
                  <a:lnTo>
                    <a:pt x="165" y="137"/>
                  </a:lnTo>
                  <a:lnTo>
                    <a:pt x="165" y="137"/>
                  </a:lnTo>
                  <a:lnTo>
                    <a:pt x="168" y="135"/>
                  </a:lnTo>
                  <a:lnTo>
                    <a:pt x="170" y="135"/>
                  </a:lnTo>
                  <a:lnTo>
                    <a:pt x="170" y="132"/>
                  </a:lnTo>
                  <a:lnTo>
                    <a:pt x="170" y="132"/>
                  </a:lnTo>
                  <a:lnTo>
                    <a:pt x="170" y="130"/>
                  </a:lnTo>
                  <a:lnTo>
                    <a:pt x="170" y="127"/>
                  </a:lnTo>
                  <a:lnTo>
                    <a:pt x="170" y="125"/>
                  </a:lnTo>
                  <a:lnTo>
                    <a:pt x="170" y="12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182" name="Freeform 1800">
              <a:extLst>
                <a:ext uri="{FF2B5EF4-FFF2-40B4-BE49-F238E27FC236}">
                  <a16:creationId xmlns:a16="http://schemas.microsoft.com/office/drawing/2014/main" id="{81FF1E00-5156-704F-A33C-3A25D767FC9D}"/>
                </a:ext>
              </a:extLst>
            </p:cNvPr>
            <p:cNvSpPr>
              <a:spLocks noEditPoints="1"/>
            </p:cNvSpPr>
            <p:nvPr/>
          </p:nvSpPr>
          <p:spPr bwMode="auto">
            <a:xfrm>
              <a:off x="6572049" y="3838752"/>
              <a:ext cx="361498" cy="399120"/>
            </a:xfrm>
            <a:custGeom>
              <a:avLst/>
              <a:gdLst>
                <a:gd name="T0" fmla="*/ 211 w 221"/>
                <a:gd name="T1" fmla="*/ 150 h 244"/>
                <a:gd name="T2" fmla="*/ 206 w 221"/>
                <a:gd name="T3" fmla="*/ 158 h 244"/>
                <a:gd name="T4" fmla="*/ 201 w 221"/>
                <a:gd name="T5" fmla="*/ 122 h 244"/>
                <a:gd name="T6" fmla="*/ 206 w 221"/>
                <a:gd name="T7" fmla="*/ 122 h 244"/>
                <a:gd name="T8" fmla="*/ 201 w 221"/>
                <a:gd name="T9" fmla="*/ 107 h 244"/>
                <a:gd name="T10" fmla="*/ 209 w 221"/>
                <a:gd name="T11" fmla="*/ 102 h 244"/>
                <a:gd name="T12" fmla="*/ 211 w 221"/>
                <a:gd name="T13" fmla="*/ 89 h 244"/>
                <a:gd name="T14" fmla="*/ 221 w 221"/>
                <a:gd name="T15" fmla="*/ 214 h 244"/>
                <a:gd name="T16" fmla="*/ 211 w 221"/>
                <a:gd name="T17" fmla="*/ 209 h 244"/>
                <a:gd name="T18" fmla="*/ 206 w 221"/>
                <a:gd name="T19" fmla="*/ 198 h 244"/>
                <a:gd name="T20" fmla="*/ 204 w 221"/>
                <a:gd name="T21" fmla="*/ 178 h 244"/>
                <a:gd name="T22" fmla="*/ 201 w 221"/>
                <a:gd name="T23" fmla="*/ 155 h 244"/>
                <a:gd name="T24" fmla="*/ 204 w 221"/>
                <a:gd name="T25" fmla="*/ 140 h 244"/>
                <a:gd name="T26" fmla="*/ 196 w 221"/>
                <a:gd name="T27" fmla="*/ 125 h 244"/>
                <a:gd name="T28" fmla="*/ 193 w 221"/>
                <a:gd name="T29" fmla="*/ 104 h 244"/>
                <a:gd name="T30" fmla="*/ 198 w 221"/>
                <a:gd name="T31" fmla="*/ 86 h 244"/>
                <a:gd name="T32" fmla="*/ 188 w 221"/>
                <a:gd name="T33" fmla="*/ 74 h 244"/>
                <a:gd name="T34" fmla="*/ 170 w 221"/>
                <a:gd name="T35" fmla="*/ 58 h 244"/>
                <a:gd name="T36" fmla="*/ 165 w 221"/>
                <a:gd name="T37" fmla="*/ 56 h 244"/>
                <a:gd name="T38" fmla="*/ 168 w 221"/>
                <a:gd name="T39" fmla="*/ 46 h 244"/>
                <a:gd name="T40" fmla="*/ 145 w 221"/>
                <a:gd name="T41" fmla="*/ 30 h 244"/>
                <a:gd name="T42" fmla="*/ 119 w 221"/>
                <a:gd name="T43" fmla="*/ 15 h 244"/>
                <a:gd name="T44" fmla="*/ 96 w 221"/>
                <a:gd name="T45" fmla="*/ 0 h 244"/>
                <a:gd name="T46" fmla="*/ 28 w 221"/>
                <a:gd name="T47" fmla="*/ 0 h 244"/>
                <a:gd name="T48" fmla="*/ 25 w 221"/>
                <a:gd name="T49" fmla="*/ 5 h 244"/>
                <a:gd name="T50" fmla="*/ 30 w 221"/>
                <a:gd name="T51" fmla="*/ 20 h 244"/>
                <a:gd name="T52" fmla="*/ 30 w 221"/>
                <a:gd name="T53" fmla="*/ 30 h 244"/>
                <a:gd name="T54" fmla="*/ 25 w 221"/>
                <a:gd name="T55" fmla="*/ 33 h 244"/>
                <a:gd name="T56" fmla="*/ 23 w 221"/>
                <a:gd name="T57" fmla="*/ 41 h 244"/>
                <a:gd name="T58" fmla="*/ 28 w 221"/>
                <a:gd name="T59" fmla="*/ 46 h 244"/>
                <a:gd name="T60" fmla="*/ 30 w 221"/>
                <a:gd name="T61" fmla="*/ 51 h 244"/>
                <a:gd name="T62" fmla="*/ 25 w 221"/>
                <a:gd name="T63" fmla="*/ 56 h 244"/>
                <a:gd name="T64" fmla="*/ 17 w 221"/>
                <a:gd name="T65" fmla="*/ 69 h 244"/>
                <a:gd name="T66" fmla="*/ 2 w 221"/>
                <a:gd name="T67" fmla="*/ 79 h 244"/>
                <a:gd name="T68" fmla="*/ 2 w 221"/>
                <a:gd name="T69" fmla="*/ 97 h 244"/>
                <a:gd name="T70" fmla="*/ 2 w 221"/>
                <a:gd name="T71" fmla="*/ 112 h 244"/>
                <a:gd name="T72" fmla="*/ 10 w 221"/>
                <a:gd name="T73" fmla="*/ 130 h 244"/>
                <a:gd name="T74" fmla="*/ 20 w 221"/>
                <a:gd name="T75" fmla="*/ 145 h 244"/>
                <a:gd name="T76" fmla="*/ 28 w 221"/>
                <a:gd name="T77" fmla="*/ 163 h 244"/>
                <a:gd name="T78" fmla="*/ 35 w 221"/>
                <a:gd name="T79" fmla="*/ 173 h 244"/>
                <a:gd name="T80" fmla="*/ 46 w 221"/>
                <a:gd name="T81" fmla="*/ 181 h 244"/>
                <a:gd name="T82" fmla="*/ 51 w 221"/>
                <a:gd name="T83" fmla="*/ 183 h 244"/>
                <a:gd name="T84" fmla="*/ 61 w 221"/>
                <a:gd name="T85" fmla="*/ 186 h 244"/>
                <a:gd name="T86" fmla="*/ 71 w 221"/>
                <a:gd name="T87" fmla="*/ 191 h 244"/>
                <a:gd name="T88" fmla="*/ 81 w 221"/>
                <a:gd name="T89" fmla="*/ 196 h 244"/>
                <a:gd name="T90" fmla="*/ 91 w 221"/>
                <a:gd name="T91" fmla="*/ 196 h 244"/>
                <a:gd name="T92" fmla="*/ 94 w 221"/>
                <a:gd name="T93" fmla="*/ 193 h 244"/>
                <a:gd name="T94" fmla="*/ 104 w 221"/>
                <a:gd name="T95" fmla="*/ 209 h 244"/>
                <a:gd name="T96" fmla="*/ 104 w 221"/>
                <a:gd name="T97" fmla="*/ 219 h 244"/>
                <a:gd name="T98" fmla="*/ 104 w 221"/>
                <a:gd name="T99" fmla="*/ 229 h 244"/>
                <a:gd name="T100" fmla="*/ 107 w 221"/>
                <a:gd name="T101" fmla="*/ 234 h 244"/>
                <a:gd name="T102" fmla="*/ 114 w 221"/>
                <a:gd name="T103" fmla="*/ 239 h 244"/>
                <a:gd name="T104" fmla="*/ 125 w 221"/>
                <a:gd name="T105" fmla="*/ 239 h 244"/>
                <a:gd name="T106" fmla="*/ 137 w 221"/>
                <a:gd name="T107" fmla="*/ 244 h 244"/>
                <a:gd name="T108" fmla="*/ 153 w 221"/>
                <a:gd name="T109" fmla="*/ 242 h 244"/>
                <a:gd name="T110" fmla="*/ 168 w 221"/>
                <a:gd name="T111" fmla="*/ 239 h 244"/>
                <a:gd name="T112" fmla="*/ 178 w 221"/>
                <a:gd name="T113" fmla="*/ 234 h 244"/>
                <a:gd name="T114" fmla="*/ 198 w 221"/>
                <a:gd name="T115" fmla="*/ 229 h 244"/>
                <a:gd name="T116" fmla="*/ 216 w 221"/>
                <a:gd name="T117" fmla="*/ 219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21" h="244">
                  <a:moveTo>
                    <a:pt x="206" y="158"/>
                  </a:moveTo>
                  <a:lnTo>
                    <a:pt x="209" y="158"/>
                  </a:lnTo>
                  <a:lnTo>
                    <a:pt x="209" y="158"/>
                  </a:lnTo>
                  <a:lnTo>
                    <a:pt x="209" y="158"/>
                  </a:lnTo>
                  <a:lnTo>
                    <a:pt x="211" y="153"/>
                  </a:lnTo>
                  <a:lnTo>
                    <a:pt x="211" y="150"/>
                  </a:lnTo>
                  <a:lnTo>
                    <a:pt x="211" y="150"/>
                  </a:lnTo>
                  <a:lnTo>
                    <a:pt x="211" y="153"/>
                  </a:lnTo>
                  <a:lnTo>
                    <a:pt x="209" y="155"/>
                  </a:lnTo>
                  <a:lnTo>
                    <a:pt x="206" y="158"/>
                  </a:lnTo>
                  <a:lnTo>
                    <a:pt x="206" y="158"/>
                  </a:lnTo>
                  <a:lnTo>
                    <a:pt x="206" y="158"/>
                  </a:lnTo>
                  <a:lnTo>
                    <a:pt x="206" y="158"/>
                  </a:lnTo>
                  <a:close/>
                  <a:moveTo>
                    <a:pt x="198" y="114"/>
                  </a:moveTo>
                  <a:lnTo>
                    <a:pt x="198" y="117"/>
                  </a:lnTo>
                  <a:lnTo>
                    <a:pt x="198" y="119"/>
                  </a:lnTo>
                  <a:lnTo>
                    <a:pt x="201" y="119"/>
                  </a:lnTo>
                  <a:lnTo>
                    <a:pt x="201" y="122"/>
                  </a:lnTo>
                  <a:lnTo>
                    <a:pt x="201" y="122"/>
                  </a:lnTo>
                  <a:lnTo>
                    <a:pt x="204" y="122"/>
                  </a:lnTo>
                  <a:lnTo>
                    <a:pt x="204" y="125"/>
                  </a:lnTo>
                  <a:lnTo>
                    <a:pt x="204" y="125"/>
                  </a:lnTo>
                  <a:lnTo>
                    <a:pt x="206" y="122"/>
                  </a:lnTo>
                  <a:lnTo>
                    <a:pt x="206" y="122"/>
                  </a:lnTo>
                  <a:lnTo>
                    <a:pt x="204" y="117"/>
                  </a:lnTo>
                  <a:lnTo>
                    <a:pt x="204" y="117"/>
                  </a:lnTo>
                  <a:lnTo>
                    <a:pt x="204" y="117"/>
                  </a:lnTo>
                  <a:lnTo>
                    <a:pt x="201" y="112"/>
                  </a:lnTo>
                  <a:lnTo>
                    <a:pt x="201" y="109"/>
                  </a:lnTo>
                  <a:lnTo>
                    <a:pt x="201" y="107"/>
                  </a:lnTo>
                  <a:lnTo>
                    <a:pt x="198" y="109"/>
                  </a:lnTo>
                  <a:lnTo>
                    <a:pt x="198" y="112"/>
                  </a:lnTo>
                  <a:lnTo>
                    <a:pt x="198" y="114"/>
                  </a:lnTo>
                  <a:close/>
                  <a:moveTo>
                    <a:pt x="209" y="99"/>
                  </a:moveTo>
                  <a:lnTo>
                    <a:pt x="209" y="102"/>
                  </a:lnTo>
                  <a:lnTo>
                    <a:pt x="209" y="102"/>
                  </a:lnTo>
                  <a:lnTo>
                    <a:pt x="211" y="99"/>
                  </a:lnTo>
                  <a:lnTo>
                    <a:pt x="211" y="97"/>
                  </a:lnTo>
                  <a:lnTo>
                    <a:pt x="211" y="94"/>
                  </a:lnTo>
                  <a:lnTo>
                    <a:pt x="211" y="92"/>
                  </a:lnTo>
                  <a:lnTo>
                    <a:pt x="211" y="89"/>
                  </a:lnTo>
                  <a:lnTo>
                    <a:pt x="211" y="89"/>
                  </a:lnTo>
                  <a:lnTo>
                    <a:pt x="209" y="89"/>
                  </a:lnTo>
                  <a:lnTo>
                    <a:pt x="209" y="89"/>
                  </a:lnTo>
                  <a:lnTo>
                    <a:pt x="209" y="94"/>
                  </a:lnTo>
                  <a:lnTo>
                    <a:pt x="206" y="99"/>
                  </a:lnTo>
                  <a:lnTo>
                    <a:pt x="209" y="99"/>
                  </a:lnTo>
                  <a:close/>
                  <a:moveTo>
                    <a:pt x="221" y="214"/>
                  </a:moveTo>
                  <a:lnTo>
                    <a:pt x="221" y="214"/>
                  </a:lnTo>
                  <a:lnTo>
                    <a:pt x="219" y="211"/>
                  </a:lnTo>
                  <a:lnTo>
                    <a:pt x="216" y="209"/>
                  </a:lnTo>
                  <a:lnTo>
                    <a:pt x="214" y="209"/>
                  </a:lnTo>
                  <a:lnTo>
                    <a:pt x="214" y="209"/>
                  </a:lnTo>
                  <a:lnTo>
                    <a:pt x="211" y="209"/>
                  </a:lnTo>
                  <a:lnTo>
                    <a:pt x="211" y="206"/>
                  </a:lnTo>
                  <a:lnTo>
                    <a:pt x="209" y="206"/>
                  </a:lnTo>
                  <a:lnTo>
                    <a:pt x="206" y="203"/>
                  </a:lnTo>
                  <a:lnTo>
                    <a:pt x="209" y="203"/>
                  </a:lnTo>
                  <a:lnTo>
                    <a:pt x="209" y="201"/>
                  </a:lnTo>
                  <a:lnTo>
                    <a:pt x="206" y="198"/>
                  </a:lnTo>
                  <a:lnTo>
                    <a:pt x="206" y="196"/>
                  </a:lnTo>
                  <a:lnTo>
                    <a:pt x="206" y="191"/>
                  </a:lnTo>
                  <a:lnTo>
                    <a:pt x="206" y="186"/>
                  </a:lnTo>
                  <a:lnTo>
                    <a:pt x="201" y="181"/>
                  </a:lnTo>
                  <a:lnTo>
                    <a:pt x="204" y="181"/>
                  </a:lnTo>
                  <a:lnTo>
                    <a:pt x="204" y="178"/>
                  </a:lnTo>
                  <a:lnTo>
                    <a:pt x="201" y="175"/>
                  </a:lnTo>
                  <a:lnTo>
                    <a:pt x="198" y="168"/>
                  </a:lnTo>
                  <a:lnTo>
                    <a:pt x="198" y="168"/>
                  </a:lnTo>
                  <a:lnTo>
                    <a:pt x="201" y="165"/>
                  </a:lnTo>
                  <a:lnTo>
                    <a:pt x="201" y="160"/>
                  </a:lnTo>
                  <a:lnTo>
                    <a:pt x="201" y="155"/>
                  </a:lnTo>
                  <a:lnTo>
                    <a:pt x="201" y="153"/>
                  </a:lnTo>
                  <a:lnTo>
                    <a:pt x="198" y="155"/>
                  </a:lnTo>
                  <a:lnTo>
                    <a:pt x="198" y="147"/>
                  </a:lnTo>
                  <a:lnTo>
                    <a:pt x="201" y="145"/>
                  </a:lnTo>
                  <a:lnTo>
                    <a:pt x="201" y="140"/>
                  </a:lnTo>
                  <a:lnTo>
                    <a:pt x="204" y="140"/>
                  </a:lnTo>
                  <a:lnTo>
                    <a:pt x="204" y="137"/>
                  </a:lnTo>
                  <a:lnTo>
                    <a:pt x="204" y="132"/>
                  </a:lnTo>
                  <a:lnTo>
                    <a:pt x="198" y="132"/>
                  </a:lnTo>
                  <a:lnTo>
                    <a:pt x="198" y="130"/>
                  </a:lnTo>
                  <a:lnTo>
                    <a:pt x="196" y="127"/>
                  </a:lnTo>
                  <a:lnTo>
                    <a:pt x="196" y="125"/>
                  </a:lnTo>
                  <a:lnTo>
                    <a:pt x="193" y="125"/>
                  </a:lnTo>
                  <a:lnTo>
                    <a:pt x="191" y="122"/>
                  </a:lnTo>
                  <a:lnTo>
                    <a:pt x="191" y="117"/>
                  </a:lnTo>
                  <a:lnTo>
                    <a:pt x="191" y="114"/>
                  </a:lnTo>
                  <a:lnTo>
                    <a:pt x="191" y="112"/>
                  </a:lnTo>
                  <a:lnTo>
                    <a:pt x="193" y="104"/>
                  </a:lnTo>
                  <a:lnTo>
                    <a:pt x="193" y="102"/>
                  </a:lnTo>
                  <a:lnTo>
                    <a:pt x="196" y="97"/>
                  </a:lnTo>
                  <a:lnTo>
                    <a:pt x="196" y="94"/>
                  </a:lnTo>
                  <a:lnTo>
                    <a:pt x="196" y="92"/>
                  </a:lnTo>
                  <a:lnTo>
                    <a:pt x="196" y="89"/>
                  </a:lnTo>
                  <a:lnTo>
                    <a:pt x="198" y="86"/>
                  </a:lnTo>
                  <a:lnTo>
                    <a:pt x="198" y="84"/>
                  </a:lnTo>
                  <a:lnTo>
                    <a:pt x="198" y="84"/>
                  </a:lnTo>
                  <a:lnTo>
                    <a:pt x="196" y="81"/>
                  </a:lnTo>
                  <a:lnTo>
                    <a:pt x="193" y="79"/>
                  </a:lnTo>
                  <a:lnTo>
                    <a:pt x="191" y="76"/>
                  </a:lnTo>
                  <a:lnTo>
                    <a:pt x="188" y="74"/>
                  </a:lnTo>
                  <a:lnTo>
                    <a:pt x="183" y="71"/>
                  </a:lnTo>
                  <a:lnTo>
                    <a:pt x="181" y="69"/>
                  </a:lnTo>
                  <a:lnTo>
                    <a:pt x="175" y="64"/>
                  </a:lnTo>
                  <a:lnTo>
                    <a:pt x="173" y="61"/>
                  </a:lnTo>
                  <a:lnTo>
                    <a:pt x="170" y="61"/>
                  </a:lnTo>
                  <a:lnTo>
                    <a:pt x="170" y="58"/>
                  </a:lnTo>
                  <a:lnTo>
                    <a:pt x="168" y="58"/>
                  </a:lnTo>
                  <a:lnTo>
                    <a:pt x="168" y="58"/>
                  </a:lnTo>
                  <a:lnTo>
                    <a:pt x="168" y="56"/>
                  </a:lnTo>
                  <a:lnTo>
                    <a:pt x="168" y="56"/>
                  </a:lnTo>
                  <a:lnTo>
                    <a:pt x="165" y="56"/>
                  </a:lnTo>
                  <a:lnTo>
                    <a:pt x="165" y="56"/>
                  </a:lnTo>
                  <a:lnTo>
                    <a:pt x="168" y="53"/>
                  </a:lnTo>
                  <a:lnTo>
                    <a:pt x="168" y="53"/>
                  </a:lnTo>
                  <a:lnTo>
                    <a:pt x="168" y="51"/>
                  </a:lnTo>
                  <a:lnTo>
                    <a:pt x="168" y="48"/>
                  </a:lnTo>
                  <a:lnTo>
                    <a:pt x="168" y="46"/>
                  </a:lnTo>
                  <a:lnTo>
                    <a:pt x="168" y="46"/>
                  </a:lnTo>
                  <a:lnTo>
                    <a:pt x="165" y="46"/>
                  </a:lnTo>
                  <a:lnTo>
                    <a:pt x="160" y="43"/>
                  </a:lnTo>
                  <a:lnTo>
                    <a:pt x="158" y="41"/>
                  </a:lnTo>
                  <a:lnTo>
                    <a:pt x="153" y="38"/>
                  </a:lnTo>
                  <a:lnTo>
                    <a:pt x="147" y="33"/>
                  </a:lnTo>
                  <a:lnTo>
                    <a:pt x="145" y="30"/>
                  </a:lnTo>
                  <a:lnTo>
                    <a:pt x="140" y="28"/>
                  </a:lnTo>
                  <a:lnTo>
                    <a:pt x="135" y="25"/>
                  </a:lnTo>
                  <a:lnTo>
                    <a:pt x="132" y="23"/>
                  </a:lnTo>
                  <a:lnTo>
                    <a:pt x="127" y="20"/>
                  </a:lnTo>
                  <a:lnTo>
                    <a:pt x="122" y="18"/>
                  </a:lnTo>
                  <a:lnTo>
                    <a:pt x="119" y="15"/>
                  </a:lnTo>
                  <a:lnTo>
                    <a:pt x="114" y="13"/>
                  </a:lnTo>
                  <a:lnTo>
                    <a:pt x="109" y="10"/>
                  </a:lnTo>
                  <a:lnTo>
                    <a:pt x="107" y="8"/>
                  </a:lnTo>
                  <a:lnTo>
                    <a:pt x="102" y="5"/>
                  </a:lnTo>
                  <a:lnTo>
                    <a:pt x="96" y="2"/>
                  </a:lnTo>
                  <a:lnTo>
                    <a:pt x="96" y="0"/>
                  </a:lnTo>
                  <a:lnTo>
                    <a:pt x="94" y="0"/>
                  </a:lnTo>
                  <a:lnTo>
                    <a:pt x="30" y="0"/>
                  </a:lnTo>
                  <a:lnTo>
                    <a:pt x="30" y="0"/>
                  </a:lnTo>
                  <a:lnTo>
                    <a:pt x="30" y="0"/>
                  </a:lnTo>
                  <a:lnTo>
                    <a:pt x="28" y="0"/>
                  </a:lnTo>
                  <a:lnTo>
                    <a:pt x="28" y="0"/>
                  </a:lnTo>
                  <a:lnTo>
                    <a:pt x="25" y="2"/>
                  </a:lnTo>
                  <a:lnTo>
                    <a:pt x="25" y="2"/>
                  </a:lnTo>
                  <a:lnTo>
                    <a:pt x="25" y="2"/>
                  </a:lnTo>
                  <a:lnTo>
                    <a:pt x="23" y="2"/>
                  </a:lnTo>
                  <a:lnTo>
                    <a:pt x="23" y="2"/>
                  </a:lnTo>
                  <a:lnTo>
                    <a:pt x="25" y="5"/>
                  </a:lnTo>
                  <a:lnTo>
                    <a:pt x="28" y="8"/>
                  </a:lnTo>
                  <a:lnTo>
                    <a:pt x="28" y="8"/>
                  </a:lnTo>
                  <a:lnTo>
                    <a:pt x="30" y="10"/>
                  </a:lnTo>
                  <a:lnTo>
                    <a:pt x="30" y="13"/>
                  </a:lnTo>
                  <a:lnTo>
                    <a:pt x="30" y="15"/>
                  </a:lnTo>
                  <a:lnTo>
                    <a:pt x="30" y="20"/>
                  </a:lnTo>
                  <a:lnTo>
                    <a:pt x="30" y="23"/>
                  </a:lnTo>
                  <a:lnTo>
                    <a:pt x="30" y="23"/>
                  </a:lnTo>
                  <a:lnTo>
                    <a:pt x="30" y="25"/>
                  </a:lnTo>
                  <a:lnTo>
                    <a:pt x="30" y="28"/>
                  </a:lnTo>
                  <a:lnTo>
                    <a:pt x="30" y="30"/>
                  </a:lnTo>
                  <a:lnTo>
                    <a:pt x="30" y="30"/>
                  </a:lnTo>
                  <a:lnTo>
                    <a:pt x="30" y="30"/>
                  </a:lnTo>
                  <a:lnTo>
                    <a:pt x="28" y="30"/>
                  </a:lnTo>
                  <a:lnTo>
                    <a:pt x="28" y="30"/>
                  </a:lnTo>
                  <a:lnTo>
                    <a:pt x="25" y="30"/>
                  </a:lnTo>
                  <a:lnTo>
                    <a:pt x="25" y="30"/>
                  </a:lnTo>
                  <a:lnTo>
                    <a:pt x="25" y="33"/>
                  </a:lnTo>
                  <a:lnTo>
                    <a:pt x="23" y="36"/>
                  </a:lnTo>
                  <a:lnTo>
                    <a:pt x="23" y="38"/>
                  </a:lnTo>
                  <a:lnTo>
                    <a:pt x="23" y="38"/>
                  </a:lnTo>
                  <a:lnTo>
                    <a:pt x="23" y="38"/>
                  </a:lnTo>
                  <a:lnTo>
                    <a:pt x="23" y="41"/>
                  </a:lnTo>
                  <a:lnTo>
                    <a:pt x="23" y="41"/>
                  </a:lnTo>
                  <a:lnTo>
                    <a:pt x="23" y="41"/>
                  </a:lnTo>
                  <a:lnTo>
                    <a:pt x="23" y="43"/>
                  </a:lnTo>
                  <a:lnTo>
                    <a:pt x="23" y="43"/>
                  </a:lnTo>
                  <a:lnTo>
                    <a:pt x="25" y="43"/>
                  </a:lnTo>
                  <a:lnTo>
                    <a:pt x="25" y="43"/>
                  </a:lnTo>
                  <a:lnTo>
                    <a:pt x="28" y="46"/>
                  </a:lnTo>
                  <a:lnTo>
                    <a:pt x="30" y="46"/>
                  </a:lnTo>
                  <a:lnTo>
                    <a:pt x="30" y="46"/>
                  </a:lnTo>
                  <a:lnTo>
                    <a:pt x="30" y="46"/>
                  </a:lnTo>
                  <a:lnTo>
                    <a:pt x="30" y="48"/>
                  </a:lnTo>
                  <a:lnTo>
                    <a:pt x="30" y="51"/>
                  </a:lnTo>
                  <a:lnTo>
                    <a:pt x="30" y="51"/>
                  </a:lnTo>
                  <a:lnTo>
                    <a:pt x="28" y="53"/>
                  </a:lnTo>
                  <a:lnTo>
                    <a:pt x="25" y="53"/>
                  </a:lnTo>
                  <a:lnTo>
                    <a:pt x="25" y="53"/>
                  </a:lnTo>
                  <a:lnTo>
                    <a:pt x="25" y="53"/>
                  </a:lnTo>
                  <a:lnTo>
                    <a:pt x="25" y="56"/>
                  </a:lnTo>
                  <a:lnTo>
                    <a:pt x="25" y="56"/>
                  </a:lnTo>
                  <a:lnTo>
                    <a:pt x="23" y="58"/>
                  </a:lnTo>
                  <a:lnTo>
                    <a:pt x="23" y="61"/>
                  </a:lnTo>
                  <a:lnTo>
                    <a:pt x="20" y="61"/>
                  </a:lnTo>
                  <a:lnTo>
                    <a:pt x="20" y="64"/>
                  </a:lnTo>
                  <a:lnTo>
                    <a:pt x="20" y="64"/>
                  </a:lnTo>
                  <a:lnTo>
                    <a:pt x="17" y="69"/>
                  </a:lnTo>
                  <a:lnTo>
                    <a:pt x="17" y="71"/>
                  </a:lnTo>
                  <a:lnTo>
                    <a:pt x="12" y="74"/>
                  </a:lnTo>
                  <a:lnTo>
                    <a:pt x="10" y="76"/>
                  </a:lnTo>
                  <a:lnTo>
                    <a:pt x="7" y="79"/>
                  </a:lnTo>
                  <a:lnTo>
                    <a:pt x="2" y="79"/>
                  </a:lnTo>
                  <a:lnTo>
                    <a:pt x="2" y="79"/>
                  </a:lnTo>
                  <a:lnTo>
                    <a:pt x="0" y="84"/>
                  </a:lnTo>
                  <a:lnTo>
                    <a:pt x="0" y="86"/>
                  </a:lnTo>
                  <a:lnTo>
                    <a:pt x="0" y="89"/>
                  </a:lnTo>
                  <a:lnTo>
                    <a:pt x="0" y="92"/>
                  </a:lnTo>
                  <a:lnTo>
                    <a:pt x="2" y="94"/>
                  </a:lnTo>
                  <a:lnTo>
                    <a:pt x="2" y="97"/>
                  </a:lnTo>
                  <a:lnTo>
                    <a:pt x="2" y="99"/>
                  </a:lnTo>
                  <a:lnTo>
                    <a:pt x="5" y="102"/>
                  </a:lnTo>
                  <a:lnTo>
                    <a:pt x="5" y="104"/>
                  </a:lnTo>
                  <a:lnTo>
                    <a:pt x="5" y="107"/>
                  </a:lnTo>
                  <a:lnTo>
                    <a:pt x="5" y="109"/>
                  </a:lnTo>
                  <a:lnTo>
                    <a:pt x="2" y="112"/>
                  </a:lnTo>
                  <a:lnTo>
                    <a:pt x="2" y="114"/>
                  </a:lnTo>
                  <a:lnTo>
                    <a:pt x="2" y="117"/>
                  </a:lnTo>
                  <a:lnTo>
                    <a:pt x="5" y="119"/>
                  </a:lnTo>
                  <a:lnTo>
                    <a:pt x="5" y="122"/>
                  </a:lnTo>
                  <a:lnTo>
                    <a:pt x="7" y="127"/>
                  </a:lnTo>
                  <a:lnTo>
                    <a:pt x="10" y="130"/>
                  </a:lnTo>
                  <a:lnTo>
                    <a:pt x="12" y="132"/>
                  </a:lnTo>
                  <a:lnTo>
                    <a:pt x="15" y="135"/>
                  </a:lnTo>
                  <a:lnTo>
                    <a:pt x="17" y="135"/>
                  </a:lnTo>
                  <a:lnTo>
                    <a:pt x="17" y="137"/>
                  </a:lnTo>
                  <a:lnTo>
                    <a:pt x="20" y="140"/>
                  </a:lnTo>
                  <a:lnTo>
                    <a:pt x="20" y="145"/>
                  </a:lnTo>
                  <a:lnTo>
                    <a:pt x="20" y="147"/>
                  </a:lnTo>
                  <a:lnTo>
                    <a:pt x="23" y="150"/>
                  </a:lnTo>
                  <a:lnTo>
                    <a:pt x="25" y="155"/>
                  </a:lnTo>
                  <a:lnTo>
                    <a:pt x="25" y="158"/>
                  </a:lnTo>
                  <a:lnTo>
                    <a:pt x="28" y="160"/>
                  </a:lnTo>
                  <a:lnTo>
                    <a:pt x="28" y="163"/>
                  </a:lnTo>
                  <a:lnTo>
                    <a:pt x="28" y="165"/>
                  </a:lnTo>
                  <a:lnTo>
                    <a:pt x="30" y="168"/>
                  </a:lnTo>
                  <a:lnTo>
                    <a:pt x="30" y="170"/>
                  </a:lnTo>
                  <a:lnTo>
                    <a:pt x="33" y="170"/>
                  </a:lnTo>
                  <a:lnTo>
                    <a:pt x="33" y="173"/>
                  </a:lnTo>
                  <a:lnTo>
                    <a:pt x="35" y="173"/>
                  </a:lnTo>
                  <a:lnTo>
                    <a:pt x="40" y="173"/>
                  </a:lnTo>
                  <a:lnTo>
                    <a:pt x="40" y="173"/>
                  </a:lnTo>
                  <a:lnTo>
                    <a:pt x="43" y="175"/>
                  </a:lnTo>
                  <a:lnTo>
                    <a:pt x="43" y="178"/>
                  </a:lnTo>
                  <a:lnTo>
                    <a:pt x="46" y="178"/>
                  </a:lnTo>
                  <a:lnTo>
                    <a:pt x="46" y="181"/>
                  </a:lnTo>
                  <a:lnTo>
                    <a:pt x="46" y="181"/>
                  </a:lnTo>
                  <a:lnTo>
                    <a:pt x="48" y="181"/>
                  </a:lnTo>
                  <a:lnTo>
                    <a:pt x="48" y="181"/>
                  </a:lnTo>
                  <a:lnTo>
                    <a:pt x="51" y="181"/>
                  </a:lnTo>
                  <a:lnTo>
                    <a:pt x="51" y="181"/>
                  </a:lnTo>
                  <a:lnTo>
                    <a:pt x="51" y="183"/>
                  </a:lnTo>
                  <a:lnTo>
                    <a:pt x="51" y="183"/>
                  </a:lnTo>
                  <a:lnTo>
                    <a:pt x="53" y="183"/>
                  </a:lnTo>
                  <a:lnTo>
                    <a:pt x="56" y="183"/>
                  </a:lnTo>
                  <a:lnTo>
                    <a:pt x="56" y="186"/>
                  </a:lnTo>
                  <a:lnTo>
                    <a:pt x="58" y="186"/>
                  </a:lnTo>
                  <a:lnTo>
                    <a:pt x="61" y="186"/>
                  </a:lnTo>
                  <a:lnTo>
                    <a:pt x="63" y="186"/>
                  </a:lnTo>
                  <a:lnTo>
                    <a:pt x="66" y="188"/>
                  </a:lnTo>
                  <a:lnTo>
                    <a:pt x="68" y="188"/>
                  </a:lnTo>
                  <a:lnTo>
                    <a:pt x="68" y="191"/>
                  </a:lnTo>
                  <a:lnTo>
                    <a:pt x="71" y="191"/>
                  </a:lnTo>
                  <a:lnTo>
                    <a:pt x="71" y="191"/>
                  </a:lnTo>
                  <a:lnTo>
                    <a:pt x="71" y="191"/>
                  </a:lnTo>
                  <a:lnTo>
                    <a:pt x="76" y="193"/>
                  </a:lnTo>
                  <a:lnTo>
                    <a:pt x="76" y="193"/>
                  </a:lnTo>
                  <a:lnTo>
                    <a:pt x="79" y="193"/>
                  </a:lnTo>
                  <a:lnTo>
                    <a:pt x="81" y="196"/>
                  </a:lnTo>
                  <a:lnTo>
                    <a:pt x="81" y="196"/>
                  </a:lnTo>
                  <a:lnTo>
                    <a:pt x="84" y="196"/>
                  </a:lnTo>
                  <a:lnTo>
                    <a:pt x="86" y="196"/>
                  </a:lnTo>
                  <a:lnTo>
                    <a:pt x="89" y="196"/>
                  </a:lnTo>
                  <a:lnTo>
                    <a:pt x="89" y="196"/>
                  </a:lnTo>
                  <a:lnTo>
                    <a:pt x="91" y="196"/>
                  </a:lnTo>
                  <a:lnTo>
                    <a:pt x="91" y="196"/>
                  </a:lnTo>
                  <a:lnTo>
                    <a:pt x="91" y="196"/>
                  </a:lnTo>
                  <a:lnTo>
                    <a:pt x="91" y="196"/>
                  </a:lnTo>
                  <a:lnTo>
                    <a:pt x="91" y="193"/>
                  </a:lnTo>
                  <a:lnTo>
                    <a:pt x="91" y="193"/>
                  </a:lnTo>
                  <a:lnTo>
                    <a:pt x="91" y="193"/>
                  </a:lnTo>
                  <a:lnTo>
                    <a:pt x="94" y="193"/>
                  </a:lnTo>
                  <a:lnTo>
                    <a:pt x="99" y="198"/>
                  </a:lnTo>
                  <a:lnTo>
                    <a:pt x="99" y="198"/>
                  </a:lnTo>
                  <a:lnTo>
                    <a:pt x="102" y="203"/>
                  </a:lnTo>
                  <a:lnTo>
                    <a:pt x="102" y="206"/>
                  </a:lnTo>
                  <a:lnTo>
                    <a:pt x="102" y="206"/>
                  </a:lnTo>
                  <a:lnTo>
                    <a:pt x="104" y="209"/>
                  </a:lnTo>
                  <a:lnTo>
                    <a:pt x="104" y="211"/>
                  </a:lnTo>
                  <a:lnTo>
                    <a:pt x="104" y="214"/>
                  </a:lnTo>
                  <a:lnTo>
                    <a:pt x="104" y="214"/>
                  </a:lnTo>
                  <a:lnTo>
                    <a:pt x="104" y="216"/>
                  </a:lnTo>
                  <a:lnTo>
                    <a:pt x="104" y="216"/>
                  </a:lnTo>
                  <a:lnTo>
                    <a:pt x="104" y="219"/>
                  </a:lnTo>
                  <a:lnTo>
                    <a:pt x="104" y="221"/>
                  </a:lnTo>
                  <a:lnTo>
                    <a:pt x="104" y="221"/>
                  </a:lnTo>
                  <a:lnTo>
                    <a:pt x="104" y="224"/>
                  </a:lnTo>
                  <a:lnTo>
                    <a:pt x="104" y="226"/>
                  </a:lnTo>
                  <a:lnTo>
                    <a:pt x="104" y="229"/>
                  </a:lnTo>
                  <a:lnTo>
                    <a:pt x="104" y="229"/>
                  </a:lnTo>
                  <a:lnTo>
                    <a:pt x="104" y="229"/>
                  </a:lnTo>
                  <a:lnTo>
                    <a:pt x="107" y="231"/>
                  </a:lnTo>
                  <a:lnTo>
                    <a:pt x="107" y="231"/>
                  </a:lnTo>
                  <a:lnTo>
                    <a:pt x="107" y="234"/>
                  </a:lnTo>
                  <a:lnTo>
                    <a:pt x="107" y="234"/>
                  </a:lnTo>
                  <a:lnTo>
                    <a:pt x="107" y="234"/>
                  </a:lnTo>
                  <a:lnTo>
                    <a:pt x="109" y="234"/>
                  </a:lnTo>
                  <a:lnTo>
                    <a:pt x="109" y="237"/>
                  </a:lnTo>
                  <a:lnTo>
                    <a:pt x="109" y="237"/>
                  </a:lnTo>
                  <a:lnTo>
                    <a:pt x="112" y="239"/>
                  </a:lnTo>
                  <a:lnTo>
                    <a:pt x="112" y="239"/>
                  </a:lnTo>
                  <a:lnTo>
                    <a:pt x="114" y="239"/>
                  </a:lnTo>
                  <a:lnTo>
                    <a:pt x="119" y="239"/>
                  </a:lnTo>
                  <a:lnTo>
                    <a:pt x="119" y="242"/>
                  </a:lnTo>
                  <a:lnTo>
                    <a:pt x="122" y="242"/>
                  </a:lnTo>
                  <a:lnTo>
                    <a:pt x="122" y="242"/>
                  </a:lnTo>
                  <a:lnTo>
                    <a:pt x="125" y="239"/>
                  </a:lnTo>
                  <a:lnTo>
                    <a:pt x="125" y="239"/>
                  </a:lnTo>
                  <a:lnTo>
                    <a:pt x="127" y="237"/>
                  </a:lnTo>
                  <a:lnTo>
                    <a:pt x="130" y="237"/>
                  </a:lnTo>
                  <a:lnTo>
                    <a:pt x="132" y="239"/>
                  </a:lnTo>
                  <a:lnTo>
                    <a:pt x="135" y="242"/>
                  </a:lnTo>
                  <a:lnTo>
                    <a:pt x="135" y="242"/>
                  </a:lnTo>
                  <a:lnTo>
                    <a:pt x="137" y="244"/>
                  </a:lnTo>
                  <a:lnTo>
                    <a:pt x="142" y="244"/>
                  </a:lnTo>
                  <a:lnTo>
                    <a:pt x="145" y="242"/>
                  </a:lnTo>
                  <a:lnTo>
                    <a:pt x="147" y="242"/>
                  </a:lnTo>
                  <a:lnTo>
                    <a:pt x="150" y="239"/>
                  </a:lnTo>
                  <a:lnTo>
                    <a:pt x="150" y="239"/>
                  </a:lnTo>
                  <a:lnTo>
                    <a:pt x="153" y="242"/>
                  </a:lnTo>
                  <a:lnTo>
                    <a:pt x="153" y="242"/>
                  </a:lnTo>
                  <a:lnTo>
                    <a:pt x="155" y="242"/>
                  </a:lnTo>
                  <a:lnTo>
                    <a:pt x="158" y="244"/>
                  </a:lnTo>
                  <a:lnTo>
                    <a:pt x="163" y="242"/>
                  </a:lnTo>
                  <a:lnTo>
                    <a:pt x="165" y="239"/>
                  </a:lnTo>
                  <a:lnTo>
                    <a:pt x="168" y="239"/>
                  </a:lnTo>
                  <a:lnTo>
                    <a:pt x="168" y="237"/>
                  </a:lnTo>
                  <a:lnTo>
                    <a:pt x="170" y="234"/>
                  </a:lnTo>
                  <a:lnTo>
                    <a:pt x="170" y="234"/>
                  </a:lnTo>
                  <a:lnTo>
                    <a:pt x="173" y="234"/>
                  </a:lnTo>
                  <a:lnTo>
                    <a:pt x="175" y="234"/>
                  </a:lnTo>
                  <a:lnTo>
                    <a:pt x="178" y="234"/>
                  </a:lnTo>
                  <a:lnTo>
                    <a:pt x="181" y="237"/>
                  </a:lnTo>
                  <a:lnTo>
                    <a:pt x="183" y="234"/>
                  </a:lnTo>
                  <a:lnTo>
                    <a:pt x="188" y="231"/>
                  </a:lnTo>
                  <a:lnTo>
                    <a:pt x="191" y="231"/>
                  </a:lnTo>
                  <a:lnTo>
                    <a:pt x="196" y="231"/>
                  </a:lnTo>
                  <a:lnTo>
                    <a:pt x="198" y="229"/>
                  </a:lnTo>
                  <a:lnTo>
                    <a:pt x="201" y="229"/>
                  </a:lnTo>
                  <a:lnTo>
                    <a:pt x="204" y="226"/>
                  </a:lnTo>
                  <a:lnTo>
                    <a:pt x="206" y="226"/>
                  </a:lnTo>
                  <a:lnTo>
                    <a:pt x="209" y="224"/>
                  </a:lnTo>
                  <a:lnTo>
                    <a:pt x="211" y="224"/>
                  </a:lnTo>
                  <a:lnTo>
                    <a:pt x="216" y="219"/>
                  </a:lnTo>
                  <a:lnTo>
                    <a:pt x="219" y="216"/>
                  </a:lnTo>
                  <a:lnTo>
                    <a:pt x="221" y="214"/>
                  </a:lnTo>
                  <a:lnTo>
                    <a:pt x="221" y="214"/>
                  </a:lnTo>
                  <a:close/>
                </a:path>
              </a:pathLst>
            </a:custGeom>
            <a:solidFill>
              <a:srgbClr val="FFC000"/>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183" name="Freeform 1801">
              <a:extLst>
                <a:ext uri="{FF2B5EF4-FFF2-40B4-BE49-F238E27FC236}">
                  <a16:creationId xmlns:a16="http://schemas.microsoft.com/office/drawing/2014/main" id="{B2770ADF-703D-4344-AC84-8B09BD1A54F1}"/>
                </a:ext>
              </a:extLst>
            </p:cNvPr>
            <p:cNvSpPr>
              <a:spLocks noEditPoints="1"/>
            </p:cNvSpPr>
            <p:nvPr/>
          </p:nvSpPr>
          <p:spPr bwMode="auto">
            <a:xfrm>
              <a:off x="7684350" y="2278260"/>
              <a:ext cx="255175" cy="157031"/>
            </a:xfrm>
            <a:custGeom>
              <a:avLst/>
              <a:gdLst>
                <a:gd name="T0" fmla="*/ 56 w 156"/>
                <a:gd name="T1" fmla="*/ 25 h 96"/>
                <a:gd name="T2" fmla="*/ 51 w 156"/>
                <a:gd name="T3" fmla="*/ 2 h 96"/>
                <a:gd name="T4" fmla="*/ 51 w 156"/>
                <a:gd name="T5" fmla="*/ 0 h 96"/>
                <a:gd name="T6" fmla="*/ 150 w 156"/>
                <a:gd name="T7" fmla="*/ 73 h 96"/>
                <a:gd name="T8" fmla="*/ 145 w 156"/>
                <a:gd name="T9" fmla="*/ 63 h 96"/>
                <a:gd name="T10" fmla="*/ 138 w 156"/>
                <a:gd name="T11" fmla="*/ 53 h 96"/>
                <a:gd name="T12" fmla="*/ 128 w 156"/>
                <a:gd name="T13" fmla="*/ 53 h 96"/>
                <a:gd name="T14" fmla="*/ 120 w 156"/>
                <a:gd name="T15" fmla="*/ 45 h 96"/>
                <a:gd name="T16" fmla="*/ 120 w 156"/>
                <a:gd name="T17" fmla="*/ 40 h 96"/>
                <a:gd name="T18" fmla="*/ 112 w 156"/>
                <a:gd name="T19" fmla="*/ 33 h 96"/>
                <a:gd name="T20" fmla="*/ 102 w 156"/>
                <a:gd name="T21" fmla="*/ 35 h 96"/>
                <a:gd name="T22" fmla="*/ 92 w 156"/>
                <a:gd name="T23" fmla="*/ 38 h 96"/>
                <a:gd name="T24" fmla="*/ 82 w 156"/>
                <a:gd name="T25" fmla="*/ 38 h 96"/>
                <a:gd name="T26" fmla="*/ 77 w 156"/>
                <a:gd name="T27" fmla="*/ 33 h 96"/>
                <a:gd name="T28" fmla="*/ 74 w 156"/>
                <a:gd name="T29" fmla="*/ 30 h 96"/>
                <a:gd name="T30" fmla="*/ 66 w 156"/>
                <a:gd name="T31" fmla="*/ 35 h 96"/>
                <a:gd name="T32" fmla="*/ 56 w 156"/>
                <a:gd name="T33" fmla="*/ 30 h 96"/>
                <a:gd name="T34" fmla="*/ 49 w 156"/>
                <a:gd name="T35" fmla="*/ 30 h 96"/>
                <a:gd name="T36" fmla="*/ 36 w 156"/>
                <a:gd name="T37" fmla="*/ 30 h 96"/>
                <a:gd name="T38" fmla="*/ 33 w 156"/>
                <a:gd name="T39" fmla="*/ 23 h 96"/>
                <a:gd name="T40" fmla="*/ 36 w 156"/>
                <a:gd name="T41" fmla="*/ 23 h 96"/>
                <a:gd name="T42" fmla="*/ 43 w 156"/>
                <a:gd name="T43" fmla="*/ 18 h 96"/>
                <a:gd name="T44" fmla="*/ 56 w 156"/>
                <a:gd name="T45" fmla="*/ 23 h 96"/>
                <a:gd name="T46" fmla="*/ 61 w 156"/>
                <a:gd name="T47" fmla="*/ 18 h 96"/>
                <a:gd name="T48" fmla="*/ 54 w 156"/>
                <a:gd name="T49" fmla="*/ 15 h 96"/>
                <a:gd name="T50" fmla="*/ 49 w 156"/>
                <a:gd name="T51" fmla="*/ 12 h 96"/>
                <a:gd name="T52" fmla="*/ 54 w 156"/>
                <a:gd name="T53" fmla="*/ 7 h 96"/>
                <a:gd name="T54" fmla="*/ 49 w 156"/>
                <a:gd name="T55" fmla="*/ 0 h 96"/>
                <a:gd name="T56" fmla="*/ 41 w 156"/>
                <a:gd name="T57" fmla="*/ 5 h 96"/>
                <a:gd name="T58" fmla="*/ 31 w 156"/>
                <a:gd name="T59" fmla="*/ 5 h 96"/>
                <a:gd name="T60" fmla="*/ 31 w 156"/>
                <a:gd name="T61" fmla="*/ 15 h 96"/>
                <a:gd name="T62" fmla="*/ 26 w 156"/>
                <a:gd name="T63" fmla="*/ 18 h 96"/>
                <a:gd name="T64" fmla="*/ 26 w 156"/>
                <a:gd name="T65" fmla="*/ 20 h 96"/>
                <a:gd name="T66" fmla="*/ 23 w 156"/>
                <a:gd name="T67" fmla="*/ 23 h 96"/>
                <a:gd name="T68" fmla="*/ 23 w 156"/>
                <a:gd name="T69" fmla="*/ 23 h 96"/>
                <a:gd name="T70" fmla="*/ 20 w 156"/>
                <a:gd name="T71" fmla="*/ 25 h 96"/>
                <a:gd name="T72" fmla="*/ 18 w 156"/>
                <a:gd name="T73" fmla="*/ 33 h 96"/>
                <a:gd name="T74" fmla="*/ 3 w 156"/>
                <a:gd name="T75" fmla="*/ 30 h 96"/>
                <a:gd name="T76" fmla="*/ 0 w 156"/>
                <a:gd name="T77" fmla="*/ 38 h 96"/>
                <a:gd name="T78" fmla="*/ 10 w 156"/>
                <a:gd name="T79" fmla="*/ 43 h 96"/>
                <a:gd name="T80" fmla="*/ 15 w 156"/>
                <a:gd name="T81" fmla="*/ 45 h 96"/>
                <a:gd name="T82" fmla="*/ 23 w 156"/>
                <a:gd name="T83" fmla="*/ 61 h 96"/>
                <a:gd name="T84" fmla="*/ 23 w 156"/>
                <a:gd name="T85" fmla="*/ 68 h 96"/>
                <a:gd name="T86" fmla="*/ 18 w 156"/>
                <a:gd name="T87" fmla="*/ 86 h 96"/>
                <a:gd name="T88" fmla="*/ 28 w 156"/>
                <a:gd name="T89" fmla="*/ 89 h 96"/>
                <a:gd name="T90" fmla="*/ 36 w 156"/>
                <a:gd name="T91" fmla="*/ 84 h 96"/>
                <a:gd name="T92" fmla="*/ 38 w 156"/>
                <a:gd name="T93" fmla="*/ 81 h 96"/>
                <a:gd name="T94" fmla="*/ 46 w 156"/>
                <a:gd name="T95" fmla="*/ 86 h 96"/>
                <a:gd name="T96" fmla="*/ 49 w 156"/>
                <a:gd name="T97" fmla="*/ 76 h 96"/>
                <a:gd name="T98" fmla="*/ 61 w 156"/>
                <a:gd name="T99" fmla="*/ 76 h 96"/>
                <a:gd name="T100" fmla="*/ 61 w 156"/>
                <a:gd name="T101" fmla="*/ 68 h 96"/>
                <a:gd name="T102" fmla="*/ 69 w 156"/>
                <a:gd name="T103" fmla="*/ 56 h 96"/>
                <a:gd name="T104" fmla="*/ 82 w 156"/>
                <a:gd name="T105" fmla="*/ 68 h 96"/>
                <a:gd name="T106" fmla="*/ 87 w 156"/>
                <a:gd name="T107" fmla="*/ 71 h 96"/>
                <a:gd name="T108" fmla="*/ 89 w 156"/>
                <a:gd name="T109" fmla="*/ 94 h 96"/>
                <a:gd name="T110" fmla="*/ 102 w 156"/>
                <a:gd name="T111" fmla="*/ 91 h 96"/>
                <a:gd name="T112" fmla="*/ 122 w 156"/>
                <a:gd name="T113" fmla="*/ 79 h 96"/>
                <a:gd name="T114" fmla="*/ 130 w 156"/>
                <a:gd name="T115" fmla="*/ 81 h 96"/>
                <a:gd name="T116" fmla="*/ 133 w 156"/>
                <a:gd name="T117" fmla="*/ 84 h 96"/>
                <a:gd name="T118" fmla="*/ 143 w 156"/>
                <a:gd name="T119" fmla="*/ 81 h 96"/>
                <a:gd name="T120" fmla="*/ 150 w 156"/>
                <a:gd name="T121" fmla="*/ 8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56" h="96">
                  <a:moveTo>
                    <a:pt x="56" y="25"/>
                  </a:moveTo>
                  <a:lnTo>
                    <a:pt x="56" y="23"/>
                  </a:lnTo>
                  <a:lnTo>
                    <a:pt x="54" y="23"/>
                  </a:lnTo>
                  <a:lnTo>
                    <a:pt x="56" y="25"/>
                  </a:lnTo>
                  <a:lnTo>
                    <a:pt x="56" y="25"/>
                  </a:lnTo>
                  <a:lnTo>
                    <a:pt x="56" y="25"/>
                  </a:lnTo>
                  <a:lnTo>
                    <a:pt x="59" y="25"/>
                  </a:lnTo>
                  <a:lnTo>
                    <a:pt x="59" y="25"/>
                  </a:lnTo>
                  <a:lnTo>
                    <a:pt x="59" y="25"/>
                  </a:lnTo>
                  <a:lnTo>
                    <a:pt x="59" y="25"/>
                  </a:lnTo>
                  <a:lnTo>
                    <a:pt x="56" y="25"/>
                  </a:lnTo>
                  <a:close/>
                  <a:moveTo>
                    <a:pt x="51" y="2"/>
                  </a:moveTo>
                  <a:lnTo>
                    <a:pt x="51" y="2"/>
                  </a:lnTo>
                  <a:lnTo>
                    <a:pt x="51" y="2"/>
                  </a:lnTo>
                  <a:lnTo>
                    <a:pt x="51" y="0"/>
                  </a:lnTo>
                  <a:lnTo>
                    <a:pt x="51" y="0"/>
                  </a:lnTo>
                  <a:lnTo>
                    <a:pt x="49" y="0"/>
                  </a:lnTo>
                  <a:lnTo>
                    <a:pt x="51" y="0"/>
                  </a:lnTo>
                  <a:lnTo>
                    <a:pt x="51" y="2"/>
                  </a:lnTo>
                  <a:close/>
                  <a:moveTo>
                    <a:pt x="153" y="79"/>
                  </a:moveTo>
                  <a:lnTo>
                    <a:pt x="150" y="79"/>
                  </a:lnTo>
                  <a:lnTo>
                    <a:pt x="150" y="76"/>
                  </a:lnTo>
                  <a:lnTo>
                    <a:pt x="150" y="76"/>
                  </a:lnTo>
                  <a:lnTo>
                    <a:pt x="150" y="73"/>
                  </a:lnTo>
                  <a:lnTo>
                    <a:pt x="150" y="71"/>
                  </a:lnTo>
                  <a:lnTo>
                    <a:pt x="148" y="71"/>
                  </a:lnTo>
                  <a:lnTo>
                    <a:pt x="148" y="71"/>
                  </a:lnTo>
                  <a:lnTo>
                    <a:pt x="148" y="68"/>
                  </a:lnTo>
                  <a:lnTo>
                    <a:pt x="145" y="66"/>
                  </a:lnTo>
                  <a:lnTo>
                    <a:pt x="145" y="63"/>
                  </a:lnTo>
                  <a:lnTo>
                    <a:pt x="143" y="63"/>
                  </a:lnTo>
                  <a:lnTo>
                    <a:pt x="143" y="61"/>
                  </a:lnTo>
                  <a:lnTo>
                    <a:pt x="143" y="58"/>
                  </a:lnTo>
                  <a:lnTo>
                    <a:pt x="143" y="56"/>
                  </a:lnTo>
                  <a:lnTo>
                    <a:pt x="143" y="56"/>
                  </a:lnTo>
                  <a:lnTo>
                    <a:pt x="138" y="53"/>
                  </a:lnTo>
                  <a:lnTo>
                    <a:pt x="133" y="51"/>
                  </a:lnTo>
                  <a:lnTo>
                    <a:pt x="130" y="51"/>
                  </a:lnTo>
                  <a:lnTo>
                    <a:pt x="130" y="51"/>
                  </a:lnTo>
                  <a:lnTo>
                    <a:pt x="128" y="53"/>
                  </a:lnTo>
                  <a:lnTo>
                    <a:pt x="128" y="53"/>
                  </a:lnTo>
                  <a:lnTo>
                    <a:pt x="128" y="53"/>
                  </a:lnTo>
                  <a:lnTo>
                    <a:pt x="125" y="53"/>
                  </a:lnTo>
                  <a:lnTo>
                    <a:pt x="122" y="53"/>
                  </a:lnTo>
                  <a:lnTo>
                    <a:pt x="122" y="51"/>
                  </a:lnTo>
                  <a:lnTo>
                    <a:pt x="120" y="48"/>
                  </a:lnTo>
                  <a:lnTo>
                    <a:pt x="120" y="48"/>
                  </a:lnTo>
                  <a:lnTo>
                    <a:pt x="120" y="45"/>
                  </a:lnTo>
                  <a:lnTo>
                    <a:pt x="120" y="45"/>
                  </a:lnTo>
                  <a:lnTo>
                    <a:pt x="122" y="45"/>
                  </a:lnTo>
                  <a:lnTo>
                    <a:pt x="122" y="45"/>
                  </a:lnTo>
                  <a:lnTo>
                    <a:pt x="122" y="43"/>
                  </a:lnTo>
                  <a:lnTo>
                    <a:pt x="120" y="43"/>
                  </a:lnTo>
                  <a:lnTo>
                    <a:pt x="120" y="40"/>
                  </a:lnTo>
                  <a:lnTo>
                    <a:pt x="117" y="38"/>
                  </a:lnTo>
                  <a:lnTo>
                    <a:pt x="117" y="38"/>
                  </a:lnTo>
                  <a:lnTo>
                    <a:pt x="115" y="35"/>
                  </a:lnTo>
                  <a:lnTo>
                    <a:pt x="115" y="33"/>
                  </a:lnTo>
                  <a:lnTo>
                    <a:pt x="115" y="33"/>
                  </a:lnTo>
                  <a:lnTo>
                    <a:pt x="112" y="33"/>
                  </a:lnTo>
                  <a:lnTo>
                    <a:pt x="112" y="33"/>
                  </a:lnTo>
                  <a:lnTo>
                    <a:pt x="110" y="35"/>
                  </a:lnTo>
                  <a:lnTo>
                    <a:pt x="110" y="35"/>
                  </a:lnTo>
                  <a:lnTo>
                    <a:pt x="107" y="35"/>
                  </a:lnTo>
                  <a:lnTo>
                    <a:pt x="105" y="35"/>
                  </a:lnTo>
                  <a:lnTo>
                    <a:pt x="102" y="35"/>
                  </a:lnTo>
                  <a:lnTo>
                    <a:pt x="97" y="35"/>
                  </a:lnTo>
                  <a:lnTo>
                    <a:pt x="97" y="35"/>
                  </a:lnTo>
                  <a:lnTo>
                    <a:pt x="94" y="35"/>
                  </a:lnTo>
                  <a:lnTo>
                    <a:pt x="92" y="35"/>
                  </a:lnTo>
                  <a:lnTo>
                    <a:pt x="92" y="38"/>
                  </a:lnTo>
                  <a:lnTo>
                    <a:pt x="92" y="38"/>
                  </a:lnTo>
                  <a:lnTo>
                    <a:pt x="92" y="38"/>
                  </a:lnTo>
                  <a:lnTo>
                    <a:pt x="89" y="38"/>
                  </a:lnTo>
                  <a:lnTo>
                    <a:pt x="87" y="35"/>
                  </a:lnTo>
                  <a:lnTo>
                    <a:pt x="87" y="35"/>
                  </a:lnTo>
                  <a:lnTo>
                    <a:pt x="87" y="35"/>
                  </a:lnTo>
                  <a:lnTo>
                    <a:pt x="82" y="38"/>
                  </a:lnTo>
                  <a:lnTo>
                    <a:pt x="82" y="38"/>
                  </a:lnTo>
                  <a:lnTo>
                    <a:pt x="82" y="38"/>
                  </a:lnTo>
                  <a:lnTo>
                    <a:pt x="82" y="35"/>
                  </a:lnTo>
                  <a:lnTo>
                    <a:pt x="82" y="33"/>
                  </a:lnTo>
                  <a:lnTo>
                    <a:pt x="79" y="33"/>
                  </a:lnTo>
                  <a:lnTo>
                    <a:pt x="77" y="33"/>
                  </a:lnTo>
                  <a:lnTo>
                    <a:pt x="77" y="33"/>
                  </a:lnTo>
                  <a:lnTo>
                    <a:pt x="77" y="33"/>
                  </a:lnTo>
                  <a:lnTo>
                    <a:pt x="77" y="30"/>
                  </a:lnTo>
                  <a:lnTo>
                    <a:pt x="77" y="30"/>
                  </a:lnTo>
                  <a:lnTo>
                    <a:pt x="74" y="30"/>
                  </a:lnTo>
                  <a:lnTo>
                    <a:pt x="74" y="30"/>
                  </a:lnTo>
                  <a:lnTo>
                    <a:pt x="71" y="30"/>
                  </a:lnTo>
                  <a:lnTo>
                    <a:pt x="71" y="30"/>
                  </a:lnTo>
                  <a:lnTo>
                    <a:pt x="69" y="33"/>
                  </a:lnTo>
                  <a:lnTo>
                    <a:pt x="69" y="33"/>
                  </a:lnTo>
                  <a:lnTo>
                    <a:pt x="69" y="33"/>
                  </a:lnTo>
                  <a:lnTo>
                    <a:pt x="66" y="35"/>
                  </a:lnTo>
                  <a:lnTo>
                    <a:pt x="64" y="35"/>
                  </a:lnTo>
                  <a:lnTo>
                    <a:pt x="61" y="35"/>
                  </a:lnTo>
                  <a:lnTo>
                    <a:pt x="61" y="33"/>
                  </a:lnTo>
                  <a:lnTo>
                    <a:pt x="59" y="30"/>
                  </a:lnTo>
                  <a:lnTo>
                    <a:pt x="59" y="30"/>
                  </a:lnTo>
                  <a:lnTo>
                    <a:pt x="56" y="30"/>
                  </a:lnTo>
                  <a:lnTo>
                    <a:pt x="54" y="30"/>
                  </a:lnTo>
                  <a:lnTo>
                    <a:pt x="51" y="30"/>
                  </a:lnTo>
                  <a:lnTo>
                    <a:pt x="51" y="30"/>
                  </a:lnTo>
                  <a:lnTo>
                    <a:pt x="51" y="30"/>
                  </a:lnTo>
                  <a:lnTo>
                    <a:pt x="51" y="30"/>
                  </a:lnTo>
                  <a:lnTo>
                    <a:pt x="49" y="30"/>
                  </a:lnTo>
                  <a:lnTo>
                    <a:pt x="46" y="30"/>
                  </a:lnTo>
                  <a:lnTo>
                    <a:pt x="43" y="30"/>
                  </a:lnTo>
                  <a:lnTo>
                    <a:pt x="41" y="30"/>
                  </a:lnTo>
                  <a:lnTo>
                    <a:pt x="41" y="30"/>
                  </a:lnTo>
                  <a:lnTo>
                    <a:pt x="38" y="30"/>
                  </a:lnTo>
                  <a:lnTo>
                    <a:pt x="36" y="30"/>
                  </a:lnTo>
                  <a:lnTo>
                    <a:pt x="36" y="33"/>
                  </a:lnTo>
                  <a:lnTo>
                    <a:pt x="33" y="28"/>
                  </a:lnTo>
                  <a:lnTo>
                    <a:pt x="33" y="25"/>
                  </a:lnTo>
                  <a:lnTo>
                    <a:pt x="33" y="25"/>
                  </a:lnTo>
                  <a:lnTo>
                    <a:pt x="33" y="23"/>
                  </a:lnTo>
                  <a:lnTo>
                    <a:pt x="33" y="23"/>
                  </a:lnTo>
                  <a:lnTo>
                    <a:pt x="33" y="23"/>
                  </a:lnTo>
                  <a:lnTo>
                    <a:pt x="36" y="23"/>
                  </a:lnTo>
                  <a:lnTo>
                    <a:pt x="36" y="23"/>
                  </a:lnTo>
                  <a:lnTo>
                    <a:pt x="36" y="23"/>
                  </a:lnTo>
                  <a:lnTo>
                    <a:pt x="36" y="20"/>
                  </a:lnTo>
                  <a:lnTo>
                    <a:pt x="36" y="23"/>
                  </a:lnTo>
                  <a:lnTo>
                    <a:pt x="36" y="23"/>
                  </a:lnTo>
                  <a:lnTo>
                    <a:pt x="36" y="20"/>
                  </a:lnTo>
                  <a:lnTo>
                    <a:pt x="36" y="20"/>
                  </a:lnTo>
                  <a:lnTo>
                    <a:pt x="36" y="20"/>
                  </a:lnTo>
                  <a:lnTo>
                    <a:pt x="41" y="20"/>
                  </a:lnTo>
                  <a:lnTo>
                    <a:pt x="43" y="18"/>
                  </a:lnTo>
                  <a:lnTo>
                    <a:pt x="46" y="20"/>
                  </a:lnTo>
                  <a:lnTo>
                    <a:pt x="49" y="20"/>
                  </a:lnTo>
                  <a:lnTo>
                    <a:pt x="51" y="20"/>
                  </a:lnTo>
                  <a:lnTo>
                    <a:pt x="54" y="23"/>
                  </a:lnTo>
                  <a:lnTo>
                    <a:pt x="56" y="23"/>
                  </a:lnTo>
                  <a:lnTo>
                    <a:pt x="56" y="23"/>
                  </a:lnTo>
                  <a:lnTo>
                    <a:pt x="56" y="23"/>
                  </a:lnTo>
                  <a:lnTo>
                    <a:pt x="56" y="20"/>
                  </a:lnTo>
                  <a:lnTo>
                    <a:pt x="56" y="20"/>
                  </a:lnTo>
                  <a:lnTo>
                    <a:pt x="59" y="20"/>
                  </a:lnTo>
                  <a:lnTo>
                    <a:pt x="61" y="18"/>
                  </a:lnTo>
                  <a:lnTo>
                    <a:pt x="61" y="18"/>
                  </a:lnTo>
                  <a:lnTo>
                    <a:pt x="61" y="18"/>
                  </a:lnTo>
                  <a:lnTo>
                    <a:pt x="61" y="18"/>
                  </a:lnTo>
                  <a:lnTo>
                    <a:pt x="56" y="18"/>
                  </a:lnTo>
                  <a:lnTo>
                    <a:pt x="56" y="18"/>
                  </a:lnTo>
                  <a:lnTo>
                    <a:pt x="54" y="18"/>
                  </a:lnTo>
                  <a:lnTo>
                    <a:pt x="54" y="15"/>
                  </a:lnTo>
                  <a:lnTo>
                    <a:pt x="51" y="15"/>
                  </a:lnTo>
                  <a:lnTo>
                    <a:pt x="51" y="15"/>
                  </a:lnTo>
                  <a:lnTo>
                    <a:pt x="51" y="15"/>
                  </a:lnTo>
                  <a:lnTo>
                    <a:pt x="49" y="12"/>
                  </a:lnTo>
                  <a:lnTo>
                    <a:pt x="49" y="12"/>
                  </a:lnTo>
                  <a:lnTo>
                    <a:pt x="49" y="12"/>
                  </a:lnTo>
                  <a:lnTo>
                    <a:pt x="51" y="10"/>
                  </a:lnTo>
                  <a:lnTo>
                    <a:pt x="54" y="7"/>
                  </a:lnTo>
                  <a:lnTo>
                    <a:pt x="54" y="7"/>
                  </a:lnTo>
                  <a:lnTo>
                    <a:pt x="54" y="7"/>
                  </a:lnTo>
                  <a:lnTo>
                    <a:pt x="56" y="7"/>
                  </a:lnTo>
                  <a:lnTo>
                    <a:pt x="54" y="7"/>
                  </a:lnTo>
                  <a:lnTo>
                    <a:pt x="54" y="5"/>
                  </a:lnTo>
                  <a:lnTo>
                    <a:pt x="54" y="5"/>
                  </a:lnTo>
                  <a:lnTo>
                    <a:pt x="54" y="5"/>
                  </a:lnTo>
                  <a:lnTo>
                    <a:pt x="54" y="5"/>
                  </a:lnTo>
                  <a:lnTo>
                    <a:pt x="51" y="2"/>
                  </a:lnTo>
                  <a:lnTo>
                    <a:pt x="49" y="0"/>
                  </a:lnTo>
                  <a:lnTo>
                    <a:pt x="46" y="0"/>
                  </a:lnTo>
                  <a:lnTo>
                    <a:pt x="46" y="0"/>
                  </a:lnTo>
                  <a:lnTo>
                    <a:pt x="46" y="2"/>
                  </a:lnTo>
                  <a:lnTo>
                    <a:pt x="46" y="2"/>
                  </a:lnTo>
                  <a:lnTo>
                    <a:pt x="43" y="5"/>
                  </a:lnTo>
                  <a:lnTo>
                    <a:pt x="41" y="5"/>
                  </a:lnTo>
                  <a:lnTo>
                    <a:pt x="38" y="7"/>
                  </a:lnTo>
                  <a:lnTo>
                    <a:pt x="36" y="7"/>
                  </a:lnTo>
                  <a:lnTo>
                    <a:pt x="36" y="7"/>
                  </a:lnTo>
                  <a:lnTo>
                    <a:pt x="33" y="7"/>
                  </a:lnTo>
                  <a:lnTo>
                    <a:pt x="31" y="5"/>
                  </a:lnTo>
                  <a:lnTo>
                    <a:pt x="31" y="5"/>
                  </a:lnTo>
                  <a:lnTo>
                    <a:pt x="28" y="5"/>
                  </a:lnTo>
                  <a:lnTo>
                    <a:pt x="28" y="7"/>
                  </a:lnTo>
                  <a:lnTo>
                    <a:pt x="28" y="7"/>
                  </a:lnTo>
                  <a:lnTo>
                    <a:pt x="28" y="10"/>
                  </a:lnTo>
                  <a:lnTo>
                    <a:pt x="28" y="10"/>
                  </a:lnTo>
                  <a:lnTo>
                    <a:pt x="31" y="15"/>
                  </a:lnTo>
                  <a:lnTo>
                    <a:pt x="31" y="15"/>
                  </a:lnTo>
                  <a:lnTo>
                    <a:pt x="28" y="15"/>
                  </a:lnTo>
                  <a:lnTo>
                    <a:pt x="31" y="18"/>
                  </a:lnTo>
                  <a:lnTo>
                    <a:pt x="31" y="18"/>
                  </a:lnTo>
                  <a:lnTo>
                    <a:pt x="28" y="18"/>
                  </a:lnTo>
                  <a:lnTo>
                    <a:pt x="26" y="18"/>
                  </a:lnTo>
                  <a:lnTo>
                    <a:pt x="18" y="18"/>
                  </a:lnTo>
                  <a:lnTo>
                    <a:pt x="18" y="20"/>
                  </a:lnTo>
                  <a:lnTo>
                    <a:pt x="18" y="20"/>
                  </a:lnTo>
                  <a:lnTo>
                    <a:pt x="20" y="20"/>
                  </a:lnTo>
                  <a:lnTo>
                    <a:pt x="23" y="20"/>
                  </a:lnTo>
                  <a:lnTo>
                    <a:pt x="26" y="20"/>
                  </a:lnTo>
                  <a:lnTo>
                    <a:pt x="26" y="20"/>
                  </a:lnTo>
                  <a:lnTo>
                    <a:pt x="26" y="20"/>
                  </a:lnTo>
                  <a:lnTo>
                    <a:pt x="26" y="20"/>
                  </a:lnTo>
                  <a:lnTo>
                    <a:pt x="26" y="20"/>
                  </a:lnTo>
                  <a:lnTo>
                    <a:pt x="23" y="23"/>
                  </a:lnTo>
                  <a:lnTo>
                    <a:pt x="23" y="23"/>
                  </a:lnTo>
                  <a:lnTo>
                    <a:pt x="23" y="23"/>
                  </a:lnTo>
                  <a:lnTo>
                    <a:pt x="23" y="23"/>
                  </a:lnTo>
                  <a:lnTo>
                    <a:pt x="26" y="23"/>
                  </a:lnTo>
                  <a:lnTo>
                    <a:pt x="26" y="23"/>
                  </a:lnTo>
                  <a:lnTo>
                    <a:pt x="26" y="23"/>
                  </a:lnTo>
                  <a:lnTo>
                    <a:pt x="23" y="23"/>
                  </a:lnTo>
                  <a:lnTo>
                    <a:pt x="23" y="23"/>
                  </a:lnTo>
                  <a:lnTo>
                    <a:pt x="23" y="23"/>
                  </a:lnTo>
                  <a:lnTo>
                    <a:pt x="23" y="23"/>
                  </a:lnTo>
                  <a:lnTo>
                    <a:pt x="23" y="25"/>
                  </a:lnTo>
                  <a:lnTo>
                    <a:pt x="23" y="25"/>
                  </a:lnTo>
                  <a:lnTo>
                    <a:pt x="20" y="25"/>
                  </a:lnTo>
                  <a:lnTo>
                    <a:pt x="20" y="25"/>
                  </a:lnTo>
                  <a:lnTo>
                    <a:pt x="20" y="28"/>
                  </a:lnTo>
                  <a:lnTo>
                    <a:pt x="20" y="30"/>
                  </a:lnTo>
                  <a:lnTo>
                    <a:pt x="20" y="30"/>
                  </a:lnTo>
                  <a:lnTo>
                    <a:pt x="18" y="30"/>
                  </a:lnTo>
                  <a:lnTo>
                    <a:pt x="18" y="33"/>
                  </a:lnTo>
                  <a:lnTo>
                    <a:pt x="15" y="30"/>
                  </a:lnTo>
                  <a:lnTo>
                    <a:pt x="15" y="30"/>
                  </a:lnTo>
                  <a:lnTo>
                    <a:pt x="13" y="30"/>
                  </a:lnTo>
                  <a:lnTo>
                    <a:pt x="8" y="30"/>
                  </a:lnTo>
                  <a:lnTo>
                    <a:pt x="5" y="30"/>
                  </a:lnTo>
                  <a:lnTo>
                    <a:pt x="3" y="30"/>
                  </a:lnTo>
                  <a:lnTo>
                    <a:pt x="0" y="33"/>
                  </a:lnTo>
                  <a:lnTo>
                    <a:pt x="0" y="33"/>
                  </a:lnTo>
                  <a:lnTo>
                    <a:pt x="0" y="33"/>
                  </a:lnTo>
                  <a:lnTo>
                    <a:pt x="0" y="38"/>
                  </a:lnTo>
                  <a:lnTo>
                    <a:pt x="0" y="38"/>
                  </a:lnTo>
                  <a:lnTo>
                    <a:pt x="0" y="38"/>
                  </a:lnTo>
                  <a:lnTo>
                    <a:pt x="5" y="40"/>
                  </a:lnTo>
                  <a:lnTo>
                    <a:pt x="5" y="40"/>
                  </a:lnTo>
                  <a:lnTo>
                    <a:pt x="8" y="40"/>
                  </a:lnTo>
                  <a:lnTo>
                    <a:pt x="8" y="43"/>
                  </a:lnTo>
                  <a:lnTo>
                    <a:pt x="8" y="43"/>
                  </a:lnTo>
                  <a:lnTo>
                    <a:pt x="10" y="43"/>
                  </a:lnTo>
                  <a:lnTo>
                    <a:pt x="10" y="43"/>
                  </a:lnTo>
                  <a:lnTo>
                    <a:pt x="13" y="43"/>
                  </a:lnTo>
                  <a:lnTo>
                    <a:pt x="15" y="43"/>
                  </a:lnTo>
                  <a:lnTo>
                    <a:pt x="15" y="45"/>
                  </a:lnTo>
                  <a:lnTo>
                    <a:pt x="15" y="45"/>
                  </a:lnTo>
                  <a:lnTo>
                    <a:pt x="15" y="45"/>
                  </a:lnTo>
                  <a:lnTo>
                    <a:pt x="15" y="51"/>
                  </a:lnTo>
                  <a:lnTo>
                    <a:pt x="15" y="53"/>
                  </a:lnTo>
                  <a:lnTo>
                    <a:pt x="18" y="56"/>
                  </a:lnTo>
                  <a:lnTo>
                    <a:pt x="18" y="58"/>
                  </a:lnTo>
                  <a:lnTo>
                    <a:pt x="20" y="61"/>
                  </a:lnTo>
                  <a:lnTo>
                    <a:pt x="23" y="61"/>
                  </a:lnTo>
                  <a:lnTo>
                    <a:pt x="23" y="61"/>
                  </a:lnTo>
                  <a:lnTo>
                    <a:pt x="23" y="63"/>
                  </a:lnTo>
                  <a:lnTo>
                    <a:pt x="23" y="63"/>
                  </a:lnTo>
                  <a:lnTo>
                    <a:pt x="23" y="66"/>
                  </a:lnTo>
                  <a:lnTo>
                    <a:pt x="23" y="68"/>
                  </a:lnTo>
                  <a:lnTo>
                    <a:pt x="23" y="68"/>
                  </a:lnTo>
                  <a:lnTo>
                    <a:pt x="20" y="71"/>
                  </a:lnTo>
                  <a:lnTo>
                    <a:pt x="20" y="73"/>
                  </a:lnTo>
                  <a:lnTo>
                    <a:pt x="18" y="76"/>
                  </a:lnTo>
                  <a:lnTo>
                    <a:pt x="18" y="79"/>
                  </a:lnTo>
                  <a:lnTo>
                    <a:pt x="18" y="84"/>
                  </a:lnTo>
                  <a:lnTo>
                    <a:pt x="18" y="86"/>
                  </a:lnTo>
                  <a:lnTo>
                    <a:pt x="18" y="86"/>
                  </a:lnTo>
                  <a:lnTo>
                    <a:pt x="20" y="89"/>
                  </a:lnTo>
                  <a:lnTo>
                    <a:pt x="23" y="91"/>
                  </a:lnTo>
                  <a:lnTo>
                    <a:pt x="26" y="91"/>
                  </a:lnTo>
                  <a:lnTo>
                    <a:pt x="28" y="89"/>
                  </a:lnTo>
                  <a:lnTo>
                    <a:pt x="28" y="89"/>
                  </a:lnTo>
                  <a:lnTo>
                    <a:pt x="28" y="89"/>
                  </a:lnTo>
                  <a:lnTo>
                    <a:pt x="28" y="89"/>
                  </a:lnTo>
                  <a:lnTo>
                    <a:pt x="31" y="86"/>
                  </a:lnTo>
                  <a:lnTo>
                    <a:pt x="33" y="86"/>
                  </a:lnTo>
                  <a:lnTo>
                    <a:pt x="33" y="84"/>
                  </a:lnTo>
                  <a:lnTo>
                    <a:pt x="36" y="84"/>
                  </a:lnTo>
                  <a:lnTo>
                    <a:pt x="36" y="84"/>
                  </a:lnTo>
                  <a:lnTo>
                    <a:pt x="36" y="84"/>
                  </a:lnTo>
                  <a:lnTo>
                    <a:pt x="38" y="84"/>
                  </a:lnTo>
                  <a:lnTo>
                    <a:pt x="38" y="84"/>
                  </a:lnTo>
                  <a:lnTo>
                    <a:pt x="38" y="81"/>
                  </a:lnTo>
                  <a:lnTo>
                    <a:pt x="38" y="81"/>
                  </a:lnTo>
                  <a:lnTo>
                    <a:pt x="38" y="81"/>
                  </a:lnTo>
                  <a:lnTo>
                    <a:pt x="41" y="81"/>
                  </a:lnTo>
                  <a:lnTo>
                    <a:pt x="41" y="84"/>
                  </a:lnTo>
                  <a:lnTo>
                    <a:pt x="43" y="86"/>
                  </a:lnTo>
                  <a:lnTo>
                    <a:pt x="46" y="86"/>
                  </a:lnTo>
                  <a:lnTo>
                    <a:pt x="46" y="86"/>
                  </a:lnTo>
                  <a:lnTo>
                    <a:pt x="49" y="86"/>
                  </a:lnTo>
                  <a:lnTo>
                    <a:pt x="49" y="84"/>
                  </a:lnTo>
                  <a:lnTo>
                    <a:pt x="49" y="84"/>
                  </a:lnTo>
                  <a:lnTo>
                    <a:pt x="49" y="81"/>
                  </a:lnTo>
                  <a:lnTo>
                    <a:pt x="49" y="79"/>
                  </a:lnTo>
                  <a:lnTo>
                    <a:pt x="49" y="76"/>
                  </a:lnTo>
                  <a:lnTo>
                    <a:pt x="51" y="76"/>
                  </a:lnTo>
                  <a:lnTo>
                    <a:pt x="54" y="76"/>
                  </a:lnTo>
                  <a:lnTo>
                    <a:pt x="56" y="76"/>
                  </a:lnTo>
                  <a:lnTo>
                    <a:pt x="59" y="76"/>
                  </a:lnTo>
                  <a:lnTo>
                    <a:pt x="59" y="76"/>
                  </a:lnTo>
                  <a:lnTo>
                    <a:pt x="61" y="76"/>
                  </a:lnTo>
                  <a:lnTo>
                    <a:pt x="61" y="76"/>
                  </a:lnTo>
                  <a:lnTo>
                    <a:pt x="61" y="73"/>
                  </a:lnTo>
                  <a:lnTo>
                    <a:pt x="61" y="71"/>
                  </a:lnTo>
                  <a:lnTo>
                    <a:pt x="61" y="68"/>
                  </a:lnTo>
                  <a:lnTo>
                    <a:pt x="61" y="68"/>
                  </a:lnTo>
                  <a:lnTo>
                    <a:pt x="61" y="68"/>
                  </a:lnTo>
                  <a:lnTo>
                    <a:pt x="61" y="66"/>
                  </a:lnTo>
                  <a:lnTo>
                    <a:pt x="64" y="66"/>
                  </a:lnTo>
                  <a:lnTo>
                    <a:pt x="64" y="63"/>
                  </a:lnTo>
                  <a:lnTo>
                    <a:pt x="66" y="58"/>
                  </a:lnTo>
                  <a:lnTo>
                    <a:pt x="66" y="56"/>
                  </a:lnTo>
                  <a:lnTo>
                    <a:pt x="69" y="56"/>
                  </a:lnTo>
                  <a:lnTo>
                    <a:pt x="74" y="58"/>
                  </a:lnTo>
                  <a:lnTo>
                    <a:pt x="77" y="61"/>
                  </a:lnTo>
                  <a:lnTo>
                    <a:pt x="79" y="63"/>
                  </a:lnTo>
                  <a:lnTo>
                    <a:pt x="79" y="66"/>
                  </a:lnTo>
                  <a:lnTo>
                    <a:pt x="79" y="68"/>
                  </a:lnTo>
                  <a:lnTo>
                    <a:pt x="82" y="68"/>
                  </a:lnTo>
                  <a:lnTo>
                    <a:pt x="82" y="68"/>
                  </a:lnTo>
                  <a:lnTo>
                    <a:pt x="84" y="68"/>
                  </a:lnTo>
                  <a:lnTo>
                    <a:pt x="84" y="68"/>
                  </a:lnTo>
                  <a:lnTo>
                    <a:pt x="87" y="68"/>
                  </a:lnTo>
                  <a:lnTo>
                    <a:pt x="87" y="71"/>
                  </a:lnTo>
                  <a:lnTo>
                    <a:pt x="87" y="71"/>
                  </a:lnTo>
                  <a:lnTo>
                    <a:pt x="87" y="76"/>
                  </a:lnTo>
                  <a:lnTo>
                    <a:pt x="87" y="79"/>
                  </a:lnTo>
                  <a:lnTo>
                    <a:pt x="87" y="84"/>
                  </a:lnTo>
                  <a:lnTo>
                    <a:pt x="87" y="86"/>
                  </a:lnTo>
                  <a:lnTo>
                    <a:pt x="89" y="89"/>
                  </a:lnTo>
                  <a:lnTo>
                    <a:pt x="89" y="94"/>
                  </a:lnTo>
                  <a:lnTo>
                    <a:pt x="92" y="96"/>
                  </a:lnTo>
                  <a:lnTo>
                    <a:pt x="94" y="96"/>
                  </a:lnTo>
                  <a:lnTo>
                    <a:pt x="94" y="96"/>
                  </a:lnTo>
                  <a:lnTo>
                    <a:pt x="97" y="96"/>
                  </a:lnTo>
                  <a:lnTo>
                    <a:pt x="99" y="94"/>
                  </a:lnTo>
                  <a:lnTo>
                    <a:pt x="102" y="91"/>
                  </a:lnTo>
                  <a:lnTo>
                    <a:pt x="105" y="91"/>
                  </a:lnTo>
                  <a:lnTo>
                    <a:pt x="110" y="89"/>
                  </a:lnTo>
                  <a:lnTo>
                    <a:pt x="112" y="86"/>
                  </a:lnTo>
                  <a:lnTo>
                    <a:pt x="115" y="84"/>
                  </a:lnTo>
                  <a:lnTo>
                    <a:pt x="120" y="81"/>
                  </a:lnTo>
                  <a:lnTo>
                    <a:pt x="122" y="79"/>
                  </a:lnTo>
                  <a:lnTo>
                    <a:pt x="125" y="79"/>
                  </a:lnTo>
                  <a:lnTo>
                    <a:pt x="125" y="79"/>
                  </a:lnTo>
                  <a:lnTo>
                    <a:pt x="128" y="79"/>
                  </a:lnTo>
                  <a:lnTo>
                    <a:pt x="128" y="79"/>
                  </a:lnTo>
                  <a:lnTo>
                    <a:pt x="128" y="81"/>
                  </a:lnTo>
                  <a:lnTo>
                    <a:pt x="130" y="81"/>
                  </a:lnTo>
                  <a:lnTo>
                    <a:pt x="130" y="81"/>
                  </a:lnTo>
                  <a:lnTo>
                    <a:pt x="128" y="84"/>
                  </a:lnTo>
                  <a:lnTo>
                    <a:pt x="128" y="84"/>
                  </a:lnTo>
                  <a:lnTo>
                    <a:pt x="128" y="84"/>
                  </a:lnTo>
                  <a:lnTo>
                    <a:pt x="130" y="84"/>
                  </a:lnTo>
                  <a:lnTo>
                    <a:pt x="133" y="84"/>
                  </a:lnTo>
                  <a:lnTo>
                    <a:pt x="135" y="81"/>
                  </a:lnTo>
                  <a:lnTo>
                    <a:pt x="138" y="81"/>
                  </a:lnTo>
                  <a:lnTo>
                    <a:pt x="138" y="81"/>
                  </a:lnTo>
                  <a:lnTo>
                    <a:pt x="138" y="81"/>
                  </a:lnTo>
                  <a:lnTo>
                    <a:pt x="140" y="81"/>
                  </a:lnTo>
                  <a:lnTo>
                    <a:pt x="143" y="81"/>
                  </a:lnTo>
                  <a:lnTo>
                    <a:pt x="143" y="81"/>
                  </a:lnTo>
                  <a:lnTo>
                    <a:pt x="145" y="81"/>
                  </a:lnTo>
                  <a:lnTo>
                    <a:pt x="148" y="81"/>
                  </a:lnTo>
                  <a:lnTo>
                    <a:pt x="150" y="84"/>
                  </a:lnTo>
                  <a:lnTo>
                    <a:pt x="150" y="84"/>
                  </a:lnTo>
                  <a:lnTo>
                    <a:pt x="150" y="84"/>
                  </a:lnTo>
                  <a:lnTo>
                    <a:pt x="153" y="84"/>
                  </a:lnTo>
                  <a:lnTo>
                    <a:pt x="153" y="84"/>
                  </a:lnTo>
                  <a:lnTo>
                    <a:pt x="156" y="81"/>
                  </a:lnTo>
                  <a:lnTo>
                    <a:pt x="156" y="81"/>
                  </a:lnTo>
                  <a:lnTo>
                    <a:pt x="153" y="79"/>
                  </a:lnTo>
                  <a:close/>
                </a:path>
              </a:pathLst>
            </a:custGeom>
            <a:solidFill>
              <a:srgbClr val="FFC000"/>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184" name="Freeform 1802">
              <a:extLst>
                <a:ext uri="{FF2B5EF4-FFF2-40B4-BE49-F238E27FC236}">
                  <a16:creationId xmlns:a16="http://schemas.microsoft.com/office/drawing/2014/main" id="{CB6E2745-3A90-214C-A81D-31F9FA077786}"/>
                </a:ext>
              </a:extLst>
            </p:cNvPr>
            <p:cNvSpPr>
              <a:spLocks noEditPoints="1"/>
            </p:cNvSpPr>
            <p:nvPr/>
          </p:nvSpPr>
          <p:spPr bwMode="auto">
            <a:xfrm>
              <a:off x="9406780" y="2860582"/>
              <a:ext cx="111230" cy="124316"/>
            </a:xfrm>
            <a:custGeom>
              <a:avLst/>
              <a:gdLst>
                <a:gd name="T0" fmla="*/ 0 w 68"/>
                <a:gd name="T1" fmla="*/ 18 h 76"/>
                <a:gd name="T2" fmla="*/ 2 w 68"/>
                <a:gd name="T3" fmla="*/ 20 h 76"/>
                <a:gd name="T4" fmla="*/ 2 w 68"/>
                <a:gd name="T5" fmla="*/ 18 h 76"/>
                <a:gd name="T6" fmla="*/ 68 w 68"/>
                <a:gd name="T7" fmla="*/ 23 h 76"/>
                <a:gd name="T8" fmla="*/ 68 w 68"/>
                <a:gd name="T9" fmla="*/ 15 h 76"/>
                <a:gd name="T10" fmla="*/ 68 w 68"/>
                <a:gd name="T11" fmla="*/ 10 h 76"/>
                <a:gd name="T12" fmla="*/ 68 w 68"/>
                <a:gd name="T13" fmla="*/ 8 h 76"/>
                <a:gd name="T14" fmla="*/ 66 w 68"/>
                <a:gd name="T15" fmla="*/ 5 h 76"/>
                <a:gd name="T16" fmla="*/ 63 w 68"/>
                <a:gd name="T17" fmla="*/ 2 h 76"/>
                <a:gd name="T18" fmla="*/ 61 w 68"/>
                <a:gd name="T19" fmla="*/ 0 h 76"/>
                <a:gd name="T20" fmla="*/ 58 w 68"/>
                <a:gd name="T21" fmla="*/ 2 h 76"/>
                <a:gd name="T22" fmla="*/ 53 w 68"/>
                <a:gd name="T23" fmla="*/ 5 h 76"/>
                <a:gd name="T24" fmla="*/ 51 w 68"/>
                <a:gd name="T25" fmla="*/ 8 h 76"/>
                <a:gd name="T26" fmla="*/ 48 w 68"/>
                <a:gd name="T27" fmla="*/ 13 h 76"/>
                <a:gd name="T28" fmla="*/ 46 w 68"/>
                <a:gd name="T29" fmla="*/ 18 h 76"/>
                <a:gd name="T30" fmla="*/ 40 w 68"/>
                <a:gd name="T31" fmla="*/ 38 h 76"/>
                <a:gd name="T32" fmla="*/ 40 w 68"/>
                <a:gd name="T33" fmla="*/ 43 h 76"/>
                <a:gd name="T34" fmla="*/ 40 w 68"/>
                <a:gd name="T35" fmla="*/ 48 h 76"/>
                <a:gd name="T36" fmla="*/ 40 w 68"/>
                <a:gd name="T37" fmla="*/ 51 h 76"/>
                <a:gd name="T38" fmla="*/ 43 w 68"/>
                <a:gd name="T39" fmla="*/ 53 h 76"/>
                <a:gd name="T40" fmla="*/ 48 w 68"/>
                <a:gd name="T41" fmla="*/ 61 h 76"/>
                <a:gd name="T42" fmla="*/ 48 w 68"/>
                <a:gd name="T43" fmla="*/ 64 h 76"/>
                <a:gd name="T44" fmla="*/ 51 w 68"/>
                <a:gd name="T45" fmla="*/ 66 h 76"/>
                <a:gd name="T46" fmla="*/ 56 w 68"/>
                <a:gd name="T47" fmla="*/ 69 h 76"/>
                <a:gd name="T48" fmla="*/ 58 w 68"/>
                <a:gd name="T49" fmla="*/ 74 h 76"/>
                <a:gd name="T50" fmla="*/ 61 w 68"/>
                <a:gd name="T51" fmla="*/ 76 h 76"/>
                <a:gd name="T52" fmla="*/ 61 w 68"/>
                <a:gd name="T53" fmla="*/ 71 h 76"/>
                <a:gd name="T54" fmla="*/ 61 w 68"/>
                <a:gd name="T55" fmla="*/ 66 h 76"/>
                <a:gd name="T56" fmla="*/ 61 w 68"/>
                <a:gd name="T57" fmla="*/ 61 h 76"/>
                <a:gd name="T58" fmla="*/ 66 w 68"/>
                <a:gd name="T59" fmla="*/ 53 h 76"/>
                <a:gd name="T60" fmla="*/ 66 w 68"/>
                <a:gd name="T61" fmla="*/ 48 h 76"/>
                <a:gd name="T62" fmla="*/ 66 w 68"/>
                <a:gd name="T63" fmla="*/ 38 h 76"/>
                <a:gd name="T64" fmla="*/ 66 w 68"/>
                <a:gd name="T65" fmla="*/ 28 h 76"/>
                <a:gd name="T66" fmla="*/ 68 w 68"/>
                <a:gd name="T67" fmla="*/ 23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8" h="76">
                  <a:moveTo>
                    <a:pt x="2" y="20"/>
                  </a:moveTo>
                  <a:lnTo>
                    <a:pt x="0" y="18"/>
                  </a:lnTo>
                  <a:lnTo>
                    <a:pt x="0" y="20"/>
                  </a:lnTo>
                  <a:lnTo>
                    <a:pt x="2" y="20"/>
                  </a:lnTo>
                  <a:lnTo>
                    <a:pt x="2" y="20"/>
                  </a:lnTo>
                  <a:lnTo>
                    <a:pt x="2" y="18"/>
                  </a:lnTo>
                  <a:lnTo>
                    <a:pt x="2" y="20"/>
                  </a:lnTo>
                  <a:close/>
                  <a:moveTo>
                    <a:pt x="68" y="23"/>
                  </a:moveTo>
                  <a:lnTo>
                    <a:pt x="68" y="18"/>
                  </a:lnTo>
                  <a:lnTo>
                    <a:pt x="68" y="15"/>
                  </a:lnTo>
                  <a:lnTo>
                    <a:pt x="68" y="13"/>
                  </a:lnTo>
                  <a:lnTo>
                    <a:pt x="68" y="10"/>
                  </a:lnTo>
                  <a:lnTo>
                    <a:pt x="68" y="10"/>
                  </a:lnTo>
                  <a:lnTo>
                    <a:pt x="68" y="8"/>
                  </a:lnTo>
                  <a:lnTo>
                    <a:pt x="68" y="5"/>
                  </a:lnTo>
                  <a:lnTo>
                    <a:pt x="66" y="5"/>
                  </a:lnTo>
                  <a:lnTo>
                    <a:pt x="63" y="2"/>
                  </a:lnTo>
                  <a:lnTo>
                    <a:pt x="63" y="2"/>
                  </a:lnTo>
                  <a:lnTo>
                    <a:pt x="63" y="2"/>
                  </a:lnTo>
                  <a:lnTo>
                    <a:pt x="61" y="0"/>
                  </a:lnTo>
                  <a:lnTo>
                    <a:pt x="61" y="0"/>
                  </a:lnTo>
                  <a:lnTo>
                    <a:pt x="58" y="2"/>
                  </a:lnTo>
                  <a:lnTo>
                    <a:pt x="58" y="2"/>
                  </a:lnTo>
                  <a:lnTo>
                    <a:pt x="53" y="5"/>
                  </a:lnTo>
                  <a:lnTo>
                    <a:pt x="51" y="8"/>
                  </a:lnTo>
                  <a:lnTo>
                    <a:pt x="51" y="8"/>
                  </a:lnTo>
                  <a:lnTo>
                    <a:pt x="51" y="10"/>
                  </a:lnTo>
                  <a:lnTo>
                    <a:pt x="48" y="13"/>
                  </a:lnTo>
                  <a:lnTo>
                    <a:pt x="48" y="15"/>
                  </a:lnTo>
                  <a:lnTo>
                    <a:pt x="46" y="18"/>
                  </a:lnTo>
                  <a:lnTo>
                    <a:pt x="40" y="36"/>
                  </a:lnTo>
                  <a:lnTo>
                    <a:pt x="40" y="38"/>
                  </a:lnTo>
                  <a:lnTo>
                    <a:pt x="40" y="41"/>
                  </a:lnTo>
                  <a:lnTo>
                    <a:pt x="40" y="43"/>
                  </a:lnTo>
                  <a:lnTo>
                    <a:pt x="40" y="46"/>
                  </a:lnTo>
                  <a:lnTo>
                    <a:pt x="40" y="48"/>
                  </a:lnTo>
                  <a:lnTo>
                    <a:pt x="40" y="48"/>
                  </a:lnTo>
                  <a:lnTo>
                    <a:pt x="40" y="51"/>
                  </a:lnTo>
                  <a:lnTo>
                    <a:pt x="43" y="51"/>
                  </a:lnTo>
                  <a:lnTo>
                    <a:pt x="43" y="53"/>
                  </a:lnTo>
                  <a:lnTo>
                    <a:pt x="46" y="58"/>
                  </a:lnTo>
                  <a:lnTo>
                    <a:pt x="48" y="61"/>
                  </a:lnTo>
                  <a:lnTo>
                    <a:pt x="48" y="64"/>
                  </a:lnTo>
                  <a:lnTo>
                    <a:pt x="48" y="64"/>
                  </a:lnTo>
                  <a:lnTo>
                    <a:pt x="51" y="64"/>
                  </a:lnTo>
                  <a:lnTo>
                    <a:pt x="51" y="66"/>
                  </a:lnTo>
                  <a:lnTo>
                    <a:pt x="53" y="66"/>
                  </a:lnTo>
                  <a:lnTo>
                    <a:pt x="56" y="69"/>
                  </a:lnTo>
                  <a:lnTo>
                    <a:pt x="56" y="71"/>
                  </a:lnTo>
                  <a:lnTo>
                    <a:pt x="58" y="74"/>
                  </a:lnTo>
                  <a:lnTo>
                    <a:pt x="58" y="76"/>
                  </a:lnTo>
                  <a:lnTo>
                    <a:pt x="61" y="76"/>
                  </a:lnTo>
                  <a:lnTo>
                    <a:pt x="61" y="74"/>
                  </a:lnTo>
                  <a:lnTo>
                    <a:pt x="61" y="71"/>
                  </a:lnTo>
                  <a:lnTo>
                    <a:pt x="61" y="69"/>
                  </a:lnTo>
                  <a:lnTo>
                    <a:pt x="61" y="66"/>
                  </a:lnTo>
                  <a:lnTo>
                    <a:pt x="61" y="64"/>
                  </a:lnTo>
                  <a:lnTo>
                    <a:pt x="61" y="61"/>
                  </a:lnTo>
                  <a:lnTo>
                    <a:pt x="63" y="58"/>
                  </a:lnTo>
                  <a:lnTo>
                    <a:pt x="66" y="53"/>
                  </a:lnTo>
                  <a:lnTo>
                    <a:pt x="66" y="51"/>
                  </a:lnTo>
                  <a:lnTo>
                    <a:pt x="66" y="48"/>
                  </a:lnTo>
                  <a:lnTo>
                    <a:pt x="68" y="43"/>
                  </a:lnTo>
                  <a:lnTo>
                    <a:pt x="66" y="38"/>
                  </a:lnTo>
                  <a:lnTo>
                    <a:pt x="68" y="33"/>
                  </a:lnTo>
                  <a:lnTo>
                    <a:pt x="66" y="28"/>
                  </a:lnTo>
                  <a:lnTo>
                    <a:pt x="68" y="28"/>
                  </a:lnTo>
                  <a:lnTo>
                    <a:pt x="68" y="23"/>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185" name="Freeform 1803">
              <a:extLst>
                <a:ext uri="{FF2B5EF4-FFF2-40B4-BE49-F238E27FC236}">
                  <a16:creationId xmlns:a16="http://schemas.microsoft.com/office/drawing/2014/main" id="{EF55C557-6E5C-EA41-B1AD-CC577C0B3D6C}"/>
                </a:ext>
              </a:extLst>
            </p:cNvPr>
            <p:cNvSpPr>
              <a:spLocks/>
            </p:cNvSpPr>
            <p:nvPr/>
          </p:nvSpPr>
          <p:spPr bwMode="auto">
            <a:xfrm>
              <a:off x="6733986" y="2415662"/>
              <a:ext cx="199560" cy="186474"/>
            </a:xfrm>
            <a:custGeom>
              <a:avLst/>
              <a:gdLst>
                <a:gd name="T0" fmla="*/ 120 w 122"/>
                <a:gd name="T1" fmla="*/ 0 h 114"/>
                <a:gd name="T2" fmla="*/ 117 w 122"/>
                <a:gd name="T3" fmla="*/ 0 h 114"/>
                <a:gd name="T4" fmla="*/ 110 w 122"/>
                <a:gd name="T5" fmla="*/ 2 h 114"/>
                <a:gd name="T6" fmla="*/ 102 w 122"/>
                <a:gd name="T7" fmla="*/ 5 h 114"/>
                <a:gd name="T8" fmla="*/ 92 w 122"/>
                <a:gd name="T9" fmla="*/ 2 h 114"/>
                <a:gd name="T10" fmla="*/ 79 w 122"/>
                <a:gd name="T11" fmla="*/ 10 h 114"/>
                <a:gd name="T12" fmla="*/ 66 w 122"/>
                <a:gd name="T13" fmla="*/ 12 h 114"/>
                <a:gd name="T14" fmla="*/ 56 w 122"/>
                <a:gd name="T15" fmla="*/ 12 h 114"/>
                <a:gd name="T16" fmla="*/ 48 w 122"/>
                <a:gd name="T17" fmla="*/ 10 h 114"/>
                <a:gd name="T18" fmla="*/ 43 w 122"/>
                <a:gd name="T19" fmla="*/ 7 h 114"/>
                <a:gd name="T20" fmla="*/ 36 w 122"/>
                <a:gd name="T21" fmla="*/ 12 h 114"/>
                <a:gd name="T22" fmla="*/ 28 w 122"/>
                <a:gd name="T23" fmla="*/ 15 h 114"/>
                <a:gd name="T24" fmla="*/ 23 w 122"/>
                <a:gd name="T25" fmla="*/ 12 h 114"/>
                <a:gd name="T26" fmla="*/ 15 w 122"/>
                <a:gd name="T27" fmla="*/ 10 h 114"/>
                <a:gd name="T28" fmla="*/ 15 w 122"/>
                <a:gd name="T29" fmla="*/ 17 h 114"/>
                <a:gd name="T30" fmla="*/ 15 w 122"/>
                <a:gd name="T31" fmla="*/ 23 h 114"/>
                <a:gd name="T32" fmla="*/ 13 w 122"/>
                <a:gd name="T33" fmla="*/ 25 h 114"/>
                <a:gd name="T34" fmla="*/ 10 w 122"/>
                <a:gd name="T35" fmla="*/ 30 h 114"/>
                <a:gd name="T36" fmla="*/ 8 w 122"/>
                <a:gd name="T37" fmla="*/ 33 h 114"/>
                <a:gd name="T38" fmla="*/ 3 w 122"/>
                <a:gd name="T39" fmla="*/ 33 h 114"/>
                <a:gd name="T40" fmla="*/ 5 w 122"/>
                <a:gd name="T41" fmla="*/ 43 h 114"/>
                <a:gd name="T42" fmla="*/ 5 w 122"/>
                <a:gd name="T43" fmla="*/ 51 h 114"/>
                <a:gd name="T44" fmla="*/ 8 w 122"/>
                <a:gd name="T45" fmla="*/ 61 h 114"/>
                <a:gd name="T46" fmla="*/ 13 w 122"/>
                <a:gd name="T47" fmla="*/ 58 h 114"/>
                <a:gd name="T48" fmla="*/ 15 w 122"/>
                <a:gd name="T49" fmla="*/ 61 h 114"/>
                <a:gd name="T50" fmla="*/ 15 w 122"/>
                <a:gd name="T51" fmla="*/ 63 h 114"/>
                <a:gd name="T52" fmla="*/ 20 w 122"/>
                <a:gd name="T53" fmla="*/ 71 h 114"/>
                <a:gd name="T54" fmla="*/ 18 w 122"/>
                <a:gd name="T55" fmla="*/ 73 h 114"/>
                <a:gd name="T56" fmla="*/ 15 w 122"/>
                <a:gd name="T57" fmla="*/ 76 h 114"/>
                <a:gd name="T58" fmla="*/ 15 w 122"/>
                <a:gd name="T59" fmla="*/ 79 h 114"/>
                <a:gd name="T60" fmla="*/ 13 w 122"/>
                <a:gd name="T61" fmla="*/ 79 h 114"/>
                <a:gd name="T62" fmla="*/ 10 w 122"/>
                <a:gd name="T63" fmla="*/ 79 h 114"/>
                <a:gd name="T64" fmla="*/ 8 w 122"/>
                <a:gd name="T65" fmla="*/ 84 h 114"/>
                <a:gd name="T66" fmla="*/ 10 w 122"/>
                <a:gd name="T67" fmla="*/ 84 h 114"/>
                <a:gd name="T68" fmla="*/ 8 w 122"/>
                <a:gd name="T69" fmla="*/ 86 h 114"/>
                <a:gd name="T70" fmla="*/ 8 w 122"/>
                <a:gd name="T71" fmla="*/ 89 h 114"/>
                <a:gd name="T72" fmla="*/ 8 w 122"/>
                <a:gd name="T73" fmla="*/ 91 h 114"/>
                <a:gd name="T74" fmla="*/ 8 w 122"/>
                <a:gd name="T75" fmla="*/ 96 h 114"/>
                <a:gd name="T76" fmla="*/ 8 w 122"/>
                <a:gd name="T77" fmla="*/ 99 h 114"/>
                <a:gd name="T78" fmla="*/ 8 w 122"/>
                <a:gd name="T79" fmla="*/ 104 h 114"/>
                <a:gd name="T80" fmla="*/ 13 w 122"/>
                <a:gd name="T81" fmla="*/ 109 h 114"/>
                <a:gd name="T82" fmla="*/ 18 w 122"/>
                <a:gd name="T83" fmla="*/ 112 h 114"/>
                <a:gd name="T84" fmla="*/ 33 w 122"/>
                <a:gd name="T85" fmla="*/ 109 h 114"/>
                <a:gd name="T86" fmla="*/ 43 w 122"/>
                <a:gd name="T87" fmla="*/ 101 h 114"/>
                <a:gd name="T88" fmla="*/ 59 w 122"/>
                <a:gd name="T89" fmla="*/ 91 h 114"/>
                <a:gd name="T90" fmla="*/ 71 w 122"/>
                <a:gd name="T91" fmla="*/ 84 h 114"/>
                <a:gd name="T92" fmla="*/ 87 w 122"/>
                <a:gd name="T93" fmla="*/ 73 h 114"/>
                <a:gd name="T94" fmla="*/ 102 w 122"/>
                <a:gd name="T95" fmla="*/ 66 h 114"/>
                <a:gd name="T96" fmla="*/ 105 w 122"/>
                <a:gd name="T97" fmla="*/ 58 h 114"/>
                <a:gd name="T98" fmla="*/ 105 w 122"/>
                <a:gd name="T99" fmla="*/ 45 h 114"/>
                <a:gd name="T100" fmla="*/ 107 w 122"/>
                <a:gd name="T101" fmla="*/ 38 h 114"/>
                <a:gd name="T102" fmla="*/ 105 w 122"/>
                <a:gd name="T103" fmla="*/ 30 h 114"/>
                <a:gd name="T104" fmla="*/ 105 w 122"/>
                <a:gd name="T105" fmla="*/ 23 h 114"/>
                <a:gd name="T106" fmla="*/ 105 w 122"/>
                <a:gd name="T107" fmla="*/ 17 h 114"/>
                <a:gd name="T108" fmla="*/ 115 w 122"/>
                <a:gd name="T109" fmla="*/ 12 h 114"/>
                <a:gd name="T110" fmla="*/ 122 w 122"/>
                <a:gd name="T111" fmla="*/ 5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2" h="114">
                  <a:moveTo>
                    <a:pt x="122" y="2"/>
                  </a:moveTo>
                  <a:lnTo>
                    <a:pt x="120" y="0"/>
                  </a:lnTo>
                  <a:lnTo>
                    <a:pt x="120" y="0"/>
                  </a:lnTo>
                  <a:lnTo>
                    <a:pt x="120" y="0"/>
                  </a:lnTo>
                  <a:lnTo>
                    <a:pt x="120" y="0"/>
                  </a:lnTo>
                  <a:lnTo>
                    <a:pt x="117" y="0"/>
                  </a:lnTo>
                  <a:lnTo>
                    <a:pt x="117" y="0"/>
                  </a:lnTo>
                  <a:lnTo>
                    <a:pt x="112" y="2"/>
                  </a:lnTo>
                  <a:lnTo>
                    <a:pt x="110" y="2"/>
                  </a:lnTo>
                  <a:lnTo>
                    <a:pt x="107" y="5"/>
                  </a:lnTo>
                  <a:lnTo>
                    <a:pt x="102" y="5"/>
                  </a:lnTo>
                  <a:lnTo>
                    <a:pt x="102" y="5"/>
                  </a:lnTo>
                  <a:lnTo>
                    <a:pt x="99" y="5"/>
                  </a:lnTo>
                  <a:lnTo>
                    <a:pt x="97" y="2"/>
                  </a:lnTo>
                  <a:lnTo>
                    <a:pt x="92" y="2"/>
                  </a:lnTo>
                  <a:lnTo>
                    <a:pt x="92" y="2"/>
                  </a:lnTo>
                  <a:lnTo>
                    <a:pt x="87" y="5"/>
                  </a:lnTo>
                  <a:lnTo>
                    <a:pt x="79" y="10"/>
                  </a:lnTo>
                  <a:lnTo>
                    <a:pt x="74" y="12"/>
                  </a:lnTo>
                  <a:lnTo>
                    <a:pt x="69" y="12"/>
                  </a:lnTo>
                  <a:lnTo>
                    <a:pt x="66" y="12"/>
                  </a:lnTo>
                  <a:lnTo>
                    <a:pt x="61" y="12"/>
                  </a:lnTo>
                  <a:lnTo>
                    <a:pt x="59" y="12"/>
                  </a:lnTo>
                  <a:lnTo>
                    <a:pt x="56" y="12"/>
                  </a:lnTo>
                  <a:lnTo>
                    <a:pt x="54" y="12"/>
                  </a:lnTo>
                  <a:lnTo>
                    <a:pt x="51" y="10"/>
                  </a:lnTo>
                  <a:lnTo>
                    <a:pt x="48" y="10"/>
                  </a:lnTo>
                  <a:lnTo>
                    <a:pt x="48" y="7"/>
                  </a:lnTo>
                  <a:lnTo>
                    <a:pt x="46" y="7"/>
                  </a:lnTo>
                  <a:lnTo>
                    <a:pt x="43" y="7"/>
                  </a:lnTo>
                  <a:lnTo>
                    <a:pt x="38" y="10"/>
                  </a:lnTo>
                  <a:lnTo>
                    <a:pt x="38" y="12"/>
                  </a:lnTo>
                  <a:lnTo>
                    <a:pt x="36" y="12"/>
                  </a:lnTo>
                  <a:lnTo>
                    <a:pt x="33" y="12"/>
                  </a:lnTo>
                  <a:lnTo>
                    <a:pt x="31" y="15"/>
                  </a:lnTo>
                  <a:lnTo>
                    <a:pt x="28" y="15"/>
                  </a:lnTo>
                  <a:lnTo>
                    <a:pt x="26" y="15"/>
                  </a:lnTo>
                  <a:lnTo>
                    <a:pt x="23" y="15"/>
                  </a:lnTo>
                  <a:lnTo>
                    <a:pt x="23" y="12"/>
                  </a:lnTo>
                  <a:lnTo>
                    <a:pt x="20" y="12"/>
                  </a:lnTo>
                  <a:lnTo>
                    <a:pt x="18" y="10"/>
                  </a:lnTo>
                  <a:lnTo>
                    <a:pt x="15" y="10"/>
                  </a:lnTo>
                  <a:lnTo>
                    <a:pt x="15" y="10"/>
                  </a:lnTo>
                  <a:lnTo>
                    <a:pt x="15" y="12"/>
                  </a:lnTo>
                  <a:lnTo>
                    <a:pt x="15" y="17"/>
                  </a:lnTo>
                  <a:lnTo>
                    <a:pt x="13" y="17"/>
                  </a:lnTo>
                  <a:lnTo>
                    <a:pt x="15" y="23"/>
                  </a:lnTo>
                  <a:lnTo>
                    <a:pt x="15" y="23"/>
                  </a:lnTo>
                  <a:lnTo>
                    <a:pt x="15" y="23"/>
                  </a:lnTo>
                  <a:lnTo>
                    <a:pt x="13" y="23"/>
                  </a:lnTo>
                  <a:lnTo>
                    <a:pt x="13" y="25"/>
                  </a:lnTo>
                  <a:lnTo>
                    <a:pt x="13" y="25"/>
                  </a:lnTo>
                  <a:lnTo>
                    <a:pt x="10" y="28"/>
                  </a:lnTo>
                  <a:lnTo>
                    <a:pt x="10" y="30"/>
                  </a:lnTo>
                  <a:lnTo>
                    <a:pt x="8" y="30"/>
                  </a:lnTo>
                  <a:lnTo>
                    <a:pt x="8" y="33"/>
                  </a:lnTo>
                  <a:lnTo>
                    <a:pt x="8" y="33"/>
                  </a:lnTo>
                  <a:lnTo>
                    <a:pt x="5" y="30"/>
                  </a:lnTo>
                  <a:lnTo>
                    <a:pt x="3" y="30"/>
                  </a:lnTo>
                  <a:lnTo>
                    <a:pt x="3" y="33"/>
                  </a:lnTo>
                  <a:lnTo>
                    <a:pt x="0" y="38"/>
                  </a:lnTo>
                  <a:lnTo>
                    <a:pt x="5" y="43"/>
                  </a:lnTo>
                  <a:lnTo>
                    <a:pt x="5" y="43"/>
                  </a:lnTo>
                  <a:lnTo>
                    <a:pt x="5" y="45"/>
                  </a:lnTo>
                  <a:lnTo>
                    <a:pt x="5" y="48"/>
                  </a:lnTo>
                  <a:lnTo>
                    <a:pt x="5" y="51"/>
                  </a:lnTo>
                  <a:lnTo>
                    <a:pt x="5" y="53"/>
                  </a:lnTo>
                  <a:lnTo>
                    <a:pt x="5" y="56"/>
                  </a:lnTo>
                  <a:lnTo>
                    <a:pt x="8" y="61"/>
                  </a:lnTo>
                  <a:lnTo>
                    <a:pt x="10" y="61"/>
                  </a:lnTo>
                  <a:lnTo>
                    <a:pt x="13" y="61"/>
                  </a:lnTo>
                  <a:lnTo>
                    <a:pt x="13" y="58"/>
                  </a:lnTo>
                  <a:lnTo>
                    <a:pt x="15" y="61"/>
                  </a:lnTo>
                  <a:lnTo>
                    <a:pt x="15" y="61"/>
                  </a:lnTo>
                  <a:lnTo>
                    <a:pt x="15" y="61"/>
                  </a:lnTo>
                  <a:lnTo>
                    <a:pt x="13" y="63"/>
                  </a:lnTo>
                  <a:lnTo>
                    <a:pt x="13" y="63"/>
                  </a:lnTo>
                  <a:lnTo>
                    <a:pt x="15" y="63"/>
                  </a:lnTo>
                  <a:lnTo>
                    <a:pt x="15" y="63"/>
                  </a:lnTo>
                  <a:lnTo>
                    <a:pt x="18" y="66"/>
                  </a:lnTo>
                  <a:lnTo>
                    <a:pt x="20" y="71"/>
                  </a:lnTo>
                  <a:lnTo>
                    <a:pt x="18" y="71"/>
                  </a:lnTo>
                  <a:lnTo>
                    <a:pt x="18" y="73"/>
                  </a:lnTo>
                  <a:lnTo>
                    <a:pt x="18" y="73"/>
                  </a:lnTo>
                  <a:lnTo>
                    <a:pt x="15" y="73"/>
                  </a:lnTo>
                  <a:lnTo>
                    <a:pt x="15" y="76"/>
                  </a:lnTo>
                  <a:lnTo>
                    <a:pt x="15" y="76"/>
                  </a:lnTo>
                  <a:lnTo>
                    <a:pt x="15" y="76"/>
                  </a:lnTo>
                  <a:lnTo>
                    <a:pt x="15" y="79"/>
                  </a:lnTo>
                  <a:lnTo>
                    <a:pt x="15" y="79"/>
                  </a:lnTo>
                  <a:lnTo>
                    <a:pt x="15" y="79"/>
                  </a:lnTo>
                  <a:lnTo>
                    <a:pt x="15" y="79"/>
                  </a:lnTo>
                  <a:lnTo>
                    <a:pt x="13" y="79"/>
                  </a:lnTo>
                  <a:lnTo>
                    <a:pt x="13" y="79"/>
                  </a:lnTo>
                  <a:lnTo>
                    <a:pt x="10" y="79"/>
                  </a:lnTo>
                  <a:lnTo>
                    <a:pt x="10" y="79"/>
                  </a:lnTo>
                  <a:lnTo>
                    <a:pt x="8" y="81"/>
                  </a:lnTo>
                  <a:lnTo>
                    <a:pt x="8" y="81"/>
                  </a:lnTo>
                  <a:lnTo>
                    <a:pt x="8" y="84"/>
                  </a:lnTo>
                  <a:lnTo>
                    <a:pt x="8" y="84"/>
                  </a:lnTo>
                  <a:lnTo>
                    <a:pt x="10" y="84"/>
                  </a:lnTo>
                  <a:lnTo>
                    <a:pt x="10" y="84"/>
                  </a:lnTo>
                  <a:lnTo>
                    <a:pt x="10" y="84"/>
                  </a:lnTo>
                  <a:lnTo>
                    <a:pt x="8" y="86"/>
                  </a:lnTo>
                  <a:lnTo>
                    <a:pt x="8" y="86"/>
                  </a:lnTo>
                  <a:lnTo>
                    <a:pt x="8" y="86"/>
                  </a:lnTo>
                  <a:lnTo>
                    <a:pt x="8" y="89"/>
                  </a:lnTo>
                  <a:lnTo>
                    <a:pt x="8" y="89"/>
                  </a:lnTo>
                  <a:lnTo>
                    <a:pt x="8" y="91"/>
                  </a:lnTo>
                  <a:lnTo>
                    <a:pt x="8" y="91"/>
                  </a:lnTo>
                  <a:lnTo>
                    <a:pt x="8" y="91"/>
                  </a:lnTo>
                  <a:lnTo>
                    <a:pt x="8" y="94"/>
                  </a:lnTo>
                  <a:lnTo>
                    <a:pt x="8" y="94"/>
                  </a:lnTo>
                  <a:lnTo>
                    <a:pt x="8" y="96"/>
                  </a:lnTo>
                  <a:lnTo>
                    <a:pt x="8" y="96"/>
                  </a:lnTo>
                  <a:lnTo>
                    <a:pt x="8" y="99"/>
                  </a:lnTo>
                  <a:lnTo>
                    <a:pt x="8" y="99"/>
                  </a:lnTo>
                  <a:lnTo>
                    <a:pt x="8" y="101"/>
                  </a:lnTo>
                  <a:lnTo>
                    <a:pt x="8" y="101"/>
                  </a:lnTo>
                  <a:lnTo>
                    <a:pt x="8" y="104"/>
                  </a:lnTo>
                  <a:lnTo>
                    <a:pt x="10" y="104"/>
                  </a:lnTo>
                  <a:lnTo>
                    <a:pt x="10" y="104"/>
                  </a:lnTo>
                  <a:lnTo>
                    <a:pt x="13" y="109"/>
                  </a:lnTo>
                  <a:lnTo>
                    <a:pt x="15" y="109"/>
                  </a:lnTo>
                  <a:lnTo>
                    <a:pt x="18" y="109"/>
                  </a:lnTo>
                  <a:lnTo>
                    <a:pt x="18" y="112"/>
                  </a:lnTo>
                  <a:lnTo>
                    <a:pt x="20" y="112"/>
                  </a:lnTo>
                  <a:lnTo>
                    <a:pt x="28" y="114"/>
                  </a:lnTo>
                  <a:lnTo>
                    <a:pt x="33" y="109"/>
                  </a:lnTo>
                  <a:lnTo>
                    <a:pt x="36" y="107"/>
                  </a:lnTo>
                  <a:lnTo>
                    <a:pt x="41" y="104"/>
                  </a:lnTo>
                  <a:lnTo>
                    <a:pt x="43" y="101"/>
                  </a:lnTo>
                  <a:lnTo>
                    <a:pt x="51" y="99"/>
                  </a:lnTo>
                  <a:lnTo>
                    <a:pt x="54" y="96"/>
                  </a:lnTo>
                  <a:lnTo>
                    <a:pt x="59" y="91"/>
                  </a:lnTo>
                  <a:lnTo>
                    <a:pt x="64" y="89"/>
                  </a:lnTo>
                  <a:lnTo>
                    <a:pt x="69" y="86"/>
                  </a:lnTo>
                  <a:lnTo>
                    <a:pt x="71" y="84"/>
                  </a:lnTo>
                  <a:lnTo>
                    <a:pt x="76" y="81"/>
                  </a:lnTo>
                  <a:lnTo>
                    <a:pt x="82" y="76"/>
                  </a:lnTo>
                  <a:lnTo>
                    <a:pt x="87" y="73"/>
                  </a:lnTo>
                  <a:lnTo>
                    <a:pt x="92" y="71"/>
                  </a:lnTo>
                  <a:lnTo>
                    <a:pt x="97" y="68"/>
                  </a:lnTo>
                  <a:lnTo>
                    <a:pt x="102" y="66"/>
                  </a:lnTo>
                  <a:lnTo>
                    <a:pt x="102" y="66"/>
                  </a:lnTo>
                  <a:lnTo>
                    <a:pt x="105" y="61"/>
                  </a:lnTo>
                  <a:lnTo>
                    <a:pt x="105" y="58"/>
                  </a:lnTo>
                  <a:lnTo>
                    <a:pt x="105" y="56"/>
                  </a:lnTo>
                  <a:lnTo>
                    <a:pt x="105" y="51"/>
                  </a:lnTo>
                  <a:lnTo>
                    <a:pt x="105" y="45"/>
                  </a:lnTo>
                  <a:lnTo>
                    <a:pt x="105" y="43"/>
                  </a:lnTo>
                  <a:lnTo>
                    <a:pt x="107" y="40"/>
                  </a:lnTo>
                  <a:lnTo>
                    <a:pt x="107" y="38"/>
                  </a:lnTo>
                  <a:lnTo>
                    <a:pt x="107" y="35"/>
                  </a:lnTo>
                  <a:lnTo>
                    <a:pt x="107" y="33"/>
                  </a:lnTo>
                  <a:lnTo>
                    <a:pt x="105" y="30"/>
                  </a:lnTo>
                  <a:lnTo>
                    <a:pt x="105" y="28"/>
                  </a:lnTo>
                  <a:lnTo>
                    <a:pt x="105" y="25"/>
                  </a:lnTo>
                  <a:lnTo>
                    <a:pt x="105" y="23"/>
                  </a:lnTo>
                  <a:lnTo>
                    <a:pt x="105" y="20"/>
                  </a:lnTo>
                  <a:lnTo>
                    <a:pt x="105" y="17"/>
                  </a:lnTo>
                  <a:lnTo>
                    <a:pt x="105" y="17"/>
                  </a:lnTo>
                  <a:lnTo>
                    <a:pt x="110" y="15"/>
                  </a:lnTo>
                  <a:lnTo>
                    <a:pt x="112" y="15"/>
                  </a:lnTo>
                  <a:lnTo>
                    <a:pt x="115" y="12"/>
                  </a:lnTo>
                  <a:lnTo>
                    <a:pt x="117" y="10"/>
                  </a:lnTo>
                  <a:lnTo>
                    <a:pt x="120" y="7"/>
                  </a:lnTo>
                  <a:lnTo>
                    <a:pt x="122" y="5"/>
                  </a:lnTo>
                  <a:lnTo>
                    <a:pt x="122" y="5"/>
                  </a:lnTo>
                  <a:lnTo>
                    <a:pt x="122" y="2"/>
                  </a:lnTo>
                  <a:close/>
                </a:path>
              </a:pathLst>
            </a:custGeom>
            <a:solidFill>
              <a:srgbClr val="FFC000"/>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186" name="Freeform 1804">
              <a:extLst>
                <a:ext uri="{FF2B5EF4-FFF2-40B4-BE49-F238E27FC236}">
                  <a16:creationId xmlns:a16="http://schemas.microsoft.com/office/drawing/2014/main" id="{A7EFB9DB-7236-624F-BB0C-F9D1B49379BF}"/>
                </a:ext>
              </a:extLst>
            </p:cNvPr>
            <p:cNvSpPr>
              <a:spLocks/>
            </p:cNvSpPr>
            <p:nvPr/>
          </p:nvSpPr>
          <p:spPr bwMode="auto">
            <a:xfrm>
              <a:off x="5821245" y="2032899"/>
              <a:ext cx="132495" cy="70337"/>
            </a:xfrm>
            <a:custGeom>
              <a:avLst/>
              <a:gdLst>
                <a:gd name="T0" fmla="*/ 81 w 81"/>
                <a:gd name="T1" fmla="*/ 17 h 43"/>
                <a:gd name="T2" fmla="*/ 76 w 81"/>
                <a:gd name="T3" fmla="*/ 20 h 43"/>
                <a:gd name="T4" fmla="*/ 71 w 81"/>
                <a:gd name="T5" fmla="*/ 17 h 43"/>
                <a:gd name="T6" fmla="*/ 66 w 81"/>
                <a:gd name="T7" fmla="*/ 15 h 43"/>
                <a:gd name="T8" fmla="*/ 64 w 81"/>
                <a:gd name="T9" fmla="*/ 15 h 43"/>
                <a:gd name="T10" fmla="*/ 64 w 81"/>
                <a:gd name="T11" fmla="*/ 10 h 43"/>
                <a:gd name="T12" fmla="*/ 66 w 81"/>
                <a:gd name="T13" fmla="*/ 5 h 43"/>
                <a:gd name="T14" fmla="*/ 59 w 81"/>
                <a:gd name="T15" fmla="*/ 2 h 43"/>
                <a:gd name="T16" fmla="*/ 53 w 81"/>
                <a:gd name="T17" fmla="*/ 2 h 43"/>
                <a:gd name="T18" fmla="*/ 51 w 81"/>
                <a:gd name="T19" fmla="*/ 0 h 43"/>
                <a:gd name="T20" fmla="*/ 48 w 81"/>
                <a:gd name="T21" fmla="*/ 0 h 43"/>
                <a:gd name="T22" fmla="*/ 46 w 81"/>
                <a:gd name="T23" fmla="*/ 0 h 43"/>
                <a:gd name="T24" fmla="*/ 46 w 81"/>
                <a:gd name="T25" fmla="*/ 2 h 43"/>
                <a:gd name="T26" fmla="*/ 48 w 81"/>
                <a:gd name="T27" fmla="*/ 2 h 43"/>
                <a:gd name="T28" fmla="*/ 46 w 81"/>
                <a:gd name="T29" fmla="*/ 2 h 43"/>
                <a:gd name="T30" fmla="*/ 43 w 81"/>
                <a:gd name="T31" fmla="*/ 2 h 43"/>
                <a:gd name="T32" fmla="*/ 36 w 81"/>
                <a:gd name="T33" fmla="*/ 5 h 43"/>
                <a:gd name="T34" fmla="*/ 28 w 81"/>
                <a:gd name="T35" fmla="*/ 5 h 43"/>
                <a:gd name="T36" fmla="*/ 25 w 81"/>
                <a:gd name="T37" fmla="*/ 7 h 43"/>
                <a:gd name="T38" fmla="*/ 23 w 81"/>
                <a:gd name="T39" fmla="*/ 7 h 43"/>
                <a:gd name="T40" fmla="*/ 20 w 81"/>
                <a:gd name="T41" fmla="*/ 5 h 43"/>
                <a:gd name="T42" fmla="*/ 18 w 81"/>
                <a:gd name="T43" fmla="*/ 7 h 43"/>
                <a:gd name="T44" fmla="*/ 20 w 81"/>
                <a:gd name="T45" fmla="*/ 10 h 43"/>
                <a:gd name="T46" fmla="*/ 18 w 81"/>
                <a:gd name="T47" fmla="*/ 12 h 43"/>
                <a:gd name="T48" fmla="*/ 13 w 81"/>
                <a:gd name="T49" fmla="*/ 15 h 43"/>
                <a:gd name="T50" fmla="*/ 10 w 81"/>
                <a:gd name="T51" fmla="*/ 20 h 43"/>
                <a:gd name="T52" fmla="*/ 5 w 81"/>
                <a:gd name="T53" fmla="*/ 25 h 43"/>
                <a:gd name="T54" fmla="*/ 2 w 81"/>
                <a:gd name="T55" fmla="*/ 28 h 43"/>
                <a:gd name="T56" fmla="*/ 2 w 81"/>
                <a:gd name="T57" fmla="*/ 30 h 43"/>
                <a:gd name="T58" fmla="*/ 0 w 81"/>
                <a:gd name="T59" fmla="*/ 33 h 43"/>
                <a:gd name="T60" fmla="*/ 2 w 81"/>
                <a:gd name="T61" fmla="*/ 35 h 43"/>
                <a:gd name="T62" fmla="*/ 5 w 81"/>
                <a:gd name="T63" fmla="*/ 33 h 43"/>
                <a:gd name="T64" fmla="*/ 8 w 81"/>
                <a:gd name="T65" fmla="*/ 30 h 43"/>
                <a:gd name="T66" fmla="*/ 15 w 81"/>
                <a:gd name="T67" fmla="*/ 30 h 43"/>
                <a:gd name="T68" fmla="*/ 15 w 81"/>
                <a:gd name="T69" fmla="*/ 30 h 43"/>
                <a:gd name="T70" fmla="*/ 15 w 81"/>
                <a:gd name="T71" fmla="*/ 35 h 43"/>
                <a:gd name="T72" fmla="*/ 18 w 81"/>
                <a:gd name="T73" fmla="*/ 38 h 43"/>
                <a:gd name="T74" fmla="*/ 20 w 81"/>
                <a:gd name="T75" fmla="*/ 40 h 43"/>
                <a:gd name="T76" fmla="*/ 28 w 81"/>
                <a:gd name="T77" fmla="*/ 40 h 43"/>
                <a:gd name="T78" fmla="*/ 33 w 81"/>
                <a:gd name="T79" fmla="*/ 40 h 43"/>
                <a:gd name="T80" fmla="*/ 38 w 81"/>
                <a:gd name="T81" fmla="*/ 38 h 43"/>
                <a:gd name="T82" fmla="*/ 38 w 81"/>
                <a:gd name="T83" fmla="*/ 33 h 43"/>
                <a:gd name="T84" fmla="*/ 43 w 81"/>
                <a:gd name="T85" fmla="*/ 30 h 43"/>
                <a:gd name="T86" fmla="*/ 46 w 81"/>
                <a:gd name="T87" fmla="*/ 28 h 43"/>
                <a:gd name="T88" fmla="*/ 46 w 81"/>
                <a:gd name="T89" fmla="*/ 33 h 43"/>
                <a:gd name="T90" fmla="*/ 51 w 81"/>
                <a:gd name="T91" fmla="*/ 38 h 43"/>
                <a:gd name="T92" fmla="*/ 53 w 81"/>
                <a:gd name="T93" fmla="*/ 40 h 43"/>
                <a:gd name="T94" fmla="*/ 56 w 81"/>
                <a:gd name="T95" fmla="*/ 43 h 43"/>
                <a:gd name="T96" fmla="*/ 56 w 81"/>
                <a:gd name="T97" fmla="*/ 38 h 43"/>
                <a:gd name="T98" fmla="*/ 56 w 81"/>
                <a:gd name="T99" fmla="*/ 35 h 43"/>
                <a:gd name="T100" fmla="*/ 61 w 81"/>
                <a:gd name="T101" fmla="*/ 30 h 43"/>
                <a:gd name="T102" fmla="*/ 64 w 81"/>
                <a:gd name="T103" fmla="*/ 28 h 43"/>
                <a:gd name="T104" fmla="*/ 64 w 81"/>
                <a:gd name="T105" fmla="*/ 30 h 43"/>
                <a:gd name="T106" fmla="*/ 66 w 81"/>
                <a:gd name="T107" fmla="*/ 33 h 43"/>
                <a:gd name="T108" fmla="*/ 71 w 81"/>
                <a:gd name="T109" fmla="*/ 30 h 43"/>
                <a:gd name="T110" fmla="*/ 74 w 81"/>
                <a:gd name="T111" fmla="*/ 33 h 43"/>
                <a:gd name="T112" fmla="*/ 76 w 81"/>
                <a:gd name="T113" fmla="*/ 33 h 43"/>
                <a:gd name="T114" fmla="*/ 74 w 81"/>
                <a:gd name="T115" fmla="*/ 28 h 43"/>
                <a:gd name="T116" fmla="*/ 74 w 81"/>
                <a:gd name="T117" fmla="*/ 25 h 43"/>
                <a:gd name="T118" fmla="*/ 79 w 81"/>
                <a:gd name="T119" fmla="*/ 25 h 43"/>
                <a:gd name="T120" fmla="*/ 81 w 81"/>
                <a:gd name="T121" fmla="*/ 25 h 43"/>
                <a:gd name="T122" fmla="*/ 81 w 81"/>
                <a:gd name="T123"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1" h="43">
                  <a:moveTo>
                    <a:pt x="81" y="20"/>
                  </a:moveTo>
                  <a:lnTo>
                    <a:pt x="81" y="17"/>
                  </a:lnTo>
                  <a:lnTo>
                    <a:pt x="81" y="17"/>
                  </a:lnTo>
                  <a:lnTo>
                    <a:pt x="79" y="17"/>
                  </a:lnTo>
                  <a:lnTo>
                    <a:pt x="76" y="20"/>
                  </a:lnTo>
                  <a:lnTo>
                    <a:pt x="76" y="20"/>
                  </a:lnTo>
                  <a:lnTo>
                    <a:pt x="74" y="17"/>
                  </a:lnTo>
                  <a:lnTo>
                    <a:pt x="71" y="17"/>
                  </a:lnTo>
                  <a:lnTo>
                    <a:pt x="71" y="17"/>
                  </a:lnTo>
                  <a:lnTo>
                    <a:pt x="71" y="15"/>
                  </a:lnTo>
                  <a:lnTo>
                    <a:pt x="69" y="15"/>
                  </a:lnTo>
                  <a:lnTo>
                    <a:pt x="66" y="15"/>
                  </a:lnTo>
                  <a:lnTo>
                    <a:pt x="66" y="15"/>
                  </a:lnTo>
                  <a:lnTo>
                    <a:pt x="64" y="15"/>
                  </a:lnTo>
                  <a:lnTo>
                    <a:pt x="64" y="15"/>
                  </a:lnTo>
                  <a:lnTo>
                    <a:pt x="64" y="15"/>
                  </a:lnTo>
                  <a:lnTo>
                    <a:pt x="64" y="12"/>
                  </a:lnTo>
                  <a:lnTo>
                    <a:pt x="64" y="10"/>
                  </a:lnTo>
                  <a:lnTo>
                    <a:pt x="66" y="7"/>
                  </a:lnTo>
                  <a:lnTo>
                    <a:pt x="66" y="5"/>
                  </a:lnTo>
                  <a:lnTo>
                    <a:pt x="66" y="5"/>
                  </a:lnTo>
                  <a:lnTo>
                    <a:pt x="64" y="5"/>
                  </a:lnTo>
                  <a:lnTo>
                    <a:pt x="61" y="2"/>
                  </a:lnTo>
                  <a:lnTo>
                    <a:pt x="59" y="2"/>
                  </a:lnTo>
                  <a:lnTo>
                    <a:pt x="59" y="2"/>
                  </a:lnTo>
                  <a:lnTo>
                    <a:pt x="53" y="2"/>
                  </a:lnTo>
                  <a:lnTo>
                    <a:pt x="53" y="2"/>
                  </a:lnTo>
                  <a:lnTo>
                    <a:pt x="53" y="0"/>
                  </a:lnTo>
                  <a:lnTo>
                    <a:pt x="51" y="0"/>
                  </a:lnTo>
                  <a:lnTo>
                    <a:pt x="51" y="0"/>
                  </a:lnTo>
                  <a:lnTo>
                    <a:pt x="51" y="0"/>
                  </a:lnTo>
                  <a:lnTo>
                    <a:pt x="51" y="0"/>
                  </a:lnTo>
                  <a:lnTo>
                    <a:pt x="48" y="0"/>
                  </a:lnTo>
                  <a:lnTo>
                    <a:pt x="48" y="0"/>
                  </a:lnTo>
                  <a:lnTo>
                    <a:pt x="46" y="0"/>
                  </a:lnTo>
                  <a:lnTo>
                    <a:pt x="46" y="0"/>
                  </a:lnTo>
                  <a:lnTo>
                    <a:pt x="46" y="0"/>
                  </a:lnTo>
                  <a:lnTo>
                    <a:pt x="46" y="2"/>
                  </a:lnTo>
                  <a:lnTo>
                    <a:pt x="46" y="2"/>
                  </a:lnTo>
                  <a:lnTo>
                    <a:pt x="48" y="2"/>
                  </a:lnTo>
                  <a:lnTo>
                    <a:pt x="48" y="2"/>
                  </a:lnTo>
                  <a:lnTo>
                    <a:pt x="48" y="2"/>
                  </a:lnTo>
                  <a:lnTo>
                    <a:pt x="48" y="2"/>
                  </a:lnTo>
                  <a:lnTo>
                    <a:pt x="46" y="2"/>
                  </a:lnTo>
                  <a:lnTo>
                    <a:pt x="46" y="2"/>
                  </a:lnTo>
                  <a:lnTo>
                    <a:pt x="46" y="2"/>
                  </a:lnTo>
                  <a:lnTo>
                    <a:pt x="46" y="2"/>
                  </a:lnTo>
                  <a:lnTo>
                    <a:pt x="43" y="2"/>
                  </a:lnTo>
                  <a:lnTo>
                    <a:pt x="41" y="2"/>
                  </a:lnTo>
                  <a:lnTo>
                    <a:pt x="38" y="2"/>
                  </a:lnTo>
                  <a:lnTo>
                    <a:pt x="36" y="5"/>
                  </a:lnTo>
                  <a:lnTo>
                    <a:pt x="33" y="5"/>
                  </a:lnTo>
                  <a:lnTo>
                    <a:pt x="30" y="2"/>
                  </a:lnTo>
                  <a:lnTo>
                    <a:pt x="28" y="5"/>
                  </a:lnTo>
                  <a:lnTo>
                    <a:pt x="28" y="5"/>
                  </a:lnTo>
                  <a:lnTo>
                    <a:pt x="28" y="7"/>
                  </a:lnTo>
                  <a:lnTo>
                    <a:pt x="25" y="7"/>
                  </a:lnTo>
                  <a:lnTo>
                    <a:pt x="25" y="7"/>
                  </a:lnTo>
                  <a:lnTo>
                    <a:pt x="23" y="7"/>
                  </a:lnTo>
                  <a:lnTo>
                    <a:pt x="23" y="7"/>
                  </a:lnTo>
                  <a:lnTo>
                    <a:pt x="23" y="5"/>
                  </a:lnTo>
                  <a:lnTo>
                    <a:pt x="23" y="5"/>
                  </a:lnTo>
                  <a:lnTo>
                    <a:pt x="20" y="5"/>
                  </a:lnTo>
                  <a:lnTo>
                    <a:pt x="20" y="7"/>
                  </a:lnTo>
                  <a:lnTo>
                    <a:pt x="18" y="7"/>
                  </a:lnTo>
                  <a:lnTo>
                    <a:pt x="18" y="7"/>
                  </a:lnTo>
                  <a:lnTo>
                    <a:pt x="20" y="7"/>
                  </a:lnTo>
                  <a:lnTo>
                    <a:pt x="20" y="10"/>
                  </a:lnTo>
                  <a:lnTo>
                    <a:pt x="20" y="10"/>
                  </a:lnTo>
                  <a:lnTo>
                    <a:pt x="20" y="10"/>
                  </a:lnTo>
                  <a:lnTo>
                    <a:pt x="18" y="10"/>
                  </a:lnTo>
                  <a:lnTo>
                    <a:pt x="18" y="12"/>
                  </a:lnTo>
                  <a:lnTo>
                    <a:pt x="15" y="15"/>
                  </a:lnTo>
                  <a:lnTo>
                    <a:pt x="13" y="15"/>
                  </a:lnTo>
                  <a:lnTo>
                    <a:pt x="13" y="15"/>
                  </a:lnTo>
                  <a:lnTo>
                    <a:pt x="10" y="17"/>
                  </a:lnTo>
                  <a:lnTo>
                    <a:pt x="10" y="17"/>
                  </a:lnTo>
                  <a:lnTo>
                    <a:pt x="10" y="20"/>
                  </a:lnTo>
                  <a:lnTo>
                    <a:pt x="10" y="22"/>
                  </a:lnTo>
                  <a:lnTo>
                    <a:pt x="8" y="22"/>
                  </a:lnTo>
                  <a:lnTo>
                    <a:pt x="5" y="25"/>
                  </a:lnTo>
                  <a:lnTo>
                    <a:pt x="5" y="25"/>
                  </a:lnTo>
                  <a:lnTo>
                    <a:pt x="2" y="28"/>
                  </a:lnTo>
                  <a:lnTo>
                    <a:pt x="2" y="28"/>
                  </a:lnTo>
                  <a:lnTo>
                    <a:pt x="2" y="28"/>
                  </a:lnTo>
                  <a:lnTo>
                    <a:pt x="5" y="30"/>
                  </a:lnTo>
                  <a:lnTo>
                    <a:pt x="2" y="30"/>
                  </a:lnTo>
                  <a:lnTo>
                    <a:pt x="2" y="33"/>
                  </a:lnTo>
                  <a:lnTo>
                    <a:pt x="2" y="33"/>
                  </a:lnTo>
                  <a:lnTo>
                    <a:pt x="0" y="33"/>
                  </a:lnTo>
                  <a:lnTo>
                    <a:pt x="0" y="35"/>
                  </a:lnTo>
                  <a:lnTo>
                    <a:pt x="2" y="35"/>
                  </a:lnTo>
                  <a:lnTo>
                    <a:pt x="2" y="35"/>
                  </a:lnTo>
                  <a:lnTo>
                    <a:pt x="5" y="35"/>
                  </a:lnTo>
                  <a:lnTo>
                    <a:pt x="8" y="33"/>
                  </a:lnTo>
                  <a:lnTo>
                    <a:pt x="5" y="33"/>
                  </a:lnTo>
                  <a:lnTo>
                    <a:pt x="5" y="30"/>
                  </a:lnTo>
                  <a:lnTo>
                    <a:pt x="5" y="30"/>
                  </a:lnTo>
                  <a:lnTo>
                    <a:pt x="8" y="30"/>
                  </a:lnTo>
                  <a:lnTo>
                    <a:pt x="10" y="28"/>
                  </a:lnTo>
                  <a:lnTo>
                    <a:pt x="13" y="28"/>
                  </a:lnTo>
                  <a:lnTo>
                    <a:pt x="15" y="30"/>
                  </a:lnTo>
                  <a:lnTo>
                    <a:pt x="15" y="30"/>
                  </a:lnTo>
                  <a:lnTo>
                    <a:pt x="15" y="30"/>
                  </a:lnTo>
                  <a:lnTo>
                    <a:pt x="15" y="30"/>
                  </a:lnTo>
                  <a:lnTo>
                    <a:pt x="15" y="33"/>
                  </a:lnTo>
                  <a:lnTo>
                    <a:pt x="15" y="35"/>
                  </a:lnTo>
                  <a:lnTo>
                    <a:pt x="15" y="35"/>
                  </a:lnTo>
                  <a:lnTo>
                    <a:pt x="18" y="35"/>
                  </a:lnTo>
                  <a:lnTo>
                    <a:pt x="18" y="38"/>
                  </a:lnTo>
                  <a:lnTo>
                    <a:pt x="18" y="38"/>
                  </a:lnTo>
                  <a:lnTo>
                    <a:pt x="20" y="40"/>
                  </a:lnTo>
                  <a:lnTo>
                    <a:pt x="20" y="40"/>
                  </a:lnTo>
                  <a:lnTo>
                    <a:pt x="20" y="40"/>
                  </a:lnTo>
                  <a:lnTo>
                    <a:pt x="20" y="40"/>
                  </a:lnTo>
                  <a:lnTo>
                    <a:pt x="25" y="40"/>
                  </a:lnTo>
                  <a:lnTo>
                    <a:pt x="28" y="40"/>
                  </a:lnTo>
                  <a:lnTo>
                    <a:pt x="28" y="38"/>
                  </a:lnTo>
                  <a:lnTo>
                    <a:pt x="30" y="38"/>
                  </a:lnTo>
                  <a:lnTo>
                    <a:pt x="33" y="40"/>
                  </a:lnTo>
                  <a:lnTo>
                    <a:pt x="36" y="40"/>
                  </a:lnTo>
                  <a:lnTo>
                    <a:pt x="38" y="38"/>
                  </a:lnTo>
                  <a:lnTo>
                    <a:pt x="38" y="38"/>
                  </a:lnTo>
                  <a:lnTo>
                    <a:pt x="41" y="35"/>
                  </a:lnTo>
                  <a:lnTo>
                    <a:pt x="41" y="35"/>
                  </a:lnTo>
                  <a:lnTo>
                    <a:pt x="38" y="33"/>
                  </a:lnTo>
                  <a:lnTo>
                    <a:pt x="38" y="33"/>
                  </a:lnTo>
                  <a:lnTo>
                    <a:pt x="41" y="30"/>
                  </a:lnTo>
                  <a:lnTo>
                    <a:pt x="43" y="30"/>
                  </a:lnTo>
                  <a:lnTo>
                    <a:pt x="43" y="28"/>
                  </a:lnTo>
                  <a:lnTo>
                    <a:pt x="46" y="28"/>
                  </a:lnTo>
                  <a:lnTo>
                    <a:pt x="46" y="28"/>
                  </a:lnTo>
                  <a:lnTo>
                    <a:pt x="46" y="30"/>
                  </a:lnTo>
                  <a:lnTo>
                    <a:pt x="46" y="33"/>
                  </a:lnTo>
                  <a:lnTo>
                    <a:pt x="46" y="33"/>
                  </a:lnTo>
                  <a:lnTo>
                    <a:pt x="48" y="35"/>
                  </a:lnTo>
                  <a:lnTo>
                    <a:pt x="48" y="35"/>
                  </a:lnTo>
                  <a:lnTo>
                    <a:pt x="51" y="38"/>
                  </a:lnTo>
                  <a:lnTo>
                    <a:pt x="51" y="38"/>
                  </a:lnTo>
                  <a:lnTo>
                    <a:pt x="51" y="38"/>
                  </a:lnTo>
                  <a:lnTo>
                    <a:pt x="53" y="40"/>
                  </a:lnTo>
                  <a:lnTo>
                    <a:pt x="53" y="40"/>
                  </a:lnTo>
                  <a:lnTo>
                    <a:pt x="53" y="43"/>
                  </a:lnTo>
                  <a:lnTo>
                    <a:pt x="56" y="43"/>
                  </a:lnTo>
                  <a:lnTo>
                    <a:pt x="56" y="40"/>
                  </a:lnTo>
                  <a:lnTo>
                    <a:pt x="56" y="40"/>
                  </a:lnTo>
                  <a:lnTo>
                    <a:pt x="56" y="38"/>
                  </a:lnTo>
                  <a:lnTo>
                    <a:pt x="56" y="38"/>
                  </a:lnTo>
                  <a:lnTo>
                    <a:pt x="56" y="38"/>
                  </a:lnTo>
                  <a:lnTo>
                    <a:pt x="56" y="35"/>
                  </a:lnTo>
                  <a:lnTo>
                    <a:pt x="59" y="33"/>
                  </a:lnTo>
                  <a:lnTo>
                    <a:pt x="59" y="33"/>
                  </a:lnTo>
                  <a:lnTo>
                    <a:pt x="61" y="30"/>
                  </a:lnTo>
                  <a:lnTo>
                    <a:pt x="61" y="28"/>
                  </a:lnTo>
                  <a:lnTo>
                    <a:pt x="61" y="28"/>
                  </a:lnTo>
                  <a:lnTo>
                    <a:pt x="64" y="28"/>
                  </a:lnTo>
                  <a:lnTo>
                    <a:pt x="64" y="28"/>
                  </a:lnTo>
                  <a:lnTo>
                    <a:pt x="64" y="28"/>
                  </a:lnTo>
                  <a:lnTo>
                    <a:pt x="64" y="30"/>
                  </a:lnTo>
                  <a:lnTo>
                    <a:pt x="64" y="33"/>
                  </a:lnTo>
                  <a:lnTo>
                    <a:pt x="66" y="33"/>
                  </a:lnTo>
                  <a:lnTo>
                    <a:pt x="66" y="33"/>
                  </a:lnTo>
                  <a:lnTo>
                    <a:pt x="69" y="30"/>
                  </a:lnTo>
                  <a:lnTo>
                    <a:pt x="71" y="30"/>
                  </a:lnTo>
                  <a:lnTo>
                    <a:pt x="71" y="30"/>
                  </a:lnTo>
                  <a:lnTo>
                    <a:pt x="74" y="30"/>
                  </a:lnTo>
                  <a:lnTo>
                    <a:pt x="74" y="33"/>
                  </a:lnTo>
                  <a:lnTo>
                    <a:pt x="74" y="33"/>
                  </a:lnTo>
                  <a:lnTo>
                    <a:pt x="76" y="33"/>
                  </a:lnTo>
                  <a:lnTo>
                    <a:pt x="76" y="33"/>
                  </a:lnTo>
                  <a:lnTo>
                    <a:pt x="76" y="33"/>
                  </a:lnTo>
                  <a:lnTo>
                    <a:pt x="74" y="30"/>
                  </a:lnTo>
                  <a:lnTo>
                    <a:pt x="74" y="30"/>
                  </a:lnTo>
                  <a:lnTo>
                    <a:pt x="74" y="28"/>
                  </a:lnTo>
                  <a:lnTo>
                    <a:pt x="74" y="28"/>
                  </a:lnTo>
                  <a:lnTo>
                    <a:pt x="74" y="25"/>
                  </a:lnTo>
                  <a:lnTo>
                    <a:pt x="74" y="25"/>
                  </a:lnTo>
                  <a:lnTo>
                    <a:pt x="76" y="25"/>
                  </a:lnTo>
                  <a:lnTo>
                    <a:pt x="76" y="25"/>
                  </a:lnTo>
                  <a:lnTo>
                    <a:pt x="79" y="25"/>
                  </a:lnTo>
                  <a:lnTo>
                    <a:pt x="79" y="25"/>
                  </a:lnTo>
                  <a:lnTo>
                    <a:pt x="81" y="25"/>
                  </a:lnTo>
                  <a:lnTo>
                    <a:pt x="81" y="25"/>
                  </a:lnTo>
                  <a:lnTo>
                    <a:pt x="81" y="25"/>
                  </a:lnTo>
                  <a:lnTo>
                    <a:pt x="81" y="22"/>
                  </a:lnTo>
                  <a:lnTo>
                    <a:pt x="81" y="22"/>
                  </a:lnTo>
                  <a:lnTo>
                    <a:pt x="81" y="2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187" name="Freeform 1805">
              <a:extLst>
                <a:ext uri="{FF2B5EF4-FFF2-40B4-BE49-F238E27FC236}">
                  <a16:creationId xmlns:a16="http://schemas.microsoft.com/office/drawing/2014/main" id="{2D8AF025-6F61-A44A-96EE-2E447392C244}"/>
                </a:ext>
              </a:extLst>
            </p:cNvPr>
            <p:cNvSpPr>
              <a:spLocks noEditPoints="1"/>
            </p:cNvSpPr>
            <p:nvPr/>
          </p:nvSpPr>
          <p:spPr bwMode="auto">
            <a:xfrm>
              <a:off x="5975004" y="1303361"/>
              <a:ext cx="320604" cy="458006"/>
            </a:xfrm>
            <a:custGeom>
              <a:avLst/>
              <a:gdLst>
                <a:gd name="T0" fmla="*/ 87 w 196"/>
                <a:gd name="T1" fmla="*/ 255 h 280"/>
                <a:gd name="T2" fmla="*/ 97 w 196"/>
                <a:gd name="T3" fmla="*/ 239 h 280"/>
                <a:gd name="T4" fmla="*/ 115 w 196"/>
                <a:gd name="T5" fmla="*/ 232 h 280"/>
                <a:gd name="T6" fmla="*/ 117 w 196"/>
                <a:gd name="T7" fmla="*/ 245 h 280"/>
                <a:gd name="T8" fmla="*/ 125 w 196"/>
                <a:gd name="T9" fmla="*/ 234 h 280"/>
                <a:gd name="T10" fmla="*/ 130 w 196"/>
                <a:gd name="T11" fmla="*/ 227 h 280"/>
                <a:gd name="T12" fmla="*/ 115 w 196"/>
                <a:gd name="T13" fmla="*/ 201 h 280"/>
                <a:gd name="T14" fmla="*/ 120 w 196"/>
                <a:gd name="T15" fmla="*/ 191 h 280"/>
                <a:gd name="T16" fmla="*/ 189 w 196"/>
                <a:gd name="T17" fmla="*/ 54 h 280"/>
                <a:gd name="T18" fmla="*/ 191 w 196"/>
                <a:gd name="T19" fmla="*/ 44 h 280"/>
                <a:gd name="T20" fmla="*/ 186 w 196"/>
                <a:gd name="T21" fmla="*/ 33 h 280"/>
                <a:gd name="T22" fmla="*/ 184 w 196"/>
                <a:gd name="T23" fmla="*/ 28 h 280"/>
                <a:gd name="T24" fmla="*/ 176 w 196"/>
                <a:gd name="T25" fmla="*/ 16 h 280"/>
                <a:gd name="T26" fmla="*/ 151 w 196"/>
                <a:gd name="T27" fmla="*/ 8 h 280"/>
                <a:gd name="T28" fmla="*/ 130 w 196"/>
                <a:gd name="T29" fmla="*/ 0 h 280"/>
                <a:gd name="T30" fmla="*/ 130 w 196"/>
                <a:gd name="T31" fmla="*/ 13 h 280"/>
                <a:gd name="T32" fmla="*/ 102 w 196"/>
                <a:gd name="T33" fmla="*/ 10 h 280"/>
                <a:gd name="T34" fmla="*/ 79 w 196"/>
                <a:gd name="T35" fmla="*/ 28 h 280"/>
                <a:gd name="T36" fmla="*/ 77 w 196"/>
                <a:gd name="T37" fmla="*/ 38 h 280"/>
                <a:gd name="T38" fmla="*/ 51 w 196"/>
                <a:gd name="T39" fmla="*/ 56 h 280"/>
                <a:gd name="T40" fmla="*/ 41 w 196"/>
                <a:gd name="T41" fmla="*/ 84 h 280"/>
                <a:gd name="T42" fmla="*/ 38 w 196"/>
                <a:gd name="T43" fmla="*/ 100 h 280"/>
                <a:gd name="T44" fmla="*/ 15 w 196"/>
                <a:gd name="T45" fmla="*/ 110 h 280"/>
                <a:gd name="T46" fmla="*/ 15 w 196"/>
                <a:gd name="T47" fmla="*/ 127 h 280"/>
                <a:gd name="T48" fmla="*/ 26 w 196"/>
                <a:gd name="T49" fmla="*/ 153 h 280"/>
                <a:gd name="T50" fmla="*/ 18 w 196"/>
                <a:gd name="T51" fmla="*/ 163 h 280"/>
                <a:gd name="T52" fmla="*/ 15 w 196"/>
                <a:gd name="T53" fmla="*/ 183 h 280"/>
                <a:gd name="T54" fmla="*/ 8 w 196"/>
                <a:gd name="T55" fmla="*/ 199 h 280"/>
                <a:gd name="T56" fmla="*/ 0 w 196"/>
                <a:gd name="T57" fmla="*/ 204 h 280"/>
                <a:gd name="T58" fmla="*/ 8 w 196"/>
                <a:gd name="T59" fmla="*/ 224 h 280"/>
                <a:gd name="T60" fmla="*/ 23 w 196"/>
                <a:gd name="T61" fmla="*/ 247 h 280"/>
                <a:gd name="T62" fmla="*/ 26 w 196"/>
                <a:gd name="T63" fmla="*/ 260 h 280"/>
                <a:gd name="T64" fmla="*/ 31 w 196"/>
                <a:gd name="T65" fmla="*/ 273 h 280"/>
                <a:gd name="T66" fmla="*/ 51 w 196"/>
                <a:gd name="T67" fmla="*/ 273 h 280"/>
                <a:gd name="T68" fmla="*/ 59 w 196"/>
                <a:gd name="T69" fmla="*/ 262 h 280"/>
                <a:gd name="T70" fmla="*/ 84 w 196"/>
                <a:gd name="T71" fmla="*/ 252 h 280"/>
                <a:gd name="T72" fmla="*/ 89 w 196"/>
                <a:gd name="T73" fmla="*/ 232 h 280"/>
                <a:gd name="T74" fmla="*/ 92 w 196"/>
                <a:gd name="T75" fmla="*/ 214 h 280"/>
                <a:gd name="T76" fmla="*/ 94 w 196"/>
                <a:gd name="T77" fmla="*/ 209 h 280"/>
                <a:gd name="T78" fmla="*/ 115 w 196"/>
                <a:gd name="T79" fmla="*/ 199 h 280"/>
                <a:gd name="T80" fmla="*/ 115 w 196"/>
                <a:gd name="T81" fmla="*/ 194 h 280"/>
                <a:gd name="T82" fmla="*/ 120 w 196"/>
                <a:gd name="T83" fmla="*/ 191 h 280"/>
                <a:gd name="T84" fmla="*/ 120 w 196"/>
                <a:gd name="T85" fmla="*/ 178 h 280"/>
                <a:gd name="T86" fmla="*/ 102 w 196"/>
                <a:gd name="T87" fmla="*/ 171 h 280"/>
                <a:gd name="T88" fmla="*/ 94 w 196"/>
                <a:gd name="T89" fmla="*/ 161 h 280"/>
                <a:gd name="T90" fmla="*/ 94 w 196"/>
                <a:gd name="T91" fmla="*/ 148 h 280"/>
                <a:gd name="T92" fmla="*/ 100 w 196"/>
                <a:gd name="T93" fmla="*/ 135 h 280"/>
                <a:gd name="T94" fmla="*/ 102 w 196"/>
                <a:gd name="T95" fmla="*/ 130 h 280"/>
                <a:gd name="T96" fmla="*/ 105 w 196"/>
                <a:gd name="T97" fmla="*/ 122 h 280"/>
                <a:gd name="T98" fmla="*/ 112 w 196"/>
                <a:gd name="T99" fmla="*/ 122 h 280"/>
                <a:gd name="T100" fmla="*/ 117 w 196"/>
                <a:gd name="T101" fmla="*/ 115 h 280"/>
                <a:gd name="T102" fmla="*/ 128 w 196"/>
                <a:gd name="T103" fmla="*/ 110 h 280"/>
                <a:gd name="T104" fmla="*/ 143 w 196"/>
                <a:gd name="T105" fmla="*/ 105 h 280"/>
                <a:gd name="T106" fmla="*/ 156 w 196"/>
                <a:gd name="T107" fmla="*/ 87 h 280"/>
                <a:gd name="T108" fmla="*/ 158 w 196"/>
                <a:gd name="T109" fmla="*/ 74 h 280"/>
                <a:gd name="T110" fmla="*/ 158 w 196"/>
                <a:gd name="T111" fmla="*/ 72 h 280"/>
                <a:gd name="T112" fmla="*/ 166 w 196"/>
                <a:gd name="T113" fmla="*/ 69 h 280"/>
                <a:gd name="T114" fmla="*/ 171 w 196"/>
                <a:gd name="T115" fmla="*/ 61 h 280"/>
                <a:gd name="T116" fmla="*/ 189 w 196"/>
                <a:gd name="T117" fmla="*/ 64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96" h="280">
                  <a:moveTo>
                    <a:pt x="97" y="237"/>
                  </a:moveTo>
                  <a:lnTo>
                    <a:pt x="97" y="237"/>
                  </a:lnTo>
                  <a:lnTo>
                    <a:pt x="94" y="237"/>
                  </a:lnTo>
                  <a:lnTo>
                    <a:pt x="94" y="239"/>
                  </a:lnTo>
                  <a:lnTo>
                    <a:pt x="94" y="239"/>
                  </a:lnTo>
                  <a:lnTo>
                    <a:pt x="94" y="242"/>
                  </a:lnTo>
                  <a:lnTo>
                    <a:pt x="92" y="247"/>
                  </a:lnTo>
                  <a:lnTo>
                    <a:pt x="89" y="247"/>
                  </a:lnTo>
                  <a:lnTo>
                    <a:pt x="87" y="252"/>
                  </a:lnTo>
                  <a:lnTo>
                    <a:pt x="87" y="255"/>
                  </a:lnTo>
                  <a:lnTo>
                    <a:pt x="87" y="260"/>
                  </a:lnTo>
                  <a:lnTo>
                    <a:pt x="87" y="260"/>
                  </a:lnTo>
                  <a:lnTo>
                    <a:pt x="87" y="260"/>
                  </a:lnTo>
                  <a:lnTo>
                    <a:pt x="89" y="260"/>
                  </a:lnTo>
                  <a:lnTo>
                    <a:pt x="92" y="250"/>
                  </a:lnTo>
                  <a:lnTo>
                    <a:pt x="94" y="247"/>
                  </a:lnTo>
                  <a:lnTo>
                    <a:pt x="94" y="245"/>
                  </a:lnTo>
                  <a:lnTo>
                    <a:pt x="97" y="239"/>
                  </a:lnTo>
                  <a:lnTo>
                    <a:pt x="97" y="239"/>
                  </a:lnTo>
                  <a:lnTo>
                    <a:pt x="97" y="239"/>
                  </a:lnTo>
                  <a:lnTo>
                    <a:pt x="97" y="237"/>
                  </a:lnTo>
                  <a:lnTo>
                    <a:pt x="97" y="237"/>
                  </a:lnTo>
                  <a:close/>
                  <a:moveTo>
                    <a:pt x="125" y="224"/>
                  </a:moveTo>
                  <a:lnTo>
                    <a:pt x="125" y="224"/>
                  </a:lnTo>
                  <a:lnTo>
                    <a:pt x="125" y="227"/>
                  </a:lnTo>
                  <a:lnTo>
                    <a:pt x="123" y="227"/>
                  </a:lnTo>
                  <a:lnTo>
                    <a:pt x="120" y="227"/>
                  </a:lnTo>
                  <a:lnTo>
                    <a:pt x="117" y="229"/>
                  </a:lnTo>
                  <a:lnTo>
                    <a:pt x="117" y="229"/>
                  </a:lnTo>
                  <a:lnTo>
                    <a:pt x="115" y="232"/>
                  </a:lnTo>
                  <a:lnTo>
                    <a:pt x="115" y="232"/>
                  </a:lnTo>
                  <a:lnTo>
                    <a:pt x="115" y="234"/>
                  </a:lnTo>
                  <a:lnTo>
                    <a:pt x="115" y="237"/>
                  </a:lnTo>
                  <a:lnTo>
                    <a:pt x="115" y="239"/>
                  </a:lnTo>
                  <a:lnTo>
                    <a:pt x="115" y="239"/>
                  </a:lnTo>
                  <a:lnTo>
                    <a:pt x="115" y="242"/>
                  </a:lnTo>
                  <a:lnTo>
                    <a:pt x="117" y="242"/>
                  </a:lnTo>
                  <a:lnTo>
                    <a:pt x="115" y="245"/>
                  </a:lnTo>
                  <a:lnTo>
                    <a:pt x="115" y="247"/>
                  </a:lnTo>
                  <a:lnTo>
                    <a:pt x="117" y="245"/>
                  </a:lnTo>
                  <a:lnTo>
                    <a:pt x="117" y="245"/>
                  </a:lnTo>
                  <a:lnTo>
                    <a:pt x="120" y="242"/>
                  </a:lnTo>
                  <a:lnTo>
                    <a:pt x="120" y="242"/>
                  </a:lnTo>
                  <a:lnTo>
                    <a:pt x="120" y="239"/>
                  </a:lnTo>
                  <a:lnTo>
                    <a:pt x="123" y="239"/>
                  </a:lnTo>
                  <a:lnTo>
                    <a:pt x="125" y="237"/>
                  </a:lnTo>
                  <a:lnTo>
                    <a:pt x="125" y="237"/>
                  </a:lnTo>
                  <a:lnTo>
                    <a:pt x="125" y="237"/>
                  </a:lnTo>
                  <a:lnTo>
                    <a:pt x="128" y="237"/>
                  </a:lnTo>
                  <a:lnTo>
                    <a:pt x="125" y="234"/>
                  </a:lnTo>
                  <a:lnTo>
                    <a:pt x="125" y="229"/>
                  </a:lnTo>
                  <a:lnTo>
                    <a:pt x="125" y="229"/>
                  </a:lnTo>
                  <a:lnTo>
                    <a:pt x="128" y="229"/>
                  </a:lnTo>
                  <a:lnTo>
                    <a:pt x="128" y="227"/>
                  </a:lnTo>
                  <a:lnTo>
                    <a:pt x="130" y="227"/>
                  </a:lnTo>
                  <a:lnTo>
                    <a:pt x="128" y="224"/>
                  </a:lnTo>
                  <a:lnTo>
                    <a:pt x="125" y="224"/>
                  </a:lnTo>
                  <a:close/>
                  <a:moveTo>
                    <a:pt x="130" y="224"/>
                  </a:moveTo>
                  <a:lnTo>
                    <a:pt x="128" y="224"/>
                  </a:lnTo>
                  <a:lnTo>
                    <a:pt x="130" y="227"/>
                  </a:lnTo>
                  <a:lnTo>
                    <a:pt x="130" y="227"/>
                  </a:lnTo>
                  <a:lnTo>
                    <a:pt x="130" y="224"/>
                  </a:lnTo>
                  <a:lnTo>
                    <a:pt x="133" y="224"/>
                  </a:lnTo>
                  <a:lnTo>
                    <a:pt x="133" y="224"/>
                  </a:lnTo>
                  <a:lnTo>
                    <a:pt x="130" y="224"/>
                  </a:lnTo>
                  <a:close/>
                  <a:moveTo>
                    <a:pt x="117" y="199"/>
                  </a:moveTo>
                  <a:lnTo>
                    <a:pt x="117" y="199"/>
                  </a:lnTo>
                  <a:lnTo>
                    <a:pt x="117" y="201"/>
                  </a:lnTo>
                  <a:lnTo>
                    <a:pt x="117" y="201"/>
                  </a:lnTo>
                  <a:lnTo>
                    <a:pt x="115" y="201"/>
                  </a:lnTo>
                  <a:lnTo>
                    <a:pt x="117" y="201"/>
                  </a:lnTo>
                  <a:lnTo>
                    <a:pt x="117" y="201"/>
                  </a:lnTo>
                  <a:lnTo>
                    <a:pt x="117" y="199"/>
                  </a:lnTo>
                  <a:close/>
                  <a:moveTo>
                    <a:pt x="120" y="191"/>
                  </a:moveTo>
                  <a:lnTo>
                    <a:pt x="120" y="191"/>
                  </a:lnTo>
                  <a:lnTo>
                    <a:pt x="120" y="191"/>
                  </a:lnTo>
                  <a:lnTo>
                    <a:pt x="117" y="191"/>
                  </a:lnTo>
                  <a:lnTo>
                    <a:pt x="120" y="194"/>
                  </a:lnTo>
                  <a:lnTo>
                    <a:pt x="120" y="191"/>
                  </a:lnTo>
                  <a:lnTo>
                    <a:pt x="120" y="191"/>
                  </a:lnTo>
                  <a:lnTo>
                    <a:pt x="120" y="191"/>
                  </a:lnTo>
                  <a:lnTo>
                    <a:pt x="120" y="191"/>
                  </a:lnTo>
                  <a:lnTo>
                    <a:pt x="120" y="191"/>
                  </a:lnTo>
                  <a:close/>
                  <a:moveTo>
                    <a:pt x="194" y="59"/>
                  </a:moveTo>
                  <a:lnTo>
                    <a:pt x="194" y="59"/>
                  </a:lnTo>
                  <a:lnTo>
                    <a:pt x="191" y="56"/>
                  </a:lnTo>
                  <a:lnTo>
                    <a:pt x="189" y="56"/>
                  </a:lnTo>
                  <a:lnTo>
                    <a:pt x="189" y="54"/>
                  </a:lnTo>
                  <a:lnTo>
                    <a:pt x="189" y="54"/>
                  </a:lnTo>
                  <a:lnTo>
                    <a:pt x="189" y="54"/>
                  </a:lnTo>
                  <a:lnTo>
                    <a:pt x="189" y="51"/>
                  </a:lnTo>
                  <a:lnTo>
                    <a:pt x="189" y="51"/>
                  </a:lnTo>
                  <a:lnTo>
                    <a:pt x="189" y="49"/>
                  </a:lnTo>
                  <a:lnTo>
                    <a:pt x="189" y="49"/>
                  </a:lnTo>
                  <a:lnTo>
                    <a:pt x="191" y="49"/>
                  </a:lnTo>
                  <a:lnTo>
                    <a:pt x="191" y="46"/>
                  </a:lnTo>
                  <a:lnTo>
                    <a:pt x="191" y="46"/>
                  </a:lnTo>
                  <a:lnTo>
                    <a:pt x="191" y="44"/>
                  </a:lnTo>
                  <a:lnTo>
                    <a:pt x="191" y="44"/>
                  </a:lnTo>
                  <a:lnTo>
                    <a:pt x="191" y="44"/>
                  </a:lnTo>
                  <a:lnTo>
                    <a:pt x="191" y="41"/>
                  </a:lnTo>
                  <a:lnTo>
                    <a:pt x="189" y="41"/>
                  </a:lnTo>
                  <a:lnTo>
                    <a:pt x="189" y="38"/>
                  </a:lnTo>
                  <a:lnTo>
                    <a:pt x="186" y="38"/>
                  </a:lnTo>
                  <a:lnTo>
                    <a:pt x="186" y="36"/>
                  </a:lnTo>
                  <a:lnTo>
                    <a:pt x="186" y="36"/>
                  </a:lnTo>
                  <a:lnTo>
                    <a:pt x="186" y="36"/>
                  </a:lnTo>
                  <a:lnTo>
                    <a:pt x="186" y="33"/>
                  </a:lnTo>
                  <a:lnTo>
                    <a:pt x="186" y="33"/>
                  </a:lnTo>
                  <a:lnTo>
                    <a:pt x="186" y="33"/>
                  </a:lnTo>
                  <a:lnTo>
                    <a:pt x="186" y="31"/>
                  </a:lnTo>
                  <a:lnTo>
                    <a:pt x="186" y="31"/>
                  </a:lnTo>
                  <a:lnTo>
                    <a:pt x="184" y="31"/>
                  </a:lnTo>
                  <a:lnTo>
                    <a:pt x="181" y="31"/>
                  </a:lnTo>
                  <a:lnTo>
                    <a:pt x="181" y="31"/>
                  </a:lnTo>
                  <a:lnTo>
                    <a:pt x="181" y="31"/>
                  </a:lnTo>
                  <a:lnTo>
                    <a:pt x="181" y="28"/>
                  </a:lnTo>
                  <a:lnTo>
                    <a:pt x="184" y="28"/>
                  </a:lnTo>
                  <a:lnTo>
                    <a:pt x="184" y="28"/>
                  </a:lnTo>
                  <a:lnTo>
                    <a:pt x="184" y="28"/>
                  </a:lnTo>
                  <a:lnTo>
                    <a:pt x="181" y="26"/>
                  </a:lnTo>
                  <a:lnTo>
                    <a:pt x="181" y="23"/>
                  </a:lnTo>
                  <a:lnTo>
                    <a:pt x="181" y="23"/>
                  </a:lnTo>
                  <a:lnTo>
                    <a:pt x="184" y="21"/>
                  </a:lnTo>
                  <a:lnTo>
                    <a:pt x="184" y="21"/>
                  </a:lnTo>
                  <a:lnTo>
                    <a:pt x="181" y="21"/>
                  </a:lnTo>
                  <a:lnTo>
                    <a:pt x="179" y="18"/>
                  </a:lnTo>
                  <a:lnTo>
                    <a:pt x="179" y="18"/>
                  </a:lnTo>
                  <a:lnTo>
                    <a:pt x="176" y="18"/>
                  </a:lnTo>
                  <a:lnTo>
                    <a:pt x="176" y="16"/>
                  </a:lnTo>
                  <a:lnTo>
                    <a:pt x="174" y="13"/>
                  </a:lnTo>
                  <a:lnTo>
                    <a:pt x="171" y="13"/>
                  </a:lnTo>
                  <a:lnTo>
                    <a:pt x="171" y="13"/>
                  </a:lnTo>
                  <a:lnTo>
                    <a:pt x="163" y="10"/>
                  </a:lnTo>
                  <a:lnTo>
                    <a:pt x="161" y="10"/>
                  </a:lnTo>
                  <a:lnTo>
                    <a:pt x="158" y="10"/>
                  </a:lnTo>
                  <a:lnTo>
                    <a:pt x="156" y="8"/>
                  </a:lnTo>
                  <a:lnTo>
                    <a:pt x="156" y="8"/>
                  </a:lnTo>
                  <a:lnTo>
                    <a:pt x="153" y="8"/>
                  </a:lnTo>
                  <a:lnTo>
                    <a:pt x="151" y="8"/>
                  </a:lnTo>
                  <a:lnTo>
                    <a:pt x="151" y="5"/>
                  </a:lnTo>
                  <a:lnTo>
                    <a:pt x="148" y="5"/>
                  </a:lnTo>
                  <a:lnTo>
                    <a:pt x="145" y="3"/>
                  </a:lnTo>
                  <a:lnTo>
                    <a:pt x="143" y="3"/>
                  </a:lnTo>
                  <a:lnTo>
                    <a:pt x="143" y="3"/>
                  </a:lnTo>
                  <a:lnTo>
                    <a:pt x="143" y="0"/>
                  </a:lnTo>
                  <a:lnTo>
                    <a:pt x="140" y="0"/>
                  </a:lnTo>
                  <a:lnTo>
                    <a:pt x="138" y="0"/>
                  </a:lnTo>
                  <a:lnTo>
                    <a:pt x="135" y="0"/>
                  </a:lnTo>
                  <a:lnTo>
                    <a:pt x="130" y="0"/>
                  </a:lnTo>
                  <a:lnTo>
                    <a:pt x="133" y="3"/>
                  </a:lnTo>
                  <a:lnTo>
                    <a:pt x="133" y="3"/>
                  </a:lnTo>
                  <a:lnTo>
                    <a:pt x="133" y="3"/>
                  </a:lnTo>
                  <a:lnTo>
                    <a:pt x="133" y="5"/>
                  </a:lnTo>
                  <a:lnTo>
                    <a:pt x="133" y="8"/>
                  </a:lnTo>
                  <a:lnTo>
                    <a:pt x="130" y="8"/>
                  </a:lnTo>
                  <a:lnTo>
                    <a:pt x="128" y="10"/>
                  </a:lnTo>
                  <a:lnTo>
                    <a:pt x="133" y="10"/>
                  </a:lnTo>
                  <a:lnTo>
                    <a:pt x="130" y="13"/>
                  </a:lnTo>
                  <a:lnTo>
                    <a:pt x="130" y="13"/>
                  </a:lnTo>
                  <a:lnTo>
                    <a:pt x="128" y="13"/>
                  </a:lnTo>
                  <a:lnTo>
                    <a:pt x="125" y="13"/>
                  </a:lnTo>
                  <a:lnTo>
                    <a:pt x="117" y="10"/>
                  </a:lnTo>
                  <a:lnTo>
                    <a:pt x="115" y="10"/>
                  </a:lnTo>
                  <a:lnTo>
                    <a:pt x="112" y="10"/>
                  </a:lnTo>
                  <a:lnTo>
                    <a:pt x="112" y="10"/>
                  </a:lnTo>
                  <a:lnTo>
                    <a:pt x="105" y="8"/>
                  </a:lnTo>
                  <a:lnTo>
                    <a:pt x="105" y="10"/>
                  </a:lnTo>
                  <a:lnTo>
                    <a:pt x="102" y="10"/>
                  </a:lnTo>
                  <a:lnTo>
                    <a:pt x="102" y="10"/>
                  </a:lnTo>
                  <a:lnTo>
                    <a:pt x="102" y="13"/>
                  </a:lnTo>
                  <a:lnTo>
                    <a:pt x="102" y="16"/>
                  </a:lnTo>
                  <a:lnTo>
                    <a:pt x="102" y="18"/>
                  </a:lnTo>
                  <a:lnTo>
                    <a:pt x="102" y="18"/>
                  </a:lnTo>
                  <a:lnTo>
                    <a:pt x="100" y="21"/>
                  </a:lnTo>
                  <a:lnTo>
                    <a:pt x="94" y="18"/>
                  </a:lnTo>
                  <a:lnTo>
                    <a:pt x="89" y="18"/>
                  </a:lnTo>
                  <a:lnTo>
                    <a:pt x="89" y="21"/>
                  </a:lnTo>
                  <a:lnTo>
                    <a:pt x="82" y="23"/>
                  </a:lnTo>
                  <a:lnTo>
                    <a:pt x="79" y="28"/>
                  </a:lnTo>
                  <a:lnTo>
                    <a:pt x="79" y="28"/>
                  </a:lnTo>
                  <a:lnTo>
                    <a:pt x="79" y="28"/>
                  </a:lnTo>
                  <a:lnTo>
                    <a:pt x="77" y="28"/>
                  </a:lnTo>
                  <a:lnTo>
                    <a:pt x="74" y="31"/>
                  </a:lnTo>
                  <a:lnTo>
                    <a:pt x="74" y="31"/>
                  </a:lnTo>
                  <a:lnTo>
                    <a:pt x="77" y="33"/>
                  </a:lnTo>
                  <a:lnTo>
                    <a:pt x="77" y="33"/>
                  </a:lnTo>
                  <a:lnTo>
                    <a:pt x="79" y="36"/>
                  </a:lnTo>
                  <a:lnTo>
                    <a:pt x="77" y="38"/>
                  </a:lnTo>
                  <a:lnTo>
                    <a:pt x="77" y="38"/>
                  </a:lnTo>
                  <a:lnTo>
                    <a:pt x="74" y="41"/>
                  </a:lnTo>
                  <a:lnTo>
                    <a:pt x="69" y="44"/>
                  </a:lnTo>
                  <a:lnTo>
                    <a:pt x="66" y="49"/>
                  </a:lnTo>
                  <a:lnTo>
                    <a:pt x="64" y="49"/>
                  </a:lnTo>
                  <a:lnTo>
                    <a:pt x="64" y="54"/>
                  </a:lnTo>
                  <a:lnTo>
                    <a:pt x="64" y="54"/>
                  </a:lnTo>
                  <a:lnTo>
                    <a:pt x="59" y="56"/>
                  </a:lnTo>
                  <a:lnTo>
                    <a:pt x="59" y="56"/>
                  </a:lnTo>
                  <a:lnTo>
                    <a:pt x="56" y="56"/>
                  </a:lnTo>
                  <a:lnTo>
                    <a:pt x="51" y="56"/>
                  </a:lnTo>
                  <a:lnTo>
                    <a:pt x="51" y="61"/>
                  </a:lnTo>
                  <a:lnTo>
                    <a:pt x="51" y="61"/>
                  </a:lnTo>
                  <a:lnTo>
                    <a:pt x="51" y="64"/>
                  </a:lnTo>
                  <a:lnTo>
                    <a:pt x="51" y="64"/>
                  </a:lnTo>
                  <a:lnTo>
                    <a:pt x="51" y="66"/>
                  </a:lnTo>
                  <a:lnTo>
                    <a:pt x="51" y="74"/>
                  </a:lnTo>
                  <a:lnTo>
                    <a:pt x="49" y="74"/>
                  </a:lnTo>
                  <a:lnTo>
                    <a:pt x="49" y="77"/>
                  </a:lnTo>
                  <a:lnTo>
                    <a:pt x="44" y="79"/>
                  </a:lnTo>
                  <a:lnTo>
                    <a:pt x="41" y="84"/>
                  </a:lnTo>
                  <a:lnTo>
                    <a:pt x="38" y="87"/>
                  </a:lnTo>
                  <a:lnTo>
                    <a:pt x="41" y="89"/>
                  </a:lnTo>
                  <a:lnTo>
                    <a:pt x="44" y="89"/>
                  </a:lnTo>
                  <a:lnTo>
                    <a:pt x="46" y="92"/>
                  </a:lnTo>
                  <a:lnTo>
                    <a:pt x="46" y="94"/>
                  </a:lnTo>
                  <a:lnTo>
                    <a:pt x="46" y="97"/>
                  </a:lnTo>
                  <a:lnTo>
                    <a:pt x="44" y="97"/>
                  </a:lnTo>
                  <a:lnTo>
                    <a:pt x="44" y="100"/>
                  </a:lnTo>
                  <a:lnTo>
                    <a:pt x="44" y="100"/>
                  </a:lnTo>
                  <a:lnTo>
                    <a:pt x="38" y="100"/>
                  </a:lnTo>
                  <a:lnTo>
                    <a:pt x="33" y="97"/>
                  </a:lnTo>
                  <a:lnTo>
                    <a:pt x="31" y="97"/>
                  </a:lnTo>
                  <a:lnTo>
                    <a:pt x="28" y="97"/>
                  </a:lnTo>
                  <a:lnTo>
                    <a:pt x="26" y="100"/>
                  </a:lnTo>
                  <a:lnTo>
                    <a:pt x="23" y="100"/>
                  </a:lnTo>
                  <a:lnTo>
                    <a:pt x="23" y="100"/>
                  </a:lnTo>
                  <a:lnTo>
                    <a:pt x="21" y="102"/>
                  </a:lnTo>
                  <a:lnTo>
                    <a:pt x="18" y="105"/>
                  </a:lnTo>
                  <a:lnTo>
                    <a:pt x="15" y="107"/>
                  </a:lnTo>
                  <a:lnTo>
                    <a:pt x="15" y="110"/>
                  </a:lnTo>
                  <a:lnTo>
                    <a:pt x="13" y="115"/>
                  </a:lnTo>
                  <a:lnTo>
                    <a:pt x="15" y="117"/>
                  </a:lnTo>
                  <a:lnTo>
                    <a:pt x="15" y="117"/>
                  </a:lnTo>
                  <a:lnTo>
                    <a:pt x="15" y="120"/>
                  </a:lnTo>
                  <a:lnTo>
                    <a:pt x="15" y="120"/>
                  </a:lnTo>
                  <a:lnTo>
                    <a:pt x="15" y="120"/>
                  </a:lnTo>
                  <a:lnTo>
                    <a:pt x="15" y="122"/>
                  </a:lnTo>
                  <a:lnTo>
                    <a:pt x="15" y="125"/>
                  </a:lnTo>
                  <a:lnTo>
                    <a:pt x="15" y="127"/>
                  </a:lnTo>
                  <a:lnTo>
                    <a:pt x="15" y="127"/>
                  </a:lnTo>
                  <a:lnTo>
                    <a:pt x="18" y="135"/>
                  </a:lnTo>
                  <a:lnTo>
                    <a:pt x="18" y="135"/>
                  </a:lnTo>
                  <a:lnTo>
                    <a:pt x="18" y="138"/>
                  </a:lnTo>
                  <a:lnTo>
                    <a:pt x="15" y="140"/>
                  </a:lnTo>
                  <a:lnTo>
                    <a:pt x="15" y="145"/>
                  </a:lnTo>
                  <a:lnTo>
                    <a:pt x="18" y="148"/>
                  </a:lnTo>
                  <a:lnTo>
                    <a:pt x="21" y="148"/>
                  </a:lnTo>
                  <a:lnTo>
                    <a:pt x="23" y="150"/>
                  </a:lnTo>
                  <a:lnTo>
                    <a:pt x="26" y="150"/>
                  </a:lnTo>
                  <a:lnTo>
                    <a:pt x="26" y="153"/>
                  </a:lnTo>
                  <a:lnTo>
                    <a:pt x="26" y="155"/>
                  </a:lnTo>
                  <a:lnTo>
                    <a:pt x="26" y="155"/>
                  </a:lnTo>
                  <a:lnTo>
                    <a:pt x="26" y="158"/>
                  </a:lnTo>
                  <a:lnTo>
                    <a:pt x="23" y="158"/>
                  </a:lnTo>
                  <a:lnTo>
                    <a:pt x="23" y="158"/>
                  </a:lnTo>
                  <a:lnTo>
                    <a:pt x="23" y="161"/>
                  </a:lnTo>
                  <a:lnTo>
                    <a:pt x="21" y="161"/>
                  </a:lnTo>
                  <a:lnTo>
                    <a:pt x="18" y="161"/>
                  </a:lnTo>
                  <a:lnTo>
                    <a:pt x="18" y="161"/>
                  </a:lnTo>
                  <a:lnTo>
                    <a:pt x="18" y="163"/>
                  </a:lnTo>
                  <a:lnTo>
                    <a:pt x="21" y="166"/>
                  </a:lnTo>
                  <a:lnTo>
                    <a:pt x="21" y="171"/>
                  </a:lnTo>
                  <a:lnTo>
                    <a:pt x="23" y="171"/>
                  </a:lnTo>
                  <a:lnTo>
                    <a:pt x="21" y="173"/>
                  </a:lnTo>
                  <a:lnTo>
                    <a:pt x="21" y="176"/>
                  </a:lnTo>
                  <a:lnTo>
                    <a:pt x="21" y="176"/>
                  </a:lnTo>
                  <a:lnTo>
                    <a:pt x="21" y="178"/>
                  </a:lnTo>
                  <a:lnTo>
                    <a:pt x="21" y="181"/>
                  </a:lnTo>
                  <a:lnTo>
                    <a:pt x="18" y="181"/>
                  </a:lnTo>
                  <a:lnTo>
                    <a:pt x="15" y="183"/>
                  </a:lnTo>
                  <a:lnTo>
                    <a:pt x="13" y="183"/>
                  </a:lnTo>
                  <a:lnTo>
                    <a:pt x="13" y="183"/>
                  </a:lnTo>
                  <a:lnTo>
                    <a:pt x="13" y="183"/>
                  </a:lnTo>
                  <a:lnTo>
                    <a:pt x="10" y="186"/>
                  </a:lnTo>
                  <a:lnTo>
                    <a:pt x="10" y="189"/>
                  </a:lnTo>
                  <a:lnTo>
                    <a:pt x="8" y="189"/>
                  </a:lnTo>
                  <a:lnTo>
                    <a:pt x="8" y="191"/>
                  </a:lnTo>
                  <a:lnTo>
                    <a:pt x="8" y="194"/>
                  </a:lnTo>
                  <a:lnTo>
                    <a:pt x="10" y="196"/>
                  </a:lnTo>
                  <a:lnTo>
                    <a:pt x="8" y="199"/>
                  </a:lnTo>
                  <a:lnTo>
                    <a:pt x="8" y="201"/>
                  </a:lnTo>
                  <a:lnTo>
                    <a:pt x="8" y="204"/>
                  </a:lnTo>
                  <a:lnTo>
                    <a:pt x="5" y="204"/>
                  </a:lnTo>
                  <a:lnTo>
                    <a:pt x="5" y="204"/>
                  </a:lnTo>
                  <a:lnTo>
                    <a:pt x="3" y="201"/>
                  </a:lnTo>
                  <a:lnTo>
                    <a:pt x="3" y="201"/>
                  </a:lnTo>
                  <a:lnTo>
                    <a:pt x="0" y="201"/>
                  </a:lnTo>
                  <a:lnTo>
                    <a:pt x="0" y="201"/>
                  </a:lnTo>
                  <a:lnTo>
                    <a:pt x="0" y="201"/>
                  </a:lnTo>
                  <a:lnTo>
                    <a:pt x="0" y="204"/>
                  </a:lnTo>
                  <a:lnTo>
                    <a:pt x="0" y="204"/>
                  </a:lnTo>
                  <a:lnTo>
                    <a:pt x="0" y="209"/>
                  </a:lnTo>
                  <a:lnTo>
                    <a:pt x="0" y="214"/>
                  </a:lnTo>
                  <a:lnTo>
                    <a:pt x="0" y="214"/>
                  </a:lnTo>
                  <a:lnTo>
                    <a:pt x="0" y="217"/>
                  </a:lnTo>
                  <a:lnTo>
                    <a:pt x="3" y="214"/>
                  </a:lnTo>
                  <a:lnTo>
                    <a:pt x="3" y="217"/>
                  </a:lnTo>
                  <a:lnTo>
                    <a:pt x="5" y="222"/>
                  </a:lnTo>
                  <a:lnTo>
                    <a:pt x="5" y="224"/>
                  </a:lnTo>
                  <a:lnTo>
                    <a:pt x="8" y="224"/>
                  </a:lnTo>
                  <a:lnTo>
                    <a:pt x="8" y="229"/>
                  </a:lnTo>
                  <a:lnTo>
                    <a:pt x="8" y="229"/>
                  </a:lnTo>
                  <a:lnTo>
                    <a:pt x="10" y="229"/>
                  </a:lnTo>
                  <a:lnTo>
                    <a:pt x="10" y="232"/>
                  </a:lnTo>
                  <a:lnTo>
                    <a:pt x="13" y="234"/>
                  </a:lnTo>
                  <a:lnTo>
                    <a:pt x="13" y="234"/>
                  </a:lnTo>
                  <a:lnTo>
                    <a:pt x="15" y="234"/>
                  </a:lnTo>
                  <a:lnTo>
                    <a:pt x="15" y="239"/>
                  </a:lnTo>
                  <a:lnTo>
                    <a:pt x="21" y="247"/>
                  </a:lnTo>
                  <a:lnTo>
                    <a:pt x="23" y="247"/>
                  </a:lnTo>
                  <a:lnTo>
                    <a:pt x="26" y="252"/>
                  </a:lnTo>
                  <a:lnTo>
                    <a:pt x="26" y="252"/>
                  </a:lnTo>
                  <a:lnTo>
                    <a:pt x="28" y="252"/>
                  </a:lnTo>
                  <a:lnTo>
                    <a:pt x="28" y="255"/>
                  </a:lnTo>
                  <a:lnTo>
                    <a:pt x="28" y="255"/>
                  </a:lnTo>
                  <a:lnTo>
                    <a:pt x="26" y="255"/>
                  </a:lnTo>
                  <a:lnTo>
                    <a:pt x="23" y="257"/>
                  </a:lnTo>
                  <a:lnTo>
                    <a:pt x="26" y="257"/>
                  </a:lnTo>
                  <a:lnTo>
                    <a:pt x="26" y="257"/>
                  </a:lnTo>
                  <a:lnTo>
                    <a:pt x="26" y="260"/>
                  </a:lnTo>
                  <a:lnTo>
                    <a:pt x="26" y="260"/>
                  </a:lnTo>
                  <a:lnTo>
                    <a:pt x="26" y="260"/>
                  </a:lnTo>
                  <a:lnTo>
                    <a:pt x="23" y="260"/>
                  </a:lnTo>
                  <a:lnTo>
                    <a:pt x="21" y="260"/>
                  </a:lnTo>
                  <a:lnTo>
                    <a:pt x="23" y="260"/>
                  </a:lnTo>
                  <a:lnTo>
                    <a:pt x="23" y="262"/>
                  </a:lnTo>
                  <a:lnTo>
                    <a:pt x="28" y="267"/>
                  </a:lnTo>
                  <a:lnTo>
                    <a:pt x="28" y="270"/>
                  </a:lnTo>
                  <a:lnTo>
                    <a:pt x="31" y="270"/>
                  </a:lnTo>
                  <a:lnTo>
                    <a:pt x="31" y="273"/>
                  </a:lnTo>
                  <a:lnTo>
                    <a:pt x="31" y="273"/>
                  </a:lnTo>
                  <a:lnTo>
                    <a:pt x="28" y="275"/>
                  </a:lnTo>
                  <a:lnTo>
                    <a:pt x="28" y="278"/>
                  </a:lnTo>
                  <a:lnTo>
                    <a:pt x="28" y="278"/>
                  </a:lnTo>
                  <a:lnTo>
                    <a:pt x="36" y="280"/>
                  </a:lnTo>
                  <a:lnTo>
                    <a:pt x="44" y="278"/>
                  </a:lnTo>
                  <a:lnTo>
                    <a:pt x="49" y="278"/>
                  </a:lnTo>
                  <a:lnTo>
                    <a:pt x="51" y="278"/>
                  </a:lnTo>
                  <a:lnTo>
                    <a:pt x="54" y="275"/>
                  </a:lnTo>
                  <a:lnTo>
                    <a:pt x="51" y="273"/>
                  </a:lnTo>
                  <a:lnTo>
                    <a:pt x="51" y="273"/>
                  </a:lnTo>
                  <a:lnTo>
                    <a:pt x="51" y="270"/>
                  </a:lnTo>
                  <a:lnTo>
                    <a:pt x="51" y="267"/>
                  </a:lnTo>
                  <a:lnTo>
                    <a:pt x="54" y="265"/>
                  </a:lnTo>
                  <a:lnTo>
                    <a:pt x="54" y="265"/>
                  </a:lnTo>
                  <a:lnTo>
                    <a:pt x="56" y="265"/>
                  </a:lnTo>
                  <a:lnTo>
                    <a:pt x="59" y="265"/>
                  </a:lnTo>
                  <a:lnTo>
                    <a:pt x="59" y="265"/>
                  </a:lnTo>
                  <a:lnTo>
                    <a:pt x="59" y="262"/>
                  </a:lnTo>
                  <a:lnTo>
                    <a:pt x="59" y="262"/>
                  </a:lnTo>
                  <a:lnTo>
                    <a:pt x="64" y="262"/>
                  </a:lnTo>
                  <a:lnTo>
                    <a:pt x="69" y="262"/>
                  </a:lnTo>
                  <a:lnTo>
                    <a:pt x="72" y="262"/>
                  </a:lnTo>
                  <a:lnTo>
                    <a:pt x="74" y="262"/>
                  </a:lnTo>
                  <a:lnTo>
                    <a:pt x="77" y="262"/>
                  </a:lnTo>
                  <a:lnTo>
                    <a:pt x="77" y="262"/>
                  </a:lnTo>
                  <a:lnTo>
                    <a:pt x="79" y="262"/>
                  </a:lnTo>
                  <a:lnTo>
                    <a:pt x="79" y="260"/>
                  </a:lnTo>
                  <a:lnTo>
                    <a:pt x="82" y="255"/>
                  </a:lnTo>
                  <a:lnTo>
                    <a:pt x="84" y="252"/>
                  </a:lnTo>
                  <a:lnTo>
                    <a:pt x="84" y="250"/>
                  </a:lnTo>
                  <a:lnTo>
                    <a:pt x="87" y="247"/>
                  </a:lnTo>
                  <a:lnTo>
                    <a:pt x="87" y="245"/>
                  </a:lnTo>
                  <a:lnTo>
                    <a:pt x="87" y="242"/>
                  </a:lnTo>
                  <a:lnTo>
                    <a:pt x="87" y="242"/>
                  </a:lnTo>
                  <a:lnTo>
                    <a:pt x="87" y="239"/>
                  </a:lnTo>
                  <a:lnTo>
                    <a:pt x="87" y="239"/>
                  </a:lnTo>
                  <a:lnTo>
                    <a:pt x="89" y="234"/>
                  </a:lnTo>
                  <a:lnTo>
                    <a:pt x="89" y="234"/>
                  </a:lnTo>
                  <a:lnTo>
                    <a:pt x="89" y="232"/>
                  </a:lnTo>
                  <a:lnTo>
                    <a:pt x="89" y="232"/>
                  </a:lnTo>
                  <a:lnTo>
                    <a:pt x="89" y="229"/>
                  </a:lnTo>
                  <a:lnTo>
                    <a:pt x="87" y="227"/>
                  </a:lnTo>
                  <a:lnTo>
                    <a:pt x="89" y="224"/>
                  </a:lnTo>
                  <a:lnTo>
                    <a:pt x="89" y="224"/>
                  </a:lnTo>
                  <a:lnTo>
                    <a:pt x="89" y="219"/>
                  </a:lnTo>
                  <a:lnTo>
                    <a:pt x="92" y="219"/>
                  </a:lnTo>
                  <a:lnTo>
                    <a:pt x="89" y="217"/>
                  </a:lnTo>
                  <a:lnTo>
                    <a:pt x="89" y="214"/>
                  </a:lnTo>
                  <a:lnTo>
                    <a:pt x="92" y="214"/>
                  </a:lnTo>
                  <a:lnTo>
                    <a:pt x="94" y="211"/>
                  </a:lnTo>
                  <a:lnTo>
                    <a:pt x="92" y="211"/>
                  </a:lnTo>
                  <a:lnTo>
                    <a:pt x="89" y="211"/>
                  </a:lnTo>
                  <a:lnTo>
                    <a:pt x="87" y="209"/>
                  </a:lnTo>
                  <a:lnTo>
                    <a:pt x="84" y="211"/>
                  </a:lnTo>
                  <a:lnTo>
                    <a:pt x="84" y="209"/>
                  </a:lnTo>
                  <a:lnTo>
                    <a:pt x="82" y="209"/>
                  </a:lnTo>
                  <a:lnTo>
                    <a:pt x="84" y="209"/>
                  </a:lnTo>
                  <a:lnTo>
                    <a:pt x="89" y="209"/>
                  </a:lnTo>
                  <a:lnTo>
                    <a:pt x="94" y="209"/>
                  </a:lnTo>
                  <a:lnTo>
                    <a:pt x="97" y="209"/>
                  </a:lnTo>
                  <a:lnTo>
                    <a:pt x="100" y="206"/>
                  </a:lnTo>
                  <a:lnTo>
                    <a:pt x="102" y="204"/>
                  </a:lnTo>
                  <a:lnTo>
                    <a:pt x="105" y="204"/>
                  </a:lnTo>
                  <a:lnTo>
                    <a:pt x="107" y="204"/>
                  </a:lnTo>
                  <a:lnTo>
                    <a:pt x="107" y="204"/>
                  </a:lnTo>
                  <a:lnTo>
                    <a:pt x="110" y="201"/>
                  </a:lnTo>
                  <a:lnTo>
                    <a:pt x="112" y="201"/>
                  </a:lnTo>
                  <a:lnTo>
                    <a:pt x="115" y="199"/>
                  </a:lnTo>
                  <a:lnTo>
                    <a:pt x="115" y="199"/>
                  </a:lnTo>
                  <a:lnTo>
                    <a:pt x="117" y="199"/>
                  </a:lnTo>
                  <a:lnTo>
                    <a:pt x="117" y="196"/>
                  </a:lnTo>
                  <a:lnTo>
                    <a:pt x="117" y="196"/>
                  </a:lnTo>
                  <a:lnTo>
                    <a:pt x="120" y="196"/>
                  </a:lnTo>
                  <a:lnTo>
                    <a:pt x="120" y="194"/>
                  </a:lnTo>
                  <a:lnTo>
                    <a:pt x="117" y="194"/>
                  </a:lnTo>
                  <a:lnTo>
                    <a:pt x="117" y="194"/>
                  </a:lnTo>
                  <a:lnTo>
                    <a:pt x="117" y="194"/>
                  </a:lnTo>
                  <a:lnTo>
                    <a:pt x="115" y="194"/>
                  </a:lnTo>
                  <a:lnTo>
                    <a:pt x="115" y="194"/>
                  </a:lnTo>
                  <a:lnTo>
                    <a:pt x="112" y="196"/>
                  </a:lnTo>
                  <a:lnTo>
                    <a:pt x="112" y="196"/>
                  </a:lnTo>
                  <a:lnTo>
                    <a:pt x="110" y="196"/>
                  </a:lnTo>
                  <a:lnTo>
                    <a:pt x="110" y="194"/>
                  </a:lnTo>
                  <a:lnTo>
                    <a:pt x="112" y="194"/>
                  </a:lnTo>
                  <a:lnTo>
                    <a:pt x="112" y="194"/>
                  </a:lnTo>
                  <a:lnTo>
                    <a:pt x="115" y="194"/>
                  </a:lnTo>
                  <a:lnTo>
                    <a:pt x="115" y="191"/>
                  </a:lnTo>
                  <a:lnTo>
                    <a:pt x="117" y="191"/>
                  </a:lnTo>
                  <a:lnTo>
                    <a:pt x="120" y="191"/>
                  </a:lnTo>
                  <a:lnTo>
                    <a:pt x="120" y="189"/>
                  </a:lnTo>
                  <a:lnTo>
                    <a:pt x="123" y="189"/>
                  </a:lnTo>
                  <a:lnTo>
                    <a:pt x="125" y="186"/>
                  </a:lnTo>
                  <a:lnTo>
                    <a:pt x="125" y="186"/>
                  </a:lnTo>
                  <a:lnTo>
                    <a:pt x="125" y="186"/>
                  </a:lnTo>
                  <a:lnTo>
                    <a:pt x="125" y="183"/>
                  </a:lnTo>
                  <a:lnTo>
                    <a:pt x="123" y="181"/>
                  </a:lnTo>
                  <a:lnTo>
                    <a:pt x="123" y="181"/>
                  </a:lnTo>
                  <a:lnTo>
                    <a:pt x="123" y="178"/>
                  </a:lnTo>
                  <a:lnTo>
                    <a:pt x="120" y="178"/>
                  </a:lnTo>
                  <a:lnTo>
                    <a:pt x="117" y="178"/>
                  </a:lnTo>
                  <a:lnTo>
                    <a:pt x="117" y="176"/>
                  </a:lnTo>
                  <a:lnTo>
                    <a:pt x="115" y="173"/>
                  </a:lnTo>
                  <a:lnTo>
                    <a:pt x="112" y="173"/>
                  </a:lnTo>
                  <a:lnTo>
                    <a:pt x="112" y="173"/>
                  </a:lnTo>
                  <a:lnTo>
                    <a:pt x="110" y="171"/>
                  </a:lnTo>
                  <a:lnTo>
                    <a:pt x="107" y="168"/>
                  </a:lnTo>
                  <a:lnTo>
                    <a:pt x="107" y="168"/>
                  </a:lnTo>
                  <a:lnTo>
                    <a:pt x="105" y="171"/>
                  </a:lnTo>
                  <a:lnTo>
                    <a:pt x="102" y="171"/>
                  </a:lnTo>
                  <a:lnTo>
                    <a:pt x="102" y="168"/>
                  </a:lnTo>
                  <a:lnTo>
                    <a:pt x="102" y="168"/>
                  </a:lnTo>
                  <a:lnTo>
                    <a:pt x="102" y="168"/>
                  </a:lnTo>
                  <a:lnTo>
                    <a:pt x="100" y="168"/>
                  </a:lnTo>
                  <a:lnTo>
                    <a:pt x="100" y="168"/>
                  </a:lnTo>
                  <a:lnTo>
                    <a:pt x="97" y="166"/>
                  </a:lnTo>
                  <a:lnTo>
                    <a:pt x="97" y="166"/>
                  </a:lnTo>
                  <a:lnTo>
                    <a:pt x="97" y="163"/>
                  </a:lnTo>
                  <a:lnTo>
                    <a:pt x="94" y="161"/>
                  </a:lnTo>
                  <a:lnTo>
                    <a:pt x="94" y="161"/>
                  </a:lnTo>
                  <a:lnTo>
                    <a:pt x="94" y="158"/>
                  </a:lnTo>
                  <a:lnTo>
                    <a:pt x="94" y="155"/>
                  </a:lnTo>
                  <a:lnTo>
                    <a:pt x="94" y="155"/>
                  </a:lnTo>
                  <a:lnTo>
                    <a:pt x="94" y="153"/>
                  </a:lnTo>
                  <a:lnTo>
                    <a:pt x="94" y="153"/>
                  </a:lnTo>
                  <a:lnTo>
                    <a:pt x="94" y="153"/>
                  </a:lnTo>
                  <a:lnTo>
                    <a:pt x="94" y="150"/>
                  </a:lnTo>
                  <a:lnTo>
                    <a:pt x="94" y="150"/>
                  </a:lnTo>
                  <a:lnTo>
                    <a:pt x="94" y="148"/>
                  </a:lnTo>
                  <a:lnTo>
                    <a:pt x="94" y="148"/>
                  </a:lnTo>
                  <a:lnTo>
                    <a:pt x="94" y="145"/>
                  </a:lnTo>
                  <a:lnTo>
                    <a:pt x="97" y="145"/>
                  </a:lnTo>
                  <a:lnTo>
                    <a:pt x="100" y="145"/>
                  </a:lnTo>
                  <a:lnTo>
                    <a:pt x="97" y="145"/>
                  </a:lnTo>
                  <a:lnTo>
                    <a:pt x="97" y="145"/>
                  </a:lnTo>
                  <a:lnTo>
                    <a:pt x="97" y="143"/>
                  </a:lnTo>
                  <a:lnTo>
                    <a:pt x="97" y="140"/>
                  </a:lnTo>
                  <a:lnTo>
                    <a:pt x="100" y="140"/>
                  </a:lnTo>
                  <a:lnTo>
                    <a:pt x="100" y="138"/>
                  </a:lnTo>
                  <a:lnTo>
                    <a:pt x="100" y="135"/>
                  </a:lnTo>
                  <a:lnTo>
                    <a:pt x="102" y="135"/>
                  </a:lnTo>
                  <a:lnTo>
                    <a:pt x="100" y="135"/>
                  </a:lnTo>
                  <a:lnTo>
                    <a:pt x="97" y="133"/>
                  </a:lnTo>
                  <a:lnTo>
                    <a:pt x="97" y="130"/>
                  </a:lnTo>
                  <a:lnTo>
                    <a:pt x="97" y="130"/>
                  </a:lnTo>
                  <a:lnTo>
                    <a:pt x="97" y="130"/>
                  </a:lnTo>
                  <a:lnTo>
                    <a:pt x="100" y="130"/>
                  </a:lnTo>
                  <a:lnTo>
                    <a:pt x="100" y="130"/>
                  </a:lnTo>
                  <a:lnTo>
                    <a:pt x="102" y="130"/>
                  </a:lnTo>
                  <a:lnTo>
                    <a:pt x="102" y="130"/>
                  </a:lnTo>
                  <a:lnTo>
                    <a:pt x="105" y="130"/>
                  </a:lnTo>
                  <a:lnTo>
                    <a:pt x="105" y="127"/>
                  </a:lnTo>
                  <a:lnTo>
                    <a:pt x="107" y="127"/>
                  </a:lnTo>
                  <a:lnTo>
                    <a:pt x="107" y="127"/>
                  </a:lnTo>
                  <a:lnTo>
                    <a:pt x="105" y="127"/>
                  </a:lnTo>
                  <a:lnTo>
                    <a:pt x="105" y="127"/>
                  </a:lnTo>
                  <a:lnTo>
                    <a:pt x="105" y="125"/>
                  </a:lnTo>
                  <a:lnTo>
                    <a:pt x="107" y="125"/>
                  </a:lnTo>
                  <a:lnTo>
                    <a:pt x="105" y="125"/>
                  </a:lnTo>
                  <a:lnTo>
                    <a:pt x="105" y="122"/>
                  </a:lnTo>
                  <a:lnTo>
                    <a:pt x="105" y="122"/>
                  </a:lnTo>
                  <a:lnTo>
                    <a:pt x="105" y="122"/>
                  </a:lnTo>
                  <a:lnTo>
                    <a:pt x="105" y="122"/>
                  </a:lnTo>
                  <a:lnTo>
                    <a:pt x="107" y="122"/>
                  </a:lnTo>
                  <a:lnTo>
                    <a:pt x="107" y="122"/>
                  </a:lnTo>
                  <a:lnTo>
                    <a:pt x="107" y="125"/>
                  </a:lnTo>
                  <a:lnTo>
                    <a:pt x="110" y="125"/>
                  </a:lnTo>
                  <a:lnTo>
                    <a:pt x="110" y="122"/>
                  </a:lnTo>
                  <a:lnTo>
                    <a:pt x="110" y="122"/>
                  </a:lnTo>
                  <a:lnTo>
                    <a:pt x="112" y="122"/>
                  </a:lnTo>
                  <a:lnTo>
                    <a:pt x="115" y="120"/>
                  </a:lnTo>
                  <a:lnTo>
                    <a:pt x="115" y="120"/>
                  </a:lnTo>
                  <a:lnTo>
                    <a:pt x="115" y="120"/>
                  </a:lnTo>
                  <a:lnTo>
                    <a:pt x="110" y="120"/>
                  </a:lnTo>
                  <a:lnTo>
                    <a:pt x="112" y="120"/>
                  </a:lnTo>
                  <a:lnTo>
                    <a:pt x="112" y="120"/>
                  </a:lnTo>
                  <a:lnTo>
                    <a:pt x="115" y="117"/>
                  </a:lnTo>
                  <a:lnTo>
                    <a:pt x="115" y="117"/>
                  </a:lnTo>
                  <a:lnTo>
                    <a:pt x="115" y="115"/>
                  </a:lnTo>
                  <a:lnTo>
                    <a:pt x="117" y="115"/>
                  </a:lnTo>
                  <a:lnTo>
                    <a:pt x="117" y="115"/>
                  </a:lnTo>
                  <a:lnTo>
                    <a:pt x="117" y="115"/>
                  </a:lnTo>
                  <a:lnTo>
                    <a:pt x="120" y="115"/>
                  </a:lnTo>
                  <a:lnTo>
                    <a:pt x="120" y="115"/>
                  </a:lnTo>
                  <a:lnTo>
                    <a:pt x="117" y="115"/>
                  </a:lnTo>
                  <a:lnTo>
                    <a:pt x="117" y="115"/>
                  </a:lnTo>
                  <a:lnTo>
                    <a:pt x="123" y="115"/>
                  </a:lnTo>
                  <a:lnTo>
                    <a:pt x="125" y="112"/>
                  </a:lnTo>
                  <a:lnTo>
                    <a:pt x="125" y="110"/>
                  </a:lnTo>
                  <a:lnTo>
                    <a:pt x="128" y="110"/>
                  </a:lnTo>
                  <a:lnTo>
                    <a:pt x="128" y="110"/>
                  </a:lnTo>
                  <a:lnTo>
                    <a:pt x="128" y="110"/>
                  </a:lnTo>
                  <a:lnTo>
                    <a:pt x="128" y="110"/>
                  </a:lnTo>
                  <a:lnTo>
                    <a:pt x="130" y="110"/>
                  </a:lnTo>
                  <a:lnTo>
                    <a:pt x="130" y="110"/>
                  </a:lnTo>
                  <a:lnTo>
                    <a:pt x="133" y="110"/>
                  </a:lnTo>
                  <a:lnTo>
                    <a:pt x="133" y="110"/>
                  </a:lnTo>
                  <a:lnTo>
                    <a:pt x="135" y="107"/>
                  </a:lnTo>
                  <a:lnTo>
                    <a:pt x="140" y="107"/>
                  </a:lnTo>
                  <a:lnTo>
                    <a:pt x="143" y="105"/>
                  </a:lnTo>
                  <a:lnTo>
                    <a:pt x="143" y="105"/>
                  </a:lnTo>
                  <a:lnTo>
                    <a:pt x="145" y="102"/>
                  </a:lnTo>
                  <a:lnTo>
                    <a:pt x="148" y="102"/>
                  </a:lnTo>
                  <a:lnTo>
                    <a:pt x="151" y="94"/>
                  </a:lnTo>
                  <a:lnTo>
                    <a:pt x="156" y="94"/>
                  </a:lnTo>
                  <a:lnTo>
                    <a:pt x="158" y="92"/>
                  </a:lnTo>
                  <a:lnTo>
                    <a:pt x="158" y="92"/>
                  </a:lnTo>
                  <a:lnTo>
                    <a:pt x="158" y="89"/>
                  </a:lnTo>
                  <a:lnTo>
                    <a:pt x="156" y="89"/>
                  </a:lnTo>
                  <a:lnTo>
                    <a:pt x="156" y="87"/>
                  </a:lnTo>
                  <a:lnTo>
                    <a:pt x="156" y="84"/>
                  </a:lnTo>
                  <a:lnTo>
                    <a:pt x="153" y="84"/>
                  </a:lnTo>
                  <a:lnTo>
                    <a:pt x="153" y="82"/>
                  </a:lnTo>
                  <a:lnTo>
                    <a:pt x="153" y="82"/>
                  </a:lnTo>
                  <a:lnTo>
                    <a:pt x="153" y="79"/>
                  </a:lnTo>
                  <a:lnTo>
                    <a:pt x="156" y="79"/>
                  </a:lnTo>
                  <a:lnTo>
                    <a:pt x="158" y="77"/>
                  </a:lnTo>
                  <a:lnTo>
                    <a:pt x="158" y="77"/>
                  </a:lnTo>
                  <a:lnTo>
                    <a:pt x="158" y="74"/>
                  </a:lnTo>
                  <a:lnTo>
                    <a:pt x="158" y="74"/>
                  </a:lnTo>
                  <a:lnTo>
                    <a:pt x="156" y="74"/>
                  </a:lnTo>
                  <a:lnTo>
                    <a:pt x="156" y="74"/>
                  </a:lnTo>
                  <a:lnTo>
                    <a:pt x="156" y="72"/>
                  </a:lnTo>
                  <a:lnTo>
                    <a:pt x="158" y="74"/>
                  </a:lnTo>
                  <a:lnTo>
                    <a:pt x="158" y="74"/>
                  </a:lnTo>
                  <a:lnTo>
                    <a:pt x="158" y="74"/>
                  </a:lnTo>
                  <a:lnTo>
                    <a:pt x="158" y="74"/>
                  </a:lnTo>
                  <a:lnTo>
                    <a:pt x="158" y="72"/>
                  </a:lnTo>
                  <a:lnTo>
                    <a:pt x="158" y="72"/>
                  </a:lnTo>
                  <a:lnTo>
                    <a:pt x="158" y="72"/>
                  </a:lnTo>
                  <a:lnTo>
                    <a:pt x="158" y="72"/>
                  </a:lnTo>
                  <a:lnTo>
                    <a:pt x="158" y="72"/>
                  </a:lnTo>
                  <a:lnTo>
                    <a:pt x="163" y="72"/>
                  </a:lnTo>
                  <a:lnTo>
                    <a:pt x="163" y="72"/>
                  </a:lnTo>
                  <a:lnTo>
                    <a:pt x="163" y="69"/>
                  </a:lnTo>
                  <a:lnTo>
                    <a:pt x="163" y="69"/>
                  </a:lnTo>
                  <a:lnTo>
                    <a:pt x="163" y="69"/>
                  </a:lnTo>
                  <a:lnTo>
                    <a:pt x="166" y="69"/>
                  </a:lnTo>
                  <a:lnTo>
                    <a:pt x="166" y="69"/>
                  </a:lnTo>
                  <a:lnTo>
                    <a:pt x="166" y="69"/>
                  </a:lnTo>
                  <a:lnTo>
                    <a:pt x="166" y="66"/>
                  </a:lnTo>
                  <a:lnTo>
                    <a:pt x="166" y="66"/>
                  </a:lnTo>
                  <a:lnTo>
                    <a:pt x="168" y="66"/>
                  </a:lnTo>
                  <a:lnTo>
                    <a:pt x="168" y="66"/>
                  </a:lnTo>
                  <a:lnTo>
                    <a:pt x="168" y="64"/>
                  </a:lnTo>
                  <a:lnTo>
                    <a:pt x="168" y="64"/>
                  </a:lnTo>
                  <a:lnTo>
                    <a:pt x="168" y="64"/>
                  </a:lnTo>
                  <a:lnTo>
                    <a:pt x="168" y="61"/>
                  </a:lnTo>
                  <a:lnTo>
                    <a:pt x="168" y="61"/>
                  </a:lnTo>
                  <a:lnTo>
                    <a:pt x="171" y="61"/>
                  </a:lnTo>
                  <a:lnTo>
                    <a:pt x="171" y="64"/>
                  </a:lnTo>
                  <a:lnTo>
                    <a:pt x="174" y="64"/>
                  </a:lnTo>
                  <a:lnTo>
                    <a:pt x="174" y="61"/>
                  </a:lnTo>
                  <a:lnTo>
                    <a:pt x="179" y="64"/>
                  </a:lnTo>
                  <a:lnTo>
                    <a:pt x="181" y="64"/>
                  </a:lnTo>
                  <a:lnTo>
                    <a:pt x="181" y="64"/>
                  </a:lnTo>
                  <a:lnTo>
                    <a:pt x="181" y="64"/>
                  </a:lnTo>
                  <a:lnTo>
                    <a:pt x="186" y="64"/>
                  </a:lnTo>
                  <a:lnTo>
                    <a:pt x="189" y="64"/>
                  </a:lnTo>
                  <a:lnTo>
                    <a:pt x="189" y="64"/>
                  </a:lnTo>
                  <a:lnTo>
                    <a:pt x="191" y="64"/>
                  </a:lnTo>
                  <a:lnTo>
                    <a:pt x="196" y="64"/>
                  </a:lnTo>
                  <a:lnTo>
                    <a:pt x="194" y="59"/>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188" name="Freeform 1806">
              <a:extLst>
                <a:ext uri="{FF2B5EF4-FFF2-40B4-BE49-F238E27FC236}">
                  <a16:creationId xmlns:a16="http://schemas.microsoft.com/office/drawing/2014/main" id="{E2DB8947-1C17-A444-9304-69E8C08A764D}"/>
                </a:ext>
              </a:extLst>
            </p:cNvPr>
            <p:cNvSpPr>
              <a:spLocks/>
            </p:cNvSpPr>
            <p:nvPr/>
          </p:nvSpPr>
          <p:spPr bwMode="auto">
            <a:xfrm>
              <a:off x="6599856" y="4758036"/>
              <a:ext cx="42529" cy="58887"/>
            </a:xfrm>
            <a:custGeom>
              <a:avLst/>
              <a:gdLst>
                <a:gd name="T0" fmla="*/ 26 w 26"/>
                <a:gd name="T1" fmla="*/ 16 h 36"/>
                <a:gd name="T2" fmla="*/ 26 w 26"/>
                <a:gd name="T3" fmla="*/ 13 h 36"/>
                <a:gd name="T4" fmla="*/ 26 w 26"/>
                <a:gd name="T5" fmla="*/ 13 h 36"/>
                <a:gd name="T6" fmla="*/ 26 w 26"/>
                <a:gd name="T7" fmla="*/ 10 h 36"/>
                <a:gd name="T8" fmla="*/ 26 w 26"/>
                <a:gd name="T9" fmla="*/ 8 h 36"/>
                <a:gd name="T10" fmla="*/ 26 w 26"/>
                <a:gd name="T11" fmla="*/ 5 h 36"/>
                <a:gd name="T12" fmla="*/ 23 w 26"/>
                <a:gd name="T13" fmla="*/ 5 h 36"/>
                <a:gd name="T14" fmla="*/ 23 w 26"/>
                <a:gd name="T15" fmla="*/ 5 h 36"/>
                <a:gd name="T16" fmla="*/ 23 w 26"/>
                <a:gd name="T17" fmla="*/ 5 h 36"/>
                <a:gd name="T18" fmla="*/ 23 w 26"/>
                <a:gd name="T19" fmla="*/ 5 h 36"/>
                <a:gd name="T20" fmla="*/ 18 w 26"/>
                <a:gd name="T21" fmla="*/ 3 h 36"/>
                <a:gd name="T22" fmla="*/ 13 w 26"/>
                <a:gd name="T23" fmla="*/ 0 h 36"/>
                <a:gd name="T24" fmla="*/ 13 w 26"/>
                <a:gd name="T25" fmla="*/ 0 h 36"/>
                <a:gd name="T26" fmla="*/ 13 w 26"/>
                <a:gd name="T27" fmla="*/ 0 h 36"/>
                <a:gd name="T28" fmla="*/ 11 w 26"/>
                <a:gd name="T29" fmla="*/ 3 h 36"/>
                <a:gd name="T30" fmla="*/ 8 w 26"/>
                <a:gd name="T31" fmla="*/ 5 h 36"/>
                <a:gd name="T32" fmla="*/ 6 w 26"/>
                <a:gd name="T33" fmla="*/ 8 h 36"/>
                <a:gd name="T34" fmla="*/ 3 w 26"/>
                <a:gd name="T35" fmla="*/ 10 h 36"/>
                <a:gd name="T36" fmla="*/ 0 w 26"/>
                <a:gd name="T37" fmla="*/ 16 h 36"/>
                <a:gd name="T38" fmla="*/ 0 w 26"/>
                <a:gd name="T39" fmla="*/ 16 h 36"/>
                <a:gd name="T40" fmla="*/ 0 w 26"/>
                <a:gd name="T41" fmla="*/ 21 h 36"/>
                <a:gd name="T42" fmla="*/ 0 w 26"/>
                <a:gd name="T43" fmla="*/ 23 h 36"/>
                <a:gd name="T44" fmla="*/ 0 w 26"/>
                <a:gd name="T45" fmla="*/ 23 h 36"/>
                <a:gd name="T46" fmla="*/ 3 w 26"/>
                <a:gd name="T47" fmla="*/ 23 h 36"/>
                <a:gd name="T48" fmla="*/ 3 w 26"/>
                <a:gd name="T49" fmla="*/ 26 h 36"/>
                <a:gd name="T50" fmla="*/ 6 w 26"/>
                <a:gd name="T51" fmla="*/ 31 h 36"/>
                <a:gd name="T52" fmla="*/ 11 w 26"/>
                <a:gd name="T53" fmla="*/ 33 h 36"/>
                <a:gd name="T54" fmla="*/ 13 w 26"/>
                <a:gd name="T55" fmla="*/ 36 h 36"/>
                <a:gd name="T56" fmla="*/ 18 w 26"/>
                <a:gd name="T57" fmla="*/ 36 h 36"/>
                <a:gd name="T58" fmla="*/ 23 w 26"/>
                <a:gd name="T59" fmla="*/ 36 h 36"/>
                <a:gd name="T60" fmla="*/ 23 w 26"/>
                <a:gd name="T61" fmla="*/ 33 h 36"/>
                <a:gd name="T62" fmla="*/ 23 w 26"/>
                <a:gd name="T63" fmla="*/ 28 h 36"/>
                <a:gd name="T64" fmla="*/ 23 w 26"/>
                <a:gd name="T65" fmla="*/ 23 h 36"/>
                <a:gd name="T66" fmla="*/ 23 w 26"/>
                <a:gd name="T67" fmla="*/ 23 h 36"/>
                <a:gd name="T68" fmla="*/ 26 w 26"/>
                <a:gd name="T69" fmla="*/ 26 h 36"/>
                <a:gd name="T70" fmla="*/ 26 w 26"/>
                <a:gd name="T71" fmla="*/ 26 h 36"/>
                <a:gd name="T72" fmla="*/ 26 w 26"/>
                <a:gd name="T73" fmla="*/ 18 h 36"/>
                <a:gd name="T74" fmla="*/ 26 w 26"/>
                <a:gd name="T75" fmla="*/ 1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6" h="36">
                  <a:moveTo>
                    <a:pt x="26" y="16"/>
                  </a:moveTo>
                  <a:lnTo>
                    <a:pt x="26" y="13"/>
                  </a:lnTo>
                  <a:lnTo>
                    <a:pt x="26" y="13"/>
                  </a:lnTo>
                  <a:lnTo>
                    <a:pt x="26" y="10"/>
                  </a:lnTo>
                  <a:lnTo>
                    <a:pt x="26" y="8"/>
                  </a:lnTo>
                  <a:lnTo>
                    <a:pt x="26" y="5"/>
                  </a:lnTo>
                  <a:lnTo>
                    <a:pt x="23" y="5"/>
                  </a:lnTo>
                  <a:lnTo>
                    <a:pt x="23" y="5"/>
                  </a:lnTo>
                  <a:lnTo>
                    <a:pt x="23" y="5"/>
                  </a:lnTo>
                  <a:lnTo>
                    <a:pt x="23" y="5"/>
                  </a:lnTo>
                  <a:lnTo>
                    <a:pt x="18" y="3"/>
                  </a:lnTo>
                  <a:lnTo>
                    <a:pt x="13" y="0"/>
                  </a:lnTo>
                  <a:lnTo>
                    <a:pt x="13" y="0"/>
                  </a:lnTo>
                  <a:lnTo>
                    <a:pt x="13" y="0"/>
                  </a:lnTo>
                  <a:lnTo>
                    <a:pt x="11" y="3"/>
                  </a:lnTo>
                  <a:lnTo>
                    <a:pt x="8" y="5"/>
                  </a:lnTo>
                  <a:lnTo>
                    <a:pt x="6" y="8"/>
                  </a:lnTo>
                  <a:lnTo>
                    <a:pt x="3" y="10"/>
                  </a:lnTo>
                  <a:lnTo>
                    <a:pt x="0" y="16"/>
                  </a:lnTo>
                  <a:lnTo>
                    <a:pt x="0" y="16"/>
                  </a:lnTo>
                  <a:lnTo>
                    <a:pt x="0" y="21"/>
                  </a:lnTo>
                  <a:lnTo>
                    <a:pt x="0" y="23"/>
                  </a:lnTo>
                  <a:lnTo>
                    <a:pt x="0" y="23"/>
                  </a:lnTo>
                  <a:lnTo>
                    <a:pt x="3" y="23"/>
                  </a:lnTo>
                  <a:lnTo>
                    <a:pt x="3" y="26"/>
                  </a:lnTo>
                  <a:lnTo>
                    <a:pt x="6" y="31"/>
                  </a:lnTo>
                  <a:lnTo>
                    <a:pt x="11" y="33"/>
                  </a:lnTo>
                  <a:lnTo>
                    <a:pt x="13" y="36"/>
                  </a:lnTo>
                  <a:lnTo>
                    <a:pt x="18" y="36"/>
                  </a:lnTo>
                  <a:lnTo>
                    <a:pt x="23" y="36"/>
                  </a:lnTo>
                  <a:lnTo>
                    <a:pt x="23" y="33"/>
                  </a:lnTo>
                  <a:lnTo>
                    <a:pt x="23" y="28"/>
                  </a:lnTo>
                  <a:lnTo>
                    <a:pt x="23" y="23"/>
                  </a:lnTo>
                  <a:lnTo>
                    <a:pt x="23" y="23"/>
                  </a:lnTo>
                  <a:lnTo>
                    <a:pt x="26" y="26"/>
                  </a:lnTo>
                  <a:lnTo>
                    <a:pt x="26" y="26"/>
                  </a:lnTo>
                  <a:lnTo>
                    <a:pt x="26" y="18"/>
                  </a:lnTo>
                  <a:lnTo>
                    <a:pt x="26" y="16"/>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189" name="Freeform 1807">
              <a:extLst>
                <a:ext uri="{FF2B5EF4-FFF2-40B4-BE49-F238E27FC236}">
                  <a16:creationId xmlns:a16="http://schemas.microsoft.com/office/drawing/2014/main" id="{F4BCD349-95A8-D24B-9E98-34C700BDDFAB}"/>
                </a:ext>
              </a:extLst>
            </p:cNvPr>
            <p:cNvSpPr>
              <a:spLocks/>
            </p:cNvSpPr>
            <p:nvPr/>
          </p:nvSpPr>
          <p:spPr bwMode="auto">
            <a:xfrm>
              <a:off x="3699695" y="3580306"/>
              <a:ext cx="137402" cy="153759"/>
            </a:xfrm>
            <a:custGeom>
              <a:avLst/>
              <a:gdLst>
                <a:gd name="T0" fmla="*/ 81 w 84"/>
                <a:gd name="T1" fmla="*/ 10 h 94"/>
                <a:gd name="T2" fmla="*/ 81 w 84"/>
                <a:gd name="T3" fmla="*/ 3 h 94"/>
                <a:gd name="T4" fmla="*/ 66 w 84"/>
                <a:gd name="T5" fmla="*/ 0 h 94"/>
                <a:gd name="T6" fmla="*/ 51 w 84"/>
                <a:gd name="T7" fmla="*/ 0 h 94"/>
                <a:gd name="T8" fmla="*/ 46 w 84"/>
                <a:gd name="T9" fmla="*/ 3 h 94"/>
                <a:gd name="T10" fmla="*/ 38 w 84"/>
                <a:gd name="T11" fmla="*/ 0 h 94"/>
                <a:gd name="T12" fmla="*/ 23 w 84"/>
                <a:gd name="T13" fmla="*/ 0 h 94"/>
                <a:gd name="T14" fmla="*/ 20 w 84"/>
                <a:gd name="T15" fmla="*/ 8 h 94"/>
                <a:gd name="T16" fmla="*/ 18 w 84"/>
                <a:gd name="T17" fmla="*/ 10 h 94"/>
                <a:gd name="T18" fmla="*/ 18 w 84"/>
                <a:gd name="T19" fmla="*/ 13 h 94"/>
                <a:gd name="T20" fmla="*/ 18 w 84"/>
                <a:gd name="T21" fmla="*/ 15 h 94"/>
                <a:gd name="T22" fmla="*/ 18 w 84"/>
                <a:gd name="T23" fmla="*/ 18 h 94"/>
                <a:gd name="T24" fmla="*/ 18 w 84"/>
                <a:gd name="T25" fmla="*/ 20 h 94"/>
                <a:gd name="T26" fmla="*/ 12 w 84"/>
                <a:gd name="T27" fmla="*/ 20 h 94"/>
                <a:gd name="T28" fmla="*/ 7 w 84"/>
                <a:gd name="T29" fmla="*/ 23 h 94"/>
                <a:gd name="T30" fmla="*/ 5 w 84"/>
                <a:gd name="T31" fmla="*/ 23 h 94"/>
                <a:gd name="T32" fmla="*/ 5 w 84"/>
                <a:gd name="T33" fmla="*/ 28 h 94"/>
                <a:gd name="T34" fmla="*/ 5 w 84"/>
                <a:gd name="T35" fmla="*/ 33 h 94"/>
                <a:gd name="T36" fmla="*/ 2 w 84"/>
                <a:gd name="T37" fmla="*/ 38 h 94"/>
                <a:gd name="T38" fmla="*/ 2 w 84"/>
                <a:gd name="T39" fmla="*/ 43 h 94"/>
                <a:gd name="T40" fmla="*/ 5 w 84"/>
                <a:gd name="T41" fmla="*/ 51 h 94"/>
                <a:gd name="T42" fmla="*/ 7 w 84"/>
                <a:gd name="T43" fmla="*/ 56 h 94"/>
                <a:gd name="T44" fmla="*/ 10 w 84"/>
                <a:gd name="T45" fmla="*/ 59 h 94"/>
                <a:gd name="T46" fmla="*/ 12 w 84"/>
                <a:gd name="T47" fmla="*/ 59 h 94"/>
                <a:gd name="T48" fmla="*/ 15 w 84"/>
                <a:gd name="T49" fmla="*/ 61 h 94"/>
                <a:gd name="T50" fmla="*/ 18 w 84"/>
                <a:gd name="T51" fmla="*/ 64 h 94"/>
                <a:gd name="T52" fmla="*/ 18 w 84"/>
                <a:gd name="T53" fmla="*/ 69 h 94"/>
                <a:gd name="T54" fmla="*/ 18 w 84"/>
                <a:gd name="T55" fmla="*/ 71 h 94"/>
                <a:gd name="T56" fmla="*/ 20 w 84"/>
                <a:gd name="T57" fmla="*/ 71 h 94"/>
                <a:gd name="T58" fmla="*/ 20 w 84"/>
                <a:gd name="T59" fmla="*/ 74 h 94"/>
                <a:gd name="T60" fmla="*/ 23 w 84"/>
                <a:gd name="T61" fmla="*/ 79 h 94"/>
                <a:gd name="T62" fmla="*/ 23 w 84"/>
                <a:gd name="T63" fmla="*/ 82 h 94"/>
                <a:gd name="T64" fmla="*/ 25 w 84"/>
                <a:gd name="T65" fmla="*/ 87 h 94"/>
                <a:gd name="T66" fmla="*/ 30 w 84"/>
                <a:gd name="T67" fmla="*/ 89 h 94"/>
                <a:gd name="T68" fmla="*/ 33 w 84"/>
                <a:gd name="T69" fmla="*/ 92 h 94"/>
                <a:gd name="T70" fmla="*/ 40 w 84"/>
                <a:gd name="T71" fmla="*/ 94 h 94"/>
                <a:gd name="T72" fmla="*/ 43 w 84"/>
                <a:gd name="T73" fmla="*/ 89 h 94"/>
                <a:gd name="T74" fmla="*/ 40 w 84"/>
                <a:gd name="T75" fmla="*/ 87 h 94"/>
                <a:gd name="T76" fmla="*/ 38 w 84"/>
                <a:gd name="T77" fmla="*/ 82 h 94"/>
                <a:gd name="T78" fmla="*/ 40 w 84"/>
                <a:gd name="T79" fmla="*/ 82 h 94"/>
                <a:gd name="T80" fmla="*/ 43 w 84"/>
                <a:gd name="T81" fmla="*/ 79 h 94"/>
                <a:gd name="T82" fmla="*/ 46 w 84"/>
                <a:gd name="T83" fmla="*/ 82 h 94"/>
                <a:gd name="T84" fmla="*/ 56 w 84"/>
                <a:gd name="T85" fmla="*/ 79 h 94"/>
                <a:gd name="T86" fmla="*/ 58 w 84"/>
                <a:gd name="T87" fmla="*/ 76 h 94"/>
                <a:gd name="T88" fmla="*/ 61 w 84"/>
                <a:gd name="T89" fmla="*/ 76 h 94"/>
                <a:gd name="T90" fmla="*/ 63 w 84"/>
                <a:gd name="T91" fmla="*/ 79 h 94"/>
                <a:gd name="T92" fmla="*/ 66 w 84"/>
                <a:gd name="T93" fmla="*/ 79 h 94"/>
                <a:gd name="T94" fmla="*/ 69 w 84"/>
                <a:gd name="T95" fmla="*/ 82 h 94"/>
                <a:gd name="T96" fmla="*/ 69 w 84"/>
                <a:gd name="T97" fmla="*/ 82 h 94"/>
                <a:gd name="T98" fmla="*/ 71 w 84"/>
                <a:gd name="T99" fmla="*/ 79 h 94"/>
                <a:gd name="T100" fmla="*/ 79 w 84"/>
                <a:gd name="T101" fmla="*/ 71 h 94"/>
                <a:gd name="T102" fmla="*/ 79 w 84"/>
                <a:gd name="T103" fmla="*/ 64 h 94"/>
                <a:gd name="T104" fmla="*/ 81 w 84"/>
                <a:gd name="T105" fmla="*/ 56 h 94"/>
                <a:gd name="T106" fmla="*/ 81 w 84"/>
                <a:gd name="T107" fmla="*/ 54 h 94"/>
                <a:gd name="T108" fmla="*/ 79 w 84"/>
                <a:gd name="T109" fmla="*/ 48 h 94"/>
                <a:gd name="T110" fmla="*/ 76 w 84"/>
                <a:gd name="T111" fmla="*/ 43 h 94"/>
                <a:gd name="T112" fmla="*/ 74 w 84"/>
                <a:gd name="T113" fmla="*/ 41 h 94"/>
                <a:gd name="T114" fmla="*/ 74 w 84"/>
                <a:gd name="T115" fmla="*/ 33 h 94"/>
                <a:gd name="T116" fmla="*/ 74 w 84"/>
                <a:gd name="T117" fmla="*/ 28 h 94"/>
                <a:gd name="T118" fmla="*/ 74 w 84"/>
                <a:gd name="T119" fmla="*/ 23 h 94"/>
                <a:gd name="T120" fmla="*/ 76 w 84"/>
                <a:gd name="T121" fmla="*/ 18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4" h="94">
                  <a:moveTo>
                    <a:pt x="79" y="15"/>
                  </a:moveTo>
                  <a:lnTo>
                    <a:pt x="81" y="13"/>
                  </a:lnTo>
                  <a:lnTo>
                    <a:pt x="81" y="10"/>
                  </a:lnTo>
                  <a:lnTo>
                    <a:pt x="81" y="8"/>
                  </a:lnTo>
                  <a:lnTo>
                    <a:pt x="84" y="5"/>
                  </a:lnTo>
                  <a:lnTo>
                    <a:pt x="81" y="3"/>
                  </a:lnTo>
                  <a:lnTo>
                    <a:pt x="81" y="3"/>
                  </a:lnTo>
                  <a:lnTo>
                    <a:pt x="76" y="0"/>
                  </a:lnTo>
                  <a:lnTo>
                    <a:pt x="66" y="0"/>
                  </a:lnTo>
                  <a:lnTo>
                    <a:pt x="61" y="0"/>
                  </a:lnTo>
                  <a:lnTo>
                    <a:pt x="56" y="0"/>
                  </a:lnTo>
                  <a:lnTo>
                    <a:pt x="51" y="0"/>
                  </a:lnTo>
                  <a:lnTo>
                    <a:pt x="48" y="0"/>
                  </a:lnTo>
                  <a:lnTo>
                    <a:pt x="46" y="0"/>
                  </a:lnTo>
                  <a:lnTo>
                    <a:pt x="46" y="3"/>
                  </a:lnTo>
                  <a:lnTo>
                    <a:pt x="46" y="5"/>
                  </a:lnTo>
                  <a:lnTo>
                    <a:pt x="46" y="3"/>
                  </a:lnTo>
                  <a:lnTo>
                    <a:pt x="38" y="0"/>
                  </a:lnTo>
                  <a:lnTo>
                    <a:pt x="33" y="0"/>
                  </a:lnTo>
                  <a:lnTo>
                    <a:pt x="25" y="0"/>
                  </a:lnTo>
                  <a:lnTo>
                    <a:pt x="23" y="0"/>
                  </a:lnTo>
                  <a:lnTo>
                    <a:pt x="20" y="3"/>
                  </a:lnTo>
                  <a:lnTo>
                    <a:pt x="20" y="5"/>
                  </a:lnTo>
                  <a:lnTo>
                    <a:pt x="20" y="8"/>
                  </a:lnTo>
                  <a:lnTo>
                    <a:pt x="20" y="10"/>
                  </a:lnTo>
                  <a:lnTo>
                    <a:pt x="20" y="8"/>
                  </a:lnTo>
                  <a:lnTo>
                    <a:pt x="18" y="10"/>
                  </a:lnTo>
                  <a:lnTo>
                    <a:pt x="18" y="10"/>
                  </a:lnTo>
                  <a:lnTo>
                    <a:pt x="18" y="13"/>
                  </a:lnTo>
                  <a:lnTo>
                    <a:pt x="18" y="13"/>
                  </a:lnTo>
                  <a:lnTo>
                    <a:pt x="18" y="15"/>
                  </a:lnTo>
                  <a:lnTo>
                    <a:pt x="18" y="15"/>
                  </a:lnTo>
                  <a:lnTo>
                    <a:pt x="18" y="15"/>
                  </a:lnTo>
                  <a:lnTo>
                    <a:pt x="18" y="15"/>
                  </a:lnTo>
                  <a:lnTo>
                    <a:pt x="18" y="18"/>
                  </a:lnTo>
                  <a:lnTo>
                    <a:pt x="18" y="18"/>
                  </a:lnTo>
                  <a:lnTo>
                    <a:pt x="18" y="18"/>
                  </a:lnTo>
                  <a:lnTo>
                    <a:pt x="18" y="18"/>
                  </a:lnTo>
                  <a:lnTo>
                    <a:pt x="18" y="20"/>
                  </a:lnTo>
                  <a:lnTo>
                    <a:pt x="15" y="20"/>
                  </a:lnTo>
                  <a:lnTo>
                    <a:pt x="15" y="20"/>
                  </a:lnTo>
                  <a:lnTo>
                    <a:pt x="12" y="20"/>
                  </a:lnTo>
                  <a:lnTo>
                    <a:pt x="10" y="20"/>
                  </a:lnTo>
                  <a:lnTo>
                    <a:pt x="7" y="20"/>
                  </a:lnTo>
                  <a:lnTo>
                    <a:pt x="7" y="23"/>
                  </a:lnTo>
                  <a:lnTo>
                    <a:pt x="7" y="23"/>
                  </a:lnTo>
                  <a:lnTo>
                    <a:pt x="5" y="23"/>
                  </a:lnTo>
                  <a:lnTo>
                    <a:pt x="5" y="23"/>
                  </a:lnTo>
                  <a:lnTo>
                    <a:pt x="5" y="26"/>
                  </a:lnTo>
                  <a:lnTo>
                    <a:pt x="5" y="26"/>
                  </a:lnTo>
                  <a:lnTo>
                    <a:pt x="5" y="28"/>
                  </a:lnTo>
                  <a:lnTo>
                    <a:pt x="5" y="28"/>
                  </a:lnTo>
                  <a:lnTo>
                    <a:pt x="5" y="31"/>
                  </a:lnTo>
                  <a:lnTo>
                    <a:pt x="5" y="33"/>
                  </a:lnTo>
                  <a:lnTo>
                    <a:pt x="5" y="33"/>
                  </a:lnTo>
                  <a:lnTo>
                    <a:pt x="2" y="36"/>
                  </a:lnTo>
                  <a:lnTo>
                    <a:pt x="2" y="38"/>
                  </a:lnTo>
                  <a:lnTo>
                    <a:pt x="2" y="41"/>
                  </a:lnTo>
                  <a:lnTo>
                    <a:pt x="0" y="41"/>
                  </a:lnTo>
                  <a:lnTo>
                    <a:pt x="2" y="43"/>
                  </a:lnTo>
                  <a:lnTo>
                    <a:pt x="5" y="48"/>
                  </a:lnTo>
                  <a:lnTo>
                    <a:pt x="5" y="48"/>
                  </a:lnTo>
                  <a:lnTo>
                    <a:pt x="5" y="51"/>
                  </a:lnTo>
                  <a:lnTo>
                    <a:pt x="7" y="54"/>
                  </a:lnTo>
                  <a:lnTo>
                    <a:pt x="10" y="56"/>
                  </a:lnTo>
                  <a:lnTo>
                    <a:pt x="7" y="56"/>
                  </a:lnTo>
                  <a:lnTo>
                    <a:pt x="10" y="59"/>
                  </a:lnTo>
                  <a:lnTo>
                    <a:pt x="10" y="59"/>
                  </a:lnTo>
                  <a:lnTo>
                    <a:pt x="10" y="59"/>
                  </a:lnTo>
                  <a:lnTo>
                    <a:pt x="12" y="59"/>
                  </a:lnTo>
                  <a:lnTo>
                    <a:pt x="12" y="59"/>
                  </a:lnTo>
                  <a:lnTo>
                    <a:pt x="12" y="59"/>
                  </a:lnTo>
                  <a:lnTo>
                    <a:pt x="15" y="59"/>
                  </a:lnTo>
                  <a:lnTo>
                    <a:pt x="15" y="59"/>
                  </a:lnTo>
                  <a:lnTo>
                    <a:pt x="15" y="61"/>
                  </a:lnTo>
                  <a:lnTo>
                    <a:pt x="15" y="64"/>
                  </a:lnTo>
                  <a:lnTo>
                    <a:pt x="18" y="64"/>
                  </a:lnTo>
                  <a:lnTo>
                    <a:pt x="18" y="64"/>
                  </a:lnTo>
                  <a:lnTo>
                    <a:pt x="18" y="66"/>
                  </a:lnTo>
                  <a:lnTo>
                    <a:pt x="18" y="66"/>
                  </a:lnTo>
                  <a:lnTo>
                    <a:pt x="18" y="69"/>
                  </a:lnTo>
                  <a:lnTo>
                    <a:pt x="18" y="69"/>
                  </a:lnTo>
                  <a:lnTo>
                    <a:pt x="18" y="71"/>
                  </a:lnTo>
                  <a:lnTo>
                    <a:pt x="18" y="71"/>
                  </a:lnTo>
                  <a:lnTo>
                    <a:pt x="20" y="71"/>
                  </a:lnTo>
                  <a:lnTo>
                    <a:pt x="20" y="71"/>
                  </a:lnTo>
                  <a:lnTo>
                    <a:pt x="20" y="71"/>
                  </a:lnTo>
                  <a:lnTo>
                    <a:pt x="20" y="74"/>
                  </a:lnTo>
                  <a:lnTo>
                    <a:pt x="20" y="74"/>
                  </a:lnTo>
                  <a:lnTo>
                    <a:pt x="20" y="74"/>
                  </a:lnTo>
                  <a:lnTo>
                    <a:pt x="20" y="76"/>
                  </a:lnTo>
                  <a:lnTo>
                    <a:pt x="23" y="76"/>
                  </a:lnTo>
                  <a:lnTo>
                    <a:pt x="23" y="79"/>
                  </a:lnTo>
                  <a:lnTo>
                    <a:pt x="23" y="79"/>
                  </a:lnTo>
                  <a:lnTo>
                    <a:pt x="23" y="82"/>
                  </a:lnTo>
                  <a:lnTo>
                    <a:pt x="23" y="82"/>
                  </a:lnTo>
                  <a:lnTo>
                    <a:pt x="25" y="84"/>
                  </a:lnTo>
                  <a:lnTo>
                    <a:pt x="25" y="84"/>
                  </a:lnTo>
                  <a:lnTo>
                    <a:pt x="25" y="87"/>
                  </a:lnTo>
                  <a:lnTo>
                    <a:pt x="28" y="89"/>
                  </a:lnTo>
                  <a:lnTo>
                    <a:pt x="28" y="89"/>
                  </a:lnTo>
                  <a:lnTo>
                    <a:pt x="30" y="89"/>
                  </a:lnTo>
                  <a:lnTo>
                    <a:pt x="30" y="89"/>
                  </a:lnTo>
                  <a:lnTo>
                    <a:pt x="30" y="92"/>
                  </a:lnTo>
                  <a:lnTo>
                    <a:pt x="33" y="92"/>
                  </a:lnTo>
                  <a:lnTo>
                    <a:pt x="33" y="92"/>
                  </a:lnTo>
                  <a:lnTo>
                    <a:pt x="35" y="92"/>
                  </a:lnTo>
                  <a:lnTo>
                    <a:pt x="40" y="94"/>
                  </a:lnTo>
                  <a:lnTo>
                    <a:pt x="43" y="92"/>
                  </a:lnTo>
                  <a:lnTo>
                    <a:pt x="43" y="92"/>
                  </a:lnTo>
                  <a:lnTo>
                    <a:pt x="43" y="89"/>
                  </a:lnTo>
                  <a:lnTo>
                    <a:pt x="43" y="89"/>
                  </a:lnTo>
                  <a:lnTo>
                    <a:pt x="43" y="87"/>
                  </a:lnTo>
                  <a:lnTo>
                    <a:pt x="40" y="87"/>
                  </a:lnTo>
                  <a:lnTo>
                    <a:pt x="40" y="84"/>
                  </a:lnTo>
                  <a:lnTo>
                    <a:pt x="38" y="84"/>
                  </a:lnTo>
                  <a:lnTo>
                    <a:pt x="38" y="82"/>
                  </a:lnTo>
                  <a:lnTo>
                    <a:pt x="40" y="82"/>
                  </a:lnTo>
                  <a:lnTo>
                    <a:pt x="40" y="82"/>
                  </a:lnTo>
                  <a:lnTo>
                    <a:pt x="40" y="82"/>
                  </a:lnTo>
                  <a:lnTo>
                    <a:pt x="40" y="79"/>
                  </a:lnTo>
                  <a:lnTo>
                    <a:pt x="43" y="79"/>
                  </a:lnTo>
                  <a:lnTo>
                    <a:pt x="43" y="79"/>
                  </a:lnTo>
                  <a:lnTo>
                    <a:pt x="43" y="79"/>
                  </a:lnTo>
                  <a:lnTo>
                    <a:pt x="43" y="79"/>
                  </a:lnTo>
                  <a:lnTo>
                    <a:pt x="46" y="82"/>
                  </a:lnTo>
                  <a:lnTo>
                    <a:pt x="48" y="79"/>
                  </a:lnTo>
                  <a:lnTo>
                    <a:pt x="53" y="79"/>
                  </a:lnTo>
                  <a:lnTo>
                    <a:pt x="56" y="79"/>
                  </a:lnTo>
                  <a:lnTo>
                    <a:pt x="56" y="79"/>
                  </a:lnTo>
                  <a:lnTo>
                    <a:pt x="58" y="76"/>
                  </a:lnTo>
                  <a:lnTo>
                    <a:pt x="58" y="76"/>
                  </a:lnTo>
                  <a:lnTo>
                    <a:pt x="58" y="76"/>
                  </a:lnTo>
                  <a:lnTo>
                    <a:pt x="61" y="76"/>
                  </a:lnTo>
                  <a:lnTo>
                    <a:pt x="61" y="76"/>
                  </a:lnTo>
                  <a:lnTo>
                    <a:pt x="61" y="76"/>
                  </a:lnTo>
                  <a:lnTo>
                    <a:pt x="63" y="76"/>
                  </a:lnTo>
                  <a:lnTo>
                    <a:pt x="63" y="79"/>
                  </a:lnTo>
                  <a:lnTo>
                    <a:pt x="63" y="79"/>
                  </a:lnTo>
                  <a:lnTo>
                    <a:pt x="63" y="79"/>
                  </a:lnTo>
                  <a:lnTo>
                    <a:pt x="66" y="79"/>
                  </a:lnTo>
                  <a:lnTo>
                    <a:pt x="66" y="79"/>
                  </a:lnTo>
                  <a:lnTo>
                    <a:pt x="69" y="82"/>
                  </a:lnTo>
                  <a:lnTo>
                    <a:pt x="69" y="82"/>
                  </a:lnTo>
                  <a:lnTo>
                    <a:pt x="69" y="82"/>
                  </a:lnTo>
                  <a:lnTo>
                    <a:pt x="69" y="82"/>
                  </a:lnTo>
                  <a:lnTo>
                    <a:pt x="69" y="82"/>
                  </a:lnTo>
                  <a:lnTo>
                    <a:pt x="71" y="82"/>
                  </a:lnTo>
                  <a:lnTo>
                    <a:pt x="71" y="82"/>
                  </a:lnTo>
                  <a:lnTo>
                    <a:pt x="71" y="79"/>
                  </a:lnTo>
                  <a:lnTo>
                    <a:pt x="74" y="79"/>
                  </a:lnTo>
                  <a:lnTo>
                    <a:pt x="76" y="74"/>
                  </a:lnTo>
                  <a:lnTo>
                    <a:pt x="79" y="71"/>
                  </a:lnTo>
                  <a:lnTo>
                    <a:pt x="79" y="69"/>
                  </a:lnTo>
                  <a:lnTo>
                    <a:pt x="79" y="66"/>
                  </a:lnTo>
                  <a:lnTo>
                    <a:pt x="79" y="64"/>
                  </a:lnTo>
                  <a:lnTo>
                    <a:pt x="79" y="64"/>
                  </a:lnTo>
                  <a:lnTo>
                    <a:pt x="81" y="59"/>
                  </a:lnTo>
                  <a:lnTo>
                    <a:pt x="81" y="56"/>
                  </a:lnTo>
                  <a:lnTo>
                    <a:pt x="81" y="56"/>
                  </a:lnTo>
                  <a:lnTo>
                    <a:pt x="81" y="54"/>
                  </a:lnTo>
                  <a:lnTo>
                    <a:pt x="81" y="54"/>
                  </a:lnTo>
                  <a:lnTo>
                    <a:pt x="81" y="54"/>
                  </a:lnTo>
                  <a:lnTo>
                    <a:pt x="81" y="51"/>
                  </a:lnTo>
                  <a:lnTo>
                    <a:pt x="79" y="48"/>
                  </a:lnTo>
                  <a:lnTo>
                    <a:pt x="79" y="48"/>
                  </a:lnTo>
                  <a:lnTo>
                    <a:pt x="76" y="46"/>
                  </a:lnTo>
                  <a:lnTo>
                    <a:pt x="76" y="43"/>
                  </a:lnTo>
                  <a:lnTo>
                    <a:pt x="76" y="41"/>
                  </a:lnTo>
                  <a:lnTo>
                    <a:pt x="76" y="41"/>
                  </a:lnTo>
                  <a:lnTo>
                    <a:pt x="74" y="41"/>
                  </a:lnTo>
                  <a:lnTo>
                    <a:pt x="74" y="38"/>
                  </a:lnTo>
                  <a:lnTo>
                    <a:pt x="74" y="36"/>
                  </a:lnTo>
                  <a:lnTo>
                    <a:pt x="74" y="33"/>
                  </a:lnTo>
                  <a:lnTo>
                    <a:pt x="74" y="33"/>
                  </a:lnTo>
                  <a:lnTo>
                    <a:pt x="74" y="31"/>
                  </a:lnTo>
                  <a:lnTo>
                    <a:pt x="74" y="28"/>
                  </a:lnTo>
                  <a:lnTo>
                    <a:pt x="74" y="28"/>
                  </a:lnTo>
                  <a:lnTo>
                    <a:pt x="74" y="26"/>
                  </a:lnTo>
                  <a:lnTo>
                    <a:pt x="74" y="23"/>
                  </a:lnTo>
                  <a:lnTo>
                    <a:pt x="74" y="23"/>
                  </a:lnTo>
                  <a:lnTo>
                    <a:pt x="74" y="20"/>
                  </a:lnTo>
                  <a:lnTo>
                    <a:pt x="76" y="18"/>
                  </a:lnTo>
                  <a:lnTo>
                    <a:pt x="79" y="15"/>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190" name="Freeform 1808">
              <a:extLst>
                <a:ext uri="{FF2B5EF4-FFF2-40B4-BE49-F238E27FC236}">
                  <a16:creationId xmlns:a16="http://schemas.microsoft.com/office/drawing/2014/main" id="{B4ABFB47-F263-EA45-87AF-755D930386E3}"/>
                </a:ext>
              </a:extLst>
            </p:cNvPr>
            <p:cNvSpPr>
              <a:spLocks/>
            </p:cNvSpPr>
            <p:nvPr/>
          </p:nvSpPr>
          <p:spPr bwMode="auto">
            <a:xfrm>
              <a:off x="6321780" y="2976719"/>
              <a:ext cx="541429" cy="503807"/>
            </a:xfrm>
            <a:custGeom>
              <a:avLst/>
              <a:gdLst>
                <a:gd name="T0" fmla="*/ 321 w 331"/>
                <a:gd name="T1" fmla="*/ 87 h 308"/>
                <a:gd name="T2" fmla="*/ 303 w 331"/>
                <a:gd name="T3" fmla="*/ 59 h 308"/>
                <a:gd name="T4" fmla="*/ 300 w 331"/>
                <a:gd name="T5" fmla="*/ 28 h 308"/>
                <a:gd name="T6" fmla="*/ 298 w 331"/>
                <a:gd name="T7" fmla="*/ 21 h 308"/>
                <a:gd name="T8" fmla="*/ 267 w 331"/>
                <a:gd name="T9" fmla="*/ 5 h 308"/>
                <a:gd name="T10" fmla="*/ 211 w 331"/>
                <a:gd name="T11" fmla="*/ 5 h 308"/>
                <a:gd name="T12" fmla="*/ 188 w 331"/>
                <a:gd name="T13" fmla="*/ 0 h 308"/>
                <a:gd name="T14" fmla="*/ 165 w 331"/>
                <a:gd name="T15" fmla="*/ 5 h 308"/>
                <a:gd name="T16" fmla="*/ 112 w 331"/>
                <a:gd name="T17" fmla="*/ 5 h 308"/>
                <a:gd name="T18" fmla="*/ 61 w 331"/>
                <a:gd name="T19" fmla="*/ 28 h 308"/>
                <a:gd name="T20" fmla="*/ 56 w 331"/>
                <a:gd name="T21" fmla="*/ 51 h 308"/>
                <a:gd name="T22" fmla="*/ 41 w 331"/>
                <a:gd name="T23" fmla="*/ 61 h 308"/>
                <a:gd name="T24" fmla="*/ 43 w 331"/>
                <a:gd name="T25" fmla="*/ 132 h 308"/>
                <a:gd name="T26" fmla="*/ 35 w 331"/>
                <a:gd name="T27" fmla="*/ 145 h 308"/>
                <a:gd name="T28" fmla="*/ 23 w 331"/>
                <a:gd name="T29" fmla="*/ 158 h 308"/>
                <a:gd name="T30" fmla="*/ 18 w 331"/>
                <a:gd name="T31" fmla="*/ 168 h 308"/>
                <a:gd name="T32" fmla="*/ 12 w 331"/>
                <a:gd name="T33" fmla="*/ 176 h 308"/>
                <a:gd name="T34" fmla="*/ 15 w 331"/>
                <a:gd name="T35" fmla="*/ 183 h 308"/>
                <a:gd name="T36" fmla="*/ 7 w 331"/>
                <a:gd name="T37" fmla="*/ 191 h 308"/>
                <a:gd name="T38" fmla="*/ 7 w 331"/>
                <a:gd name="T39" fmla="*/ 204 h 308"/>
                <a:gd name="T40" fmla="*/ 2 w 331"/>
                <a:gd name="T41" fmla="*/ 216 h 308"/>
                <a:gd name="T42" fmla="*/ 12 w 331"/>
                <a:gd name="T43" fmla="*/ 222 h 308"/>
                <a:gd name="T44" fmla="*/ 15 w 331"/>
                <a:gd name="T45" fmla="*/ 239 h 308"/>
                <a:gd name="T46" fmla="*/ 23 w 331"/>
                <a:gd name="T47" fmla="*/ 247 h 308"/>
                <a:gd name="T48" fmla="*/ 30 w 331"/>
                <a:gd name="T49" fmla="*/ 267 h 308"/>
                <a:gd name="T50" fmla="*/ 38 w 331"/>
                <a:gd name="T51" fmla="*/ 293 h 308"/>
                <a:gd name="T52" fmla="*/ 35 w 331"/>
                <a:gd name="T53" fmla="*/ 303 h 308"/>
                <a:gd name="T54" fmla="*/ 51 w 331"/>
                <a:gd name="T55" fmla="*/ 306 h 308"/>
                <a:gd name="T56" fmla="*/ 58 w 331"/>
                <a:gd name="T57" fmla="*/ 295 h 308"/>
                <a:gd name="T58" fmla="*/ 61 w 331"/>
                <a:gd name="T59" fmla="*/ 283 h 308"/>
                <a:gd name="T60" fmla="*/ 66 w 331"/>
                <a:gd name="T61" fmla="*/ 270 h 308"/>
                <a:gd name="T62" fmla="*/ 84 w 331"/>
                <a:gd name="T63" fmla="*/ 272 h 308"/>
                <a:gd name="T64" fmla="*/ 97 w 331"/>
                <a:gd name="T65" fmla="*/ 288 h 308"/>
                <a:gd name="T66" fmla="*/ 122 w 331"/>
                <a:gd name="T67" fmla="*/ 285 h 308"/>
                <a:gd name="T68" fmla="*/ 145 w 331"/>
                <a:gd name="T69" fmla="*/ 285 h 308"/>
                <a:gd name="T70" fmla="*/ 158 w 331"/>
                <a:gd name="T71" fmla="*/ 278 h 308"/>
                <a:gd name="T72" fmla="*/ 181 w 331"/>
                <a:gd name="T73" fmla="*/ 283 h 308"/>
                <a:gd name="T74" fmla="*/ 183 w 331"/>
                <a:gd name="T75" fmla="*/ 283 h 308"/>
                <a:gd name="T76" fmla="*/ 204 w 331"/>
                <a:gd name="T77" fmla="*/ 262 h 308"/>
                <a:gd name="T78" fmla="*/ 211 w 331"/>
                <a:gd name="T79" fmla="*/ 244 h 308"/>
                <a:gd name="T80" fmla="*/ 219 w 331"/>
                <a:gd name="T81" fmla="*/ 232 h 308"/>
                <a:gd name="T82" fmla="*/ 219 w 331"/>
                <a:gd name="T83" fmla="*/ 227 h 308"/>
                <a:gd name="T84" fmla="*/ 229 w 331"/>
                <a:gd name="T85" fmla="*/ 227 h 308"/>
                <a:gd name="T86" fmla="*/ 227 w 331"/>
                <a:gd name="T87" fmla="*/ 239 h 308"/>
                <a:gd name="T88" fmla="*/ 229 w 331"/>
                <a:gd name="T89" fmla="*/ 257 h 308"/>
                <a:gd name="T90" fmla="*/ 232 w 331"/>
                <a:gd name="T91" fmla="*/ 262 h 308"/>
                <a:gd name="T92" fmla="*/ 244 w 331"/>
                <a:gd name="T93" fmla="*/ 278 h 308"/>
                <a:gd name="T94" fmla="*/ 244 w 331"/>
                <a:gd name="T95" fmla="*/ 280 h 308"/>
                <a:gd name="T96" fmla="*/ 244 w 331"/>
                <a:gd name="T97" fmla="*/ 290 h 308"/>
                <a:gd name="T98" fmla="*/ 249 w 331"/>
                <a:gd name="T99" fmla="*/ 280 h 308"/>
                <a:gd name="T100" fmla="*/ 255 w 331"/>
                <a:gd name="T101" fmla="*/ 260 h 308"/>
                <a:gd name="T102" fmla="*/ 262 w 331"/>
                <a:gd name="T103" fmla="*/ 260 h 308"/>
                <a:gd name="T104" fmla="*/ 267 w 331"/>
                <a:gd name="T105" fmla="*/ 237 h 308"/>
                <a:gd name="T106" fmla="*/ 278 w 331"/>
                <a:gd name="T107" fmla="*/ 216 h 308"/>
                <a:gd name="T108" fmla="*/ 288 w 331"/>
                <a:gd name="T109" fmla="*/ 206 h 308"/>
                <a:gd name="T110" fmla="*/ 293 w 331"/>
                <a:gd name="T111" fmla="*/ 186 h 308"/>
                <a:gd name="T112" fmla="*/ 293 w 331"/>
                <a:gd name="T113" fmla="*/ 155 h 308"/>
                <a:gd name="T114" fmla="*/ 298 w 331"/>
                <a:gd name="T115" fmla="*/ 127 h 308"/>
                <a:gd name="T116" fmla="*/ 303 w 331"/>
                <a:gd name="T117" fmla="*/ 117 h 308"/>
                <a:gd name="T118" fmla="*/ 313 w 331"/>
                <a:gd name="T119" fmla="*/ 110 h 308"/>
                <a:gd name="T120" fmla="*/ 318 w 331"/>
                <a:gd name="T121" fmla="*/ 107 h 308"/>
                <a:gd name="T122" fmla="*/ 326 w 331"/>
                <a:gd name="T123" fmla="*/ 105 h 308"/>
                <a:gd name="T124" fmla="*/ 331 w 331"/>
                <a:gd name="T125" fmla="*/ 97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31" h="308">
                  <a:moveTo>
                    <a:pt x="331" y="94"/>
                  </a:moveTo>
                  <a:lnTo>
                    <a:pt x="326" y="89"/>
                  </a:lnTo>
                  <a:lnTo>
                    <a:pt x="326" y="89"/>
                  </a:lnTo>
                  <a:lnTo>
                    <a:pt x="326" y="89"/>
                  </a:lnTo>
                  <a:lnTo>
                    <a:pt x="323" y="89"/>
                  </a:lnTo>
                  <a:lnTo>
                    <a:pt x="323" y="87"/>
                  </a:lnTo>
                  <a:lnTo>
                    <a:pt x="321" y="87"/>
                  </a:lnTo>
                  <a:lnTo>
                    <a:pt x="318" y="82"/>
                  </a:lnTo>
                  <a:lnTo>
                    <a:pt x="313" y="79"/>
                  </a:lnTo>
                  <a:lnTo>
                    <a:pt x="311" y="79"/>
                  </a:lnTo>
                  <a:lnTo>
                    <a:pt x="311" y="79"/>
                  </a:lnTo>
                  <a:lnTo>
                    <a:pt x="308" y="77"/>
                  </a:lnTo>
                  <a:lnTo>
                    <a:pt x="306" y="71"/>
                  </a:lnTo>
                  <a:lnTo>
                    <a:pt x="303" y="59"/>
                  </a:lnTo>
                  <a:lnTo>
                    <a:pt x="303" y="54"/>
                  </a:lnTo>
                  <a:lnTo>
                    <a:pt x="303" y="46"/>
                  </a:lnTo>
                  <a:lnTo>
                    <a:pt x="303" y="41"/>
                  </a:lnTo>
                  <a:lnTo>
                    <a:pt x="303" y="36"/>
                  </a:lnTo>
                  <a:lnTo>
                    <a:pt x="300" y="33"/>
                  </a:lnTo>
                  <a:lnTo>
                    <a:pt x="300" y="28"/>
                  </a:lnTo>
                  <a:lnTo>
                    <a:pt x="300" y="28"/>
                  </a:lnTo>
                  <a:lnTo>
                    <a:pt x="300" y="26"/>
                  </a:lnTo>
                  <a:lnTo>
                    <a:pt x="300" y="26"/>
                  </a:lnTo>
                  <a:lnTo>
                    <a:pt x="303" y="26"/>
                  </a:lnTo>
                  <a:lnTo>
                    <a:pt x="303" y="26"/>
                  </a:lnTo>
                  <a:lnTo>
                    <a:pt x="303" y="26"/>
                  </a:lnTo>
                  <a:lnTo>
                    <a:pt x="300" y="23"/>
                  </a:lnTo>
                  <a:lnTo>
                    <a:pt x="298" y="21"/>
                  </a:lnTo>
                  <a:lnTo>
                    <a:pt x="295" y="13"/>
                  </a:lnTo>
                  <a:lnTo>
                    <a:pt x="295" y="10"/>
                  </a:lnTo>
                  <a:lnTo>
                    <a:pt x="293" y="5"/>
                  </a:lnTo>
                  <a:lnTo>
                    <a:pt x="288" y="5"/>
                  </a:lnTo>
                  <a:lnTo>
                    <a:pt x="280" y="5"/>
                  </a:lnTo>
                  <a:lnTo>
                    <a:pt x="275" y="5"/>
                  </a:lnTo>
                  <a:lnTo>
                    <a:pt x="267" y="5"/>
                  </a:lnTo>
                  <a:lnTo>
                    <a:pt x="262" y="5"/>
                  </a:lnTo>
                  <a:lnTo>
                    <a:pt x="255" y="5"/>
                  </a:lnTo>
                  <a:lnTo>
                    <a:pt x="249" y="5"/>
                  </a:lnTo>
                  <a:lnTo>
                    <a:pt x="242" y="5"/>
                  </a:lnTo>
                  <a:lnTo>
                    <a:pt x="237" y="5"/>
                  </a:lnTo>
                  <a:lnTo>
                    <a:pt x="216" y="5"/>
                  </a:lnTo>
                  <a:lnTo>
                    <a:pt x="211" y="5"/>
                  </a:lnTo>
                  <a:lnTo>
                    <a:pt x="204" y="5"/>
                  </a:lnTo>
                  <a:lnTo>
                    <a:pt x="196" y="5"/>
                  </a:lnTo>
                  <a:lnTo>
                    <a:pt x="191" y="5"/>
                  </a:lnTo>
                  <a:lnTo>
                    <a:pt x="188" y="5"/>
                  </a:lnTo>
                  <a:lnTo>
                    <a:pt x="188" y="3"/>
                  </a:lnTo>
                  <a:lnTo>
                    <a:pt x="188" y="0"/>
                  </a:lnTo>
                  <a:lnTo>
                    <a:pt x="188" y="0"/>
                  </a:lnTo>
                  <a:lnTo>
                    <a:pt x="186" y="0"/>
                  </a:lnTo>
                  <a:lnTo>
                    <a:pt x="186" y="0"/>
                  </a:lnTo>
                  <a:lnTo>
                    <a:pt x="183" y="5"/>
                  </a:lnTo>
                  <a:lnTo>
                    <a:pt x="183" y="5"/>
                  </a:lnTo>
                  <a:lnTo>
                    <a:pt x="181" y="5"/>
                  </a:lnTo>
                  <a:lnTo>
                    <a:pt x="173" y="5"/>
                  </a:lnTo>
                  <a:lnTo>
                    <a:pt x="165" y="5"/>
                  </a:lnTo>
                  <a:lnTo>
                    <a:pt x="158" y="5"/>
                  </a:lnTo>
                  <a:lnTo>
                    <a:pt x="150" y="5"/>
                  </a:lnTo>
                  <a:lnTo>
                    <a:pt x="142" y="5"/>
                  </a:lnTo>
                  <a:lnTo>
                    <a:pt x="135" y="5"/>
                  </a:lnTo>
                  <a:lnTo>
                    <a:pt x="127" y="5"/>
                  </a:lnTo>
                  <a:lnTo>
                    <a:pt x="120" y="5"/>
                  </a:lnTo>
                  <a:lnTo>
                    <a:pt x="112" y="5"/>
                  </a:lnTo>
                  <a:lnTo>
                    <a:pt x="97" y="5"/>
                  </a:lnTo>
                  <a:lnTo>
                    <a:pt x="89" y="5"/>
                  </a:lnTo>
                  <a:lnTo>
                    <a:pt x="84" y="5"/>
                  </a:lnTo>
                  <a:lnTo>
                    <a:pt x="76" y="5"/>
                  </a:lnTo>
                  <a:lnTo>
                    <a:pt x="61" y="5"/>
                  </a:lnTo>
                  <a:lnTo>
                    <a:pt x="61" y="15"/>
                  </a:lnTo>
                  <a:lnTo>
                    <a:pt x="61" y="28"/>
                  </a:lnTo>
                  <a:lnTo>
                    <a:pt x="61" y="38"/>
                  </a:lnTo>
                  <a:lnTo>
                    <a:pt x="61" y="49"/>
                  </a:lnTo>
                  <a:lnTo>
                    <a:pt x="61" y="49"/>
                  </a:lnTo>
                  <a:lnTo>
                    <a:pt x="61" y="49"/>
                  </a:lnTo>
                  <a:lnTo>
                    <a:pt x="61" y="49"/>
                  </a:lnTo>
                  <a:lnTo>
                    <a:pt x="61" y="51"/>
                  </a:lnTo>
                  <a:lnTo>
                    <a:pt x="56" y="51"/>
                  </a:lnTo>
                  <a:lnTo>
                    <a:pt x="51" y="51"/>
                  </a:lnTo>
                  <a:lnTo>
                    <a:pt x="46" y="51"/>
                  </a:lnTo>
                  <a:lnTo>
                    <a:pt x="41" y="49"/>
                  </a:lnTo>
                  <a:lnTo>
                    <a:pt x="41" y="54"/>
                  </a:lnTo>
                  <a:lnTo>
                    <a:pt x="41" y="56"/>
                  </a:lnTo>
                  <a:lnTo>
                    <a:pt x="41" y="59"/>
                  </a:lnTo>
                  <a:lnTo>
                    <a:pt x="41" y="61"/>
                  </a:lnTo>
                  <a:lnTo>
                    <a:pt x="41" y="71"/>
                  </a:lnTo>
                  <a:lnTo>
                    <a:pt x="43" y="82"/>
                  </a:lnTo>
                  <a:lnTo>
                    <a:pt x="43" y="92"/>
                  </a:lnTo>
                  <a:lnTo>
                    <a:pt x="43" y="102"/>
                  </a:lnTo>
                  <a:lnTo>
                    <a:pt x="43" y="112"/>
                  </a:lnTo>
                  <a:lnTo>
                    <a:pt x="43" y="122"/>
                  </a:lnTo>
                  <a:lnTo>
                    <a:pt x="43" y="132"/>
                  </a:lnTo>
                  <a:lnTo>
                    <a:pt x="43" y="143"/>
                  </a:lnTo>
                  <a:lnTo>
                    <a:pt x="43" y="145"/>
                  </a:lnTo>
                  <a:lnTo>
                    <a:pt x="43" y="148"/>
                  </a:lnTo>
                  <a:lnTo>
                    <a:pt x="43" y="148"/>
                  </a:lnTo>
                  <a:lnTo>
                    <a:pt x="43" y="148"/>
                  </a:lnTo>
                  <a:lnTo>
                    <a:pt x="38" y="145"/>
                  </a:lnTo>
                  <a:lnTo>
                    <a:pt x="35" y="145"/>
                  </a:lnTo>
                  <a:lnTo>
                    <a:pt x="33" y="148"/>
                  </a:lnTo>
                  <a:lnTo>
                    <a:pt x="28" y="148"/>
                  </a:lnTo>
                  <a:lnTo>
                    <a:pt x="25" y="148"/>
                  </a:lnTo>
                  <a:lnTo>
                    <a:pt x="23" y="150"/>
                  </a:lnTo>
                  <a:lnTo>
                    <a:pt x="23" y="150"/>
                  </a:lnTo>
                  <a:lnTo>
                    <a:pt x="23" y="155"/>
                  </a:lnTo>
                  <a:lnTo>
                    <a:pt x="23" y="158"/>
                  </a:lnTo>
                  <a:lnTo>
                    <a:pt x="23" y="160"/>
                  </a:lnTo>
                  <a:lnTo>
                    <a:pt x="20" y="160"/>
                  </a:lnTo>
                  <a:lnTo>
                    <a:pt x="20" y="163"/>
                  </a:lnTo>
                  <a:lnTo>
                    <a:pt x="20" y="163"/>
                  </a:lnTo>
                  <a:lnTo>
                    <a:pt x="18" y="166"/>
                  </a:lnTo>
                  <a:lnTo>
                    <a:pt x="18" y="166"/>
                  </a:lnTo>
                  <a:lnTo>
                    <a:pt x="18" y="168"/>
                  </a:lnTo>
                  <a:lnTo>
                    <a:pt x="18" y="171"/>
                  </a:lnTo>
                  <a:lnTo>
                    <a:pt x="18" y="171"/>
                  </a:lnTo>
                  <a:lnTo>
                    <a:pt x="15" y="171"/>
                  </a:lnTo>
                  <a:lnTo>
                    <a:pt x="12" y="171"/>
                  </a:lnTo>
                  <a:lnTo>
                    <a:pt x="12" y="173"/>
                  </a:lnTo>
                  <a:lnTo>
                    <a:pt x="12" y="173"/>
                  </a:lnTo>
                  <a:lnTo>
                    <a:pt x="12" y="176"/>
                  </a:lnTo>
                  <a:lnTo>
                    <a:pt x="12" y="176"/>
                  </a:lnTo>
                  <a:lnTo>
                    <a:pt x="12" y="178"/>
                  </a:lnTo>
                  <a:lnTo>
                    <a:pt x="12" y="178"/>
                  </a:lnTo>
                  <a:lnTo>
                    <a:pt x="15" y="181"/>
                  </a:lnTo>
                  <a:lnTo>
                    <a:pt x="15" y="181"/>
                  </a:lnTo>
                  <a:lnTo>
                    <a:pt x="15" y="183"/>
                  </a:lnTo>
                  <a:lnTo>
                    <a:pt x="15" y="183"/>
                  </a:lnTo>
                  <a:lnTo>
                    <a:pt x="12" y="186"/>
                  </a:lnTo>
                  <a:lnTo>
                    <a:pt x="10" y="186"/>
                  </a:lnTo>
                  <a:lnTo>
                    <a:pt x="10" y="186"/>
                  </a:lnTo>
                  <a:lnTo>
                    <a:pt x="10" y="186"/>
                  </a:lnTo>
                  <a:lnTo>
                    <a:pt x="7" y="188"/>
                  </a:lnTo>
                  <a:lnTo>
                    <a:pt x="7" y="188"/>
                  </a:lnTo>
                  <a:lnTo>
                    <a:pt x="7" y="191"/>
                  </a:lnTo>
                  <a:lnTo>
                    <a:pt x="7" y="191"/>
                  </a:lnTo>
                  <a:lnTo>
                    <a:pt x="7" y="194"/>
                  </a:lnTo>
                  <a:lnTo>
                    <a:pt x="7" y="196"/>
                  </a:lnTo>
                  <a:lnTo>
                    <a:pt x="10" y="199"/>
                  </a:lnTo>
                  <a:lnTo>
                    <a:pt x="10" y="199"/>
                  </a:lnTo>
                  <a:lnTo>
                    <a:pt x="10" y="201"/>
                  </a:lnTo>
                  <a:lnTo>
                    <a:pt x="7" y="204"/>
                  </a:lnTo>
                  <a:lnTo>
                    <a:pt x="7" y="204"/>
                  </a:lnTo>
                  <a:lnTo>
                    <a:pt x="5" y="206"/>
                  </a:lnTo>
                  <a:lnTo>
                    <a:pt x="2" y="209"/>
                  </a:lnTo>
                  <a:lnTo>
                    <a:pt x="2" y="211"/>
                  </a:lnTo>
                  <a:lnTo>
                    <a:pt x="0" y="214"/>
                  </a:lnTo>
                  <a:lnTo>
                    <a:pt x="2" y="214"/>
                  </a:lnTo>
                  <a:lnTo>
                    <a:pt x="2" y="216"/>
                  </a:lnTo>
                  <a:lnTo>
                    <a:pt x="2" y="216"/>
                  </a:lnTo>
                  <a:lnTo>
                    <a:pt x="5" y="216"/>
                  </a:lnTo>
                  <a:lnTo>
                    <a:pt x="7" y="216"/>
                  </a:lnTo>
                  <a:lnTo>
                    <a:pt x="10" y="216"/>
                  </a:lnTo>
                  <a:lnTo>
                    <a:pt x="12" y="216"/>
                  </a:lnTo>
                  <a:lnTo>
                    <a:pt x="12" y="219"/>
                  </a:lnTo>
                  <a:lnTo>
                    <a:pt x="12" y="222"/>
                  </a:lnTo>
                  <a:lnTo>
                    <a:pt x="12" y="224"/>
                  </a:lnTo>
                  <a:lnTo>
                    <a:pt x="15" y="229"/>
                  </a:lnTo>
                  <a:lnTo>
                    <a:pt x="15" y="229"/>
                  </a:lnTo>
                  <a:lnTo>
                    <a:pt x="15" y="229"/>
                  </a:lnTo>
                  <a:lnTo>
                    <a:pt x="15" y="232"/>
                  </a:lnTo>
                  <a:lnTo>
                    <a:pt x="15" y="232"/>
                  </a:lnTo>
                  <a:lnTo>
                    <a:pt x="15" y="239"/>
                  </a:lnTo>
                  <a:lnTo>
                    <a:pt x="18" y="242"/>
                  </a:lnTo>
                  <a:lnTo>
                    <a:pt x="18" y="242"/>
                  </a:lnTo>
                  <a:lnTo>
                    <a:pt x="18" y="244"/>
                  </a:lnTo>
                  <a:lnTo>
                    <a:pt x="20" y="244"/>
                  </a:lnTo>
                  <a:lnTo>
                    <a:pt x="20" y="244"/>
                  </a:lnTo>
                  <a:lnTo>
                    <a:pt x="23" y="244"/>
                  </a:lnTo>
                  <a:lnTo>
                    <a:pt x="23" y="247"/>
                  </a:lnTo>
                  <a:lnTo>
                    <a:pt x="23" y="247"/>
                  </a:lnTo>
                  <a:lnTo>
                    <a:pt x="23" y="250"/>
                  </a:lnTo>
                  <a:lnTo>
                    <a:pt x="23" y="255"/>
                  </a:lnTo>
                  <a:lnTo>
                    <a:pt x="23" y="257"/>
                  </a:lnTo>
                  <a:lnTo>
                    <a:pt x="23" y="260"/>
                  </a:lnTo>
                  <a:lnTo>
                    <a:pt x="25" y="260"/>
                  </a:lnTo>
                  <a:lnTo>
                    <a:pt x="30" y="267"/>
                  </a:lnTo>
                  <a:lnTo>
                    <a:pt x="30" y="267"/>
                  </a:lnTo>
                  <a:lnTo>
                    <a:pt x="35" y="272"/>
                  </a:lnTo>
                  <a:lnTo>
                    <a:pt x="35" y="275"/>
                  </a:lnTo>
                  <a:lnTo>
                    <a:pt x="38" y="280"/>
                  </a:lnTo>
                  <a:lnTo>
                    <a:pt x="38" y="283"/>
                  </a:lnTo>
                  <a:lnTo>
                    <a:pt x="38" y="285"/>
                  </a:lnTo>
                  <a:lnTo>
                    <a:pt x="38" y="293"/>
                  </a:lnTo>
                  <a:lnTo>
                    <a:pt x="38" y="293"/>
                  </a:lnTo>
                  <a:lnTo>
                    <a:pt x="35" y="298"/>
                  </a:lnTo>
                  <a:lnTo>
                    <a:pt x="35" y="298"/>
                  </a:lnTo>
                  <a:lnTo>
                    <a:pt x="35" y="300"/>
                  </a:lnTo>
                  <a:lnTo>
                    <a:pt x="35" y="300"/>
                  </a:lnTo>
                  <a:lnTo>
                    <a:pt x="35" y="300"/>
                  </a:lnTo>
                  <a:lnTo>
                    <a:pt x="35" y="303"/>
                  </a:lnTo>
                  <a:lnTo>
                    <a:pt x="38" y="306"/>
                  </a:lnTo>
                  <a:lnTo>
                    <a:pt x="38" y="306"/>
                  </a:lnTo>
                  <a:lnTo>
                    <a:pt x="43" y="306"/>
                  </a:lnTo>
                  <a:lnTo>
                    <a:pt x="46" y="306"/>
                  </a:lnTo>
                  <a:lnTo>
                    <a:pt x="48" y="308"/>
                  </a:lnTo>
                  <a:lnTo>
                    <a:pt x="48" y="306"/>
                  </a:lnTo>
                  <a:lnTo>
                    <a:pt x="51" y="306"/>
                  </a:lnTo>
                  <a:lnTo>
                    <a:pt x="51" y="303"/>
                  </a:lnTo>
                  <a:lnTo>
                    <a:pt x="56" y="303"/>
                  </a:lnTo>
                  <a:lnTo>
                    <a:pt x="56" y="300"/>
                  </a:lnTo>
                  <a:lnTo>
                    <a:pt x="56" y="300"/>
                  </a:lnTo>
                  <a:lnTo>
                    <a:pt x="56" y="298"/>
                  </a:lnTo>
                  <a:lnTo>
                    <a:pt x="58" y="295"/>
                  </a:lnTo>
                  <a:lnTo>
                    <a:pt x="58" y="295"/>
                  </a:lnTo>
                  <a:lnTo>
                    <a:pt x="58" y="293"/>
                  </a:lnTo>
                  <a:lnTo>
                    <a:pt x="58" y="290"/>
                  </a:lnTo>
                  <a:lnTo>
                    <a:pt x="58" y="290"/>
                  </a:lnTo>
                  <a:lnTo>
                    <a:pt x="61" y="288"/>
                  </a:lnTo>
                  <a:lnTo>
                    <a:pt x="61" y="288"/>
                  </a:lnTo>
                  <a:lnTo>
                    <a:pt x="61" y="285"/>
                  </a:lnTo>
                  <a:lnTo>
                    <a:pt x="61" y="283"/>
                  </a:lnTo>
                  <a:lnTo>
                    <a:pt x="61" y="280"/>
                  </a:lnTo>
                  <a:lnTo>
                    <a:pt x="63" y="278"/>
                  </a:lnTo>
                  <a:lnTo>
                    <a:pt x="66" y="275"/>
                  </a:lnTo>
                  <a:lnTo>
                    <a:pt x="66" y="275"/>
                  </a:lnTo>
                  <a:lnTo>
                    <a:pt x="66" y="272"/>
                  </a:lnTo>
                  <a:lnTo>
                    <a:pt x="66" y="272"/>
                  </a:lnTo>
                  <a:lnTo>
                    <a:pt x="66" y="270"/>
                  </a:lnTo>
                  <a:lnTo>
                    <a:pt x="66" y="270"/>
                  </a:lnTo>
                  <a:lnTo>
                    <a:pt x="69" y="270"/>
                  </a:lnTo>
                  <a:lnTo>
                    <a:pt x="71" y="270"/>
                  </a:lnTo>
                  <a:lnTo>
                    <a:pt x="81" y="267"/>
                  </a:lnTo>
                  <a:lnTo>
                    <a:pt x="81" y="267"/>
                  </a:lnTo>
                  <a:lnTo>
                    <a:pt x="84" y="270"/>
                  </a:lnTo>
                  <a:lnTo>
                    <a:pt x="84" y="272"/>
                  </a:lnTo>
                  <a:lnTo>
                    <a:pt x="84" y="272"/>
                  </a:lnTo>
                  <a:lnTo>
                    <a:pt x="84" y="272"/>
                  </a:lnTo>
                  <a:lnTo>
                    <a:pt x="86" y="275"/>
                  </a:lnTo>
                  <a:lnTo>
                    <a:pt x="86" y="275"/>
                  </a:lnTo>
                  <a:lnTo>
                    <a:pt x="86" y="278"/>
                  </a:lnTo>
                  <a:lnTo>
                    <a:pt x="89" y="278"/>
                  </a:lnTo>
                  <a:lnTo>
                    <a:pt x="97" y="288"/>
                  </a:lnTo>
                  <a:lnTo>
                    <a:pt x="99" y="288"/>
                  </a:lnTo>
                  <a:lnTo>
                    <a:pt x="102" y="288"/>
                  </a:lnTo>
                  <a:lnTo>
                    <a:pt x="104" y="285"/>
                  </a:lnTo>
                  <a:lnTo>
                    <a:pt x="107" y="285"/>
                  </a:lnTo>
                  <a:lnTo>
                    <a:pt x="122" y="285"/>
                  </a:lnTo>
                  <a:lnTo>
                    <a:pt x="122" y="285"/>
                  </a:lnTo>
                  <a:lnTo>
                    <a:pt x="122" y="285"/>
                  </a:lnTo>
                  <a:lnTo>
                    <a:pt x="125" y="290"/>
                  </a:lnTo>
                  <a:lnTo>
                    <a:pt x="127" y="293"/>
                  </a:lnTo>
                  <a:lnTo>
                    <a:pt x="142" y="293"/>
                  </a:lnTo>
                  <a:lnTo>
                    <a:pt x="142" y="290"/>
                  </a:lnTo>
                  <a:lnTo>
                    <a:pt x="142" y="290"/>
                  </a:lnTo>
                  <a:lnTo>
                    <a:pt x="145" y="288"/>
                  </a:lnTo>
                  <a:lnTo>
                    <a:pt x="145" y="285"/>
                  </a:lnTo>
                  <a:lnTo>
                    <a:pt x="145" y="285"/>
                  </a:lnTo>
                  <a:lnTo>
                    <a:pt x="145" y="285"/>
                  </a:lnTo>
                  <a:lnTo>
                    <a:pt x="148" y="285"/>
                  </a:lnTo>
                  <a:lnTo>
                    <a:pt x="150" y="283"/>
                  </a:lnTo>
                  <a:lnTo>
                    <a:pt x="155" y="283"/>
                  </a:lnTo>
                  <a:lnTo>
                    <a:pt x="155" y="280"/>
                  </a:lnTo>
                  <a:lnTo>
                    <a:pt x="158" y="278"/>
                  </a:lnTo>
                  <a:lnTo>
                    <a:pt x="158" y="275"/>
                  </a:lnTo>
                  <a:lnTo>
                    <a:pt x="158" y="275"/>
                  </a:lnTo>
                  <a:lnTo>
                    <a:pt x="158" y="275"/>
                  </a:lnTo>
                  <a:lnTo>
                    <a:pt x="165" y="272"/>
                  </a:lnTo>
                  <a:lnTo>
                    <a:pt x="165" y="270"/>
                  </a:lnTo>
                  <a:lnTo>
                    <a:pt x="176" y="278"/>
                  </a:lnTo>
                  <a:lnTo>
                    <a:pt x="181" y="283"/>
                  </a:lnTo>
                  <a:lnTo>
                    <a:pt x="181" y="283"/>
                  </a:lnTo>
                  <a:lnTo>
                    <a:pt x="181" y="283"/>
                  </a:lnTo>
                  <a:lnTo>
                    <a:pt x="181" y="283"/>
                  </a:lnTo>
                  <a:lnTo>
                    <a:pt x="181" y="283"/>
                  </a:lnTo>
                  <a:lnTo>
                    <a:pt x="181" y="283"/>
                  </a:lnTo>
                  <a:lnTo>
                    <a:pt x="181" y="283"/>
                  </a:lnTo>
                  <a:lnTo>
                    <a:pt x="183" y="283"/>
                  </a:lnTo>
                  <a:lnTo>
                    <a:pt x="188" y="283"/>
                  </a:lnTo>
                  <a:lnTo>
                    <a:pt x="191" y="283"/>
                  </a:lnTo>
                  <a:lnTo>
                    <a:pt x="199" y="272"/>
                  </a:lnTo>
                  <a:lnTo>
                    <a:pt x="201" y="270"/>
                  </a:lnTo>
                  <a:lnTo>
                    <a:pt x="201" y="267"/>
                  </a:lnTo>
                  <a:lnTo>
                    <a:pt x="201" y="265"/>
                  </a:lnTo>
                  <a:lnTo>
                    <a:pt x="204" y="262"/>
                  </a:lnTo>
                  <a:lnTo>
                    <a:pt x="204" y="262"/>
                  </a:lnTo>
                  <a:lnTo>
                    <a:pt x="214" y="252"/>
                  </a:lnTo>
                  <a:lnTo>
                    <a:pt x="214" y="252"/>
                  </a:lnTo>
                  <a:lnTo>
                    <a:pt x="214" y="252"/>
                  </a:lnTo>
                  <a:lnTo>
                    <a:pt x="211" y="250"/>
                  </a:lnTo>
                  <a:lnTo>
                    <a:pt x="211" y="247"/>
                  </a:lnTo>
                  <a:lnTo>
                    <a:pt x="211" y="244"/>
                  </a:lnTo>
                  <a:lnTo>
                    <a:pt x="211" y="242"/>
                  </a:lnTo>
                  <a:lnTo>
                    <a:pt x="211" y="239"/>
                  </a:lnTo>
                  <a:lnTo>
                    <a:pt x="211" y="239"/>
                  </a:lnTo>
                  <a:lnTo>
                    <a:pt x="211" y="237"/>
                  </a:lnTo>
                  <a:lnTo>
                    <a:pt x="211" y="237"/>
                  </a:lnTo>
                  <a:lnTo>
                    <a:pt x="206" y="232"/>
                  </a:lnTo>
                  <a:lnTo>
                    <a:pt x="219" y="232"/>
                  </a:lnTo>
                  <a:lnTo>
                    <a:pt x="219" y="232"/>
                  </a:lnTo>
                  <a:lnTo>
                    <a:pt x="219" y="229"/>
                  </a:lnTo>
                  <a:lnTo>
                    <a:pt x="219" y="229"/>
                  </a:lnTo>
                  <a:lnTo>
                    <a:pt x="219" y="229"/>
                  </a:lnTo>
                  <a:lnTo>
                    <a:pt x="219" y="229"/>
                  </a:lnTo>
                  <a:lnTo>
                    <a:pt x="219" y="229"/>
                  </a:lnTo>
                  <a:lnTo>
                    <a:pt x="219" y="227"/>
                  </a:lnTo>
                  <a:lnTo>
                    <a:pt x="219" y="227"/>
                  </a:lnTo>
                  <a:lnTo>
                    <a:pt x="219" y="227"/>
                  </a:lnTo>
                  <a:lnTo>
                    <a:pt x="219" y="227"/>
                  </a:lnTo>
                  <a:lnTo>
                    <a:pt x="219" y="227"/>
                  </a:lnTo>
                  <a:lnTo>
                    <a:pt x="219" y="227"/>
                  </a:lnTo>
                  <a:lnTo>
                    <a:pt x="219" y="227"/>
                  </a:lnTo>
                  <a:lnTo>
                    <a:pt x="229" y="227"/>
                  </a:lnTo>
                  <a:lnTo>
                    <a:pt x="229" y="229"/>
                  </a:lnTo>
                  <a:lnTo>
                    <a:pt x="227" y="232"/>
                  </a:lnTo>
                  <a:lnTo>
                    <a:pt x="227" y="234"/>
                  </a:lnTo>
                  <a:lnTo>
                    <a:pt x="227" y="239"/>
                  </a:lnTo>
                  <a:lnTo>
                    <a:pt x="227" y="239"/>
                  </a:lnTo>
                  <a:lnTo>
                    <a:pt x="227" y="239"/>
                  </a:lnTo>
                  <a:lnTo>
                    <a:pt x="227" y="239"/>
                  </a:lnTo>
                  <a:lnTo>
                    <a:pt x="227" y="239"/>
                  </a:lnTo>
                  <a:lnTo>
                    <a:pt x="227" y="239"/>
                  </a:lnTo>
                  <a:lnTo>
                    <a:pt x="227" y="239"/>
                  </a:lnTo>
                  <a:lnTo>
                    <a:pt x="227" y="242"/>
                  </a:lnTo>
                  <a:lnTo>
                    <a:pt x="229" y="257"/>
                  </a:lnTo>
                  <a:lnTo>
                    <a:pt x="229" y="257"/>
                  </a:lnTo>
                  <a:lnTo>
                    <a:pt x="229" y="257"/>
                  </a:lnTo>
                  <a:lnTo>
                    <a:pt x="227" y="260"/>
                  </a:lnTo>
                  <a:lnTo>
                    <a:pt x="227" y="260"/>
                  </a:lnTo>
                  <a:lnTo>
                    <a:pt x="227" y="260"/>
                  </a:lnTo>
                  <a:lnTo>
                    <a:pt x="227" y="260"/>
                  </a:lnTo>
                  <a:lnTo>
                    <a:pt x="232" y="262"/>
                  </a:lnTo>
                  <a:lnTo>
                    <a:pt x="232" y="262"/>
                  </a:lnTo>
                  <a:lnTo>
                    <a:pt x="232" y="262"/>
                  </a:lnTo>
                  <a:lnTo>
                    <a:pt x="234" y="265"/>
                  </a:lnTo>
                  <a:lnTo>
                    <a:pt x="242" y="272"/>
                  </a:lnTo>
                  <a:lnTo>
                    <a:pt x="244" y="272"/>
                  </a:lnTo>
                  <a:lnTo>
                    <a:pt x="244" y="275"/>
                  </a:lnTo>
                  <a:lnTo>
                    <a:pt x="244" y="275"/>
                  </a:lnTo>
                  <a:lnTo>
                    <a:pt x="244" y="275"/>
                  </a:lnTo>
                  <a:lnTo>
                    <a:pt x="244" y="278"/>
                  </a:lnTo>
                  <a:lnTo>
                    <a:pt x="244" y="278"/>
                  </a:lnTo>
                  <a:lnTo>
                    <a:pt x="244" y="280"/>
                  </a:lnTo>
                  <a:lnTo>
                    <a:pt x="244" y="280"/>
                  </a:lnTo>
                  <a:lnTo>
                    <a:pt x="244" y="280"/>
                  </a:lnTo>
                  <a:lnTo>
                    <a:pt x="244" y="280"/>
                  </a:lnTo>
                  <a:lnTo>
                    <a:pt x="244" y="280"/>
                  </a:lnTo>
                  <a:lnTo>
                    <a:pt x="244" y="280"/>
                  </a:lnTo>
                  <a:lnTo>
                    <a:pt x="244" y="283"/>
                  </a:lnTo>
                  <a:lnTo>
                    <a:pt x="242" y="285"/>
                  </a:lnTo>
                  <a:lnTo>
                    <a:pt x="242" y="288"/>
                  </a:lnTo>
                  <a:lnTo>
                    <a:pt x="242" y="288"/>
                  </a:lnTo>
                  <a:lnTo>
                    <a:pt x="242" y="288"/>
                  </a:lnTo>
                  <a:lnTo>
                    <a:pt x="242" y="288"/>
                  </a:lnTo>
                  <a:lnTo>
                    <a:pt x="244" y="290"/>
                  </a:lnTo>
                  <a:lnTo>
                    <a:pt x="244" y="290"/>
                  </a:lnTo>
                  <a:lnTo>
                    <a:pt x="244" y="290"/>
                  </a:lnTo>
                  <a:lnTo>
                    <a:pt x="247" y="290"/>
                  </a:lnTo>
                  <a:lnTo>
                    <a:pt x="247" y="290"/>
                  </a:lnTo>
                  <a:lnTo>
                    <a:pt x="247" y="288"/>
                  </a:lnTo>
                  <a:lnTo>
                    <a:pt x="247" y="283"/>
                  </a:lnTo>
                  <a:lnTo>
                    <a:pt x="249" y="280"/>
                  </a:lnTo>
                  <a:lnTo>
                    <a:pt x="249" y="278"/>
                  </a:lnTo>
                  <a:lnTo>
                    <a:pt x="252" y="275"/>
                  </a:lnTo>
                  <a:lnTo>
                    <a:pt x="252" y="272"/>
                  </a:lnTo>
                  <a:lnTo>
                    <a:pt x="252" y="272"/>
                  </a:lnTo>
                  <a:lnTo>
                    <a:pt x="249" y="265"/>
                  </a:lnTo>
                  <a:lnTo>
                    <a:pt x="252" y="262"/>
                  </a:lnTo>
                  <a:lnTo>
                    <a:pt x="255" y="260"/>
                  </a:lnTo>
                  <a:lnTo>
                    <a:pt x="255" y="257"/>
                  </a:lnTo>
                  <a:lnTo>
                    <a:pt x="257" y="257"/>
                  </a:lnTo>
                  <a:lnTo>
                    <a:pt x="257" y="257"/>
                  </a:lnTo>
                  <a:lnTo>
                    <a:pt x="260" y="260"/>
                  </a:lnTo>
                  <a:lnTo>
                    <a:pt x="260" y="260"/>
                  </a:lnTo>
                  <a:lnTo>
                    <a:pt x="262" y="260"/>
                  </a:lnTo>
                  <a:lnTo>
                    <a:pt x="262" y="260"/>
                  </a:lnTo>
                  <a:lnTo>
                    <a:pt x="265" y="257"/>
                  </a:lnTo>
                  <a:lnTo>
                    <a:pt x="262" y="255"/>
                  </a:lnTo>
                  <a:lnTo>
                    <a:pt x="265" y="250"/>
                  </a:lnTo>
                  <a:lnTo>
                    <a:pt x="265" y="247"/>
                  </a:lnTo>
                  <a:lnTo>
                    <a:pt x="265" y="244"/>
                  </a:lnTo>
                  <a:lnTo>
                    <a:pt x="265" y="239"/>
                  </a:lnTo>
                  <a:lnTo>
                    <a:pt x="267" y="237"/>
                  </a:lnTo>
                  <a:lnTo>
                    <a:pt x="267" y="237"/>
                  </a:lnTo>
                  <a:lnTo>
                    <a:pt x="270" y="232"/>
                  </a:lnTo>
                  <a:lnTo>
                    <a:pt x="272" y="229"/>
                  </a:lnTo>
                  <a:lnTo>
                    <a:pt x="272" y="224"/>
                  </a:lnTo>
                  <a:lnTo>
                    <a:pt x="275" y="219"/>
                  </a:lnTo>
                  <a:lnTo>
                    <a:pt x="278" y="216"/>
                  </a:lnTo>
                  <a:lnTo>
                    <a:pt x="278" y="216"/>
                  </a:lnTo>
                  <a:lnTo>
                    <a:pt x="280" y="216"/>
                  </a:lnTo>
                  <a:lnTo>
                    <a:pt x="283" y="216"/>
                  </a:lnTo>
                  <a:lnTo>
                    <a:pt x="285" y="214"/>
                  </a:lnTo>
                  <a:lnTo>
                    <a:pt x="285" y="214"/>
                  </a:lnTo>
                  <a:lnTo>
                    <a:pt x="288" y="214"/>
                  </a:lnTo>
                  <a:lnTo>
                    <a:pt x="288" y="211"/>
                  </a:lnTo>
                  <a:lnTo>
                    <a:pt x="288" y="206"/>
                  </a:lnTo>
                  <a:lnTo>
                    <a:pt x="288" y="204"/>
                  </a:lnTo>
                  <a:lnTo>
                    <a:pt x="290" y="199"/>
                  </a:lnTo>
                  <a:lnTo>
                    <a:pt x="290" y="199"/>
                  </a:lnTo>
                  <a:lnTo>
                    <a:pt x="290" y="196"/>
                  </a:lnTo>
                  <a:lnTo>
                    <a:pt x="290" y="194"/>
                  </a:lnTo>
                  <a:lnTo>
                    <a:pt x="293" y="188"/>
                  </a:lnTo>
                  <a:lnTo>
                    <a:pt x="293" y="186"/>
                  </a:lnTo>
                  <a:lnTo>
                    <a:pt x="293" y="181"/>
                  </a:lnTo>
                  <a:lnTo>
                    <a:pt x="293" y="173"/>
                  </a:lnTo>
                  <a:lnTo>
                    <a:pt x="293" y="168"/>
                  </a:lnTo>
                  <a:lnTo>
                    <a:pt x="290" y="166"/>
                  </a:lnTo>
                  <a:lnTo>
                    <a:pt x="290" y="160"/>
                  </a:lnTo>
                  <a:lnTo>
                    <a:pt x="293" y="158"/>
                  </a:lnTo>
                  <a:lnTo>
                    <a:pt x="293" y="155"/>
                  </a:lnTo>
                  <a:lnTo>
                    <a:pt x="295" y="148"/>
                  </a:lnTo>
                  <a:lnTo>
                    <a:pt x="295" y="145"/>
                  </a:lnTo>
                  <a:lnTo>
                    <a:pt x="298" y="140"/>
                  </a:lnTo>
                  <a:lnTo>
                    <a:pt x="298" y="140"/>
                  </a:lnTo>
                  <a:lnTo>
                    <a:pt x="300" y="135"/>
                  </a:lnTo>
                  <a:lnTo>
                    <a:pt x="300" y="130"/>
                  </a:lnTo>
                  <a:lnTo>
                    <a:pt x="298" y="127"/>
                  </a:lnTo>
                  <a:lnTo>
                    <a:pt x="300" y="125"/>
                  </a:lnTo>
                  <a:lnTo>
                    <a:pt x="300" y="122"/>
                  </a:lnTo>
                  <a:lnTo>
                    <a:pt x="300" y="120"/>
                  </a:lnTo>
                  <a:lnTo>
                    <a:pt x="300" y="117"/>
                  </a:lnTo>
                  <a:lnTo>
                    <a:pt x="300" y="117"/>
                  </a:lnTo>
                  <a:lnTo>
                    <a:pt x="303" y="117"/>
                  </a:lnTo>
                  <a:lnTo>
                    <a:pt x="303" y="117"/>
                  </a:lnTo>
                  <a:lnTo>
                    <a:pt x="306" y="117"/>
                  </a:lnTo>
                  <a:lnTo>
                    <a:pt x="308" y="117"/>
                  </a:lnTo>
                  <a:lnTo>
                    <a:pt x="308" y="117"/>
                  </a:lnTo>
                  <a:lnTo>
                    <a:pt x="311" y="115"/>
                  </a:lnTo>
                  <a:lnTo>
                    <a:pt x="311" y="112"/>
                  </a:lnTo>
                  <a:lnTo>
                    <a:pt x="311" y="110"/>
                  </a:lnTo>
                  <a:lnTo>
                    <a:pt x="313" y="110"/>
                  </a:lnTo>
                  <a:lnTo>
                    <a:pt x="313" y="110"/>
                  </a:lnTo>
                  <a:lnTo>
                    <a:pt x="316" y="107"/>
                  </a:lnTo>
                  <a:lnTo>
                    <a:pt x="316" y="107"/>
                  </a:lnTo>
                  <a:lnTo>
                    <a:pt x="316" y="107"/>
                  </a:lnTo>
                  <a:lnTo>
                    <a:pt x="318" y="107"/>
                  </a:lnTo>
                  <a:lnTo>
                    <a:pt x="318" y="107"/>
                  </a:lnTo>
                  <a:lnTo>
                    <a:pt x="318" y="107"/>
                  </a:lnTo>
                  <a:lnTo>
                    <a:pt x="321" y="105"/>
                  </a:lnTo>
                  <a:lnTo>
                    <a:pt x="323" y="107"/>
                  </a:lnTo>
                  <a:lnTo>
                    <a:pt x="323" y="105"/>
                  </a:lnTo>
                  <a:lnTo>
                    <a:pt x="323" y="105"/>
                  </a:lnTo>
                  <a:lnTo>
                    <a:pt x="323" y="105"/>
                  </a:lnTo>
                  <a:lnTo>
                    <a:pt x="326" y="105"/>
                  </a:lnTo>
                  <a:lnTo>
                    <a:pt x="326" y="105"/>
                  </a:lnTo>
                  <a:lnTo>
                    <a:pt x="326" y="105"/>
                  </a:lnTo>
                  <a:lnTo>
                    <a:pt x="326" y="102"/>
                  </a:lnTo>
                  <a:lnTo>
                    <a:pt x="328" y="102"/>
                  </a:lnTo>
                  <a:lnTo>
                    <a:pt x="328" y="102"/>
                  </a:lnTo>
                  <a:lnTo>
                    <a:pt x="328" y="99"/>
                  </a:lnTo>
                  <a:lnTo>
                    <a:pt x="328" y="99"/>
                  </a:lnTo>
                  <a:lnTo>
                    <a:pt x="331" y="97"/>
                  </a:lnTo>
                  <a:lnTo>
                    <a:pt x="331" y="94"/>
                  </a:lnTo>
                  <a:lnTo>
                    <a:pt x="331" y="94"/>
                  </a:lnTo>
                  <a:close/>
                </a:path>
              </a:pathLst>
            </a:custGeom>
            <a:solidFill>
              <a:srgbClr val="FFC000"/>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191" name="Freeform 1809">
              <a:extLst>
                <a:ext uri="{FF2B5EF4-FFF2-40B4-BE49-F238E27FC236}">
                  <a16:creationId xmlns:a16="http://schemas.microsoft.com/office/drawing/2014/main" id="{06B20E62-67B8-4545-B3C3-9B63CE842F12}"/>
                </a:ext>
              </a:extLst>
            </p:cNvPr>
            <p:cNvSpPr>
              <a:spLocks noEditPoints="1"/>
            </p:cNvSpPr>
            <p:nvPr/>
          </p:nvSpPr>
          <p:spPr bwMode="auto">
            <a:xfrm>
              <a:off x="6720900" y="2607042"/>
              <a:ext cx="683738" cy="585594"/>
            </a:xfrm>
            <a:custGeom>
              <a:avLst/>
              <a:gdLst>
                <a:gd name="T0" fmla="*/ 156 w 418"/>
                <a:gd name="T1" fmla="*/ 348 h 358"/>
                <a:gd name="T2" fmla="*/ 153 w 418"/>
                <a:gd name="T3" fmla="*/ 346 h 358"/>
                <a:gd name="T4" fmla="*/ 158 w 418"/>
                <a:gd name="T5" fmla="*/ 353 h 358"/>
                <a:gd name="T6" fmla="*/ 41 w 418"/>
                <a:gd name="T7" fmla="*/ 147 h 358"/>
                <a:gd name="T8" fmla="*/ 46 w 418"/>
                <a:gd name="T9" fmla="*/ 152 h 358"/>
                <a:gd name="T10" fmla="*/ 41 w 418"/>
                <a:gd name="T11" fmla="*/ 145 h 358"/>
                <a:gd name="T12" fmla="*/ 418 w 418"/>
                <a:gd name="T13" fmla="*/ 229 h 358"/>
                <a:gd name="T14" fmla="*/ 408 w 418"/>
                <a:gd name="T15" fmla="*/ 216 h 358"/>
                <a:gd name="T16" fmla="*/ 390 w 418"/>
                <a:gd name="T17" fmla="*/ 213 h 358"/>
                <a:gd name="T18" fmla="*/ 362 w 418"/>
                <a:gd name="T19" fmla="*/ 211 h 358"/>
                <a:gd name="T20" fmla="*/ 355 w 418"/>
                <a:gd name="T21" fmla="*/ 206 h 358"/>
                <a:gd name="T22" fmla="*/ 344 w 418"/>
                <a:gd name="T23" fmla="*/ 193 h 358"/>
                <a:gd name="T24" fmla="*/ 337 w 418"/>
                <a:gd name="T25" fmla="*/ 183 h 358"/>
                <a:gd name="T26" fmla="*/ 332 w 418"/>
                <a:gd name="T27" fmla="*/ 178 h 358"/>
                <a:gd name="T28" fmla="*/ 327 w 418"/>
                <a:gd name="T29" fmla="*/ 173 h 358"/>
                <a:gd name="T30" fmla="*/ 316 w 418"/>
                <a:gd name="T31" fmla="*/ 163 h 358"/>
                <a:gd name="T32" fmla="*/ 306 w 418"/>
                <a:gd name="T33" fmla="*/ 142 h 358"/>
                <a:gd name="T34" fmla="*/ 306 w 418"/>
                <a:gd name="T35" fmla="*/ 132 h 358"/>
                <a:gd name="T36" fmla="*/ 304 w 418"/>
                <a:gd name="T37" fmla="*/ 124 h 358"/>
                <a:gd name="T38" fmla="*/ 286 w 418"/>
                <a:gd name="T39" fmla="*/ 109 h 358"/>
                <a:gd name="T40" fmla="*/ 276 w 418"/>
                <a:gd name="T41" fmla="*/ 99 h 358"/>
                <a:gd name="T42" fmla="*/ 268 w 418"/>
                <a:gd name="T43" fmla="*/ 81 h 358"/>
                <a:gd name="T44" fmla="*/ 248 w 418"/>
                <a:gd name="T45" fmla="*/ 76 h 358"/>
                <a:gd name="T46" fmla="*/ 217 w 418"/>
                <a:gd name="T47" fmla="*/ 68 h 358"/>
                <a:gd name="T48" fmla="*/ 174 w 418"/>
                <a:gd name="T49" fmla="*/ 53 h 358"/>
                <a:gd name="T50" fmla="*/ 133 w 418"/>
                <a:gd name="T51" fmla="*/ 20 h 358"/>
                <a:gd name="T52" fmla="*/ 97 w 418"/>
                <a:gd name="T53" fmla="*/ 2 h 358"/>
                <a:gd name="T54" fmla="*/ 67 w 418"/>
                <a:gd name="T55" fmla="*/ 7 h 358"/>
                <a:gd name="T56" fmla="*/ 46 w 418"/>
                <a:gd name="T57" fmla="*/ 23 h 358"/>
                <a:gd name="T58" fmla="*/ 54 w 418"/>
                <a:gd name="T59" fmla="*/ 40 h 358"/>
                <a:gd name="T60" fmla="*/ 39 w 418"/>
                <a:gd name="T61" fmla="*/ 51 h 358"/>
                <a:gd name="T62" fmla="*/ 21 w 418"/>
                <a:gd name="T63" fmla="*/ 66 h 358"/>
                <a:gd name="T64" fmla="*/ 0 w 418"/>
                <a:gd name="T65" fmla="*/ 89 h 358"/>
                <a:gd name="T66" fmla="*/ 16 w 418"/>
                <a:gd name="T67" fmla="*/ 99 h 358"/>
                <a:gd name="T68" fmla="*/ 39 w 418"/>
                <a:gd name="T69" fmla="*/ 137 h 358"/>
                <a:gd name="T70" fmla="*/ 54 w 418"/>
                <a:gd name="T71" fmla="*/ 157 h 358"/>
                <a:gd name="T72" fmla="*/ 62 w 418"/>
                <a:gd name="T73" fmla="*/ 178 h 358"/>
                <a:gd name="T74" fmla="*/ 77 w 418"/>
                <a:gd name="T75" fmla="*/ 188 h 358"/>
                <a:gd name="T76" fmla="*/ 90 w 418"/>
                <a:gd name="T77" fmla="*/ 211 h 358"/>
                <a:gd name="T78" fmla="*/ 92 w 418"/>
                <a:gd name="T79" fmla="*/ 224 h 358"/>
                <a:gd name="T80" fmla="*/ 95 w 418"/>
                <a:gd name="T81" fmla="*/ 244 h 358"/>
                <a:gd name="T82" fmla="*/ 115 w 418"/>
                <a:gd name="T83" fmla="*/ 269 h 358"/>
                <a:gd name="T84" fmla="*/ 133 w 418"/>
                <a:gd name="T85" fmla="*/ 287 h 358"/>
                <a:gd name="T86" fmla="*/ 146 w 418"/>
                <a:gd name="T87" fmla="*/ 315 h 358"/>
                <a:gd name="T88" fmla="*/ 166 w 418"/>
                <a:gd name="T89" fmla="*/ 343 h 358"/>
                <a:gd name="T90" fmla="*/ 171 w 418"/>
                <a:gd name="T91" fmla="*/ 356 h 358"/>
                <a:gd name="T92" fmla="*/ 179 w 418"/>
                <a:gd name="T93" fmla="*/ 348 h 358"/>
                <a:gd name="T94" fmla="*/ 181 w 418"/>
                <a:gd name="T95" fmla="*/ 338 h 358"/>
                <a:gd name="T96" fmla="*/ 184 w 418"/>
                <a:gd name="T97" fmla="*/ 333 h 358"/>
                <a:gd name="T98" fmla="*/ 194 w 418"/>
                <a:gd name="T99" fmla="*/ 336 h 358"/>
                <a:gd name="T100" fmla="*/ 209 w 418"/>
                <a:gd name="T101" fmla="*/ 333 h 358"/>
                <a:gd name="T102" fmla="*/ 232 w 418"/>
                <a:gd name="T103" fmla="*/ 338 h 358"/>
                <a:gd name="T104" fmla="*/ 253 w 418"/>
                <a:gd name="T105" fmla="*/ 343 h 358"/>
                <a:gd name="T106" fmla="*/ 265 w 418"/>
                <a:gd name="T107" fmla="*/ 333 h 358"/>
                <a:gd name="T108" fmla="*/ 286 w 418"/>
                <a:gd name="T109" fmla="*/ 313 h 358"/>
                <a:gd name="T110" fmla="*/ 319 w 418"/>
                <a:gd name="T111" fmla="*/ 303 h 358"/>
                <a:gd name="T112" fmla="*/ 355 w 418"/>
                <a:gd name="T113" fmla="*/ 297 h 358"/>
                <a:gd name="T114" fmla="*/ 378 w 418"/>
                <a:gd name="T115" fmla="*/ 287 h 358"/>
                <a:gd name="T116" fmla="*/ 401 w 418"/>
                <a:gd name="T117" fmla="*/ 280 h 358"/>
                <a:gd name="T118" fmla="*/ 411 w 418"/>
                <a:gd name="T119" fmla="*/ 264 h 358"/>
                <a:gd name="T120" fmla="*/ 416 w 418"/>
                <a:gd name="T121" fmla="*/ 247 h 358"/>
                <a:gd name="T122" fmla="*/ 418 w 418"/>
                <a:gd name="T123" fmla="*/ 229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18" h="358">
                  <a:moveTo>
                    <a:pt x="158" y="348"/>
                  </a:moveTo>
                  <a:lnTo>
                    <a:pt x="156" y="348"/>
                  </a:lnTo>
                  <a:lnTo>
                    <a:pt x="156" y="351"/>
                  </a:lnTo>
                  <a:lnTo>
                    <a:pt x="158" y="351"/>
                  </a:lnTo>
                  <a:lnTo>
                    <a:pt x="156" y="351"/>
                  </a:lnTo>
                  <a:lnTo>
                    <a:pt x="156" y="348"/>
                  </a:lnTo>
                  <a:lnTo>
                    <a:pt x="156" y="348"/>
                  </a:lnTo>
                  <a:lnTo>
                    <a:pt x="156" y="348"/>
                  </a:lnTo>
                  <a:lnTo>
                    <a:pt x="156" y="346"/>
                  </a:lnTo>
                  <a:lnTo>
                    <a:pt x="153" y="343"/>
                  </a:lnTo>
                  <a:lnTo>
                    <a:pt x="153" y="343"/>
                  </a:lnTo>
                  <a:lnTo>
                    <a:pt x="153" y="346"/>
                  </a:lnTo>
                  <a:lnTo>
                    <a:pt x="153" y="346"/>
                  </a:lnTo>
                  <a:lnTo>
                    <a:pt x="153" y="346"/>
                  </a:lnTo>
                  <a:lnTo>
                    <a:pt x="151" y="348"/>
                  </a:lnTo>
                  <a:lnTo>
                    <a:pt x="153" y="348"/>
                  </a:lnTo>
                  <a:lnTo>
                    <a:pt x="153" y="351"/>
                  </a:lnTo>
                  <a:lnTo>
                    <a:pt x="156" y="351"/>
                  </a:lnTo>
                  <a:lnTo>
                    <a:pt x="158" y="351"/>
                  </a:lnTo>
                  <a:lnTo>
                    <a:pt x="158" y="351"/>
                  </a:lnTo>
                  <a:lnTo>
                    <a:pt x="158" y="353"/>
                  </a:lnTo>
                  <a:lnTo>
                    <a:pt x="158" y="353"/>
                  </a:lnTo>
                  <a:lnTo>
                    <a:pt x="161" y="353"/>
                  </a:lnTo>
                  <a:lnTo>
                    <a:pt x="161" y="353"/>
                  </a:lnTo>
                  <a:lnTo>
                    <a:pt x="161" y="351"/>
                  </a:lnTo>
                  <a:lnTo>
                    <a:pt x="158" y="348"/>
                  </a:lnTo>
                  <a:close/>
                  <a:moveTo>
                    <a:pt x="44" y="150"/>
                  </a:moveTo>
                  <a:lnTo>
                    <a:pt x="41" y="147"/>
                  </a:lnTo>
                  <a:lnTo>
                    <a:pt x="41" y="147"/>
                  </a:lnTo>
                  <a:lnTo>
                    <a:pt x="39" y="147"/>
                  </a:lnTo>
                  <a:lnTo>
                    <a:pt x="39" y="147"/>
                  </a:lnTo>
                  <a:lnTo>
                    <a:pt x="39" y="147"/>
                  </a:lnTo>
                  <a:lnTo>
                    <a:pt x="44" y="150"/>
                  </a:lnTo>
                  <a:lnTo>
                    <a:pt x="44" y="150"/>
                  </a:lnTo>
                  <a:lnTo>
                    <a:pt x="46" y="152"/>
                  </a:lnTo>
                  <a:lnTo>
                    <a:pt x="46" y="152"/>
                  </a:lnTo>
                  <a:lnTo>
                    <a:pt x="46" y="152"/>
                  </a:lnTo>
                  <a:lnTo>
                    <a:pt x="49" y="152"/>
                  </a:lnTo>
                  <a:lnTo>
                    <a:pt x="49" y="152"/>
                  </a:lnTo>
                  <a:lnTo>
                    <a:pt x="44" y="150"/>
                  </a:lnTo>
                  <a:close/>
                  <a:moveTo>
                    <a:pt x="41" y="145"/>
                  </a:moveTo>
                  <a:lnTo>
                    <a:pt x="41" y="145"/>
                  </a:lnTo>
                  <a:lnTo>
                    <a:pt x="41" y="145"/>
                  </a:lnTo>
                  <a:lnTo>
                    <a:pt x="41" y="142"/>
                  </a:lnTo>
                  <a:lnTo>
                    <a:pt x="39" y="145"/>
                  </a:lnTo>
                  <a:lnTo>
                    <a:pt x="39" y="145"/>
                  </a:lnTo>
                  <a:lnTo>
                    <a:pt x="41" y="147"/>
                  </a:lnTo>
                  <a:lnTo>
                    <a:pt x="41" y="145"/>
                  </a:lnTo>
                  <a:close/>
                  <a:moveTo>
                    <a:pt x="418" y="229"/>
                  </a:moveTo>
                  <a:lnTo>
                    <a:pt x="416" y="226"/>
                  </a:lnTo>
                  <a:lnTo>
                    <a:pt x="413" y="221"/>
                  </a:lnTo>
                  <a:lnTo>
                    <a:pt x="413" y="219"/>
                  </a:lnTo>
                  <a:lnTo>
                    <a:pt x="411" y="216"/>
                  </a:lnTo>
                  <a:lnTo>
                    <a:pt x="408" y="213"/>
                  </a:lnTo>
                  <a:lnTo>
                    <a:pt x="408" y="216"/>
                  </a:lnTo>
                  <a:lnTo>
                    <a:pt x="408" y="216"/>
                  </a:lnTo>
                  <a:lnTo>
                    <a:pt x="406" y="216"/>
                  </a:lnTo>
                  <a:lnTo>
                    <a:pt x="406" y="216"/>
                  </a:lnTo>
                  <a:lnTo>
                    <a:pt x="403" y="216"/>
                  </a:lnTo>
                  <a:lnTo>
                    <a:pt x="403" y="216"/>
                  </a:lnTo>
                  <a:lnTo>
                    <a:pt x="398" y="216"/>
                  </a:lnTo>
                  <a:lnTo>
                    <a:pt x="395" y="213"/>
                  </a:lnTo>
                  <a:lnTo>
                    <a:pt x="390" y="213"/>
                  </a:lnTo>
                  <a:lnTo>
                    <a:pt x="388" y="213"/>
                  </a:lnTo>
                  <a:lnTo>
                    <a:pt x="383" y="213"/>
                  </a:lnTo>
                  <a:lnTo>
                    <a:pt x="378" y="211"/>
                  </a:lnTo>
                  <a:lnTo>
                    <a:pt x="375" y="211"/>
                  </a:lnTo>
                  <a:lnTo>
                    <a:pt x="370" y="211"/>
                  </a:lnTo>
                  <a:lnTo>
                    <a:pt x="367" y="211"/>
                  </a:lnTo>
                  <a:lnTo>
                    <a:pt x="362" y="211"/>
                  </a:lnTo>
                  <a:lnTo>
                    <a:pt x="360" y="208"/>
                  </a:lnTo>
                  <a:lnTo>
                    <a:pt x="360" y="208"/>
                  </a:lnTo>
                  <a:lnTo>
                    <a:pt x="360" y="208"/>
                  </a:lnTo>
                  <a:lnTo>
                    <a:pt x="357" y="208"/>
                  </a:lnTo>
                  <a:lnTo>
                    <a:pt x="357" y="208"/>
                  </a:lnTo>
                  <a:lnTo>
                    <a:pt x="355" y="206"/>
                  </a:lnTo>
                  <a:lnTo>
                    <a:pt x="355" y="206"/>
                  </a:lnTo>
                  <a:lnTo>
                    <a:pt x="352" y="203"/>
                  </a:lnTo>
                  <a:lnTo>
                    <a:pt x="350" y="201"/>
                  </a:lnTo>
                  <a:lnTo>
                    <a:pt x="350" y="198"/>
                  </a:lnTo>
                  <a:lnTo>
                    <a:pt x="347" y="198"/>
                  </a:lnTo>
                  <a:lnTo>
                    <a:pt x="347" y="196"/>
                  </a:lnTo>
                  <a:lnTo>
                    <a:pt x="344" y="196"/>
                  </a:lnTo>
                  <a:lnTo>
                    <a:pt x="344" y="193"/>
                  </a:lnTo>
                  <a:lnTo>
                    <a:pt x="344" y="191"/>
                  </a:lnTo>
                  <a:lnTo>
                    <a:pt x="342" y="191"/>
                  </a:lnTo>
                  <a:lnTo>
                    <a:pt x="342" y="188"/>
                  </a:lnTo>
                  <a:lnTo>
                    <a:pt x="339" y="188"/>
                  </a:lnTo>
                  <a:lnTo>
                    <a:pt x="339" y="185"/>
                  </a:lnTo>
                  <a:lnTo>
                    <a:pt x="337" y="183"/>
                  </a:lnTo>
                  <a:lnTo>
                    <a:pt x="337" y="183"/>
                  </a:lnTo>
                  <a:lnTo>
                    <a:pt x="337" y="183"/>
                  </a:lnTo>
                  <a:lnTo>
                    <a:pt x="337" y="178"/>
                  </a:lnTo>
                  <a:lnTo>
                    <a:pt x="337" y="178"/>
                  </a:lnTo>
                  <a:lnTo>
                    <a:pt x="334" y="178"/>
                  </a:lnTo>
                  <a:lnTo>
                    <a:pt x="334" y="178"/>
                  </a:lnTo>
                  <a:lnTo>
                    <a:pt x="332" y="178"/>
                  </a:lnTo>
                  <a:lnTo>
                    <a:pt x="332" y="178"/>
                  </a:lnTo>
                  <a:lnTo>
                    <a:pt x="332" y="173"/>
                  </a:lnTo>
                  <a:lnTo>
                    <a:pt x="332" y="173"/>
                  </a:lnTo>
                  <a:lnTo>
                    <a:pt x="332" y="173"/>
                  </a:lnTo>
                  <a:lnTo>
                    <a:pt x="332" y="173"/>
                  </a:lnTo>
                  <a:lnTo>
                    <a:pt x="329" y="170"/>
                  </a:lnTo>
                  <a:lnTo>
                    <a:pt x="327" y="173"/>
                  </a:lnTo>
                  <a:lnTo>
                    <a:pt x="327" y="173"/>
                  </a:lnTo>
                  <a:lnTo>
                    <a:pt x="324" y="173"/>
                  </a:lnTo>
                  <a:lnTo>
                    <a:pt x="324" y="173"/>
                  </a:lnTo>
                  <a:lnTo>
                    <a:pt x="322" y="170"/>
                  </a:lnTo>
                  <a:lnTo>
                    <a:pt x="322" y="170"/>
                  </a:lnTo>
                  <a:lnTo>
                    <a:pt x="319" y="168"/>
                  </a:lnTo>
                  <a:lnTo>
                    <a:pt x="319" y="165"/>
                  </a:lnTo>
                  <a:lnTo>
                    <a:pt x="316" y="163"/>
                  </a:lnTo>
                  <a:lnTo>
                    <a:pt x="314" y="160"/>
                  </a:lnTo>
                  <a:lnTo>
                    <a:pt x="314" y="155"/>
                  </a:lnTo>
                  <a:lnTo>
                    <a:pt x="311" y="152"/>
                  </a:lnTo>
                  <a:lnTo>
                    <a:pt x="309" y="150"/>
                  </a:lnTo>
                  <a:lnTo>
                    <a:pt x="306" y="147"/>
                  </a:lnTo>
                  <a:lnTo>
                    <a:pt x="306" y="145"/>
                  </a:lnTo>
                  <a:lnTo>
                    <a:pt x="306" y="142"/>
                  </a:lnTo>
                  <a:lnTo>
                    <a:pt x="304" y="140"/>
                  </a:lnTo>
                  <a:lnTo>
                    <a:pt x="304" y="137"/>
                  </a:lnTo>
                  <a:lnTo>
                    <a:pt x="304" y="137"/>
                  </a:lnTo>
                  <a:lnTo>
                    <a:pt x="304" y="137"/>
                  </a:lnTo>
                  <a:lnTo>
                    <a:pt x="304" y="137"/>
                  </a:lnTo>
                  <a:lnTo>
                    <a:pt x="306" y="137"/>
                  </a:lnTo>
                  <a:lnTo>
                    <a:pt x="306" y="132"/>
                  </a:lnTo>
                  <a:lnTo>
                    <a:pt x="306" y="129"/>
                  </a:lnTo>
                  <a:lnTo>
                    <a:pt x="304" y="129"/>
                  </a:lnTo>
                  <a:lnTo>
                    <a:pt x="301" y="127"/>
                  </a:lnTo>
                  <a:lnTo>
                    <a:pt x="301" y="124"/>
                  </a:lnTo>
                  <a:lnTo>
                    <a:pt x="301" y="124"/>
                  </a:lnTo>
                  <a:lnTo>
                    <a:pt x="301" y="124"/>
                  </a:lnTo>
                  <a:lnTo>
                    <a:pt x="304" y="124"/>
                  </a:lnTo>
                  <a:lnTo>
                    <a:pt x="304" y="124"/>
                  </a:lnTo>
                  <a:lnTo>
                    <a:pt x="304" y="124"/>
                  </a:lnTo>
                  <a:lnTo>
                    <a:pt x="301" y="119"/>
                  </a:lnTo>
                  <a:lnTo>
                    <a:pt x="296" y="117"/>
                  </a:lnTo>
                  <a:lnTo>
                    <a:pt x="291" y="114"/>
                  </a:lnTo>
                  <a:lnTo>
                    <a:pt x="288" y="112"/>
                  </a:lnTo>
                  <a:lnTo>
                    <a:pt x="286" y="109"/>
                  </a:lnTo>
                  <a:lnTo>
                    <a:pt x="283" y="107"/>
                  </a:lnTo>
                  <a:lnTo>
                    <a:pt x="283" y="107"/>
                  </a:lnTo>
                  <a:lnTo>
                    <a:pt x="283" y="104"/>
                  </a:lnTo>
                  <a:lnTo>
                    <a:pt x="281" y="104"/>
                  </a:lnTo>
                  <a:lnTo>
                    <a:pt x="278" y="101"/>
                  </a:lnTo>
                  <a:lnTo>
                    <a:pt x="276" y="99"/>
                  </a:lnTo>
                  <a:lnTo>
                    <a:pt x="276" y="99"/>
                  </a:lnTo>
                  <a:lnTo>
                    <a:pt x="276" y="99"/>
                  </a:lnTo>
                  <a:lnTo>
                    <a:pt x="276" y="96"/>
                  </a:lnTo>
                  <a:lnTo>
                    <a:pt x="276" y="94"/>
                  </a:lnTo>
                  <a:lnTo>
                    <a:pt x="271" y="91"/>
                  </a:lnTo>
                  <a:lnTo>
                    <a:pt x="268" y="86"/>
                  </a:lnTo>
                  <a:lnTo>
                    <a:pt x="268" y="84"/>
                  </a:lnTo>
                  <a:lnTo>
                    <a:pt x="268" y="81"/>
                  </a:lnTo>
                  <a:lnTo>
                    <a:pt x="263" y="81"/>
                  </a:lnTo>
                  <a:lnTo>
                    <a:pt x="260" y="81"/>
                  </a:lnTo>
                  <a:lnTo>
                    <a:pt x="255" y="81"/>
                  </a:lnTo>
                  <a:lnTo>
                    <a:pt x="253" y="81"/>
                  </a:lnTo>
                  <a:lnTo>
                    <a:pt x="250" y="79"/>
                  </a:lnTo>
                  <a:lnTo>
                    <a:pt x="250" y="76"/>
                  </a:lnTo>
                  <a:lnTo>
                    <a:pt x="248" y="76"/>
                  </a:lnTo>
                  <a:lnTo>
                    <a:pt x="248" y="71"/>
                  </a:lnTo>
                  <a:lnTo>
                    <a:pt x="240" y="71"/>
                  </a:lnTo>
                  <a:lnTo>
                    <a:pt x="237" y="71"/>
                  </a:lnTo>
                  <a:lnTo>
                    <a:pt x="232" y="68"/>
                  </a:lnTo>
                  <a:lnTo>
                    <a:pt x="230" y="68"/>
                  </a:lnTo>
                  <a:lnTo>
                    <a:pt x="225" y="71"/>
                  </a:lnTo>
                  <a:lnTo>
                    <a:pt x="217" y="68"/>
                  </a:lnTo>
                  <a:lnTo>
                    <a:pt x="209" y="68"/>
                  </a:lnTo>
                  <a:lnTo>
                    <a:pt x="199" y="68"/>
                  </a:lnTo>
                  <a:lnTo>
                    <a:pt x="194" y="66"/>
                  </a:lnTo>
                  <a:lnTo>
                    <a:pt x="194" y="66"/>
                  </a:lnTo>
                  <a:lnTo>
                    <a:pt x="186" y="61"/>
                  </a:lnTo>
                  <a:lnTo>
                    <a:pt x="181" y="58"/>
                  </a:lnTo>
                  <a:lnTo>
                    <a:pt x="174" y="53"/>
                  </a:lnTo>
                  <a:lnTo>
                    <a:pt x="166" y="46"/>
                  </a:lnTo>
                  <a:lnTo>
                    <a:pt x="161" y="40"/>
                  </a:lnTo>
                  <a:lnTo>
                    <a:pt x="156" y="38"/>
                  </a:lnTo>
                  <a:lnTo>
                    <a:pt x="148" y="33"/>
                  </a:lnTo>
                  <a:lnTo>
                    <a:pt x="143" y="28"/>
                  </a:lnTo>
                  <a:lnTo>
                    <a:pt x="138" y="25"/>
                  </a:lnTo>
                  <a:lnTo>
                    <a:pt x="133" y="20"/>
                  </a:lnTo>
                  <a:lnTo>
                    <a:pt x="128" y="18"/>
                  </a:lnTo>
                  <a:lnTo>
                    <a:pt x="123" y="15"/>
                  </a:lnTo>
                  <a:lnTo>
                    <a:pt x="118" y="12"/>
                  </a:lnTo>
                  <a:lnTo>
                    <a:pt x="113" y="10"/>
                  </a:lnTo>
                  <a:lnTo>
                    <a:pt x="107" y="5"/>
                  </a:lnTo>
                  <a:lnTo>
                    <a:pt x="105" y="5"/>
                  </a:lnTo>
                  <a:lnTo>
                    <a:pt x="97" y="2"/>
                  </a:lnTo>
                  <a:lnTo>
                    <a:pt x="92" y="2"/>
                  </a:lnTo>
                  <a:lnTo>
                    <a:pt x="84" y="2"/>
                  </a:lnTo>
                  <a:lnTo>
                    <a:pt x="79" y="0"/>
                  </a:lnTo>
                  <a:lnTo>
                    <a:pt x="77" y="2"/>
                  </a:lnTo>
                  <a:lnTo>
                    <a:pt x="77" y="2"/>
                  </a:lnTo>
                  <a:lnTo>
                    <a:pt x="74" y="5"/>
                  </a:lnTo>
                  <a:lnTo>
                    <a:pt x="67" y="7"/>
                  </a:lnTo>
                  <a:lnTo>
                    <a:pt x="62" y="7"/>
                  </a:lnTo>
                  <a:lnTo>
                    <a:pt x="54" y="10"/>
                  </a:lnTo>
                  <a:lnTo>
                    <a:pt x="49" y="12"/>
                  </a:lnTo>
                  <a:lnTo>
                    <a:pt x="44" y="12"/>
                  </a:lnTo>
                  <a:lnTo>
                    <a:pt x="39" y="15"/>
                  </a:lnTo>
                  <a:lnTo>
                    <a:pt x="44" y="18"/>
                  </a:lnTo>
                  <a:lnTo>
                    <a:pt x="46" y="23"/>
                  </a:lnTo>
                  <a:lnTo>
                    <a:pt x="51" y="25"/>
                  </a:lnTo>
                  <a:lnTo>
                    <a:pt x="54" y="30"/>
                  </a:lnTo>
                  <a:lnTo>
                    <a:pt x="56" y="33"/>
                  </a:lnTo>
                  <a:lnTo>
                    <a:pt x="62" y="38"/>
                  </a:lnTo>
                  <a:lnTo>
                    <a:pt x="59" y="38"/>
                  </a:lnTo>
                  <a:lnTo>
                    <a:pt x="54" y="40"/>
                  </a:lnTo>
                  <a:lnTo>
                    <a:pt x="54" y="40"/>
                  </a:lnTo>
                  <a:lnTo>
                    <a:pt x="54" y="40"/>
                  </a:lnTo>
                  <a:lnTo>
                    <a:pt x="54" y="46"/>
                  </a:lnTo>
                  <a:lnTo>
                    <a:pt x="51" y="48"/>
                  </a:lnTo>
                  <a:lnTo>
                    <a:pt x="51" y="48"/>
                  </a:lnTo>
                  <a:lnTo>
                    <a:pt x="46" y="51"/>
                  </a:lnTo>
                  <a:lnTo>
                    <a:pt x="41" y="51"/>
                  </a:lnTo>
                  <a:lnTo>
                    <a:pt x="39" y="51"/>
                  </a:lnTo>
                  <a:lnTo>
                    <a:pt x="36" y="53"/>
                  </a:lnTo>
                  <a:lnTo>
                    <a:pt x="36" y="56"/>
                  </a:lnTo>
                  <a:lnTo>
                    <a:pt x="34" y="61"/>
                  </a:lnTo>
                  <a:lnTo>
                    <a:pt x="31" y="63"/>
                  </a:lnTo>
                  <a:lnTo>
                    <a:pt x="26" y="66"/>
                  </a:lnTo>
                  <a:lnTo>
                    <a:pt x="26" y="66"/>
                  </a:lnTo>
                  <a:lnTo>
                    <a:pt x="21" y="66"/>
                  </a:lnTo>
                  <a:lnTo>
                    <a:pt x="16" y="66"/>
                  </a:lnTo>
                  <a:lnTo>
                    <a:pt x="11" y="63"/>
                  </a:lnTo>
                  <a:lnTo>
                    <a:pt x="8" y="63"/>
                  </a:lnTo>
                  <a:lnTo>
                    <a:pt x="3" y="63"/>
                  </a:lnTo>
                  <a:lnTo>
                    <a:pt x="3" y="79"/>
                  </a:lnTo>
                  <a:lnTo>
                    <a:pt x="3" y="81"/>
                  </a:lnTo>
                  <a:lnTo>
                    <a:pt x="0" y="89"/>
                  </a:lnTo>
                  <a:lnTo>
                    <a:pt x="0" y="91"/>
                  </a:lnTo>
                  <a:lnTo>
                    <a:pt x="0" y="91"/>
                  </a:lnTo>
                  <a:lnTo>
                    <a:pt x="0" y="91"/>
                  </a:lnTo>
                  <a:lnTo>
                    <a:pt x="3" y="91"/>
                  </a:lnTo>
                  <a:lnTo>
                    <a:pt x="8" y="91"/>
                  </a:lnTo>
                  <a:lnTo>
                    <a:pt x="11" y="94"/>
                  </a:lnTo>
                  <a:lnTo>
                    <a:pt x="16" y="99"/>
                  </a:lnTo>
                  <a:lnTo>
                    <a:pt x="18" y="107"/>
                  </a:lnTo>
                  <a:lnTo>
                    <a:pt x="23" y="112"/>
                  </a:lnTo>
                  <a:lnTo>
                    <a:pt x="26" y="114"/>
                  </a:lnTo>
                  <a:lnTo>
                    <a:pt x="28" y="119"/>
                  </a:lnTo>
                  <a:lnTo>
                    <a:pt x="31" y="122"/>
                  </a:lnTo>
                  <a:lnTo>
                    <a:pt x="34" y="127"/>
                  </a:lnTo>
                  <a:lnTo>
                    <a:pt x="39" y="137"/>
                  </a:lnTo>
                  <a:lnTo>
                    <a:pt x="41" y="140"/>
                  </a:lnTo>
                  <a:lnTo>
                    <a:pt x="44" y="142"/>
                  </a:lnTo>
                  <a:lnTo>
                    <a:pt x="44" y="145"/>
                  </a:lnTo>
                  <a:lnTo>
                    <a:pt x="46" y="147"/>
                  </a:lnTo>
                  <a:lnTo>
                    <a:pt x="46" y="147"/>
                  </a:lnTo>
                  <a:lnTo>
                    <a:pt x="51" y="155"/>
                  </a:lnTo>
                  <a:lnTo>
                    <a:pt x="54" y="157"/>
                  </a:lnTo>
                  <a:lnTo>
                    <a:pt x="54" y="160"/>
                  </a:lnTo>
                  <a:lnTo>
                    <a:pt x="54" y="163"/>
                  </a:lnTo>
                  <a:lnTo>
                    <a:pt x="54" y="165"/>
                  </a:lnTo>
                  <a:lnTo>
                    <a:pt x="54" y="165"/>
                  </a:lnTo>
                  <a:lnTo>
                    <a:pt x="56" y="170"/>
                  </a:lnTo>
                  <a:lnTo>
                    <a:pt x="59" y="175"/>
                  </a:lnTo>
                  <a:lnTo>
                    <a:pt x="62" y="178"/>
                  </a:lnTo>
                  <a:lnTo>
                    <a:pt x="64" y="178"/>
                  </a:lnTo>
                  <a:lnTo>
                    <a:pt x="64" y="178"/>
                  </a:lnTo>
                  <a:lnTo>
                    <a:pt x="67" y="180"/>
                  </a:lnTo>
                  <a:lnTo>
                    <a:pt x="69" y="180"/>
                  </a:lnTo>
                  <a:lnTo>
                    <a:pt x="69" y="183"/>
                  </a:lnTo>
                  <a:lnTo>
                    <a:pt x="72" y="183"/>
                  </a:lnTo>
                  <a:lnTo>
                    <a:pt x="77" y="188"/>
                  </a:lnTo>
                  <a:lnTo>
                    <a:pt x="79" y="191"/>
                  </a:lnTo>
                  <a:lnTo>
                    <a:pt x="82" y="196"/>
                  </a:lnTo>
                  <a:lnTo>
                    <a:pt x="84" y="201"/>
                  </a:lnTo>
                  <a:lnTo>
                    <a:pt x="87" y="203"/>
                  </a:lnTo>
                  <a:lnTo>
                    <a:pt x="87" y="206"/>
                  </a:lnTo>
                  <a:lnTo>
                    <a:pt x="87" y="208"/>
                  </a:lnTo>
                  <a:lnTo>
                    <a:pt x="90" y="211"/>
                  </a:lnTo>
                  <a:lnTo>
                    <a:pt x="90" y="211"/>
                  </a:lnTo>
                  <a:lnTo>
                    <a:pt x="90" y="211"/>
                  </a:lnTo>
                  <a:lnTo>
                    <a:pt x="92" y="213"/>
                  </a:lnTo>
                  <a:lnTo>
                    <a:pt x="92" y="213"/>
                  </a:lnTo>
                  <a:lnTo>
                    <a:pt x="92" y="216"/>
                  </a:lnTo>
                  <a:lnTo>
                    <a:pt x="95" y="221"/>
                  </a:lnTo>
                  <a:lnTo>
                    <a:pt x="92" y="224"/>
                  </a:lnTo>
                  <a:lnTo>
                    <a:pt x="92" y="226"/>
                  </a:lnTo>
                  <a:lnTo>
                    <a:pt x="92" y="229"/>
                  </a:lnTo>
                  <a:lnTo>
                    <a:pt x="92" y="234"/>
                  </a:lnTo>
                  <a:lnTo>
                    <a:pt x="92" y="236"/>
                  </a:lnTo>
                  <a:lnTo>
                    <a:pt x="95" y="239"/>
                  </a:lnTo>
                  <a:lnTo>
                    <a:pt x="95" y="241"/>
                  </a:lnTo>
                  <a:lnTo>
                    <a:pt x="95" y="244"/>
                  </a:lnTo>
                  <a:lnTo>
                    <a:pt x="95" y="247"/>
                  </a:lnTo>
                  <a:lnTo>
                    <a:pt x="97" y="254"/>
                  </a:lnTo>
                  <a:lnTo>
                    <a:pt x="102" y="259"/>
                  </a:lnTo>
                  <a:lnTo>
                    <a:pt x="105" y="264"/>
                  </a:lnTo>
                  <a:lnTo>
                    <a:pt x="107" y="267"/>
                  </a:lnTo>
                  <a:lnTo>
                    <a:pt x="110" y="269"/>
                  </a:lnTo>
                  <a:lnTo>
                    <a:pt x="115" y="269"/>
                  </a:lnTo>
                  <a:lnTo>
                    <a:pt x="123" y="277"/>
                  </a:lnTo>
                  <a:lnTo>
                    <a:pt x="125" y="280"/>
                  </a:lnTo>
                  <a:lnTo>
                    <a:pt x="128" y="282"/>
                  </a:lnTo>
                  <a:lnTo>
                    <a:pt x="130" y="282"/>
                  </a:lnTo>
                  <a:lnTo>
                    <a:pt x="130" y="285"/>
                  </a:lnTo>
                  <a:lnTo>
                    <a:pt x="130" y="285"/>
                  </a:lnTo>
                  <a:lnTo>
                    <a:pt x="133" y="287"/>
                  </a:lnTo>
                  <a:lnTo>
                    <a:pt x="135" y="297"/>
                  </a:lnTo>
                  <a:lnTo>
                    <a:pt x="138" y="297"/>
                  </a:lnTo>
                  <a:lnTo>
                    <a:pt x="138" y="303"/>
                  </a:lnTo>
                  <a:lnTo>
                    <a:pt x="138" y="303"/>
                  </a:lnTo>
                  <a:lnTo>
                    <a:pt x="138" y="305"/>
                  </a:lnTo>
                  <a:lnTo>
                    <a:pt x="143" y="310"/>
                  </a:lnTo>
                  <a:lnTo>
                    <a:pt x="146" y="315"/>
                  </a:lnTo>
                  <a:lnTo>
                    <a:pt x="148" y="320"/>
                  </a:lnTo>
                  <a:lnTo>
                    <a:pt x="151" y="323"/>
                  </a:lnTo>
                  <a:lnTo>
                    <a:pt x="156" y="328"/>
                  </a:lnTo>
                  <a:lnTo>
                    <a:pt x="161" y="333"/>
                  </a:lnTo>
                  <a:lnTo>
                    <a:pt x="163" y="338"/>
                  </a:lnTo>
                  <a:lnTo>
                    <a:pt x="163" y="341"/>
                  </a:lnTo>
                  <a:lnTo>
                    <a:pt x="166" y="343"/>
                  </a:lnTo>
                  <a:lnTo>
                    <a:pt x="166" y="346"/>
                  </a:lnTo>
                  <a:lnTo>
                    <a:pt x="166" y="346"/>
                  </a:lnTo>
                  <a:lnTo>
                    <a:pt x="169" y="348"/>
                  </a:lnTo>
                  <a:lnTo>
                    <a:pt x="171" y="351"/>
                  </a:lnTo>
                  <a:lnTo>
                    <a:pt x="171" y="351"/>
                  </a:lnTo>
                  <a:lnTo>
                    <a:pt x="171" y="353"/>
                  </a:lnTo>
                  <a:lnTo>
                    <a:pt x="171" y="356"/>
                  </a:lnTo>
                  <a:lnTo>
                    <a:pt x="174" y="358"/>
                  </a:lnTo>
                  <a:lnTo>
                    <a:pt x="176" y="356"/>
                  </a:lnTo>
                  <a:lnTo>
                    <a:pt x="176" y="353"/>
                  </a:lnTo>
                  <a:lnTo>
                    <a:pt x="179" y="353"/>
                  </a:lnTo>
                  <a:lnTo>
                    <a:pt x="179" y="351"/>
                  </a:lnTo>
                  <a:lnTo>
                    <a:pt x="179" y="351"/>
                  </a:lnTo>
                  <a:lnTo>
                    <a:pt x="179" y="348"/>
                  </a:lnTo>
                  <a:lnTo>
                    <a:pt x="179" y="348"/>
                  </a:lnTo>
                  <a:lnTo>
                    <a:pt x="179" y="348"/>
                  </a:lnTo>
                  <a:lnTo>
                    <a:pt x="179" y="346"/>
                  </a:lnTo>
                  <a:lnTo>
                    <a:pt x="179" y="343"/>
                  </a:lnTo>
                  <a:lnTo>
                    <a:pt x="179" y="341"/>
                  </a:lnTo>
                  <a:lnTo>
                    <a:pt x="179" y="338"/>
                  </a:lnTo>
                  <a:lnTo>
                    <a:pt x="181" y="338"/>
                  </a:lnTo>
                  <a:lnTo>
                    <a:pt x="181" y="338"/>
                  </a:lnTo>
                  <a:lnTo>
                    <a:pt x="179" y="336"/>
                  </a:lnTo>
                  <a:lnTo>
                    <a:pt x="179" y="336"/>
                  </a:lnTo>
                  <a:lnTo>
                    <a:pt x="181" y="333"/>
                  </a:lnTo>
                  <a:lnTo>
                    <a:pt x="181" y="333"/>
                  </a:lnTo>
                  <a:lnTo>
                    <a:pt x="184" y="333"/>
                  </a:lnTo>
                  <a:lnTo>
                    <a:pt x="184" y="333"/>
                  </a:lnTo>
                  <a:lnTo>
                    <a:pt x="186" y="333"/>
                  </a:lnTo>
                  <a:lnTo>
                    <a:pt x="186" y="333"/>
                  </a:lnTo>
                  <a:lnTo>
                    <a:pt x="189" y="333"/>
                  </a:lnTo>
                  <a:lnTo>
                    <a:pt x="189" y="336"/>
                  </a:lnTo>
                  <a:lnTo>
                    <a:pt x="192" y="336"/>
                  </a:lnTo>
                  <a:lnTo>
                    <a:pt x="194" y="336"/>
                  </a:lnTo>
                  <a:lnTo>
                    <a:pt x="194" y="336"/>
                  </a:lnTo>
                  <a:lnTo>
                    <a:pt x="194" y="336"/>
                  </a:lnTo>
                  <a:lnTo>
                    <a:pt x="197" y="336"/>
                  </a:lnTo>
                  <a:lnTo>
                    <a:pt x="197" y="336"/>
                  </a:lnTo>
                  <a:lnTo>
                    <a:pt x="199" y="336"/>
                  </a:lnTo>
                  <a:lnTo>
                    <a:pt x="202" y="336"/>
                  </a:lnTo>
                  <a:lnTo>
                    <a:pt x="207" y="336"/>
                  </a:lnTo>
                  <a:lnTo>
                    <a:pt x="209" y="333"/>
                  </a:lnTo>
                  <a:lnTo>
                    <a:pt x="214" y="333"/>
                  </a:lnTo>
                  <a:lnTo>
                    <a:pt x="217" y="333"/>
                  </a:lnTo>
                  <a:lnTo>
                    <a:pt x="220" y="333"/>
                  </a:lnTo>
                  <a:lnTo>
                    <a:pt x="220" y="336"/>
                  </a:lnTo>
                  <a:lnTo>
                    <a:pt x="225" y="336"/>
                  </a:lnTo>
                  <a:lnTo>
                    <a:pt x="227" y="338"/>
                  </a:lnTo>
                  <a:lnTo>
                    <a:pt x="232" y="338"/>
                  </a:lnTo>
                  <a:lnTo>
                    <a:pt x="237" y="338"/>
                  </a:lnTo>
                  <a:lnTo>
                    <a:pt x="243" y="338"/>
                  </a:lnTo>
                  <a:lnTo>
                    <a:pt x="245" y="338"/>
                  </a:lnTo>
                  <a:lnTo>
                    <a:pt x="248" y="338"/>
                  </a:lnTo>
                  <a:lnTo>
                    <a:pt x="250" y="338"/>
                  </a:lnTo>
                  <a:lnTo>
                    <a:pt x="250" y="338"/>
                  </a:lnTo>
                  <a:lnTo>
                    <a:pt x="253" y="343"/>
                  </a:lnTo>
                  <a:lnTo>
                    <a:pt x="255" y="346"/>
                  </a:lnTo>
                  <a:lnTo>
                    <a:pt x="258" y="346"/>
                  </a:lnTo>
                  <a:lnTo>
                    <a:pt x="260" y="343"/>
                  </a:lnTo>
                  <a:lnTo>
                    <a:pt x="263" y="343"/>
                  </a:lnTo>
                  <a:lnTo>
                    <a:pt x="263" y="341"/>
                  </a:lnTo>
                  <a:lnTo>
                    <a:pt x="265" y="336"/>
                  </a:lnTo>
                  <a:lnTo>
                    <a:pt x="265" y="333"/>
                  </a:lnTo>
                  <a:lnTo>
                    <a:pt x="268" y="331"/>
                  </a:lnTo>
                  <a:lnTo>
                    <a:pt x="271" y="328"/>
                  </a:lnTo>
                  <a:lnTo>
                    <a:pt x="273" y="323"/>
                  </a:lnTo>
                  <a:lnTo>
                    <a:pt x="276" y="323"/>
                  </a:lnTo>
                  <a:lnTo>
                    <a:pt x="278" y="318"/>
                  </a:lnTo>
                  <a:lnTo>
                    <a:pt x="281" y="315"/>
                  </a:lnTo>
                  <a:lnTo>
                    <a:pt x="286" y="313"/>
                  </a:lnTo>
                  <a:lnTo>
                    <a:pt x="291" y="310"/>
                  </a:lnTo>
                  <a:lnTo>
                    <a:pt x="293" y="308"/>
                  </a:lnTo>
                  <a:lnTo>
                    <a:pt x="296" y="308"/>
                  </a:lnTo>
                  <a:lnTo>
                    <a:pt x="301" y="305"/>
                  </a:lnTo>
                  <a:lnTo>
                    <a:pt x="309" y="305"/>
                  </a:lnTo>
                  <a:lnTo>
                    <a:pt x="314" y="305"/>
                  </a:lnTo>
                  <a:lnTo>
                    <a:pt x="319" y="303"/>
                  </a:lnTo>
                  <a:lnTo>
                    <a:pt x="327" y="303"/>
                  </a:lnTo>
                  <a:lnTo>
                    <a:pt x="332" y="303"/>
                  </a:lnTo>
                  <a:lnTo>
                    <a:pt x="337" y="300"/>
                  </a:lnTo>
                  <a:lnTo>
                    <a:pt x="342" y="300"/>
                  </a:lnTo>
                  <a:lnTo>
                    <a:pt x="347" y="300"/>
                  </a:lnTo>
                  <a:lnTo>
                    <a:pt x="352" y="297"/>
                  </a:lnTo>
                  <a:lnTo>
                    <a:pt x="355" y="297"/>
                  </a:lnTo>
                  <a:lnTo>
                    <a:pt x="357" y="295"/>
                  </a:lnTo>
                  <a:lnTo>
                    <a:pt x="360" y="295"/>
                  </a:lnTo>
                  <a:lnTo>
                    <a:pt x="365" y="292"/>
                  </a:lnTo>
                  <a:lnTo>
                    <a:pt x="367" y="292"/>
                  </a:lnTo>
                  <a:lnTo>
                    <a:pt x="370" y="290"/>
                  </a:lnTo>
                  <a:lnTo>
                    <a:pt x="375" y="290"/>
                  </a:lnTo>
                  <a:lnTo>
                    <a:pt x="378" y="287"/>
                  </a:lnTo>
                  <a:lnTo>
                    <a:pt x="380" y="287"/>
                  </a:lnTo>
                  <a:lnTo>
                    <a:pt x="385" y="285"/>
                  </a:lnTo>
                  <a:lnTo>
                    <a:pt x="388" y="285"/>
                  </a:lnTo>
                  <a:lnTo>
                    <a:pt x="390" y="282"/>
                  </a:lnTo>
                  <a:lnTo>
                    <a:pt x="393" y="282"/>
                  </a:lnTo>
                  <a:lnTo>
                    <a:pt x="398" y="280"/>
                  </a:lnTo>
                  <a:lnTo>
                    <a:pt x="401" y="280"/>
                  </a:lnTo>
                  <a:lnTo>
                    <a:pt x="403" y="277"/>
                  </a:lnTo>
                  <a:lnTo>
                    <a:pt x="408" y="277"/>
                  </a:lnTo>
                  <a:lnTo>
                    <a:pt x="408" y="275"/>
                  </a:lnTo>
                  <a:lnTo>
                    <a:pt x="411" y="272"/>
                  </a:lnTo>
                  <a:lnTo>
                    <a:pt x="411" y="269"/>
                  </a:lnTo>
                  <a:lnTo>
                    <a:pt x="411" y="267"/>
                  </a:lnTo>
                  <a:lnTo>
                    <a:pt x="411" y="264"/>
                  </a:lnTo>
                  <a:lnTo>
                    <a:pt x="413" y="262"/>
                  </a:lnTo>
                  <a:lnTo>
                    <a:pt x="413" y="259"/>
                  </a:lnTo>
                  <a:lnTo>
                    <a:pt x="413" y="257"/>
                  </a:lnTo>
                  <a:lnTo>
                    <a:pt x="413" y="254"/>
                  </a:lnTo>
                  <a:lnTo>
                    <a:pt x="413" y="252"/>
                  </a:lnTo>
                  <a:lnTo>
                    <a:pt x="416" y="249"/>
                  </a:lnTo>
                  <a:lnTo>
                    <a:pt x="416" y="247"/>
                  </a:lnTo>
                  <a:lnTo>
                    <a:pt x="416" y="244"/>
                  </a:lnTo>
                  <a:lnTo>
                    <a:pt x="418" y="239"/>
                  </a:lnTo>
                  <a:lnTo>
                    <a:pt x="418" y="236"/>
                  </a:lnTo>
                  <a:lnTo>
                    <a:pt x="418" y="234"/>
                  </a:lnTo>
                  <a:lnTo>
                    <a:pt x="418" y="234"/>
                  </a:lnTo>
                  <a:lnTo>
                    <a:pt x="418" y="231"/>
                  </a:lnTo>
                  <a:lnTo>
                    <a:pt x="418" y="229"/>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192" name="Freeform 1810">
              <a:extLst>
                <a:ext uri="{FF2B5EF4-FFF2-40B4-BE49-F238E27FC236}">
                  <a16:creationId xmlns:a16="http://schemas.microsoft.com/office/drawing/2014/main" id="{6DBAE4DA-F60E-5A44-8B32-227F48875F64}"/>
                </a:ext>
              </a:extLst>
            </p:cNvPr>
            <p:cNvSpPr>
              <a:spLocks noEditPoints="1"/>
            </p:cNvSpPr>
            <p:nvPr/>
          </p:nvSpPr>
          <p:spPr bwMode="auto">
            <a:xfrm>
              <a:off x="3608094" y="3305502"/>
              <a:ext cx="8179" cy="24537"/>
            </a:xfrm>
            <a:custGeom>
              <a:avLst/>
              <a:gdLst>
                <a:gd name="T0" fmla="*/ 0 w 5"/>
                <a:gd name="T1" fmla="*/ 13 h 15"/>
                <a:gd name="T2" fmla="*/ 0 w 5"/>
                <a:gd name="T3" fmla="*/ 13 h 15"/>
                <a:gd name="T4" fmla="*/ 0 w 5"/>
                <a:gd name="T5" fmla="*/ 13 h 15"/>
                <a:gd name="T6" fmla="*/ 0 w 5"/>
                <a:gd name="T7" fmla="*/ 13 h 15"/>
                <a:gd name="T8" fmla="*/ 0 w 5"/>
                <a:gd name="T9" fmla="*/ 15 h 15"/>
                <a:gd name="T10" fmla="*/ 0 w 5"/>
                <a:gd name="T11" fmla="*/ 15 h 15"/>
                <a:gd name="T12" fmla="*/ 0 w 5"/>
                <a:gd name="T13" fmla="*/ 15 h 15"/>
                <a:gd name="T14" fmla="*/ 0 w 5"/>
                <a:gd name="T15" fmla="*/ 15 h 15"/>
                <a:gd name="T16" fmla="*/ 0 w 5"/>
                <a:gd name="T17" fmla="*/ 15 h 15"/>
                <a:gd name="T18" fmla="*/ 0 w 5"/>
                <a:gd name="T19" fmla="*/ 15 h 15"/>
                <a:gd name="T20" fmla="*/ 0 w 5"/>
                <a:gd name="T21" fmla="*/ 15 h 15"/>
                <a:gd name="T22" fmla="*/ 0 w 5"/>
                <a:gd name="T23" fmla="*/ 15 h 15"/>
                <a:gd name="T24" fmla="*/ 0 w 5"/>
                <a:gd name="T25" fmla="*/ 15 h 15"/>
                <a:gd name="T26" fmla="*/ 0 w 5"/>
                <a:gd name="T27" fmla="*/ 13 h 15"/>
                <a:gd name="T28" fmla="*/ 0 w 5"/>
                <a:gd name="T29" fmla="*/ 13 h 15"/>
                <a:gd name="T30" fmla="*/ 0 w 5"/>
                <a:gd name="T31" fmla="*/ 13 h 15"/>
                <a:gd name="T32" fmla="*/ 2 w 5"/>
                <a:gd name="T33" fmla="*/ 8 h 15"/>
                <a:gd name="T34" fmla="*/ 2 w 5"/>
                <a:gd name="T35" fmla="*/ 8 h 15"/>
                <a:gd name="T36" fmla="*/ 2 w 5"/>
                <a:gd name="T37" fmla="*/ 5 h 15"/>
                <a:gd name="T38" fmla="*/ 2 w 5"/>
                <a:gd name="T39" fmla="*/ 8 h 15"/>
                <a:gd name="T40" fmla="*/ 2 w 5"/>
                <a:gd name="T41" fmla="*/ 8 h 15"/>
                <a:gd name="T42" fmla="*/ 2 w 5"/>
                <a:gd name="T43" fmla="*/ 8 h 15"/>
                <a:gd name="T44" fmla="*/ 2 w 5"/>
                <a:gd name="T45" fmla="*/ 8 h 15"/>
                <a:gd name="T46" fmla="*/ 2 w 5"/>
                <a:gd name="T47" fmla="*/ 8 h 15"/>
                <a:gd name="T48" fmla="*/ 2 w 5"/>
                <a:gd name="T49" fmla="*/ 8 h 15"/>
                <a:gd name="T50" fmla="*/ 2 w 5"/>
                <a:gd name="T51" fmla="*/ 8 h 15"/>
                <a:gd name="T52" fmla="*/ 2 w 5"/>
                <a:gd name="T53" fmla="*/ 8 h 15"/>
                <a:gd name="T54" fmla="*/ 2 w 5"/>
                <a:gd name="T55" fmla="*/ 8 h 15"/>
                <a:gd name="T56" fmla="*/ 2 w 5"/>
                <a:gd name="T57" fmla="*/ 8 h 15"/>
                <a:gd name="T58" fmla="*/ 2 w 5"/>
                <a:gd name="T59" fmla="*/ 8 h 15"/>
                <a:gd name="T60" fmla="*/ 2 w 5"/>
                <a:gd name="T61" fmla="*/ 8 h 15"/>
                <a:gd name="T62" fmla="*/ 2 w 5"/>
                <a:gd name="T63" fmla="*/ 8 h 15"/>
                <a:gd name="T64" fmla="*/ 2 w 5"/>
                <a:gd name="T65" fmla="*/ 8 h 15"/>
                <a:gd name="T66" fmla="*/ 2 w 5"/>
                <a:gd name="T67" fmla="*/ 8 h 15"/>
                <a:gd name="T68" fmla="*/ 2 w 5"/>
                <a:gd name="T69" fmla="*/ 8 h 15"/>
                <a:gd name="T70" fmla="*/ 2 w 5"/>
                <a:gd name="T71" fmla="*/ 8 h 15"/>
                <a:gd name="T72" fmla="*/ 2 w 5"/>
                <a:gd name="T73" fmla="*/ 8 h 15"/>
                <a:gd name="T74" fmla="*/ 2 w 5"/>
                <a:gd name="T75" fmla="*/ 8 h 15"/>
                <a:gd name="T76" fmla="*/ 2 w 5"/>
                <a:gd name="T77" fmla="*/ 8 h 15"/>
                <a:gd name="T78" fmla="*/ 5 w 5"/>
                <a:gd name="T79" fmla="*/ 0 h 15"/>
                <a:gd name="T80" fmla="*/ 5 w 5"/>
                <a:gd name="T81" fmla="*/ 0 h 15"/>
                <a:gd name="T82" fmla="*/ 2 w 5"/>
                <a:gd name="T83" fmla="*/ 0 h 15"/>
                <a:gd name="T84" fmla="*/ 2 w 5"/>
                <a:gd name="T85" fmla="*/ 0 h 15"/>
                <a:gd name="T86" fmla="*/ 2 w 5"/>
                <a:gd name="T87" fmla="*/ 3 h 15"/>
                <a:gd name="T88" fmla="*/ 2 w 5"/>
                <a:gd name="T89" fmla="*/ 5 h 15"/>
                <a:gd name="T90" fmla="*/ 5 w 5"/>
                <a:gd name="T91" fmla="*/ 5 h 15"/>
                <a:gd name="T92" fmla="*/ 5 w 5"/>
                <a:gd name="T93" fmla="*/ 3 h 15"/>
                <a:gd name="T94" fmla="*/ 5 w 5"/>
                <a:gd name="T95" fmla="*/ 0 h 15"/>
                <a:gd name="T96" fmla="*/ 5 w 5"/>
                <a:gd name="T97"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 h="15">
                  <a:moveTo>
                    <a:pt x="0" y="13"/>
                  </a:moveTo>
                  <a:lnTo>
                    <a:pt x="0" y="13"/>
                  </a:lnTo>
                  <a:lnTo>
                    <a:pt x="0" y="13"/>
                  </a:lnTo>
                  <a:lnTo>
                    <a:pt x="0" y="13"/>
                  </a:lnTo>
                  <a:lnTo>
                    <a:pt x="0" y="15"/>
                  </a:lnTo>
                  <a:lnTo>
                    <a:pt x="0" y="15"/>
                  </a:lnTo>
                  <a:lnTo>
                    <a:pt x="0" y="15"/>
                  </a:lnTo>
                  <a:lnTo>
                    <a:pt x="0" y="15"/>
                  </a:lnTo>
                  <a:lnTo>
                    <a:pt x="0" y="15"/>
                  </a:lnTo>
                  <a:lnTo>
                    <a:pt x="0" y="15"/>
                  </a:lnTo>
                  <a:lnTo>
                    <a:pt x="0" y="15"/>
                  </a:lnTo>
                  <a:lnTo>
                    <a:pt x="0" y="15"/>
                  </a:lnTo>
                  <a:lnTo>
                    <a:pt x="0" y="15"/>
                  </a:lnTo>
                  <a:lnTo>
                    <a:pt x="0" y="13"/>
                  </a:lnTo>
                  <a:lnTo>
                    <a:pt x="0" y="13"/>
                  </a:lnTo>
                  <a:lnTo>
                    <a:pt x="0" y="13"/>
                  </a:lnTo>
                  <a:close/>
                  <a:moveTo>
                    <a:pt x="2" y="8"/>
                  </a:moveTo>
                  <a:lnTo>
                    <a:pt x="2" y="8"/>
                  </a:lnTo>
                  <a:lnTo>
                    <a:pt x="2" y="5"/>
                  </a:lnTo>
                  <a:lnTo>
                    <a:pt x="2" y="8"/>
                  </a:lnTo>
                  <a:lnTo>
                    <a:pt x="2" y="8"/>
                  </a:lnTo>
                  <a:lnTo>
                    <a:pt x="2" y="8"/>
                  </a:lnTo>
                  <a:lnTo>
                    <a:pt x="2" y="8"/>
                  </a:lnTo>
                  <a:lnTo>
                    <a:pt x="2" y="8"/>
                  </a:lnTo>
                  <a:lnTo>
                    <a:pt x="2" y="8"/>
                  </a:lnTo>
                  <a:lnTo>
                    <a:pt x="2" y="8"/>
                  </a:lnTo>
                  <a:lnTo>
                    <a:pt x="2" y="8"/>
                  </a:lnTo>
                  <a:lnTo>
                    <a:pt x="2" y="8"/>
                  </a:lnTo>
                  <a:lnTo>
                    <a:pt x="2" y="8"/>
                  </a:lnTo>
                  <a:lnTo>
                    <a:pt x="2" y="8"/>
                  </a:lnTo>
                  <a:lnTo>
                    <a:pt x="2" y="8"/>
                  </a:lnTo>
                  <a:lnTo>
                    <a:pt x="2" y="8"/>
                  </a:lnTo>
                  <a:lnTo>
                    <a:pt x="2" y="8"/>
                  </a:lnTo>
                  <a:lnTo>
                    <a:pt x="2" y="8"/>
                  </a:lnTo>
                  <a:lnTo>
                    <a:pt x="2" y="8"/>
                  </a:lnTo>
                  <a:lnTo>
                    <a:pt x="2" y="8"/>
                  </a:lnTo>
                  <a:lnTo>
                    <a:pt x="2" y="8"/>
                  </a:lnTo>
                  <a:lnTo>
                    <a:pt x="2" y="8"/>
                  </a:lnTo>
                  <a:lnTo>
                    <a:pt x="2" y="8"/>
                  </a:lnTo>
                  <a:close/>
                  <a:moveTo>
                    <a:pt x="5" y="0"/>
                  </a:moveTo>
                  <a:lnTo>
                    <a:pt x="5" y="0"/>
                  </a:lnTo>
                  <a:lnTo>
                    <a:pt x="2" y="0"/>
                  </a:lnTo>
                  <a:lnTo>
                    <a:pt x="2" y="0"/>
                  </a:lnTo>
                  <a:lnTo>
                    <a:pt x="2" y="3"/>
                  </a:lnTo>
                  <a:lnTo>
                    <a:pt x="2" y="5"/>
                  </a:lnTo>
                  <a:lnTo>
                    <a:pt x="5" y="5"/>
                  </a:lnTo>
                  <a:lnTo>
                    <a:pt x="5" y="3"/>
                  </a:lnTo>
                  <a:lnTo>
                    <a:pt x="5" y="0"/>
                  </a:lnTo>
                  <a:lnTo>
                    <a:pt x="5"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193" name="Freeform 1811">
              <a:extLst>
                <a:ext uri="{FF2B5EF4-FFF2-40B4-BE49-F238E27FC236}">
                  <a16:creationId xmlns:a16="http://schemas.microsoft.com/office/drawing/2014/main" id="{6286BDEB-D9DD-E345-A8BB-BC01BEA76436}"/>
                </a:ext>
              </a:extLst>
            </p:cNvPr>
            <p:cNvSpPr>
              <a:spLocks noEditPoints="1"/>
            </p:cNvSpPr>
            <p:nvPr/>
          </p:nvSpPr>
          <p:spPr bwMode="auto">
            <a:xfrm>
              <a:off x="4007213" y="2057435"/>
              <a:ext cx="4908" cy="11451"/>
            </a:xfrm>
            <a:custGeom>
              <a:avLst/>
              <a:gdLst>
                <a:gd name="T0" fmla="*/ 3 w 3"/>
                <a:gd name="T1" fmla="*/ 5 h 7"/>
                <a:gd name="T2" fmla="*/ 3 w 3"/>
                <a:gd name="T3" fmla="*/ 5 h 7"/>
                <a:gd name="T4" fmla="*/ 3 w 3"/>
                <a:gd name="T5" fmla="*/ 5 h 7"/>
                <a:gd name="T6" fmla="*/ 0 w 3"/>
                <a:gd name="T7" fmla="*/ 7 h 7"/>
                <a:gd name="T8" fmla="*/ 3 w 3"/>
                <a:gd name="T9" fmla="*/ 7 h 7"/>
                <a:gd name="T10" fmla="*/ 3 w 3"/>
                <a:gd name="T11" fmla="*/ 7 h 7"/>
                <a:gd name="T12" fmla="*/ 3 w 3"/>
                <a:gd name="T13" fmla="*/ 5 h 7"/>
                <a:gd name="T14" fmla="*/ 3 w 3"/>
                <a:gd name="T15" fmla="*/ 5 h 7"/>
                <a:gd name="T16" fmla="*/ 3 w 3"/>
                <a:gd name="T17" fmla="*/ 5 h 7"/>
                <a:gd name="T18" fmla="*/ 3 w 3"/>
                <a:gd name="T19" fmla="*/ 5 h 7"/>
                <a:gd name="T20" fmla="*/ 0 w 3"/>
                <a:gd name="T21" fmla="*/ 2 h 7"/>
                <a:gd name="T22" fmla="*/ 0 w 3"/>
                <a:gd name="T23" fmla="*/ 2 h 7"/>
                <a:gd name="T24" fmla="*/ 3 w 3"/>
                <a:gd name="T25" fmla="*/ 0 h 7"/>
                <a:gd name="T26" fmla="*/ 3 w 3"/>
                <a:gd name="T27" fmla="*/ 0 h 7"/>
                <a:gd name="T28" fmla="*/ 3 w 3"/>
                <a:gd name="T29" fmla="*/ 0 h 7"/>
                <a:gd name="T30" fmla="*/ 0 w 3"/>
                <a:gd name="T31" fmla="*/ 0 h 7"/>
                <a:gd name="T32" fmla="*/ 0 w 3"/>
                <a:gd name="T33" fmla="*/ 0 h 7"/>
                <a:gd name="T34" fmla="*/ 0 w 3"/>
                <a:gd name="T35" fmla="*/ 2 h 7"/>
                <a:gd name="T36" fmla="*/ 0 w 3"/>
                <a:gd name="T37" fmla="*/ 2 h 7"/>
                <a:gd name="T38" fmla="*/ 0 w 3"/>
                <a:gd name="T39" fmla="*/ 5 h 7"/>
                <a:gd name="T40" fmla="*/ 0 w 3"/>
                <a:gd name="T41" fmla="*/ 5 h 7"/>
                <a:gd name="T42" fmla="*/ 0 w 3"/>
                <a:gd name="T43" fmla="*/ 5 h 7"/>
                <a:gd name="T44" fmla="*/ 0 w 3"/>
                <a:gd name="T45" fmla="*/ 5 h 7"/>
                <a:gd name="T46" fmla="*/ 3 w 3"/>
                <a:gd name="T47"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 h="7">
                  <a:moveTo>
                    <a:pt x="3" y="5"/>
                  </a:moveTo>
                  <a:lnTo>
                    <a:pt x="3" y="5"/>
                  </a:lnTo>
                  <a:lnTo>
                    <a:pt x="3" y="5"/>
                  </a:lnTo>
                  <a:lnTo>
                    <a:pt x="0" y="7"/>
                  </a:lnTo>
                  <a:lnTo>
                    <a:pt x="3" y="7"/>
                  </a:lnTo>
                  <a:lnTo>
                    <a:pt x="3" y="7"/>
                  </a:lnTo>
                  <a:lnTo>
                    <a:pt x="3" y="5"/>
                  </a:lnTo>
                  <a:lnTo>
                    <a:pt x="3" y="5"/>
                  </a:lnTo>
                  <a:lnTo>
                    <a:pt x="3" y="5"/>
                  </a:lnTo>
                  <a:close/>
                  <a:moveTo>
                    <a:pt x="3" y="5"/>
                  </a:moveTo>
                  <a:lnTo>
                    <a:pt x="0" y="2"/>
                  </a:lnTo>
                  <a:lnTo>
                    <a:pt x="0" y="2"/>
                  </a:lnTo>
                  <a:lnTo>
                    <a:pt x="3" y="0"/>
                  </a:lnTo>
                  <a:lnTo>
                    <a:pt x="3" y="0"/>
                  </a:lnTo>
                  <a:lnTo>
                    <a:pt x="3" y="0"/>
                  </a:lnTo>
                  <a:lnTo>
                    <a:pt x="0" y="0"/>
                  </a:lnTo>
                  <a:lnTo>
                    <a:pt x="0" y="0"/>
                  </a:lnTo>
                  <a:lnTo>
                    <a:pt x="0" y="2"/>
                  </a:lnTo>
                  <a:lnTo>
                    <a:pt x="0" y="2"/>
                  </a:lnTo>
                  <a:lnTo>
                    <a:pt x="0" y="5"/>
                  </a:lnTo>
                  <a:lnTo>
                    <a:pt x="0" y="5"/>
                  </a:lnTo>
                  <a:lnTo>
                    <a:pt x="0" y="5"/>
                  </a:lnTo>
                  <a:lnTo>
                    <a:pt x="0" y="5"/>
                  </a:lnTo>
                  <a:lnTo>
                    <a:pt x="3" y="5"/>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194" name="Freeform 1812">
              <a:extLst>
                <a:ext uri="{FF2B5EF4-FFF2-40B4-BE49-F238E27FC236}">
                  <a16:creationId xmlns:a16="http://schemas.microsoft.com/office/drawing/2014/main" id="{87F71826-9234-2449-BE80-FC53673979FA}"/>
                </a:ext>
              </a:extLst>
            </p:cNvPr>
            <p:cNvSpPr>
              <a:spLocks/>
            </p:cNvSpPr>
            <p:nvPr/>
          </p:nvSpPr>
          <p:spPr bwMode="auto">
            <a:xfrm>
              <a:off x="3570471" y="3127206"/>
              <a:ext cx="0" cy="3271"/>
            </a:xfrm>
            <a:custGeom>
              <a:avLst/>
              <a:gdLst>
                <a:gd name="T0" fmla="*/ 0 h 2"/>
                <a:gd name="T1" fmla="*/ 0 h 2"/>
                <a:gd name="T2" fmla="*/ 2 h 2"/>
                <a:gd name="T3" fmla="*/ 2 h 2"/>
                <a:gd name="T4" fmla="*/ 2 h 2"/>
                <a:gd name="T5" fmla="*/ 0 h 2"/>
                <a:gd name="T6" fmla="*/ 0 h 2"/>
              </a:gdLst>
              <a:ahLst/>
              <a:cxnLst>
                <a:cxn ang="0">
                  <a:pos x="0" y="T0"/>
                </a:cxn>
                <a:cxn ang="0">
                  <a:pos x="0" y="T1"/>
                </a:cxn>
                <a:cxn ang="0">
                  <a:pos x="0" y="T2"/>
                </a:cxn>
                <a:cxn ang="0">
                  <a:pos x="0" y="T3"/>
                </a:cxn>
                <a:cxn ang="0">
                  <a:pos x="0" y="T4"/>
                </a:cxn>
                <a:cxn ang="0">
                  <a:pos x="0" y="T5"/>
                </a:cxn>
                <a:cxn ang="0">
                  <a:pos x="0" y="T6"/>
                </a:cxn>
              </a:cxnLst>
              <a:rect l="0" t="0" r="r" b="b"/>
              <a:pathLst>
                <a:path h="2">
                  <a:moveTo>
                    <a:pt x="0" y="0"/>
                  </a:moveTo>
                  <a:lnTo>
                    <a:pt x="0" y="0"/>
                  </a:lnTo>
                  <a:lnTo>
                    <a:pt x="0" y="2"/>
                  </a:lnTo>
                  <a:lnTo>
                    <a:pt x="0" y="2"/>
                  </a:lnTo>
                  <a:lnTo>
                    <a:pt x="0" y="2"/>
                  </a:lnTo>
                  <a:lnTo>
                    <a:pt x="0" y="0"/>
                  </a:lnTo>
                  <a:lnTo>
                    <a:pt x="0"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195" name="Freeform 1813">
              <a:extLst>
                <a:ext uri="{FF2B5EF4-FFF2-40B4-BE49-F238E27FC236}">
                  <a16:creationId xmlns:a16="http://schemas.microsoft.com/office/drawing/2014/main" id="{ABC954C6-A0CB-124E-92CE-6CF23C2B4B2A}"/>
                </a:ext>
              </a:extLst>
            </p:cNvPr>
            <p:cNvSpPr>
              <a:spLocks/>
            </p:cNvSpPr>
            <p:nvPr/>
          </p:nvSpPr>
          <p:spPr bwMode="auto">
            <a:xfrm>
              <a:off x="3565565" y="3130478"/>
              <a:ext cx="4908" cy="0"/>
            </a:xfrm>
            <a:custGeom>
              <a:avLst/>
              <a:gdLst>
                <a:gd name="T0" fmla="*/ 3 w 3"/>
                <a:gd name="T1" fmla="*/ 0 w 3"/>
                <a:gd name="T2" fmla="*/ 3 w 3"/>
                <a:gd name="T3" fmla="*/ 3 w 3"/>
                <a:gd name="T4" fmla="*/ 3 w 3"/>
                <a:gd name="T5" fmla="*/ 3 w 3"/>
                <a:gd name="T6" fmla="*/ 3 w 3"/>
              </a:gdLst>
              <a:ahLst/>
              <a:cxnLst>
                <a:cxn ang="0">
                  <a:pos x="T0" y="0"/>
                </a:cxn>
                <a:cxn ang="0">
                  <a:pos x="T1" y="0"/>
                </a:cxn>
                <a:cxn ang="0">
                  <a:pos x="T2" y="0"/>
                </a:cxn>
                <a:cxn ang="0">
                  <a:pos x="T3" y="0"/>
                </a:cxn>
                <a:cxn ang="0">
                  <a:pos x="T4" y="0"/>
                </a:cxn>
                <a:cxn ang="0">
                  <a:pos x="T5" y="0"/>
                </a:cxn>
                <a:cxn ang="0">
                  <a:pos x="T6" y="0"/>
                </a:cxn>
              </a:cxnLst>
              <a:rect l="0" t="0" r="r" b="b"/>
              <a:pathLst>
                <a:path w="3">
                  <a:moveTo>
                    <a:pt x="3" y="0"/>
                  </a:moveTo>
                  <a:lnTo>
                    <a:pt x="0" y="0"/>
                  </a:lnTo>
                  <a:lnTo>
                    <a:pt x="3" y="0"/>
                  </a:lnTo>
                  <a:lnTo>
                    <a:pt x="3" y="0"/>
                  </a:lnTo>
                  <a:lnTo>
                    <a:pt x="3" y="0"/>
                  </a:lnTo>
                  <a:lnTo>
                    <a:pt x="3" y="0"/>
                  </a:lnTo>
                  <a:lnTo>
                    <a:pt x="3"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196" name="Freeform 1814">
              <a:extLst>
                <a:ext uri="{FF2B5EF4-FFF2-40B4-BE49-F238E27FC236}">
                  <a16:creationId xmlns:a16="http://schemas.microsoft.com/office/drawing/2014/main" id="{1710FA11-0ADE-9E49-862E-033020CF88E4}"/>
                </a:ext>
              </a:extLst>
            </p:cNvPr>
            <p:cNvSpPr>
              <a:spLocks/>
            </p:cNvSpPr>
            <p:nvPr/>
          </p:nvSpPr>
          <p:spPr bwMode="auto">
            <a:xfrm>
              <a:off x="3619543" y="3276059"/>
              <a:ext cx="8179" cy="17994"/>
            </a:xfrm>
            <a:custGeom>
              <a:avLst/>
              <a:gdLst>
                <a:gd name="T0" fmla="*/ 3 w 5"/>
                <a:gd name="T1" fmla="*/ 0 h 11"/>
                <a:gd name="T2" fmla="*/ 3 w 5"/>
                <a:gd name="T3" fmla="*/ 0 h 11"/>
                <a:gd name="T4" fmla="*/ 3 w 5"/>
                <a:gd name="T5" fmla="*/ 3 h 11"/>
                <a:gd name="T6" fmla="*/ 0 w 5"/>
                <a:gd name="T7" fmla="*/ 5 h 11"/>
                <a:gd name="T8" fmla="*/ 0 w 5"/>
                <a:gd name="T9" fmla="*/ 5 h 11"/>
                <a:gd name="T10" fmla="*/ 0 w 5"/>
                <a:gd name="T11" fmla="*/ 8 h 11"/>
                <a:gd name="T12" fmla="*/ 3 w 5"/>
                <a:gd name="T13" fmla="*/ 11 h 11"/>
                <a:gd name="T14" fmla="*/ 3 w 5"/>
                <a:gd name="T15" fmla="*/ 8 h 11"/>
                <a:gd name="T16" fmla="*/ 5 w 5"/>
                <a:gd name="T17" fmla="*/ 3 h 11"/>
                <a:gd name="T18" fmla="*/ 3 w 5"/>
                <a:gd name="T19"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11">
                  <a:moveTo>
                    <a:pt x="3" y="0"/>
                  </a:moveTo>
                  <a:lnTo>
                    <a:pt x="3" y="0"/>
                  </a:lnTo>
                  <a:lnTo>
                    <a:pt x="3" y="3"/>
                  </a:lnTo>
                  <a:lnTo>
                    <a:pt x="0" y="5"/>
                  </a:lnTo>
                  <a:lnTo>
                    <a:pt x="0" y="5"/>
                  </a:lnTo>
                  <a:lnTo>
                    <a:pt x="0" y="8"/>
                  </a:lnTo>
                  <a:lnTo>
                    <a:pt x="3" y="11"/>
                  </a:lnTo>
                  <a:lnTo>
                    <a:pt x="3" y="8"/>
                  </a:lnTo>
                  <a:lnTo>
                    <a:pt x="5" y="3"/>
                  </a:lnTo>
                  <a:lnTo>
                    <a:pt x="3"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197" name="Freeform 1815">
              <a:extLst>
                <a:ext uri="{FF2B5EF4-FFF2-40B4-BE49-F238E27FC236}">
                  <a16:creationId xmlns:a16="http://schemas.microsoft.com/office/drawing/2014/main" id="{1D65F247-5ADE-6D45-BE17-4691E7A8EAC4}"/>
                </a:ext>
              </a:extLst>
            </p:cNvPr>
            <p:cNvSpPr>
              <a:spLocks noEditPoints="1"/>
            </p:cNvSpPr>
            <p:nvPr/>
          </p:nvSpPr>
          <p:spPr bwMode="auto">
            <a:xfrm>
              <a:off x="3573743" y="3156650"/>
              <a:ext cx="8179" cy="8179"/>
            </a:xfrm>
            <a:custGeom>
              <a:avLst/>
              <a:gdLst>
                <a:gd name="T0" fmla="*/ 5 w 5"/>
                <a:gd name="T1" fmla="*/ 2 h 5"/>
                <a:gd name="T2" fmla="*/ 5 w 5"/>
                <a:gd name="T3" fmla="*/ 2 h 5"/>
                <a:gd name="T4" fmla="*/ 5 w 5"/>
                <a:gd name="T5" fmla="*/ 5 h 5"/>
                <a:gd name="T6" fmla="*/ 5 w 5"/>
                <a:gd name="T7" fmla="*/ 5 h 5"/>
                <a:gd name="T8" fmla="*/ 5 w 5"/>
                <a:gd name="T9" fmla="*/ 5 h 5"/>
                <a:gd name="T10" fmla="*/ 5 w 5"/>
                <a:gd name="T11" fmla="*/ 5 h 5"/>
                <a:gd name="T12" fmla="*/ 5 w 5"/>
                <a:gd name="T13" fmla="*/ 2 h 5"/>
                <a:gd name="T14" fmla="*/ 5 w 5"/>
                <a:gd name="T15" fmla="*/ 2 h 5"/>
                <a:gd name="T16" fmla="*/ 3 w 5"/>
                <a:gd name="T17" fmla="*/ 2 h 5"/>
                <a:gd name="T18" fmla="*/ 3 w 5"/>
                <a:gd name="T19" fmla="*/ 0 h 5"/>
                <a:gd name="T20" fmla="*/ 0 w 5"/>
                <a:gd name="T21" fmla="*/ 0 h 5"/>
                <a:gd name="T22" fmla="*/ 0 w 5"/>
                <a:gd name="T23" fmla="*/ 0 h 5"/>
                <a:gd name="T24" fmla="*/ 0 w 5"/>
                <a:gd name="T25" fmla="*/ 0 h 5"/>
                <a:gd name="T26" fmla="*/ 0 w 5"/>
                <a:gd name="T27" fmla="*/ 0 h 5"/>
                <a:gd name="T28" fmla="*/ 0 w 5"/>
                <a:gd name="T29" fmla="*/ 0 h 5"/>
                <a:gd name="T30" fmla="*/ 0 w 5"/>
                <a:gd name="T31" fmla="*/ 2 h 5"/>
                <a:gd name="T32" fmla="*/ 3 w 5"/>
                <a:gd name="T33" fmla="*/ 2 h 5"/>
                <a:gd name="T34" fmla="*/ 3 w 5"/>
                <a:gd name="T35" fmla="*/ 2 h 5"/>
                <a:gd name="T36" fmla="*/ 5 w 5"/>
                <a:gd name="T37" fmla="*/ 2 h 5"/>
                <a:gd name="T38" fmla="*/ 5 w 5"/>
                <a:gd name="T39"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 h="5">
                  <a:moveTo>
                    <a:pt x="5" y="2"/>
                  </a:moveTo>
                  <a:lnTo>
                    <a:pt x="5" y="2"/>
                  </a:lnTo>
                  <a:lnTo>
                    <a:pt x="5" y="5"/>
                  </a:lnTo>
                  <a:lnTo>
                    <a:pt x="5" y="5"/>
                  </a:lnTo>
                  <a:lnTo>
                    <a:pt x="5" y="5"/>
                  </a:lnTo>
                  <a:lnTo>
                    <a:pt x="5" y="5"/>
                  </a:lnTo>
                  <a:lnTo>
                    <a:pt x="5" y="2"/>
                  </a:lnTo>
                  <a:close/>
                  <a:moveTo>
                    <a:pt x="5" y="2"/>
                  </a:moveTo>
                  <a:lnTo>
                    <a:pt x="3" y="2"/>
                  </a:lnTo>
                  <a:lnTo>
                    <a:pt x="3" y="0"/>
                  </a:lnTo>
                  <a:lnTo>
                    <a:pt x="0" y="0"/>
                  </a:lnTo>
                  <a:lnTo>
                    <a:pt x="0" y="0"/>
                  </a:lnTo>
                  <a:lnTo>
                    <a:pt x="0" y="0"/>
                  </a:lnTo>
                  <a:lnTo>
                    <a:pt x="0" y="0"/>
                  </a:lnTo>
                  <a:lnTo>
                    <a:pt x="0" y="0"/>
                  </a:lnTo>
                  <a:lnTo>
                    <a:pt x="0" y="2"/>
                  </a:lnTo>
                  <a:lnTo>
                    <a:pt x="3" y="2"/>
                  </a:lnTo>
                  <a:lnTo>
                    <a:pt x="3" y="2"/>
                  </a:lnTo>
                  <a:lnTo>
                    <a:pt x="5" y="2"/>
                  </a:lnTo>
                  <a:lnTo>
                    <a:pt x="5" y="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198" name="Freeform 1816">
              <a:extLst>
                <a:ext uri="{FF2B5EF4-FFF2-40B4-BE49-F238E27FC236}">
                  <a16:creationId xmlns:a16="http://schemas.microsoft.com/office/drawing/2014/main" id="{8C99C38E-68D7-B047-BEB6-9E26F4104A20}"/>
                </a:ext>
              </a:extLst>
            </p:cNvPr>
            <p:cNvSpPr>
              <a:spLocks noEditPoints="1"/>
            </p:cNvSpPr>
            <p:nvPr/>
          </p:nvSpPr>
          <p:spPr bwMode="auto">
            <a:xfrm>
              <a:off x="5137507" y="4092291"/>
              <a:ext cx="291161" cy="304247"/>
            </a:xfrm>
            <a:custGeom>
              <a:avLst/>
              <a:gdLst>
                <a:gd name="T0" fmla="*/ 178 w 178"/>
                <a:gd name="T1" fmla="*/ 183 h 186"/>
                <a:gd name="T2" fmla="*/ 176 w 178"/>
                <a:gd name="T3" fmla="*/ 183 h 186"/>
                <a:gd name="T4" fmla="*/ 176 w 178"/>
                <a:gd name="T5" fmla="*/ 183 h 186"/>
                <a:gd name="T6" fmla="*/ 176 w 178"/>
                <a:gd name="T7" fmla="*/ 186 h 186"/>
                <a:gd name="T8" fmla="*/ 178 w 178"/>
                <a:gd name="T9" fmla="*/ 186 h 186"/>
                <a:gd name="T10" fmla="*/ 178 w 178"/>
                <a:gd name="T11" fmla="*/ 186 h 186"/>
                <a:gd name="T12" fmla="*/ 178 w 178"/>
                <a:gd name="T13" fmla="*/ 183 h 186"/>
                <a:gd name="T14" fmla="*/ 0 w 178"/>
                <a:gd name="T15" fmla="*/ 0 h 186"/>
                <a:gd name="T16" fmla="*/ 0 w 178"/>
                <a:gd name="T17" fmla="*/ 0 h 186"/>
                <a:gd name="T18" fmla="*/ 0 w 178"/>
                <a:gd name="T19" fmla="*/ 3 h 186"/>
                <a:gd name="T20" fmla="*/ 0 w 178"/>
                <a:gd name="T21" fmla="*/ 3 h 186"/>
                <a:gd name="T22" fmla="*/ 0 w 178"/>
                <a:gd name="T23" fmla="*/ 3 h 186"/>
                <a:gd name="T24" fmla="*/ 0 w 178"/>
                <a:gd name="T25" fmla="*/ 3 h 186"/>
                <a:gd name="T26" fmla="*/ 0 w 178"/>
                <a:gd name="T27" fmla="*/ 3 h 186"/>
                <a:gd name="T28" fmla="*/ 2 w 178"/>
                <a:gd name="T29" fmla="*/ 3 h 186"/>
                <a:gd name="T30" fmla="*/ 2 w 178"/>
                <a:gd name="T31" fmla="*/ 3 h 186"/>
                <a:gd name="T32" fmla="*/ 2 w 178"/>
                <a:gd name="T33" fmla="*/ 3 h 186"/>
                <a:gd name="T34" fmla="*/ 0 w 178"/>
                <a:gd name="T35" fmla="*/ 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8" h="186">
                  <a:moveTo>
                    <a:pt x="178" y="183"/>
                  </a:moveTo>
                  <a:lnTo>
                    <a:pt x="176" y="183"/>
                  </a:lnTo>
                  <a:lnTo>
                    <a:pt x="176" y="183"/>
                  </a:lnTo>
                  <a:lnTo>
                    <a:pt x="176" y="186"/>
                  </a:lnTo>
                  <a:lnTo>
                    <a:pt x="178" y="186"/>
                  </a:lnTo>
                  <a:lnTo>
                    <a:pt x="178" y="186"/>
                  </a:lnTo>
                  <a:lnTo>
                    <a:pt x="178" y="183"/>
                  </a:lnTo>
                  <a:close/>
                  <a:moveTo>
                    <a:pt x="0" y="0"/>
                  </a:moveTo>
                  <a:lnTo>
                    <a:pt x="0" y="0"/>
                  </a:lnTo>
                  <a:lnTo>
                    <a:pt x="0" y="3"/>
                  </a:lnTo>
                  <a:lnTo>
                    <a:pt x="0" y="3"/>
                  </a:lnTo>
                  <a:lnTo>
                    <a:pt x="0" y="3"/>
                  </a:lnTo>
                  <a:lnTo>
                    <a:pt x="0" y="3"/>
                  </a:lnTo>
                  <a:lnTo>
                    <a:pt x="0" y="3"/>
                  </a:lnTo>
                  <a:lnTo>
                    <a:pt x="2" y="3"/>
                  </a:lnTo>
                  <a:lnTo>
                    <a:pt x="2" y="3"/>
                  </a:lnTo>
                  <a:lnTo>
                    <a:pt x="2" y="3"/>
                  </a:lnTo>
                  <a:lnTo>
                    <a:pt x="0"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199" name="Freeform 1817">
              <a:extLst>
                <a:ext uri="{FF2B5EF4-FFF2-40B4-BE49-F238E27FC236}">
                  <a16:creationId xmlns:a16="http://schemas.microsoft.com/office/drawing/2014/main" id="{EBF3EA0D-A2BA-4743-9C19-7F0BE1EF5031}"/>
                </a:ext>
              </a:extLst>
            </p:cNvPr>
            <p:cNvSpPr>
              <a:spLocks noEditPoints="1"/>
            </p:cNvSpPr>
            <p:nvPr/>
          </p:nvSpPr>
          <p:spPr bwMode="auto">
            <a:xfrm>
              <a:off x="3562293" y="3143564"/>
              <a:ext cx="8179" cy="8179"/>
            </a:xfrm>
            <a:custGeom>
              <a:avLst/>
              <a:gdLst>
                <a:gd name="T0" fmla="*/ 5 w 5"/>
                <a:gd name="T1" fmla="*/ 5 h 5"/>
                <a:gd name="T2" fmla="*/ 5 w 5"/>
                <a:gd name="T3" fmla="*/ 5 h 5"/>
                <a:gd name="T4" fmla="*/ 5 w 5"/>
                <a:gd name="T5" fmla="*/ 5 h 5"/>
                <a:gd name="T6" fmla="*/ 5 w 5"/>
                <a:gd name="T7" fmla="*/ 5 h 5"/>
                <a:gd name="T8" fmla="*/ 5 w 5"/>
                <a:gd name="T9" fmla="*/ 5 h 5"/>
                <a:gd name="T10" fmla="*/ 5 w 5"/>
                <a:gd name="T11" fmla="*/ 5 h 5"/>
                <a:gd name="T12" fmla="*/ 5 w 5"/>
                <a:gd name="T13" fmla="*/ 5 h 5"/>
                <a:gd name="T14" fmla="*/ 5 w 5"/>
                <a:gd name="T15" fmla="*/ 5 h 5"/>
                <a:gd name="T16" fmla="*/ 5 w 5"/>
                <a:gd name="T17" fmla="*/ 5 h 5"/>
                <a:gd name="T18" fmla="*/ 0 w 5"/>
                <a:gd name="T19" fmla="*/ 0 h 5"/>
                <a:gd name="T20" fmla="*/ 0 w 5"/>
                <a:gd name="T21" fmla="*/ 0 h 5"/>
                <a:gd name="T22" fmla="*/ 0 w 5"/>
                <a:gd name="T23" fmla="*/ 3 h 5"/>
                <a:gd name="T24" fmla="*/ 0 w 5"/>
                <a:gd name="T25" fmla="*/ 3 h 5"/>
                <a:gd name="T26" fmla="*/ 0 w 5"/>
                <a:gd name="T27" fmla="*/ 3 h 5"/>
                <a:gd name="T28" fmla="*/ 0 w 5"/>
                <a:gd name="T29" fmla="*/ 3 h 5"/>
                <a:gd name="T30" fmla="*/ 0 w 5"/>
                <a:gd name="T31" fmla="*/ 0 h 5"/>
                <a:gd name="T32" fmla="*/ 0 w 5"/>
                <a:gd name="T33"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 h="5">
                  <a:moveTo>
                    <a:pt x="5" y="5"/>
                  </a:moveTo>
                  <a:lnTo>
                    <a:pt x="5" y="5"/>
                  </a:lnTo>
                  <a:lnTo>
                    <a:pt x="5" y="5"/>
                  </a:lnTo>
                  <a:lnTo>
                    <a:pt x="5" y="5"/>
                  </a:lnTo>
                  <a:lnTo>
                    <a:pt x="5" y="5"/>
                  </a:lnTo>
                  <a:lnTo>
                    <a:pt x="5" y="5"/>
                  </a:lnTo>
                  <a:lnTo>
                    <a:pt x="5" y="5"/>
                  </a:lnTo>
                  <a:lnTo>
                    <a:pt x="5" y="5"/>
                  </a:lnTo>
                  <a:lnTo>
                    <a:pt x="5" y="5"/>
                  </a:lnTo>
                  <a:close/>
                  <a:moveTo>
                    <a:pt x="0" y="0"/>
                  </a:moveTo>
                  <a:lnTo>
                    <a:pt x="0" y="0"/>
                  </a:lnTo>
                  <a:lnTo>
                    <a:pt x="0" y="3"/>
                  </a:lnTo>
                  <a:lnTo>
                    <a:pt x="0" y="3"/>
                  </a:lnTo>
                  <a:lnTo>
                    <a:pt x="0" y="3"/>
                  </a:lnTo>
                  <a:lnTo>
                    <a:pt x="0" y="3"/>
                  </a:lnTo>
                  <a:lnTo>
                    <a:pt x="0" y="0"/>
                  </a:lnTo>
                  <a:lnTo>
                    <a:pt x="0"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200" name="Freeform 1818">
              <a:extLst>
                <a:ext uri="{FF2B5EF4-FFF2-40B4-BE49-F238E27FC236}">
                  <a16:creationId xmlns:a16="http://schemas.microsoft.com/office/drawing/2014/main" id="{FC48F364-DBA7-184E-855D-133E5B3F3193}"/>
                </a:ext>
              </a:extLst>
            </p:cNvPr>
            <p:cNvSpPr>
              <a:spLocks/>
            </p:cNvSpPr>
            <p:nvPr/>
          </p:nvSpPr>
          <p:spPr bwMode="auto">
            <a:xfrm>
              <a:off x="3573743" y="3135386"/>
              <a:ext cx="4908" cy="0"/>
            </a:xfrm>
            <a:custGeom>
              <a:avLst/>
              <a:gdLst>
                <a:gd name="T0" fmla="*/ 0 w 3"/>
                <a:gd name="T1" fmla="*/ 0 w 3"/>
                <a:gd name="T2" fmla="*/ 0 w 3"/>
                <a:gd name="T3" fmla="*/ 0 w 3"/>
                <a:gd name="T4" fmla="*/ 0 w 3"/>
                <a:gd name="T5" fmla="*/ 0 w 3"/>
                <a:gd name="T6" fmla="*/ 3 w 3"/>
                <a:gd name="T7" fmla="*/ 3 w 3"/>
                <a:gd name="T8" fmla="*/ 3 w 3"/>
                <a:gd name="T9" fmla="*/ 3 w 3"/>
                <a:gd name="T10" fmla="*/ 0 w 3"/>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Lst>
              <a:rect l="0" t="0" r="r" b="b"/>
              <a:pathLst>
                <a:path w="3">
                  <a:moveTo>
                    <a:pt x="0" y="0"/>
                  </a:moveTo>
                  <a:lnTo>
                    <a:pt x="0" y="0"/>
                  </a:lnTo>
                  <a:lnTo>
                    <a:pt x="0" y="0"/>
                  </a:lnTo>
                  <a:lnTo>
                    <a:pt x="0" y="0"/>
                  </a:lnTo>
                  <a:lnTo>
                    <a:pt x="0" y="0"/>
                  </a:lnTo>
                  <a:lnTo>
                    <a:pt x="0" y="0"/>
                  </a:lnTo>
                  <a:lnTo>
                    <a:pt x="3" y="0"/>
                  </a:lnTo>
                  <a:lnTo>
                    <a:pt x="3" y="0"/>
                  </a:lnTo>
                  <a:lnTo>
                    <a:pt x="3" y="0"/>
                  </a:lnTo>
                  <a:lnTo>
                    <a:pt x="3" y="0"/>
                  </a:lnTo>
                  <a:lnTo>
                    <a:pt x="0"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201" name="Freeform 1819">
              <a:extLst>
                <a:ext uri="{FF2B5EF4-FFF2-40B4-BE49-F238E27FC236}">
                  <a16:creationId xmlns:a16="http://schemas.microsoft.com/office/drawing/2014/main" id="{5920C5FE-FCBF-E041-8EBA-B286B0469744}"/>
                </a:ext>
              </a:extLst>
            </p:cNvPr>
            <p:cNvSpPr>
              <a:spLocks noEditPoints="1"/>
            </p:cNvSpPr>
            <p:nvPr/>
          </p:nvSpPr>
          <p:spPr bwMode="auto">
            <a:xfrm>
              <a:off x="8222507" y="3434725"/>
              <a:ext cx="70337" cy="145581"/>
            </a:xfrm>
            <a:custGeom>
              <a:avLst/>
              <a:gdLst>
                <a:gd name="T0" fmla="*/ 2 w 43"/>
                <a:gd name="T1" fmla="*/ 20 h 89"/>
                <a:gd name="T2" fmla="*/ 2 w 43"/>
                <a:gd name="T3" fmla="*/ 18 h 89"/>
                <a:gd name="T4" fmla="*/ 0 w 43"/>
                <a:gd name="T5" fmla="*/ 18 h 89"/>
                <a:gd name="T6" fmla="*/ 2 w 43"/>
                <a:gd name="T7" fmla="*/ 5 h 89"/>
                <a:gd name="T8" fmla="*/ 2 w 43"/>
                <a:gd name="T9" fmla="*/ 5 h 89"/>
                <a:gd name="T10" fmla="*/ 2 w 43"/>
                <a:gd name="T11" fmla="*/ 3 h 89"/>
                <a:gd name="T12" fmla="*/ 0 w 43"/>
                <a:gd name="T13" fmla="*/ 3 h 89"/>
                <a:gd name="T14" fmla="*/ 2 w 43"/>
                <a:gd name="T15" fmla="*/ 5 h 89"/>
                <a:gd name="T16" fmla="*/ 43 w 43"/>
                <a:gd name="T17" fmla="*/ 56 h 89"/>
                <a:gd name="T18" fmla="*/ 41 w 43"/>
                <a:gd name="T19" fmla="*/ 51 h 89"/>
                <a:gd name="T20" fmla="*/ 41 w 43"/>
                <a:gd name="T21" fmla="*/ 48 h 89"/>
                <a:gd name="T22" fmla="*/ 41 w 43"/>
                <a:gd name="T23" fmla="*/ 48 h 89"/>
                <a:gd name="T24" fmla="*/ 33 w 43"/>
                <a:gd name="T25" fmla="*/ 38 h 89"/>
                <a:gd name="T26" fmla="*/ 33 w 43"/>
                <a:gd name="T27" fmla="*/ 33 h 89"/>
                <a:gd name="T28" fmla="*/ 30 w 43"/>
                <a:gd name="T29" fmla="*/ 31 h 89"/>
                <a:gd name="T30" fmla="*/ 30 w 43"/>
                <a:gd name="T31" fmla="*/ 31 h 89"/>
                <a:gd name="T32" fmla="*/ 30 w 43"/>
                <a:gd name="T33" fmla="*/ 28 h 89"/>
                <a:gd name="T34" fmla="*/ 25 w 43"/>
                <a:gd name="T35" fmla="*/ 20 h 89"/>
                <a:gd name="T36" fmla="*/ 23 w 43"/>
                <a:gd name="T37" fmla="*/ 18 h 89"/>
                <a:gd name="T38" fmla="*/ 18 w 43"/>
                <a:gd name="T39" fmla="*/ 10 h 89"/>
                <a:gd name="T40" fmla="*/ 10 w 43"/>
                <a:gd name="T41" fmla="*/ 3 h 89"/>
                <a:gd name="T42" fmla="*/ 5 w 43"/>
                <a:gd name="T43" fmla="*/ 0 h 89"/>
                <a:gd name="T44" fmla="*/ 2 w 43"/>
                <a:gd name="T45" fmla="*/ 3 h 89"/>
                <a:gd name="T46" fmla="*/ 5 w 43"/>
                <a:gd name="T47" fmla="*/ 3 h 89"/>
                <a:gd name="T48" fmla="*/ 10 w 43"/>
                <a:gd name="T49" fmla="*/ 5 h 89"/>
                <a:gd name="T50" fmla="*/ 13 w 43"/>
                <a:gd name="T51" fmla="*/ 8 h 89"/>
                <a:gd name="T52" fmla="*/ 10 w 43"/>
                <a:gd name="T53" fmla="*/ 10 h 89"/>
                <a:gd name="T54" fmla="*/ 8 w 43"/>
                <a:gd name="T55" fmla="*/ 8 h 89"/>
                <a:gd name="T56" fmla="*/ 8 w 43"/>
                <a:gd name="T57" fmla="*/ 10 h 89"/>
                <a:gd name="T58" fmla="*/ 8 w 43"/>
                <a:gd name="T59" fmla="*/ 15 h 89"/>
                <a:gd name="T60" fmla="*/ 2 w 43"/>
                <a:gd name="T61" fmla="*/ 23 h 89"/>
                <a:gd name="T62" fmla="*/ 5 w 43"/>
                <a:gd name="T63" fmla="*/ 26 h 89"/>
                <a:gd name="T64" fmla="*/ 2 w 43"/>
                <a:gd name="T65" fmla="*/ 33 h 89"/>
                <a:gd name="T66" fmla="*/ 2 w 43"/>
                <a:gd name="T67" fmla="*/ 41 h 89"/>
                <a:gd name="T68" fmla="*/ 0 w 43"/>
                <a:gd name="T69" fmla="*/ 41 h 89"/>
                <a:gd name="T70" fmla="*/ 0 w 43"/>
                <a:gd name="T71" fmla="*/ 38 h 89"/>
                <a:gd name="T72" fmla="*/ 2 w 43"/>
                <a:gd name="T73" fmla="*/ 46 h 89"/>
                <a:gd name="T74" fmla="*/ 5 w 43"/>
                <a:gd name="T75" fmla="*/ 69 h 89"/>
                <a:gd name="T76" fmla="*/ 8 w 43"/>
                <a:gd name="T77" fmla="*/ 79 h 89"/>
                <a:gd name="T78" fmla="*/ 13 w 43"/>
                <a:gd name="T79" fmla="*/ 87 h 89"/>
                <a:gd name="T80" fmla="*/ 23 w 43"/>
                <a:gd name="T81" fmla="*/ 89 h 89"/>
                <a:gd name="T82" fmla="*/ 33 w 43"/>
                <a:gd name="T83" fmla="*/ 84 h 89"/>
                <a:gd name="T84" fmla="*/ 41 w 43"/>
                <a:gd name="T85" fmla="*/ 79 h 89"/>
                <a:gd name="T86" fmla="*/ 43 w 43"/>
                <a:gd name="T87" fmla="*/ 74 h 89"/>
                <a:gd name="T88" fmla="*/ 43 w 43"/>
                <a:gd name="T89" fmla="*/ 66 h 89"/>
                <a:gd name="T90" fmla="*/ 43 w 43"/>
                <a:gd name="T91" fmla="*/ 5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3" h="89">
                  <a:moveTo>
                    <a:pt x="2" y="18"/>
                  </a:moveTo>
                  <a:lnTo>
                    <a:pt x="2" y="20"/>
                  </a:lnTo>
                  <a:lnTo>
                    <a:pt x="2" y="18"/>
                  </a:lnTo>
                  <a:lnTo>
                    <a:pt x="2" y="18"/>
                  </a:lnTo>
                  <a:lnTo>
                    <a:pt x="0" y="18"/>
                  </a:lnTo>
                  <a:lnTo>
                    <a:pt x="0" y="18"/>
                  </a:lnTo>
                  <a:lnTo>
                    <a:pt x="2" y="18"/>
                  </a:lnTo>
                  <a:close/>
                  <a:moveTo>
                    <a:pt x="2" y="5"/>
                  </a:moveTo>
                  <a:lnTo>
                    <a:pt x="2" y="5"/>
                  </a:lnTo>
                  <a:lnTo>
                    <a:pt x="2" y="5"/>
                  </a:lnTo>
                  <a:lnTo>
                    <a:pt x="2" y="3"/>
                  </a:lnTo>
                  <a:lnTo>
                    <a:pt x="2" y="3"/>
                  </a:lnTo>
                  <a:lnTo>
                    <a:pt x="2" y="3"/>
                  </a:lnTo>
                  <a:lnTo>
                    <a:pt x="0" y="3"/>
                  </a:lnTo>
                  <a:lnTo>
                    <a:pt x="2" y="5"/>
                  </a:lnTo>
                  <a:lnTo>
                    <a:pt x="2" y="5"/>
                  </a:lnTo>
                  <a:close/>
                  <a:moveTo>
                    <a:pt x="43" y="59"/>
                  </a:moveTo>
                  <a:lnTo>
                    <a:pt x="43" y="56"/>
                  </a:lnTo>
                  <a:lnTo>
                    <a:pt x="43" y="54"/>
                  </a:lnTo>
                  <a:lnTo>
                    <a:pt x="41" y="51"/>
                  </a:lnTo>
                  <a:lnTo>
                    <a:pt x="41" y="48"/>
                  </a:lnTo>
                  <a:lnTo>
                    <a:pt x="41" y="48"/>
                  </a:lnTo>
                  <a:lnTo>
                    <a:pt x="41" y="48"/>
                  </a:lnTo>
                  <a:lnTo>
                    <a:pt x="41" y="48"/>
                  </a:lnTo>
                  <a:lnTo>
                    <a:pt x="36" y="41"/>
                  </a:lnTo>
                  <a:lnTo>
                    <a:pt x="33" y="38"/>
                  </a:lnTo>
                  <a:lnTo>
                    <a:pt x="33" y="38"/>
                  </a:lnTo>
                  <a:lnTo>
                    <a:pt x="33" y="33"/>
                  </a:lnTo>
                  <a:lnTo>
                    <a:pt x="33" y="31"/>
                  </a:lnTo>
                  <a:lnTo>
                    <a:pt x="30" y="31"/>
                  </a:lnTo>
                  <a:lnTo>
                    <a:pt x="30" y="31"/>
                  </a:lnTo>
                  <a:lnTo>
                    <a:pt x="30" y="31"/>
                  </a:lnTo>
                  <a:lnTo>
                    <a:pt x="30" y="28"/>
                  </a:lnTo>
                  <a:lnTo>
                    <a:pt x="30" y="28"/>
                  </a:lnTo>
                  <a:lnTo>
                    <a:pt x="25" y="20"/>
                  </a:lnTo>
                  <a:lnTo>
                    <a:pt x="25" y="20"/>
                  </a:lnTo>
                  <a:lnTo>
                    <a:pt x="23" y="20"/>
                  </a:lnTo>
                  <a:lnTo>
                    <a:pt x="23" y="18"/>
                  </a:lnTo>
                  <a:lnTo>
                    <a:pt x="23" y="18"/>
                  </a:lnTo>
                  <a:lnTo>
                    <a:pt x="18" y="10"/>
                  </a:lnTo>
                  <a:lnTo>
                    <a:pt x="13" y="5"/>
                  </a:lnTo>
                  <a:lnTo>
                    <a:pt x="10" y="3"/>
                  </a:lnTo>
                  <a:lnTo>
                    <a:pt x="8" y="0"/>
                  </a:lnTo>
                  <a:lnTo>
                    <a:pt x="5" y="0"/>
                  </a:lnTo>
                  <a:lnTo>
                    <a:pt x="2" y="0"/>
                  </a:lnTo>
                  <a:lnTo>
                    <a:pt x="2" y="3"/>
                  </a:lnTo>
                  <a:lnTo>
                    <a:pt x="2" y="3"/>
                  </a:lnTo>
                  <a:lnTo>
                    <a:pt x="5" y="3"/>
                  </a:lnTo>
                  <a:lnTo>
                    <a:pt x="5" y="5"/>
                  </a:lnTo>
                  <a:lnTo>
                    <a:pt x="10" y="5"/>
                  </a:lnTo>
                  <a:lnTo>
                    <a:pt x="13" y="8"/>
                  </a:lnTo>
                  <a:lnTo>
                    <a:pt x="13" y="8"/>
                  </a:lnTo>
                  <a:lnTo>
                    <a:pt x="13" y="8"/>
                  </a:lnTo>
                  <a:lnTo>
                    <a:pt x="10" y="10"/>
                  </a:lnTo>
                  <a:lnTo>
                    <a:pt x="10" y="8"/>
                  </a:lnTo>
                  <a:lnTo>
                    <a:pt x="8" y="8"/>
                  </a:lnTo>
                  <a:lnTo>
                    <a:pt x="5" y="8"/>
                  </a:lnTo>
                  <a:lnTo>
                    <a:pt x="8" y="10"/>
                  </a:lnTo>
                  <a:lnTo>
                    <a:pt x="8" y="13"/>
                  </a:lnTo>
                  <a:lnTo>
                    <a:pt x="8" y="15"/>
                  </a:lnTo>
                  <a:lnTo>
                    <a:pt x="5" y="18"/>
                  </a:lnTo>
                  <a:lnTo>
                    <a:pt x="2" y="23"/>
                  </a:lnTo>
                  <a:lnTo>
                    <a:pt x="2" y="23"/>
                  </a:lnTo>
                  <a:lnTo>
                    <a:pt x="5" y="26"/>
                  </a:lnTo>
                  <a:lnTo>
                    <a:pt x="5" y="26"/>
                  </a:lnTo>
                  <a:lnTo>
                    <a:pt x="2" y="33"/>
                  </a:lnTo>
                  <a:lnTo>
                    <a:pt x="2" y="36"/>
                  </a:lnTo>
                  <a:lnTo>
                    <a:pt x="2" y="41"/>
                  </a:lnTo>
                  <a:lnTo>
                    <a:pt x="2" y="41"/>
                  </a:lnTo>
                  <a:lnTo>
                    <a:pt x="0" y="41"/>
                  </a:lnTo>
                  <a:lnTo>
                    <a:pt x="0" y="36"/>
                  </a:lnTo>
                  <a:lnTo>
                    <a:pt x="0" y="38"/>
                  </a:lnTo>
                  <a:lnTo>
                    <a:pt x="0" y="41"/>
                  </a:lnTo>
                  <a:lnTo>
                    <a:pt x="2" y="46"/>
                  </a:lnTo>
                  <a:lnTo>
                    <a:pt x="2" y="51"/>
                  </a:lnTo>
                  <a:lnTo>
                    <a:pt x="5" y="69"/>
                  </a:lnTo>
                  <a:lnTo>
                    <a:pt x="5" y="74"/>
                  </a:lnTo>
                  <a:lnTo>
                    <a:pt x="8" y="79"/>
                  </a:lnTo>
                  <a:lnTo>
                    <a:pt x="10" y="84"/>
                  </a:lnTo>
                  <a:lnTo>
                    <a:pt x="13" y="87"/>
                  </a:lnTo>
                  <a:lnTo>
                    <a:pt x="18" y="89"/>
                  </a:lnTo>
                  <a:lnTo>
                    <a:pt x="23" y="89"/>
                  </a:lnTo>
                  <a:lnTo>
                    <a:pt x="28" y="87"/>
                  </a:lnTo>
                  <a:lnTo>
                    <a:pt x="33" y="84"/>
                  </a:lnTo>
                  <a:lnTo>
                    <a:pt x="36" y="82"/>
                  </a:lnTo>
                  <a:lnTo>
                    <a:pt x="41" y="79"/>
                  </a:lnTo>
                  <a:lnTo>
                    <a:pt x="41" y="76"/>
                  </a:lnTo>
                  <a:lnTo>
                    <a:pt x="43" y="74"/>
                  </a:lnTo>
                  <a:lnTo>
                    <a:pt x="43" y="71"/>
                  </a:lnTo>
                  <a:lnTo>
                    <a:pt x="43" y="66"/>
                  </a:lnTo>
                  <a:lnTo>
                    <a:pt x="43" y="64"/>
                  </a:lnTo>
                  <a:lnTo>
                    <a:pt x="43" y="59"/>
                  </a:lnTo>
                  <a:close/>
                </a:path>
              </a:pathLst>
            </a:custGeom>
            <a:solidFill>
              <a:schemeClr val="bg2">
                <a:lumMod val="60000"/>
                <a:lumOff val="40000"/>
              </a:schemeClr>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202" name="Freeform 1820">
              <a:extLst>
                <a:ext uri="{FF2B5EF4-FFF2-40B4-BE49-F238E27FC236}">
                  <a16:creationId xmlns:a16="http://schemas.microsoft.com/office/drawing/2014/main" id="{3A933253-D6E1-224B-B9B3-8A615AE33309}"/>
                </a:ext>
              </a:extLst>
            </p:cNvPr>
            <p:cNvSpPr>
              <a:spLocks noEditPoints="1"/>
            </p:cNvSpPr>
            <p:nvPr/>
          </p:nvSpPr>
          <p:spPr bwMode="auto">
            <a:xfrm>
              <a:off x="5040999" y="2178479"/>
              <a:ext cx="726267" cy="593773"/>
            </a:xfrm>
            <a:custGeom>
              <a:avLst/>
              <a:gdLst>
                <a:gd name="T0" fmla="*/ 56 w 444"/>
                <a:gd name="T1" fmla="*/ 353 h 363"/>
                <a:gd name="T2" fmla="*/ 51 w 444"/>
                <a:gd name="T3" fmla="*/ 361 h 363"/>
                <a:gd name="T4" fmla="*/ 21 w 444"/>
                <a:gd name="T5" fmla="*/ 351 h 363"/>
                <a:gd name="T6" fmla="*/ 39 w 444"/>
                <a:gd name="T7" fmla="*/ 343 h 363"/>
                <a:gd name="T8" fmla="*/ 33 w 444"/>
                <a:gd name="T9" fmla="*/ 356 h 363"/>
                <a:gd name="T10" fmla="*/ 84 w 444"/>
                <a:gd name="T11" fmla="*/ 341 h 363"/>
                <a:gd name="T12" fmla="*/ 84 w 444"/>
                <a:gd name="T13" fmla="*/ 351 h 363"/>
                <a:gd name="T14" fmla="*/ 5 w 444"/>
                <a:gd name="T15" fmla="*/ 338 h 363"/>
                <a:gd name="T16" fmla="*/ 95 w 444"/>
                <a:gd name="T17" fmla="*/ 328 h 363"/>
                <a:gd name="T18" fmla="*/ 95 w 444"/>
                <a:gd name="T19" fmla="*/ 333 h 363"/>
                <a:gd name="T20" fmla="*/ 390 w 444"/>
                <a:gd name="T21" fmla="*/ 112 h 363"/>
                <a:gd name="T22" fmla="*/ 388 w 444"/>
                <a:gd name="T23" fmla="*/ 104 h 363"/>
                <a:gd name="T24" fmla="*/ 393 w 444"/>
                <a:gd name="T25" fmla="*/ 101 h 363"/>
                <a:gd name="T26" fmla="*/ 423 w 444"/>
                <a:gd name="T27" fmla="*/ 84 h 363"/>
                <a:gd name="T28" fmla="*/ 411 w 444"/>
                <a:gd name="T29" fmla="*/ 94 h 363"/>
                <a:gd name="T30" fmla="*/ 421 w 444"/>
                <a:gd name="T31" fmla="*/ 96 h 363"/>
                <a:gd name="T32" fmla="*/ 436 w 444"/>
                <a:gd name="T33" fmla="*/ 84 h 363"/>
                <a:gd name="T34" fmla="*/ 439 w 444"/>
                <a:gd name="T35" fmla="*/ 84 h 363"/>
                <a:gd name="T36" fmla="*/ 426 w 444"/>
                <a:gd name="T37" fmla="*/ 38 h 363"/>
                <a:gd name="T38" fmla="*/ 423 w 444"/>
                <a:gd name="T39" fmla="*/ 30 h 363"/>
                <a:gd name="T40" fmla="*/ 416 w 444"/>
                <a:gd name="T41" fmla="*/ 33 h 363"/>
                <a:gd name="T42" fmla="*/ 400 w 444"/>
                <a:gd name="T43" fmla="*/ 30 h 363"/>
                <a:gd name="T44" fmla="*/ 393 w 444"/>
                <a:gd name="T45" fmla="*/ 28 h 363"/>
                <a:gd name="T46" fmla="*/ 380 w 444"/>
                <a:gd name="T47" fmla="*/ 20 h 363"/>
                <a:gd name="T48" fmla="*/ 370 w 444"/>
                <a:gd name="T49" fmla="*/ 23 h 363"/>
                <a:gd name="T50" fmla="*/ 357 w 444"/>
                <a:gd name="T51" fmla="*/ 23 h 363"/>
                <a:gd name="T52" fmla="*/ 344 w 444"/>
                <a:gd name="T53" fmla="*/ 15 h 363"/>
                <a:gd name="T54" fmla="*/ 342 w 444"/>
                <a:gd name="T55" fmla="*/ 15 h 363"/>
                <a:gd name="T56" fmla="*/ 334 w 444"/>
                <a:gd name="T57" fmla="*/ 10 h 363"/>
                <a:gd name="T58" fmla="*/ 311 w 444"/>
                <a:gd name="T59" fmla="*/ 10 h 363"/>
                <a:gd name="T60" fmla="*/ 276 w 444"/>
                <a:gd name="T61" fmla="*/ 7 h 363"/>
                <a:gd name="T62" fmla="*/ 240 w 444"/>
                <a:gd name="T63" fmla="*/ 5 h 363"/>
                <a:gd name="T64" fmla="*/ 217 w 444"/>
                <a:gd name="T65" fmla="*/ 5 h 363"/>
                <a:gd name="T66" fmla="*/ 204 w 444"/>
                <a:gd name="T67" fmla="*/ 12 h 363"/>
                <a:gd name="T68" fmla="*/ 204 w 444"/>
                <a:gd name="T69" fmla="*/ 23 h 363"/>
                <a:gd name="T70" fmla="*/ 207 w 444"/>
                <a:gd name="T71" fmla="*/ 30 h 363"/>
                <a:gd name="T72" fmla="*/ 204 w 444"/>
                <a:gd name="T73" fmla="*/ 40 h 363"/>
                <a:gd name="T74" fmla="*/ 217 w 444"/>
                <a:gd name="T75" fmla="*/ 38 h 363"/>
                <a:gd name="T76" fmla="*/ 220 w 444"/>
                <a:gd name="T77" fmla="*/ 43 h 363"/>
                <a:gd name="T78" fmla="*/ 235 w 444"/>
                <a:gd name="T79" fmla="*/ 40 h 363"/>
                <a:gd name="T80" fmla="*/ 242 w 444"/>
                <a:gd name="T81" fmla="*/ 40 h 363"/>
                <a:gd name="T82" fmla="*/ 248 w 444"/>
                <a:gd name="T83" fmla="*/ 45 h 363"/>
                <a:gd name="T84" fmla="*/ 242 w 444"/>
                <a:gd name="T85" fmla="*/ 56 h 363"/>
                <a:gd name="T86" fmla="*/ 237 w 444"/>
                <a:gd name="T87" fmla="*/ 73 h 363"/>
                <a:gd name="T88" fmla="*/ 235 w 444"/>
                <a:gd name="T89" fmla="*/ 81 h 363"/>
                <a:gd name="T90" fmla="*/ 225 w 444"/>
                <a:gd name="T91" fmla="*/ 89 h 363"/>
                <a:gd name="T92" fmla="*/ 232 w 444"/>
                <a:gd name="T93" fmla="*/ 104 h 363"/>
                <a:gd name="T94" fmla="*/ 230 w 444"/>
                <a:gd name="T95" fmla="*/ 124 h 363"/>
                <a:gd name="T96" fmla="*/ 222 w 444"/>
                <a:gd name="T97" fmla="*/ 134 h 363"/>
                <a:gd name="T98" fmla="*/ 232 w 444"/>
                <a:gd name="T99" fmla="*/ 145 h 363"/>
                <a:gd name="T100" fmla="*/ 240 w 444"/>
                <a:gd name="T101" fmla="*/ 160 h 363"/>
                <a:gd name="T102" fmla="*/ 255 w 444"/>
                <a:gd name="T103" fmla="*/ 173 h 363"/>
                <a:gd name="T104" fmla="*/ 263 w 444"/>
                <a:gd name="T105" fmla="*/ 165 h 363"/>
                <a:gd name="T106" fmla="*/ 299 w 444"/>
                <a:gd name="T107" fmla="*/ 157 h 363"/>
                <a:gd name="T108" fmla="*/ 321 w 444"/>
                <a:gd name="T109" fmla="*/ 155 h 363"/>
                <a:gd name="T110" fmla="*/ 347 w 444"/>
                <a:gd name="T111" fmla="*/ 134 h 363"/>
                <a:gd name="T112" fmla="*/ 362 w 444"/>
                <a:gd name="T113" fmla="*/ 114 h 363"/>
                <a:gd name="T114" fmla="*/ 362 w 444"/>
                <a:gd name="T115" fmla="*/ 84 h 363"/>
                <a:gd name="T116" fmla="*/ 380 w 444"/>
                <a:gd name="T117" fmla="*/ 68 h 363"/>
                <a:gd name="T118" fmla="*/ 408 w 444"/>
                <a:gd name="T119" fmla="*/ 51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44" h="363">
                  <a:moveTo>
                    <a:pt x="3" y="361"/>
                  </a:moveTo>
                  <a:lnTo>
                    <a:pt x="0" y="361"/>
                  </a:lnTo>
                  <a:lnTo>
                    <a:pt x="3" y="361"/>
                  </a:lnTo>
                  <a:lnTo>
                    <a:pt x="3" y="363"/>
                  </a:lnTo>
                  <a:lnTo>
                    <a:pt x="5" y="363"/>
                  </a:lnTo>
                  <a:lnTo>
                    <a:pt x="8" y="361"/>
                  </a:lnTo>
                  <a:lnTo>
                    <a:pt x="5" y="358"/>
                  </a:lnTo>
                  <a:lnTo>
                    <a:pt x="3" y="361"/>
                  </a:lnTo>
                  <a:close/>
                  <a:moveTo>
                    <a:pt x="56" y="353"/>
                  </a:moveTo>
                  <a:lnTo>
                    <a:pt x="56" y="353"/>
                  </a:lnTo>
                  <a:lnTo>
                    <a:pt x="54" y="353"/>
                  </a:lnTo>
                  <a:lnTo>
                    <a:pt x="54" y="353"/>
                  </a:lnTo>
                  <a:lnTo>
                    <a:pt x="51" y="353"/>
                  </a:lnTo>
                  <a:lnTo>
                    <a:pt x="49" y="353"/>
                  </a:lnTo>
                  <a:lnTo>
                    <a:pt x="46" y="356"/>
                  </a:lnTo>
                  <a:lnTo>
                    <a:pt x="46" y="358"/>
                  </a:lnTo>
                  <a:lnTo>
                    <a:pt x="49" y="361"/>
                  </a:lnTo>
                  <a:lnTo>
                    <a:pt x="51" y="361"/>
                  </a:lnTo>
                  <a:lnTo>
                    <a:pt x="51" y="361"/>
                  </a:lnTo>
                  <a:lnTo>
                    <a:pt x="54" y="361"/>
                  </a:lnTo>
                  <a:lnTo>
                    <a:pt x="56" y="358"/>
                  </a:lnTo>
                  <a:lnTo>
                    <a:pt x="56" y="356"/>
                  </a:lnTo>
                  <a:lnTo>
                    <a:pt x="56" y="353"/>
                  </a:lnTo>
                  <a:lnTo>
                    <a:pt x="56" y="353"/>
                  </a:lnTo>
                  <a:close/>
                  <a:moveTo>
                    <a:pt x="23" y="353"/>
                  </a:moveTo>
                  <a:lnTo>
                    <a:pt x="21" y="351"/>
                  </a:lnTo>
                  <a:lnTo>
                    <a:pt x="21" y="351"/>
                  </a:lnTo>
                  <a:lnTo>
                    <a:pt x="18" y="351"/>
                  </a:lnTo>
                  <a:lnTo>
                    <a:pt x="18" y="353"/>
                  </a:lnTo>
                  <a:lnTo>
                    <a:pt x="18" y="356"/>
                  </a:lnTo>
                  <a:lnTo>
                    <a:pt x="21" y="356"/>
                  </a:lnTo>
                  <a:lnTo>
                    <a:pt x="21" y="356"/>
                  </a:lnTo>
                  <a:lnTo>
                    <a:pt x="23" y="353"/>
                  </a:lnTo>
                  <a:lnTo>
                    <a:pt x="23" y="353"/>
                  </a:lnTo>
                  <a:lnTo>
                    <a:pt x="23" y="353"/>
                  </a:lnTo>
                  <a:close/>
                  <a:moveTo>
                    <a:pt x="39" y="343"/>
                  </a:moveTo>
                  <a:lnTo>
                    <a:pt x="33" y="346"/>
                  </a:lnTo>
                  <a:lnTo>
                    <a:pt x="33" y="346"/>
                  </a:lnTo>
                  <a:lnTo>
                    <a:pt x="31" y="348"/>
                  </a:lnTo>
                  <a:lnTo>
                    <a:pt x="28" y="348"/>
                  </a:lnTo>
                  <a:lnTo>
                    <a:pt x="26" y="348"/>
                  </a:lnTo>
                  <a:lnTo>
                    <a:pt x="28" y="348"/>
                  </a:lnTo>
                  <a:lnTo>
                    <a:pt x="28" y="353"/>
                  </a:lnTo>
                  <a:lnTo>
                    <a:pt x="31" y="356"/>
                  </a:lnTo>
                  <a:lnTo>
                    <a:pt x="33" y="356"/>
                  </a:lnTo>
                  <a:lnTo>
                    <a:pt x="33" y="353"/>
                  </a:lnTo>
                  <a:lnTo>
                    <a:pt x="36" y="353"/>
                  </a:lnTo>
                  <a:lnTo>
                    <a:pt x="39" y="348"/>
                  </a:lnTo>
                  <a:lnTo>
                    <a:pt x="41" y="343"/>
                  </a:lnTo>
                  <a:lnTo>
                    <a:pt x="41" y="343"/>
                  </a:lnTo>
                  <a:lnTo>
                    <a:pt x="39" y="343"/>
                  </a:lnTo>
                  <a:close/>
                  <a:moveTo>
                    <a:pt x="87" y="338"/>
                  </a:moveTo>
                  <a:lnTo>
                    <a:pt x="84" y="338"/>
                  </a:lnTo>
                  <a:lnTo>
                    <a:pt x="84" y="341"/>
                  </a:lnTo>
                  <a:lnTo>
                    <a:pt x="82" y="343"/>
                  </a:lnTo>
                  <a:lnTo>
                    <a:pt x="79" y="346"/>
                  </a:lnTo>
                  <a:lnTo>
                    <a:pt x="79" y="351"/>
                  </a:lnTo>
                  <a:lnTo>
                    <a:pt x="77" y="353"/>
                  </a:lnTo>
                  <a:lnTo>
                    <a:pt x="74" y="353"/>
                  </a:lnTo>
                  <a:lnTo>
                    <a:pt x="74" y="353"/>
                  </a:lnTo>
                  <a:lnTo>
                    <a:pt x="77" y="356"/>
                  </a:lnTo>
                  <a:lnTo>
                    <a:pt x="79" y="353"/>
                  </a:lnTo>
                  <a:lnTo>
                    <a:pt x="84" y="351"/>
                  </a:lnTo>
                  <a:lnTo>
                    <a:pt x="87" y="346"/>
                  </a:lnTo>
                  <a:lnTo>
                    <a:pt x="87" y="343"/>
                  </a:lnTo>
                  <a:lnTo>
                    <a:pt x="87" y="341"/>
                  </a:lnTo>
                  <a:lnTo>
                    <a:pt x="87" y="338"/>
                  </a:lnTo>
                  <a:lnTo>
                    <a:pt x="87" y="338"/>
                  </a:lnTo>
                  <a:close/>
                  <a:moveTo>
                    <a:pt x="11" y="338"/>
                  </a:moveTo>
                  <a:lnTo>
                    <a:pt x="11" y="336"/>
                  </a:lnTo>
                  <a:lnTo>
                    <a:pt x="8" y="336"/>
                  </a:lnTo>
                  <a:lnTo>
                    <a:pt x="5" y="338"/>
                  </a:lnTo>
                  <a:lnTo>
                    <a:pt x="8" y="343"/>
                  </a:lnTo>
                  <a:lnTo>
                    <a:pt x="8" y="346"/>
                  </a:lnTo>
                  <a:lnTo>
                    <a:pt x="8" y="346"/>
                  </a:lnTo>
                  <a:lnTo>
                    <a:pt x="11" y="343"/>
                  </a:lnTo>
                  <a:lnTo>
                    <a:pt x="11" y="343"/>
                  </a:lnTo>
                  <a:lnTo>
                    <a:pt x="11" y="341"/>
                  </a:lnTo>
                  <a:lnTo>
                    <a:pt x="11" y="341"/>
                  </a:lnTo>
                  <a:lnTo>
                    <a:pt x="11" y="338"/>
                  </a:lnTo>
                  <a:close/>
                  <a:moveTo>
                    <a:pt x="95" y="328"/>
                  </a:moveTo>
                  <a:lnTo>
                    <a:pt x="92" y="330"/>
                  </a:lnTo>
                  <a:lnTo>
                    <a:pt x="92" y="330"/>
                  </a:lnTo>
                  <a:lnTo>
                    <a:pt x="87" y="333"/>
                  </a:lnTo>
                  <a:lnTo>
                    <a:pt x="87" y="333"/>
                  </a:lnTo>
                  <a:lnTo>
                    <a:pt x="87" y="336"/>
                  </a:lnTo>
                  <a:lnTo>
                    <a:pt x="87" y="336"/>
                  </a:lnTo>
                  <a:lnTo>
                    <a:pt x="90" y="336"/>
                  </a:lnTo>
                  <a:lnTo>
                    <a:pt x="92" y="333"/>
                  </a:lnTo>
                  <a:lnTo>
                    <a:pt x="95" y="333"/>
                  </a:lnTo>
                  <a:lnTo>
                    <a:pt x="95" y="330"/>
                  </a:lnTo>
                  <a:lnTo>
                    <a:pt x="95" y="328"/>
                  </a:lnTo>
                  <a:lnTo>
                    <a:pt x="95" y="328"/>
                  </a:lnTo>
                  <a:lnTo>
                    <a:pt x="95" y="328"/>
                  </a:lnTo>
                  <a:close/>
                  <a:moveTo>
                    <a:pt x="390" y="109"/>
                  </a:moveTo>
                  <a:lnTo>
                    <a:pt x="390" y="112"/>
                  </a:lnTo>
                  <a:lnTo>
                    <a:pt x="388" y="112"/>
                  </a:lnTo>
                  <a:lnTo>
                    <a:pt x="390" y="112"/>
                  </a:lnTo>
                  <a:lnTo>
                    <a:pt x="390" y="112"/>
                  </a:lnTo>
                  <a:lnTo>
                    <a:pt x="393" y="112"/>
                  </a:lnTo>
                  <a:lnTo>
                    <a:pt x="393" y="112"/>
                  </a:lnTo>
                  <a:lnTo>
                    <a:pt x="393" y="112"/>
                  </a:lnTo>
                  <a:lnTo>
                    <a:pt x="390" y="112"/>
                  </a:lnTo>
                  <a:lnTo>
                    <a:pt x="390" y="109"/>
                  </a:lnTo>
                  <a:close/>
                  <a:moveTo>
                    <a:pt x="393" y="101"/>
                  </a:moveTo>
                  <a:lnTo>
                    <a:pt x="388" y="104"/>
                  </a:lnTo>
                  <a:lnTo>
                    <a:pt x="388" y="104"/>
                  </a:lnTo>
                  <a:lnTo>
                    <a:pt x="388" y="104"/>
                  </a:lnTo>
                  <a:lnTo>
                    <a:pt x="388" y="104"/>
                  </a:lnTo>
                  <a:lnTo>
                    <a:pt x="385" y="106"/>
                  </a:lnTo>
                  <a:lnTo>
                    <a:pt x="385" y="106"/>
                  </a:lnTo>
                  <a:lnTo>
                    <a:pt x="390" y="109"/>
                  </a:lnTo>
                  <a:lnTo>
                    <a:pt x="390" y="106"/>
                  </a:lnTo>
                  <a:lnTo>
                    <a:pt x="390" y="106"/>
                  </a:lnTo>
                  <a:lnTo>
                    <a:pt x="393" y="104"/>
                  </a:lnTo>
                  <a:lnTo>
                    <a:pt x="393" y="101"/>
                  </a:lnTo>
                  <a:lnTo>
                    <a:pt x="393" y="101"/>
                  </a:lnTo>
                  <a:close/>
                  <a:moveTo>
                    <a:pt x="426" y="86"/>
                  </a:moveTo>
                  <a:lnTo>
                    <a:pt x="426" y="86"/>
                  </a:lnTo>
                  <a:lnTo>
                    <a:pt x="423" y="86"/>
                  </a:lnTo>
                  <a:lnTo>
                    <a:pt x="423" y="86"/>
                  </a:lnTo>
                  <a:lnTo>
                    <a:pt x="423" y="86"/>
                  </a:lnTo>
                  <a:lnTo>
                    <a:pt x="423" y="86"/>
                  </a:lnTo>
                  <a:lnTo>
                    <a:pt x="423" y="84"/>
                  </a:lnTo>
                  <a:lnTo>
                    <a:pt x="423" y="84"/>
                  </a:lnTo>
                  <a:lnTo>
                    <a:pt x="423" y="84"/>
                  </a:lnTo>
                  <a:lnTo>
                    <a:pt x="423" y="84"/>
                  </a:lnTo>
                  <a:lnTo>
                    <a:pt x="423" y="84"/>
                  </a:lnTo>
                  <a:lnTo>
                    <a:pt x="418" y="84"/>
                  </a:lnTo>
                  <a:lnTo>
                    <a:pt x="416" y="86"/>
                  </a:lnTo>
                  <a:lnTo>
                    <a:pt x="408" y="91"/>
                  </a:lnTo>
                  <a:lnTo>
                    <a:pt x="408" y="91"/>
                  </a:lnTo>
                  <a:lnTo>
                    <a:pt x="408" y="91"/>
                  </a:lnTo>
                  <a:lnTo>
                    <a:pt x="408" y="94"/>
                  </a:lnTo>
                  <a:lnTo>
                    <a:pt x="411" y="94"/>
                  </a:lnTo>
                  <a:lnTo>
                    <a:pt x="411" y="91"/>
                  </a:lnTo>
                  <a:lnTo>
                    <a:pt x="413" y="91"/>
                  </a:lnTo>
                  <a:lnTo>
                    <a:pt x="413" y="91"/>
                  </a:lnTo>
                  <a:lnTo>
                    <a:pt x="416" y="94"/>
                  </a:lnTo>
                  <a:lnTo>
                    <a:pt x="416" y="96"/>
                  </a:lnTo>
                  <a:lnTo>
                    <a:pt x="416" y="96"/>
                  </a:lnTo>
                  <a:lnTo>
                    <a:pt x="418" y="96"/>
                  </a:lnTo>
                  <a:lnTo>
                    <a:pt x="421" y="99"/>
                  </a:lnTo>
                  <a:lnTo>
                    <a:pt x="421" y="96"/>
                  </a:lnTo>
                  <a:lnTo>
                    <a:pt x="423" y="96"/>
                  </a:lnTo>
                  <a:lnTo>
                    <a:pt x="426" y="94"/>
                  </a:lnTo>
                  <a:lnTo>
                    <a:pt x="426" y="91"/>
                  </a:lnTo>
                  <a:lnTo>
                    <a:pt x="426" y="91"/>
                  </a:lnTo>
                  <a:lnTo>
                    <a:pt x="428" y="89"/>
                  </a:lnTo>
                  <a:lnTo>
                    <a:pt x="428" y="86"/>
                  </a:lnTo>
                  <a:lnTo>
                    <a:pt x="426" y="86"/>
                  </a:lnTo>
                  <a:close/>
                  <a:moveTo>
                    <a:pt x="436" y="84"/>
                  </a:moveTo>
                  <a:lnTo>
                    <a:pt x="436" y="84"/>
                  </a:lnTo>
                  <a:lnTo>
                    <a:pt x="436" y="84"/>
                  </a:lnTo>
                  <a:lnTo>
                    <a:pt x="436" y="84"/>
                  </a:lnTo>
                  <a:close/>
                  <a:moveTo>
                    <a:pt x="444" y="84"/>
                  </a:moveTo>
                  <a:lnTo>
                    <a:pt x="441" y="84"/>
                  </a:lnTo>
                  <a:lnTo>
                    <a:pt x="439" y="81"/>
                  </a:lnTo>
                  <a:lnTo>
                    <a:pt x="436" y="81"/>
                  </a:lnTo>
                  <a:lnTo>
                    <a:pt x="436" y="84"/>
                  </a:lnTo>
                  <a:lnTo>
                    <a:pt x="436" y="84"/>
                  </a:lnTo>
                  <a:lnTo>
                    <a:pt x="439" y="84"/>
                  </a:lnTo>
                  <a:lnTo>
                    <a:pt x="444" y="86"/>
                  </a:lnTo>
                  <a:lnTo>
                    <a:pt x="444" y="86"/>
                  </a:lnTo>
                  <a:lnTo>
                    <a:pt x="444" y="84"/>
                  </a:lnTo>
                  <a:lnTo>
                    <a:pt x="444" y="84"/>
                  </a:lnTo>
                  <a:close/>
                  <a:moveTo>
                    <a:pt x="421" y="45"/>
                  </a:moveTo>
                  <a:lnTo>
                    <a:pt x="423" y="43"/>
                  </a:lnTo>
                  <a:lnTo>
                    <a:pt x="426" y="40"/>
                  </a:lnTo>
                  <a:lnTo>
                    <a:pt x="426" y="38"/>
                  </a:lnTo>
                  <a:lnTo>
                    <a:pt x="426" y="38"/>
                  </a:lnTo>
                  <a:lnTo>
                    <a:pt x="423" y="35"/>
                  </a:lnTo>
                  <a:lnTo>
                    <a:pt x="423" y="35"/>
                  </a:lnTo>
                  <a:lnTo>
                    <a:pt x="423" y="33"/>
                  </a:lnTo>
                  <a:lnTo>
                    <a:pt x="426" y="33"/>
                  </a:lnTo>
                  <a:lnTo>
                    <a:pt x="426" y="33"/>
                  </a:lnTo>
                  <a:lnTo>
                    <a:pt x="426" y="33"/>
                  </a:lnTo>
                  <a:lnTo>
                    <a:pt x="426" y="30"/>
                  </a:lnTo>
                  <a:lnTo>
                    <a:pt x="426" y="30"/>
                  </a:lnTo>
                  <a:lnTo>
                    <a:pt x="423" y="30"/>
                  </a:lnTo>
                  <a:lnTo>
                    <a:pt x="423" y="30"/>
                  </a:lnTo>
                  <a:lnTo>
                    <a:pt x="421" y="28"/>
                  </a:lnTo>
                  <a:lnTo>
                    <a:pt x="421" y="30"/>
                  </a:lnTo>
                  <a:lnTo>
                    <a:pt x="418" y="30"/>
                  </a:lnTo>
                  <a:lnTo>
                    <a:pt x="418" y="30"/>
                  </a:lnTo>
                  <a:lnTo>
                    <a:pt x="416" y="30"/>
                  </a:lnTo>
                  <a:lnTo>
                    <a:pt x="416" y="30"/>
                  </a:lnTo>
                  <a:lnTo>
                    <a:pt x="416" y="30"/>
                  </a:lnTo>
                  <a:lnTo>
                    <a:pt x="416" y="33"/>
                  </a:lnTo>
                  <a:lnTo>
                    <a:pt x="413" y="33"/>
                  </a:lnTo>
                  <a:lnTo>
                    <a:pt x="411" y="30"/>
                  </a:lnTo>
                  <a:lnTo>
                    <a:pt x="408" y="30"/>
                  </a:lnTo>
                  <a:lnTo>
                    <a:pt x="406" y="30"/>
                  </a:lnTo>
                  <a:lnTo>
                    <a:pt x="403" y="30"/>
                  </a:lnTo>
                  <a:lnTo>
                    <a:pt x="403" y="30"/>
                  </a:lnTo>
                  <a:lnTo>
                    <a:pt x="403" y="30"/>
                  </a:lnTo>
                  <a:lnTo>
                    <a:pt x="403" y="30"/>
                  </a:lnTo>
                  <a:lnTo>
                    <a:pt x="400" y="30"/>
                  </a:lnTo>
                  <a:lnTo>
                    <a:pt x="398" y="28"/>
                  </a:lnTo>
                  <a:lnTo>
                    <a:pt x="398" y="28"/>
                  </a:lnTo>
                  <a:lnTo>
                    <a:pt x="395" y="30"/>
                  </a:lnTo>
                  <a:lnTo>
                    <a:pt x="395" y="30"/>
                  </a:lnTo>
                  <a:lnTo>
                    <a:pt x="393" y="30"/>
                  </a:lnTo>
                  <a:lnTo>
                    <a:pt x="393" y="30"/>
                  </a:lnTo>
                  <a:lnTo>
                    <a:pt x="393" y="30"/>
                  </a:lnTo>
                  <a:lnTo>
                    <a:pt x="393" y="28"/>
                  </a:lnTo>
                  <a:lnTo>
                    <a:pt x="393" y="28"/>
                  </a:lnTo>
                  <a:lnTo>
                    <a:pt x="393" y="28"/>
                  </a:lnTo>
                  <a:lnTo>
                    <a:pt x="393" y="25"/>
                  </a:lnTo>
                  <a:lnTo>
                    <a:pt x="393" y="25"/>
                  </a:lnTo>
                  <a:lnTo>
                    <a:pt x="390" y="23"/>
                  </a:lnTo>
                  <a:lnTo>
                    <a:pt x="390" y="23"/>
                  </a:lnTo>
                  <a:lnTo>
                    <a:pt x="388" y="23"/>
                  </a:lnTo>
                  <a:lnTo>
                    <a:pt x="385" y="23"/>
                  </a:lnTo>
                  <a:lnTo>
                    <a:pt x="380" y="20"/>
                  </a:lnTo>
                  <a:lnTo>
                    <a:pt x="380" y="20"/>
                  </a:lnTo>
                  <a:lnTo>
                    <a:pt x="380" y="20"/>
                  </a:lnTo>
                  <a:lnTo>
                    <a:pt x="380" y="23"/>
                  </a:lnTo>
                  <a:lnTo>
                    <a:pt x="378" y="23"/>
                  </a:lnTo>
                  <a:lnTo>
                    <a:pt x="378" y="25"/>
                  </a:lnTo>
                  <a:lnTo>
                    <a:pt x="378" y="25"/>
                  </a:lnTo>
                  <a:lnTo>
                    <a:pt x="375" y="23"/>
                  </a:lnTo>
                  <a:lnTo>
                    <a:pt x="372" y="25"/>
                  </a:lnTo>
                  <a:lnTo>
                    <a:pt x="372" y="25"/>
                  </a:lnTo>
                  <a:lnTo>
                    <a:pt x="370" y="23"/>
                  </a:lnTo>
                  <a:lnTo>
                    <a:pt x="367" y="25"/>
                  </a:lnTo>
                  <a:lnTo>
                    <a:pt x="365" y="23"/>
                  </a:lnTo>
                  <a:lnTo>
                    <a:pt x="365" y="23"/>
                  </a:lnTo>
                  <a:lnTo>
                    <a:pt x="362" y="23"/>
                  </a:lnTo>
                  <a:lnTo>
                    <a:pt x="362" y="23"/>
                  </a:lnTo>
                  <a:lnTo>
                    <a:pt x="362" y="20"/>
                  </a:lnTo>
                  <a:lnTo>
                    <a:pt x="362" y="20"/>
                  </a:lnTo>
                  <a:lnTo>
                    <a:pt x="360" y="23"/>
                  </a:lnTo>
                  <a:lnTo>
                    <a:pt x="357" y="23"/>
                  </a:lnTo>
                  <a:lnTo>
                    <a:pt x="357" y="23"/>
                  </a:lnTo>
                  <a:lnTo>
                    <a:pt x="357" y="23"/>
                  </a:lnTo>
                  <a:lnTo>
                    <a:pt x="355" y="20"/>
                  </a:lnTo>
                  <a:lnTo>
                    <a:pt x="355" y="17"/>
                  </a:lnTo>
                  <a:lnTo>
                    <a:pt x="352" y="17"/>
                  </a:lnTo>
                  <a:lnTo>
                    <a:pt x="349" y="17"/>
                  </a:lnTo>
                  <a:lnTo>
                    <a:pt x="347" y="17"/>
                  </a:lnTo>
                  <a:lnTo>
                    <a:pt x="344" y="15"/>
                  </a:lnTo>
                  <a:lnTo>
                    <a:pt x="344" y="15"/>
                  </a:lnTo>
                  <a:lnTo>
                    <a:pt x="344" y="15"/>
                  </a:lnTo>
                  <a:lnTo>
                    <a:pt x="344" y="15"/>
                  </a:lnTo>
                  <a:lnTo>
                    <a:pt x="342" y="15"/>
                  </a:lnTo>
                  <a:lnTo>
                    <a:pt x="342" y="17"/>
                  </a:lnTo>
                  <a:lnTo>
                    <a:pt x="342" y="17"/>
                  </a:lnTo>
                  <a:lnTo>
                    <a:pt x="342" y="17"/>
                  </a:lnTo>
                  <a:lnTo>
                    <a:pt x="342" y="15"/>
                  </a:lnTo>
                  <a:lnTo>
                    <a:pt x="339" y="15"/>
                  </a:lnTo>
                  <a:lnTo>
                    <a:pt x="342" y="15"/>
                  </a:lnTo>
                  <a:lnTo>
                    <a:pt x="342" y="15"/>
                  </a:lnTo>
                  <a:lnTo>
                    <a:pt x="342" y="12"/>
                  </a:lnTo>
                  <a:lnTo>
                    <a:pt x="342" y="12"/>
                  </a:lnTo>
                  <a:lnTo>
                    <a:pt x="342" y="12"/>
                  </a:lnTo>
                  <a:lnTo>
                    <a:pt x="339" y="10"/>
                  </a:lnTo>
                  <a:lnTo>
                    <a:pt x="339" y="10"/>
                  </a:lnTo>
                  <a:lnTo>
                    <a:pt x="337" y="10"/>
                  </a:lnTo>
                  <a:lnTo>
                    <a:pt x="337" y="10"/>
                  </a:lnTo>
                  <a:lnTo>
                    <a:pt x="334" y="10"/>
                  </a:lnTo>
                  <a:lnTo>
                    <a:pt x="334" y="7"/>
                  </a:lnTo>
                  <a:lnTo>
                    <a:pt x="334" y="7"/>
                  </a:lnTo>
                  <a:lnTo>
                    <a:pt x="332" y="10"/>
                  </a:lnTo>
                  <a:lnTo>
                    <a:pt x="327" y="10"/>
                  </a:lnTo>
                  <a:lnTo>
                    <a:pt x="324" y="10"/>
                  </a:lnTo>
                  <a:lnTo>
                    <a:pt x="321" y="7"/>
                  </a:lnTo>
                  <a:lnTo>
                    <a:pt x="316" y="7"/>
                  </a:lnTo>
                  <a:lnTo>
                    <a:pt x="314" y="7"/>
                  </a:lnTo>
                  <a:lnTo>
                    <a:pt x="311" y="10"/>
                  </a:lnTo>
                  <a:lnTo>
                    <a:pt x="306" y="7"/>
                  </a:lnTo>
                  <a:lnTo>
                    <a:pt x="304" y="5"/>
                  </a:lnTo>
                  <a:lnTo>
                    <a:pt x="304" y="5"/>
                  </a:lnTo>
                  <a:lnTo>
                    <a:pt x="299" y="7"/>
                  </a:lnTo>
                  <a:lnTo>
                    <a:pt x="299" y="7"/>
                  </a:lnTo>
                  <a:lnTo>
                    <a:pt x="296" y="7"/>
                  </a:lnTo>
                  <a:lnTo>
                    <a:pt x="288" y="7"/>
                  </a:lnTo>
                  <a:lnTo>
                    <a:pt x="286" y="7"/>
                  </a:lnTo>
                  <a:lnTo>
                    <a:pt x="276" y="7"/>
                  </a:lnTo>
                  <a:lnTo>
                    <a:pt x="270" y="5"/>
                  </a:lnTo>
                  <a:lnTo>
                    <a:pt x="265" y="5"/>
                  </a:lnTo>
                  <a:lnTo>
                    <a:pt x="263" y="2"/>
                  </a:lnTo>
                  <a:lnTo>
                    <a:pt x="258" y="5"/>
                  </a:lnTo>
                  <a:lnTo>
                    <a:pt x="255" y="5"/>
                  </a:lnTo>
                  <a:lnTo>
                    <a:pt x="250" y="5"/>
                  </a:lnTo>
                  <a:lnTo>
                    <a:pt x="248" y="5"/>
                  </a:lnTo>
                  <a:lnTo>
                    <a:pt x="242" y="5"/>
                  </a:lnTo>
                  <a:lnTo>
                    <a:pt x="240" y="5"/>
                  </a:lnTo>
                  <a:lnTo>
                    <a:pt x="237" y="5"/>
                  </a:lnTo>
                  <a:lnTo>
                    <a:pt x="235" y="2"/>
                  </a:lnTo>
                  <a:lnTo>
                    <a:pt x="232" y="2"/>
                  </a:lnTo>
                  <a:lnTo>
                    <a:pt x="230" y="2"/>
                  </a:lnTo>
                  <a:lnTo>
                    <a:pt x="230" y="0"/>
                  </a:lnTo>
                  <a:lnTo>
                    <a:pt x="225" y="2"/>
                  </a:lnTo>
                  <a:lnTo>
                    <a:pt x="222" y="2"/>
                  </a:lnTo>
                  <a:lnTo>
                    <a:pt x="220" y="2"/>
                  </a:lnTo>
                  <a:lnTo>
                    <a:pt x="217" y="5"/>
                  </a:lnTo>
                  <a:lnTo>
                    <a:pt x="217" y="5"/>
                  </a:lnTo>
                  <a:lnTo>
                    <a:pt x="217" y="7"/>
                  </a:lnTo>
                  <a:lnTo>
                    <a:pt x="217" y="7"/>
                  </a:lnTo>
                  <a:lnTo>
                    <a:pt x="217" y="7"/>
                  </a:lnTo>
                  <a:lnTo>
                    <a:pt x="214" y="10"/>
                  </a:lnTo>
                  <a:lnTo>
                    <a:pt x="212" y="10"/>
                  </a:lnTo>
                  <a:lnTo>
                    <a:pt x="209" y="10"/>
                  </a:lnTo>
                  <a:lnTo>
                    <a:pt x="207" y="10"/>
                  </a:lnTo>
                  <a:lnTo>
                    <a:pt x="204" y="12"/>
                  </a:lnTo>
                  <a:lnTo>
                    <a:pt x="202" y="12"/>
                  </a:lnTo>
                  <a:lnTo>
                    <a:pt x="202" y="12"/>
                  </a:lnTo>
                  <a:lnTo>
                    <a:pt x="199" y="17"/>
                  </a:lnTo>
                  <a:lnTo>
                    <a:pt x="199" y="17"/>
                  </a:lnTo>
                  <a:lnTo>
                    <a:pt x="199" y="20"/>
                  </a:lnTo>
                  <a:lnTo>
                    <a:pt x="202" y="20"/>
                  </a:lnTo>
                  <a:lnTo>
                    <a:pt x="202" y="20"/>
                  </a:lnTo>
                  <a:lnTo>
                    <a:pt x="204" y="23"/>
                  </a:lnTo>
                  <a:lnTo>
                    <a:pt x="204" y="23"/>
                  </a:lnTo>
                  <a:lnTo>
                    <a:pt x="202" y="25"/>
                  </a:lnTo>
                  <a:lnTo>
                    <a:pt x="202" y="25"/>
                  </a:lnTo>
                  <a:lnTo>
                    <a:pt x="202" y="25"/>
                  </a:lnTo>
                  <a:lnTo>
                    <a:pt x="207" y="25"/>
                  </a:lnTo>
                  <a:lnTo>
                    <a:pt x="207" y="25"/>
                  </a:lnTo>
                  <a:lnTo>
                    <a:pt x="207" y="28"/>
                  </a:lnTo>
                  <a:lnTo>
                    <a:pt x="207" y="28"/>
                  </a:lnTo>
                  <a:lnTo>
                    <a:pt x="207" y="30"/>
                  </a:lnTo>
                  <a:lnTo>
                    <a:pt x="207" y="30"/>
                  </a:lnTo>
                  <a:lnTo>
                    <a:pt x="207" y="30"/>
                  </a:lnTo>
                  <a:lnTo>
                    <a:pt x="204" y="33"/>
                  </a:lnTo>
                  <a:lnTo>
                    <a:pt x="204" y="33"/>
                  </a:lnTo>
                  <a:lnTo>
                    <a:pt x="207" y="33"/>
                  </a:lnTo>
                  <a:lnTo>
                    <a:pt x="207" y="33"/>
                  </a:lnTo>
                  <a:lnTo>
                    <a:pt x="207" y="35"/>
                  </a:lnTo>
                  <a:lnTo>
                    <a:pt x="204" y="38"/>
                  </a:lnTo>
                  <a:lnTo>
                    <a:pt x="204" y="40"/>
                  </a:lnTo>
                  <a:lnTo>
                    <a:pt x="204" y="40"/>
                  </a:lnTo>
                  <a:lnTo>
                    <a:pt x="204" y="40"/>
                  </a:lnTo>
                  <a:lnTo>
                    <a:pt x="207" y="38"/>
                  </a:lnTo>
                  <a:lnTo>
                    <a:pt x="209" y="38"/>
                  </a:lnTo>
                  <a:lnTo>
                    <a:pt x="209" y="38"/>
                  </a:lnTo>
                  <a:lnTo>
                    <a:pt x="214" y="38"/>
                  </a:lnTo>
                  <a:lnTo>
                    <a:pt x="214" y="35"/>
                  </a:lnTo>
                  <a:lnTo>
                    <a:pt x="217" y="35"/>
                  </a:lnTo>
                  <a:lnTo>
                    <a:pt x="217" y="38"/>
                  </a:lnTo>
                  <a:lnTo>
                    <a:pt x="217" y="38"/>
                  </a:lnTo>
                  <a:lnTo>
                    <a:pt x="217" y="38"/>
                  </a:lnTo>
                  <a:lnTo>
                    <a:pt x="217" y="38"/>
                  </a:lnTo>
                  <a:lnTo>
                    <a:pt x="214" y="40"/>
                  </a:lnTo>
                  <a:lnTo>
                    <a:pt x="214" y="40"/>
                  </a:lnTo>
                  <a:lnTo>
                    <a:pt x="217" y="43"/>
                  </a:lnTo>
                  <a:lnTo>
                    <a:pt x="217" y="43"/>
                  </a:lnTo>
                  <a:lnTo>
                    <a:pt x="217" y="43"/>
                  </a:lnTo>
                  <a:lnTo>
                    <a:pt x="217" y="43"/>
                  </a:lnTo>
                  <a:lnTo>
                    <a:pt x="220" y="43"/>
                  </a:lnTo>
                  <a:lnTo>
                    <a:pt x="222" y="43"/>
                  </a:lnTo>
                  <a:lnTo>
                    <a:pt x="222" y="43"/>
                  </a:lnTo>
                  <a:lnTo>
                    <a:pt x="225" y="40"/>
                  </a:lnTo>
                  <a:lnTo>
                    <a:pt x="227" y="43"/>
                  </a:lnTo>
                  <a:lnTo>
                    <a:pt x="227" y="43"/>
                  </a:lnTo>
                  <a:lnTo>
                    <a:pt x="227" y="43"/>
                  </a:lnTo>
                  <a:lnTo>
                    <a:pt x="230" y="43"/>
                  </a:lnTo>
                  <a:lnTo>
                    <a:pt x="232" y="43"/>
                  </a:lnTo>
                  <a:lnTo>
                    <a:pt x="235" y="40"/>
                  </a:lnTo>
                  <a:lnTo>
                    <a:pt x="235" y="40"/>
                  </a:lnTo>
                  <a:lnTo>
                    <a:pt x="235" y="40"/>
                  </a:lnTo>
                  <a:lnTo>
                    <a:pt x="235" y="40"/>
                  </a:lnTo>
                  <a:lnTo>
                    <a:pt x="235" y="40"/>
                  </a:lnTo>
                  <a:lnTo>
                    <a:pt x="235" y="40"/>
                  </a:lnTo>
                  <a:lnTo>
                    <a:pt x="237" y="40"/>
                  </a:lnTo>
                  <a:lnTo>
                    <a:pt x="240" y="40"/>
                  </a:lnTo>
                  <a:lnTo>
                    <a:pt x="240" y="40"/>
                  </a:lnTo>
                  <a:lnTo>
                    <a:pt x="242" y="40"/>
                  </a:lnTo>
                  <a:lnTo>
                    <a:pt x="242" y="40"/>
                  </a:lnTo>
                  <a:lnTo>
                    <a:pt x="245" y="40"/>
                  </a:lnTo>
                  <a:lnTo>
                    <a:pt x="245" y="40"/>
                  </a:lnTo>
                  <a:lnTo>
                    <a:pt x="245" y="43"/>
                  </a:lnTo>
                  <a:lnTo>
                    <a:pt x="245" y="43"/>
                  </a:lnTo>
                  <a:lnTo>
                    <a:pt x="245" y="45"/>
                  </a:lnTo>
                  <a:lnTo>
                    <a:pt x="245" y="45"/>
                  </a:lnTo>
                  <a:lnTo>
                    <a:pt x="248" y="45"/>
                  </a:lnTo>
                  <a:lnTo>
                    <a:pt x="248" y="45"/>
                  </a:lnTo>
                  <a:lnTo>
                    <a:pt x="250" y="48"/>
                  </a:lnTo>
                  <a:lnTo>
                    <a:pt x="250" y="48"/>
                  </a:lnTo>
                  <a:lnTo>
                    <a:pt x="253" y="48"/>
                  </a:lnTo>
                  <a:lnTo>
                    <a:pt x="253" y="51"/>
                  </a:lnTo>
                  <a:lnTo>
                    <a:pt x="250" y="51"/>
                  </a:lnTo>
                  <a:lnTo>
                    <a:pt x="250" y="51"/>
                  </a:lnTo>
                  <a:lnTo>
                    <a:pt x="248" y="53"/>
                  </a:lnTo>
                  <a:lnTo>
                    <a:pt x="245" y="56"/>
                  </a:lnTo>
                  <a:lnTo>
                    <a:pt x="242" y="56"/>
                  </a:lnTo>
                  <a:lnTo>
                    <a:pt x="240" y="58"/>
                  </a:lnTo>
                  <a:lnTo>
                    <a:pt x="237" y="61"/>
                  </a:lnTo>
                  <a:lnTo>
                    <a:pt x="237" y="61"/>
                  </a:lnTo>
                  <a:lnTo>
                    <a:pt x="237" y="61"/>
                  </a:lnTo>
                  <a:lnTo>
                    <a:pt x="237" y="63"/>
                  </a:lnTo>
                  <a:lnTo>
                    <a:pt x="240" y="66"/>
                  </a:lnTo>
                  <a:lnTo>
                    <a:pt x="240" y="68"/>
                  </a:lnTo>
                  <a:lnTo>
                    <a:pt x="240" y="71"/>
                  </a:lnTo>
                  <a:lnTo>
                    <a:pt x="237" y="73"/>
                  </a:lnTo>
                  <a:lnTo>
                    <a:pt x="237" y="73"/>
                  </a:lnTo>
                  <a:lnTo>
                    <a:pt x="237" y="73"/>
                  </a:lnTo>
                  <a:lnTo>
                    <a:pt x="237" y="76"/>
                  </a:lnTo>
                  <a:lnTo>
                    <a:pt x="237" y="76"/>
                  </a:lnTo>
                  <a:lnTo>
                    <a:pt x="237" y="76"/>
                  </a:lnTo>
                  <a:lnTo>
                    <a:pt x="235" y="79"/>
                  </a:lnTo>
                  <a:lnTo>
                    <a:pt x="235" y="79"/>
                  </a:lnTo>
                  <a:lnTo>
                    <a:pt x="235" y="81"/>
                  </a:lnTo>
                  <a:lnTo>
                    <a:pt x="235" y="81"/>
                  </a:lnTo>
                  <a:lnTo>
                    <a:pt x="235" y="84"/>
                  </a:lnTo>
                  <a:lnTo>
                    <a:pt x="237" y="84"/>
                  </a:lnTo>
                  <a:lnTo>
                    <a:pt x="235" y="84"/>
                  </a:lnTo>
                  <a:lnTo>
                    <a:pt x="235" y="86"/>
                  </a:lnTo>
                  <a:lnTo>
                    <a:pt x="232" y="89"/>
                  </a:lnTo>
                  <a:lnTo>
                    <a:pt x="232" y="89"/>
                  </a:lnTo>
                  <a:lnTo>
                    <a:pt x="232" y="89"/>
                  </a:lnTo>
                  <a:lnTo>
                    <a:pt x="225" y="89"/>
                  </a:lnTo>
                  <a:lnTo>
                    <a:pt x="225" y="89"/>
                  </a:lnTo>
                  <a:lnTo>
                    <a:pt x="225" y="89"/>
                  </a:lnTo>
                  <a:lnTo>
                    <a:pt x="225" y="91"/>
                  </a:lnTo>
                  <a:lnTo>
                    <a:pt x="227" y="94"/>
                  </a:lnTo>
                  <a:lnTo>
                    <a:pt x="227" y="94"/>
                  </a:lnTo>
                  <a:lnTo>
                    <a:pt x="227" y="96"/>
                  </a:lnTo>
                  <a:lnTo>
                    <a:pt x="230" y="101"/>
                  </a:lnTo>
                  <a:lnTo>
                    <a:pt x="232" y="101"/>
                  </a:lnTo>
                  <a:lnTo>
                    <a:pt x="232" y="104"/>
                  </a:lnTo>
                  <a:lnTo>
                    <a:pt x="232" y="104"/>
                  </a:lnTo>
                  <a:lnTo>
                    <a:pt x="232" y="106"/>
                  </a:lnTo>
                  <a:lnTo>
                    <a:pt x="230" y="109"/>
                  </a:lnTo>
                  <a:lnTo>
                    <a:pt x="227" y="109"/>
                  </a:lnTo>
                  <a:lnTo>
                    <a:pt x="227" y="112"/>
                  </a:lnTo>
                  <a:lnTo>
                    <a:pt x="227" y="112"/>
                  </a:lnTo>
                  <a:lnTo>
                    <a:pt x="227" y="114"/>
                  </a:lnTo>
                  <a:lnTo>
                    <a:pt x="225" y="117"/>
                  </a:lnTo>
                  <a:lnTo>
                    <a:pt x="225" y="117"/>
                  </a:lnTo>
                  <a:lnTo>
                    <a:pt x="230" y="124"/>
                  </a:lnTo>
                  <a:lnTo>
                    <a:pt x="232" y="124"/>
                  </a:lnTo>
                  <a:lnTo>
                    <a:pt x="232" y="124"/>
                  </a:lnTo>
                  <a:lnTo>
                    <a:pt x="232" y="124"/>
                  </a:lnTo>
                  <a:lnTo>
                    <a:pt x="230" y="127"/>
                  </a:lnTo>
                  <a:lnTo>
                    <a:pt x="230" y="127"/>
                  </a:lnTo>
                  <a:lnTo>
                    <a:pt x="227" y="127"/>
                  </a:lnTo>
                  <a:lnTo>
                    <a:pt x="225" y="129"/>
                  </a:lnTo>
                  <a:lnTo>
                    <a:pt x="225" y="132"/>
                  </a:lnTo>
                  <a:lnTo>
                    <a:pt x="222" y="134"/>
                  </a:lnTo>
                  <a:lnTo>
                    <a:pt x="222" y="137"/>
                  </a:lnTo>
                  <a:lnTo>
                    <a:pt x="222" y="140"/>
                  </a:lnTo>
                  <a:lnTo>
                    <a:pt x="222" y="140"/>
                  </a:lnTo>
                  <a:lnTo>
                    <a:pt x="222" y="147"/>
                  </a:lnTo>
                  <a:lnTo>
                    <a:pt x="227" y="145"/>
                  </a:lnTo>
                  <a:lnTo>
                    <a:pt x="230" y="147"/>
                  </a:lnTo>
                  <a:lnTo>
                    <a:pt x="232" y="145"/>
                  </a:lnTo>
                  <a:lnTo>
                    <a:pt x="232" y="145"/>
                  </a:lnTo>
                  <a:lnTo>
                    <a:pt x="232" y="145"/>
                  </a:lnTo>
                  <a:lnTo>
                    <a:pt x="232" y="147"/>
                  </a:lnTo>
                  <a:lnTo>
                    <a:pt x="240" y="152"/>
                  </a:lnTo>
                  <a:lnTo>
                    <a:pt x="240" y="155"/>
                  </a:lnTo>
                  <a:lnTo>
                    <a:pt x="242" y="152"/>
                  </a:lnTo>
                  <a:lnTo>
                    <a:pt x="245" y="152"/>
                  </a:lnTo>
                  <a:lnTo>
                    <a:pt x="242" y="152"/>
                  </a:lnTo>
                  <a:lnTo>
                    <a:pt x="242" y="155"/>
                  </a:lnTo>
                  <a:lnTo>
                    <a:pt x="240" y="157"/>
                  </a:lnTo>
                  <a:lnTo>
                    <a:pt x="240" y="160"/>
                  </a:lnTo>
                  <a:lnTo>
                    <a:pt x="242" y="160"/>
                  </a:lnTo>
                  <a:lnTo>
                    <a:pt x="242" y="160"/>
                  </a:lnTo>
                  <a:lnTo>
                    <a:pt x="242" y="162"/>
                  </a:lnTo>
                  <a:lnTo>
                    <a:pt x="242" y="165"/>
                  </a:lnTo>
                  <a:lnTo>
                    <a:pt x="245" y="165"/>
                  </a:lnTo>
                  <a:lnTo>
                    <a:pt x="248" y="170"/>
                  </a:lnTo>
                  <a:lnTo>
                    <a:pt x="248" y="170"/>
                  </a:lnTo>
                  <a:lnTo>
                    <a:pt x="250" y="173"/>
                  </a:lnTo>
                  <a:lnTo>
                    <a:pt x="255" y="173"/>
                  </a:lnTo>
                  <a:lnTo>
                    <a:pt x="255" y="173"/>
                  </a:lnTo>
                  <a:lnTo>
                    <a:pt x="258" y="173"/>
                  </a:lnTo>
                  <a:lnTo>
                    <a:pt x="258" y="170"/>
                  </a:lnTo>
                  <a:lnTo>
                    <a:pt x="258" y="170"/>
                  </a:lnTo>
                  <a:lnTo>
                    <a:pt x="258" y="170"/>
                  </a:lnTo>
                  <a:lnTo>
                    <a:pt x="260" y="170"/>
                  </a:lnTo>
                  <a:lnTo>
                    <a:pt x="260" y="168"/>
                  </a:lnTo>
                  <a:lnTo>
                    <a:pt x="263" y="165"/>
                  </a:lnTo>
                  <a:lnTo>
                    <a:pt x="263" y="165"/>
                  </a:lnTo>
                  <a:lnTo>
                    <a:pt x="268" y="162"/>
                  </a:lnTo>
                  <a:lnTo>
                    <a:pt x="273" y="162"/>
                  </a:lnTo>
                  <a:lnTo>
                    <a:pt x="276" y="160"/>
                  </a:lnTo>
                  <a:lnTo>
                    <a:pt x="278" y="157"/>
                  </a:lnTo>
                  <a:lnTo>
                    <a:pt x="278" y="157"/>
                  </a:lnTo>
                  <a:lnTo>
                    <a:pt x="288" y="157"/>
                  </a:lnTo>
                  <a:lnTo>
                    <a:pt x="293" y="157"/>
                  </a:lnTo>
                  <a:lnTo>
                    <a:pt x="296" y="157"/>
                  </a:lnTo>
                  <a:lnTo>
                    <a:pt x="299" y="157"/>
                  </a:lnTo>
                  <a:lnTo>
                    <a:pt x="301" y="157"/>
                  </a:lnTo>
                  <a:lnTo>
                    <a:pt x="306" y="157"/>
                  </a:lnTo>
                  <a:lnTo>
                    <a:pt x="309" y="157"/>
                  </a:lnTo>
                  <a:lnTo>
                    <a:pt x="311" y="157"/>
                  </a:lnTo>
                  <a:lnTo>
                    <a:pt x="311" y="155"/>
                  </a:lnTo>
                  <a:lnTo>
                    <a:pt x="314" y="155"/>
                  </a:lnTo>
                  <a:lnTo>
                    <a:pt x="319" y="155"/>
                  </a:lnTo>
                  <a:lnTo>
                    <a:pt x="319" y="157"/>
                  </a:lnTo>
                  <a:lnTo>
                    <a:pt x="321" y="155"/>
                  </a:lnTo>
                  <a:lnTo>
                    <a:pt x="324" y="152"/>
                  </a:lnTo>
                  <a:lnTo>
                    <a:pt x="327" y="145"/>
                  </a:lnTo>
                  <a:lnTo>
                    <a:pt x="332" y="142"/>
                  </a:lnTo>
                  <a:lnTo>
                    <a:pt x="337" y="137"/>
                  </a:lnTo>
                  <a:lnTo>
                    <a:pt x="344" y="137"/>
                  </a:lnTo>
                  <a:lnTo>
                    <a:pt x="347" y="137"/>
                  </a:lnTo>
                  <a:lnTo>
                    <a:pt x="347" y="137"/>
                  </a:lnTo>
                  <a:lnTo>
                    <a:pt x="349" y="137"/>
                  </a:lnTo>
                  <a:lnTo>
                    <a:pt x="347" y="134"/>
                  </a:lnTo>
                  <a:lnTo>
                    <a:pt x="347" y="132"/>
                  </a:lnTo>
                  <a:lnTo>
                    <a:pt x="347" y="132"/>
                  </a:lnTo>
                  <a:lnTo>
                    <a:pt x="347" y="129"/>
                  </a:lnTo>
                  <a:lnTo>
                    <a:pt x="349" y="127"/>
                  </a:lnTo>
                  <a:lnTo>
                    <a:pt x="349" y="124"/>
                  </a:lnTo>
                  <a:lnTo>
                    <a:pt x="352" y="122"/>
                  </a:lnTo>
                  <a:lnTo>
                    <a:pt x="352" y="119"/>
                  </a:lnTo>
                  <a:lnTo>
                    <a:pt x="355" y="117"/>
                  </a:lnTo>
                  <a:lnTo>
                    <a:pt x="362" y="114"/>
                  </a:lnTo>
                  <a:lnTo>
                    <a:pt x="365" y="112"/>
                  </a:lnTo>
                  <a:lnTo>
                    <a:pt x="367" y="109"/>
                  </a:lnTo>
                  <a:lnTo>
                    <a:pt x="365" y="109"/>
                  </a:lnTo>
                  <a:lnTo>
                    <a:pt x="362" y="106"/>
                  </a:lnTo>
                  <a:lnTo>
                    <a:pt x="360" y="106"/>
                  </a:lnTo>
                  <a:lnTo>
                    <a:pt x="360" y="104"/>
                  </a:lnTo>
                  <a:lnTo>
                    <a:pt x="357" y="96"/>
                  </a:lnTo>
                  <a:lnTo>
                    <a:pt x="357" y="94"/>
                  </a:lnTo>
                  <a:lnTo>
                    <a:pt x="362" y="84"/>
                  </a:lnTo>
                  <a:lnTo>
                    <a:pt x="365" y="84"/>
                  </a:lnTo>
                  <a:lnTo>
                    <a:pt x="367" y="81"/>
                  </a:lnTo>
                  <a:lnTo>
                    <a:pt x="372" y="76"/>
                  </a:lnTo>
                  <a:lnTo>
                    <a:pt x="375" y="71"/>
                  </a:lnTo>
                  <a:lnTo>
                    <a:pt x="378" y="71"/>
                  </a:lnTo>
                  <a:lnTo>
                    <a:pt x="378" y="71"/>
                  </a:lnTo>
                  <a:lnTo>
                    <a:pt x="378" y="68"/>
                  </a:lnTo>
                  <a:lnTo>
                    <a:pt x="380" y="68"/>
                  </a:lnTo>
                  <a:lnTo>
                    <a:pt x="380" y="68"/>
                  </a:lnTo>
                  <a:lnTo>
                    <a:pt x="380" y="66"/>
                  </a:lnTo>
                  <a:lnTo>
                    <a:pt x="378" y="66"/>
                  </a:lnTo>
                  <a:lnTo>
                    <a:pt x="380" y="63"/>
                  </a:lnTo>
                  <a:lnTo>
                    <a:pt x="385" y="61"/>
                  </a:lnTo>
                  <a:lnTo>
                    <a:pt x="388" y="58"/>
                  </a:lnTo>
                  <a:lnTo>
                    <a:pt x="395" y="58"/>
                  </a:lnTo>
                  <a:lnTo>
                    <a:pt x="403" y="56"/>
                  </a:lnTo>
                  <a:lnTo>
                    <a:pt x="406" y="53"/>
                  </a:lnTo>
                  <a:lnTo>
                    <a:pt x="408" y="51"/>
                  </a:lnTo>
                  <a:lnTo>
                    <a:pt x="421" y="45"/>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203" name="Freeform 1821">
              <a:extLst>
                <a:ext uri="{FF2B5EF4-FFF2-40B4-BE49-F238E27FC236}">
                  <a16:creationId xmlns:a16="http://schemas.microsoft.com/office/drawing/2014/main" id="{F36B5E9B-D737-5F40-A4D8-5521C7A49101}"/>
                </a:ext>
              </a:extLst>
            </p:cNvPr>
            <p:cNvSpPr>
              <a:spLocks/>
            </p:cNvSpPr>
            <p:nvPr/>
          </p:nvSpPr>
          <p:spPr bwMode="auto">
            <a:xfrm>
              <a:off x="6400296" y="3348031"/>
              <a:ext cx="366405" cy="323876"/>
            </a:xfrm>
            <a:custGeom>
              <a:avLst/>
              <a:gdLst>
                <a:gd name="T0" fmla="*/ 217 w 224"/>
                <a:gd name="T1" fmla="*/ 140 h 198"/>
                <a:gd name="T2" fmla="*/ 209 w 224"/>
                <a:gd name="T3" fmla="*/ 122 h 198"/>
                <a:gd name="T4" fmla="*/ 199 w 224"/>
                <a:gd name="T5" fmla="*/ 109 h 198"/>
                <a:gd name="T6" fmla="*/ 186 w 224"/>
                <a:gd name="T7" fmla="*/ 101 h 198"/>
                <a:gd name="T8" fmla="*/ 179 w 224"/>
                <a:gd name="T9" fmla="*/ 94 h 198"/>
                <a:gd name="T10" fmla="*/ 191 w 224"/>
                <a:gd name="T11" fmla="*/ 86 h 198"/>
                <a:gd name="T12" fmla="*/ 199 w 224"/>
                <a:gd name="T13" fmla="*/ 81 h 198"/>
                <a:gd name="T14" fmla="*/ 199 w 224"/>
                <a:gd name="T15" fmla="*/ 63 h 198"/>
                <a:gd name="T16" fmla="*/ 194 w 224"/>
                <a:gd name="T17" fmla="*/ 61 h 198"/>
                <a:gd name="T18" fmla="*/ 196 w 224"/>
                <a:gd name="T19" fmla="*/ 53 h 198"/>
                <a:gd name="T20" fmla="*/ 196 w 224"/>
                <a:gd name="T21" fmla="*/ 48 h 198"/>
                <a:gd name="T22" fmla="*/ 184 w 224"/>
                <a:gd name="T23" fmla="*/ 35 h 198"/>
                <a:gd name="T24" fmla="*/ 179 w 224"/>
                <a:gd name="T25" fmla="*/ 33 h 198"/>
                <a:gd name="T26" fmla="*/ 179 w 224"/>
                <a:gd name="T27" fmla="*/ 12 h 198"/>
                <a:gd name="T28" fmla="*/ 179 w 224"/>
                <a:gd name="T29" fmla="*/ 7 h 198"/>
                <a:gd name="T30" fmla="*/ 171 w 224"/>
                <a:gd name="T31" fmla="*/ 0 h 198"/>
                <a:gd name="T32" fmla="*/ 171 w 224"/>
                <a:gd name="T33" fmla="*/ 2 h 198"/>
                <a:gd name="T34" fmla="*/ 158 w 224"/>
                <a:gd name="T35" fmla="*/ 5 h 198"/>
                <a:gd name="T36" fmla="*/ 163 w 224"/>
                <a:gd name="T37" fmla="*/ 17 h 198"/>
                <a:gd name="T38" fmla="*/ 156 w 224"/>
                <a:gd name="T39" fmla="*/ 35 h 198"/>
                <a:gd name="T40" fmla="*/ 143 w 224"/>
                <a:gd name="T41" fmla="*/ 56 h 198"/>
                <a:gd name="T42" fmla="*/ 133 w 224"/>
                <a:gd name="T43" fmla="*/ 56 h 198"/>
                <a:gd name="T44" fmla="*/ 117 w 224"/>
                <a:gd name="T45" fmla="*/ 45 h 198"/>
                <a:gd name="T46" fmla="*/ 107 w 224"/>
                <a:gd name="T47" fmla="*/ 56 h 198"/>
                <a:gd name="T48" fmla="*/ 97 w 224"/>
                <a:gd name="T49" fmla="*/ 61 h 198"/>
                <a:gd name="T50" fmla="*/ 74 w 224"/>
                <a:gd name="T51" fmla="*/ 58 h 198"/>
                <a:gd name="T52" fmla="*/ 51 w 224"/>
                <a:gd name="T53" fmla="*/ 61 h 198"/>
                <a:gd name="T54" fmla="*/ 36 w 224"/>
                <a:gd name="T55" fmla="*/ 45 h 198"/>
                <a:gd name="T56" fmla="*/ 23 w 224"/>
                <a:gd name="T57" fmla="*/ 43 h 198"/>
                <a:gd name="T58" fmla="*/ 18 w 224"/>
                <a:gd name="T59" fmla="*/ 48 h 198"/>
                <a:gd name="T60" fmla="*/ 13 w 224"/>
                <a:gd name="T61" fmla="*/ 61 h 198"/>
                <a:gd name="T62" fmla="*/ 10 w 224"/>
                <a:gd name="T63" fmla="*/ 68 h 198"/>
                <a:gd name="T64" fmla="*/ 3 w 224"/>
                <a:gd name="T65" fmla="*/ 79 h 198"/>
                <a:gd name="T66" fmla="*/ 3 w 224"/>
                <a:gd name="T67" fmla="*/ 86 h 198"/>
                <a:gd name="T68" fmla="*/ 18 w 224"/>
                <a:gd name="T69" fmla="*/ 96 h 198"/>
                <a:gd name="T70" fmla="*/ 23 w 224"/>
                <a:gd name="T71" fmla="*/ 109 h 198"/>
                <a:gd name="T72" fmla="*/ 41 w 224"/>
                <a:gd name="T73" fmla="*/ 122 h 198"/>
                <a:gd name="T74" fmla="*/ 46 w 224"/>
                <a:gd name="T75" fmla="*/ 135 h 198"/>
                <a:gd name="T76" fmla="*/ 56 w 224"/>
                <a:gd name="T77" fmla="*/ 145 h 198"/>
                <a:gd name="T78" fmla="*/ 64 w 224"/>
                <a:gd name="T79" fmla="*/ 152 h 198"/>
                <a:gd name="T80" fmla="*/ 72 w 224"/>
                <a:gd name="T81" fmla="*/ 168 h 198"/>
                <a:gd name="T82" fmla="*/ 79 w 224"/>
                <a:gd name="T83" fmla="*/ 175 h 198"/>
                <a:gd name="T84" fmla="*/ 87 w 224"/>
                <a:gd name="T85" fmla="*/ 178 h 198"/>
                <a:gd name="T86" fmla="*/ 100 w 224"/>
                <a:gd name="T87" fmla="*/ 175 h 198"/>
                <a:gd name="T88" fmla="*/ 112 w 224"/>
                <a:gd name="T89" fmla="*/ 173 h 198"/>
                <a:gd name="T90" fmla="*/ 128 w 224"/>
                <a:gd name="T91" fmla="*/ 188 h 198"/>
                <a:gd name="T92" fmla="*/ 133 w 224"/>
                <a:gd name="T93" fmla="*/ 196 h 198"/>
                <a:gd name="T94" fmla="*/ 135 w 224"/>
                <a:gd name="T95" fmla="*/ 196 h 198"/>
                <a:gd name="T96" fmla="*/ 148 w 224"/>
                <a:gd name="T97" fmla="*/ 193 h 198"/>
                <a:gd name="T98" fmla="*/ 158 w 224"/>
                <a:gd name="T99" fmla="*/ 196 h 198"/>
                <a:gd name="T100" fmla="*/ 163 w 224"/>
                <a:gd name="T101" fmla="*/ 193 h 198"/>
                <a:gd name="T102" fmla="*/ 179 w 224"/>
                <a:gd name="T103" fmla="*/ 188 h 198"/>
                <a:gd name="T104" fmla="*/ 194 w 224"/>
                <a:gd name="T105" fmla="*/ 185 h 198"/>
                <a:gd name="T106" fmla="*/ 219 w 224"/>
                <a:gd name="T107" fmla="*/ 157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24" h="198">
                  <a:moveTo>
                    <a:pt x="224" y="152"/>
                  </a:moveTo>
                  <a:lnTo>
                    <a:pt x="222" y="150"/>
                  </a:lnTo>
                  <a:lnTo>
                    <a:pt x="219" y="147"/>
                  </a:lnTo>
                  <a:lnTo>
                    <a:pt x="219" y="145"/>
                  </a:lnTo>
                  <a:lnTo>
                    <a:pt x="219" y="145"/>
                  </a:lnTo>
                  <a:lnTo>
                    <a:pt x="217" y="140"/>
                  </a:lnTo>
                  <a:lnTo>
                    <a:pt x="217" y="137"/>
                  </a:lnTo>
                  <a:lnTo>
                    <a:pt x="214" y="135"/>
                  </a:lnTo>
                  <a:lnTo>
                    <a:pt x="214" y="127"/>
                  </a:lnTo>
                  <a:lnTo>
                    <a:pt x="212" y="127"/>
                  </a:lnTo>
                  <a:lnTo>
                    <a:pt x="212" y="124"/>
                  </a:lnTo>
                  <a:lnTo>
                    <a:pt x="209" y="122"/>
                  </a:lnTo>
                  <a:lnTo>
                    <a:pt x="209" y="119"/>
                  </a:lnTo>
                  <a:lnTo>
                    <a:pt x="204" y="119"/>
                  </a:lnTo>
                  <a:lnTo>
                    <a:pt x="201" y="117"/>
                  </a:lnTo>
                  <a:lnTo>
                    <a:pt x="199" y="114"/>
                  </a:lnTo>
                  <a:lnTo>
                    <a:pt x="199" y="112"/>
                  </a:lnTo>
                  <a:lnTo>
                    <a:pt x="199" y="109"/>
                  </a:lnTo>
                  <a:lnTo>
                    <a:pt x="196" y="109"/>
                  </a:lnTo>
                  <a:lnTo>
                    <a:pt x="196" y="107"/>
                  </a:lnTo>
                  <a:lnTo>
                    <a:pt x="191" y="104"/>
                  </a:lnTo>
                  <a:lnTo>
                    <a:pt x="191" y="101"/>
                  </a:lnTo>
                  <a:lnTo>
                    <a:pt x="189" y="101"/>
                  </a:lnTo>
                  <a:lnTo>
                    <a:pt x="186" y="101"/>
                  </a:lnTo>
                  <a:lnTo>
                    <a:pt x="184" y="101"/>
                  </a:lnTo>
                  <a:lnTo>
                    <a:pt x="179" y="99"/>
                  </a:lnTo>
                  <a:lnTo>
                    <a:pt x="179" y="99"/>
                  </a:lnTo>
                  <a:lnTo>
                    <a:pt x="179" y="99"/>
                  </a:lnTo>
                  <a:lnTo>
                    <a:pt x="179" y="96"/>
                  </a:lnTo>
                  <a:lnTo>
                    <a:pt x="179" y="94"/>
                  </a:lnTo>
                  <a:lnTo>
                    <a:pt x="181" y="89"/>
                  </a:lnTo>
                  <a:lnTo>
                    <a:pt x="184" y="86"/>
                  </a:lnTo>
                  <a:lnTo>
                    <a:pt x="184" y="86"/>
                  </a:lnTo>
                  <a:lnTo>
                    <a:pt x="186" y="86"/>
                  </a:lnTo>
                  <a:lnTo>
                    <a:pt x="189" y="86"/>
                  </a:lnTo>
                  <a:lnTo>
                    <a:pt x="191" y="86"/>
                  </a:lnTo>
                  <a:lnTo>
                    <a:pt x="194" y="86"/>
                  </a:lnTo>
                  <a:lnTo>
                    <a:pt x="196" y="86"/>
                  </a:lnTo>
                  <a:lnTo>
                    <a:pt x="199" y="84"/>
                  </a:lnTo>
                  <a:lnTo>
                    <a:pt x="199" y="84"/>
                  </a:lnTo>
                  <a:lnTo>
                    <a:pt x="199" y="81"/>
                  </a:lnTo>
                  <a:lnTo>
                    <a:pt x="199" y="81"/>
                  </a:lnTo>
                  <a:lnTo>
                    <a:pt x="199" y="79"/>
                  </a:lnTo>
                  <a:lnTo>
                    <a:pt x="199" y="71"/>
                  </a:lnTo>
                  <a:lnTo>
                    <a:pt x="199" y="68"/>
                  </a:lnTo>
                  <a:lnTo>
                    <a:pt x="199" y="63"/>
                  </a:lnTo>
                  <a:lnTo>
                    <a:pt x="199" y="63"/>
                  </a:lnTo>
                  <a:lnTo>
                    <a:pt x="199" y="63"/>
                  </a:lnTo>
                  <a:lnTo>
                    <a:pt x="196" y="63"/>
                  </a:lnTo>
                  <a:lnTo>
                    <a:pt x="196" y="63"/>
                  </a:lnTo>
                  <a:lnTo>
                    <a:pt x="196" y="63"/>
                  </a:lnTo>
                  <a:lnTo>
                    <a:pt x="194" y="61"/>
                  </a:lnTo>
                  <a:lnTo>
                    <a:pt x="194" y="61"/>
                  </a:lnTo>
                  <a:lnTo>
                    <a:pt x="194" y="61"/>
                  </a:lnTo>
                  <a:lnTo>
                    <a:pt x="194" y="61"/>
                  </a:lnTo>
                  <a:lnTo>
                    <a:pt x="194" y="58"/>
                  </a:lnTo>
                  <a:lnTo>
                    <a:pt x="196" y="56"/>
                  </a:lnTo>
                  <a:lnTo>
                    <a:pt x="196" y="53"/>
                  </a:lnTo>
                  <a:lnTo>
                    <a:pt x="196" y="53"/>
                  </a:lnTo>
                  <a:lnTo>
                    <a:pt x="196" y="53"/>
                  </a:lnTo>
                  <a:lnTo>
                    <a:pt x="196" y="53"/>
                  </a:lnTo>
                  <a:lnTo>
                    <a:pt x="196" y="53"/>
                  </a:lnTo>
                  <a:lnTo>
                    <a:pt x="196" y="53"/>
                  </a:lnTo>
                  <a:lnTo>
                    <a:pt x="196" y="51"/>
                  </a:lnTo>
                  <a:lnTo>
                    <a:pt x="196" y="51"/>
                  </a:lnTo>
                  <a:lnTo>
                    <a:pt x="196" y="48"/>
                  </a:lnTo>
                  <a:lnTo>
                    <a:pt x="196" y="48"/>
                  </a:lnTo>
                  <a:lnTo>
                    <a:pt x="196" y="48"/>
                  </a:lnTo>
                  <a:lnTo>
                    <a:pt x="196" y="45"/>
                  </a:lnTo>
                  <a:lnTo>
                    <a:pt x="194" y="45"/>
                  </a:lnTo>
                  <a:lnTo>
                    <a:pt x="186" y="38"/>
                  </a:lnTo>
                  <a:lnTo>
                    <a:pt x="184" y="35"/>
                  </a:lnTo>
                  <a:lnTo>
                    <a:pt x="184" y="35"/>
                  </a:lnTo>
                  <a:lnTo>
                    <a:pt x="184" y="35"/>
                  </a:lnTo>
                  <a:lnTo>
                    <a:pt x="179" y="33"/>
                  </a:lnTo>
                  <a:lnTo>
                    <a:pt x="179" y="33"/>
                  </a:lnTo>
                  <a:lnTo>
                    <a:pt x="179" y="33"/>
                  </a:lnTo>
                  <a:lnTo>
                    <a:pt x="179" y="33"/>
                  </a:lnTo>
                  <a:lnTo>
                    <a:pt x="181" y="30"/>
                  </a:lnTo>
                  <a:lnTo>
                    <a:pt x="181" y="30"/>
                  </a:lnTo>
                  <a:lnTo>
                    <a:pt x="181" y="30"/>
                  </a:lnTo>
                  <a:lnTo>
                    <a:pt x="179" y="15"/>
                  </a:lnTo>
                  <a:lnTo>
                    <a:pt x="179" y="12"/>
                  </a:lnTo>
                  <a:lnTo>
                    <a:pt x="179" y="12"/>
                  </a:lnTo>
                  <a:lnTo>
                    <a:pt x="179" y="12"/>
                  </a:lnTo>
                  <a:lnTo>
                    <a:pt x="179" y="12"/>
                  </a:lnTo>
                  <a:lnTo>
                    <a:pt x="179" y="12"/>
                  </a:lnTo>
                  <a:lnTo>
                    <a:pt x="179" y="12"/>
                  </a:lnTo>
                  <a:lnTo>
                    <a:pt x="179" y="12"/>
                  </a:lnTo>
                  <a:lnTo>
                    <a:pt x="179" y="7"/>
                  </a:lnTo>
                  <a:lnTo>
                    <a:pt x="179" y="5"/>
                  </a:lnTo>
                  <a:lnTo>
                    <a:pt x="181" y="2"/>
                  </a:lnTo>
                  <a:lnTo>
                    <a:pt x="181" y="0"/>
                  </a:lnTo>
                  <a:lnTo>
                    <a:pt x="171" y="0"/>
                  </a:lnTo>
                  <a:lnTo>
                    <a:pt x="171" y="0"/>
                  </a:lnTo>
                  <a:lnTo>
                    <a:pt x="171" y="0"/>
                  </a:lnTo>
                  <a:lnTo>
                    <a:pt x="171" y="0"/>
                  </a:lnTo>
                  <a:lnTo>
                    <a:pt x="171" y="0"/>
                  </a:lnTo>
                  <a:lnTo>
                    <a:pt x="171" y="0"/>
                  </a:lnTo>
                  <a:lnTo>
                    <a:pt x="171" y="0"/>
                  </a:lnTo>
                  <a:lnTo>
                    <a:pt x="171" y="2"/>
                  </a:lnTo>
                  <a:lnTo>
                    <a:pt x="171" y="2"/>
                  </a:lnTo>
                  <a:lnTo>
                    <a:pt x="171" y="2"/>
                  </a:lnTo>
                  <a:lnTo>
                    <a:pt x="171" y="2"/>
                  </a:lnTo>
                  <a:lnTo>
                    <a:pt x="171" y="2"/>
                  </a:lnTo>
                  <a:lnTo>
                    <a:pt x="171" y="5"/>
                  </a:lnTo>
                  <a:lnTo>
                    <a:pt x="171" y="5"/>
                  </a:lnTo>
                  <a:lnTo>
                    <a:pt x="158" y="5"/>
                  </a:lnTo>
                  <a:lnTo>
                    <a:pt x="163" y="10"/>
                  </a:lnTo>
                  <a:lnTo>
                    <a:pt x="163" y="10"/>
                  </a:lnTo>
                  <a:lnTo>
                    <a:pt x="163" y="12"/>
                  </a:lnTo>
                  <a:lnTo>
                    <a:pt x="163" y="12"/>
                  </a:lnTo>
                  <a:lnTo>
                    <a:pt x="163" y="15"/>
                  </a:lnTo>
                  <a:lnTo>
                    <a:pt x="163" y="17"/>
                  </a:lnTo>
                  <a:lnTo>
                    <a:pt x="163" y="20"/>
                  </a:lnTo>
                  <a:lnTo>
                    <a:pt x="163" y="23"/>
                  </a:lnTo>
                  <a:lnTo>
                    <a:pt x="166" y="25"/>
                  </a:lnTo>
                  <a:lnTo>
                    <a:pt x="166" y="25"/>
                  </a:lnTo>
                  <a:lnTo>
                    <a:pt x="166" y="25"/>
                  </a:lnTo>
                  <a:lnTo>
                    <a:pt x="156" y="35"/>
                  </a:lnTo>
                  <a:lnTo>
                    <a:pt x="156" y="35"/>
                  </a:lnTo>
                  <a:lnTo>
                    <a:pt x="153" y="38"/>
                  </a:lnTo>
                  <a:lnTo>
                    <a:pt x="153" y="40"/>
                  </a:lnTo>
                  <a:lnTo>
                    <a:pt x="153" y="43"/>
                  </a:lnTo>
                  <a:lnTo>
                    <a:pt x="151" y="45"/>
                  </a:lnTo>
                  <a:lnTo>
                    <a:pt x="143" y="56"/>
                  </a:lnTo>
                  <a:lnTo>
                    <a:pt x="140" y="56"/>
                  </a:lnTo>
                  <a:lnTo>
                    <a:pt x="135" y="56"/>
                  </a:lnTo>
                  <a:lnTo>
                    <a:pt x="133" y="56"/>
                  </a:lnTo>
                  <a:lnTo>
                    <a:pt x="133" y="56"/>
                  </a:lnTo>
                  <a:lnTo>
                    <a:pt x="133" y="56"/>
                  </a:lnTo>
                  <a:lnTo>
                    <a:pt x="133" y="56"/>
                  </a:lnTo>
                  <a:lnTo>
                    <a:pt x="133" y="56"/>
                  </a:lnTo>
                  <a:lnTo>
                    <a:pt x="133" y="56"/>
                  </a:lnTo>
                  <a:lnTo>
                    <a:pt x="133" y="56"/>
                  </a:lnTo>
                  <a:lnTo>
                    <a:pt x="128" y="51"/>
                  </a:lnTo>
                  <a:lnTo>
                    <a:pt x="117" y="43"/>
                  </a:lnTo>
                  <a:lnTo>
                    <a:pt x="117" y="45"/>
                  </a:lnTo>
                  <a:lnTo>
                    <a:pt x="110" y="48"/>
                  </a:lnTo>
                  <a:lnTo>
                    <a:pt x="110" y="48"/>
                  </a:lnTo>
                  <a:lnTo>
                    <a:pt x="110" y="48"/>
                  </a:lnTo>
                  <a:lnTo>
                    <a:pt x="110" y="51"/>
                  </a:lnTo>
                  <a:lnTo>
                    <a:pt x="107" y="53"/>
                  </a:lnTo>
                  <a:lnTo>
                    <a:pt x="107" y="56"/>
                  </a:lnTo>
                  <a:lnTo>
                    <a:pt x="102" y="56"/>
                  </a:lnTo>
                  <a:lnTo>
                    <a:pt x="100" y="58"/>
                  </a:lnTo>
                  <a:lnTo>
                    <a:pt x="97" y="58"/>
                  </a:lnTo>
                  <a:lnTo>
                    <a:pt x="97" y="58"/>
                  </a:lnTo>
                  <a:lnTo>
                    <a:pt x="97" y="58"/>
                  </a:lnTo>
                  <a:lnTo>
                    <a:pt x="97" y="61"/>
                  </a:lnTo>
                  <a:lnTo>
                    <a:pt x="94" y="63"/>
                  </a:lnTo>
                  <a:lnTo>
                    <a:pt x="94" y="63"/>
                  </a:lnTo>
                  <a:lnTo>
                    <a:pt x="94" y="66"/>
                  </a:lnTo>
                  <a:lnTo>
                    <a:pt x="79" y="66"/>
                  </a:lnTo>
                  <a:lnTo>
                    <a:pt x="77" y="63"/>
                  </a:lnTo>
                  <a:lnTo>
                    <a:pt x="74" y="58"/>
                  </a:lnTo>
                  <a:lnTo>
                    <a:pt x="74" y="58"/>
                  </a:lnTo>
                  <a:lnTo>
                    <a:pt x="74" y="58"/>
                  </a:lnTo>
                  <a:lnTo>
                    <a:pt x="59" y="58"/>
                  </a:lnTo>
                  <a:lnTo>
                    <a:pt x="56" y="58"/>
                  </a:lnTo>
                  <a:lnTo>
                    <a:pt x="54" y="61"/>
                  </a:lnTo>
                  <a:lnTo>
                    <a:pt x="51" y="61"/>
                  </a:lnTo>
                  <a:lnTo>
                    <a:pt x="49" y="61"/>
                  </a:lnTo>
                  <a:lnTo>
                    <a:pt x="41" y="51"/>
                  </a:lnTo>
                  <a:lnTo>
                    <a:pt x="38" y="51"/>
                  </a:lnTo>
                  <a:lnTo>
                    <a:pt x="38" y="48"/>
                  </a:lnTo>
                  <a:lnTo>
                    <a:pt x="38" y="48"/>
                  </a:lnTo>
                  <a:lnTo>
                    <a:pt x="36" y="45"/>
                  </a:lnTo>
                  <a:lnTo>
                    <a:pt x="36" y="45"/>
                  </a:lnTo>
                  <a:lnTo>
                    <a:pt x="36" y="45"/>
                  </a:lnTo>
                  <a:lnTo>
                    <a:pt x="36" y="43"/>
                  </a:lnTo>
                  <a:lnTo>
                    <a:pt x="33" y="40"/>
                  </a:lnTo>
                  <a:lnTo>
                    <a:pt x="33" y="40"/>
                  </a:lnTo>
                  <a:lnTo>
                    <a:pt x="23" y="43"/>
                  </a:lnTo>
                  <a:lnTo>
                    <a:pt x="21" y="43"/>
                  </a:lnTo>
                  <a:lnTo>
                    <a:pt x="18" y="43"/>
                  </a:lnTo>
                  <a:lnTo>
                    <a:pt x="18" y="43"/>
                  </a:lnTo>
                  <a:lnTo>
                    <a:pt x="18" y="45"/>
                  </a:lnTo>
                  <a:lnTo>
                    <a:pt x="18" y="45"/>
                  </a:lnTo>
                  <a:lnTo>
                    <a:pt x="18" y="48"/>
                  </a:lnTo>
                  <a:lnTo>
                    <a:pt x="18" y="48"/>
                  </a:lnTo>
                  <a:lnTo>
                    <a:pt x="15" y="51"/>
                  </a:lnTo>
                  <a:lnTo>
                    <a:pt x="13" y="53"/>
                  </a:lnTo>
                  <a:lnTo>
                    <a:pt x="13" y="56"/>
                  </a:lnTo>
                  <a:lnTo>
                    <a:pt x="13" y="58"/>
                  </a:lnTo>
                  <a:lnTo>
                    <a:pt x="13" y="61"/>
                  </a:lnTo>
                  <a:lnTo>
                    <a:pt x="13" y="61"/>
                  </a:lnTo>
                  <a:lnTo>
                    <a:pt x="10" y="63"/>
                  </a:lnTo>
                  <a:lnTo>
                    <a:pt x="10" y="63"/>
                  </a:lnTo>
                  <a:lnTo>
                    <a:pt x="10" y="66"/>
                  </a:lnTo>
                  <a:lnTo>
                    <a:pt x="10" y="68"/>
                  </a:lnTo>
                  <a:lnTo>
                    <a:pt x="10" y="68"/>
                  </a:lnTo>
                  <a:lnTo>
                    <a:pt x="8" y="71"/>
                  </a:lnTo>
                  <a:lnTo>
                    <a:pt x="8" y="73"/>
                  </a:lnTo>
                  <a:lnTo>
                    <a:pt x="8" y="73"/>
                  </a:lnTo>
                  <a:lnTo>
                    <a:pt x="8" y="76"/>
                  </a:lnTo>
                  <a:lnTo>
                    <a:pt x="3" y="76"/>
                  </a:lnTo>
                  <a:lnTo>
                    <a:pt x="3" y="79"/>
                  </a:lnTo>
                  <a:lnTo>
                    <a:pt x="0" y="79"/>
                  </a:lnTo>
                  <a:lnTo>
                    <a:pt x="0" y="81"/>
                  </a:lnTo>
                  <a:lnTo>
                    <a:pt x="0" y="81"/>
                  </a:lnTo>
                  <a:lnTo>
                    <a:pt x="3" y="81"/>
                  </a:lnTo>
                  <a:lnTo>
                    <a:pt x="0" y="84"/>
                  </a:lnTo>
                  <a:lnTo>
                    <a:pt x="3" y="86"/>
                  </a:lnTo>
                  <a:lnTo>
                    <a:pt x="3" y="89"/>
                  </a:lnTo>
                  <a:lnTo>
                    <a:pt x="5" y="89"/>
                  </a:lnTo>
                  <a:lnTo>
                    <a:pt x="8" y="89"/>
                  </a:lnTo>
                  <a:lnTo>
                    <a:pt x="13" y="91"/>
                  </a:lnTo>
                  <a:lnTo>
                    <a:pt x="15" y="91"/>
                  </a:lnTo>
                  <a:lnTo>
                    <a:pt x="18" y="96"/>
                  </a:lnTo>
                  <a:lnTo>
                    <a:pt x="21" y="99"/>
                  </a:lnTo>
                  <a:lnTo>
                    <a:pt x="23" y="101"/>
                  </a:lnTo>
                  <a:lnTo>
                    <a:pt x="23" y="104"/>
                  </a:lnTo>
                  <a:lnTo>
                    <a:pt x="21" y="107"/>
                  </a:lnTo>
                  <a:lnTo>
                    <a:pt x="21" y="107"/>
                  </a:lnTo>
                  <a:lnTo>
                    <a:pt x="23" y="109"/>
                  </a:lnTo>
                  <a:lnTo>
                    <a:pt x="26" y="112"/>
                  </a:lnTo>
                  <a:lnTo>
                    <a:pt x="28" y="112"/>
                  </a:lnTo>
                  <a:lnTo>
                    <a:pt x="36" y="117"/>
                  </a:lnTo>
                  <a:lnTo>
                    <a:pt x="38" y="119"/>
                  </a:lnTo>
                  <a:lnTo>
                    <a:pt x="38" y="122"/>
                  </a:lnTo>
                  <a:lnTo>
                    <a:pt x="41" y="122"/>
                  </a:lnTo>
                  <a:lnTo>
                    <a:pt x="43" y="124"/>
                  </a:lnTo>
                  <a:lnTo>
                    <a:pt x="46" y="127"/>
                  </a:lnTo>
                  <a:lnTo>
                    <a:pt x="43" y="129"/>
                  </a:lnTo>
                  <a:lnTo>
                    <a:pt x="43" y="132"/>
                  </a:lnTo>
                  <a:lnTo>
                    <a:pt x="46" y="132"/>
                  </a:lnTo>
                  <a:lnTo>
                    <a:pt x="46" y="135"/>
                  </a:lnTo>
                  <a:lnTo>
                    <a:pt x="46" y="137"/>
                  </a:lnTo>
                  <a:lnTo>
                    <a:pt x="49" y="140"/>
                  </a:lnTo>
                  <a:lnTo>
                    <a:pt x="51" y="140"/>
                  </a:lnTo>
                  <a:lnTo>
                    <a:pt x="54" y="140"/>
                  </a:lnTo>
                  <a:lnTo>
                    <a:pt x="54" y="142"/>
                  </a:lnTo>
                  <a:lnTo>
                    <a:pt x="56" y="145"/>
                  </a:lnTo>
                  <a:lnTo>
                    <a:pt x="59" y="145"/>
                  </a:lnTo>
                  <a:lnTo>
                    <a:pt x="61" y="147"/>
                  </a:lnTo>
                  <a:lnTo>
                    <a:pt x="61" y="147"/>
                  </a:lnTo>
                  <a:lnTo>
                    <a:pt x="61" y="150"/>
                  </a:lnTo>
                  <a:lnTo>
                    <a:pt x="64" y="150"/>
                  </a:lnTo>
                  <a:lnTo>
                    <a:pt x="64" y="152"/>
                  </a:lnTo>
                  <a:lnTo>
                    <a:pt x="64" y="157"/>
                  </a:lnTo>
                  <a:lnTo>
                    <a:pt x="64" y="160"/>
                  </a:lnTo>
                  <a:lnTo>
                    <a:pt x="66" y="160"/>
                  </a:lnTo>
                  <a:lnTo>
                    <a:pt x="66" y="162"/>
                  </a:lnTo>
                  <a:lnTo>
                    <a:pt x="69" y="165"/>
                  </a:lnTo>
                  <a:lnTo>
                    <a:pt x="72" y="168"/>
                  </a:lnTo>
                  <a:lnTo>
                    <a:pt x="72" y="168"/>
                  </a:lnTo>
                  <a:lnTo>
                    <a:pt x="74" y="170"/>
                  </a:lnTo>
                  <a:lnTo>
                    <a:pt x="74" y="173"/>
                  </a:lnTo>
                  <a:lnTo>
                    <a:pt x="74" y="173"/>
                  </a:lnTo>
                  <a:lnTo>
                    <a:pt x="77" y="173"/>
                  </a:lnTo>
                  <a:lnTo>
                    <a:pt x="79" y="175"/>
                  </a:lnTo>
                  <a:lnTo>
                    <a:pt x="79" y="175"/>
                  </a:lnTo>
                  <a:lnTo>
                    <a:pt x="79" y="178"/>
                  </a:lnTo>
                  <a:lnTo>
                    <a:pt x="82" y="178"/>
                  </a:lnTo>
                  <a:lnTo>
                    <a:pt x="84" y="178"/>
                  </a:lnTo>
                  <a:lnTo>
                    <a:pt x="84" y="178"/>
                  </a:lnTo>
                  <a:lnTo>
                    <a:pt x="87" y="178"/>
                  </a:lnTo>
                  <a:lnTo>
                    <a:pt x="87" y="178"/>
                  </a:lnTo>
                  <a:lnTo>
                    <a:pt x="89" y="178"/>
                  </a:lnTo>
                  <a:lnTo>
                    <a:pt x="92" y="175"/>
                  </a:lnTo>
                  <a:lnTo>
                    <a:pt x="92" y="175"/>
                  </a:lnTo>
                  <a:lnTo>
                    <a:pt x="97" y="175"/>
                  </a:lnTo>
                  <a:lnTo>
                    <a:pt x="100" y="175"/>
                  </a:lnTo>
                  <a:lnTo>
                    <a:pt x="102" y="178"/>
                  </a:lnTo>
                  <a:lnTo>
                    <a:pt x="102" y="178"/>
                  </a:lnTo>
                  <a:lnTo>
                    <a:pt x="107" y="175"/>
                  </a:lnTo>
                  <a:lnTo>
                    <a:pt x="107" y="173"/>
                  </a:lnTo>
                  <a:lnTo>
                    <a:pt x="110" y="173"/>
                  </a:lnTo>
                  <a:lnTo>
                    <a:pt x="112" y="173"/>
                  </a:lnTo>
                  <a:lnTo>
                    <a:pt x="115" y="175"/>
                  </a:lnTo>
                  <a:lnTo>
                    <a:pt x="115" y="178"/>
                  </a:lnTo>
                  <a:lnTo>
                    <a:pt x="117" y="180"/>
                  </a:lnTo>
                  <a:lnTo>
                    <a:pt x="120" y="183"/>
                  </a:lnTo>
                  <a:lnTo>
                    <a:pt x="122" y="185"/>
                  </a:lnTo>
                  <a:lnTo>
                    <a:pt x="128" y="188"/>
                  </a:lnTo>
                  <a:lnTo>
                    <a:pt x="128" y="190"/>
                  </a:lnTo>
                  <a:lnTo>
                    <a:pt x="130" y="190"/>
                  </a:lnTo>
                  <a:lnTo>
                    <a:pt x="130" y="193"/>
                  </a:lnTo>
                  <a:lnTo>
                    <a:pt x="130" y="193"/>
                  </a:lnTo>
                  <a:lnTo>
                    <a:pt x="130" y="196"/>
                  </a:lnTo>
                  <a:lnTo>
                    <a:pt x="133" y="196"/>
                  </a:lnTo>
                  <a:lnTo>
                    <a:pt x="133" y="193"/>
                  </a:lnTo>
                  <a:lnTo>
                    <a:pt x="133" y="196"/>
                  </a:lnTo>
                  <a:lnTo>
                    <a:pt x="135" y="196"/>
                  </a:lnTo>
                  <a:lnTo>
                    <a:pt x="135" y="196"/>
                  </a:lnTo>
                  <a:lnTo>
                    <a:pt x="135" y="198"/>
                  </a:lnTo>
                  <a:lnTo>
                    <a:pt x="135" y="196"/>
                  </a:lnTo>
                  <a:lnTo>
                    <a:pt x="138" y="196"/>
                  </a:lnTo>
                  <a:lnTo>
                    <a:pt x="140" y="193"/>
                  </a:lnTo>
                  <a:lnTo>
                    <a:pt x="143" y="190"/>
                  </a:lnTo>
                  <a:lnTo>
                    <a:pt x="143" y="190"/>
                  </a:lnTo>
                  <a:lnTo>
                    <a:pt x="145" y="193"/>
                  </a:lnTo>
                  <a:lnTo>
                    <a:pt x="148" y="193"/>
                  </a:lnTo>
                  <a:lnTo>
                    <a:pt x="151" y="193"/>
                  </a:lnTo>
                  <a:lnTo>
                    <a:pt x="151" y="193"/>
                  </a:lnTo>
                  <a:lnTo>
                    <a:pt x="156" y="190"/>
                  </a:lnTo>
                  <a:lnTo>
                    <a:pt x="156" y="190"/>
                  </a:lnTo>
                  <a:lnTo>
                    <a:pt x="156" y="193"/>
                  </a:lnTo>
                  <a:lnTo>
                    <a:pt x="158" y="196"/>
                  </a:lnTo>
                  <a:lnTo>
                    <a:pt x="161" y="196"/>
                  </a:lnTo>
                  <a:lnTo>
                    <a:pt x="161" y="198"/>
                  </a:lnTo>
                  <a:lnTo>
                    <a:pt x="161" y="198"/>
                  </a:lnTo>
                  <a:lnTo>
                    <a:pt x="161" y="198"/>
                  </a:lnTo>
                  <a:lnTo>
                    <a:pt x="163" y="196"/>
                  </a:lnTo>
                  <a:lnTo>
                    <a:pt x="163" y="193"/>
                  </a:lnTo>
                  <a:lnTo>
                    <a:pt x="166" y="193"/>
                  </a:lnTo>
                  <a:lnTo>
                    <a:pt x="168" y="193"/>
                  </a:lnTo>
                  <a:lnTo>
                    <a:pt x="173" y="190"/>
                  </a:lnTo>
                  <a:lnTo>
                    <a:pt x="173" y="190"/>
                  </a:lnTo>
                  <a:lnTo>
                    <a:pt x="176" y="190"/>
                  </a:lnTo>
                  <a:lnTo>
                    <a:pt x="179" y="188"/>
                  </a:lnTo>
                  <a:lnTo>
                    <a:pt x="181" y="190"/>
                  </a:lnTo>
                  <a:lnTo>
                    <a:pt x="186" y="193"/>
                  </a:lnTo>
                  <a:lnTo>
                    <a:pt x="189" y="193"/>
                  </a:lnTo>
                  <a:lnTo>
                    <a:pt x="189" y="190"/>
                  </a:lnTo>
                  <a:lnTo>
                    <a:pt x="191" y="190"/>
                  </a:lnTo>
                  <a:lnTo>
                    <a:pt x="194" y="185"/>
                  </a:lnTo>
                  <a:lnTo>
                    <a:pt x="199" y="180"/>
                  </a:lnTo>
                  <a:lnTo>
                    <a:pt x="201" y="178"/>
                  </a:lnTo>
                  <a:lnTo>
                    <a:pt x="207" y="173"/>
                  </a:lnTo>
                  <a:lnTo>
                    <a:pt x="212" y="165"/>
                  </a:lnTo>
                  <a:lnTo>
                    <a:pt x="217" y="160"/>
                  </a:lnTo>
                  <a:lnTo>
                    <a:pt x="219" y="157"/>
                  </a:lnTo>
                  <a:lnTo>
                    <a:pt x="224" y="152"/>
                  </a:lnTo>
                  <a:lnTo>
                    <a:pt x="224" y="152"/>
                  </a:lnTo>
                  <a:close/>
                </a:path>
              </a:pathLst>
            </a:custGeom>
            <a:solidFill>
              <a:srgbClr val="FFC000"/>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204" name="Freeform 1822">
              <a:extLst>
                <a:ext uri="{FF2B5EF4-FFF2-40B4-BE49-F238E27FC236}">
                  <a16:creationId xmlns:a16="http://schemas.microsoft.com/office/drawing/2014/main" id="{314C6D31-E88D-6E43-A457-9A00F25238D5}"/>
                </a:ext>
              </a:extLst>
            </p:cNvPr>
            <p:cNvSpPr>
              <a:spLocks noEditPoints="1"/>
            </p:cNvSpPr>
            <p:nvPr/>
          </p:nvSpPr>
          <p:spPr bwMode="auto">
            <a:xfrm>
              <a:off x="9506560" y="2364953"/>
              <a:ext cx="140673" cy="204468"/>
            </a:xfrm>
            <a:custGeom>
              <a:avLst/>
              <a:gdLst>
                <a:gd name="T0" fmla="*/ 35 w 86"/>
                <a:gd name="T1" fmla="*/ 120 h 125"/>
                <a:gd name="T2" fmla="*/ 38 w 86"/>
                <a:gd name="T3" fmla="*/ 125 h 125"/>
                <a:gd name="T4" fmla="*/ 48 w 86"/>
                <a:gd name="T5" fmla="*/ 120 h 125"/>
                <a:gd name="T6" fmla="*/ 38 w 86"/>
                <a:gd name="T7" fmla="*/ 97 h 125"/>
                <a:gd name="T8" fmla="*/ 25 w 86"/>
                <a:gd name="T9" fmla="*/ 92 h 125"/>
                <a:gd name="T10" fmla="*/ 25 w 86"/>
                <a:gd name="T11" fmla="*/ 97 h 125"/>
                <a:gd name="T12" fmla="*/ 25 w 86"/>
                <a:gd name="T13" fmla="*/ 92 h 125"/>
                <a:gd name="T14" fmla="*/ 53 w 86"/>
                <a:gd name="T15" fmla="*/ 89 h 125"/>
                <a:gd name="T16" fmla="*/ 23 w 86"/>
                <a:gd name="T17" fmla="*/ 89 h 125"/>
                <a:gd name="T18" fmla="*/ 58 w 86"/>
                <a:gd name="T19" fmla="*/ 87 h 125"/>
                <a:gd name="T20" fmla="*/ 56 w 86"/>
                <a:gd name="T21" fmla="*/ 89 h 125"/>
                <a:gd name="T22" fmla="*/ 58 w 86"/>
                <a:gd name="T23" fmla="*/ 87 h 125"/>
                <a:gd name="T24" fmla="*/ 66 w 86"/>
                <a:gd name="T25" fmla="*/ 87 h 125"/>
                <a:gd name="T26" fmla="*/ 10 w 86"/>
                <a:gd name="T27" fmla="*/ 46 h 125"/>
                <a:gd name="T28" fmla="*/ 10 w 86"/>
                <a:gd name="T29" fmla="*/ 46 h 125"/>
                <a:gd name="T30" fmla="*/ 84 w 86"/>
                <a:gd name="T31" fmla="*/ 26 h 125"/>
                <a:gd name="T32" fmla="*/ 0 w 86"/>
                <a:gd name="T33" fmla="*/ 18 h 125"/>
                <a:gd name="T34" fmla="*/ 2 w 86"/>
                <a:gd name="T35" fmla="*/ 23 h 125"/>
                <a:gd name="T36" fmla="*/ 74 w 86"/>
                <a:gd name="T37" fmla="*/ 59 h 125"/>
                <a:gd name="T38" fmla="*/ 71 w 86"/>
                <a:gd name="T39" fmla="*/ 56 h 125"/>
                <a:gd name="T40" fmla="*/ 66 w 86"/>
                <a:gd name="T41" fmla="*/ 43 h 125"/>
                <a:gd name="T42" fmla="*/ 43 w 86"/>
                <a:gd name="T43" fmla="*/ 15 h 125"/>
                <a:gd name="T44" fmla="*/ 28 w 86"/>
                <a:gd name="T45" fmla="*/ 5 h 125"/>
                <a:gd name="T46" fmla="*/ 20 w 86"/>
                <a:gd name="T47" fmla="*/ 5 h 125"/>
                <a:gd name="T48" fmla="*/ 7 w 86"/>
                <a:gd name="T49" fmla="*/ 8 h 125"/>
                <a:gd name="T50" fmla="*/ 5 w 86"/>
                <a:gd name="T51" fmla="*/ 13 h 125"/>
                <a:gd name="T52" fmla="*/ 2 w 86"/>
                <a:gd name="T53" fmla="*/ 20 h 125"/>
                <a:gd name="T54" fmla="*/ 7 w 86"/>
                <a:gd name="T55" fmla="*/ 23 h 125"/>
                <a:gd name="T56" fmla="*/ 13 w 86"/>
                <a:gd name="T57" fmla="*/ 33 h 125"/>
                <a:gd name="T58" fmla="*/ 18 w 86"/>
                <a:gd name="T59" fmla="*/ 38 h 125"/>
                <a:gd name="T60" fmla="*/ 13 w 86"/>
                <a:gd name="T61" fmla="*/ 38 h 125"/>
                <a:gd name="T62" fmla="*/ 5 w 86"/>
                <a:gd name="T63" fmla="*/ 41 h 125"/>
                <a:gd name="T64" fmla="*/ 10 w 86"/>
                <a:gd name="T65" fmla="*/ 43 h 125"/>
                <a:gd name="T66" fmla="*/ 15 w 86"/>
                <a:gd name="T67" fmla="*/ 51 h 125"/>
                <a:gd name="T68" fmla="*/ 23 w 86"/>
                <a:gd name="T69" fmla="*/ 59 h 125"/>
                <a:gd name="T70" fmla="*/ 25 w 86"/>
                <a:gd name="T71" fmla="*/ 66 h 125"/>
                <a:gd name="T72" fmla="*/ 23 w 86"/>
                <a:gd name="T73" fmla="*/ 69 h 125"/>
                <a:gd name="T74" fmla="*/ 23 w 86"/>
                <a:gd name="T75" fmla="*/ 76 h 125"/>
                <a:gd name="T76" fmla="*/ 28 w 86"/>
                <a:gd name="T77" fmla="*/ 87 h 125"/>
                <a:gd name="T78" fmla="*/ 28 w 86"/>
                <a:gd name="T79" fmla="*/ 89 h 125"/>
                <a:gd name="T80" fmla="*/ 25 w 86"/>
                <a:gd name="T81" fmla="*/ 89 h 125"/>
                <a:gd name="T82" fmla="*/ 33 w 86"/>
                <a:gd name="T83" fmla="*/ 99 h 125"/>
                <a:gd name="T84" fmla="*/ 38 w 86"/>
                <a:gd name="T85" fmla="*/ 94 h 125"/>
                <a:gd name="T86" fmla="*/ 46 w 86"/>
                <a:gd name="T87" fmla="*/ 92 h 125"/>
                <a:gd name="T88" fmla="*/ 48 w 86"/>
                <a:gd name="T89" fmla="*/ 94 h 125"/>
                <a:gd name="T90" fmla="*/ 46 w 86"/>
                <a:gd name="T91" fmla="*/ 87 h 125"/>
                <a:gd name="T92" fmla="*/ 53 w 86"/>
                <a:gd name="T93" fmla="*/ 89 h 125"/>
                <a:gd name="T94" fmla="*/ 53 w 86"/>
                <a:gd name="T95" fmla="*/ 84 h 125"/>
                <a:gd name="T96" fmla="*/ 61 w 86"/>
                <a:gd name="T97" fmla="*/ 84 h 125"/>
                <a:gd name="T98" fmla="*/ 64 w 86"/>
                <a:gd name="T99" fmla="*/ 82 h 125"/>
                <a:gd name="T100" fmla="*/ 74 w 86"/>
                <a:gd name="T101" fmla="*/ 79 h 125"/>
                <a:gd name="T102" fmla="*/ 76 w 86"/>
                <a:gd name="T103" fmla="*/ 61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6" h="125">
                  <a:moveTo>
                    <a:pt x="48" y="117"/>
                  </a:moveTo>
                  <a:lnTo>
                    <a:pt x="46" y="117"/>
                  </a:lnTo>
                  <a:lnTo>
                    <a:pt x="43" y="117"/>
                  </a:lnTo>
                  <a:lnTo>
                    <a:pt x="38" y="117"/>
                  </a:lnTo>
                  <a:lnTo>
                    <a:pt x="35" y="120"/>
                  </a:lnTo>
                  <a:lnTo>
                    <a:pt x="35" y="122"/>
                  </a:lnTo>
                  <a:lnTo>
                    <a:pt x="35" y="122"/>
                  </a:lnTo>
                  <a:lnTo>
                    <a:pt x="38" y="122"/>
                  </a:lnTo>
                  <a:lnTo>
                    <a:pt x="38" y="125"/>
                  </a:lnTo>
                  <a:lnTo>
                    <a:pt x="38" y="125"/>
                  </a:lnTo>
                  <a:lnTo>
                    <a:pt x="38" y="122"/>
                  </a:lnTo>
                  <a:lnTo>
                    <a:pt x="43" y="122"/>
                  </a:lnTo>
                  <a:lnTo>
                    <a:pt x="46" y="122"/>
                  </a:lnTo>
                  <a:lnTo>
                    <a:pt x="48" y="120"/>
                  </a:lnTo>
                  <a:lnTo>
                    <a:pt x="48" y="120"/>
                  </a:lnTo>
                  <a:lnTo>
                    <a:pt x="48" y="120"/>
                  </a:lnTo>
                  <a:lnTo>
                    <a:pt x="48" y="117"/>
                  </a:lnTo>
                  <a:close/>
                  <a:moveTo>
                    <a:pt x="35" y="99"/>
                  </a:moveTo>
                  <a:lnTo>
                    <a:pt x="38" y="99"/>
                  </a:lnTo>
                  <a:lnTo>
                    <a:pt x="38" y="97"/>
                  </a:lnTo>
                  <a:lnTo>
                    <a:pt x="35" y="97"/>
                  </a:lnTo>
                  <a:lnTo>
                    <a:pt x="35" y="97"/>
                  </a:lnTo>
                  <a:lnTo>
                    <a:pt x="35" y="97"/>
                  </a:lnTo>
                  <a:lnTo>
                    <a:pt x="35" y="99"/>
                  </a:lnTo>
                  <a:close/>
                  <a:moveTo>
                    <a:pt x="25" y="92"/>
                  </a:moveTo>
                  <a:lnTo>
                    <a:pt x="25" y="94"/>
                  </a:lnTo>
                  <a:lnTo>
                    <a:pt x="25" y="97"/>
                  </a:lnTo>
                  <a:lnTo>
                    <a:pt x="25" y="97"/>
                  </a:lnTo>
                  <a:lnTo>
                    <a:pt x="25" y="97"/>
                  </a:lnTo>
                  <a:lnTo>
                    <a:pt x="25" y="97"/>
                  </a:lnTo>
                  <a:lnTo>
                    <a:pt x="28" y="97"/>
                  </a:lnTo>
                  <a:lnTo>
                    <a:pt x="28" y="97"/>
                  </a:lnTo>
                  <a:lnTo>
                    <a:pt x="30" y="94"/>
                  </a:lnTo>
                  <a:lnTo>
                    <a:pt x="28" y="94"/>
                  </a:lnTo>
                  <a:lnTo>
                    <a:pt x="25" y="92"/>
                  </a:lnTo>
                  <a:close/>
                  <a:moveTo>
                    <a:pt x="53" y="89"/>
                  </a:moveTo>
                  <a:lnTo>
                    <a:pt x="53" y="92"/>
                  </a:lnTo>
                  <a:lnTo>
                    <a:pt x="56" y="92"/>
                  </a:lnTo>
                  <a:lnTo>
                    <a:pt x="56" y="92"/>
                  </a:lnTo>
                  <a:lnTo>
                    <a:pt x="53" y="89"/>
                  </a:lnTo>
                  <a:close/>
                  <a:moveTo>
                    <a:pt x="20" y="84"/>
                  </a:moveTo>
                  <a:lnTo>
                    <a:pt x="18" y="87"/>
                  </a:lnTo>
                  <a:lnTo>
                    <a:pt x="20" y="87"/>
                  </a:lnTo>
                  <a:lnTo>
                    <a:pt x="20" y="87"/>
                  </a:lnTo>
                  <a:lnTo>
                    <a:pt x="23" y="89"/>
                  </a:lnTo>
                  <a:lnTo>
                    <a:pt x="23" y="89"/>
                  </a:lnTo>
                  <a:lnTo>
                    <a:pt x="23" y="89"/>
                  </a:lnTo>
                  <a:lnTo>
                    <a:pt x="23" y="87"/>
                  </a:lnTo>
                  <a:lnTo>
                    <a:pt x="20" y="84"/>
                  </a:lnTo>
                  <a:close/>
                  <a:moveTo>
                    <a:pt x="58" y="87"/>
                  </a:moveTo>
                  <a:lnTo>
                    <a:pt x="56" y="87"/>
                  </a:lnTo>
                  <a:lnTo>
                    <a:pt x="53" y="84"/>
                  </a:lnTo>
                  <a:lnTo>
                    <a:pt x="53" y="87"/>
                  </a:lnTo>
                  <a:lnTo>
                    <a:pt x="53" y="87"/>
                  </a:lnTo>
                  <a:lnTo>
                    <a:pt x="56" y="89"/>
                  </a:lnTo>
                  <a:lnTo>
                    <a:pt x="56" y="89"/>
                  </a:lnTo>
                  <a:lnTo>
                    <a:pt x="56" y="89"/>
                  </a:lnTo>
                  <a:lnTo>
                    <a:pt x="58" y="89"/>
                  </a:lnTo>
                  <a:lnTo>
                    <a:pt x="58" y="89"/>
                  </a:lnTo>
                  <a:lnTo>
                    <a:pt x="58" y="87"/>
                  </a:lnTo>
                  <a:lnTo>
                    <a:pt x="58" y="87"/>
                  </a:lnTo>
                  <a:close/>
                  <a:moveTo>
                    <a:pt x="69" y="82"/>
                  </a:moveTo>
                  <a:lnTo>
                    <a:pt x="66" y="84"/>
                  </a:lnTo>
                  <a:lnTo>
                    <a:pt x="66" y="87"/>
                  </a:lnTo>
                  <a:lnTo>
                    <a:pt x="66" y="87"/>
                  </a:lnTo>
                  <a:lnTo>
                    <a:pt x="71" y="89"/>
                  </a:lnTo>
                  <a:lnTo>
                    <a:pt x="71" y="87"/>
                  </a:lnTo>
                  <a:lnTo>
                    <a:pt x="69" y="82"/>
                  </a:lnTo>
                  <a:lnTo>
                    <a:pt x="69" y="82"/>
                  </a:lnTo>
                  <a:close/>
                  <a:moveTo>
                    <a:pt x="10" y="46"/>
                  </a:moveTo>
                  <a:lnTo>
                    <a:pt x="10" y="46"/>
                  </a:lnTo>
                  <a:lnTo>
                    <a:pt x="10" y="48"/>
                  </a:lnTo>
                  <a:lnTo>
                    <a:pt x="13" y="51"/>
                  </a:lnTo>
                  <a:lnTo>
                    <a:pt x="13" y="48"/>
                  </a:lnTo>
                  <a:lnTo>
                    <a:pt x="10" y="46"/>
                  </a:lnTo>
                  <a:close/>
                  <a:moveTo>
                    <a:pt x="86" y="26"/>
                  </a:moveTo>
                  <a:lnTo>
                    <a:pt x="86" y="23"/>
                  </a:lnTo>
                  <a:lnTo>
                    <a:pt x="84" y="23"/>
                  </a:lnTo>
                  <a:lnTo>
                    <a:pt x="84" y="26"/>
                  </a:lnTo>
                  <a:lnTo>
                    <a:pt x="84" y="26"/>
                  </a:lnTo>
                  <a:lnTo>
                    <a:pt x="86" y="26"/>
                  </a:lnTo>
                  <a:lnTo>
                    <a:pt x="86" y="26"/>
                  </a:lnTo>
                  <a:lnTo>
                    <a:pt x="86" y="26"/>
                  </a:lnTo>
                  <a:close/>
                  <a:moveTo>
                    <a:pt x="0" y="18"/>
                  </a:moveTo>
                  <a:lnTo>
                    <a:pt x="0" y="18"/>
                  </a:lnTo>
                  <a:lnTo>
                    <a:pt x="0" y="18"/>
                  </a:lnTo>
                  <a:lnTo>
                    <a:pt x="0" y="20"/>
                  </a:lnTo>
                  <a:lnTo>
                    <a:pt x="2" y="23"/>
                  </a:lnTo>
                  <a:lnTo>
                    <a:pt x="2" y="23"/>
                  </a:lnTo>
                  <a:lnTo>
                    <a:pt x="2" y="23"/>
                  </a:lnTo>
                  <a:lnTo>
                    <a:pt x="2" y="20"/>
                  </a:lnTo>
                  <a:lnTo>
                    <a:pt x="0" y="18"/>
                  </a:lnTo>
                  <a:close/>
                  <a:moveTo>
                    <a:pt x="76" y="61"/>
                  </a:moveTo>
                  <a:lnTo>
                    <a:pt x="76" y="59"/>
                  </a:lnTo>
                  <a:lnTo>
                    <a:pt x="74" y="59"/>
                  </a:lnTo>
                  <a:lnTo>
                    <a:pt x="74" y="59"/>
                  </a:lnTo>
                  <a:lnTo>
                    <a:pt x="74" y="59"/>
                  </a:lnTo>
                  <a:lnTo>
                    <a:pt x="71" y="59"/>
                  </a:lnTo>
                  <a:lnTo>
                    <a:pt x="71" y="56"/>
                  </a:lnTo>
                  <a:lnTo>
                    <a:pt x="71" y="56"/>
                  </a:lnTo>
                  <a:lnTo>
                    <a:pt x="69" y="54"/>
                  </a:lnTo>
                  <a:lnTo>
                    <a:pt x="69" y="51"/>
                  </a:lnTo>
                  <a:lnTo>
                    <a:pt x="69" y="48"/>
                  </a:lnTo>
                  <a:lnTo>
                    <a:pt x="66" y="46"/>
                  </a:lnTo>
                  <a:lnTo>
                    <a:pt x="66" y="43"/>
                  </a:lnTo>
                  <a:lnTo>
                    <a:pt x="64" y="38"/>
                  </a:lnTo>
                  <a:lnTo>
                    <a:pt x="64" y="36"/>
                  </a:lnTo>
                  <a:lnTo>
                    <a:pt x="58" y="31"/>
                  </a:lnTo>
                  <a:lnTo>
                    <a:pt x="51" y="20"/>
                  </a:lnTo>
                  <a:lnTo>
                    <a:pt x="43" y="15"/>
                  </a:lnTo>
                  <a:lnTo>
                    <a:pt x="35" y="10"/>
                  </a:lnTo>
                  <a:lnTo>
                    <a:pt x="28" y="0"/>
                  </a:lnTo>
                  <a:lnTo>
                    <a:pt x="28" y="0"/>
                  </a:lnTo>
                  <a:lnTo>
                    <a:pt x="28" y="3"/>
                  </a:lnTo>
                  <a:lnTo>
                    <a:pt x="28" y="5"/>
                  </a:lnTo>
                  <a:lnTo>
                    <a:pt x="25" y="5"/>
                  </a:lnTo>
                  <a:lnTo>
                    <a:pt x="25" y="5"/>
                  </a:lnTo>
                  <a:lnTo>
                    <a:pt x="25" y="5"/>
                  </a:lnTo>
                  <a:lnTo>
                    <a:pt x="23" y="8"/>
                  </a:lnTo>
                  <a:lnTo>
                    <a:pt x="20" y="5"/>
                  </a:lnTo>
                  <a:lnTo>
                    <a:pt x="18" y="5"/>
                  </a:lnTo>
                  <a:lnTo>
                    <a:pt x="15" y="5"/>
                  </a:lnTo>
                  <a:lnTo>
                    <a:pt x="15" y="8"/>
                  </a:lnTo>
                  <a:lnTo>
                    <a:pt x="10" y="5"/>
                  </a:lnTo>
                  <a:lnTo>
                    <a:pt x="7" y="8"/>
                  </a:lnTo>
                  <a:lnTo>
                    <a:pt x="7" y="8"/>
                  </a:lnTo>
                  <a:lnTo>
                    <a:pt x="5" y="8"/>
                  </a:lnTo>
                  <a:lnTo>
                    <a:pt x="5" y="10"/>
                  </a:lnTo>
                  <a:lnTo>
                    <a:pt x="5" y="10"/>
                  </a:lnTo>
                  <a:lnTo>
                    <a:pt x="5" y="13"/>
                  </a:lnTo>
                  <a:lnTo>
                    <a:pt x="2" y="15"/>
                  </a:lnTo>
                  <a:lnTo>
                    <a:pt x="5" y="18"/>
                  </a:lnTo>
                  <a:lnTo>
                    <a:pt x="5" y="18"/>
                  </a:lnTo>
                  <a:lnTo>
                    <a:pt x="2" y="18"/>
                  </a:lnTo>
                  <a:lnTo>
                    <a:pt x="2" y="20"/>
                  </a:lnTo>
                  <a:lnTo>
                    <a:pt x="2" y="20"/>
                  </a:lnTo>
                  <a:lnTo>
                    <a:pt x="2" y="20"/>
                  </a:lnTo>
                  <a:lnTo>
                    <a:pt x="5" y="20"/>
                  </a:lnTo>
                  <a:lnTo>
                    <a:pt x="5" y="23"/>
                  </a:lnTo>
                  <a:lnTo>
                    <a:pt x="7" y="23"/>
                  </a:lnTo>
                  <a:lnTo>
                    <a:pt x="7" y="26"/>
                  </a:lnTo>
                  <a:lnTo>
                    <a:pt x="7" y="28"/>
                  </a:lnTo>
                  <a:lnTo>
                    <a:pt x="10" y="31"/>
                  </a:lnTo>
                  <a:lnTo>
                    <a:pt x="13" y="33"/>
                  </a:lnTo>
                  <a:lnTo>
                    <a:pt x="13" y="33"/>
                  </a:lnTo>
                  <a:lnTo>
                    <a:pt x="13" y="33"/>
                  </a:lnTo>
                  <a:lnTo>
                    <a:pt x="15" y="38"/>
                  </a:lnTo>
                  <a:lnTo>
                    <a:pt x="18" y="38"/>
                  </a:lnTo>
                  <a:lnTo>
                    <a:pt x="18" y="38"/>
                  </a:lnTo>
                  <a:lnTo>
                    <a:pt x="18" y="38"/>
                  </a:lnTo>
                  <a:lnTo>
                    <a:pt x="18" y="41"/>
                  </a:lnTo>
                  <a:lnTo>
                    <a:pt x="18" y="41"/>
                  </a:lnTo>
                  <a:lnTo>
                    <a:pt x="18" y="41"/>
                  </a:lnTo>
                  <a:lnTo>
                    <a:pt x="15" y="38"/>
                  </a:lnTo>
                  <a:lnTo>
                    <a:pt x="13" y="38"/>
                  </a:lnTo>
                  <a:lnTo>
                    <a:pt x="10" y="36"/>
                  </a:lnTo>
                  <a:lnTo>
                    <a:pt x="7" y="36"/>
                  </a:lnTo>
                  <a:lnTo>
                    <a:pt x="7" y="38"/>
                  </a:lnTo>
                  <a:lnTo>
                    <a:pt x="7" y="38"/>
                  </a:lnTo>
                  <a:lnTo>
                    <a:pt x="5" y="41"/>
                  </a:lnTo>
                  <a:lnTo>
                    <a:pt x="5" y="41"/>
                  </a:lnTo>
                  <a:lnTo>
                    <a:pt x="5" y="43"/>
                  </a:lnTo>
                  <a:lnTo>
                    <a:pt x="7" y="43"/>
                  </a:lnTo>
                  <a:lnTo>
                    <a:pt x="10" y="46"/>
                  </a:lnTo>
                  <a:lnTo>
                    <a:pt x="10" y="43"/>
                  </a:lnTo>
                  <a:lnTo>
                    <a:pt x="13" y="43"/>
                  </a:lnTo>
                  <a:lnTo>
                    <a:pt x="13" y="46"/>
                  </a:lnTo>
                  <a:lnTo>
                    <a:pt x="15" y="48"/>
                  </a:lnTo>
                  <a:lnTo>
                    <a:pt x="15" y="51"/>
                  </a:lnTo>
                  <a:lnTo>
                    <a:pt x="15" y="51"/>
                  </a:lnTo>
                  <a:lnTo>
                    <a:pt x="18" y="54"/>
                  </a:lnTo>
                  <a:lnTo>
                    <a:pt x="18" y="56"/>
                  </a:lnTo>
                  <a:lnTo>
                    <a:pt x="18" y="59"/>
                  </a:lnTo>
                  <a:lnTo>
                    <a:pt x="20" y="59"/>
                  </a:lnTo>
                  <a:lnTo>
                    <a:pt x="23" y="59"/>
                  </a:lnTo>
                  <a:lnTo>
                    <a:pt x="20" y="61"/>
                  </a:lnTo>
                  <a:lnTo>
                    <a:pt x="23" y="61"/>
                  </a:lnTo>
                  <a:lnTo>
                    <a:pt x="23" y="61"/>
                  </a:lnTo>
                  <a:lnTo>
                    <a:pt x="23" y="64"/>
                  </a:lnTo>
                  <a:lnTo>
                    <a:pt x="25" y="66"/>
                  </a:lnTo>
                  <a:lnTo>
                    <a:pt x="23" y="66"/>
                  </a:lnTo>
                  <a:lnTo>
                    <a:pt x="23" y="66"/>
                  </a:lnTo>
                  <a:lnTo>
                    <a:pt x="20" y="69"/>
                  </a:lnTo>
                  <a:lnTo>
                    <a:pt x="20" y="69"/>
                  </a:lnTo>
                  <a:lnTo>
                    <a:pt x="23" y="69"/>
                  </a:lnTo>
                  <a:lnTo>
                    <a:pt x="25" y="69"/>
                  </a:lnTo>
                  <a:lnTo>
                    <a:pt x="23" y="71"/>
                  </a:lnTo>
                  <a:lnTo>
                    <a:pt x="23" y="71"/>
                  </a:lnTo>
                  <a:lnTo>
                    <a:pt x="23" y="71"/>
                  </a:lnTo>
                  <a:lnTo>
                    <a:pt x="23" y="76"/>
                  </a:lnTo>
                  <a:lnTo>
                    <a:pt x="23" y="79"/>
                  </a:lnTo>
                  <a:lnTo>
                    <a:pt x="23" y="79"/>
                  </a:lnTo>
                  <a:lnTo>
                    <a:pt x="23" y="82"/>
                  </a:lnTo>
                  <a:lnTo>
                    <a:pt x="25" y="84"/>
                  </a:lnTo>
                  <a:lnTo>
                    <a:pt x="28" y="87"/>
                  </a:lnTo>
                  <a:lnTo>
                    <a:pt x="28" y="87"/>
                  </a:lnTo>
                  <a:lnTo>
                    <a:pt x="30" y="87"/>
                  </a:lnTo>
                  <a:lnTo>
                    <a:pt x="30" y="87"/>
                  </a:lnTo>
                  <a:lnTo>
                    <a:pt x="30" y="89"/>
                  </a:lnTo>
                  <a:lnTo>
                    <a:pt x="28" y="89"/>
                  </a:lnTo>
                  <a:lnTo>
                    <a:pt x="30" y="89"/>
                  </a:lnTo>
                  <a:lnTo>
                    <a:pt x="30" y="89"/>
                  </a:lnTo>
                  <a:lnTo>
                    <a:pt x="28" y="89"/>
                  </a:lnTo>
                  <a:lnTo>
                    <a:pt x="25" y="89"/>
                  </a:lnTo>
                  <a:lnTo>
                    <a:pt x="25" y="89"/>
                  </a:lnTo>
                  <a:lnTo>
                    <a:pt x="28" y="92"/>
                  </a:lnTo>
                  <a:lnTo>
                    <a:pt x="30" y="94"/>
                  </a:lnTo>
                  <a:lnTo>
                    <a:pt x="33" y="97"/>
                  </a:lnTo>
                  <a:lnTo>
                    <a:pt x="33" y="97"/>
                  </a:lnTo>
                  <a:lnTo>
                    <a:pt x="33" y="99"/>
                  </a:lnTo>
                  <a:lnTo>
                    <a:pt x="35" y="99"/>
                  </a:lnTo>
                  <a:lnTo>
                    <a:pt x="35" y="97"/>
                  </a:lnTo>
                  <a:lnTo>
                    <a:pt x="35" y="94"/>
                  </a:lnTo>
                  <a:lnTo>
                    <a:pt x="38" y="94"/>
                  </a:lnTo>
                  <a:lnTo>
                    <a:pt x="38" y="94"/>
                  </a:lnTo>
                  <a:lnTo>
                    <a:pt x="41" y="97"/>
                  </a:lnTo>
                  <a:lnTo>
                    <a:pt x="41" y="92"/>
                  </a:lnTo>
                  <a:lnTo>
                    <a:pt x="43" y="89"/>
                  </a:lnTo>
                  <a:lnTo>
                    <a:pt x="43" y="89"/>
                  </a:lnTo>
                  <a:lnTo>
                    <a:pt x="46" y="92"/>
                  </a:lnTo>
                  <a:lnTo>
                    <a:pt x="43" y="92"/>
                  </a:lnTo>
                  <a:lnTo>
                    <a:pt x="43" y="94"/>
                  </a:lnTo>
                  <a:lnTo>
                    <a:pt x="48" y="94"/>
                  </a:lnTo>
                  <a:lnTo>
                    <a:pt x="48" y="94"/>
                  </a:lnTo>
                  <a:lnTo>
                    <a:pt x="48" y="94"/>
                  </a:lnTo>
                  <a:lnTo>
                    <a:pt x="48" y="92"/>
                  </a:lnTo>
                  <a:lnTo>
                    <a:pt x="48" y="89"/>
                  </a:lnTo>
                  <a:lnTo>
                    <a:pt x="46" y="89"/>
                  </a:lnTo>
                  <a:lnTo>
                    <a:pt x="46" y="87"/>
                  </a:lnTo>
                  <a:lnTo>
                    <a:pt x="46" y="87"/>
                  </a:lnTo>
                  <a:lnTo>
                    <a:pt x="48" y="87"/>
                  </a:lnTo>
                  <a:lnTo>
                    <a:pt x="48" y="89"/>
                  </a:lnTo>
                  <a:lnTo>
                    <a:pt x="51" y="89"/>
                  </a:lnTo>
                  <a:lnTo>
                    <a:pt x="53" y="89"/>
                  </a:lnTo>
                  <a:lnTo>
                    <a:pt x="53" y="89"/>
                  </a:lnTo>
                  <a:lnTo>
                    <a:pt x="51" y="87"/>
                  </a:lnTo>
                  <a:lnTo>
                    <a:pt x="51" y="87"/>
                  </a:lnTo>
                  <a:lnTo>
                    <a:pt x="51" y="84"/>
                  </a:lnTo>
                  <a:lnTo>
                    <a:pt x="51" y="84"/>
                  </a:lnTo>
                  <a:lnTo>
                    <a:pt x="53" y="84"/>
                  </a:lnTo>
                  <a:lnTo>
                    <a:pt x="56" y="82"/>
                  </a:lnTo>
                  <a:lnTo>
                    <a:pt x="56" y="82"/>
                  </a:lnTo>
                  <a:lnTo>
                    <a:pt x="58" y="84"/>
                  </a:lnTo>
                  <a:lnTo>
                    <a:pt x="58" y="84"/>
                  </a:lnTo>
                  <a:lnTo>
                    <a:pt x="61" y="84"/>
                  </a:lnTo>
                  <a:lnTo>
                    <a:pt x="64" y="87"/>
                  </a:lnTo>
                  <a:lnTo>
                    <a:pt x="66" y="87"/>
                  </a:lnTo>
                  <a:lnTo>
                    <a:pt x="64" y="84"/>
                  </a:lnTo>
                  <a:lnTo>
                    <a:pt x="64" y="82"/>
                  </a:lnTo>
                  <a:lnTo>
                    <a:pt x="64" y="82"/>
                  </a:lnTo>
                  <a:lnTo>
                    <a:pt x="64" y="82"/>
                  </a:lnTo>
                  <a:lnTo>
                    <a:pt x="66" y="79"/>
                  </a:lnTo>
                  <a:lnTo>
                    <a:pt x="69" y="82"/>
                  </a:lnTo>
                  <a:lnTo>
                    <a:pt x="74" y="82"/>
                  </a:lnTo>
                  <a:lnTo>
                    <a:pt x="74" y="79"/>
                  </a:lnTo>
                  <a:lnTo>
                    <a:pt x="76" y="79"/>
                  </a:lnTo>
                  <a:lnTo>
                    <a:pt x="79" y="76"/>
                  </a:lnTo>
                  <a:lnTo>
                    <a:pt x="79" y="71"/>
                  </a:lnTo>
                  <a:lnTo>
                    <a:pt x="76" y="66"/>
                  </a:lnTo>
                  <a:lnTo>
                    <a:pt x="76" y="61"/>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205" name="Freeform 1823">
              <a:extLst>
                <a:ext uri="{FF2B5EF4-FFF2-40B4-BE49-F238E27FC236}">
                  <a16:creationId xmlns:a16="http://schemas.microsoft.com/office/drawing/2014/main" id="{745313A4-3E19-8446-BA8B-C036136F3A87}"/>
                </a:ext>
              </a:extLst>
            </p:cNvPr>
            <p:cNvSpPr>
              <a:spLocks noEditPoints="1"/>
            </p:cNvSpPr>
            <p:nvPr/>
          </p:nvSpPr>
          <p:spPr bwMode="auto">
            <a:xfrm>
              <a:off x="4612436" y="5795093"/>
              <a:ext cx="366405" cy="158667"/>
            </a:xfrm>
            <a:custGeom>
              <a:avLst/>
              <a:gdLst>
                <a:gd name="T0" fmla="*/ 224 w 224"/>
                <a:gd name="T1" fmla="*/ 94 h 97"/>
                <a:gd name="T2" fmla="*/ 222 w 224"/>
                <a:gd name="T3" fmla="*/ 94 h 97"/>
                <a:gd name="T4" fmla="*/ 222 w 224"/>
                <a:gd name="T5" fmla="*/ 94 h 97"/>
                <a:gd name="T6" fmla="*/ 222 w 224"/>
                <a:gd name="T7" fmla="*/ 94 h 97"/>
                <a:gd name="T8" fmla="*/ 219 w 224"/>
                <a:gd name="T9" fmla="*/ 94 h 97"/>
                <a:gd name="T10" fmla="*/ 222 w 224"/>
                <a:gd name="T11" fmla="*/ 94 h 97"/>
                <a:gd name="T12" fmla="*/ 224 w 224"/>
                <a:gd name="T13" fmla="*/ 97 h 97"/>
                <a:gd name="T14" fmla="*/ 224 w 224"/>
                <a:gd name="T15" fmla="*/ 94 h 97"/>
                <a:gd name="T16" fmla="*/ 41 w 224"/>
                <a:gd name="T17" fmla="*/ 13 h 97"/>
                <a:gd name="T18" fmla="*/ 41 w 224"/>
                <a:gd name="T19" fmla="*/ 13 h 97"/>
                <a:gd name="T20" fmla="*/ 38 w 224"/>
                <a:gd name="T21" fmla="*/ 13 h 97"/>
                <a:gd name="T22" fmla="*/ 38 w 224"/>
                <a:gd name="T23" fmla="*/ 13 h 97"/>
                <a:gd name="T24" fmla="*/ 36 w 224"/>
                <a:gd name="T25" fmla="*/ 13 h 97"/>
                <a:gd name="T26" fmla="*/ 36 w 224"/>
                <a:gd name="T27" fmla="*/ 10 h 97"/>
                <a:gd name="T28" fmla="*/ 33 w 224"/>
                <a:gd name="T29" fmla="*/ 7 h 97"/>
                <a:gd name="T30" fmla="*/ 33 w 224"/>
                <a:gd name="T31" fmla="*/ 7 h 97"/>
                <a:gd name="T32" fmla="*/ 30 w 224"/>
                <a:gd name="T33" fmla="*/ 5 h 97"/>
                <a:gd name="T34" fmla="*/ 30 w 224"/>
                <a:gd name="T35" fmla="*/ 5 h 97"/>
                <a:gd name="T36" fmla="*/ 30 w 224"/>
                <a:gd name="T37" fmla="*/ 5 h 97"/>
                <a:gd name="T38" fmla="*/ 30 w 224"/>
                <a:gd name="T39" fmla="*/ 7 h 97"/>
                <a:gd name="T40" fmla="*/ 28 w 224"/>
                <a:gd name="T41" fmla="*/ 7 h 97"/>
                <a:gd name="T42" fmla="*/ 28 w 224"/>
                <a:gd name="T43" fmla="*/ 5 h 97"/>
                <a:gd name="T44" fmla="*/ 25 w 224"/>
                <a:gd name="T45" fmla="*/ 5 h 97"/>
                <a:gd name="T46" fmla="*/ 25 w 224"/>
                <a:gd name="T47" fmla="*/ 5 h 97"/>
                <a:gd name="T48" fmla="*/ 23 w 224"/>
                <a:gd name="T49" fmla="*/ 2 h 97"/>
                <a:gd name="T50" fmla="*/ 23 w 224"/>
                <a:gd name="T51" fmla="*/ 2 h 97"/>
                <a:gd name="T52" fmla="*/ 20 w 224"/>
                <a:gd name="T53" fmla="*/ 2 h 97"/>
                <a:gd name="T54" fmla="*/ 20 w 224"/>
                <a:gd name="T55" fmla="*/ 2 h 97"/>
                <a:gd name="T56" fmla="*/ 20 w 224"/>
                <a:gd name="T57" fmla="*/ 2 h 97"/>
                <a:gd name="T58" fmla="*/ 18 w 224"/>
                <a:gd name="T59" fmla="*/ 2 h 97"/>
                <a:gd name="T60" fmla="*/ 15 w 224"/>
                <a:gd name="T61" fmla="*/ 2 h 97"/>
                <a:gd name="T62" fmla="*/ 15 w 224"/>
                <a:gd name="T63" fmla="*/ 0 h 97"/>
                <a:gd name="T64" fmla="*/ 10 w 224"/>
                <a:gd name="T65" fmla="*/ 0 h 97"/>
                <a:gd name="T66" fmla="*/ 10 w 224"/>
                <a:gd name="T67" fmla="*/ 0 h 97"/>
                <a:gd name="T68" fmla="*/ 7 w 224"/>
                <a:gd name="T69" fmla="*/ 0 h 97"/>
                <a:gd name="T70" fmla="*/ 2 w 224"/>
                <a:gd name="T71" fmla="*/ 0 h 97"/>
                <a:gd name="T72" fmla="*/ 0 w 224"/>
                <a:gd name="T73" fmla="*/ 0 h 97"/>
                <a:gd name="T74" fmla="*/ 2 w 224"/>
                <a:gd name="T75" fmla="*/ 0 h 97"/>
                <a:gd name="T76" fmla="*/ 7 w 224"/>
                <a:gd name="T77" fmla="*/ 0 h 97"/>
                <a:gd name="T78" fmla="*/ 7 w 224"/>
                <a:gd name="T79" fmla="*/ 2 h 97"/>
                <a:gd name="T80" fmla="*/ 7 w 224"/>
                <a:gd name="T81" fmla="*/ 2 h 97"/>
                <a:gd name="T82" fmla="*/ 7 w 224"/>
                <a:gd name="T83" fmla="*/ 2 h 97"/>
                <a:gd name="T84" fmla="*/ 10 w 224"/>
                <a:gd name="T85" fmla="*/ 2 h 97"/>
                <a:gd name="T86" fmla="*/ 18 w 224"/>
                <a:gd name="T87" fmla="*/ 5 h 97"/>
                <a:gd name="T88" fmla="*/ 18 w 224"/>
                <a:gd name="T89" fmla="*/ 7 h 97"/>
                <a:gd name="T90" fmla="*/ 20 w 224"/>
                <a:gd name="T91" fmla="*/ 7 h 97"/>
                <a:gd name="T92" fmla="*/ 23 w 224"/>
                <a:gd name="T93" fmla="*/ 7 h 97"/>
                <a:gd name="T94" fmla="*/ 23 w 224"/>
                <a:gd name="T95" fmla="*/ 7 h 97"/>
                <a:gd name="T96" fmla="*/ 23 w 224"/>
                <a:gd name="T97" fmla="*/ 7 h 97"/>
                <a:gd name="T98" fmla="*/ 25 w 224"/>
                <a:gd name="T99" fmla="*/ 10 h 97"/>
                <a:gd name="T100" fmla="*/ 28 w 224"/>
                <a:gd name="T101" fmla="*/ 10 h 97"/>
                <a:gd name="T102" fmla="*/ 30 w 224"/>
                <a:gd name="T103" fmla="*/ 10 h 97"/>
                <a:gd name="T104" fmla="*/ 30 w 224"/>
                <a:gd name="T105" fmla="*/ 10 h 97"/>
                <a:gd name="T106" fmla="*/ 30 w 224"/>
                <a:gd name="T107" fmla="*/ 13 h 97"/>
                <a:gd name="T108" fmla="*/ 33 w 224"/>
                <a:gd name="T109" fmla="*/ 15 h 97"/>
                <a:gd name="T110" fmla="*/ 36 w 224"/>
                <a:gd name="T111" fmla="*/ 18 h 97"/>
                <a:gd name="T112" fmla="*/ 38 w 224"/>
                <a:gd name="T113" fmla="*/ 18 h 97"/>
                <a:gd name="T114" fmla="*/ 38 w 224"/>
                <a:gd name="T115" fmla="*/ 18 h 97"/>
                <a:gd name="T116" fmla="*/ 41 w 224"/>
                <a:gd name="T117" fmla="*/ 18 h 97"/>
                <a:gd name="T118" fmla="*/ 41 w 224"/>
                <a:gd name="T119" fmla="*/ 18 h 97"/>
                <a:gd name="T120" fmla="*/ 43 w 224"/>
                <a:gd name="T121" fmla="*/ 15 h 97"/>
                <a:gd name="T122" fmla="*/ 41 w 224"/>
                <a:gd name="T123" fmla="*/ 15 h 97"/>
                <a:gd name="T124" fmla="*/ 41 w 224"/>
                <a:gd name="T125" fmla="*/ 13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4" h="97">
                  <a:moveTo>
                    <a:pt x="224" y="94"/>
                  </a:moveTo>
                  <a:lnTo>
                    <a:pt x="222" y="94"/>
                  </a:lnTo>
                  <a:lnTo>
                    <a:pt x="222" y="94"/>
                  </a:lnTo>
                  <a:lnTo>
                    <a:pt x="222" y="94"/>
                  </a:lnTo>
                  <a:lnTo>
                    <a:pt x="219" y="94"/>
                  </a:lnTo>
                  <a:lnTo>
                    <a:pt x="222" y="94"/>
                  </a:lnTo>
                  <a:lnTo>
                    <a:pt x="224" y="97"/>
                  </a:lnTo>
                  <a:lnTo>
                    <a:pt x="224" y="94"/>
                  </a:lnTo>
                  <a:close/>
                  <a:moveTo>
                    <a:pt x="41" y="13"/>
                  </a:moveTo>
                  <a:lnTo>
                    <a:pt x="41" y="13"/>
                  </a:lnTo>
                  <a:lnTo>
                    <a:pt x="38" y="13"/>
                  </a:lnTo>
                  <a:lnTo>
                    <a:pt x="38" y="13"/>
                  </a:lnTo>
                  <a:lnTo>
                    <a:pt x="36" y="13"/>
                  </a:lnTo>
                  <a:lnTo>
                    <a:pt x="36" y="10"/>
                  </a:lnTo>
                  <a:lnTo>
                    <a:pt x="33" y="7"/>
                  </a:lnTo>
                  <a:lnTo>
                    <a:pt x="33" y="7"/>
                  </a:lnTo>
                  <a:lnTo>
                    <a:pt x="30" y="5"/>
                  </a:lnTo>
                  <a:lnTo>
                    <a:pt x="30" y="5"/>
                  </a:lnTo>
                  <a:lnTo>
                    <a:pt x="30" y="5"/>
                  </a:lnTo>
                  <a:lnTo>
                    <a:pt x="30" y="7"/>
                  </a:lnTo>
                  <a:lnTo>
                    <a:pt x="28" y="7"/>
                  </a:lnTo>
                  <a:lnTo>
                    <a:pt x="28" y="5"/>
                  </a:lnTo>
                  <a:lnTo>
                    <a:pt x="25" y="5"/>
                  </a:lnTo>
                  <a:lnTo>
                    <a:pt x="25" y="5"/>
                  </a:lnTo>
                  <a:lnTo>
                    <a:pt x="23" y="2"/>
                  </a:lnTo>
                  <a:lnTo>
                    <a:pt x="23" y="2"/>
                  </a:lnTo>
                  <a:lnTo>
                    <a:pt x="20" y="2"/>
                  </a:lnTo>
                  <a:lnTo>
                    <a:pt x="20" y="2"/>
                  </a:lnTo>
                  <a:lnTo>
                    <a:pt x="20" y="2"/>
                  </a:lnTo>
                  <a:lnTo>
                    <a:pt x="18" y="2"/>
                  </a:lnTo>
                  <a:lnTo>
                    <a:pt x="15" y="2"/>
                  </a:lnTo>
                  <a:lnTo>
                    <a:pt x="15" y="0"/>
                  </a:lnTo>
                  <a:lnTo>
                    <a:pt x="10" y="0"/>
                  </a:lnTo>
                  <a:lnTo>
                    <a:pt x="10" y="0"/>
                  </a:lnTo>
                  <a:lnTo>
                    <a:pt x="7" y="0"/>
                  </a:lnTo>
                  <a:lnTo>
                    <a:pt x="2" y="0"/>
                  </a:lnTo>
                  <a:lnTo>
                    <a:pt x="0" y="0"/>
                  </a:lnTo>
                  <a:lnTo>
                    <a:pt x="2" y="0"/>
                  </a:lnTo>
                  <a:lnTo>
                    <a:pt x="7" y="0"/>
                  </a:lnTo>
                  <a:lnTo>
                    <a:pt x="7" y="2"/>
                  </a:lnTo>
                  <a:lnTo>
                    <a:pt x="7" y="2"/>
                  </a:lnTo>
                  <a:lnTo>
                    <a:pt x="7" y="2"/>
                  </a:lnTo>
                  <a:lnTo>
                    <a:pt x="10" y="2"/>
                  </a:lnTo>
                  <a:lnTo>
                    <a:pt x="18" y="5"/>
                  </a:lnTo>
                  <a:lnTo>
                    <a:pt x="18" y="7"/>
                  </a:lnTo>
                  <a:lnTo>
                    <a:pt x="20" y="7"/>
                  </a:lnTo>
                  <a:lnTo>
                    <a:pt x="23" y="7"/>
                  </a:lnTo>
                  <a:lnTo>
                    <a:pt x="23" y="7"/>
                  </a:lnTo>
                  <a:lnTo>
                    <a:pt x="23" y="7"/>
                  </a:lnTo>
                  <a:lnTo>
                    <a:pt x="25" y="10"/>
                  </a:lnTo>
                  <a:lnTo>
                    <a:pt x="28" y="10"/>
                  </a:lnTo>
                  <a:lnTo>
                    <a:pt x="30" y="10"/>
                  </a:lnTo>
                  <a:lnTo>
                    <a:pt x="30" y="10"/>
                  </a:lnTo>
                  <a:lnTo>
                    <a:pt x="30" y="13"/>
                  </a:lnTo>
                  <a:lnTo>
                    <a:pt x="33" y="15"/>
                  </a:lnTo>
                  <a:lnTo>
                    <a:pt x="36" y="18"/>
                  </a:lnTo>
                  <a:lnTo>
                    <a:pt x="38" y="18"/>
                  </a:lnTo>
                  <a:lnTo>
                    <a:pt x="38" y="18"/>
                  </a:lnTo>
                  <a:lnTo>
                    <a:pt x="41" y="18"/>
                  </a:lnTo>
                  <a:lnTo>
                    <a:pt x="41" y="18"/>
                  </a:lnTo>
                  <a:lnTo>
                    <a:pt x="43" y="15"/>
                  </a:lnTo>
                  <a:lnTo>
                    <a:pt x="41" y="15"/>
                  </a:lnTo>
                  <a:lnTo>
                    <a:pt x="41" y="13"/>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206" name="Freeform 1824">
              <a:extLst>
                <a:ext uri="{FF2B5EF4-FFF2-40B4-BE49-F238E27FC236}">
                  <a16:creationId xmlns:a16="http://schemas.microsoft.com/office/drawing/2014/main" id="{99403A6E-6D35-9C48-809C-5611EC4CE672}"/>
                </a:ext>
              </a:extLst>
            </p:cNvPr>
            <p:cNvSpPr>
              <a:spLocks noEditPoints="1"/>
            </p:cNvSpPr>
            <p:nvPr/>
          </p:nvSpPr>
          <p:spPr bwMode="auto">
            <a:xfrm>
              <a:off x="6141849" y="4625541"/>
              <a:ext cx="613402" cy="916012"/>
            </a:xfrm>
            <a:custGeom>
              <a:avLst/>
              <a:gdLst>
                <a:gd name="T0" fmla="*/ 372 w 375"/>
                <a:gd name="T1" fmla="*/ 560 h 560"/>
                <a:gd name="T2" fmla="*/ 309 w 375"/>
                <a:gd name="T3" fmla="*/ 107 h 560"/>
                <a:gd name="T4" fmla="*/ 303 w 375"/>
                <a:gd name="T5" fmla="*/ 117 h 560"/>
                <a:gd name="T6" fmla="*/ 280 w 375"/>
                <a:gd name="T7" fmla="*/ 104 h 560"/>
                <a:gd name="T8" fmla="*/ 288 w 375"/>
                <a:gd name="T9" fmla="*/ 86 h 560"/>
                <a:gd name="T10" fmla="*/ 303 w 375"/>
                <a:gd name="T11" fmla="*/ 86 h 560"/>
                <a:gd name="T12" fmla="*/ 306 w 375"/>
                <a:gd name="T13" fmla="*/ 66 h 560"/>
                <a:gd name="T14" fmla="*/ 303 w 375"/>
                <a:gd name="T15" fmla="*/ 43 h 560"/>
                <a:gd name="T16" fmla="*/ 298 w 375"/>
                <a:gd name="T17" fmla="*/ 28 h 560"/>
                <a:gd name="T18" fmla="*/ 293 w 375"/>
                <a:gd name="T19" fmla="*/ 5 h 560"/>
                <a:gd name="T20" fmla="*/ 268 w 375"/>
                <a:gd name="T21" fmla="*/ 0 h 560"/>
                <a:gd name="T22" fmla="*/ 245 w 375"/>
                <a:gd name="T23" fmla="*/ 7 h 560"/>
                <a:gd name="T24" fmla="*/ 227 w 375"/>
                <a:gd name="T25" fmla="*/ 20 h 560"/>
                <a:gd name="T26" fmla="*/ 222 w 375"/>
                <a:gd name="T27" fmla="*/ 25 h 560"/>
                <a:gd name="T28" fmla="*/ 212 w 375"/>
                <a:gd name="T29" fmla="*/ 30 h 560"/>
                <a:gd name="T30" fmla="*/ 199 w 375"/>
                <a:gd name="T31" fmla="*/ 53 h 560"/>
                <a:gd name="T32" fmla="*/ 186 w 375"/>
                <a:gd name="T33" fmla="*/ 63 h 560"/>
                <a:gd name="T34" fmla="*/ 176 w 375"/>
                <a:gd name="T35" fmla="*/ 81 h 560"/>
                <a:gd name="T36" fmla="*/ 156 w 375"/>
                <a:gd name="T37" fmla="*/ 81 h 560"/>
                <a:gd name="T38" fmla="*/ 143 w 375"/>
                <a:gd name="T39" fmla="*/ 74 h 560"/>
                <a:gd name="T40" fmla="*/ 128 w 375"/>
                <a:gd name="T41" fmla="*/ 74 h 560"/>
                <a:gd name="T42" fmla="*/ 120 w 375"/>
                <a:gd name="T43" fmla="*/ 91 h 560"/>
                <a:gd name="T44" fmla="*/ 105 w 375"/>
                <a:gd name="T45" fmla="*/ 104 h 560"/>
                <a:gd name="T46" fmla="*/ 89 w 375"/>
                <a:gd name="T47" fmla="*/ 107 h 560"/>
                <a:gd name="T48" fmla="*/ 84 w 375"/>
                <a:gd name="T49" fmla="*/ 94 h 560"/>
                <a:gd name="T50" fmla="*/ 84 w 375"/>
                <a:gd name="T51" fmla="*/ 81 h 560"/>
                <a:gd name="T52" fmla="*/ 72 w 375"/>
                <a:gd name="T53" fmla="*/ 69 h 560"/>
                <a:gd name="T54" fmla="*/ 69 w 375"/>
                <a:gd name="T55" fmla="*/ 140 h 560"/>
                <a:gd name="T56" fmla="*/ 56 w 375"/>
                <a:gd name="T57" fmla="*/ 150 h 560"/>
                <a:gd name="T58" fmla="*/ 41 w 375"/>
                <a:gd name="T59" fmla="*/ 152 h 560"/>
                <a:gd name="T60" fmla="*/ 21 w 375"/>
                <a:gd name="T61" fmla="*/ 147 h 560"/>
                <a:gd name="T62" fmla="*/ 18 w 375"/>
                <a:gd name="T63" fmla="*/ 137 h 560"/>
                <a:gd name="T64" fmla="*/ 10 w 375"/>
                <a:gd name="T65" fmla="*/ 135 h 560"/>
                <a:gd name="T66" fmla="*/ 5 w 375"/>
                <a:gd name="T67" fmla="*/ 142 h 560"/>
                <a:gd name="T68" fmla="*/ 10 w 375"/>
                <a:gd name="T69" fmla="*/ 165 h 560"/>
                <a:gd name="T70" fmla="*/ 36 w 375"/>
                <a:gd name="T71" fmla="*/ 226 h 560"/>
                <a:gd name="T72" fmla="*/ 26 w 375"/>
                <a:gd name="T73" fmla="*/ 239 h 560"/>
                <a:gd name="T74" fmla="*/ 33 w 375"/>
                <a:gd name="T75" fmla="*/ 254 h 560"/>
                <a:gd name="T76" fmla="*/ 36 w 375"/>
                <a:gd name="T77" fmla="*/ 272 h 560"/>
                <a:gd name="T78" fmla="*/ 41 w 375"/>
                <a:gd name="T79" fmla="*/ 270 h 560"/>
                <a:gd name="T80" fmla="*/ 46 w 375"/>
                <a:gd name="T81" fmla="*/ 277 h 560"/>
                <a:gd name="T82" fmla="*/ 54 w 375"/>
                <a:gd name="T83" fmla="*/ 282 h 560"/>
                <a:gd name="T84" fmla="*/ 74 w 375"/>
                <a:gd name="T85" fmla="*/ 280 h 560"/>
                <a:gd name="T86" fmla="*/ 92 w 375"/>
                <a:gd name="T87" fmla="*/ 277 h 560"/>
                <a:gd name="T88" fmla="*/ 122 w 375"/>
                <a:gd name="T89" fmla="*/ 270 h 560"/>
                <a:gd name="T90" fmla="*/ 158 w 375"/>
                <a:gd name="T91" fmla="*/ 272 h 560"/>
                <a:gd name="T92" fmla="*/ 173 w 375"/>
                <a:gd name="T93" fmla="*/ 264 h 560"/>
                <a:gd name="T94" fmla="*/ 214 w 375"/>
                <a:gd name="T95" fmla="*/ 247 h 560"/>
                <a:gd name="T96" fmla="*/ 255 w 375"/>
                <a:gd name="T97" fmla="*/ 211 h 560"/>
                <a:gd name="T98" fmla="*/ 280 w 375"/>
                <a:gd name="T99" fmla="*/ 175 h 560"/>
                <a:gd name="T100" fmla="*/ 309 w 375"/>
                <a:gd name="T101" fmla="*/ 147 h 560"/>
                <a:gd name="T102" fmla="*/ 319 w 375"/>
                <a:gd name="T103" fmla="*/ 107 h 560"/>
                <a:gd name="T104" fmla="*/ 245 w 375"/>
                <a:gd name="T105" fmla="*/ 170 h 560"/>
                <a:gd name="T106" fmla="*/ 235 w 375"/>
                <a:gd name="T107" fmla="*/ 180 h 560"/>
                <a:gd name="T108" fmla="*/ 227 w 375"/>
                <a:gd name="T109" fmla="*/ 188 h 560"/>
                <a:gd name="T110" fmla="*/ 217 w 375"/>
                <a:gd name="T111" fmla="*/ 191 h 560"/>
                <a:gd name="T112" fmla="*/ 212 w 375"/>
                <a:gd name="T113" fmla="*/ 186 h 560"/>
                <a:gd name="T114" fmla="*/ 207 w 375"/>
                <a:gd name="T115" fmla="*/ 175 h 560"/>
                <a:gd name="T116" fmla="*/ 209 w 375"/>
                <a:gd name="T117" fmla="*/ 168 h 560"/>
                <a:gd name="T118" fmla="*/ 217 w 375"/>
                <a:gd name="T119" fmla="*/ 155 h 560"/>
                <a:gd name="T120" fmla="*/ 235 w 375"/>
                <a:gd name="T121" fmla="*/ 145 h 560"/>
                <a:gd name="T122" fmla="*/ 242 w 375"/>
                <a:gd name="T123" fmla="*/ 152 h 560"/>
                <a:gd name="T124" fmla="*/ 250 w 375"/>
                <a:gd name="T125" fmla="*/ 160 h 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75" h="560">
                  <a:moveTo>
                    <a:pt x="375" y="560"/>
                  </a:moveTo>
                  <a:lnTo>
                    <a:pt x="372" y="557"/>
                  </a:lnTo>
                  <a:lnTo>
                    <a:pt x="370" y="557"/>
                  </a:lnTo>
                  <a:lnTo>
                    <a:pt x="370" y="557"/>
                  </a:lnTo>
                  <a:lnTo>
                    <a:pt x="370" y="560"/>
                  </a:lnTo>
                  <a:lnTo>
                    <a:pt x="370" y="560"/>
                  </a:lnTo>
                  <a:lnTo>
                    <a:pt x="372" y="560"/>
                  </a:lnTo>
                  <a:lnTo>
                    <a:pt x="372" y="560"/>
                  </a:lnTo>
                  <a:lnTo>
                    <a:pt x="375" y="560"/>
                  </a:lnTo>
                  <a:lnTo>
                    <a:pt x="375" y="560"/>
                  </a:lnTo>
                  <a:close/>
                  <a:moveTo>
                    <a:pt x="316" y="107"/>
                  </a:moveTo>
                  <a:lnTo>
                    <a:pt x="314" y="107"/>
                  </a:lnTo>
                  <a:lnTo>
                    <a:pt x="311" y="107"/>
                  </a:lnTo>
                  <a:lnTo>
                    <a:pt x="309" y="107"/>
                  </a:lnTo>
                  <a:lnTo>
                    <a:pt x="306" y="107"/>
                  </a:lnTo>
                  <a:lnTo>
                    <a:pt x="306" y="107"/>
                  </a:lnTo>
                  <a:lnTo>
                    <a:pt x="303" y="104"/>
                  </a:lnTo>
                  <a:lnTo>
                    <a:pt x="303" y="104"/>
                  </a:lnTo>
                  <a:lnTo>
                    <a:pt x="303" y="109"/>
                  </a:lnTo>
                  <a:lnTo>
                    <a:pt x="303" y="114"/>
                  </a:lnTo>
                  <a:lnTo>
                    <a:pt x="303" y="117"/>
                  </a:lnTo>
                  <a:lnTo>
                    <a:pt x="298" y="117"/>
                  </a:lnTo>
                  <a:lnTo>
                    <a:pt x="293" y="117"/>
                  </a:lnTo>
                  <a:lnTo>
                    <a:pt x="291" y="114"/>
                  </a:lnTo>
                  <a:lnTo>
                    <a:pt x="286" y="112"/>
                  </a:lnTo>
                  <a:lnTo>
                    <a:pt x="283" y="107"/>
                  </a:lnTo>
                  <a:lnTo>
                    <a:pt x="283" y="104"/>
                  </a:lnTo>
                  <a:lnTo>
                    <a:pt x="280" y="104"/>
                  </a:lnTo>
                  <a:lnTo>
                    <a:pt x="280" y="104"/>
                  </a:lnTo>
                  <a:lnTo>
                    <a:pt x="280" y="102"/>
                  </a:lnTo>
                  <a:lnTo>
                    <a:pt x="280" y="97"/>
                  </a:lnTo>
                  <a:lnTo>
                    <a:pt x="280" y="97"/>
                  </a:lnTo>
                  <a:lnTo>
                    <a:pt x="283" y="91"/>
                  </a:lnTo>
                  <a:lnTo>
                    <a:pt x="286" y="89"/>
                  </a:lnTo>
                  <a:lnTo>
                    <a:pt x="288" y="86"/>
                  </a:lnTo>
                  <a:lnTo>
                    <a:pt x="291" y="84"/>
                  </a:lnTo>
                  <a:lnTo>
                    <a:pt x="293" y="81"/>
                  </a:lnTo>
                  <a:lnTo>
                    <a:pt x="293" y="81"/>
                  </a:lnTo>
                  <a:lnTo>
                    <a:pt x="293" y="81"/>
                  </a:lnTo>
                  <a:lnTo>
                    <a:pt x="298" y="84"/>
                  </a:lnTo>
                  <a:lnTo>
                    <a:pt x="303" y="86"/>
                  </a:lnTo>
                  <a:lnTo>
                    <a:pt x="303" y="86"/>
                  </a:lnTo>
                  <a:lnTo>
                    <a:pt x="303" y="86"/>
                  </a:lnTo>
                  <a:lnTo>
                    <a:pt x="303" y="84"/>
                  </a:lnTo>
                  <a:lnTo>
                    <a:pt x="303" y="81"/>
                  </a:lnTo>
                  <a:lnTo>
                    <a:pt x="306" y="79"/>
                  </a:lnTo>
                  <a:lnTo>
                    <a:pt x="306" y="71"/>
                  </a:lnTo>
                  <a:lnTo>
                    <a:pt x="306" y="71"/>
                  </a:lnTo>
                  <a:lnTo>
                    <a:pt x="306" y="66"/>
                  </a:lnTo>
                  <a:lnTo>
                    <a:pt x="306" y="61"/>
                  </a:lnTo>
                  <a:lnTo>
                    <a:pt x="306" y="56"/>
                  </a:lnTo>
                  <a:lnTo>
                    <a:pt x="306" y="51"/>
                  </a:lnTo>
                  <a:lnTo>
                    <a:pt x="306" y="51"/>
                  </a:lnTo>
                  <a:lnTo>
                    <a:pt x="306" y="48"/>
                  </a:lnTo>
                  <a:lnTo>
                    <a:pt x="303" y="46"/>
                  </a:lnTo>
                  <a:lnTo>
                    <a:pt x="303" y="43"/>
                  </a:lnTo>
                  <a:lnTo>
                    <a:pt x="303" y="38"/>
                  </a:lnTo>
                  <a:lnTo>
                    <a:pt x="301" y="35"/>
                  </a:lnTo>
                  <a:lnTo>
                    <a:pt x="301" y="35"/>
                  </a:lnTo>
                  <a:lnTo>
                    <a:pt x="301" y="33"/>
                  </a:lnTo>
                  <a:lnTo>
                    <a:pt x="298" y="30"/>
                  </a:lnTo>
                  <a:lnTo>
                    <a:pt x="298" y="30"/>
                  </a:lnTo>
                  <a:lnTo>
                    <a:pt x="298" y="28"/>
                  </a:lnTo>
                  <a:lnTo>
                    <a:pt x="298" y="25"/>
                  </a:lnTo>
                  <a:lnTo>
                    <a:pt x="296" y="20"/>
                  </a:lnTo>
                  <a:lnTo>
                    <a:pt x="296" y="15"/>
                  </a:lnTo>
                  <a:lnTo>
                    <a:pt x="296" y="10"/>
                  </a:lnTo>
                  <a:lnTo>
                    <a:pt x="293" y="7"/>
                  </a:lnTo>
                  <a:lnTo>
                    <a:pt x="293" y="7"/>
                  </a:lnTo>
                  <a:lnTo>
                    <a:pt x="293" y="5"/>
                  </a:lnTo>
                  <a:lnTo>
                    <a:pt x="293" y="5"/>
                  </a:lnTo>
                  <a:lnTo>
                    <a:pt x="291" y="2"/>
                  </a:lnTo>
                  <a:lnTo>
                    <a:pt x="286" y="2"/>
                  </a:lnTo>
                  <a:lnTo>
                    <a:pt x="283" y="2"/>
                  </a:lnTo>
                  <a:lnTo>
                    <a:pt x="278" y="2"/>
                  </a:lnTo>
                  <a:lnTo>
                    <a:pt x="273" y="2"/>
                  </a:lnTo>
                  <a:lnTo>
                    <a:pt x="268" y="0"/>
                  </a:lnTo>
                  <a:lnTo>
                    <a:pt x="263" y="0"/>
                  </a:lnTo>
                  <a:lnTo>
                    <a:pt x="258" y="0"/>
                  </a:lnTo>
                  <a:lnTo>
                    <a:pt x="255" y="0"/>
                  </a:lnTo>
                  <a:lnTo>
                    <a:pt x="252" y="0"/>
                  </a:lnTo>
                  <a:lnTo>
                    <a:pt x="250" y="2"/>
                  </a:lnTo>
                  <a:lnTo>
                    <a:pt x="247" y="5"/>
                  </a:lnTo>
                  <a:lnTo>
                    <a:pt x="245" y="7"/>
                  </a:lnTo>
                  <a:lnTo>
                    <a:pt x="242" y="7"/>
                  </a:lnTo>
                  <a:lnTo>
                    <a:pt x="240" y="10"/>
                  </a:lnTo>
                  <a:lnTo>
                    <a:pt x="237" y="10"/>
                  </a:lnTo>
                  <a:lnTo>
                    <a:pt x="232" y="13"/>
                  </a:lnTo>
                  <a:lnTo>
                    <a:pt x="230" y="15"/>
                  </a:lnTo>
                  <a:lnTo>
                    <a:pt x="227" y="18"/>
                  </a:lnTo>
                  <a:lnTo>
                    <a:pt x="227" y="20"/>
                  </a:lnTo>
                  <a:lnTo>
                    <a:pt x="227" y="20"/>
                  </a:lnTo>
                  <a:lnTo>
                    <a:pt x="224" y="20"/>
                  </a:lnTo>
                  <a:lnTo>
                    <a:pt x="224" y="23"/>
                  </a:lnTo>
                  <a:lnTo>
                    <a:pt x="224" y="23"/>
                  </a:lnTo>
                  <a:lnTo>
                    <a:pt x="224" y="23"/>
                  </a:lnTo>
                  <a:lnTo>
                    <a:pt x="222" y="23"/>
                  </a:lnTo>
                  <a:lnTo>
                    <a:pt x="222" y="25"/>
                  </a:lnTo>
                  <a:lnTo>
                    <a:pt x="219" y="25"/>
                  </a:lnTo>
                  <a:lnTo>
                    <a:pt x="219" y="28"/>
                  </a:lnTo>
                  <a:lnTo>
                    <a:pt x="217" y="28"/>
                  </a:lnTo>
                  <a:lnTo>
                    <a:pt x="214" y="28"/>
                  </a:lnTo>
                  <a:lnTo>
                    <a:pt x="214" y="30"/>
                  </a:lnTo>
                  <a:lnTo>
                    <a:pt x="212" y="30"/>
                  </a:lnTo>
                  <a:lnTo>
                    <a:pt x="212" y="30"/>
                  </a:lnTo>
                  <a:lnTo>
                    <a:pt x="212" y="33"/>
                  </a:lnTo>
                  <a:lnTo>
                    <a:pt x="209" y="35"/>
                  </a:lnTo>
                  <a:lnTo>
                    <a:pt x="209" y="35"/>
                  </a:lnTo>
                  <a:lnTo>
                    <a:pt x="204" y="46"/>
                  </a:lnTo>
                  <a:lnTo>
                    <a:pt x="204" y="48"/>
                  </a:lnTo>
                  <a:lnTo>
                    <a:pt x="201" y="51"/>
                  </a:lnTo>
                  <a:lnTo>
                    <a:pt x="199" y="53"/>
                  </a:lnTo>
                  <a:lnTo>
                    <a:pt x="196" y="56"/>
                  </a:lnTo>
                  <a:lnTo>
                    <a:pt x="196" y="56"/>
                  </a:lnTo>
                  <a:lnTo>
                    <a:pt x="191" y="56"/>
                  </a:lnTo>
                  <a:lnTo>
                    <a:pt x="189" y="58"/>
                  </a:lnTo>
                  <a:lnTo>
                    <a:pt x="186" y="58"/>
                  </a:lnTo>
                  <a:lnTo>
                    <a:pt x="186" y="58"/>
                  </a:lnTo>
                  <a:lnTo>
                    <a:pt x="186" y="63"/>
                  </a:lnTo>
                  <a:lnTo>
                    <a:pt x="184" y="69"/>
                  </a:lnTo>
                  <a:lnTo>
                    <a:pt x="181" y="71"/>
                  </a:lnTo>
                  <a:lnTo>
                    <a:pt x="181" y="74"/>
                  </a:lnTo>
                  <a:lnTo>
                    <a:pt x="181" y="79"/>
                  </a:lnTo>
                  <a:lnTo>
                    <a:pt x="179" y="79"/>
                  </a:lnTo>
                  <a:lnTo>
                    <a:pt x="176" y="81"/>
                  </a:lnTo>
                  <a:lnTo>
                    <a:pt x="176" y="81"/>
                  </a:lnTo>
                  <a:lnTo>
                    <a:pt x="173" y="81"/>
                  </a:lnTo>
                  <a:lnTo>
                    <a:pt x="171" y="81"/>
                  </a:lnTo>
                  <a:lnTo>
                    <a:pt x="168" y="81"/>
                  </a:lnTo>
                  <a:lnTo>
                    <a:pt x="166" y="84"/>
                  </a:lnTo>
                  <a:lnTo>
                    <a:pt x="163" y="84"/>
                  </a:lnTo>
                  <a:lnTo>
                    <a:pt x="161" y="81"/>
                  </a:lnTo>
                  <a:lnTo>
                    <a:pt x="156" y="81"/>
                  </a:lnTo>
                  <a:lnTo>
                    <a:pt x="156" y="81"/>
                  </a:lnTo>
                  <a:lnTo>
                    <a:pt x="153" y="79"/>
                  </a:lnTo>
                  <a:lnTo>
                    <a:pt x="151" y="79"/>
                  </a:lnTo>
                  <a:lnTo>
                    <a:pt x="148" y="79"/>
                  </a:lnTo>
                  <a:lnTo>
                    <a:pt x="148" y="79"/>
                  </a:lnTo>
                  <a:lnTo>
                    <a:pt x="145" y="76"/>
                  </a:lnTo>
                  <a:lnTo>
                    <a:pt x="143" y="74"/>
                  </a:lnTo>
                  <a:lnTo>
                    <a:pt x="140" y="71"/>
                  </a:lnTo>
                  <a:lnTo>
                    <a:pt x="138" y="71"/>
                  </a:lnTo>
                  <a:lnTo>
                    <a:pt x="135" y="71"/>
                  </a:lnTo>
                  <a:lnTo>
                    <a:pt x="133" y="71"/>
                  </a:lnTo>
                  <a:lnTo>
                    <a:pt x="130" y="71"/>
                  </a:lnTo>
                  <a:lnTo>
                    <a:pt x="130" y="71"/>
                  </a:lnTo>
                  <a:lnTo>
                    <a:pt x="128" y="74"/>
                  </a:lnTo>
                  <a:lnTo>
                    <a:pt x="128" y="74"/>
                  </a:lnTo>
                  <a:lnTo>
                    <a:pt x="125" y="79"/>
                  </a:lnTo>
                  <a:lnTo>
                    <a:pt x="125" y="79"/>
                  </a:lnTo>
                  <a:lnTo>
                    <a:pt x="125" y="84"/>
                  </a:lnTo>
                  <a:lnTo>
                    <a:pt x="122" y="89"/>
                  </a:lnTo>
                  <a:lnTo>
                    <a:pt x="122" y="89"/>
                  </a:lnTo>
                  <a:lnTo>
                    <a:pt x="120" y="91"/>
                  </a:lnTo>
                  <a:lnTo>
                    <a:pt x="120" y="91"/>
                  </a:lnTo>
                  <a:lnTo>
                    <a:pt x="115" y="97"/>
                  </a:lnTo>
                  <a:lnTo>
                    <a:pt x="112" y="99"/>
                  </a:lnTo>
                  <a:lnTo>
                    <a:pt x="110" y="102"/>
                  </a:lnTo>
                  <a:lnTo>
                    <a:pt x="107" y="102"/>
                  </a:lnTo>
                  <a:lnTo>
                    <a:pt x="107" y="102"/>
                  </a:lnTo>
                  <a:lnTo>
                    <a:pt x="105" y="104"/>
                  </a:lnTo>
                  <a:lnTo>
                    <a:pt x="105" y="104"/>
                  </a:lnTo>
                  <a:lnTo>
                    <a:pt x="102" y="107"/>
                  </a:lnTo>
                  <a:lnTo>
                    <a:pt x="102" y="107"/>
                  </a:lnTo>
                  <a:lnTo>
                    <a:pt x="100" y="107"/>
                  </a:lnTo>
                  <a:lnTo>
                    <a:pt x="100" y="107"/>
                  </a:lnTo>
                  <a:lnTo>
                    <a:pt x="92" y="107"/>
                  </a:lnTo>
                  <a:lnTo>
                    <a:pt x="89" y="107"/>
                  </a:lnTo>
                  <a:lnTo>
                    <a:pt x="87" y="104"/>
                  </a:lnTo>
                  <a:lnTo>
                    <a:pt x="84" y="107"/>
                  </a:lnTo>
                  <a:lnTo>
                    <a:pt x="84" y="107"/>
                  </a:lnTo>
                  <a:lnTo>
                    <a:pt x="82" y="104"/>
                  </a:lnTo>
                  <a:lnTo>
                    <a:pt x="82" y="99"/>
                  </a:lnTo>
                  <a:lnTo>
                    <a:pt x="82" y="97"/>
                  </a:lnTo>
                  <a:lnTo>
                    <a:pt x="84" y="94"/>
                  </a:lnTo>
                  <a:lnTo>
                    <a:pt x="84" y="94"/>
                  </a:lnTo>
                  <a:lnTo>
                    <a:pt x="87" y="91"/>
                  </a:lnTo>
                  <a:lnTo>
                    <a:pt x="87" y="89"/>
                  </a:lnTo>
                  <a:lnTo>
                    <a:pt x="87" y="89"/>
                  </a:lnTo>
                  <a:lnTo>
                    <a:pt x="87" y="86"/>
                  </a:lnTo>
                  <a:lnTo>
                    <a:pt x="87" y="84"/>
                  </a:lnTo>
                  <a:lnTo>
                    <a:pt x="84" y="81"/>
                  </a:lnTo>
                  <a:lnTo>
                    <a:pt x="82" y="76"/>
                  </a:lnTo>
                  <a:lnTo>
                    <a:pt x="79" y="69"/>
                  </a:lnTo>
                  <a:lnTo>
                    <a:pt x="79" y="69"/>
                  </a:lnTo>
                  <a:lnTo>
                    <a:pt x="77" y="66"/>
                  </a:lnTo>
                  <a:lnTo>
                    <a:pt x="72" y="61"/>
                  </a:lnTo>
                  <a:lnTo>
                    <a:pt x="72" y="58"/>
                  </a:lnTo>
                  <a:lnTo>
                    <a:pt x="72" y="69"/>
                  </a:lnTo>
                  <a:lnTo>
                    <a:pt x="72" y="79"/>
                  </a:lnTo>
                  <a:lnTo>
                    <a:pt x="69" y="89"/>
                  </a:lnTo>
                  <a:lnTo>
                    <a:pt x="69" y="99"/>
                  </a:lnTo>
                  <a:lnTo>
                    <a:pt x="69" y="109"/>
                  </a:lnTo>
                  <a:lnTo>
                    <a:pt x="69" y="119"/>
                  </a:lnTo>
                  <a:lnTo>
                    <a:pt x="69" y="130"/>
                  </a:lnTo>
                  <a:lnTo>
                    <a:pt x="69" y="140"/>
                  </a:lnTo>
                  <a:lnTo>
                    <a:pt x="69" y="142"/>
                  </a:lnTo>
                  <a:lnTo>
                    <a:pt x="66" y="142"/>
                  </a:lnTo>
                  <a:lnTo>
                    <a:pt x="64" y="145"/>
                  </a:lnTo>
                  <a:lnTo>
                    <a:pt x="61" y="145"/>
                  </a:lnTo>
                  <a:lnTo>
                    <a:pt x="59" y="147"/>
                  </a:lnTo>
                  <a:lnTo>
                    <a:pt x="59" y="147"/>
                  </a:lnTo>
                  <a:lnTo>
                    <a:pt x="56" y="150"/>
                  </a:lnTo>
                  <a:lnTo>
                    <a:pt x="56" y="150"/>
                  </a:lnTo>
                  <a:lnTo>
                    <a:pt x="56" y="152"/>
                  </a:lnTo>
                  <a:lnTo>
                    <a:pt x="54" y="152"/>
                  </a:lnTo>
                  <a:lnTo>
                    <a:pt x="54" y="152"/>
                  </a:lnTo>
                  <a:lnTo>
                    <a:pt x="51" y="152"/>
                  </a:lnTo>
                  <a:lnTo>
                    <a:pt x="46" y="152"/>
                  </a:lnTo>
                  <a:lnTo>
                    <a:pt x="41" y="152"/>
                  </a:lnTo>
                  <a:lnTo>
                    <a:pt x="36" y="152"/>
                  </a:lnTo>
                  <a:lnTo>
                    <a:pt x="33" y="152"/>
                  </a:lnTo>
                  <a:lnTo>
                    <a:pt x="31" y="150"/>
                  </a:lnTo>
                  <a:lnTo>
                    <a:pt x="28" y="150"/>
                  </a:lnTo>
                  <a:lnTo>
                    <a:pt x="26" y="150"/>
                  </a:lnTo>
                  <a:lnTo>
                    <a:pt x="23" y="150"/>
                  </a:lnTo>
                  <a:lnTo>
                    <a:pt x="21" y="147"/>
                  </a:lnTo>
                  <a:lnTo>
                    <a:pt x="21" y="147"/>
                  </a:lnTo>
                  <a:lnTo>
                    <a:pt x="18" y="145"/>
                  </a:lnTo>
                  <a:lnTo>
                    <a:pt x="18" y="145"/>
                  </a:lnTo>
                  <a:lnTo>
                    <a:pt x="18" y="142"/>
                  </a:lnTo>
                  <a:lnTo>
                    <a:pt x="18" y="142"/>
                  </a:lnTo>
                  <a:lnTo>
                    <a:pt x="18" y="140"/>
                  </a:lnTo>
                  <a:lnTo>
                    <a:pt x="18" y="137"/>
                  </a:lnTo>
                  <a:lnTo>
                    <a:pt x="18" y="137"/>
                  </a:lnTo>
                  <a:lnTo>
                    <a:pt x="15" y="137"/>
                  </a:lnTo>
                  <a:lnTo>
                    <a:pt x="15" y="137"/>
                  </a:lnTo>
                  <a:lnTo>
                    <a:pt x="15" y="135"/>
                  </a:lnTo>
                  <a:lnTo>
                    <a:pt x="15" y="135"/>
                  </a:lnTo>
                  <a:lnTo>
                    <a:pt x="13" y="132"/>
                  </a:lnTo>
                  <a:lnTo>
                    <a:pt x="10" y="135"/>
                  </a:lnTo>
                  <a:lnTo>
                    <a:pt x="8" y="135"/>
                  </a:lnTo>
                  <a:lnTo>
                    <a:pt x="8" y="137"/>
                  </a:lnTo>
                  <a:lnTo>
                    <a:pt x="8" y="137"/>
                  </a:lnTo>
                  <a:lnTo>
                    <a:pt x="8" y="140"/>
                  </a:lnTo>
                  <a:lnTo>
                    <a:pt x="8" y="142"/>
                  </a:lnTo>
                  <a:lnTo>
                    <a:pt x="8" y="142"/>
                  </a:lnTo>
                  <a:lnTo>
                    <a:pt x="5" y="142"/>
                  </a:lnTo>
                  <a:lnTo>
                    <a:pt x="5" y="142"/>
                  </a:lnTo>
                  <a:lnTo>
                    <a:pt x="5" y="142"/>
                  </a:lnTo>
                  <a:lnTo>
                    <a:pt x="0" y="145"/>
                  </a:lnTo>
                  <a:lnTo>
                    <a:pt x="0" y="147"/>
                  </a:lnTo>
                  <a:lnTo>
                    <a:pt x="0" y="147"/>
                  </a:lnTo>
                  <a:lnTo>
                    <a:pt x="5" y="155"/>
                  </a:lnTo>
                  <a:lnTo>
                    <a:pt x="10" y="165"/>
                  </a:lnTo>
                  <a:lnTo>
                    <a:pt x="15" y="180"/>
                  </a:lnTo>
                  <a:lnTo>
                    <a:pt x="18" y="188"/>
                  </a:lnTo>
                  <a:lnTo>
                    <a:pt x="23" y="201"/>
                  </a:lnTo>
                  <a:lnTo>
                    <a:pt x="28" y="208"/>
                  </a:lnTo>
                  <a:lnTo>
                    <a:pt x="33" y="216"/>
                  </a:lnTo>
                  <a:lnTo>
                    <a:pt x="33" y="216"/>
                  </a:lnTo>
                  <a:lnTo>
                    <a:pt x="36" y="226"/>
                  </a:lnTo>
                  <a:lnTo>
                    <a:pt x="36" y="229"/>
                  </a:lnTo>
                  <a:lnTo>
                    <a:pt x="36" y="234"/>
                  </a:lnTo>
                  <a:lnTo>
                    <a:pt x="33" y="236"/>
                  </a:lnTo>
                  <a:lnTo>
                    <a:pt x="31" y="239"/>
                  </a:lnTo>
                  <a:lnTo>
                    <a:pt x="31" y="242"/>
                  </a:lnTo>
                  <a:lnTo>
                    <a:pt x="28" y="239"/>
                  </a:lnTo>
                  <a:lnTo>
                    <a:pt x="26" y="239"/>
                  </a:lnTo>
                  <a:lnTo>
                    <a:pt x="26" y="242"/>
                  </a:lnTo>
                  <a:lnTo>
                    <a:pt x="26" y="244"/>
                  </a:lnTo>
                  <a:lnTo>
                    <a:pt x="28" y="247"/>
                  </a:lnTo>
                  <a:lnTo>
                    <a:pt x="28" y="249"/>
                  </a:lnTo>
                  <a:lnTo>
                    <a:pt x="31" y="249"/>
                  </a:lnTo>
                  <a:lnTo>
                    <a:pt x="31" y="254"/>
                  </a:lnTo>
                  <a:lnTo>
                    <a:pt x="33" y="254"/>
                  </a:lnTo>
                  <a:lnTo>
                    <a:pt x="33" y="257"/>
                  </a:lnTo>
                  <a:lnTo>
                    <a:pt x="36" y="262"/>
                  </a:lnTo>
                  <a:lnTo>
                    <a:pt x="36" y="264"/>
                  </a:lnTo>
                  <a:lnTo>
                    <a:pt x="36" y="267"/>
                  </a:lnTo>
                  <a:lnTo>
                    <a:pt x="36" y="267"/>
                  </a:lnTo>
                  <a:lnTo>
                    <a:pt x="33" y="270"/>
                  </a:lnTo>
                  <a:lnTo>
                    <a:pt x="36" y="272"/>
                  </a:lnTo>
                  <a:lnTo>
                    <a:pt x="36" y="275"/>
                  </a:lnTo>
                  <a:lnTo>
                    <a:pt x="36" y="277"/>
                  </a:lnTo>
                  <a:lnTo>
                    <a:pt x="36" y="272"/>
                  </a:lnTo>
                  <a:lnTo>
                    <a:pt x="38" y="270"/>
                  </a:lnTo>
                  <a:lnTo>
                    <a:pt x="38" y="270"/>
                  </a:lnTo>
                  <a:lnTo>
                    <a:pt x="38" y="270"/>
                  </a:lnTo>
                  <a:lnTo>
                    <a:pt x="41" y="270"/>
                  </a:lnTo>
                  <a:lnTo>
                    <a:pt x="43" y="270"/>
                  </a:lnTo>
                  <a:lnTo>
                    <a:pt x="43" y="270"/>
                  </a:lnTo>
                  <a:lnTo>
                    <a:pt x="43" y="272"/>
                  </a:lnTo>
                  <a:lnTo>
                    <a:pt x="43" y="275"/>
                  </a:lnTo>
                  <a:lnTo>
                    <a:pt x="43" y="275"/>
                  </a:lnTo>
                  <a:lnTo>
                    <a:pt x="43" y="277"/>
                  </a:lnTo>
                  <a:lnTo>
                    <a:pt x="46" y="277"/>
                  </a:lnTo>
                  <a:lnTo>
                    <a:pt x="46" y="277"/>
                  </a:lnTo>
                  <a:lnTo>
                    <a:pt x="49" y="277"/>
                  </a:lnTo>
                  <a:lnTo>
                    <a:pt x="49" y="277"/>
                  </a:lnTo>
                  <a:lnTo>
                    <a:pt x="51" y="277"/>
                  </a:lnTo>
                  <a:lnTo>
                    <a:pt x="51" y="277"/>
                  </a:lnTo>
                  <a:lnTo>
                    <a:pt x="54" y="280"/>
                  </a:lnTo>
                  <a:lnTo>
                    <a:pt x="54" y="282"/>
                  </a:lnTo>
                  <a:lnTo>
                    <a:pt x="54" y="282"/>
                  </a:lnTo>
                  <a:lnTo>
                    <a:pt x="54" y="282"/>
                  </a:lnTo>
                  <a:lnTo>
                    <a:pt x="59" y="285"/>
                  </a:lnTo>
                  <a:lnTo>
                    <a:pt x="64" y="285"/>
                  </a:lnTo>
                  <a:lnTo>
                    <a:pt x="64" y="285"/>
                  </a:lnTo>
                  <a:lnTo>
                    <a:pt x="66" y="287"/>
                  </a:lnTo>
                  <a:lnTo>
                    <a:pt x="74" y="280"/>
                  </a:lnTo>
                  <a:lnTo>
                    <a:pt x="77" y="280"/>
                  </a:lnTo>
                  <a:lnTo>
                    <a:pt x="82" y="277"/>
                  </a:lnTo>
                  <a:lnTo>
                    <a:pt x="82" y="277"/>
                  </a:lnTo>
                  <a:lnTo>
                    <a:pt x="84" y="277"/>
                  </a:lnTo>
                  <a:lnTo>
                    <a:pt x="87" y="277"/>
                  </a:lnTo>
                  <a:lnTo>
                    <a:pt x="89" y="277"/>
                  </a:lnTo>
                  <a:lnTo>
                    <a:pt x="92" y="277"/>
                  </a:lnTo>
                  <a:lnTo>
                    <a:pt x="94" y="277"/>
                  </a:lnTo>
                  <a:lnTo>
                    <a:pt x="100" y="277"/>
                  </a:lnTo>
                  <a:lnTo>
                    <a:pt x="110" y="270"/>
                  </a:lnTo>
                  <a:lnTo>
                    <a:pt x="112" y="270"/>
                  </a:lnTo>
                  <a:lnTo>
                    <a:pt x="115" y="270"/>
                  </a:lnTo>
                  <a:lnTo>
                    <a:pt x="117" y="270"/>
                  </a:lnTo>
                  <a:lnTo>
                    <a:pt x="122" y="270"/>
                  </a:lnTo>
                  <a:lnTo>
                    <a:pt x="128" y="270"/>
                  </a:lnTo>
                  <a:lnTo>
                    <a:pt x="130" y="270"/>
                  </a:lnTo>
                  <a:lnTo>
                    <a:pt x="135" y="267"/>
                  </a:lnTo>
                  <a:lnTo>
                    <a:pt x="138" y="267"/>
                  </a:lnTo>
                  <a:lnTo>
                    <a:pt x="145" y="270"/>
                  </a:lnTo>
                  <a:lnTo>
                    <a:pt x="153" y="272"/>
                  </a:lnTo>
                  <a:lnTo>
                    <a:pt x="158" y="272"/>
                  </a:lnTo>
                  <a:lnTo>
                    <a:pt x="161" y="270"/>
                  </a:lnTo>
                  <a:lnTo>
                    <a:pt x="161" y="267"/>
                  </a:lnTo>
                  <a:lnTo>
                    <a:pt x="166" y="267"/>
                  </a:lnTo>
                  <a:lnTo>
                    <a:pt x="171" y="270"/>
                  </a:lnTo>
                  <a:lnTo>
                    <a:pt x="173" y="270"/>
                  </a:lnTo>
                  <a:lnTo>
                    <a:pt x="173" y="270"/>
                  </a:lnTo>
                  <a:lnTo>
                    <a:pt x="173" y="264"/>
                  </a:lnTo>
                  <a:lnTo>
                    <a:pt x="176" y="262"/>
                  </a:lnTo>
                  <a:lnTo>
                    <a:pt x="181" y="262"/>
                  </a:lnTo>
                  <a:lnTo>
                    <a:pt x="189" y="262"/>
                  </a:lnTo>
                  <a:lnTo>
                    <a:pt x="191" y="262"/>
                  </a:lnTo>
                  <a:lnTo>
                    <a:pt x="201" y="257"/>
                  </a:lnTo>
                  <a:lnTo>
                    <a:pt x="207" y="254"/>
                  </a:lnTo>
                  <a:lnTo>
                    <a:pt x="214" y="247"/>
                  </a:lnTo>
                  <a:lnTo>
                    <a:pt x="217" y="247"/>
                  </a:lnTo>
                  <a:lnTo>
                    <a:pt x="224" y="242"/>
                  </a:lnTo>
                  <a:lnTo>
                    <a:pt x="230" y="236"/>
                  </a:lnTo>
                  <a:lnTo>
                    <a:pt x="237" y="229"/>
                  </a:lnTo>
                  <a:lnTo>
                    <a:pt x="242" y="224"/>
                  </a:lnTo>
                  <a:lnTo>
                    <a:pt x="250" y="216"/>
                  </a:lnTo>
                  <a:lnTo>
                    <a:pt x="255" y="211"/>
                  </a:lnTo>
                  <a:lnTo>
                    <a:pt x="258" y="211"/>
                  </a:lnTo>
                  <a:lnTo>
                    <a:pt x="260" y="208"/>
                  </a:lnTo>
                  <a:lnTo>
                    <a:pt x="265" y="201"/>
                  </a:lnTo>
                  <a:lnTo>
                    <a:pt x="270" y="193"/>
                  </a:lnTo>
                  <a:lnTo>
                    <a:pt x="273" y="188"/>
                  </a:lnTo>
                  <a:lnTo>
                    <a:pt x="278" y="180"/>
                  </a:lnTo>
                  <a:lnTo>
                    <a:pt x="280" y="175"/>
                  </a:lnTo>
                  <a:lnTo>
                    <a:pt x="286" y="168"/>
                  </a:lnTo>
                  <a:lnTo>
                    <a:pt x="288" y="163"/>
                  </a:lnTo>
                  <a:lnTo>
                    <a:pt x="298" y="152"/>
                  </a:lnTo>
                  <a:lnTo>
                    <a:pt x="298" y="152"/>
                  </a:lnTo>
                  <a:lnTo>
                    <a:pt x="301" y="152"/>
                  </a:lnTo>
                  <a:lnTo>
                    <a:pt x="303" y="152"/>
                  </a:lnTo>
                  <a:lnTo>
                    <a:pt x="309" y="147"/>
                  </a:lnTo>
                  <a:lnTo>
                    <a:pt x="309" y="142"/>
                  </a:lnTo>
                  <a:lnTo>
                    <a:pt x="314" y="137"/>
                  </a:lnTo>
                  <a:lnTo>
                    <a:pt x="316" y="125"/>
                  </a:lnTo>
                  <a:lnTo>
                    <a:pt x="316" y="119"/>
                  </a:lnTo>
                  <a:lnTo>
                    <a:pt x="321" y="112"/>
                  </a:lnTo>
                  <a:lnTo>
                    <a:pt x="321" y="107"/>
                  </a:lnTo>
                  <a:lnTo>
                    <a:pt x="319" y="107"/>
                  </a:lnTo>
                  <a:lnTo>
                    <a:pt x="316" y="107"/>
                  </a:lnTo>
                  <a:close/>
                  <a:moveTo>
                    <a:pt x="250" y="163"/>
                  </a:moveTo>
                  <a:lnTo>
                    <a:pt x="250" y="165"/>
                  </a:lnTo>
                  <a:lnTo>
                    <a:pt x="247" y="168"/>
                  </a:lnTo>
                  <a:lnTo>
                    <a:pt x="247" y="168"/>
                  </a:lnTo>
                  <a:lnTo>
                    <a:pt x="247" y="170"/>
                  </a:lnTo>
                  <a:lnTo>
                    <a:pt x="245" y="170"/>
                  </a:lnTo>
                  <a:lnTo>
                    <a:pt x="245" y="173"/>
                  </a:lnTo>
                  <a:lnTo>
                    <a:pt x="245" y="175"/>
                  </a:lnTo>
                  <a:lnTo>
                    <a:pt x="242" y="178"/>
                  </a:lnTo>
                  <a:lnTo>
                    <a:pt x="242" y="178"/>
                  </a:lnTo>
                  <a:lnTo>
                    <a:pt x="240" y="178"/>
                  </a:lnTo>
                  <a:lnTo>
                    <a:pt x="237" y="180"/>
                  </a:lnTo>
                  <a:lnTo>
                    <a:pt x="235" y="180"/>
                  </a:lnTo>
                  <a:lnTo>
                    <a:pt x="235" y="180"/>
                  </a:lnTo>
                  <a:lnTo>
                    <a:pt x="235" y="180"/>
                  </a:lnTo>
                  <a:lnTo>
                    <a:pt x="232" y="180"/>
                  </a:lnTo>
                  <a:lnTo>
                    <a:pt x="232" y="180"/>
                  </a:lnTo>
                  <a:lnTo>
                    <a:pt x="230" y="180"/>
                  </a:lnTo>
                  <a:lnTo>
                    <a:pt x="230" y="183"/>
                  </a:lnTo>
                  <a:lnTo>
                    <a:pt x="227" y="188"/>
                  </a:lnTo>
                  <a:lnTo>
                    <a:pt x="224" y="188"/>
                  </a:lnTo>
                  <a:lnTo>
                    <a:pt x="224" y="191"/>
                  </a:lnTo>
                  <a:lnTo>
                    <a:pt x="224" y="191"/>
                  </a:lnTo>
                  <a:lnTo>
                    <a:pt x="224" y="191"/>
                  </a:lnTo>
                  <a:lnTo>
                    <a:pt x="222" y="193"/>
                  </a:lnTo>
                  <a:lnTo>
                    <a:pt x="219" y="191"/>
                  </a:lnTo>
                  <a:lnTo>
                    <a:pt x="217" y="191"/>
                  </a:lnTo>
                  <a:lnTo>
                    <a:pt x="217" y="191"/>
                  </a:lnTo>
                  <a:lnTo>
                    <a:pt x="214" y="188"/>
                  </a:lnTo>
                  <a:lnTo>
                    <a:pt x="214" y="188"/>
                  </a:lnTo>
                  <a:lnTo>
                    <a:pt x="214" y="186"/>
                  </a:lnTo>
                  <a:lnTo>
                    <a:pt x="212" y="186"/>
                  </a:lnTo>
                  <a:lnTo>
                    <a:pt x="212" y="186"/>
                  </a:lnTo>
                  <a:lnTo>
                    <a:pt x="212" y="186"/>
                  </a:lnTo>
                  <a:lnTo>
                    <a:pt x="212" y="186"/>
                  </a:lnTo>
                  <a:lnTo>
                    <a:pt x="212" y="183"/>
                  </a:lnTo>
                  <a:lnTo>
                    <a:pt x="209" y="183"/>
                  </a:lnTo>
                  <a:lnTo>
                    <a:pt x="212" y="180"/>
                  </a:lnTo>
                  <a:lnTo>
                    <a:pt x="209" y="180"/>
                  </a:lnTo>
                  <a:lnTo>
                    <a:pt x="209" y="178"/>
                  </a:lnTo>
                  <a:lnTo>
                    <a:pt x="207" y="175"/>
                  </a:lnTo>
                  <a:lnTo>
                    <a:pt x="207" y="173"/>
                  </a:lnTo>
                  <a:lnTo>
                    <a:pt x="207" y="173"/>
                  </a:lnTo>
                  <a:lnTo>
                    <a:pt x="204" y="170"/>
                  </a:lnTo>
                  <a:lnTo>
                    <a:pt x="204" y="170"/>
                  </a:lnTo>
                  <a:lnTo>
                    <a:pt x="207" y="168"/>
                  </a:lnTo>
                  <a:lnTo>
                    <a:pt x="209" y="168"/>
                  </a:lnTo>
                  <a:lnTo>
                    <a:pt x="209" y="168"/>
                  </a:lnTo>
                  <a:lnTo>
                    <a:pt x="212" y="165"/>
                  </a:lnTo>
                  <a:lnTo>
                    <a:pt x="212" y="163"/>
                  </a:lnTo>
                  <a:lnTo>
                    <a:pt x="214" y="163"/>
                  </a:lnTo>
                  <a:lnTo>
                    <a:pt x="214" y="160"/>
                  </a:lnTo>
                  <a:lnTo>
                    <a:pt x="214" y="160"/>
                  </a:lnTo>
                  <a:lnTo>
                    <a:pt x="217" y="158"/>
                  </a:lnTo>
                  <a:lnTo>
                    <a:pt x="217" y="155"/>
                  </a:lnTo>
                  <a:lnTo>
                    <a:pt x="219" y="152"/>
                  </a:lnTo>
                  <a:lnTo>
                    <a:pt x="222" y="152"/>
                  </a:lnTo>
                  <a:lnTo>
                    <a:pt x="224" y="152"/>
                  </a:lnTo>
                  <a:lnTo>
                    <a:pt x="227" y="150"/>
                  </a:lnTo>
                  <a:lnTo>
                    <a:pt x="230" y="147"/>
                  </a:lnTo>
                  <a:lnTo>
                    <a:pt x="235" y="147"/>
                  </a:lnTo>
                  <a:lnTo>
                    <a:pt x="235" y="145"/>
                  </a:lnTo>
                  <a:lnTo>
                    <a:pt x="237" y="145"/>
                  </a:lnTo>
                  <a:lnTo>
                    <a:pt x="237" y="145"/>
                  </a:lnTo>
                  <a:lnTo>
                    <a:pt x="237" y="147"/>
                  </a:lnTo>
                  <a:lnTo>
                    <a:pt x="237" y="147"/>
                  </a:lnTo>
                  <a:lnTo>
                    <a:pt x="240" y="150"/>
                  </a:lnTo>
                  <a:lnTo>
                    <a:pt x="240" y="150"/>
                  </a:lnTo>
                  <a:lnTo>
                    <a:pt x="242" y="152"/>
                  </a:lnTo>
                  <a:lnTo>
                    <a:pt x="245" y="155"/>
                  </a:lnTo>
                  <a:lnTo>
                    <a:pt x="247" y="155"/>
                  </a:lnTo>
                  <a:lnTo>
                    <a:pt x="247" y="158"/>
                  </a:lnTo>
                  <a:lnTo>
                    <a:pt x="250" y="158"/>
                  </a:lnTo>
                  <a:lnTo>
                    <a:pt x="250" y="158"/>
                  </a:lnTo>
                  <a:lnTo>
                    <a:pt x="250" y="160"/>
                  </a:lnTo>
                  <a:lnTo>
                    <a:pt x="250" y="160"/>
                  </a:lnTo>
                  <a:lnTo>
                    <a:pt x="250" y="163"/>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207" name="Freeform 1825">
              <a:extLst>
                <a:ext uri="{FF2B5EF4-FFF2-40B4-BE49-F238E27FC236}">
                  <a16:creationId xmlns:a16="http://schemas.microsoft.com/office/drawing/2014/main" id="{E5F19AA5-9266-D14D-8EAC-BBDDC3518D6C}"/>
                </a:ext>
              </a:extLst>
            </p:cNvPr>
            <p:cNvSpPr>
              <a:spLocks/>
            </p:cNvSpPr>
            <p:nvPr/>
          </p:nvSpPr>
          <p:spPr bwMode="auto">
            <a:xfrm>
              <a:off x="6954811" y="3356209"/>
              <a:ext cx="338598" cy="507078"/>
            </a:xfrm>
            <a:custGeom>
              <a:avLst/>
              <a:gdLst>
                <a:gd name="T0" fmla="*/ 201 w 207"/>
                <a:gd name="T1" fmla="*/ 33 h 310"/>
                <a:gd name="T2" fmla="*/ 199 w 207"/>
                <a:gd name="T3" fmla="*/ 35 h 310"/>
                <a:gd name="T4" fmla="*/ 201 w 207"/>
                <a:gd name="T5" fmla="*/ 30 h 310"/>
                <a:gd name="T6" fmla="*/ 201 w 207"/>
                <a:gd name="T7" fmla="*/ 7 h 310"/>
                <a:gd name="T8" fmla="*/ 194 w 207"/>
                <a:gd name="T9" fmla="*/ 0 h 310"/>
                <a:gd name="T10" fmla="*/ 179 w 207"/>
                <a:gd name="T11" fmla="*/ 10 h 310"/>
                <a:gd name="T12" fmla="*/ 156 w 207"/>
                <a:gd name="T13" fmla="*/ 18 h 310"/>
                <a:gd name="T14" fmla="*/ 145 w 207"/>
                <a:gd name="T15" fmla="*/ 15 h 310"/>
                <a:gd name="T16" fmla="*/ 125 w 207"/>
                <a:gd name="T17" fmla="*/ 18 h 310"/>
                <a:gd name="T18" fmla="*/ 107 w 207"/>
                <a:gd name="T19" fmla="*/ 28 h 310"/>
                <a:gd name="T20" fmla="*/ 92 w 207"/>
                <a:gd name="T21" fmla="*/ 28 h 310"/>
                <a:gd name="T22" fmla="*/ 64 w 207"/>
                <a:gd name="T23" fmla="*/ 35 h 310"/>
                <a:gd name="T24" fmla="*/ 46 w 207"/>
                <a:gd name="T25" fmla="*/ 15 h 310"/>
                <a:gd name="T26" fmla="*/ 36 w 207"/>
                <a:gd name="T27" fmla="*/ 23 h 310"/>
                <a:gd name="T28" fmla="*/ 33 w 207"/>
                <a:gd name="T29" fmla="*/ 28 h 310"/>
                <a:gd name="T30" fmla="*/ 33 w 207"/>
                <a:gd name="T31" fmla="*/ 33 h 310"/>
                <a:gd name="T32" fmla="*/ 36 w 207"/>
                <a:gd name="T33" fmla="*/ 40 h 310"/>
                <a:gd name="T34" fmla="*/ 43 w 207"/>
                <a:gd name="T35" fmla="*/ 51 h 310"/>
                <a:gd name="T36" fmla="*/ 51 w 207"/>
                <a:gd name="T37" fmla="*/ 61 h 310"/>
                <a:gd name="T38" fmla="*/ 59 w 207"/>
                <a:gd name="T39" fmla="*/ 68 h 310"/>
                <a:gd name="T40" fmla="*/ 84 w 207"/>
                <a:gd name="T41" fmla="*/ 76 h 310"/>
                <a:gd name="T42" fmla="*/ 112 w 207"/>
                <a:gd name="T43" fmla="*/ 89 h 310"/>
                <a:gd name="T44" fmla="*/ 135 w 207"/>
                <a:gd name="T45" fmla="*/ 96 h 310"/>
                <a:gd name="T46" fmla="*/ 112 w 207"/>
                <a:gd name="T47" fmla="*/ 119 h 310"/>
                <a:gd name="T48" fmla="*/ 92 w 207"/>
                <a:gd name="T49" fmla="*/ 142 h 310"/>
                <a:gd name="T50" fmla="*/ 79 w 207"/>
                <a:gd name="T51" fmla="*/ 160 h 310"/>
                <a:gd name="T52" fmla="*/ 61 w 207"/>
                <a:gd name="T53" fmla="*/ 160 h 310"/>
                <a:gd name="T54" fmla="*/ 51 w 207"/>
                <a:gd name="T55" fmla="*/ 163 h 310"/>
                <a:gd name="T56" fmla="*/ 38 w 207"/>
                <a:gd name="T57" fmla="*/ 170 h 310"/>
                <a:gd name="T58" fmla="*/ 28 w 207"/>
                <a:gd name="T59" fmla="*/ 175 h 310"/>
                <a:gd name="T60" fmla="*/ 18 w 207"/>
                <a:gd name="T61" fmla="*/ 183 h 310"/>
                <a:gd name="T62" fmla="*/ 3 w 207"/>
                <a:gd name="T63" fmla="*/ 203 h 310"/>
                <a:gd name="T64" fmla="*/ 0 w 207"/>
                <a:gd name="T65" fmla="*/ 221 h 310"/>
                <a:gd name="T66" fmla="*/ 0 w 207"/>
                <a:gd name="T67" fmla="*/ 290 h 310"/>
                <a:gd name="T68" fmla="*/ 10 w 207"/>
                <a:gd name="T69" fmla="*/ 305 h 310"/>
                <a:gd name="T70" fmla="*/ 13 w 207"/>
                <a:gd name="T71" fmla="*/ 308 h 310"/>
                <a:gd name="T72" fmla="*/ 20 w 207"/>
                <a:gd name="T73" fmla="*/ 295 h 310"/>
                <a:gd name="T74" fmla="*/ 28 w 207"/>
                <a:gd name="T75" fmla="*/ 285 h 310"/>
                <a:gd name="T76" fmla="*/ 36 w 207"/>
                <a:gd name="T77" fmla="*/ 277 h 310"/>
                <a:gd name="T78" fmla="*/ 69 w 207"/>
                <a:gd name="T79" fmla="*/ 241 h 310"/>
                <a:gd name="T80" fmla="*/ 120 w 207"/>
                <a:gd name="T81" fmla="*/ 198 h 310"/>
                <a:gd name="T82" fmla="*/ 153 w 207"/>
                <a:gd name="T83" fmla="*/ 147 h 310"/>
                <a:gd name="T84" fmla="*/ 168 w 207"/>
                <a:gd name="T85" fmla="*/ 114 h 310"/>
                <a:gd name="T86" fmla="*/ 176 w 207"/>
                <a:gd name="T87" fmla="*/ 91 h 310"/>
                <a:gd name="T88" fmla="*/ 189 w 207"/>
                <a:gd name="T89" fmla="*/ 71 h 310"/>
                <a:gd name="T90" fmla="*/ 196 w 207"/>
                <a:gd name="T91" fmla="*/ 51 h 310"/>
                <a:gd name="T92" fmla="*/ 199 w 207"/>
                <a:gd name="T93" fmla="*/ 35 h 310"/>
                <a:gd name="T94" fmla="*/ 207 w 207"/>
                <a:gd name="T95" fmla="*/ 35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7" h="310">
                  <a:moveTo>
                    <a:pt x="207" y="35"/>
                  </a:moveTo>
                  <a:lnTo>
                    <a:pt x="204" y="33"/>
                  </a:lnTo>
                  <a:lnTo>
                    <a:pt x="201" y="33"/>
                  </a:lnTo>
                  <a:lnTo>
                    <a:pt x="201" y="33"/>
                  </a:lnTo>
                  <a:lnTo>
                    <a:pt x="201" y="33"/>
                  </a:lnTo>
                  <a:lnTo>
                    <a:pt x="199" y="35"/>
                  </a:lnTo>
                  <a:lnTo>
                    <a:pt x="199" y="35"/>
                  </a:lnTo>
                  <a:lnTo>
                    <a:pt x="199" y="35"/>
                  </a:lnTo>
                  <a:lnTo>
                    <a:pt x="199" y="33"/>
                  </a:lnTo>
                  <a:lnTo>
                    <a:pt x="201" y="33"/>
                  </a:lnTo>
                  <a:lnTo>
                    <a:pt x="201" y="30"/>
                  </a:lnTo>
                  <a:lnTo>
                    <a:pt x="201" y="30"/>
                  </a:lnTo>
                  <a:lnTo>
                    <a:pt x="199" y="20"/>
                  </a:lnTo>
                  <a:lnTo>
                    <a:pt x="199" y="15"/>
                  </a:lnTo>
                  <a:lnTo>
                    <a:pt x="199" y="10"/>
                  </a:lnTo>
                  <a:lnTo>
                    <a:pt x="201" y="7"/>
                  </a:lnTo>
                  <a:lnTo>
                    <a:pt x="201" y="5"/>
                  </a:lnTo>
                  <a:lnTo>
                    <a:pt x="201" y="2"/>
                  </a:lnTo>
                  <a:lnTo>
                    <a:pt x="201" y="2"/>
                  </a:lnTo>
                  <a:lnTo>
                    <a:pt x="194" y="0"/>
                  </a:lnTo>
                  <a:lnTo>
                    <a:pt x="189" y="0"/>
                  </a:lnTo>
                  <a:lnTo>
                    <a:pt x="189" y="2"/>
                  </a:lnTo>
                  <a:lnTo>
                    <a:pt x="186" y="5"/>
                  </a:lnTo>
                  <a:lnTo>
                    <a:pt x="179" y="10"/>
                  </a:lnTo>
                  <a:lnTo>
                    <a:pt x="171" y="12"/>
                  </a:lnTo>
                  <a:lnTo>
                    <a:pt x="166" y="15"/>
                  </a:lnTo>
                  <a:lnTo>
                    <a:pt x="158" y="15"/>
                  </a:lnTo>
                  <a:lnTo>
                    <a:pt x="156" y="18"/>
                  </a:lnTo>
                  <a:lnTo>
                    <a:pt x="156" y="18"/>
                  </a:lnTo>
                  <a:lnTo>
                    <a:pt x="150" y="15"/>
                  </a:lnTo>
                  <a:lnTo>
                    <a:pt x="148" y="15"/>
                  </a:lnTo>
                  <a:lnTo>
                    <a:pt x="145" y="15"/>
                  </a:lnTo>
                  <a:lnTo>
                    <a:pt x="138" y="20"/>
                  </a:lnTo>
                  <a:lnTo>
                    <a:pt x="133" y="20"/>
                  </a:lnTo>
                  <a:lnTo>
                    <a:pt x="128" y="18"/>
                  </a:lnTo>
                  <a:lnTo>
                    <a:pt x="125" y="18"/>
                  </a:lnTo>
                  <a:lnTo>
                    <a:pt x="122" y="20"/>
                  </a:lnTo>
                  <a:lnTo>
                    <a:pt x="117" y="23"/>
                  </a:lnTo>
                  <a:lnTo>
                    <a:pt x="110" y="28"/>
                  </a:lnTo>
                  <a:lnTo>
                    <a:pt x="107" y="28"/>
                  </a:lnTo>
                  <a:lnTo>
                    <a:pt x="102" y="28"/>
                  </a:lnTo>
                  <a:lnTo>
                    <a:pt x="100" y="28"/>
                  </a:lnTo>
                  <a:lnTo>
                    <a:pt x="94" y="25"/>
                  </a:lnTo>
                  <a:lnTo>
                    <a:pt x="92" y="28"/>
                  </a:lnTo>
                  <a:lnTo>
                    <a:pt x="84" y="30"/>
                  </a:lnTo>
                  <a:lnTo>
                    <a:pt x="77" y="35"/>
                  </a:lnTo>
                  <a:lnTo>
                    <a:pt x="66" y="35"/>
                  </a:lnTo>
                  <a:lnTo>
                    <a:pt x="64" y="35"/>
                  </a:lnTo>
                  <a:lnTo>
                    <a:pt x="61" y="33"/>
                  </a:lnTo>
                  <a:lnTo>
                    <a:pt x="56" y="28"/>
                  </a:lnTo>
                  <a:lnTo>
                    <a:pt x="51" y="23"/>
                  </a:lnTo>
                  <a:lnTo>
                    <a:pt x="46" y="15"/>
                  </a:lnTo>
                  <a:lnTo>
                    <a:pt x="43" y="10"/>
                  </a:lnTo>
                  <a:lnTo>
                    <a:pt x="41" y="15"/>
                  </a:lnTo>
                  <a:lnTo>
                    <a:pt x="38" y="18"/>
                  </a:lnTo>
                  <a:lnTo>
                    <a:pt x="36" y="23"/>
                  </a:lnTo>
                  <a:lnTo>
                    <a:pt x="36" y="23"/>
                  </a:lnTo>
                  <a:lnTo>
                    <a:pt x="36" y="25"/>
                  </a:lnTo>
                  <a:lnTo>
                    <a:pt x="33" y="25"/>
                  </a:lnTo>
                  <a:lnTo>
                    <a:pt x="33" y="28"/>
                  </a:lnTo>
                  <a:lnTo>
                    <a:pt x="31" y="30"/>
                  </a:lnTo>
                  <a:lnTo>
                    <a:pt x="31" y="30"/>
                  </a:lnTo>
                  <a:lnTo>
                    <a:pt x="31" y="33"/>
                  </a:lnTo>
                  <a:lnTo>
                    <a:pt x="33" y="33"/>
                  </a:lnTo>
                  <a:lnTo>
                    <a:pt x="33" y="35"/>
                  </a:lnTo>
                  <a:lnTo>
                    <a:pt x="36" y="38"/>
                  </a:lnTo>
                  <a:lnTo>
                    <a:pt x="36" y="40"/>
                  </a:lnTo>
                  <a:lnTo>
                    <a:pt x="36" y="40"/>
                  </a:lnTo>
                  <a:lnTo>
                    <a:pt x="38" y="46"/>
                  </a:lnTo>
                  <a:lnTo>
                    <a:pt x="41" y="46"/>
                  </a:lnTo>
                  <a:lnTo>
                    <a:pt x="41" y="48"/>
                  </a:lnTo>
                  <a:lnTo>
                    <a:pt x="43" y="51"/>
                  </a:lnTo>
                  <a:lnTo>
                    <a:pt x="43" y="53"/>
                  </a:lnTo>
                  <a:lnTo>
                    <a:pt x="46" y="56"/>
                  </a:lnTo>
                  <a:lnTo>
                    <a:pt x="49" y="58"/>
                  </a:lnTo>
                  <a:lnTo>
                    <a:pt x="51" y="61"/>
                  </a:lnTo>
                  <a:lnTo>
                    <a:pt x="51" y="61"/>
                  </a:lnTo>
                  <a:lnTo>
                    <a:pt x="56" y="63"/>
                  </a:lnTo>
                  <a:lnTo>
                    <a:pt x="59" y="68"/>
                  </a:lnTo>
                  <a:lnTo>
                    <a:pt x="59" y="68"/>
                  </a:lnTo>
                  <a:lnTo>
                    <a:pt x="64" y="71"/>
                  </a:lnTo>
                  <a:lnTo>
                    <a:pt x="71" y="74"/>
                  </a:lnTo>
                  <a:lnTo>
                    <a:pt x="77" y="74"/>
                  </a:lnTo>
                  <a:lnTo>
                    <a:pt x="84" y="76"/>
                  </a:lnTo>
                  <a:lnTo>
                    <a:pt x="89" y="79"/>
                  </a:lnTo>
                  <a:lnTo>
                    <a:pt x="97" y="81"/>
                  </a:lnTo>
                  <a:lnTo>
                    <a:pt x="105" y="86"/>
                  </a:lnTo>
                  <a:lnTo>
                    <a:pt x="112" y="89"/>
                  </a:lnTo>
                  <a:lnTo>
                    <a:pt x="117" y="89"/>
                  </a:lnTo>
                  <a:lnTo>
                    <a:pt x="120" y="91"/>
                  </a:lnTo>
                  <a:lnTo>
                    <a:pt x="140" y="91"/>
                  </a:lnTo>
                  <a:lnTo>
                    <a:pt x="135" y="96"/>
                  </a:lnTo>
                  <a:lnTo>
                    <a:pt x="128" y="102"/>
                  </a:lnTo>
                  <a:lnTo>
                    <a:pt x="122" y="109"/>
                  </a:lnTo>
                  <a:lnTo>
                    <a:pt x="120" y="112"/>
                  </a:lnTo>
                  <a:lnTo>
                    <a:pt x="112" y="119"/>
                  </a:lnTo>
                  <a:lnTo>
                    <a:pt x="110" y="124"/>
                  </a:lnTo>
                  <a:lnTo>
                    <a:pt x="105" y="130"/>
                  </a:lnTo>
                  <a:lnTo>
                    <a:pt x="100" y="135"/>
                  </a:lnTo>
                  <a:lnTo>
                    <a:pt x="92" y="142"/>
                  </a:lnTo>
                  <a:lnTo>
                    <a:pt x="89" y="147"/>
                  </a:lnTo>
                  <a:lnTo>
                    <a:pt x="84" y="155"/>
                  </a:lnTo>
                  <a:lnTo>
                    <a:pt x="79" y="160"/>
                  </a:lnTo>
                  <a:lnTo>
                    <a:pt x="79" y="160"/>
                  </a:lnTo>
                  <a:lnTo>
                    <a:pt x="74" y="160"/>
                  </a:lnTo>
                  <a:lnTo>
                    <a:pt x="69" y="160"/>
                  </a:lnTo>
                  <a:lnTo>
                    <a:pt x="61" y="160"/>
                  </a:lnTo>
                  <a:lnTo>
                    <a:pt x="61" y="160"/>
                  </a:lnTo>
                  <a:lnTo>
                    <a:pt x="59" y="160"/>
                  </a:lnTo>
                  <a:lnTo>
                    <a:pt x="56" y="160"/>
                  </a:lnTo>
                  <a:lnTo>
                    <a:pt x="51" y="163"/>
                  </a:lnTo>
                  <a:lnTo>
                    <a:pt x="51" y="163"/>
                  </a:lnTo>
                  <a:lnTo>
                    <a:pt x="46" y="165"/>
                  </a:lnTo>
                  <a:lnTo>
                    <a:pt x="43" y="168"/>
                  </a:lnTo>
                  <a:lnTo>
                    <a:pt x="41" y="168"/>
                  </a:lnTo>
                  <a:lnTo>
                    <a:pt x="38" y="170"/>
                  </a:lnTo>
                  <a:lnTo>
                    <a:pt x="38" y="173"/>
                  </a:lnTo>
                  <a:lnTo>
                    <a:pt x="38" y="173"/>
                  </a:lnTo>
                  <a:lnTo>
                    <a:pt x="36" y="175"/>
                  </a:lnTo>
                  <a:lnTo>
                    <a:pt x="28" y="175"/>
                  </a:lnTo>
                  <a:lnTo>
                    <a:pt x="26" y="178"/>
                  </a:lnTo>
                  <a:lnTo>
                    <a:pt x="20" y="178"/>
                  </a:lnTo>
                  <a:lnTo>
                    <a:pt x="18" y="180"/>
                  </a:lnTo>
                  <a:lnTo>
                    <a:pt x="18" y="183"/>
                  </a:lnTo>
                  <a:lnTo>
                    <a:pt x="15" y="185"/>
                  </a:lnTo>
                  <a:lnTo>
                    <a:pt x="13" y="191"/>
                  </a:lnTo>
                  <a:lnTo>
                    <a:pt x="8" y="198"/>
                  </a:lnTo>
                  <a:lnTo>
                    <a:pt x="3" y="203"/>
                  </a:lnTo>
                  <a:lnTo>
                    <a:pt x="0" y="208"/>
                  </a:lnTo>
                  <a:lnTo>
                    <a:pt x="0" y="208"/>
                  </a:lnTo>
                  <a:lnTo>
                    <a:pt x="0" y="211"/>
                  </a:lnTo>
                  <a:lnTo>
                    <a:pt x="0" y="221"/>
                  </a:lnTo>
                  <a:lnTo>
                    <a:pt x="0" y="241"/>
                  </a:lnTo>
                  <a:lnTo>
                    <a:pt x="0" y="259"/>
                  </a:lnTo>
                  <a:lnTo>
                    <a:pt x="0" y="280"/>
                  </a:lnTo>
                  <a:lnTo>
                    <a:pt x="0" y="290"/>
                  </a:lnTo>
                  <a:lnTo>
                    <a:pt x="0" y="292"/>
                  </a:lnTo>
                  <a:lnTo>
                    <a:pt x="3" y="295"/>
                  </a:lnTo>
                  <a:lnTo>
                    <a:pt x="5" y="300"/>
                  </a:lnTo>
                  <a:lnTo>
                    <a:pt x="10" y="305"/>
                  </a:lnTo>
                  <a:lnTo>
                    <a:pt x="10" y="308"/>
                  </a:lnTo>
                  <a:lnTo>
                    <a:pt x="13" y="308"/>
                  </a:lnTo>
                  <a:lnTo>
                    <a:pt x="13" y="310"/>
                  </a:lnTo>
                  <a:lnTo>
                    <a:pt x="13" y="308"/>
                  </a:lnTo>
                  <a:lnTo>
                    <a:pt x="15" y="305"/>
                  </a:lnTo>
                  <a:lnTo>
                    <a:pt x="18" y="300"/>
                  </a:lnTo>
                  <a:lnTo>
                    <a:pt x="18" y="297"/>
                  </a:lnTo>
                  <a:lnTo>
                    <a:pt x="20" y="295"/>
                  </a:lnTo>
                  <a:lnTo>
                    <a:pt x="20" y="295"/>
                  </a:lnTo>
                  <a:lnTo>
                    <a:pt x="23" y="292"/>
                  </a:lnTo>
                  <a:lnTo>
                    <a:pt x="26" y="290"/>
                  </a:lnTo>
                  <a:lnTo>
                    <a:pt x="28" y="285"/>
                  </a:lnTo>
                  <a:lnTo>
                    <a:pt x="31" y="282"/>
                  </a:lnTo>
                  <a:lnTo>
                    <a:pt x="33" y="280"/>
                  </a:lnTo>
                  <a:lnTo>
                    <a:pt x="33" y="277"/>
                  </a:lnTo>
                  <a:lnTo>
                    <a:pt x="36" y="277"/>
                  </a:lnTo>
                  <a:lnTo>
                    <a:pt x="51" y="257"/>
                  </a:lnTo>
                  <a:lnTo>
                    <a:pt x="56" y="252"/>
                  </a:lnTo>
                  <a:lnTo>
                    <a:pt x="61" y="247"/>
                  </a:lnTo>
                  <a:lnTo>
                    <a:pt x="69" y="241"/>
                  </a:lnTo>
                  <a:lnTo>
                    <a:pt x="79" y="231"/>
                  </a:lnTo>
                  <a:lnTo>
                    <a:pt x="97" y="219"/>
                  </a:lnTo>
                  <a:lnTo>
                    <a:pt x="102" y="216"/>
                  </a:lnTo>
                  <a:lnTo>
                    <a:pt x="120" y="198"/>
                  </a:lnTo>
                  <a:lnTo>
                    <a:pt x="130" y="183"/>
                  </a:lnTo>
                  <a:lnTo>
                    <a:pt x="140" y="170"/>
                  </a:lnTo>
                  <a:lnTo>
                    <a:pt x="145" y="160"/>
                  </a:lnTo>
                  <a:lnTo>
                    <a:pt x="153" y="147"/>
                  </a:lnTo>
                  <a:lnTo>
                    <a:pt x="161" y="132"/>
                  </a:lnTo>
                  <a:lnTo>
                    <a:pt x="163" y="127"/>
                  </a:lnTo>
                  <a:lnTo>
                    <a:pt x="166" y="119"/>
                  </a:lnTo>
                  <a:lnTo>
                    <a:pt x="168" y="114"/>
                  </a:lnTo>
                  <a:lnTo>
                    <a:pt x="171" y="107"/>
                  </a:lnTo>
                  <a:lnTo>
                    <a:pt x="173" y="102"/>
                  </a:lnTo>
                  <a:lnTo>
                    <a:pt x="176" y="99"/>
                  </a:lnTo>
                  <a:lnTo>
                    <a:pt x="176" y="91"/>
                  </a:lnTo>
                  <a:lnTo>
                    <a:pt x="181" y="86"/>
                  </a:lnTo>
                  <a:lnTo>
                    <a:pt x="186" y="79"/>
                  </a:lnTo>
                  <a:lnTo>
                    <a:pt x="186" y="76"/>
                  </a:lnTo>
                  <a:lnTo>
                    <a:pt x="189" y="71"/>
                  </a:lnTo>
                  <a:lnTo>
                    <a:pt x="191" y="66"/>
                  </a:lnTo>
                  <a:lnTo>
                    <a:pt x="194" y="63"/>
                  </a:lnTo>
                  <a:lnTo>
                    <a:pt x="196" y="58"/>
                  </a:lnTo>
                  <a:lnTo>
                    <a:pt x="196" y="51"/>
                  </a:lnTo>
                  <a:lnTo>
                    <a:pt x="196" y="46"/>
                  </a:lnTo>
                  <a:lnTo>
                    <a:pt x="196" y="38"/>
                  </a:lnTo>
                  <a:lnTo>
                    <a:pt x="196" y="38"/>
                  </a:lnTo>
                  <a:lnTo>
                    <a:pt x="199" y="35"/>
                  </a:lnTo>
                  <a:lnTo>
                    <a:pt x="201" y="35"/>
                  </a:lnTo>
                  <a:lnTo>
                    <a:pt x="204" y="35"/>
                  </a:lnTo>
                  <a:lnTo>
                    <a:pt x="207" y="35"/>
                  </a:lnTo>
                  <a:lnTo>
                    <a:pt x="207" y="35"/>
                  </a:lnTo>
                  <a:lnTo>
                    <a:pt x="207" y="35"/>
                  </a:lnTo>
                  <a:close/>
                </a:path>
              </a:pathLst>
            </a:custGeom>
            <a:solidFill>
              <a:srgbClr val="FFC000"/>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208" name="Freeform 1826">
              <a:extLst>
                <a:ext uri="{FF2B5EF4-FFF2-40B4-BE49-F238E27FC236}">
                  <a16:creationId xmlns:a16="http://schemas.microsoft.com/office/drawing/2014/main" id="{A0F00B48-775E-4F4F-9BEE-29544B757DDF}"/>
                </a:ext>
              </a:extLst>
            </p:cNvPr>
            <p:cNvSpPr>
              <a:spLocks noEditPoints="1"/>
            </p:cNvSpPr>
            <p:nvPr/>
          </p:nvSpPr>
          <p:spPr bwMode="auto">
            <a:xfrm>
              <a:off x="10715369" y="4046490"/>
              <a:ext cx="350048" cy="196288"/>
            </a:xfrm>
            <a:custGeom>
              <a:avLst/>
              <a:gdLst>
                <a:gd name="T0" fmla="*/ 214 w 214"/>
                <a:gd name="T1" fmla="*/ 115 h 120"/>
                <a:gd name="T2" fmla="*/ 76 w 214"/>
                <a:gd name="T3" fmla="*/ 112 h 120"/>
                <a:gd name="T4" fmla="*/ 81 w 214"/>
                <a:gd name="T5" fmla="*/ 115 h 120"/>
                <a:gd name="T6" fmla="*/ 87 w 214"/>
                <a:gd name="T7" fmla="*/ 117 h 120"/>
                <a:gd name="T8" fmla="*/ 196 w 214"/>
                <a:gd name="T9" fmla="*/ 94 h 120"/>
                <a:gd name="T10" fmla="*/ 199 w 214"/>
                <a:gd name="T11" fmla="*/ 94 h 120"/>
                <a:gd name="T12" fmla="*/ 201 w 214"/>
                <a:gd name="T13" fmla="*/ 92 h 120"/>
                <a:gd name="T14" fmla="*/ 117 w 214"/>
                <a:gd name="T15" fmla="*/ 87 h 120"/>
                <a:gd name="T16" fmla="*/ 107 w 214"/>
                <a:gd name="T17" fmla="*/ 82 h 120"/>
                <a:gd name="T18" fmla="*/ 109 w 214"/>
                <a:gd name="T19" fmla="*/ 89 h 120"/>
                <a:gd name="T20" fmla="*/ 122 w 214"/>
                <a:gd name="T21" fmla="*/ 97 h 120"/>
                <a:gd name="T22" fmla="*/ 109 w 214"/>
                <a:gd name="T23" fmla="*/ 69 h 120"/>
                <a:gd name="T24" fmla="*/ 112 w 214"/>
                <a:gd name="T25" fmla="*/ 69 h 120"/>
                <a:gd name="T26" fmla="*/ 94 w 214"/>
                <a:gd name="T27" fmla="*/ 71 h 120"/>
                <a:gd name="T28" fmla="*/ 76 w 214"/>
                <a:gd name="T29" fmla="*/ 61 h 120"/>
                <a:gd name="T30" fmla="*/ 76 w 214"/>
                <a:gd name="T31" fmla="*/ 69 h 120"/>
                <a:gd name="T32" fmla="*/ 92 w 214"/>
                <a:gd name="T33" fmla="*/ 74 h 120"/>
                <a:gd name="T34" fmla="*/ 97 w 214"/>
                <a:gd name="T35" fmla="*/ 71 h 120"/>
                <a:gd name="T36" fmla="*/ 89 w 214"/>
                <a:gd name="T37" fmla="*/ 59 h 120"/>
                <a:gd name="T38" fmla="*/ 84 w 214"/>
                <a:gd name="T39" fmla="*/ 56 h 120"/>
                <a:gd name="T40" fmla="*/ 64 w 214"/>
                <a:gd name="T41" fmla="*/ 56 h 120"/>
                <a:gd name="T42" fmla="*/ 69 w 214"/>
                <a:gd name="T43" fmla="*/ 56 h 120"/>
                <a:gd name="T44" fmla="*/ 33 w 214"/>
                <a:gd name="T45" fmla="*/ 48 h 120"/>
                <a:gd name="T46" fmla="*/ 48 w 214"/>
                <a:gd name="T47" fmla="*/ 48 h 120"/>
                <a:gd name="T48" fmla="*/ 48 w 214"/>
                <a:gd name="T49" fmla="*/ 48 h 120"/>
                <a:gd name="T50" fmla="*/ 43 w 214"/>
                <a:gd name="T51" fmla="*/ 43 h 120"/>
                <a:gd name="T52" fmla="*/ 43 w 214"/>
                <a:gd name="T53" fmla="*/ 48 h 120"/>
                <a:gd name="T54" fmla="*/ 28 w 214"/>
                <a:gd name="T55" fmla="*/ 46 h 120"/>
                <a:gd name="T56" fmla="*/ 33 w 214"/>
                <a:gd name="T57" fmla="*/ 43 h 120"/>
                <a:gd name="T58" fmla="*/ 76 w 214"/>
                <a:gd name="T59" fmla="*/ 41 h 120"/>
                <a:gd name="T60" fmla="*/ 76 w 214"/>
                <a:gd name="T61" fmla="*/ 41 h 120"/>
                <a:gd name="T62" fmla="*/ 107 w 214"/>
                <a:gd name="T63" fmla="*/ 59 h 120"/>
                <a:gd name="T64" fmla="*/ 102 w 214"/>
                <a:gd name="T65" fmla="*/ 51 h 120"/>
                <a:gd name="T66" fmla="*/ 99 w 214"/>
                <a:gd name="T67" fmla="*/ 38 h 120"/>
                <a:gd name="T68" fmla="*/ 99 w 214"/>
                <a:gd name="T69" fmla="*/ 54 h 120"/>
                <a:gd name="T70" fmla="*/ 43 w 214"/>
                <a:gd name="T71" fmla="*/ 43 h 120"/>
                <a:gd name="T72" fmla="*/ 36 w 214"/>
                <a:gd name="T73" fmla="*/ 31 h 120"/>
                <a:gd name="T74" fmla="*/ 30 w 214"/>
                <a:gd name="T75" fmla="*/ 38 h 120"/>
                <a:gd name="T76" fmla="*/ 36 w 214"/>
                <a:gd name="T77" fmla="*/ 41 h 120"/>
                <a:gd name="T78" fmla="*/ 43 w 214"/>
                <a:gd name="T79" fmla="*/ 43 h 120"/>
                <a:gd name="T80" fmla="*/ 18 w 214"/>
                <a:gd name="T81" fmla="*/ 33 h 120"/>
                <a:gd name="T82" fmla="*/ 28 w 214"/>
                <a:gd name="T83" fmla="*/ 28 h 120"/>
                <a:gd name="T84" fmla="*/ 28 w 214"/>
                <a:gd name="T85" fmla="*/ 36 h 120"/>
                <a:gd name="T86" fmla="*/ 15 w 214"/>
                <a:gd name="T87" fmla="*/ 26 h 120"/>
                <a:gd name="T88" fmla="*/ 20 w 214"/>
                <a:gd name="T89" fmla="*/ 28 h 120"/>
                <a:gd name="T90" fmla="*/ 81 w 214"/>
                <a:gd name="T91" fmla="*/ 43 h 120"/>
                <a:gd name="T92" fmla="*/ 74 w 214"/>
                <a:gd name="T93" fmla="*/ 31 h 120"/>
                <a:gd name="T94" fmla="*/ 64 w 214"/>
                <a:gd name="T95" fmla="*/ 26 h 120"/>
                <a:gd name="T96" fmla="*/ 59 w 214"/>
                <a:gd name="T97" fmla="*/ 28 h 120"/>
                <a:gd name="T98" fmla="*/ 69 w 214"/>
                <a:gd name="T99" fmla="*/ 36 h 120"/>
                <a:gd name="T100" fmla="*/ 0 w 214"/>
                <a:gd name="T101" fmla="*/ 10 h 120"/>
                <a:gd name="T102" fmla="*/ 20 w 214"/>
                <a:gd name="T103" fmla="*/ 8 h 120"/>
                <a:gd name="T104" fmla="*/ 33 w 214"/>
                <a:gd name="T105" fmla="*/ 18 h 120"/>
                <a:gd name="T106" fmla="*/ 33 w 214"/>
                <a:gd name="T107" fmla="*/ 15 h 120"/>
                <a:gd name="T108" fmla="*/ 20 w 214"/>
                <a:gd name="T109"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4" h="120">
                  <a:moveTo>
                    <a:pt x="214" y="115"/>
                  </a:moveTo>
                  <a:lnTo>
                    <a:pt x="214" y="112"/>
                  </a:lnTo>
                  <a:lnTo>
                    <a:pt x="211" y="112"/>
                  </a:lnTo>
                  <a:lnTo>
                    <a:pt x="211" y="115"/>
                  </a:lnTo>
                  <a:lnTo>
                    <a:pt x="211" y="115"/>
                  </a:lnTo>
                  <a:lnTo>
                    <a:pt x="214" y="115"/>
                  </a:lnTo>
                  <a:lnTo>
                    <a:pt x="214" y="115"/>
                  </a:lnTo>
                  <a:lnTo>
                    <a:pt x="214" y="115"/>
                  </a:lnTo>
                  <a:close/>
                  <a:moveTo>
                    <a:pt x="84" y="115"/>
                  </a:moveTo>
                  <a:lnTo>
                    <a:pt x="79" y="112"/>
                  </a:lnTo>
                  <a:lnTo>
                    <a:pt x="76" y="110"/>
                  </a:lnTo>
                  <a:lnTo>
                    <a:pt x="76" y="112"/>
                  </a:lnTo>
                  <a:lnTo>
                    <a:pt x="76" y="112"/>
                  </a:lnTo>
                  <a:lnTo>
                    <a:pt x="76" y="112"/>
                  </a:lnTo>
                  <a:lnTo>
                    <a:pt x="79" y="115"/>
                  </a:lnTo>
                  <a:lnTo>
                    <a:pt x="79" y="115"/>
                  </a:lnTo>
                  <a:lnTo>
                    <a:pt x="79" y="115"/>
                  </a:lnTo>
                  <a:lnTo>
                    <a:pt x="81" y="115"/>
                  </a:lnTo>
                  <a:lnTo>
                    <a:pt x="84" y="117"/>
                  </a:lnTo>
                  <a:lnTo>
                    <a:pt x="84" y="117"/>
                  </a:lnTo>
                  <a:lnTo>
                    <a:pt x="84" y="120"/>
                  </a:lnTo>
                  <a:lnTo>
                    <a:pt x="87" y="120"/>
                  </a:lnTo>
                  <a:lnTo>
                    <a:pt x="87" y="117"/>
                  </a:lnTo>
                  <a:lnTo>
                    <a:pt x="87" y="117"/>
                  </a:lnTo>
                  <a:lnTo>
                    <a:pt x="84" y="115"/>
                  </a:lnTo>
                  <a:close/>
                  <a:moveTo>
                    <a:pt x="201" y="92"/>
                  </a:moveTo>
                  <a:lnTo>
                    <a:pt x="199" y="92"/>
                  </a:lnTo>
                  <a:lnTo>
                    <a:pt x="196" y="92"/>
                  </a:lnTo>
                  <a:lnTo>
                    <a:pt x="196" y="94"/>
                  </a:lnTo>
                  <a:lnTo>
                    <a:pt x="196" y="94"/>
                  </a:lnTo>
                  <a:lnTo>
                    <a:pt x="194" y="94"/>
                  </a:lnTo>
                  <a:lnTo>
                    <a:pt x="194" y="94"/>
                  </a:lnTo>
                  <a:lnTo>
                    <a:pt x="196" y="97"/>
                  </a:lnTo>
                  <a:lnTo>
                    <a:pt x="196" y="97"/>
                  </a:lnTo>
                  <a:lnTo>
                    <a:pt x="196" y="97"/>
                  </a:lnTo>
                  <a:lnTo>
                    <a:pt x="199" y="94"/>
                  </a:lnTo>
                  <a:lnTo>
                    <a:pt x="199" y="94"/>
                  </a:lnTo>
                  <a:lnTo>
                    <a:pt x="199" y="94"/>
                  </a:lnTo>
                  <a:lnTo>
                    <a:pt x="201" y="94"/>
                  </a:lnTo>
                  <a:lnTo>
                    <a:pt x="201" y="94"/>
                  </a:lnTo>
                  <a:lnTo>
                    <a:pt x="201" y="92"/>
                  </a:lnTo>
                  <a:lnTo>
                    <a:pt x="201" y="92"/>
                  </a:lnTo>
                  <a:close/>
                  <a:moveTo>
                    <a:pt x="125" y="94"/>
                  </a:moveTo>
                  <a:lnTo>
                    <a:pt x="122" y="89"/>
                  </a:lnTo>
                  <a:lnTo>
                    <a:pt x="122" y="87"/>
                  </a:lnTo>
                  <a:lnTo>
                    <a:pt x="120" y="89"/>
                  </a:lnTo>
                  <a:lnTo>
                    <a:pt x="117" y="87"/>
                  </a:lnTo>
                  <a:lnTo>
                    <a:pt x="117" y="87"/>
                  </a:lnTo>
                  <a:lnTo>
                    <a:pt x="115" y="87"/>
                  </a:lnTo>
                  <a:lnTo>
                    <a:pt x="115" y="87"/>
                  </a:lnTo>
                  <a:lnTo>
                    <a:pt x="112" y="84"/>
                  </a:lnTo>
                  <a:lnTo>
                    <a:pt x="109" y="82"/>
                  </a:lnTo>
                  <a:lnTo>
                    <a:pt x="107" y="82"/>
                  </a:lnTo>
                  <a:lnTo>
                    <a:pt x="107" y="82"/>
                  </a:lnTo>
                  <a:lnTo>
                    <a:pt x="107" y="84"/>
                  </a:lnTo>
                  <a:lnTo>
                    <a:pt x="107" y="84"/>
                  </a:lnTo>
                  <a:lnTo>
                    <a:pt x="107" y="84"/>
                  </a:lnTo>
                  <a:lnTo>
                    <a:pt x="109" y="87"/>
                  </a:lnTo>
                  <a:lnTo>
                    <a:pt x="109" y="87"/>
                  </a:lnTo>
                  <a:lnTo>
                    <a:pt x="109" y="89"/>
                  </a:lnTo>
                  <a:lnTo>
                    <a:pt x="109" y="89"/>
                  </a:lnTo>
                  <a:lnTo>
                    <a:pt x="115" y="94"/>
                  </a:lnTo>
                  <a:lnTo>
                    <a:pt x="117" y="94"/>
                  </a:lnTo>
                  <a:lnTo>
                    <a:pt x="120" y="94"/>
                  </a:lnTo>
                  <a:lnTo>
                    <a:pt x="122" y="97"/>
                  </a:lnTo>
                  <a:lnTo>
                    <a:pt x="122" y="97"/>
                  </a:lnTo>
                  <a:lnTo>
                    <a:pt x="125" y="97"/>
                  </a:lnTo>
                  <a:lnTo>
                    <a:pt x="127" y="97"/>
                  </a:lnTo>
                  <a:lnTo>
                    <a:pt x="125" y="94"/>
                  </a:lnTo>
                  <a:lnTo>
                    <a:pt x="125" y="94"/>
                  </a:lnTo>
                  <a:close/>
                  <a:moveTo>
                    <a:pt x="109" y="66"/>
                  </a:moveTo>
                  <a:lnTo>
                    <a:pt x="109" y="69"/>
                  </a:lnTo>
                  <a:lnTo>
                    <a:pt x="109" y="69"/>
                  </a:lnTo>
                  <a:lnTo>
                    <a:pt x="109" y="71"/>
                  </a:lnTo>
                  <a:lnTo>
                    <a:pt x="112" y="71"/>
                  </a:lnTo>
                  <a:lnTo>
                    <a:pt x="112" y="71"/>
                  </a:lnTo>
                  <a:lnTo>
                    <a:pt x="112" y="71"/>
                  </a:lnTo>
                  <a:lnTo>
                    <a:pt x="112" y="69"/>
                  </a:lnTo>
                  <a:lnTo>
                    <a:pt x="109" y="64"/>
                  </a:lnTo>
                  <a:lnTo>
                    <a:pt x="109" y="64"/>
                  </a:lnTo>
                  <a:lnTo>
                    <a:pt x="109" y="64"/>
                  </a:lnTo>
                  <a:lnTo>
                    <a:pt x="109" y="66"/>
                  </a:lnTo>
                  <a:close/>
                  <a:moveTo>
                    <a:pt x="97" y="71"/>
                  </a:moveTo>
                  <a:lnTo>
                    <a:pt x="94" y="71"/>
                  </a:lnTo>
                  <a:lnTo>
                    <a:pt x="94" y="69"/>
                  </a:lnTo>
                  <a:lnTo>
                    <a:pt x="92" y="66"/>
                  </a:lnTo>
                  <a:lnTo>
                    <a:pt x="89" y="64"/>
                  </a:lnTo>
                  <a:lnTo>
                    <a:pt x="84" y="64"/>
                  </a:lnTo>
                  <a:lnTo>
                    <a:pt x="81" y="64"/>
                  </a:lnTo>
                  <a:lnTo>
                    <a:pt x="76" y="61"/>
                  </a:lnTo>
                  <a:lnTo>
                    <a:pt x="76" y="61"/>
                  </a:lnTo>
                  <a:lnTo>
                    <a:pt x="74" y="61"/>
                  </a:lnTo>
                  <a:lnTo>
                    <a:pt x="74" y="64"/>
                  </a:lnTo>
                  <a:lnTo>
                    <a:pt x="74" y="66"/>
                  </a:lnTo>
                  <a:lnTo>
                    <a:pt x="74" y="66"/>
                  </a:lnTo>
                  <a:lnTo>
                    <a:pt x="76" y="69"/>
                  </a:lnTo>
                  <a:lnTo>
                    <a:pt x="76" y="71"/>
                  </a:lnTo>
                  <a:lnTo>
                    <a:pt x="76" y="71"/>
                  </a:lnTo>
                  <a:lnTo>
                    <a:pt x="79" y="71"/>
                  </a:lnTo>
                  <a:lnTo>
                    <a:pt x="81" y="74"/>
                  </a:lnTo>
                  <a:lnTo>
                    <a:pt x="87" y="74"/>
                  </a:lnTo>
                  <a:lnTo>
                    <a:pt x="92" y="74"/>
                  </a:lnTo>
                  <a:lnTo>
                    <a:pt x="94" y="76"/>
                  </a:lnTo>
                  <a:lnTo>
                    <a:pt x="94" y="76"/>
                  </a:lnTo>
                  <a:lnTo>
                    <a:pt x="97" y="74"/>
                  </a:lnTo>
                  <a:lnTo>
                    <a:pt x="97" y="74"/>
                  </a:lnTo>
                  <a:lnTo>
                    <a:pt x="97" y="71"/>
                  </a:lnTo>
                  <a:lnTo>
                    <a:pt x="97" y="71"/>
                  </a:lnTo>
                  <a:close/>
                  <a:moveTo>
                    <a:pt x="87" y="56"/>
                  </a:moveTo>
                  <a:lnTo>
                    <a:pt x="89" y="56"/>
                  </a:lnTo>
                  <a:lnTo>
                    <a:pt x="89" y="59"/>
                  </a:lnTo>
                  <a:lnTo>
                    <a:pt x="89" y="59"/>
                  </a:lnTo>
                  <a:lnTo>
                    <a:pt x="89" y="59"/>
                  </a:lnTo>
                  <a:lnTo>
                    <a:pt x="89" y="59"/>
                  </a:lnTo>
                  <a:lnTo>
                    <a:pt x="92" y="59"/>
                  </a:lnTo>
                  <a:lnTo>
                    <a:pt x="89" y="56"/>
                  </a:lnTo>
                  <a:lnTo>
                    <a:pt x="89" y="54"/>
                  </a:lnTo>
                  <a:lnTo>
                    <a:pt x="87" y="54"/>
                  </a:lnTo>
                  <a:lnTo>
                    <a:pt x="87" y="54"/>
                  </a:lnTo>
                  <a:lnTo>
                    <a:pt x="84" y="56"/>
                  </a:lnTo>
                  <a:lnTo>
                    <a:pt x="84" y="56"/>
                  </a:lnTo>
                  <a:lnTo>
                    <a:pt x="87" y="56"/>
                  </a:lnTo>
                  <a:close/>
                  <a:moveTo>
                    <a:pt x="66" y="54"/>
                  </a:moveTo>
                  <a:lnTo>
                    <a:pt x="66" y="54"/>
                  </a:lnTo>
                  <a:lnTo>
                    <a:pt x="64" y="56"/>
                  </a:lnTo>
                  <a:lnTo>
                    <a:pt x="64" y="56"/>
                  </a:lnTo>
                  <a:lnTo>
                    <a:pt x="64" y="56"/>
                  </a:lnTo>
                  <a:lnTo>
                    <a:pt x="66" y="56"/>
                  </a:lnTo>
                  <a:lnTo>
                    <a:pt x="66" y="59"/>
                  </a:lnTo>
                  <a:lnTo>
                    <a:pt x="66" y="56"/>
                  </a:lnTo>
                  <a:lnTo>
                    <a:pt x="69" y="56"/>
                  </a:lnTo>
                  <a:lnTo>
                    <a:pt x="69" y="56"/>
                  </a:lnTo>
                  <a:lnTo>
                    <a:pt x="66" y="56"/>
                  </a:lnTo>
                  <a:lnTo>
                    <a:pt x="66" y="54"/>
                  </a:lnTo>
                  <a:close/>
                  <a:moveTo>
                    <a:pt x="36" y="48"/>
                  </a:moveTo>
                  <a:lnTo>
                    <a:pt x="36" y="48"/>
                  </a:lnTo>
                  <a:lnTo>
                    <a:pt x="33" y="48"/>
                  </a:lnTo>
                  <a:lnTo>
                    <a:pt x="33" y="48"/>
                  </a:lnTo>
                  <a:lnTo>
                    <a:pt x="36" y="48"/>
                  </a:lnTo>
                  <a:lnTo>
                    <a:pt x="36" y="51"/>
                  </a:lnTo>
                  <a:lnTo>
                    <a:pt x="36" y="48"/>
                  </a:lnTo>
                  <a:lnTo>
                    <a:pt x="36" y="48"/>
                  </a:lnTo>
                  <a:lnTo>
                    <a:pt x="36" y="48"/>
                  </a:lnTo>
                  <a:close/>
                  <a:moveTo>
                    <a:pt x="48" y="48"/>
                  </a:moveTo>
                  <a:lnTo>
                    <a:pt x="46" y="48"/>
                  </a:lnTo>
                  <a:lnTo>
                    <a:pt x="48" y="51"/>
                  </a:lnTo>
                  <a:lnTo>
                    <a:pt x="48" y="51"/>
                  </a:lnTo>
                  <a:lnTo>
                    <a:pt x="48" y="51"/>
                  </a:lnTo>
                  <a:lnTo>
                    <a:pt x="48" y="48"/>
                  </a:lnTo>
                  <a:lnTo>
                    <a:pt x="48" y="48"/>
                  </a:lnTo>
                  <a:close/>
                  <a:moveTo>
                    <a:pt x="46" y="46"/>
                  </a:moveTo>
                  <a:lnTo>
                    <a:pt x="46" y="46"/>
                  </a:lnTo>
                  <a:lnTo>
                    <a:pt x="46" y="43"/>
                  </a:lnTo>
                  <a:lnTo>
                    <a:pt x="46" y="43"/>
                  </a:lnTo>
                  <a:lnTo>
                    <a:pt x="43" y="43"/>
                  </a:lnTo>
                  <a:lnTo>
                    <a:pt x="43" y="43"/>
                  </a:lnTo>
                  <a:lnTo>
                    <a:pt x="43" y="43"/>
                  </a:lnTo>
                  <a:lnTo>
                    <a:pt x="43" y="46"/>
                  </a:lnTo>
                  <a:lnTo>
                    <a:pt x="43" y="46"/>
                  </a:lnTo>
                  <a:lnTo>
                    <a:pt x="41" y="46"/>
                  </a:lnTo>
                  <a:lnTo>
                    <a:pt x="43" y="48"/>
                  </a:lnTo>
                  <a:lnTo>
                    <a:pt x="43" y="48"/>
                  </a:lnTo>
                  <a:lnTo>
                    <a:pt x="46" y="48"/>
                  </a:lnTo>
                  <a:lnTo>
                    <a:pt x="46" y="46"/>
                  </a:lnTo>
                  <a:lnTo>
                    <a:pt x="46" y="46"/>
                  </a:lnTo>
                  <a:close/>
                  <a:moveTo>
                    <a:pt x="30" y="41"/>
                  </a:moveTo>
                  <a:lnTo>
                    <a:pt x="28" y="43"/>
                  </a:lnTo>
                  <a:lnTo>
                    <a:pt x="28" y="46"/>
                  </a:lnTo>
                  <a:lnTo>
                    <a:pt x="30" y="48"/>
                  </a:lnTo>
                  <a:lnTo>
                    <a:pt x="30" y="48"/>
                  </a:lnTo>
                  <a:lnTo>
                    <a:pt x="30" y="48"/>
                  </a:lnTo>
                  <a:lnTo>
                    <a:pt x="30" y="46"/>
                  </a:lnTo>
                  <a:lnTo>
                    <a:pt x="30" y="46"/>
                  </a:lnTo>
                  <a:lnTo>
                    <a:pt x="33" y="43"/>
                  </a:lnTo>
                  <a:lnTo>
                    <a:pt x="33" y="43"/>
                  </a:lnTo>
                  <a:lnTo>
                    <a:pt x="33" y="41"/>
                  </a:lnTo>
                  <a:lnTo>
                    <a:pt x="30" y="41"/>
                  </a:lnTo>
                  <a:close/>
                  <a:moveTo>
                    <a:pt x="76" y="41"/>
                  </a:moveTo>
                  <a:lnTo>
                    <a:pt x="76" y="41"/>
                  </a:lnTo>
                  <a:lnTo>
                    <a:pt x="76" y="41"/>
                  </a:lnTo>
                  <a:lnTo>
                    <a:pt x="76" y="41"/>
                  </a:lnTo>
                  <a:lnTo>
                    <a:pt x="76" y="43"/>
                  </a:lnTo>
                  <a:lnTo>
                    <a:pt x="76" y="43"/>
                  </a:lnTo>
                  <a:lnTo>
                    <a:pt x="79" y="43"/>
                  </a:lnTo>
                  <a:lnTo>
                    <a:pt x="76" y="41"/>
                  </a:lnTo>
                  <a:lnTo>
                    <a:pt x="76" y="41"/>
                  </a:lnTo>
                  <a:close/>
                  <a:moveTo>
                    <a:pt x="109" y="69"/>
                  </a:moveTo>
                  <a:lnTo>
                    <a:pt x="109" y="69"/>
                  </a:lnTo>
                  <a:lnTo>
                    <a:pt x="109" y="69"/>
                  </a:lnTo>
                  <a:lnTo>
                    <a:pt x="109" y="66"/>
                  </a:lnTo>
                  <a:lnTo>
                    <a:pt x="107" y="61"/>
                  </a:lnTo>
                  <a:lnTo>
                    <a:pt x="107" y="59"/>
                  </a:lnTo>
                  <a:lnTo>
                    <a:pt x="107" y="59"/>
                  </a:lnTo>
                  <a:lnTo>
                    <a:pt x="107" y="56"/>
                  </a:lnTo>
                  <a:lnTo>
                    <a:pt x="107" y="54"/>
                  </a:lnTo>
                  <a:lnTo>
                    <a:pt x="104" y="51"/>
                  </a:lnTo>
                  <a:lnTo>
                    <a:pt x="104" y="51"/>
                  </a:lnTo>
                  <a:lnTo>
                    <a:pt x="102" y="51"/>
                  </a:lnTo>
                  <a:lnTo>
                    <a:pt x="102" y="48"/>
                  </a:lnTo>
                  <a:lnTo>
                    <a:pt x="104" y="46"/>
                  </a:lnTo>
                  <a:lnTo>
                    <a:pt x="104" y="46"/>
                  </a:lnTo>
                  <a:lnTo>
                    <a:pt x="99" y="38"/>
                  </a:lnTo>
                  <a:lnTo>
                    <a:pt x="99" y="38"/>
                  </a:lnTo>
                  <a:lnTo>
                    <a:pt x="99" y="38"/>
                  </a:lnTo>
                  <a:lnTo>
                    <a:pt x="97" y="38"/>
                  </a:lnTo>
                  <a:lnTo>
                    <a:pt x="97" y="38"/>
                  </a:lnTo>
                  <a:lnTo>
                    <a:pt x="97" y="41"/>
                  </a:lnTo>
                  <a:lnTo>
                    <a:pt x="99" y="43"/>
                  </a:lnTo>
                  <a:lnTo>
                    <a:pt x="97" y="46"/>
                  </a:lnTo>
                  <a:lnTo>
                    <a:pt x="99" y="54"/>
                  </a:lnTo>
                  <a:lnTo>
                    <a:pt x="99" y="59"/>
                  </a:lnTo>
                  <a:lnTo>
                    <a:pt x="104" y="61"/>
                  </a:lnTo>
                  <a:lnTo>
                    <a:pt x="104" y="61"/>
                  </a:lnTo>
                  <a:lnTo>
                    <a:pt x="107" y="64"/>
                  </a:lnTo>
                  <a:lnTo>
                    <a:pt x="109" y="69"/>
                  </a:lnTo>
                  <a:close/>
                  <a:moveTo>
                    <a:pt x="43" y="43"/>
                  </a:moveTo>
                  <a:lnTo>
                    <a:pt x="41" y="38"/>
                  </a:lnTo>
                  <a:lnTo>
                    <a:pt x="41" y="38"/>
                  </a:lnTo>
                  <a:lnTo>
                    <a:pt x="38" y="36"/>
                  </a:lnTo>
                  <a:lnTo>
                    <a:pt x="38" y="36"/>
                  </a:lnTo>
                  <a:lnTo>
                    <a:pt x="38" y="33"/>
                  </a:lnTo>
                  <a:lnTo>
                    <a:pt x="36" y="31"/>
                  </a:lnTo>
                  <a:lnTo>
                    <a:pt x="33" y="31"/>
                  </a:lnTo>
                  <a:lnTo>
                    <a:pt x="33" y="33"/>
                  </a:lnTo>
                  <a:lnTo>
                    <a:pt x="30" y="36"/>
                  </a:lnTo>
                  <a:lnTo>
                    <a:pt x="30" y="36"/>
                  </a:lnTo>
                  <a:lnTo>
                    <a:pt x="28" y="38"/>
                  </a:lnTo>
                  <a:lnTo>
                    <a:pt x="30" y="38"/>
                  </a:lnTo>
                  <a:lnTo>
                    <a:pt x="30" y="38"/>
                  </a:lnTo>
                  <a:lnTo>
                    <a:pt x="30" y="38"/>
                  </a:lnTo>
                  <a:lnTo>
                    <a:pt x="36" y="38"/>
                  </a:lnTo>
                  <a:lnTo>
                    <a:pt x="36" y="38"/>
                  </a:lnTo>
                  <a:lnTo>
                    <a:pt x="36" y="38"/>
                  </a:lnTo>
                  <a:lnTo>
                    <a:pt x="36" y="41"/>
                  </a:lnTo>
                  <a:lnTo>
                    <a:pt x="38" y="43"/>
                  </a:lnTo>
                  <a:lnTo>
                    <a:pt x="38" y="43"/>
                  </a:lnTo>
                  <a:lnTo>
                    <a:pt x="41" y="46"/>
                  </a:lnTo>
                  <a:lnTo>
                    <a:pt x="41" y="46"/>
                  </a:lnTo>
                  <a:lnTo>
                    <a:pt x="41" y="46"/>
                  </a:lnTo>
                  <a:lnTo>
                    <a:pt x="43" y="43"/>
                  </a:lnTo>
                  <a:close/>
                  <a:moveTo>
                    <a:pt x="15" y="31"/>
                  </a:moveTo>
                  <a:lnTo>
                    <a:pt x="15" y="33"/>
                  </a:lnTo>
                  <a:lnTo>
                    <a:pt x="15" y="33"/>
                  </a:lnTo>
                  <a:lnTo>
                    <a:pt x="18" y="36"/>
                  </a:lnTo>
                  <a:lnTo>
                    <a:pt x="18" y="36"/>
                  </a:lnTo>
                  <a:lnTo>
                    <a:pt x="18" y="33"/>
                  </a:lnTo>
                  <a:lnTo>
                    <a:pt x="18" y="31"/>
                  </a:lnTo>
                  <a:lnTo>
                    <a:pt x="15" y="31"/>
                  </a:lnTo>
                  <a:close/>
                  <a:moveTo>
                    <a:pt x="28" y="33"/>
                  </a:moveTo>
                  <a:lnTo>
                    <a:pt x="28" y="33"/>
                  </a:lnTo>
                  <a:lnTo>
                    <a:pt x="28" y="31"/>
                  </a:lnTo>
                  <a:lnTo>
                    <a:pt x="28" y="28"/>
                  </a:lnTo>
                  <a:lnTo>
                    <a:pt x="28" y="28"/>
                  </a:lnTo>
                  <a:lnTo>
                    <a:pt x="25" y="28"/>
                  </a:lnTo>
                  <a:lnTo>
                    <a:pt x="25" y="31"/>
                  </a:lnTo>
                  <a:lnTo>
                    <a:pt x="25" y="33"/>
                  </a:lnTo>
                  <a:lnTo>
                    <a:pt x="25" y="36"/>
                  </a:lnTo>
                  <a:lnTo>
                    <a:pt x="28" y="36"/>
                  </a:lnTo>
                  <a:lnTo>
                    <a:pt x="28" y="33"/>
                  </a:lnTo>
                  <a:lnTo>
                    <a:pt x="28" y="33"/>
                  </a:lnTo>
                  <a:close/>
                  <a:moveTo>
                    <a:pt x="18" y="23"/>
                  </a:moveTo>
                  <a:lnTo>
                    <a:pt x="18" y="23"/>
                  </a:lnTo>
                  <a:lnTo>
                    <a:pt x="15" y="23"/>
                  </a:lnTo>
                  <a:lnTo>
                    <a:pt x="15" y="26"/>
                  </a:lnTo>
                  <a:lnTo>
                    <a:pt x="18" y="28"/>
                  </a:lnTo>
                  <a:lnTo>
                    <a:pt x="18" y="28"/>
                  </a:lnTo>
                  <a:lnTo>
                    <a:pt x="18" y="28"/>
                  </a:lnTo>
                  <a:lnTo>
                    <a:pt x="18" y="31"/>
                  </a:lnTo>
                  <a:lnTo>
                    <a:pt x="20" y="31"/>
                  </a:lnTo>
                  <a:lnTo>
                    <a:pt x="20" y="28"/>
                  </a:lnTo>
                  <a:lnTo>
                    <a:pt x="20" y="26"/>
                  </a:lnTo>
                  <a:lnTo>
                    <a:pt x="23" y="26"/>
                  </a:lnTo>
                  <a:lnTo>
                    <a:pt x="20" y="26"/>
                  </a:lnTo>
                  <a:lnTo>
                    <a:pt x="18" y="23"/>
                  </a:lnTo>
                  <a:close/>
                  <a:moveTo>
                    <a:pt x="79" y="43"/>
                  </a:moveTo>
                  <a:lnTo>
                    <a:pt x="81" y="43"/>
                  </a:lnTo>
                  <a:lnTo>
                    <a:pt x="81" y="43"/>
                  </a:lnTo>
                  <a:lnTo>
                    <a:pt x="81" y="43"/>
                  </a:lnTo>
                  <a:lnTo>
                    <a:pt x="81" y="41"/>
                  </a:lnTo>
                  <a:lnTo>
                    <a:pt x="81" y="38"/>
                  </a:lnTo>
                  <a:lnTo>
                    <a:pt x="74" y="33"/>
                  </a:lnTo>
                  <a:lnTo>
                    <a:pt x="74" y="31"/>
                  </a:lnTo>
                  <a:lnTo>
                    <a:pt x="71" y="31"/>
                  </a:lnTo>
                  <a:lnTo>
                    <a:pt x="69" y="31"/>
                  </a:lnTo>
                  <a:lnTo>
                    <a:pt x="69" y="31"/>
                  </a:lnTo>
                  <a:lnTo>
                    <a:pt x="66" y="28"/>
                  </a:lnTo>
                  <a:lnTo>
                    <a:pt x="66" y="28"/>
                  </a:lnTo>
                  <a:lnTo>
                    <a:pt x="64" y="26"/>
                  </a:lnTo>
                  <a:lnTo>
                    <a:pt x="61" y="23"/>
                  </a:lnTo>
                  <a:lnTo>
                    <a:pt x="56" y="20"/>
                  </a:lnTo>
                  <a:lnTo>
                    <a:pt x="56" y="23"/>
                  </a:lnTo>
                  <a:lnTo>
                    <a:pt x="59" y="23"/>
                  </a:lnTo>
                  <a:lnTo>
                    <a:pt x="59" y="26"/>
                  </a:lnTo>
                  <a:lnTo>
                    <a:pt x="59" y="28"/>
                  </a:lnTo>
                  <a:lnTo>
                    <a:pt x="61" y="31"/>
                  </a:lnTo>
                  <a:lnTo>
                    <a:pt x="61" y="31"/>
                  </a:lnTo>
                  <a:lnTo>
                    <a:pt x="64" y="31"/>
                  </a:lnTo>
                  <a:lnTo>
                    <a:pt x="64" y="33"/>
                  </a:lnTo>
                  <a:lnTo>
                    <a:pt x="66" y="33"/>
                  </a:lnTo>
                  <a:lnTo>
                    <a:pt x="69" y="36"/>
                  </a:lnTo>
                  <a:lnTo>
                    <a:pt x="71" y="36"/>
                  </a:lnTo>
                  <a:lnTo>
                    <a:pt x="71" y="38"/>
                  </a:lnTo>
                  <a:lnTo>
                    <a:pt x="76" y="41"/>
                  </a:lnTo>
                  <a:lnTo>
                    <a:pt x="79" y="43"/>
                  </a:lnTo>
                  <a:close/>
                  <a:moveTo>
                    <a:pt x="0" y="10"/>
                  </a:moveTo>
                  <a:lnTo>
                    <a:pt x="0" y="10"/>
                  </a:lnTo>
                  <a:lnTo>
                    <a:pt x="2" y="13"/>
                  </a:lnTo>
                  <a:lnTo>
                    <a:pt x="2" y="10"/>
                  </a:lnTo>
                  <a:lnTo>
                    <a:pt x="5" y="10"/>
                  </a:lnTo>
                  <a:lnTo>
                    <a:pt x="2" y="8"/>
                  </a:lnTo>
                  <a:lnTo>
                    <a:pt x="0" y="10"/>
                  </a:lnTo>
                  <a:close/>
                  <a:moveTo>
                    <a:pt x="20" y="8"/>
                  </a:moveTo>
                  <a:lnTo>
                    <a:pt x="25" y="13"/>
                  </a:lnTo>
                  <a:lnTo>
                    <a:pt x="28" y="15"/>
                  </a:lnTo>
                  <a:lnTo>
                    <a:pt x="30" y="18"/>
                  </a:lnTo>
                  <a:lnTo>
                    <a:pt x="33" y="18"/>
                  </a:lnTo>
                  <a:lnTo>
                    <a:pt x="33" y="18"/>
                  </a:lnTo>
                  <a:lnTo>
                    <a:pt x="33" y="18"/>
                  </a:lnTo>
                  <a:lnTo>
                    <a:pt x="36" y="18"/>
                  </a:lnTo>
                  <a:lnTo>
                    <a:pt x="36" y="18"/>
                  </a:lnTo>
                  <a:lnTo>
                    <a:pt x="36" y="15"/>
                  </a:lnTo>
                  <a:lnTo>
                    <a:pt x="36" y="15"/>
                  </a:lnTo>
                  <a:lnTo>
                    <a:pt x="36" y="15"/>
                  </a:lnTo>
                  <a:lnTo>
                    <a:pt x="33" y="15"/>
                  </a:lnTo>
                  <a:lnTo>
                    <a:pt x="30" y="13"/>
                  </a:lnTo>
                  <a:lnTo>
                    <a:pt x="30" y="13"/>
                  </a:lnTo>
                  <a:lnTo>
                    <a:pt x="28" y="8"/>
                  </a:lnTo>
                  <a:lnTo>
                    <a:pt x="28" y="8"/>
                  </a:lnTo>
                  <a:lnTo>
                    <a:pt x="23" y="3"/>
                  </a:lnTo>
                  <a:lnTo>
                    <a:pt x="20" y="0"/>
                  </a:lnTo>
                  <a:lnTo>
                    <a:pt x="18" y="0"/>
                  </a:lnTo>
                  <a:lnTo>
                    <a:pt x="18" y="0"/>
                  </a:lnTo>
                  <a:lnTo>
                    <a:pt x="18" y="3"/>
                  </a:lnTo>
                  <a:lnTo>
                    <a:pt x="18" y="3"/>
                  </a:lnTo>
                  <a:lnTo>
                    <a:pt x="20" y="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209" name="Freeform 1827">
              <a:extLst>
                <a:ext uri="{FF2B5EF4-FFF2-40B4-BE49-F238E27FC236}">
                  <a16:creationId xmlns:a16="http://schemas.microsoft.com/office/drawing/2014/main" id="{28B5B869-2915-EC40-9A45-C6C1E586C7A7}"/>
                </a:ext>
              </a:extLst>
            </p:cNvPr>
            <p:cNvSpPr>
              <a:spLocks/>
            </p:cNvSpPr>
            <p:nvPr/>
          </p:nvSpPr>
          <p:spPr bwMode="auto">
            <a:xfrm>
              <a:off x="6037162" y="2065614"/>
              <a:ext cx="91601" cy="49072"/>
            </a:xfrm>
            <a:custGeom>
              <a:avLst/>
              <a:gdLst>
                <a:gd name="T0" fmla="*/ 54 w 56"/>
                <a:gd name="T1" fmla="*/ 5 h 30"/>
                <a:gd name="T2" fmla="*/ 54 w 56"/>
                <a:gd name="T3" fmla="*/ 2 h 30"/>
                <a:gd name="T4" fmla="*/ 54 w 56"/>
                <a:gd name="T5" fmla="*/ 0 h 30"/>
                <a:gd name="T6" fmla="*/ 49 w 56"/>
                <a:gd name="T7" fmla="*/ 0 h 30"/>
                <a:gd name="T8" fmla="*/ 46 w 56"/>
                <a:gd name="T9" fmla="*/ 2 h 30"/>
                <a:gd name="T10" fmla="*/ 41 w 56"/>
                <a:gd name="T11" fmla="*/ 2 h 30"/>
                <a:gd name="T12" fmla="*/ 34 w 56"/>
                <a:gd name="T13" fmla="*/ 5 h 30"/>
                <a:gd name="T14" fmla="*/ 28 w 56"/>
                <a:gd name="T15" fmla="*/ 5 h 30"/>
                <a:gd name="T16" fmla="*/ 26 w 56"/>
                <a:gd name="T17" fmla="*/ 8 h 30"/>
                <a:gd name="T18" fmla="*/ 23 w 56"/>
                <a:gd name="T19" fmla="*/ 10 h 30"/>
                <a:gd name="T20" fmla="*/ 21 w 56"/>
                <a:gd name="T21" fmla="*/ 10 h 30"/>
                <a:gd name="T22" fmla="*/ 13 w 56"/>
                <a:gd name="T23" fmla="*/ 8 h 30"/>
                <a:gd name="T24" fmla="*/ 11 w 56"/>
                <a:gd name="T25" fmla="*/ 8 h 30"/>
                <a:gd name="T26" fmla="*/ 6 w 56"/>
                <a:gd name="T27" fmla="*/ 8 h 30"/>
                <a:gd name="T28" fmla="*/ 3 w 56"/>
                <a:gd name="T29" fmla="*/ 10 h 30"/>
                <a:gd name="T30" fmla="*/ 3 w 56"/>
                <a:gd name="T31" fmla="*/ 13 h 30"/>
                <a:gd name="T32" fmla="*/ 3 w 56"/>
                <a:gd name="T33" fmla="*/ 13 h 30"/>
                <a:gd name="T34" fmla="*/ 6 w 56"/>
                <a:gd name="T35" fmla="*/ 15 h 30"/>
                <a:gd name="T36" fmla="*/ 3 w 56"/>
                <a:gd name="T37" fmla="*/ 18 h 30"/>
                <a:gd name="T38" fmla="*/ 3 w 56"/>
                <a:gd name="T39" fmla="*/ 18 h 30"/>
                <a:gd name="T40" fmla="*/ 6 w 56"/>
                <a:gd name="T41" fmla="*/ 23 h 30"/>
                <a:gd name="T42" fmla="*/ 8 w 56"/>
                <a:gd name="T43" fmla="*/ 23 h 30"/>
                <a:gd name="T44" fmla="*/ 11 w 56"/>
                <a:gd name="T45" fmla="*/ 28 h 30"/>
                <a:gd name="T46" fmla="*/ 6 w 56"/>
                <a:gd name="T47" fmla="*/ 28 h 30"/>
                <a:gd name="T48" fmla="*/ 11 w 56"/>
                <a:gd name="T49" fmla="*/ 30 h 30"/>
                <a:gd name="T50" fmla="*/ 13 w 56"/>
                <a:gd name="T51" fmla="*/ 30 h 30"/>
                <a:gd name="T52" fmla="*/ 16 w 56"/>
                <a:gd name="T53" fmla="*/ 30 h 30"/>
                <a:gd name="T54" fmla="*/ 21 w 56"/>
                <a:gd name="T55" fmla="*/ 30 h 30"/>
                <a:gd name="T56" fmla="*/ 23 w 56"/>
                <a:gd name="T57" fmla="*/ 25 h 30"/>
                <a:gd name="T58" fmla="*/ 23 w 56"/>
                <a:gd name="T59" fmla="*/ 28 h 30"/>
                <a:gd name="T60" fmla="*/ 28 w 56"/>
                <a:gd name="T61" fmla="*/ 30 h 30"/>
                <a:gd name="T62" fmla="*/ 34 w 56"/>
                <a:gd name="T63" fmla="*/ 30 h 30"/>
                <a:gd name="T64" fmla="*/ 36 w 56"/>
                <a:gd name="T65" fmla="*/ 30 h 30"/>
                <a:gd name="T66" fmla="*/ 36 w 56"/>
                <a:gd name="T67" fmla="*/ 28 h 30"/>
                <a:gd name="T68" fmla="*/ 36 w 56"/>
                <a:gd name="T69" fmla="*/ 25 h 30"/>
                <a:gd name="T70" fmla="*/ 41 w 56"/>
                <a:gd name="T71" fmla="*/ 23 h 30"/>
                <a:gd name="T72" fmla="*/ 44 w 56"/>
                <a:gd name="T73" fmla="*/ 18 h 30"/>
                <a:gd name="T74" fmla="*/ 41 w 56"/>
                <a:gd name="T75" fmla="*/ 15 h 30"/>
                <a:gd name="T76" fmla="*/ 44 w 56"/>
                <a:gd name="T77" fmla="*/ 13 h 30"/>
                <a:gd name="T78" fmla="*/ 46 w 56"/>
                <a:gd name="T79" fmla="*/ 13 h 30"/>
                <a:gd name="T80" fmla="*/ 51 w 56"/>
                <a:gd name="T81" fmla="*/ 10 h 30"/>
                <a:gd name="T82" fmla="*/ 51 w 56"/>
                <a:gd name="T83" fmla="*/ 8 h 30"/>
                <a:gd name="T84" fmla="*/ 54 w 56"/>
                <a:gd name="T85" fmla="*/ 8 h 30"/>
                <a:gd name="T86" fmla="*/ 56 w 56"/>
                <a:gd name="T87" fmla="*/ 8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6" h="30">
                  <a:moveTo>
                    <a:pt x="56" y="8"/>
                  </a:moveTo>
                  <a:lnTo>
                    <a:pt x="56" y="5"/>
                  </a:lnTo>
                  <a:lnTo>
                    <a:pt x="54" y="5"/>
                  </a:lnTo>
                  <a:lnTo>
                    <a:pt x="54" y="2"/>
                  </a:lnTo>
                  <a:lnTo>
                    <a:pt x="54" y="2"/>
                  </a:lnTo>
                  <a:lnTo>
                    <a:pt x="54" y="2"/>
                  </a:lnTo>
                  <a:lnTo>
                    <a:pt x="54" y="0"/>
                  </a:lnTo>
                  <a:lnTo>
                    <a:pt x="54" y="0"/>
                  </a:lnTo>
                  <a:lnTo>
                    <a:pt x="54" y="0"/>
                  </a:lnTo>
                  <a:lnTo>
                    <a:pt x="49" y="0"/>
                  </a:lnTo>
                  <a:lnTo>
                    <a:pt x="49" y="0"/>
                  </a:lnTo>
                  <a:lnTo>
                    <a:pt x="49" y="0"/>
                  </a:lnTo>
                  <a:lnTo>
                    <a:pt x="49" y="2"/>
                  </a:lnTo>
                  <a:lnTo>
                    <a:pt x="49" y="2"/>
                  </a:lnTo>
                  <a:lnTo>
                    <a:pt x="46" y="2"/>
                  </a:lnTo>
                  <a:lnTo>
                    <a:pt x="44" y="2"/>
                  </a:lnTo>
                  <a:lnTo>
                    <a:pt x="44" y="2"/>
                  </a:lnTo>
                  <a:lnTo>
                    <a:pt x="41" y="2"/>
                  </a:lnTo>
                  <a:lnTo>
                    <a:pt x="41" y="5"/>
                  </a:lnTo>
                  <a:lnTo>
                    <a:pt x="39" y="5"/>
                  </a:lnTo>
                  <a:lnTo>
                    <a:pt x="34" y="5"/>
                  </a:lnTo>
                  <a:lnTo>
                    <a:pt x="31" y="5"/>
                  </a:lnTo>
                  <a:lnTo>
                    <a:pt x="28" y="5"/>
                  </a:lnTo>
                  <a:lnTo>
                    <a:pt x="28" y="5"/>
                  </a:lnTo>
                  <a:lnTo>
                    <a:pt x="28" y="5"/>
                  </a:lnTo>
                  <a:lnTo>
                    <a:pt x="26" y="5"/>
                  </a:lnTo>
                  <a:lnTo>
                    <a:pt x="26" y="8"/>
                  </a:lnTo>
                  <a:lnTo>
                    <a:pt x="26" y="8"/>
                  </a:lnTo>
                  <a:lnTo>
                    <a:pt x="23" y="8"/>
                  </a:lnTo>
                  <a:lnTo>
                    <a:pt x="23" y="10"/>
                  </a:lnTo>
                  <a:lnTo>
                    <a:pt x="23" y="10"/>
                  </a:lnTo>
                  <a:lnTo>
                    <a:pt x="21" y="10"/>
                  </a:lnTo>
                  <a:lnTo>
                    <a:pt x="21" y="10"/>
                  </a:lnTo>
                  <a:lnTo>
                    <a:pt x="21" y="8"/>
                  </a:lnTo>
                  <a:lnTo>
                    <a:pt x="18" y="8"/>
                  </a:lnTo>
                  <a:lnTo>
                    <a:pt x="13" y="8"/>
                  </a:lnTo>
                  <a:lnTo>
                    <a:pt x="13" y="8"/>
                  </a:lnTo>
                  <a:lnTo>
                    <a:pt x="11" y="8"/>
                  </a:lnTo>
                  <a:lnTo>
                    <a:pt x="11" y="8"/>
                  </a:lnTo>
                  <a:lnTo>
                    <a:pt x="8" y="8"/>
                  </a:lnTo>
                  <a:lnTo>
                    <a:pt x="8" y="8"/>
                  </a:lnTo>
                  <a:lnTo>
                    <a:pt x="6" y="8"/>
                  </a:lnTo>
                  <a:lnTo>
                    <a:pt x="6" y="8"/>
                  </a:lnTo>
                  <a:lnTo>
                    <a:pt x="6" y="10"/>
                  </a:lnTo>
                  <a:lnTo>
                    <a:pt x="3" y="10"/>
                  </a:lnTo>
                  <a:lnTo>
                    <a:pt x="3" y="10"/>
                  </a:lnTo>
                  <a:lnTo>
                    <a:pt x="0" y="13"/>
                  </a:lnTo>
                  <a:lnTo>
                    <a:pt x="3" y="13"/>
                  </a:lnTo>
                  <a:lnTo>
                    <a:pt x="3" y="13"/>
                  </a:lnTo>
                  <a:lnTo>
                    <a:pt x="3" y="13"/>
                  </a:lnTo>
                  <a:lnTo>
                    <a:pt x="3" y="13"/>
                  </a:lnTo>
                  <a:lnTo>
                    <a:pt x="6" y="15"/>
                  </a:lnTo>
                  <a:lnTo>
                    <a:pt x="6" y="15"/>
                  </a:lnTo>
                  <a:lnTo>
                    <a:pt x="6" y="15"/>
                  </a:lnTo>
                  <a:lnTo>
                    <a:pt x="6" y="15"/>
                  </a:lnTo>
                  <a:lnTo>
                    <a:pt x="6" y="15"/>
                  </a:lnTo>
                  <a:lnTo>
                    <a:pt x="3" y="18"/>
                  </a:lnTo>
                  <a:lnTo>
                    <a:pt x="3" y="18"/>
                  </a:lnTo>
                  <a:lnTo>
                    <a:pt x="3" y="18"/>
                  </a:lnTo>
                  <a:lnTo>
                    <a:pt x="3" y="18"/>
                  </a:lnTo>
                  <a:lnTo>
                    <a:pt x="6" y="18"/>
                  </a:lnTo>
                  <a:lnTo>
                    <a:pt x="6" y="20"/>
                  </a:lnTo>
                  <a:lnTo>
                    <a:pt x="6" y="23"/>
                  </a:lnTo>
                  <a:lnTo>
                    <a:pt x="6" y="23"/>
                  </a:lnTo>
                  <a:lnTo>
                    <a:pt x="6" y="23"/>
                  </a:lnTo>
                  <a:lnTo>
                    <a:pt x="8" y="23"/>
                  </a:lnTo>
                  <a:lnTo>
                    <a:pt x="11" y="25"/>
                  </a:lnTo>
                  <a:lnTo>
                    <a:pt x="11" y="28"/>
                  </a:lnTo>
                  <a:lnTo>
                    <a:pt x="11" y="28"/>
                  </a:lnTo>
                  <a:lnTo>
                    <a:pt x="8" y="28"/>
                  </a:lnTo>
                  <a:lnTo>
                    <a:pt x="8" y="28"/>
                  </a:lnTo>
                  <a:lnTo>
                    <a:pt x="6" y="28"/>
                  </a:lnTo>
                  <a:lnTo>
                    <a:pt x="6" y="28"/>
                  </a:lnTo>
                  <a:lnTo>
                    <a:pt x="6" y="30"/>
                  </a:lnTo>
                  <a:lnTo>
                    <a:pt x="11" y="30"/>
                  </a:lnTo>
                  <a:lnTo>
                    <a:pt x="11" y="30"/>
                  </a:lnTo>
                  <a:lnTo>
                    <a:pt x="13" y="30"/>
                  </a:lnTo>
                  <a:lnTo>
                    <a:pt x="13" y="30"/>
                  </a:lnTo>
                  <a:lnTo>
                    <a:pt x="13" y="28"/>
                  </a:lnTo>
                  <a:lnTo>
                    <a:pt x="13" y="30"/>
                  </a:lnTo>
                  <a:lnTo>
                    <a:pt x="16" y="30"/>
                  </a:lnTo>
                  <a:lnTo>
                    <a:pt x="18" y="30"/>
                  </a:lnTo>
                  <a:lnTo>
                    <a:pt x="18" y="30"/>
                  </a:lnTo>
                  <a:lnTo>
                    <a:pt x="21" y="30"/>
                  </a:lnTo>
                  <a:lnTo>
                    <a:pt x="21" y="28"/>
                  </a:lnTo>
                  <a:lnTo>
                    <a:pt x="23" y="25"/>
                  </a:lnTo>
                  <a:lnTo>
                    <a:pt x="23" y="25"/>
                  </a:lnTo>
                  <a:lnTo>
                    <a:pt x="23" y="25"/>
                  </a:lnTo>
                  <a:lnTo>
                    <a:pt x="23" y="28"/>
                  </a:lnTo>
                  <a:lnTo>
                    <a:pt x="23" y="28"/>
                  </a:lnTo>
                  <a:lnTo>
                    <a:pt x="26" y="28"/>
                  </a:lnTo>
                  <a:lnTo>
                    <a:pt x="26" y="30"/>
                  </a:lnTo>
                  <a:lnTo>
                    <a:pt x="28" y="30"/>
                  </a:lnTo>
                  <a:lnTo>
                    <a:pt x="28" y="30"/>
                  </a:lnTo>
                  <a:lnTo>
                    <a:pt x="31" y="30"/>
                  </a:lnTo>
                  <a:lnTo>
                    <a:pt x="34" y="30"/>
                  </a:lnTo>
                  <a:lnTo>
                    <a:pt x="36" y="30"/>
                  </a:lnTo>
                  <a:lnTo>
                    <a:pt x="36" y="30"/>
                  </a:lnTo>
                  <a:lnTo>
                    <a:pt x="36" y="30"/>
                  </a:lnTo>
                  <a:lnTo>
                    <a:pt x="36" y="28"/>
                  </a:lnTo>
                  <a:lnTo>
                    <a:pt x="36" y="28"/>
                  </a:lnTo>
                  <a:lnTo>
                    <a:pt x="36" y="28"/>
                  </a:lnTo>
                  <a:lnTo>
                    <a:pt x="36" y="25"/>
                  </a:lnTo>
                  <a:lnTo>
                    <a:pt x="36" y="25"/>
                  </a:lnTo>
                  <a:lnTo>
                    <a:pt x="36" y="25"/>
                  </a:lnTo>
                  <a:lnTo>
                    <a:pt x="36" y="25"/>
                  </a:lnTo>
                  <a:lnTo>
                    <a:pt x="39" y="23"/>
                  </a:lnTo>
                  <a:lnTo>
                    <a:pt x="41" y="23"/>
                  </a:lnTo>
                  <a:lnTo>
                    <a:pt x="41" y="20"/>
                  </a:lnTo>
                  <a:lnTo>
                    <a:pt x="44" y="20"/>
                  </a:lnTo>
                  <a:lnTo>
                    <a:pt x="44" y="18"/>
                  </a:lnTo>
                  <a:lnTo>
                    <a:pt x="44" y="18"/>
                  </a:lnTo>
                  <a:lnTo>
                    <a:pt x="41" y="15"/>
                  </a:lnTo>
                  <a:lnTo>
                    <a:pt x="41" y="15"/>
                  </a:lnTo>
                  <a:lnTo>
                    <a:pt x="41" y="15"/>
                  </a:lnTo>
                  <a:lnTo>
                    <a:pt x="41" y="13"/>
                  </a:lnTo>
                  <a:lnTo>
                    <a:pt x="44" y="13"/>
                  </a:lnTo>
                  <a:lnTo>
                    <a:pt x="44" y="13"/>
                  </a:lnTo>
                  <a:lnTo>
                    <a:pt x="46" y="13"/>
                  </a:lnTo>
                  <a:lnTo>
                    <a:pt x="46" y="13"/>
                  </a:lnTo>
                  <a:lnTo>
                    <a:pt x="49" y="13"/>
                  </a:lnTo>
                  <a:lnTo>
                    <a:pt x="49" y="10"/>
                  </a:lnTo>
                  <a:lnTo>
                    <a:pt x="51" y="10"/>
                  </a:lnTo>
                  <a:lnTo>
                    <a:pt x="51" y="10"/>
                  </a:lnTo>
                  <a:lnTo>
                    <a:pt x="54" y="10"/>
                  </a:lnTo>
                  <a:lnTo>
                    <a:pt x="51" y="8"/>
                  </a:lnTo>
                  <a:lnTo>
                    <a:pt x="54" y="8"/>
                  </a:lnTo>
                  <a:lnTo>
                    <a:pt x="54" y="8"/>
                  </a:lnTo>
                  <a:lnTo>
                    <a:pt x="54" y="8"/>
                  </a:lnTo>
                  <a:lnTo>
                    <a:pt x="56" y="8"/>
                  </a:lnTo>
                  <a:lnTo>
                    <a:pt x="56" y="8"/>
                  </a:lnTo>
                  <a:lnTo>
                    <a:pt x="56" y="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210" name="Freeform 1828">
              <a:extLst>
                <a:ext uri="{FF2B5EF4-FFF2-40B4-BE49-F238E27FC236}">
                  <a16:creationId xmlns:a16="http://schemas.microsoft.com/office/drawing/2014/main" id="{67337D65-BF74-8346-BBD4-5B63B9A7B371}"/>
                </a:ext>
              </a:extLst>
            </p:cNvPr>
            <p:cNvSpPr>
              <a:spLocks/>
            </p:cNvSpPr>
            <p:nvPr/>
          </p:nvSpPr>
          <p:spPr bwMode="auto">
            <a:xfrm>
              <a:off x="6138578" y="1965833"/>
              <a:ext cx="161938" cy="67066"/>
            </a:xfrm>
            <a:custGeom>
              <a:avLst/>
              <a:gdLst>
                <a:gd name="T0" fmla="*/ 91 w 99"/>
                <a:gd name="T1" fmla="*/ 7 h 41"/>
                <a:gd name="T2" fmla="*/ 89 w 99"/>
                <a:gd name="T3" fmla="*/ 5 h 41"/>
                <a:gd name="T4" fmla="*/ 79 w 99"/>
                <a:gd name="T5" fmla="*/ 2 h 41"/>
                <a:gd name="T6" fmla="*/ 74 w 99"/>
                <a:gd name="T7" fmla="*/ 2 h 41"/>
                <a:gd name="T8" fmla="*/ 71 w 99"/>
                <a:gd name="T9" fmla="*/ 5 h 41"/>
                <a:gd name="T10" fmla="*/ 66 w 99"/>
                <a:gd name="T11" fmla="*/ 5 h 41"/>
                <a:gd name="T12" fmla="*/ 63 w 99"/>
                <a:gd name="T13" fmla="*/ 5 h 41"/>
                <a:gd name="T14" fmla="*/ 61 w 99"/>
                <a:gd name="T15" fmla="*/ 5 h 41"/>
                <a:gd name="T16" fmla="*/ 56 w 99"/>
                <a:gd name="T17" fmla="*/ 7 h 41"/>
                <a:gd name="T18" fmla="*/ 53 w 99"/>
                <a:gd name="T19" fmla="*/ 7 h 41"/>
                <a:gd name="T20" fmla="*/ 51 w 99"/>
                <a:gd name="T21" fmla="*/ 7 h 41"/>
                <a:gd name="T22" fmla="*/ 51 w 99"/>
                <a:gd name="T23" fmla="*/ 5 h 41"/>
                <a:gd name="T24" fmla="*/ 48 w 99"/>
                <a:gd name="T25" fmla="*/ 2 h 41"/>
                <a:gd name="T26" fmla="*/ 45 w 99"/>
                <a:gd name="T27" fmla="*/ 2 h 41"/>
                <a:gd name="T28" fmla="*/ 43 w 99"/>
                <a:gd name="T29" fmla="*/ 0 h 41"/>
                <a:gd name="T30" fmla="*/ 40 w 99"/>
                <a:gd name="T31" fmla="*/ 5 h 41"/>
                <a:gd name="T32" fmla="*/ 35 w 99"/>
                <a:gd name="T33" fmla="*/ 2 h 41"/>
                <a:gd name="T34" fmla="*/ 33 w 99"/>
                <a:gd name="T35" fmla="*/ 2 h 41"/>
                <a:gd name="T36" fmla="*/ 28 w 99"/>
                <a:gd name="T37" fmla="*/ 2 h 41"/>
                <a:gd name="T38" fmla="*/ 25 w 99"/>
                <a:gd name="T39" fmla="*/ 5 h 41"/>
                <a:gd name="T40" fmla="*/ 23 w 99"/>
                <a:gd name="T41" fmla="*/ 7 h 41"/>
                <a:gd name="T42" fmla="*/ 23 w 99"/>
                <a:gd name="T43" fmla="*/ 10 h 41"/>
                <a:gd name="T44" fmla="*/ 17 w 99"/>
                <a:gd name="T45" fmla="*/ 13 h 41"/>
                <a:gd name="T46" fmla="*/ 15 w 99"/>
                <a:gd name="T47" fmla="*/ 15 h 41"/>
                <a:gd name="T48" fmla="*/ 7 w 99"/>
                <a:gd name="T49" fmla="*/ 15 h 41"/>
                <a:gd name="T50" fmla="*/ 5 w 99"/>
                <a:gd name="T51" fmla="*/ 18 h 41"/>
                <a:gd name="T52" fmla="*/ 2 w 99"/>
                <a:gd name="T53" fmla="*/ 23 h 41"/>
                <a:gd name="T54" fmla="*/ 0 w 99"/>
                <a:gd name="T55" fmla="*/ 25 h 41"/>
                <a:gd name="T56" fmla="*/ 5 w 99"/>
                <a:gd name="T57" fmla="*/ 33 h 41"/>
                <a:gd name="T58" fmla="*/ 7 w 99"/>
                <a:gd name="T59" fmla="*/ 35 h 41"/>
                <a:gd name="T60" fmla="*/ 10 w 99"/>
                <a:gd name="T61" fmla="*/ 35 h 41"/>
                <a:gd name="T62" fmla="*/ 17 w 99"/>
                <a:gd name="T63" fmla="*/ 41 h 41"/>
                <a:gd name="T64" fmla="*/ 30 w 99"/>
                <a:gd name="T65" fmla="*/ 41 h 41"/>
                <a:gd name="T66" fmla="*/ 35 w 99"/>
                <a:gd name="T67" fmla="*/ 38 h 41"/>
                <a:gd name="T68" fmla="*/ 35 w 99"/>
                <a:gd name="T69" fmla="*/ 35 h 41"/>
                <a:gd name="T70" fmla="*/ 45 w 99"/>
                <a:gd name="T71" fmla="*/ 33 h 41"/>
                <a:gd name="T72" fmla="*/ 48 w 99"/>
                <a:gd name="T73" fmla="*/ 30 h 41"/>
                <a:gd name="T74" fmla="*/ 53 w 99"/>
                <a:gd name="T75" fmla="*/ 33 h 41"/>
                <a:gd name="T76" fmla="*/ 61 w 99"/>
                <a:gd name="T77" fmla="*/ 28 h 41"/>
                <a:gd name="T78" fmla="*/ 66 w 99"/>
                <a:gd name="T79" fmla="*/ 23 h 41"/>
                <a:gd name="T80" fmla="*/ 74 w 99"/>
                <a:gd name="T81" fmla="*/ 23 h 41"/>
                <a:gd name="T82" fmla="*/ 81 w 99"/>
                <a:gd name="T83" fmla="*/ 23 h 41"/>
                <a:gd name="T84" fmla="*/ 84 w 99"/>
                <a:gd name="T85" fmla="*/ 25 h 41"/>
                <a:gd name="T86" fmla="*/ 86 w 99"/>
                <a:gd name="T87" fmla="*/ 25 h 41"/>
                <a:gd name="T88" fmla="*/ 94 w 99"/>
                <a:gd name="T89" fmla="*/ 25 h 41"/>
                <a:gd name="T90" fmla="*/ 96 w 99"/>
                <a:gd name="T91" fmla="*/ 20 h 41"/>
                <a:gd name="T92" fmla="*/ 99 w 99"/>
                <a:gd name="T93" fmla="*/ 15 h 41"/>
                <a:gd name="T94" fmla="*/ 99 w 99"/>
                <a:gd name="T95" fmla="*/ 1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9" h="41">
                  <a:moveTo>
                    <a:pt x="99" y="10"/>
                  </a:moveTo>
                  <a:lnTo>
                    <a:pt x="94" y="10"/>
                  </a:lnTo>
                  <a:lnTo>
                    <a:pt x="91" y="7"/>
                  </a:lnTo>
                  <a:lnTo>
                    <a:pt x="89" y="7"/>
                  </a:lnTo>
                  <a:lnTo>
                    <a:pt x="89" y="5"/>
                  </a:lnTo>
                  <a:lnTo>
                    <a:pt x="89" y="5"/>
                  </a:lnTo>
                  <a:lnTo>
                    <a:pt x="84" y="5"/>
                  </a:lnTo>
                  <a:lnTo>
                    <a:pt x="84" y="2"/>
                  </a:lnTo>
                  <a:lnTo>
                    <a:pt x="79" y="2"/>
                  </a:lnTo>
                  <a:lnTo>
                    <a:pt x="76" y="2"/>
                  </a:lnTo>
                  <a:lnTo>
                    <a:pt x="74" y="2"/>
                  </a:lnTo>
                  <a:lnTo>
                    <a:pt x="74" y="2"/>
                  </a:lnTo>
                  <a:lnTo>
                    <a:pt x="74" y="5"/>
                  </a:lnTo>
                  <a:lnTo>
                    <a:pt x="71" y="5"/>
                  </a:lnTo>
                  <a:lnTo>
                    <a:pt x="71" y="5"/>
                  </a:lnTo>
                  <a:lnTo>
                    <a:pt x="68" y="5"/>
                  </a:lnTo>
                  <a:lnTo>
                    <a:pt x="68" y="5"/>
                  </a:lnTo>
                  <a:lnTo>
                    <a:pt x="66" y="5"/>
                  </a:lnTo>
                  <a:lnTo>
                    <a:pt x="63" y="5"/>
                  </a:lnTo>
                  <a:lnTo>
                    <a:pt x="63" y="5"/>
                  </a:lnTo>
                  <a:lnTo>
                    <a:pt x="63" y="5"/>
                  </a:lnTo>
                  <a:lnTo>
                    <a:pt x="61" y="5"/>
                  </a:lnTo>
                  <a:lnTo>
                    <a:pt x="61" y="5"/>
                  </a:lnTo>
                  <a:lnTo>
                    <a:pt x="61" y="5"/>
                  </a:lnTo>
                  <a:lnTo>
                    <a:pt x="58" y="5"/>
                  </a:lnTo>
                  <a:lnTo>
                    <a:pt x="58" y="5"/>
                  </a:lnTo>
                  <a:lnTo>
                    <a:pt x="56" y="7"/>
                  </a:lnTo>
                  <a:lnTo>
                    <a:pt x="56" y="7"/>
                  </a:lnTo>
                  <a:lnTo>
                    <a:pt x="53" y="7"/>
                  </a:lnTo>
                  <a:lnTo>
                    <a:pt x="53" y="7"/>
                  </a:lnTo>
                  <a:lnTo>
                    <a:pt x="51" y="7"/>
                  </a:lnTo>
                  <a:lnTo>
                    <a:pt x="51" y="7"/>
                  </a:lnTo>
                  <a:lnTo>
                    <a:pt x="51" y="7"/>
                  </a:lnTo>
                  <a:lnTo>
                    <a:pt x="51" y="7"/>
                  </a:lnTo>
                  <a:lnTo>
                    <a:pt x="51" y="5"/>
                  </a:lnTo>
                  <a:lnTo>
                    <a:pt x="51" y="5"/>
                  </a:lnTo>
                  <a:lnTo>
                    <a:pt x="51" y="5"/>
                  </a:lnTo>
                  <a:lnTo>
                    <a:pt x="48" y="5"/>
                  </a:lnTo>
                  <a:lnTo>
                    <a:pt x="48" y="2"/>
                  </a:lnTo>
                  <a:lnTo>
                    <a:pt x="48" y="2"/>
                  </a:lnTo>
                  <a:lnTo>
                    <a:pt x="48" y="2"/>
                  </a:lnTo>
                  <a:lnTo>
                    <a:pt x="45" y="2"/>
                  </a:lnTo>
                  <a:lnTo>
                    <a:pt x="45" y="0"/>
                  </a:lnTo>
                  <a:lnTo>
                    <a:pt x="45" y="0"/>
                  </a:lnTo>
                  <a:lnTo>
                    <a:pt x="43" y="0"/>
                  </a:lnTo>
                  <a:lnTo>
                    <a:pt x="43" y="0"/>
                  </a:lnTo>
                  <a:lnTo>
                    <a:pt x="40" y="2"/>
                  </a:lnTo>
                  <a:lnTo>
                    <a:pt x="40" y="5"/>
                  </a:lnTo>
                  <a:lnTo>
                    <a:pt x="38" y="5"/>
                  </a:lnTo>
                  <a:lnTo>
                    <a:pt x="35" y="2"/>
                  </a:lnTo>
                  <a:lnTo>
                    <a:pt x="35" y="2"/>
                  </a:lnTo>
                  <a:lnTo>
                    <a:pt x="35" y="2"/>
                  </a:lnTo>
                  <a:lnTo>
                    <a:pt x="33" y="2"/>
                  </a:lnTo>
                  <a:lnTo>
                    <a:pt x="33" y="2"/>
                  </a:lnTo>
                  <a:lnTo>
                    <a:pt x="30" y="2"/>
                  </a:lnTo>
                  <a:lnTo>
                    <a:pt x="30" y="2"/>
                  </a:lnTo>
                  <a:lnTo>
                    <a:pt x="28" y="2"/>
                  </a:lnTo>
                  <a:lnTo>
                    <a:pt x="28" y="2"/>
                  </a:lnTo>
                  <a:lnTo>
                    <a:pt x="28" y="5"/>
                  </a:lnTo>
                  <a:lnTo>
                    <a:pt x="25" y="5"/>
                  </a:lnTo>
                  <a:lnTo>
                    <a:pt x="25" y="5"/>
                  </a:lnTo>
                  <a:lnTo>
                    <a:pt x="23" y="7"/>
                  </a:lnTo>
                  <a:lnTo>
                    <a:pt x="23" y="7"/>
                  </a:lnTo>
                  <a:lnTo>
                    <a:pt x="23" y="7"/>
                  </a:lnTo>
                  <a:lnTo>
                    <a:pt x="23" y="10"/>
                  </a:lnTo>
                  <a:lnTo>
                    <a:pt x="23" y="10"/>
                  </a:lnTo>
                  <a:lnTo>
                    <a:pt x="20" y="13"/>
                  </a:lnTo>
                  <a:lnTo>
                    <a:pt x="20" y="13"/>
                  </a:lnTo>
                  <a:lnTo>
                    <a:pt x="17" y="13"/>
                  </a:lnTo>
                  <a:lnTo>
                    <a:pt x="17" y="13"/>
                  </a:lnTo>
                  <a:lnTo>
                    <a:pt x="17" y="15"/>
                  </a:lnTo>
                  <a:lnTo>
                    <a:pt x="15" y="15"/>
                  </a:lnTo>
                  <a:lnTo>
                    <a:pt x="12" y="15"/>
                  </a:lnTo>
                  <a:lnTo>
                    <a:pt x="10" y="18"/>
                  </a:lnTo>
                  <a:lnTo>
                    <a:pt x="7" y="15"/>
                  </a:lnTo>
                  <a:lnTo>
                    <a:pt x="5" y="15"/>
                  </a:lnTo>
                  <a:lnTo>
                    <a:pt x="5" y="15"/>
                  </a:lnTo>
                  <a:lnTo>
                    <a:pt x="5" y="18"/>
                  </a:lnTo>
                  <a:lnTo>
                    <a:pt x="2" y="20"/>
                  </a:lnTo>
                  <a:lnTo>
                    <a:pt x="2" y="23"/>
                  </a:lnTo>
                  <a:lnTo>
                    <a:pt x="2" y="23"/>
                  </a:lnTo>
                  <a:lnTo>
                    <a:pt x="2" y="23"/>
                  </a:lnTo>
                  <a:lnTo>
                    <a:pt x="2" y="23"/>
                  </a:lnTo>
                  <a:lnTo>
                    <a:pt x="0" y="25"/>
                  </a:lnTo>
                  <a:lnTo>
                    <a:pt x="0" y="25"/>
                  </a:lnTo>
                  <a:lnTo>
                    <a:pt x="2" y="30"/>
                  </a:lnTo>
                  <a:lnTo>
                    <a:pt x="5" y="33"/>
                  </a:lnTo>
                  <a:lnTo>
                    <a:pt x="5" y="33"/>
                  </a:lnTo>
                  <a:lnTo>
                    <a:pt x="5" y="35"/>
                  </a:lnTo>
                  <a:lnTo>
                    <a:pt x="7" y="35"/>
                  </a:lnTo>
                  <a:lnTo>
                    <a:pt x="7" y="35"/>
                  </a:lnTo>
                  <a:lnTo>
                    <a:pt x="7" y="35"/>
                  </a:lnTo>
                  <a:lnTo>
                    <a:pt x="10" y="35"/>
                  </a:lnTo>
                  <a:lnTo>
                    <a:pt x="12" y="38"/>
                  </a:lnTo>
                  <a:lnTo>
                    <a:pt x="15" y="38"/>
                  </a:lnTo>
                  <a:lnTo>
                    <a:pt x="17" y="41"/>
                  </a:lnTo>
                  <a:lnTo>
                    <a:pt x="20" y="41"/>
                  </a:lnTo>
                  <a:lnTo>
                    <a:pt x="23" y="41"/>
                  </a:lnTo>
                  <a:lnTo>
                    <a:pt x="30" y="41"/>
                  </a:lnTo>
                  <a:lnTo>
                    <a:pt x="33" y="41"/>
                  </a:lnTo>
                  <a:lnTo>
                    <a:pt x="35" y="38"/>
                  </a:lnTo>
                  <a:lnTo>
                    <a:pt x="35" y="38"/>
                  </a:lnTo>
                  <a:lnTo>
                    <a:pt x="35" y="38"/>
                  </a:lnTo>
                  <a:lnTo>
                    <a:pt x="35" y="35"/>
                  </a:lnTo>
                  <a:lnTo>
                    <a:pt x="35" y="35"/>
                  </a:lnTo>
                  <a:lnTo>
                    <a:pt x="38" y="33"/>
                  </a:lnTo>
                  <a:lnTo>
                    <a:pt x="43" y="33"/>
                  </a:lnTo>
                  <a:lnTo>
                    <a:pt x="45" y="33"/>
                  </a:lnTo>
                  <a:lnTo>
                    <a:pt x="48" y="30"/>
                  </a:lnTo>
                  <a:lnTo>
                    <a:pt x="48" y="30"/>
                  </a:lnTo>
                  <a:lnTo>
                    <a:pt x="48" y="30"/>
                  </a:lnTo>
                  <a:lnTo>
                    <a:pt x="51" y="30"/>
                  </a:lnTo>
                  <a:lnTo>
                    <a:pt x="53" y="30"/>
                  </a:lnTo>
                  <a:lnTo>
                    <a:pt x="53" y="33"/>
                  </a:lnTo>
                  <a:lnTo>
                    <a:pt x="56" y="30"/>
                  </a:lnTo>
                  <a:lnTo>
                    <a:pt x="58" y="30"/>
                  </a:lnTo>
                  <a:lnTo>
                    <a:pt x="61" y="28"/>
                  </a:lnTo>
                  <a:lnTo>
                    <a:pt x="63" y="23"/>
                  </a:lnTo>
                  <a:lnTo>
                    <a:pt x="63" y="23"/>
                  </a:lnTo>
                  <a:lnTo>
                    <a:pt x="66" y="23"/>
                  </a:lnTo>
                  <a:lnTo>
                    <a:pt x="71" y="23"/>
                  </a:lnTo>
                  <a:lnTo>
                    <a:pt x="74" y="23"/>
                  </a:lnTo>
                  <a:lnTo>
                    <a:pt x="74" y="23"/>
                  </a:lnTo>
                  <a:lnTo>
                    <a:pt x="76" y="23"/>
                  </a:lnTo>
                  <a:lnTo>
                    <a:pt x="81" y="23"/>
                  </a:lnTo>
                  <a:lnTo>
                    <a:pt x="81" y="23"/>
                  </a:lnTo>
                  <a:lnTo>
                    <a:pt x="81" y="23"/>
                  </a:lnTo>
                  <a:lnTo>
                    <a:pt x="84" y="23"/>
                  </a:lnTo>
                  <a:lnTo>
                    <a:pt x="84" y="25"/>
                  </a:lnTo>
                  <a:lnTo>
                    <a:pt x="84" y="25"/>
                  </a:lnTo>
                  <a:lnTo>
                    <a:pt x="84" y="25"/>
                  </a:lnTo>
                  <a:lnTo>
                    <a:pt x="86" y="25"/>
                  </a:lnTo>
                  <a:lnTo>
                    <a:pt x="86" y="28"/>
                  </a:lnTo>
                  <a:lnTo>
                    <a:pt x="86" y="28"/>
                  </a:lnTo>
                  <a:lnTo>
                    <a:pt x="94" y="25"/>
                  </a:lnTo>
                  <a:lnTo>
                    <a:pt x="94" y="25"/>
                  </a:lnTo>
                  <a:lnTo>
                    <a:pt x="94" y="23"/>
                  </a:lnTo>
                  <a:lnTo>
                    <a:pt x="96" y="20"/>
                  </a:lnTo>
                  <a:lnTo>
                    <a:pt x="96" y="18"/>
                  </a:lnTo>
                  <a:lnTo>
                    <a:pt x="96" y="15"/>
                  </a:lnTo>
                  <a:lnTo>
                    <a:pt x="99" y="15"/>
                  </a:lnTo>
                  <a:lnTo>
                    <a:pt x="99" y="13"/>
                  </a:lnTo>
                  <a:lnTo>
                    <a:pt x="99" y="13"/>
                  </a:lnTo>
                  <a:lnTo>
                    <a:pt x="99" y="10"/>
                  </a:lnTo>
                  <a:lnTo>
                    <a:pt x="99" y="1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211" name="Freeform 1829">
              <a:extLst>
                <a:ext uri="{FF2B5EF4-FFF2-40B4-BE49-F238E27FC236}">
                  <a16:creationId xmlns:a16="http://schemas.microsoft.com/office/drawing/2014/main" id="{4B6A1D32-BC6C-D74E-A4C1-BA375CAADC22}"/>
                </a:ext>
              </a:extLst>
            </p:cNvPr>
            <p:cNvSpPr>
              <a:spLocks/>
            </p:cNvSpPr>
            <p:nvPr/>
          </p:nvSpPr>
          <p:spPr bwMode="auto">
            <a:xfrm>
              <a:off x="9019111" y="3747151"/>
              <a:ext cx="8179" cy="8179"/>
            </a:xfrm>
            <a:custGeom>
              <a:avLst/>
              <a:gdLst>
                <a:gd name="T0" fmla="*/ 5 w 5"/>
                <a:gd name="T1" fmla="*/ 2 h 5"/>
                <a:gd name="T2" fmla="*/ 5 w 5"/>
                <a:gd name="T3" fmla="*/ 0 h 5"/>
                <a:gd name="T4" fmla="*/ 2 w 5"/>
                <a:gd name="T5" fmla="*/ 0 h 5"/>
                <a:gd name="T6" fmla="*/ 0 w 5"/>
                <a:gd name="T7" fmla="*/ 0 h 5"/>
                <a:gd name="T8" fmla="*/ 0 w 5"/>
                <a:gd name="T9" fmla="*/ 2 h 5"/>
                <a:gd name="T10" fmla="*/ 2 w 5"/>
                <a:gd name="T11" fmla="*/ 5 h 5"/>
                <a:gd name="T12" fmla="*/ 5 w 5"/>
                <a:gd name="T13" fmla="*/ 2 h 5"/>
                <a:gd name="T14" fmla="*/ 5 w 5"/>
                <a:gd name="T15" fmla="*/ 2 h 5"/>
                <a:gd name="T16" fmla="*/ 5 w 5"/>
                <a:gd name="T17"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 h="5">
                  <a:moveTo>
                    <a:pt x="5" y="2"/>
                  </a:moveTo>
                  <a:lnTo>
                    <a:pt x="5" y="0"/>
                  </a:lnTo>
                  <a:lnTo>
                    <a:pt x="2" y="0"/>
                  </a:lnTo>
                  <a:lnTo>
                    <a:pt x="0" y="0"/>
                  </a:lnTo>
                  <a:lnTo>
                    <a:pt x="0" y="2"/>
                  </a:lnTo>
                  <a:lnTo>
                    <a:pt x="2" y="5"/>
                  </a:lnTo>
                  <a:lnTo>
                    <a:pt x="5" y="2"/>
                  </a:lnTo>
                  <a:lnTo>
                    <a:pt x="5" y="2"/>
                  </a:lnTo>
                  <a:lnTo>
                    <a:pt x="5" y="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212" name="Freeform 1830">
              <a:extLst>
                <a:ext uri="{FF2B5EF4-FFF2-40B4-BE49-F238E27FC236}">
                  <a16:creationId xmlns:a16="http://schemas.microsoft.com/office/drawing/2014/main" id="{C694F020-9525-554F-97EC-3B3F1D57B019}"/>
                </a:ext>
              </a:extLst>
            </p:cNvPr>
            <p:cNvSpPr>
              <a:spLocks noEditPoints="1"/>
            </p:cNvSpPr>
            <p:nvPr/>
          </p:nvSpPr>
          <p:spPr bwMode="auto">
            <a:xfrm>
              <a:off x="5175129" y="3431453"/>
              <a:ext cx="94873" cy="111230"/>
            </a:xfrm>
            <a:custGeom>
              <a:avLst/>
              <a:gdLst>
                <a:gd name="T0" fmla="*/ 13 w 58"/>
                <a:gd name="T1" fmla="*/ 53 h 68"/>
                <a:gd name="T2" fmla="*/ 5 w 58"/>
                <a:gd name="T3" fmla="*/ 53 h 68"/>
                <a:gd name="T4" fmla="*/ 15 w 58"/>
                <a:gd name="T5" fmla="*/ 58 h 68"/>
                <a:gd name="T6" fmla="*/ 15 w 58"/>
                <a:gd name="T7" fmla="*/ 56 h 68"/>
                <a:gd name="T8" fmla="*/ 15 w 58"/>
                <a:gd name="T9" fmla="*/ 53 h 68"/>
                <a:gd name="T10" fmla="*/ 56 w 58"/>
                <a:gd name="T11" fmla="*/ 35 h 68"/>
                <a:gd name="T12" fmla="*/ 53 w 58"/>
                <a:gd name="T13" fmla="*/ 38 h 68"/>
                <a:gd name="T14" fmla="*/ 51 w 58"/>
                <a:gd name="T15" fmla="*/ 38 h 68"/>
                <a:gd name="T16" fmla="*/ 51 w 58"/>
                <a:gd name="T17" fmla="*/ 35 h 68"/>
                <a:gd name="T18" fmla="*/ 53 w 58"/>
                <a:gd name="T19" fmla="*/ 33 h 68"/>
                <a:gd name="T20" fmla="*/ 56 w 58"/>
                <a:gd name="T21" fmla="*/ 28 h 68"/>
                <a:gd name="T22" fmla="*/ 53 w 58"/>
                <a:gd name="T23" fmla="*/ 25 h 68"/>
                <a:gd name="T24" fmla="*/ 53 w 58"/>
                <a:gd name="T25" fmla="*/ 20 h 68"/>
                <a:gd name="T26" fmla="*/ 51 w 58"/>
                <a:gd name="T27" fmla="*/ 20 h 68"/>
                <a:gd name="T28" fmla="*/ 51 w 58"/>
                <a:gd name="T29" fmla="*/ 17 h 68"/>
                <a:gd name="T30" fmla="*/ 51 w 58"/>
                <a:gd name="T31" fmla="*/ 15 h 68"/>
                <a:gd name="T32" fmla="*/ 51 w 58"/>
                <a:gd name="T33" fmla="*/ 12 h 68"/>
                <a:gd name="T34" fmla="*/ 46 w 58"/>
                <a:gd name="T35" fmla="*/ 7 h 68"/>
                <a:gd name="T36" fmla="*/ 43 w 58"/>
                <a:gd name="T37" fmla="*/ 2 h 68"/>
                <a:gd name="T38" fmla="*/ 41 w 58"/>
                <a:gd name="T39" fmla="*/ 0 h 68"/>
                <a:gd name="T40" fmla="*/ 36 w 58"/>
                <a:gd name="T41" fmla="*/ 0 h 68"/>
                <a:gd name="T42" fmla="*/ 28 w 58"/>
                <a:gd name="T43" fmla="*/ 0 h 68"/>
                <a:gd name="T44" fmla="*/ 23 w 58"/>
                <a:gd name="T45" fmla="*/ 2 h 68"/>
                <a:gd name="T46" fmla="*/ 18 w 58"/>
                <a:gd name="T47" fmla="*/ 2 h 68"/>
                <a:gd name="T48" fmla="*/ 15 w 58"/>
                <a:gd name="T49" fmla="*/ 5 h 68"/>
                <a:gd name="T50" fmla="*/ 13 w 58"/>
                <a:gd name="T51" fmla="*/ 7 h 68"/>
                <a:gd name="T52" fmla="*/ 13 w 58"/>
                <a:gd name="T53" fmla="*/ 7 h 68"/>
                <a:gd name="T54" fmla="*/ 13 w 58"/>
                <a:gd name="T55" fmla="*/ 10 h 68"/>
                <a:gd name="T56" fmla="*/ 8 w 58"/>
                <a:gd name="T57" fmla="*/ 15 h 68"/>
                <a:gd name="T58" fmla="*/ 5 w 58"/>
                <a:gd name="T59" fmla="*/ 17 h 68"/>
                <a:gd name="T60" fmla="*/ 5 w 58"/>
                <a:gd name="T61" fmla="*/ 20 h 68"/>
                <a:gd name="T62" fmla="*/ 2 w 58"/>
                <a:gd name="T63" fmla="*/ 20 h 68"/>
                <a:gd name="T64" fmla="*/ 0 w 58"/>
                <a:gd name="T65" fmla="*/ 20 h 68"/>
                <a:gd name="T66" fmla="*/ 2 w 58"/>
                <a:gd name="T67" fmla="*/ 25 h 68"/>
                <a:gd name="T68" fmla="*/ 5 w 58"/>
                <a:gd name="T69" fmla="*/ 25 h 68"/>
                <a:gd name="T70" fmla="*/ 0 w 58"/>
                <a:gd name="T71" fmla="*/ 28 h 68"/>
                <a:gd name="T72" fmla="*/ 2 w 58"/>
                <a:gd name="T73" fmla="*/ 30 h 68"/>
                <a:gd name="T74" fmla="*/ 2 w 58"/>
                <a:gd name="T75" fmla="*/ 30 h 68"/>
                <a:gd name="T76" fmla="*/ 8 w 58"/>
                <a:gd name="T77" fmla="*/ 30 h 68"/>
                <a:gd name="T78" fmla="*/ 8 w 58"/>
                <a:gd name="T79" fmla="*/ 30 h 68"/>
                <a:gd name="T80" fmla="*/ 2 w 58"/>
                <a:gd name="T81" fmla="*/ 35 h 68"/>
                <a:gd name="T82" fmla="*/ 0 w 58"/>
                <a:gd name="T83" fmla="*/ 33 h 68"/>
                <a:gd name="T84" fmla="*/ 0 w 58"/>
                <a:gd name="T85" fmla="*/ 35 h 68"/>
                <a:gd name="T86" fmla="*/ 2 w 58"/>
                <a:gd name="T87" fmla="*/ 40 h 68"/>
                <a:gd name="T88" fmla="*/ 5 w 58"/>
                <a:gd name="T89" fmla="*/ 40 h 68"/>
                <a:gd name="T90" fmla="*/ 8 w 58"/>
                <a:gd name="T91" fmla="*/ 48 h 68"/>
                <a:gd name="T92" fmla="*/ 10 w 58"/>
                <a:gd name="T93" fmla="*/ 48 h 68"/>
                <a:gd name="T94" fmla="*/ 13 w 58"/>
                <a:gd name="T95" fmla="*/ 50 h 68"/>
                <a:gd name="T96" fmla="*/ 15 w 58"/>
                <a:gd name="T97" fmla="*/ 50 h 68"/>
                <a:gd name="T98" fmla="*/ 15 w 58"/>
                <a:gd name="T99" fmla="*/ 56 h 68"/>
                <a:gd name="T100" fmla="*/ 15 w 58"/>
                <a:gd name="T101" fmla="*/ 58 h 68"/>
                <a:gd name="T102" fmla="*/ 25 w 58"/>
                <a:gd name="T103" fmla="*/ 63 h 68"/>
                <a:gd name="T104" fmla="*/ 33 w 58"/>
                <a:gd name="T105" fmla="*/ 68 h 68"/>
                <a:gd name="T106" fmla="*/ 36 w 58"/>
                <a:gd name="T107" fmla="*/ 68 h 68"/>
                <a:gd name="T108" fmla="*/ 41 w 58"/>
                <a:gd name="T109" fmla="*/ 61 h 68"/>
                <a:gd name="T110" fmla="*/ 43 w 58"/>
                <a:gd name="T111" fmla="*/ 58 h 68"/>
                <a:gd name="T112" fmla="*/ 48 w 58"/>
                <a:gd name="T113" fmla="*/ 56 h 68"/>
                <a:gd name="T114" fmla="*/ 51 w 58"/>
                <a:gd name="T115" fmla="*/ 50 h 68"/>
                <a:gd name="T116" fmla="*/ 53 w 58"/>
                <a:gd name="T117" fmla="*/ 43 h 68"/>
                <a:gd name="T118" fmla="*/ 58 w 58"/>
                <a:gd name="T119" fmla="*/ 40 h 68"/>
                <a:gd name="T120" fmla="*/ 58 w 58"/>
                <a:gd name="T121" fmla="*/ 38 h 68"/>
                <a:gd name="T122" fmla="*/ 58 w 58"/>
                <a:gd name="T123" fmla="*/ 33 h 68"/>
                <a:gd name="T124" fmla="*/ 58 w 58"/>
                <a:gd name="T125" fmla="*/ 33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8" h="68">
                  <a:moveTo>
                    <a:pt x="15" y="53"/>
                  </a:moveTo>
                  <a:lnTo>
                    <a:pt x="13" y="53"/>
                  </a:lnTo>
                  <a:lnTo>
                    <a:pt x="8" y="53"/>
                  </a:lnTo>
                  <a:lnTo>
                    <a:pt x="5" y="53"/>
                  </a:lnTo>
                  <a:lnTo>
                    <a:pt x="13" y="56"/>
                  </a:lnTo>
                  <a:lnTo>
                    <a:pt x="15" y="58"/>
                  </a:lnTo>
                  <a:lnTo>
                    <a:pt x="15" y="58"/>
                  </a:lnTo>
                  <a:lnTo>
                    <a:pt x="15" y="56"/>
                  </a:lnTo>
                  <a:lnTo>
                    <a:pt x="15" y="53"/>
                  </a:lnTo>
                  <a:lnTo>
                    <a:pt x="15" y="53"/>
                  </a:lnTo>
                  <a:close/>
                  <a:moveTo>
                    <a:pt x="58" y="33"/>
                  </a:moveTo>
                  <a:lnTo>
                    <a:pt x="56" y="35"/>
                  </a:lnTo>
                  <a:lnTo>
                    <a:pt x="53" y="38"/>
                  </a:lnTo>
                  <a:lnTo>
                    <a:pt x="53" y="38"/>
                  </a:lnTo>
                  <a:lnTo>
                    <a:pt x="51" y="38"/>
                  </a:lnTo>
                  <a:lnTo>
                    <a:pt x="51" y="38"/>
                  </a:lnTo>
                  <a:lnTo>
                    <a:pt x="51" y="38"/>
                  </a:lnTo>
                  <a:lnTo>
                    <a:pt x="51" y="35"/>
                  </a:lnTo>
                  <a:lnTo>
                    <a:pt x="51" y="35"/>
                  </a:lnTo>
                  <a:lnTo>
                    <a:pt x="53" y="33"/>
                  </a:lnTo>
                  <a:lnTo>
                    <a:pt x="56" y="30"/>
                  </a:lnTo>
                  <a:lnTo>
                    <a:pt x="56" y="28"/>
                  </a:lnTo>
                  <a:lnTo>
                    <a:pt x="53" y="28"/>
                  </a:lnTo>
                  <a:lnTo>
                    <a:pt x="53" y="25"/>
                  </a:lnTo>
                  <a:lnTo>
                    <a:pt x="53" y="22"/>
                  </a:lnTo>
                  <a:lnTo>
                    <a:pt x="53" y="20"/>
                  </a:lnTo>
                  <a:lnTo>
                    <a:pt x="51" y="20"/>
                  </a:lnTo>
                  <a:lnTo>
                    <a:pt x="51" y="20"/>
                  </a:lnTo>
                  <a:lnTo>
                    <a:pt x="51" y="20"/>
                  </a:lnTo>
                  <a:lnTo>
                    <a:pt x="51" y="17"/>
                  </a:lnTo>
                  <a:lnTo>
                    <a:pt x="51" y="15"/>
                  </a:lnTo>
                  <a:lnTo>
                    <a:pt x="51" y="15"/>
                  </a:lnTo>
                  <a:lnTo>
                    <a:pt x="51" y="15"/>
                  </a:lnTo>
                  <a:lnTo>
                    <a:pt x="51" y="12"/>
                  </a:lnTo>
                  <a:lnTo>
                    <a:pt x="48" y="10"/>
                  </a:lnTo>
                  <a:lnTo>
                    <a:pt x="46" y="7"/>
                  </a:lnTo>
                  <a:lnTo>
                    <a:pt x="46" y="5"/>
                  </a:lnTo>
                  <a:lnTo>
                    <a:pt x="43" y="2"/>
                  </a:lnTo>
                  <a:lnTo>
                    <a:pt x="43" y="0"/>
                  </a:lnTo>
                  <a:lnTo>
                    <a:pt x="41" y="0"/>
                  </a:lnTo>
                  <a:lnTo>
                    <a:pt x="41" y="0"/>
                  </a:lnTo>
                  <a:lnTo>
                    <a:pt x="36" y="0"/>
                  </a:lnTo>
                  <a:lnTo>
                    <a:pt x="30" y="0"/>
                  </a:lnTo>
                  <a:lnTo>
                    <a:pt x="28" y="0"/>
                  </a:lnTo>
                  <a:lnTo>
                    <a:pt x="28" y="0"/>
                  </a:lnTo>
                  <a:lnTo>
                    <a:pt x="23" y="2"/>
                  </a:lnTo>
                  <a:lnTo>
                    <a:pt x="20" y="0"/>
                  </a:lnTo>
                  <a:lnTo>
                    <a:pt x="18" y="2"/>
                  </a:lnTo>
                  <a:lnTo>
                    <a:pt x="15" y="2"/>
                  </a:lnTo>
                  <a:lnTo>
                    <a:pt x="15" y="5"/>
                  </a:lnTo>
                  <a:lnTo>
                    <a:pt x="15" y="5"/>
                  </a:lnTo>
                  <a:lnTo>
                    <a:pt x="13" y="7"/>
                  </a:lnTo>
                  <a:lnTo>
                    <a:pt x="13" y="7"/>
                  </a:lnTo>
                  <a:lnTo>
                    <a:pt x="13" y="7"/>
                  </a:lnTo>
                  <a:lnTo>
                    <a:pt x="13" y="10"/>
                  </a:lnTo>
                  <a:lnTo>
                    <a:pt x="13" y="10"/>
                  </a:lnTo>
                  <a:lnTo>
                    <a:pt x="10" y="12"/>
                  </a:lnTo>
                  <a:lnTo>
                    <a:pt x="8" y="15"/>
                  </a:lnTo>
                  <a:lnTo>
                    <a:pt x="5" y="15"/>
                  </a:lnTo>
                  <a:lnTo>
                    <a:pt x="5" y="17"/>
                  </a:lnTo>
                  <a:lnTo>
                    <a:pt x="5" y="20"/>
                  </a:lnTo>
                  <a:lnTo>
                    <a:pt x="5" y="20"/>
                  </a:lnTo>
                  <a:lnTo>
                    <a:pt x="2" y="20"/>
                  </a:lnTo>
                  <a:lnTo>
                    <a:pt x="2" y="20"/>
                  </a:lnTo>
                  <a:lnTo>
                    <a:pt x="0" y="20"/>
                  </a:lnTo>
                  <a:lnTo>
                    <a:pt x="0" y="20"/>
                  </a:lnTo>
                  <a:lnTo>
                    <a:pt x="0" y="22"/>
                  </a:lnTo>
                  <a:lnTo>
                    <a:pt x="2" y="25"/>
                  </a:lnTo>
                  <a:lnTo>
                    <a:pt x="5" y="25"/>
                  </a:lnTo>
                  <a:lnTo>
                    <a:pt x="5" y="25"/>
                  </a:lnTo>
                  <a:lnTo>
                    <a:pt x="0" y="25"/>
                  </a:lnTo>
                  <a:lnTo>
                    <a:pt x="0" y="28"/>
                  </a:lnTo>
                  <a:lnTo>
                    <a:pt x="0" y="28"/>
                  </a:lnTo>
                  <a:lnTo>
                    <a:pt x="2" y="30"/>
                  </a:lnTo>
                  <a:lnTo>
                    <a:pt x="2" y="30"/>
                  </a:lnTo>
                  <a:lnTo>
                    <a:pt x="2" y="30"/>
                  </a:lnTo>
                  <a:lnTo>
                    <a:pt x="5" y="30"/>
                  </a:lnTo>
                  <a:lnTo>
                    <a:pt x="8" y="30"/>
                  </a:lnTo>
                  <a:lnTo>
                    <a:pt x="8" y="30"/>
                  </a:lnTo>
                  <a:lnTo>
                    <a:pt x="8" y="30"/>
                  </a:lnTo>
                  <a:lnTo>
                    <a:pt x="5" y="33"/>
                  </a:lnTo>
                  <a:lnTo>
                    <a:pt x="2" y="35"/>
                  </a:lnTo>
                  <a:lnTo>
                    <a:pt x="2" y="35"/>
                  </a:lnTo>
                  <a:lnTo>
                    <a:pt x="0" y="33"/>
                  </a:lnTo>
                  <a:lnTo>
                    <a:pt x="0" y="33"/>
                  </a:lnTo>
                  <a:lnTo>
                    <a:pt x="0" y="35"/>
                  </a:lnTo>
                  <a:lnTo>
                    <a:pt x="0" y="38"/>
                  </a:lnTo>
                  <a:lnTo>
                    <a:pt x="2" y="40"/>
                  </a:lnTo>
                  <a:lnTo>
                    <a:pt x="5" y="40"/>
                  </a:lnTo>
                  <a:lnTo>
                    <a:pt x="5" y="40"/>
                  </a:lnTo>
                  <a:lnTo>
                    <a:pt x="8" y="43"/>
                  </a:lnTo>
                  <a:lnTo>
                    <a:pt x="8" y="48"/>
                  </a:lnTo>
                  <a:lnTo>
                    <a:pt x="8" y="48"/>
                  </a:lnTo>
                  <a:lnTo>
                    <a:pt x="10" y="48"/>
                  </a:lnTo>
                  <a:lnTo>
                    <a:pt x="10" y="50"/>
                  </a:lnTo>
                  <a:lnTo>
                    <a:pt x="13" y="50"/>
                  </a:lnTo>
                  <a:lnTo>
                    <a:pt x="15" y="50"/>
                  </a:lnTo>
                  <a:lnTo>
                    <a:pt x="15" y="50"/>
                  </a:lnTo>
                  <a:lnTo>
                    <a:pt x="15" y="53"/>
                  </a:lnTo>
                  <a:lnTo>
                    <a:pt x="15" y="56"/>
                  </a:lnTo>
                  <a:lnTo>
                    <a:pt x="15" y="58"/>
                  </a:lnTo>
                  <a:lnTo>
                    <a:pt x="15" y="58"/>
                  </a:lnTo>
                  <a:lnTo>
                    <a:pt x="18" y="58"/>
                  </a:lnTo>
                  <a:lnTo>
                    <a:pt x="25" y="63"/>
                  </a:lnTo>
                  <a:lnTo>
                    <a:pt x="30" y="66"/>
                  </a:lnTo>
                  <a:lnTo>
                    <a:pt x="33" y="68"/>
                  </a:lnTo>
                  <a:lnTo>
                    <a:pt x="36" y="68"/>
                  </a:lnTo>
                  <a:lnTo>
                    <a:pt x="36" y="68"/>
                  </a:lnTo>
                  <a:lnTo>
                    <a:pt x="38" y="66"/>
                  </a:lnTo>
                  <a:lnTo>
                    <a:pt x="41" y="61"/>
                  </a:lnTo>
                  <a:lnTo>
                    <a:pt x="41" y="61"/>
                  </a:lnTo>
                  <a:lnTo>
                    <a:pt x="43" y="58"/>
                  </a:lnTo>
                  <a:lnTo>
                    <a:pt x="46" y="56"/>
                  </a:lnTo>
                  <a:lnTo>
                    <a:pt x="48" y="56"/>
                  </a:lnTo>
                  <a:lnTo>
                    <a:pt x="51" y="50"/>
                  </a:lnTo>
                  <a:lnTo>
                    <a:pt x="51" y="50"/>
                  </a:lnTo>
                  <a:lnTo>
                    <a:pt x="53" y="48"/>
                  </a:lnTo>
                  <a:lnTo>
                    <a:pt x="53" y="43"/>
                  </a:lnTo>
                  <a:lnTo>
                    <a:pt x="56" y="40"/>
                  </a:lnTo>
                  <a:lnTo>
                    <a:pt x="58" y="40"/>
                  </a:lnTo>
                  <a:lnTo>
                    <a:pt x="58" y="40"/>
                  </a:lnTo>
                  <a:lnTo>
                    <a:pt x="58" y="38"/>
                  </a:lnTo>
                  <a:lnTo>
                    <a:pt x="58" y="35"/>
                  </a:lnTo>
                  <a:lnTo>
                    <a:pt x="58" y="33"/>
                  </a:lnTo>
                  <a:lnTo>
                    <a:pt x="58" y="33"/>
                  </a:lnTo>
                  <a:lnTo>
                    <a:pt x="58" y="33"/>
                  </a:lnTo>
                  <a:close/>
                </a:path>
              </a:pathLst>
            </a:custGeom>
            <a:solidFill>
              <a:srgbClr val="FFC000"/>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213" name="Freeform 1831">
              <a:extLst>
                <a:ext uri="{FF2B5EF4-FFF2-40B4-BE49-F238E27FC236}">
                  <a16:creationId xmlns:a16="http://schemas.microsoft.com/office/drawing/2014/main" id="{84BA4119-FB41-F74F-9519-626A5AAB1A4C}"/>
                </a:ext>
              </a:extLst>
            </p:cNvPr>
            <p:cNvSpPr>
              <a:spLocks/>
            </p:cNvSpPr>
            <p:nvPr/>
          </p:nvSpPr>
          <p:spPr bwMode="auto">
            <a:xfrm>
              <a:off x="7425903" y="3971246"/>
              <a:ext cx="8179" cy="8179"/>
            </a:xfrm>
            <a:custGeom>
              <a:avLst/>
              <a:gdLst>
                <a:gd name="T0" fmla="*/ 5 w 5"/>
                <a:gd name="T1" fmla="*/ 3 h 5"/>
                <a:gd name="T2" fmla="*/ 3 w 5"/>
                <a:gd name="T3" fmla="*/ 0 h 5"/>
                <a:gd name="T4" fmla="*/ 0 w 5"/>
                <a:gd name="T5" fmla="*/ 0 h 5"/>
                <a:gd name="T6" fmla="*/ 3 w 5"/>
                <a:gd name="T7" fmla="*/ 3 h 5"/>
                <a:gd name="T8" fmla="*/ 3 w 5"/>
                <a:gd name="T9" fmla="*/ 3 h 5"/>
                <a:gd name="T10" fmla="*/ 3 w 5"/>
                <a:gd name="T11" fmla="*/ 3 h 5"/>
                <a:gd name="T12" fmla="*/ 5 w 5"/>
                <a:gd name="T13" fmla="*/ 5 h 5"/>
                <a:gd name="T14" fmla="*/ 5 w 5"/>
                <a:gd name="T15" fmla="*/ 3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5">
                  <a:moveTo>
                    <a:pt x="5" y="3"/>
                  </a:moveTo>
                  <a:lnTo>
                    <a:pt x="3" y="0"/>
                  </a:lnTo>
                  <a:lnTo>
                    <a:pt x="0" y="0"/>
                  </a:lnTo>
                  <a:lnTo>
                    <a:pt x="3" y="3"/>
                  </a:lnTo>
                  <a:lnTo>
                    <a:pt x="3" y="3"/>
                  </a:lnTo>
                  <a:lnTo>
                    <a:pt x="3" y="3"/>
                  </a:lnTo>
                  <a:lnTo>
                    <a:pt x="5" y="5"/>
                  </a:lnTo>
                  <a:lnTo>
                    <a:pt x="5" y="3"/>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214" name="Freeform 1832">
              <a:extLst>
                <a:ext uri="{FF2B5EF4-FFF2-40B4-BE49-F238E27FC236}">
                  <a16:creationId xmlns:a16="http://schemas.microsoft.com/office/drawing/2014/main" id="{91686E13-69D0-B941-9BB7-A546AB34B56B}"/>
                </a:ext>
              </a:extLst>
            </p:cNvPr>
            <p:cNvSpPr>
              <a:spLocks/>
            </p:cNvSpPr>
            <p:nvPr/>
          </p:nvSpPr>
          <p:spPr bwMode="auto">
            <a:xfrm>
              <a:off x="6200736" y="2090149"/>
              <a:ext cx="124316" cy="142310"/>
            </a:xfrm>
            <a:custGeom>
              <a:avLst/>
              <a:gdLst>
                <a:gd name="T0" fmla="*/ 69 w 76"/>
                <a:gd name="T1" fmla="*/ 61 h 87"/>
                <a:gd name="T2" fmla="*/ 66 w 76"/>
                <a:gd name="T3" fmla="*/ 56 h 87"/>
                <a:gd name="T4" fmla="*/ 66 w 76"/>
                <a:gd name="T5" fmla="*/ 49 h 87"/>
                <a:gd name="T6" fmla="*/ 71 w 76"/>
                <a:gd name="T7" fmla="*/ 43 h 87"/>
                <a:gd name="T8" fmla="*/ 69 w 76"/>
                <a:gd name="T9" fmla="*/ 41 h 87"/>
                <a:gd name="T10" fmla="*/ 71 w 76"/>
                <a:gd name="T11" fmla="*/ 36 h 87"/>
                <a:gd name="T12" fmla="*/ 64 w 76"/>
                <a:gd name="T13" fmla="*/ 33 h 87"/>
                <a:gd name="T14" fmla="*/ 53 w 76"/>
                <a:gd name="T15" fmla="*/ 33 h 87"/>
                <a:gd name="T16" fmla="*/ 46 w 76"/>
                <a:gd name="T17" fmla="*/ 31 h 87"/>
                <a:gd name="T18" fmla="*/ 48 w 76"/>
                <a:gd name="T19" fmla="*/ 28 h 87"/>
                <a:gd name="T20" fmla="*/ 46 w 76"/>
                <a:gd name="T21" fmla="*/ 26 h 87"/>
                <a:gd name="T22" fmla="*/ 48 w 76"/>
                <a:gd name="T23" fmla="*/ 23 h 87"/>
                <a:gd name="T24" fmla="*/ 46 w 76"/>
                <a:gd name="T25" fmla="*/ 21 h 87"/>
                <a:gd name="T26" fmla="*/ 38 w 76"/>
                <a:gd name="T27" fmla="*/ 18 h 87"/>
                <a:gd name="T28" fmla="*/ 36 w 76"/>
                <a:gd name="T29" fmla="*/ 13 h 87"/>
                <a:gd name="T30" fmla="*/ 36 w 76"/>
                <a:gd name="T31" fmla="*/ 8 h 87"/>
                <a:gd name="T32" fmla="*/ 33 w 76"/>
                <a:gd name="T33" fmla="*/ 8 h 87"/>
                <a:gd name="T34" fmla="*/ 25 w 76"/>
                <a:gd name="T35" fmla="*/ 3 h 87"/>
                <a:gd name="T36" fmla="*/ 18 w 76"/>
                <a:gd name="T37" fmla="*/ 0 h 87"/>
                <a:gd name="T38" fmla="*/ 10 w 76"/>
                <a:gd name="T39" fmla="*/ 3 h 87"/>
                <a:gd name="T40" fmla="*/ 5 w 76"/>
                <a:gd name="T41" fmla="*/ 3 h 87"/>
                <a:gd name="T42" fmla="*/ 0 w 76"/>
                <a:gd name="T43" fmla="*/ 5 h 87"/>
                <a:gd name="T44" fmla="*/ 0 w 76"/>
                <a:gd name="T45" fmla="*/ 8 h 87"/>
                <a:gd name="T46" fmla="*/ 5 w 76"/>
                <a:gd name="T47" fmla="*/ 13 h 87"/>
                <a:gd name="T48" fmla="*/ 7 w 76"/>
                <a:gd name="T49" fmla="*/ 18 h 87"/>
                <a:gd name="T50" fmla="*/ 10 w 76"/>
                <a:gd name="T51" fmla="*/ 21 h 87"/>
                <a:gd name="T52" fmla="*/ 5 w 76"/>
                <a:gd name="T53" fmla="*/ 21 h 87"/>
                <a:gd name="T54" fmla="*/ 5 w 76"/>
                <a:gd name="T55" fmla="*/ 28 h 87"/>
                <a:gd name="T56" fmla="*/ 5 w 76"/>
                <a:gd name="T57" fmla="*/ 31 h 87"/>
                <a:gd name="T58" fmla="*/ 10 w 76"/>
                <a:gd name="T59" fmla="*/ 31 h 87"/>
                <a:gd name="T60" fmla="*/ 5 w 76"/>
                <a:gd name="T61" fmla="*/ 38 h 87"/>
                <a:gd name="T62" fmla="*/ 7 w 76"/>
                <a:gd name="T63" fmla="*/ 43 h 87"/>
                <a:gd name="T64" fmla="*/ 15 w 76"/>
                <a:gd name="T65" fmla="*/ 49 h 87"/>
                <a:gd name="T66" fmla="*/ 10 w 76"/>
                <a:gd name="T67" fmla="*/ 49 h 87"/>
                <a:gd name="T68" fmla="*/ 13 w 76"/>
                <a:gd name="T69" fmla="*/ 56 h 87"/>
                <a:gd name="T70" fmla="*/ 10 w 76"/>
                <a:gd name="T71" fmla="*/ 59 h 87"/>
                <a:gd name="T72" fmla="*/ 7 w 76"/>
                <a:gd name="T73" fmla="*/ 61 h 87"/>
                <a:gd name="T74" fmla="*/ 18 w 76"/>
                <a:gd name="T75" fmla="*/ 66 h 87"/>
                <a:gd name="T76" fmla="*/ 28 w 76"/>
                <a:gd name="T77" fmla="*/ 71 h 87"/>
                <a:gd name="T78" fmla="*/ 33 w 76"/>
                <a:gd name="T79" fmla="*/ 74 h 87"/>
                <a:gd name="T80" fmla="*/ 36 w 76"/>
                <a:gd name="T81" fmla="*/ 69 h 87"/>
                <a:gd name="T82" fmla="*/ 36 w 76"/>
                <a:gd name="T83" fmla="*/ 66 h 87"/>
                <a:gd name="T84" fmla="*/ 38 w 76"/>
                <a:gd name="T85" fmla="*/ 69 h 87"/>
                <a:gd name="T86" fmla="*/ 46 w 76"/>
                <a:gd name="T87" fmla="*/ 74 h 87"/>
                <a:gd name="T88" fmla="*/ 56 w 76"/>
                <a:gd name="T89" fmla="*/ 79 h 87"/>
                <a:gd name="T90" fmla="*/ 53 w 76"/>
                <a:gd name="T91" fmla="*/ 84 h 87"/>
                <a:gd name="T92" fmla="*/ 53 w 76"/>
                <a:gd name="T93" fmla="*/ 87 h 87"/>
                <a:gd name="T94" fmla="*/ 61 w 76"/>
                <a:gd name="T95" fmla="*/ 87 h 87"/>
                <a:gd name="T96" fmla="*/ 66 w 76"/>
                <a:gd name="T97" fmla="*/ 87 h 87"/>
                <a:gd name="T98" fmla="*/ 69 w 76"/>
                <a:gd name="T99" fmla="*/ 82 h 87"/>
                <a:gd name="T100" fmla="*/ 69 w 76"/>
                <a:gd name="T101" fmla="*/ 77 h 87"/>
                <a:gd name="T102" fmla="*/ 74 w 76"/>
                <a:gd name="T103" fmla="*/ 74 h 87"/>
                <a:gd name="T104" fmla="*/ 76 w 76"/>
                <a:gd name="T105" fmla="*/ 69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6" h="87">
                  <a:moveTo>
                    <a:pt x="74" y="66"/>
                  </a:moveTo>
                  <a:lnTo>
                    <a:pt x="74" y="64"/>
                  </a:lnTo>
                  <a:lnTo>
                    <a:pt x="74" y="64"/>
                  </a:lnTo>
                  <a:lnTo>
                    <a:pt x="71" y="64"/>
                  </a:lnTo>
                  <a:lnTo>
                    <a:pt x="69" y="61"/>
                  </a:lnTo>
                  <a:lnTo>
                    <a:pt x="69" y="59"/>
                  </a:lnTo>
                  <a:lnTo>
                    <a:pt x="69" y="59"/>
                  </a:lnTo>
                  <a:lnTo>
                    <a:pt x="66" y="56"/>
                  </a:lnTo>
                  <a:lnTo>
                    <a:pt x="66" y="56"/>
                  </a:lnTo>
                  <a:lnTo>
                    <a:pt x="66" y="56"/>
                  </a:lnTo>
                  <a:lnTo>
                    <a:pt x="66" y="54"/>
                  </a:lnTo>
                  <a:lnTo>
                    <a:pt x="66" y="51"/>
                  </a:lnTo>
                  <a:lnTo>
                    <a:pt x="66" y="51"/>
                  </a:lnTo>
                  <a:lnTo>
                    <a:pt x="66" y="49"/>
                  </a:lnTo>
                  <a:lnTo>
                    <a:pt x="66" y="49"/>
                  </a:lnTo>
                  <a:lnTo>
                    <a:pt x="69" y="49"/>
                  </a:lnTo>
                  <a:lnTo>
                    <a:pt x="69" y="46"/>
                  </a:lnTo>
                  <a:lnTo>
                    <a:pt x="69" y="46"/>
                  </a:lnTo>
                  <a:lnTo>
                    <a:pt x="71" y="43"/>
                  </a:lnTo>
                  <a:lnTo>
                    <a:pt x="71" y="43"/>
                  </a:lnTo>
                  <a:lnTo>
                    <a:pt x="71" y="43"/>
                  </a:lnTo>
                  <a:lnTo>
                    <a:pt x="71" y="43"/>
                  </a:lnTo>
                  <a:lnTo>
                    <a:pt x="69" y="43"/>
                  </a:lnTo>
                  <a:lnTo>
                    <a:pt x="69" y="41"/>
                  </a:lnTo>
                  <a:lnTo>
                    <a:pt x="69" y="41"/>
                  </a:lnTo>
                  <a:lnTo>
                    <a:pt x="66" y="41"/>
                  </a:lnTo>
                  <a:lnTo>
                    <a:pt x="66" y="38"/>
                  </a:lnTo>
                  <a:lnTo>
                    <a:pt x="69" y="38"/>
                  </a:lnTo>
                  <a:lnTo>
                    <a:pt x="69" y="36"/>
                  </a:lnTo>
                  <a:lnTo>
                    <a:pt x="71" y="36"/>
                  </a:lnTo>
                  <a:lnTo>
                    <a:pt x="71" y="36"/>
                  </a:lnTo>
                  <a:lnTo>
                    <a:pt x="71" y="36"/>
                  </a:lnTo>
                  <a:lnTo>
                    <a:pt x="69" y="36"/>
                  </a:lnTo>
                  <a:lnTo>
                    <a:pt x="66" y="33"/>
                  </a:lnTo>
                  <a:lnTo>
                    <a:pt x="64" y="33"/>
                  </a:lnTo>
                  <a:lnTo>
                    <a:pt x="61" y="36"/>
                  </a:lnTo>
                  <a:lnTo>
                    <a:pt x="58" y="38"/>
                  </a:lnTo>
                  <a:lnTo>
                    <a:pt x="58" y="36"/>
                  </a:lnTo>
                  <a:lnTo>
                    <a:pt x="56" y="36"/>
                  </a:lnTo>
                  <a:lnTo>
                    <a:pt x="53" y="33"/>
                  </a:lnTo>
                  <a:lnTo>
                    <a:pt x="51" y="33"/>
                  </a:lnTo>
                  <a:lnTo>
                    <a:pt x="51" y="33"/>
                  </a:lnTo>
                  <a:lnTo>
                    <a:pt x="48" y="31"/>
                  </a:lnTo>
                  <a:lnTo>
                    <a:pt x="46" y="31"/>
                  </a:lnTo>
                  <a:lnTo>
                    <a:pt x="46" y="31"/>
                  </a:lnTo>
                  <a:lnTo>
                    <a:pt x="46" y="31"/>
                  </a:lnTo>
                  <a:lnTo>
                    <a:pt x="48" y="31"/>
                  </a:lnTo>
                  <a:lnTo>
                    <a:pt x="48" y="31"/>
                  </a:lnTo>
                  <a:lnTo>
                    <a:pt x="48" y="28"/>
                  </a:lnTo>
                  <a:lnTo>
                    <a:pt x="48" y="28"/>
                  </a:lnTo>
                  <a:lnTo>
                    <a:pt x="48" y="28"/>
                  </a:lnTo>
                  <a:lnTo>
                    <a:pt x="46" y="28"/>
                  </a:lnTo>
                  <a:lnTo>
                    <a:pt x="46" y="28"/>
                  </a:lnTo>
                  <a:lnTo>
                    <a:pt x="46" y="28"/>
                  </a:lnTo>
                  <a:lnTo>
                    <a:pt x="46" y="26"/>
                  </a:lnTo>
                  <a:lnTo>
                    <a:pt x="46" y="26"/>
                  </a:lnTo>
                  <a:lnTo>
                    <a:pt x="46" y="26"/>
                  </a:lnTo>
                  <a:lnTo>
                    <a:pt x="46" y="26"/>
                  </a:lnTo>
                  <a:lnTo>
                    <a:pt x="46" y="23"/>
                  </a:lnTo>
                  <a:lnTo>
                    <a:pt x="48" y="23"/>
                  </a:lnTo>
                  <a:lnTo>
                    <a:pt x="48" y="23"/>
                  </a:lnTo>
                  <a:lnTo>
                    <a:pt x="48" y="23"/>
                  </a:lnTo>
                  <a:lnTo>
                    <a:pt x="48" y="21"/>
                  </a:lnTo>
                  <a:lnTo>
                    <a:pt x="46" y="21"/>
                  </a:lnTo>
                  <a:lnTo>
                    <a:pt x="46" y="21"/>
                  </a:lnTo>
                  <a:lnTo>
                    <a:pt x="43" y="21"/>
                  </a:lnTo>
                  <a:lnTo>
                    <a:pt x="41" y="18"/>
                  </a:lnTo>
                  <a:lnTo>
                    <a:pt x="41" y="18"/>
                  </a:lnTo>
                  <a:lnTo>
                    <a:pt x="38" y="18"/>
                  </a:lnTo>
                  <a:lnTo>
                    <a:pt x="38" y="18"/>
                  </a:lnTo>
                  <a:lnTo>
                    <a:pt x="36" y="15"/>
                  </a:lnTo>
                  <a:lnTo>
                    <a:pt x="36" y="15"/>
                  </a:lnTo>
                  <a:lnTo>
                    <a:pt x="36" y="15"/>
                  </a:lnTo>
                  <a:lnTo>
                    <a:pt x="36" y="15"/>
                  </a:lnTo>
                  <a:lnTo>
                    <a:pt x="36" y="13"/>
                  </a:lnTo>
                  <a:lnTo>
                    <a:pt x="36" y="13"/>
                  </a:lnTo>
                  <a:lnTo>
                    <a:pt x="36" y="13"/>
                  </a:lnTo>
                  <a:lnTo>
                    <a:pt x="36" y="10"/>
                  </a:lnTo>
                  <a:lnTo>
                    <a:pt x="36" y="10"/>
                  </a:lnTo>
                  <a:lnTo>
                    <a:pt x="36" y="8"/>
                  </a:lnTo>
                  <a:lnTo>
                    <a:pt x="33" y="8"/>
                  </a:lnTo>
                  <a:lnTo>
                    <a:pt x="33" y="8"/>
                  </a:lnTo>
                  <a:lnTo>
                    <a:pt x="33" y="10"/>
                  </a:lnTo>
                  <a:lnTo>
                    <a:pt x="33" y="10"/>
                  </a:lnTo>
                  <a:lnTo>
                    <a:pt x="33" y="8"/>
                  </a:lnTo>
                  <a:lnTo>
                    <a:pt x="30" y="5"/>
                  </a:lnTo>
                  <a:lnTo>
                    <a:pt x="30" y="5"/>
                  </a:lnTo>
                  <a:lnTo>
                    <a:pt x="28" y="5"/>
                  </a:lnTo>
                  <a:lnTo>
                    <a:pt x="25" y="3"/>
                  </a:lnTo>
                  <a:lnTo>
                    <a:pt x="25" y="3"/>
                  </a:lnTo>
                  <a:lnTo>
                    <a:pt x="25" y="0"/>
                  </a:lnTo>
                  <a:lnTo>
                    <a:pt x="23" y="0"/>
                  </a:lnTo>
                  <a:lnTo>
                    <a:pt x="23" y="0"/>
                  </a:lnTo>
                  <a:lnTo>
                    <a:pt x="18" y="0"/>
                  </a:lnTo>
                  <a:lnTo>
                    <a:pt x="18" y="0"/>
                  </a:lnTo>
                  <a:lnTo>
                    <a:pt x="15" y="0"/>
                  </a:lnTo>
                  <a:lnTo>
                    <a:pt x="13" y="0"/>
                  </a:lnTo>
                  <a:lnTo>
                    <a:pt x="13" y="0"/>
                  </a:lnTo>
                  <a:lnTo>
                    <a:pt x="10" y="0"/>
                  </a:lnTo>
                  <a:lnTo>
                    <a:pt x="10" y="3"/>
                  </a:lnTo>
                  <a:lnTo>
                    <a:pt x="10" y="3"/>
                  </a:lnTo>
                  <a:lnTo>
                    <a:pt x="7" y="3"/>
                  </a:lnTo>
                  <a:lnTo>
                    <a:pt x="7" y="3"/>
                  </a:lnTo>
                  <a:lnTo>
                    <a:pt x="5" y="3"/>
                  </a:lnTo>
                  <a:lnTo>
                    <a:pt x="5" y="3"/>
                  </a:lnTo>
                  <a:lnTo>
                    <a:pt x="5" y="3"/>
                  </a:lnTo>
                  <a:lnTo>
                    <a:pt x="2" y="3"/>
                  </a:lnTo>
                  <a:lnTo>
                    <a:pt x="2" y="3"/>
                  </a:lnTo>
                  <a:lnTo>
                    <a:pt x="2" y="5"/>
                  </a:lnTo>
                  <a:lnTo>
                    <a:pt x="0" y="5"/>
                  </a:lnTo>
                  <a:lnTo>
                    <a:pt x="0" y="5"/>
                  </a:lnTo>
                  <a:lnTo>
                    <a:pt x="0" y="5"/>
                  </a:lnTo>
                  <a:lnTo>
                    <a:pt x="0" y="5"/>
                  </a:lnTo>
                  <a:lnTo>
                    <a:pt x="0" y="8"/>
                  </a:lnTo>
                  <a:lnTo>
                    <a:pt x="0" y="8"/>
                  </a:lnTo>
                  <a:lnTo>
                    <a:pt x="2" y="10"/>
                  </a:lnTo>
                  <a:lnTo>
                    <a:pt x="0" y="13"/>
                  </a:lnTo>
                  <a:lnTo>
                    <a:pt x="2" y="13"/>
                  </a:lnTo>
                  <a:lnTo>
                    <a:pt x="2" y="13"/>
                  </a:lnTo>
                  <a:lnTo>
                    <a:pt x="5" y="13"/>
                  </a:lnTo>
                  <a:lnTo>
                    <a:pt x="2" y="15"/>
                  </a:lnTo>
                  <a:lnTo>
                    <a:pt x="2" y="15"/>
                  </a:lnTo>
                  <a:lnTo>
                    <a:pt x="2" y="15"/>
                  </a:lnTo>
                  <a:lnTo>
                    <a:pt x="5" y="18"/>
                  </a:lnTo>
                  <a:lnTo>
                    <a:pt x="7" y="18"/>
                  </a:lnTo>
                  <a:lnTo>
                    <a:pt x="10" y="21"/>
                  </a:lnTo>
                  <a:lnTo>
                    <a:pt x="10" y="21"/>
                  </a:lnTo>
                  <a:lnTo>
                    <a:pt x="10" y="21"/>
                  </a:lnTo>
                  <a:lnTo>
                    <a:pt x="10" y="21"/>
                  </a:lnTo>
                  <a:lnTo>
                    <a:pt x="10" y="21"/>
                  </a:lnTo>
                  <a:lnTo>
                    <a:pt x="10" y="21"/>
                  </a:lnTo>
                  <a:lnTo>
                    <a:pt x="7" y="21"/>
                  </a:lnTo>
                  <a:lnTo>
                    <a:pt x="7" y="21"/>
                  </a:lnTo>
                  <a:lnTo>
                    <a:pt x="5" y="21"/>
                  </a:lnTo>
                  <a:lnTo>
                    <a:pt x="5" y="21"/>
                  </a:lnTo>
                  <a:lnTo>
                    <a:pt x="5" y="23"/>
                  </a:lnTo>
                  <a:lnTo>
                    <a:pt x="5" y="23"/>
                  </a:lnTo>
                  <a:lnTo>
                    <a:pt x="5" y="28"/>
                  </a:lnTo>
                  <a:lnTo>
                    <a:pt x="5" y="28"/>
                  </a:lnTo>
                  <a:lnTo>
                    <a:pt x="5" y="28"/>
                  </a:lnTo>
                  <a:lnTo>
                    <a:pt x="5" y="28"/>
                  </a:lnTo>
                  <a:lnTo>
                    <a:pt x="2" y="28"/>
                  </a:lnTo>
                  <a:lnTo>
                    <a:pt x="2" y="28"/>
                  </a:lnTo>
                  <a:lnTo>
                    <a:pt x="2" y="31"/>
                  </a:lnTo>
                  <a:lnTo>
                    <a:pt x="5" y="31"/>
                  </a:lnTo>
                  <a:lnTo>
                    <a:pt x="5" y="28"/>
                  </a:lnTo>
                  <a:lnTo>
                    <a:pt x="7" y="28"/>
                  </a:lnTo>
                  <a:lnTo>
                    <a:pt x="10" y="31"/>
                  </a:lnTo>
                  <a:lnTo>
                    <a:pt x="10" y="31"/>
                  </a:lnTo>
                  <a:lnTo>
                    <a:pt x="10" y="31"/>
                  </a:lnTo>
                  <a:lnTo>
                    <a:pt x="10" y="33"/>
                  </a:lnTo>
                  <a:lnTo>
                    <a:pt x="7" y="33"/>
                  </a:lnTo>
                  <a:lnTo>
                    <a:pt x="7" y="36"/>
                  </a:lnTo>
                  <a:lnTo>
                    <a:pt x="7" y="38"/>
                  </a:lnTo>
                  <a:lnTo>
                    <a:pt x="5" y="38"/>
                  </a:lnTo>
                  <a:lnTo>
                    <a:pt x="5" y="41"/>
                  </a:lnTo>
                  <a:lnTo>
                    <a:pt x="5" y="41"/>
                  </a:lnTo>
                  <a:lnTo>
                    <a:pt x="5" y="41"/>
                  </a:lnTo>
                  <a:lnTo>
                    <a:pt x="7" y="43"/>
                  </a:lnTo>
                  <a:lnTo>
                    <a:pt x="7" y="43"/>
                  </a:lnTo>
                  <a:lnTo>
                    <a:pt x="10" y="43"/>
                  </a:lnTo>
                  <a:lnTo>
                    <a:pt x="13" y="46"/>
                  </a:lnTo>
                  <a:lnTo>
                    <a:pt x="13" y="49"/>
                  </a:lnTo>
                  <a:lnTo>
                    <a:pt x="15" y="49"/>
                  </a:lnTo>
                  <a:lnTo>
                    <a:pt x="15" y="49"/>
                  </a:lnTo>
                  <a:lnTo>
                    <a:pt x="15" y="49"/>
                  </a:lnTo>
                  <a:lnTo>
                    <a:pt x="13" y="49"/>
                  </a:lnTo>
                  <a:lnTo>
                    <a:pt x="10" y="49"/>
                  </a:lnTo>
                  <a:lnTo>
                    <a:pt x="10" y="49"/>
                  </a:lnTo>
                  <a:lnTo>
                    <a:pt x="10" y="49"/>
                  </a:lnTo>
                  <a:lnTo>
                    <a:pt x="7" y="51"/>
                  </a:lnTo>
                  <a:lnTo>
                    <a:pt x="7" y="51"/>
                  </a:lnTo>
                  <a:lnTo>
                    <a:pt x="10" y="54"/>
                  </a:lnTo>
                  <a:lnTo>
                    <a:pt x="13" y="56"/>
                  </a:lnTo>
                  <a:lnTo>
                    <a:pt x="13" y="56"/>
                  </a:lnTo>
                  <a:lnTo>
                    <a:pt x="13" y="59"/>
                  </a:lnTo>
                  <a:lnTo>
                    <a:pt x="13" y="59"/>
                  </a:lnTo>
                  <a:lnTo>
                    <a:pt x="13" y="59"/>
                  </a:lnTo>
                  <a:lnTo>
                    <a:pt x="10" y="59"/>
                  </a:lnTo>
                  <a:lnTo>
                    <a:pt x="10" y="59"/>
                  </a:lnTo>
                  <a:lnTo>
                    <a:pt x="10" y="59"/>
                  </a:lnTo>
                  <a:lnTo>
                    <a:pt x="7" y="59"/>
                  </a:lnTo>
                  <a:lnTo>
                    <a:pt x="7" y="59"/>
                  </a:lnTo>
                  <a:lnTo>
                    <a:pt x="7" y="61"/>
                  </a:lnTo>
                  <a:lnTo>
                    <a:pt x="7" y="61"/>
                  </a:lnTo>
                  <a:lnTo>
                    <a:pt x="10" y="61"/>
                  </a:lnTo>
                  <a:lnTo>
                    <a:pt x="13" y="64"/>
                  </a:lnTo>
                  <a:lnTo>
                    <a:pt x="15" y="66"/>
                  </a:lnTo>
                  <a:lnTo>
                    <a:pt x="15" y="66"/>
                  </a:lnTo>
                  <a:lnTo>
                    <a:pt x="18" y="66"/>
                  </a:lnTo>
                  <a:lnTo>
                    <a:pt x="18" y="69"/>
                  </a:lnTo>
                  <a:lnTo>
                    <a:pt x="20" y="69"/>
                  </a:lnTo>
                  <a:lnTo>
                    <a:pt x="23" y="69"/>
                  </a:lnTo>
                  <a:lnTo>
                    <a:pt x="25" y="71"/>
                  </a:lnTo>
                  <a:lnTo>
                    <a:pt x="28" y="71"/>
                  </a:lnTo>
                  <a:lnTo>
                    <a:pt x="30" y="74"/>
                  </a:lnTo>
                  <a:lnTo>
                    <a:pt x="30" y="74"/>
                  </a:lnTo>
                  <a:lnTo>
                    <a:pt x="30" y="74"/>
                  </a:lnTo>
                  <a:lnTo>
                    <a:pt x="33" y="74"/>
                  </a:lnTo>
                  <a:lnTo>
                    <a:pt x="33" y="74"/>
                  </a:lnTo>
                  <a:lnTo>
                    <a:pt x="30" y="74"/>
                  </a:lnTo>
                  <a:lnTo>
                    <a:pt x="33" y="71"/>
                  </a:lnTo>
                  <a:lnTo>
                    <a:pt x="36" y="71"/>
                  </a:lnTo>
                  <a:lnTo>
                    <a:pt x="36" y="69"/>
                  </a:lnTo>
                  <a:lnTo>
                    <a:pt x="36" y="69"/>
                  </a:lnTo>
                  <a:lnTo>
                    <a:pt x="36" y="69"/>
                  </a:lnTo>
                  <a:lnTo>
                    <a:pt x="33" y="66"/>
                  </a:lnTo>
                  <a:lnTo>
                    <a:pt x="33" y="66"/>
                  </a:lnTo>
                  <a:lnTo>
                    <a:pt x="36" y="66"/>
                  </a:lnTo>
                  <a:lnTo>
                    <a:pt x="36" y="66"/>
                  </a:lnTo>
                  <a:lnTo>
                    <a:pt x="38" y="66"/>
                  </a:lnTo>
                  <a:lnTo>
                    <a:pt x="38" y="66"/>
                  </a:lnTo>
                  <a:lnTo>
                    <a:pt x="38" y="66"/>
                  </a:lnTo>
                  <a:lnTo>
                    <a:pt x="38" y="66"/>
                  </a:lnTo>
                  <a:lnTo>
                    <a:pt x="38" y="69"/>
                  </a:lnTo>
                  <a:lnTo>
                    <a:pt x="41" y="69"/>
                  </a:lnTo>
                  <a:lnTo>
                    <a:pt x="43" y="69"/>
                  </a:lnTo>
                  <a:lnTo>
                    <a:pt x="43" y="71"/>
                  </a:lnTo>
                  <a:lnTo>
                    <a:pt x="46" y="71"/>
                  </a:lnTo>
                  <a:lnTo>
                    <a:pt x="46" y="74"/>
                  </a:lnTo>
                  <a:lnTo>
                    <a:pt x="48" y="74"/>
                  </a:lnTo>
                  <a:lnTo>
                    <a:pt x="48" y="74"/>
                  </a:lnTo>
                  <a:lnTo>
                    <a:pt x="48" y="77"/>
                  </a:lnTo>
                  <a:lnTo>
                    <a:pt x="53" y="79"/>
                  </a:lnTo>
                  <a:lnTo>
                    <a:pt x="56" y="79"/>
                  </a:lnTo>
                  <a:lnTo>
                    <a:pt x="56" y="79"/>
                  </a:lnTo>
                  <a:lnTo>
                    <a:pt x="56" y="79"/>
                  </a:lnTo>
                  <a:lnTo>
                    <a:pt x="56" y="79"/>
                  </a:lnTo>
                  <a:lnTo>
                    <a:pt x="53" y="84"/>
                  </a:lnTo>
                  <a:lnTo>
                    <a:pt x="53" y="84"/>
                  </a:lnTo>
                  <a:lnTo>
                    <a:pt x="51" y="84"/>
                  </a:lnTo>
                  <a:lnTo>
                    <a:pt x="51" y="87"/>
                  </a:lnTo>
                  <a:lnTo>
                    <a:pt x="51" y="87"/>
                  </a:lnTo>
                  <a:lnTo>
                    <a:pt x="53" y="87"/>
                  </a:lnTo>
                  <a:lnTo>
                    <a:pt x="53" y="87"/>
                  </a:lnTo>
                  <a:lnTo>
                    <a:pt x="56" y="87"/>
                  </a:lnTo>
                  <a:lnTo>
                    <a:pt x="56" y="87"/>
                  </a:lnTo>
                  <a:lnTo>
                    <a:pt x="58" y="87"/>
                  </a:lnTo>
                  <a:lnTo>
                    <a:pt x="58" y="87"/>
                  </a:lnTo>
                  <a:lnTo>
                    <a:pt x="61" y="87"/>
                  </a:lnTo>
                  <a:lnTo>
                    <a:pt x="61" y="87"/>
                  </a:lnTo>
                  <a:lnTo>
                    <a:pt x="64" y="87"/>
                  </a:lnTo>
                  <a:lnTo>
                    <a:pt x="64" y="84"/>
                  </a:lnTo>
                  <a:lnTo>
                    <a:pt x="66" y="87"/>
                  </a:lnTo>
                  <a:lnTo>
                    <a:pt x="66" y="87"/>
                  </a:lnTo>
                  <a:lnTo>
                    <a:pt x="66" y="87"/>
                  </a:lnTo>
                  <a:lnTo>
                    <a:pt x="69" y="87"/>
                  </a:lnTo>
                  <a:lnTo>
                    <a:pt x="69" y="84"/>
                  </a:lnTo>
                  <a:lnTo>
                    <a:pt x="69" y="84"/>
                  </a:lnTo>
                  <a:lnTo>
                    <a:pt x="69" y="82"/>
                  </a:lnTo>
                  <a:lnTo>
                    <a:pt x="69" y="82"/>
                  </a:lnTo>
                  <a:lnTo>
                    <a:pt x="69" y="82"/>
                  </a:lnTo>
                  <a:lnTo>
                    <a:pt x="69" y="79"/>
                  </a:lnTo>
                  <a:lnTo>
                    <a:pt x="69" y="77"/>
                  </a:lnTo>
                  <a:lnTo>
                    <a:pt x="69" y="77"/>
                  </a:lnTo>
                  <a:lnTo>
                    <a:pt x="69" y="77"/>
                  </a:lnTo>
                  <a:lnTo>
                    <a:pt x="69" y="74"/>
                  </a:lnTo>
                  <a:lnTo>
                    <a:pt x="69" y="74"/>
                  </a:lnTo>
                  <a:lnTo>
                    <a:pt x="69" y="74"/>
                  </a:lnTo>
                  <a:lnTo>
                    <a:pt x="74" y="74"/>
                  </a:lnTo>
                  <a:lnTo>
                    <a:pt x="74" y="71"/>
                  </a:lnTo>
                  <a:lnTo>
                    <a:pt x="76" y="71"/>
                  </a:lnTo>
                  <a:lnTo>
                    <a:pt x="76" y="69"/>
                  </a:lnTo>
                  <a:lnTo>
                    <a:pt x="76" y="69"/>
                  </a:lnTo>
                  <a:lnTo>
                    <a:pt x="76" y="69"/>
                  </a:lnTo>
                  <a:lnTo>
                    <a:pt x="76" y="66"/>
                  </a:lnTo>
                  <a:lnTo>
                    <a:pt x="74" y="66"/>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215" name="Freeform 1833">
              <a:extLst>
                <a:ext uri="{FF2B5EF4-FFF2-40B4-BE49-F238E27FC236}">
                  <a16:creationId xmlns:a16="http://schemas.microsoft.com/office/drawing/2014/main" id="{658558EA-3A46-354F-9450-9CBF053B1CC1}"/>
                </a:ext>
              </a:extLst>
            </p:cNvPr>
            <p:cNvSpPr>
              <a:spLocks/>
            </p:cNvSpPr>
            <p:nvPr/>
          </p:nvSpPr>
          <p:spPr bwMode="auto">
            <a:xfrm>
              <a:off x="5040999" y="3181186"/>
              <a:ext cx="196288" cy="161938"/>
            </a:xfrm>
            <a:custGeom>
              <a:avLst/>
              <a:gdLst>
                <a:gd name="T0" fmla="*/ 120 w 120"/>
                <a:gd name="T1" fmla="*/ 86 h 99"/>
                <a:gd name="T2" fmla="*/ 120 w 120"/>
                <a:gd name="T3" fmla="*/ 81 h 99"/>
                <a:gd name="T4" fmla="*/ 118 w 120"/>
                <a:gd name="T5" fmla="*/ 76 h 99"/>
                <a:gd name="T6" fmla="*/ 112 w 120"/>
                <a:gd name="T7" fmla="*/ 76 h 99"/>
                <a:gd name="T8" fmla="*/ 112 w 120"/>
                <a:gd name="T9" fmla="*/ 74 h 99"/>
                <a:gd name="T10" fmla="*/ 110 w 120"/>
                <a:gd name="T11" fmla="*/ 66 h 99"/>
                <a:gd name="T12" fmla="*/ 110 w 120"/>
                <a:gd name="T13" fmla="*/ 61 h 99"/>
                <a:gd name="T14" fmla="*/ 107 w 120"/>
                <a:gd name="T15" fmla="*/ 53 h 99"/>
                <a:gd name="T16" fmla="*/ 107 w 120"/>
                <a:gd name="T17" fmla="*/ 46 h 99"/>
                <a:gd name="T18" fmla="*/ 100 w 120"/>
                <a:gd name="T19" fmla="*/ 38 h 99"/>
                <a:gd name="T20" fmla="*/ 95 w 120"/>
                <a:gd name="T21" fmla="*/ 33 h 99"/>
                <a:gd name="T22" fmla="*/ 95 w 120"/>
                <a:gd name="T23" fmla="*/ 33 h 99"/>
                <a:gd name="T24" fmla="*/ 90 w 120"/>
                <a:gd name="T25" fmla="*/ 28 h 99"/>
                <a:gd name="T26" fmla="*/ 87 w 120"/>
                <a:gd name="T27" fmla="*/ 25 h 99"/>
                <a:gd name="T28" fmla="*/ 84 w 120"/>
                <a:gd name="T29" fmla="*/ 15 h 99"/>
                <a:gd name="T30" fmla="*/ 82 w 120"/>
                <a:gd name="T31" fmla="*/ 13 h 99"/>
                <a:gd name="T32" fmla="*/ 77 w 120"/>
                <a:gd name="T33" fmla="*/ 13 h 99"/>
                <a:gd name="T34" fmla="*/ 74 w 120"/>
                <a:gd name="T35" fmla="*/ 13 h 99"/>
                <a:gd name="T36" fmla="*/ 69 w 120"/>
                <a:gd name="T37" fmla="*/ 5 h 99"/>
                <a:gd name="T38" fmla="*/ 54 w 120"/>
                <a:gd name="T39" fmla="*/ 0 h 99"/>
                <a:gd name="T40" fmla="*/ 51 w 120"/>
                <a:gd name="T41" fmla="*/ 0 h 99"/>
                <a:gd name="T42" fmla="*/ 46 w 120"/>
                <a:gd name="T43" fmla="*/ 2 h 99"/>
                <a:gd name="T44" fmla="*/ 36 w 120"/>
                <a:gd name="T45" fmla="*/ 5 h 99"/>
                <a:gd name="T46" fmla="*/ 28 w 120"/>
                <a:gd name="T47" fmla="*/ 2 h 99"/>
                <a:gd name="T48" fmla="*/ 23 w 120"/>
                <a:gd name="T49" fmla="*/ 10 h 99"/>
                <a:gd name="T50" fmla="*/ 21 w 120"/>
                <a:gd name="T51" fmla="*/ 20 h 99"/>
                <a:gd name="T52" fmla="*/ 3 w 120"/>
                <a:gd name="T53" fmla="*/ 43 h 99"/>
                <a:gd name="T54" fmla="*/ 3 w 120"/>
                <a:gd name="T55" fmla="*/ 46 h 99"/>
                <a:gd name="T56" fmla="*/ 11 w 120"/>
                <a:gd name="T57" fmla="*/ 51 h 99"/>
                <a:gd name="T58" fmla="*/ 16 w 120"/>
                <a:gd name="T59" fmla="*/ 61 h 99"/>
                <a:gd name="T60" fmla="*/ 16 w 120"/>
                <a:gd name="T61" fmla="*/ 61 h 99"/>
                <a:gd name="T62" fmla="*/ 18 w 120"/>
                <a:gd name="T63" fmla="*/ 69 h 99"/>
                <a:gd name="T64" fmla="*/ 36 w 120"/>
                <a:gd name="T65" fmla="*/ 71 h 99"/>
                <a:gd name="T66" fmla="*/ 46 w 120"/>
                <a:gd name="T67" fmla="*/ 66 h 99"/>
                <a:gd name="T68" fmla="*/ 56 w 120"/>
                <a:gd name="T69" fmla="*/ 69 h 99"/>
                <a:gd name="T70" fmla="*/ 64 w 120"/>
                <a:gd name="T71" fmla="*/ 74 h 99"/>
                <a:gd name="T72" fmla="*/ 69 w 120"/>
                <a:gd name="T73" fmla="*/ 71 h 99"/>
                <a:gd name="T74" fmla="*/ 69 w 120"/>
                <a:gd name="T75" fmla="*/ 76 h 99"/>
                <a:gd name="T76" fmla="*/ 54 w 120"/>
                <a:gd name="T77" fmla="*/ 74 h 99"/>
                <a:gd name="T78" fmla="*/ 49 w 120"/>
                <a:gd name="T79" fmla="*/ 71 h 99"/>
                <a:gd name="T80" fmla="*/ 44 w 120"/>
                <a:gd name="T81" fmla="*/ 74 h 99"/>
                <a:gd name="T82" fmla="*/ 33 w 120"/>
                <a:gd name="T83" fmla="*/ 76 h 99"/>
                <a:gd name="T84" fmla="*/ 26 w 120"/>
                <a:gd name="T85" fmla="*/ 81 h 99"/>
                <a:gd name="T86" fmla="*/ 13 w 120"/>
                <a:gd name="T87" fmla="*/ 81 h 99"/>
                <a:gd name="T88" fmla="*/ 13 w 120"/>
                <a:gd name="T89" fmla="*/ 91 h 99"/>
                <a:gd name="T90" fmla="*/ 16 w 120"/>
                <a:gd name="T91" fmla="*/ 91 h 99"/>
                <a:gd name="T92" fmla="*/ 21 w 120"/>
                <a:gd name="T93" fmla="*/ 91 h 99"/>
                <a:gd name="T94" fmla="*/ 18 w 120"/>
                <a:gd name="T95" fmla="*/ 91 h 99"/>
                <a:gd name="T96" fmla="*/ 13 w 120"/>
                <a:gd name="T97" fmla="*/ 97 h 99"/>
                <a:gd name="T98" fmla="*/ 21 w 120"/>
                <a:gd name="T99" fmla="*/ 99 h 99"/>
                <a:gd name="T100" fmla="*/ 31 w 120"/>
                <a:gd name="T101" fmla="*/ 97 h 99"/>
                <a:gd name="T102" fmla="*/ 49 w 120"/>
                <a:gd name="T103" fmla="*/ 91 h 99"/>
                <a:gd name="T104" fmla="*/ 74 w 120"/>
                <a:gd name="T105" fmla="*/ 91 h 99"/>
                <a:gd name="T106" fmla="*/ 87 w 120"/>
                <a:gd name="T107" fmla="*/ 91 h 99"/>
                <a:gd name="T108" fmla="*/ 87 w 120"/>
                <a:gd name="T109" fmla="*/ 94 h 99"/>
                <a:gd name="T110" fmla="*/ 90 w 120"/>
                <a:gd name="T111" fmla="*/ 94 h 99"/>
                <a:gd name="T112" fmla="*/ 95 w 120"/>
                <a:gd name="T113" fmla="*/ 97 h 99"/>
                <a:gd name="T114" fmla="*/ 100 w 120"/>
                <a:gd name="T115" fmla="*/ 99 h 99"/>
                <a:gd name="T116" fmla="*/ 110 w 120"/>
                <a:gd name="T117" fmla="*/ 97 h 99"/>
                <a:gd name="T118" fmla="*/ 120 w 120"/>
                <a:gd name="T119" fmla="*/ 97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0" h="99">
                  <a:moveTo>
                    <a:pt x="120" y="94"/>
                  </a:moveTo>
                  <a:lnTo>
                    <a:pt x="120" y="91"/>
                  </a:lnTo>
                  <a:lnTo>
                    <a:pt x="120" y="89"/>
                  </a:lnTo>
                  <a:lnTo>
                    <a:pt x="120" y="86"/>
                  </a:lnTo>
                  <a:lnTo>
                    <a:pt x="120" y="84"/>
                  </a:lnTo>
                  <a:lnTo>
                    <a:pt x="120" y="84"/>
                  </a:lnTo>
                  <a:lnTo>
                    <a:pt x="120" y="84"/>
                  </a:lnTo>
                  <a:lnTo>
                    <a:pt x="120" y="81"/>
                  </a:lnTo>
                  <a:lnTo>
                    <a:pt x="118" y="79"/>
                  </a:lnTo>
                  <a:lnTo>
                    <a:pt x="118" y="79"/>
                  </a:lnTo>
                  <a:lnTo>
                    <a:pt x="118" y="76"/>
                  </a:lnTo>
                  <a:lnTo>
                    <a:pt x="118" y="76"/>
                  </a:lnTo>
                  <a:lnTo>
                    <a:pt x="115" y="76"/>
                  </a:lnTo>
                  <a:lnTo>
                    <a:pt x="115" y="74"/>
                  </a:lnTo>
                  <a:lnTo>
                    <a:pt x="112" y="76"/>
                  </a:lnTo>
                  <a:lnTo>
                    <a:pt x="112" y="76"/>
                  </a:lnTo>
                  <a:lnTo>
                    <a:pt x="112" y="76"/>
                  </a:lnTo>
                  <a:lnTo>
                    <a:pt x="112" y="76"/>
                  </a:lnTo>
                  <a:lnTo>
                    <a:pt x="112" y="74"/>
                  </a:lnTo>
                  <a:lnTo>
                    <a:pt x="112" y="74"/>
                  </a:lnTo>
                  <a:lnTo>
                    <a:pt x="110" y="71"/>
                  </a:lnTo>
                  <a:lnTo>
                    <a:pt x="107" y="69"/>
                  </a:lnTo>
                  <a:lnTo>
                    <a:pt x="107" y="66"/>
                  </a:lnTo>
                  <a:lnTo>
                    <a:pt x="110" y="66"/>
                  </a:lnTo>
                  <a:lnTo>
                    <a:pt x="110" y="66"/>
                  </a:lnTo>
                  <a:lnTo>
                    <a:pt x="110" y="63"/>
                  </a:lnTo>
                  <a:lnTo>
                    <a:pt x="110" y="63"/>
                  </a:lnTo>
                  <a:lnTo>
                    <a:pt x="110" y="61"/>
                  </a:lnTo>
                  <a:lnTo>
                    <a:pt x="110" y="58"/>
                  </a:lnTo>
                  <a:lnTo>
                    <a:pt x="110" y="56"/>
                  </a:lnTo>
                  <a:lnTo>
                    <a:pt x="107" y="56"/>
                  </a:lnTo>
                  <a:lnTo>
                    <a:pt x="107" y="53"/>
                  </a:lnTo>
                  <a:lnTo>
                    <a:pt x="107" y="53"/>
                  </a:lnTo>
                  <a:lnTo>
                    <a:pt x="105" y="51"/>
                  </a:lnTo>
                  <a:lnTo>
                    <a:pt x="105" y="48"/>
                  </a:lnTo>
                  <a:lnTo>
                    <a:pt x="107" y="46"/>
                  </a:lnTo>
                  <a:lnTo>
                    <a:pt x="105" y="43"/>
                  </a:lnTo>
                  <a:lnTo>
                    <a:pt x="105" y="43"/>
                  </a:lnTo>
                  <a:lnTo>
                    <a:pt x="102" y="41"/>
                  </a:lnTo>
                  <a:lnTo>
                    <a:pt x="100" y="38"/>
                  </a:lnTo>
                  <a:lnTo>
                    <a:pt x="100" y="38"/>
                  </a:lnTo>
                  <a:lnTo>
                    <a:pt x="97" y="35"/>
                  </a:lnTo>
                  <a:lnTo>
                    <a:pt x="95" y="35"/>
                  </a:lnTo>
                  <a:lnTo>
                    <a:pt x="95" y="33"/>
                  </a:lnTo>
                  <a:lnTo>
                    <a:pt x="95" y="33"/>
                  </a:lnTo>
                  <a:lnTo>
                    <a:pt x="92" y="33"/>
                  </a:lnTo>
                  <a:lnTo>
                    <a:pt x="92" y="33"/>
                  </a:lnTo>
                  <a:lnTo>
                    <a:pt x="95" y="33"/>
                  </a:lnTo>
                  <a:lnTo>
                    <a:pt x="92" y="30"/>
                  </a:lnTo>
                  <a:lnTo>
                    <a:pt x="92" y="28"/>
                  </a:lnTo>
                  <a:lnTo>
                    <a:pt x="90" y="28"/>
                  </a:lnTo>
                  <a:lnTo>
                    <a:pt x="90" y="28"/>
                  </a:lnTo>
                  <a:lnTo>
                    <a:pt x="90" y="28"/>
                  </a:lnTo>
                  <a:lnTo>
                    <a:pt x="90" y="25"/>
                  </a:lnTo>
                  <a:lnTo>
                    <a:pt x="90" y="25"/>
                  </a:lnTo>
                  <a:lnTo>
                    <a:pt x="87" y="25"/>
                  </a:lnTo>
                  <a:lnTo>
                    <a:pt x="87" y="25"/>
                  </a:lnTo>
                  <a:lnTo>
                    <a:pt x="84" y="23"/>
                  </a:lnTo>
                  <a:lnTo>
                    <a:pt x="84" y="18"/>
                  </a:lnTo>
                  <a:lnTo>
                    <a:pt x="84" y="15"/>
                  </a:lnTo>
                  <a:lnTo>
                    <a:pt x="82" y="15"/>
                  </a:lnTo>
                  <a:lnTo>
                    <a:pt x="82" y="13"/>
                  </a:lnTo>
                  <a:lnTo>
                    <a:pt x="82" y="13"/>
                  </a:lnTo>
                  <a:lnTo>
                    <a:pt x="82" y="13"/>
                  </a:lnTo>
                  <a:lnTo>
                    <a:pt x="82" y="13"/>
                  </a:lnTo>
                  <a:lnTo>
                    <a:pt x="79" y="13"/>
                  </a:lnTo>
                  <a:lnTo>
                    <a:pt x="79" y="13"/>
                  </a:lnTo>
                  <a:lnTo>
                    <a:pt x="77" y="13"/>
                  </a:lnTo>
                  <a:lnTo>
                    <a:pt x="77" y="13"/>
                  </a:lnTo>
                  <a:lnTo>
                    <a:pt x="77" y="13"/>
                  </a:lnTo>
                  <a:lnTo>
                    <a:pt x="74" y="13"/>
                  </a:lnTo>
                  <a:lnTo>
                    <a:pt x="74" y="13"/>
                  </a:lnTo>
                  <a:lnTo>
                    <a:pt x="72" y="10"/>
                  </a:lnTo>
                  <a:lnTo>
                    <a:pt x="72" y="10"/>
                  </a:lnTo>
                  <a:lnTo>
                    <a:pt x="72" y="7"/>
                  </a:lnTo>
                  <a:lnTo>
                    <a:pt x="69" y="5"/>
                  </a:lnTo>
                  <a:lnTo>
                    <a:pt x="67" y="2"/>
                  </a:lnTo>
                  <a:lnTo>
                    <a:pt x="61" y="0"/>
                  </a:lnTo>
                  <a:lnTo>
                    <a:pt x="56" y="0"/>
                  </a:lnTo>
                  <a:lnTo>
                    <a:pt x="54" y="0"/>
                  </a:lnTo>
                  <a:lnTo>
                    <a:pt x="51" y="0"/>
                  </a:lnTo>
                  <a:lnTo>
                    <a:pt x="51" y="0"/>
                  </a:lnTo>
                  <a:lnTo>
                    <a:pt x="51" y="0"/>
                  </a:lnTo>
                  <a:lnTo>
                    <a:pt x="51" y="0"/>
                  </a:lnTo>
                  <a:lnTo>
                    <a:pt x="49" y="0"/>
                  </a:lnTo>
                  <a:lnTo>
                    <a:pt x="49" y="0"/>
                  </a:lnTo>
                  <a:lnTo>
                    <a:pt x="49" y="2"/>
                  </a:lnTo>
                  <a:lnTo>
                    <a:pt x="46" y="2"/>
                  </a:lnTo>
                  <a:lnTo>
                    <a:pt x="44" y="2"/>
                  </a:lnTo>
                  <a:lnTo>
                    <a:pt x="41" y="2"/>
                  </a:lnTo>
                  <a:lnTo>
                    <a:pt x="39" y="5"/>
                  </a:lnTo>
                  <a:lnTo>
                    <a:pt x="36" y="5"/>
                  </a:lnTo>
                  <a:lnTo>
                    <a:pt x="33" y="5"/>
                  </a:lnTo>
                  <a:lnTo>
                    <a:pt x="31" y="5"/>
                  </a:lnTo>
                  <a:lnTo>
                    <a:pt x="28" y="2"/>
                  </a:lnTo>
                  <a:lnTo>
                    <a:pt x="28" y="2"/>
                  </a:lnTo>
                  <a:lnTo>
                    <a:pt x="26" y="2"/>
                  </a:lnTo>
                  <a:lnTo>
                    <a:pt x="26" y="5"/>
                  </a:lnTo>
                  <a:lnTo>
                    <a:pt x="23" y="7"/>
                  </a:lnTo>
                  <a:lnTo>
                    <a:pt x="23" y="10"/>
                  </a:lnTo>
                  <a:lnTo>
                    <a:pt x="23" y="10"/>
                  </a:lnTo>
                  <a:lnTo>
                    <a:pt x="21" y="13"/>
                  </a:lnTo>
                  <a:lnTo>
                    <a:pt x="21" y="18"/>
                  </a:lnTo>
                  <a:lnTo>
                    <a:pt x="21" y="20"/>
                  </a:lnTo>
                  <a:lnTo>
                    <a:pt x="21" y="23"/>
                  </a:lnTo>
                  <a:lnTo>
                    <a:pt x="13" y="30"/>
                  </a:lnTo>
                  <a:lnTo>
                    <a:pt x="8" y="41"/>
                  </a:lnTo>
                  <a:lnTo>
                    <a:pt x="3" y="43"/>
                  </a:lnTo>
                  <a:lnTo>
                    <a:pt x="0" y="43"/>
                  </a:lnTo>
                  <a:lnTo>
                    <a:pt x="0" y="46"/>
                  </a:lnTo>
                  <a:lnTo>
                    <a:pt x="3" y="46"/>
                  </a:lnTo>
                  <a:lnTo>
                    <a:pt x="3" y="46"/>
                  </a:lnTo>
                  <a:lnTo>
                    <a:pt x="5" y="46"/>
                  </a:lnTo>
                  <a:lnTo>
                    <a:pt x="8" y="46"/>
                  </a:lnTo>
                  <a:lnTo>
                    <a:pt x="8" y="51"/>
                  </a:lnTo>
                  <a:lnTo>
                    <a:pt x="11" y="51"/>
                  </a:lnTo>
                  <a:lnTo>
                    <a:pt x="13" y="56"/>
                  </a:lnTo>
                  <a:lnTo>
                    <a:pt x="13" y="58"/>
                  </a:lnTo>
                  <a:lnTo>
                    <a:pt x="13" y="61"/>
                  </a:lnTo>
                  <a:lnTo>
                    <a:pt x="16" y="61"/>
                  </a:lnTo>
                  <a:lnTo>
                    <a:pt x="16" y="61"/>
                  </a:lnTo>
                  <a:lnTo>
                    <a:pt x="18" y="61"/>
                  </a:lnTo>
                  <a:lnTo>
                    <a:pt x="18" y="61"/>
                  </a:lnTo>
                  <a:lnTo>
                    <a:pt x="16" y="61"/>
                  </a:lnTo>
                  <a:lnTo>
                    <a:pt x="16" y="63"/>
                  </a:lnTo>
                  <a:lnTo>
                    <a:pt x="16" y="63"/>
                  </a:lnTo>
                  <a:lnTo>
                    <a:pt x="16" y="66"/>
                  </a:lnTo>
                  <a:lnTo>
                    <a:pt x="18" y="69"/>
                  </a:lnTo>
                  <a:lnTo>
                    <a:pt x="18" y="71"/>
                  </a:lnTo>
                  <a:lnTo>
                    <a:pt x="23" y="71"/>
                  </a:lnTo>
                  <a:lnTo>
                    <a:pt x="28" y="71"/>
                  </a:lnTo>
                  <a:lnTo>
                    <a:pt x="36" y="71"/>
                  </a:lnTo>
                  <a:lnTo>
                    <a:pt x="39" y="71"/>
                  </a:lnTo>
                  <a:lnTo>
                    <a:pt x="41" y="66"/>
                  </a:lnTo>
                  <a:lnTo>
                    <a:pt x="44" y="66"/>
                  </a:lnTo>
                  <a:lnTo>
                    <a:pt x="46" y="66"/>
                  </a:lnTo>
                  <a:lnTo>
                    <a:pt x="49" y="66"/>
                  </a:lnTo>
                  <a:lnTo>
                    <a:pt x="51" y="66"/>
                  </a:lnTo>
                  <a:lnTo>
                    <a:pt x="54" y="69"/>
                  </a:lnTo>
                  <a:lnTo>
                    <a:pt x="56" y="69"/>
                  </a:lnTo>
                  <a:lnTo>
                    <a:pt x="59" y="69"/>
                  </a:lnTo>
                  <a:lnTo>
                    <a:pt x="59" y="71"/>
                  </a:lnTo>
                  <a:lnTo>
                    <a:pt x="61" y="71"/>
                  </a:lnTo>
                  <a:lnTo>
                    <a:pt x="64" y="74"/>
                  </a:lnTo>
                  <a:lnTo>
                    <a:pt x="64" y="74"/>
                  </a:lnTo>
                  <a:lnTo>
                    <a:pt x="67" y="71"/>
                  </a:lnTo>
                  <a:lnTo>
                    <a:pt x="67" y="71"/>
                  </a:lnTo>
                  <a:lnTo>
                    <a:pt x="69" y="71"/>
                  </a:lnTo>
                  <a:lnTo>
                    <a:pt x="72" y="74"/>
                  </a:lnTo>
                  <a:lnTo>
                    <a:pt x="72" y="74"/>
                  </a:lnTo>
                  <a:lnTo>
                    <a:pt x="72" y="76"/>
                  </a:lnTo>
                  <a:lnTo>
                    <a:pt x="69" y="76"/>
                  </a:lnTo>
                  <a:lnTo>
                    <a:pt x="64" y="79"/>
                  </a:lnTo>
                  <a:lnTo>
                    <a:pt x="61" y="79"/>
                  </a:lnTo>
                  <a:lnTo>
                    <a:pt x="56" y="76"/>
                  </a:lnTo>
                  <a:lnTo>
                    <a:pt x="54" y="74"/>
                  </a:lnTo>
                  <a:lnTo>
                    <a:pt x="51" y="74"/>
                  </a:lnTo>
                  <a:lnTo>
                    <a:pt x="51" y="74"/>
                  </a:lnTo>
                  <a:lnTo>
                    <a:pt x="49" y="71"/>
                  </a:lnTo>
                  <a:lnTo>
                    <a:pt x="49" y="71"/>
                  </a:lnTo>
                  <a:lnTo>
                    <a:pt x="46" y="71"/>
                  </a:lnTo>
                  <a:lnTo>
                    <a:pt x="46" y="71"/>
                  </a:lnTo>
                  <a:lnTo>
                    <a:pt x="46" y="74"/>
                  </a:lnTo>
                  <a:lnTo>
                    <a:pt x="44" y="74"/>
                  </a:lnTo>
                  <a:lnTo>
                    <a:pt x="44" y="74"/>
                  </a:lnTo>
                  <a:lnTo>
                    <a:pt x="39" y="76"/>
                  </a:lnTo>
                  <a:lnTo>
                    <a:pt x="36" y="76"/>
                  </a:lnTo>
                  <a:lnTo>
                    <a:pt x="33" y="76"/>
                  </a:lnTo>
                  <a:lnTo>
                    <a:pt x="33" y="76"/>
                  </a:lnTo>
                  <a:lnTo>
                    <a:pt x="33" y="81"/>
                  </a:lnTo>
                  <a:lnTo>
                    <a:pt x="28" y="81"/>
                  </a:lnTo>
                  <a:lnTo>
                    <a:pt x="26" y="81"/>
                  </a:lnTo>
                  <a:lnTo>
                    <a:pt x="21" y="81"/>
                  </a:lnTo>
                  <a:lnTo>
                    <a:pt x="16" y="81"/>
                  </a:lnTo>
                  <a:lnTo>
                    <a:pt x="16" y="81"/>
                  </a:lnTo>
                  <a:lnTo>
                    <a:pt x="13" y="81"/>
                  </a:lnTo>
                  <a:lnTo>
                    <a:pt x="13" y="84"/>
                  </a:lnTo>
                  <a:lnTo>
                    <a:pt x="13" y="86"/>
                  </a:lnTo>
                  <a:lnTo>
                    <a:pt x="13" y="91"/>
                  </a:lnTo>
                  <a:lnTo>
                    <a:pt x="13" y="91"/>
                  </a:lnTo>
                  <a:lnTo>
                    <a:pt x="13" y="91"/>
                  </a:lnTo>
                  <a:lnTo>
                    <a:pt x="13" y="94"/>
                  </a:lnTo>
                  <a:lnTo>
                    <a:pt x="16" y="94"/>
                  </a:lnTo>
                  <a:lnTo>
                    <a:pt x="16" y="91"/>
                  </a:lnTo>
                  <a:lnTo>
                    <a:pt x="16" y="91"/>
                  </a:lnTo>
                  <a:lnTo>
                    <a:pt x="18" y="91"/>
                  </a:lnTo>
                  <a:lnTo>
                    <a:pt x="18" y="91"/>
                  </a:lnTo>
                  <a:lnTo>
                    <a:pt x="21" y="91"/>
                  </a:lnTo>
                  <a:lnTo>
                    <a:pt x="21" y="91"/>
                  </a:lnTo>
                  <a:lnTo>
                    <a:pt x="21" y="94"/>
                  </a:lnTo>
                  <a:lnTo>
                    <a:pt x="18" y="94"/>
                  </a:lnTo>
                  <a:lnTo>
                    <a:pt x="18" y="91"/>
                  </a:lnTo>
                  <a:lnTo>
                    <a:pt x="16" y="94"/>
                  </a:lnTo>
                  <a:lnTo>
                    <a:pt x="13" y="94"/>
                  </a:lnTo>
                  <a:lnTo>
                    <a:pt x="13" y="97"/>
                  </a:lnTo>
                  <a:lnTo>
                    <a:pt x="13" y="97"/>
                  </a:lnTo>
                  <a:lnTo>
                    <a:pt x="16" y="99"/>
                  </a:lnTo>
                  <a:lnTo>
                    <a:pt x="16" y="99"/>
                  </a:lnTo>
                  <a:lnTo>
                    <a:pt x="18" y="99"/>
                  </a:lnTo>
                  <a:lnTo>
                    <a:pt x="21" y="99"/>
                  </a:lnTo>
                  <a:lnTo>
                    <a:pt x="21" y="97"/>
                  </a:lnTo>
                  <a:lnTo>
                    <a:pt x="23" y="97"/>
                  </a:lnTo>
                  <a:lnTo>
                    <a:pt x="26" y="97"/>
                  </a:lnTo>
                  <a:lnTo>
                    <a:pt x="31" y="97"/>
                  </a:lnTo>
                  <a:lnTo>
                    <a:pt x="39" y="97"/>
                  </a:lnTo>
                  <a:lnTo>
                    <a:pt x="41" y="94"/>
                  </a:lnTo>
                  <a:lnTo>
                    <a:pt x="46" y="91"/>
                  </a:lnTo>
                  <a:lnTo>
                    <a:pt x="49" y="91"/>
                  </a:lnTo>
                  <a:lnTo>
                    <a:pt x="54" y="91"/>
                  </a:lnTo>
                  <a:lnTo>
                    <a:pt x="61" y="91"/>
                  </a:lnTo>
                  <a:lnTo>
                    <a:pt x="67" y="91"/>
                  </a:lnTo>
                  <a:lnTo>
                    <a:pt x="74" y="91"/>
                  </a:lnTo>
                  <a:lnTo>
                    <a:pt x="82" y="91"/>
                  </a:lnTo>
                  <a:lnTo>
                    <a:pt x="82" y="91"/>
                  </a:lnTo>
                  <a:lnTo>
                    <a:pt x="84" y="91"/>
                  </a:lnTo>
                  <a:lnTo>
                    <a:pt x="87" y="91"/>
                  </a:lnTo>
                  <a:lnTo>
                    <a:pt x="87" y="91"/>
                  </a:lnTo>
                  <a:lnTo>
                    <a:pt x="87" y="91"/>
                  </a:lnTo>
                  <a:lnTo>
                    <a:pt x="87" y="94"/>
                  </a:lnTo>
                  <a:lnTo>
                    <a:pt x="87" y="94"/>
                  </a:lnTo>
                  <a:lnTo>
                    <a:pt x="87" y="97"/>
                  </a:lnTo>
                  <a:lnTo>
                    <a:pt x="90" y="97"/>
                  </a:lnTo>
                  <a:lnTo>
                    <a:pt x="90" y="97"/>
                  </a:lnTo>
                  <a:lnTo>
                    <a:pt x="90" y="94"/>
                  </a:lnTo>
                  <a:lnTo>
                    <a:pt x="90" y="94"/>
                  </a:lnTo>
                  <a:lnTo>
                    <a:pt x="92" y="94"/>
                  </a:lnTo>
                  <a:lnTo>
                    <a:pt x="92" y="97"/>
                  </a:lnTo>
                  <a:lnTo>
                    <a:pt x="95" y="97"/>
                  </a:lnTo>
                  <a:lnTo>
                    <a:pt x="97" y="97"/>
                  </a:lnTo>
                  <a:lnTo>
                    <a:pt x="97" y="99"/>
                  </a:lnTo>
                  <a:lnTo>
                    <a:pt x="100" y="99"/>
                  </a:lnTo>
                  <a:lnTo>
                    <a:pt x="100" y="99"/>
                  </a:lnTo>
                  <a:lnTo>
                    <a:pt x="102" y="99"/>
                  </a:lnTo>
                  <a:lnTo>
                    <a:pt x="105" y="99"/>
                  </a:lnTo>
                  <a:lnTo>
                    <a:pt x="107" y="97"/>
                  </a:lnTo>
                  <a:lnTo>
                    <a:pt x="110" y="97"/>
                  </a:lnTo>
                  <a:lnTo>
                    <a:pt x="112" y="97"/>
                  </a:lnTo>
                  <a:lnTo>
                    <a:pt x="118" y="97"/>
                  </a:lnTo>
                  <a:lnTo>
                    <a:pt x="120" y="97"/>
                  </a:lnTo>
                  <a:lnTo>
                    <a:pt x="120" y="97"/>
                  </a:lnTo>
                  <a:lnTo>
                    <a:pt x="120" y="97"/>
                  </a:lnTo>
                  <a:lnTo>
                    <a:pt x="120" y="94"/>
                  </a:lnTo>
                  <a:lnTo>
                    <a:pt x="120" y="94"/>
                  </a:lnTo>
                  <a:close/>
                </a:path>
              </a:pathLst>
            </a:custGeom>
            <a:solidFill>
              <a:srgbClr val="FFC000"/>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216" name="Freeform 1834">
              <a:extLst>
                <a:ext uri="{FF2B5EF4-FFF2-40B4-BE49-F238E27FC236}">
                  <a16:creationId xmlns:a16="http://schemas.microsoft.com/office/drawing/2014/main" id="{764235C6-F344-974E-9CE9-1BC513C09866}"/>
                </a:ext>
              </a:extLst>
            </p:cNvPr>
            <p:cNvSpPr>
              <a:spLocks noEditPoints="1"/>
            </p:cNvSpPr>
            <p:nvPr/>
          </p:nvSpPr>
          <p:spPr bwMode="auto">
            <a:xfrm>
              <a:off x="5821245" y="3738972"/>
              <a:ext cx="32715" cy="62158"/>
            </a:xfrm>
            <a:custGeom>
              <a:avLst/>
              <a:gdLst>
                <a:gd name="T0" fmla="*/ 5 w 20"/>
                <a:gd name="T1" fmla="*/ 28 h 38"/>
                <a:gd name="T2" fmla="*/ 2 w 20"/>
                <a:gd name="T3" fmla="*/ 28 h 38"/>
                <a:gd name="T4" fmla="*/ 0 w 20"/>
                <a:gd name="T5" fmla="*/ 30 h 38"/>
                <a:gd name="T6" fmla="*/ 0 w 20"/>
                <a:gd name="T7" fmla="*/ 33 h 38"/>
                <a:gd name="T8" fmla="*/ 0 w 20"/>
                <a:gd name="T9" fmla="*/ 33 h 38"/>
                <a:gd name="T10" fmla="*/ 0 w 20"/>
                <a:gd name="T11" fmla="*/ 35 h 38"/>
                <a:gd name="T12" fmla="*/ 0 w 20"/>
                <a:gd name="T13" fmla="*/ 35 h 38"/>
                <a:gd name="T14" fmla="*/ 2 w 20"/>
                <a:gd name="T15" fmla="*/ 38 h 38"/>
                <a:gd name="T16" fmla="*/ 2 w 20"/>
                <a:gd name="T17" fmla="*/ 35 h 38"/>
                <a:gd name="T18" fmla="*/ 5 w 20"/>
                <a:gd name="T19" fmla="*/ 33 h 38"/>
                <a:gd name="T20" fmla="*/ 5 w 20"/>
                <a:gd name="T21" fmla="*/ 30 h 38"/>
                <a:gd name="T22" fmla="*/ 5 w 20"/>
                <a:gd name="T23" fmla="*/ 28 h 38"/>
                <a:gd name="T24" fmla="*/ 20 w 20"/>
                <a:gd name="T25" fmla="*/ 0 h 38"/>
                <a:gd name="T26" fmla="*/ 20 w 20"/>
                <a:gd name="T27" fmla="*/ 0 h 38"/>
                <a:gd name="T28" fmla="*/ 18 w 20"/>
                <a:gd name="T29" fmla="*/ 0 h 38"/>
                <a:gd name="T30" fmla="*/ 18 w 20"/>
                <a:gd name="T31" fmla="*/ 0 h 38"/>
                <a:gd name="T32" fmla="*/ 18 w 20"/>
                <a:gd name="T33" fmla="*/ 2 h 38"/>
                <a:gd name="T34" fmla="*/ 18 w 20"/>
                <a:gd name="T35" fmla="*/ 2 h 38"/>
                <a:gd name="T36" fmla="*/ 18 w 20"/>
                <a:gd name="T37" fmla="*/ 2 h 38"/>
                <a:gd name="T38" fmla="*/ 20 w 20"/>
                <a:gd name="T39" fmla="*/ 2 h 38"/>
                <a:gd name="T40" fmla="*/ 20 w 20"/>
                <a:gd name="T41" fmla="*/ 0 h 38"/>
                <a:gd name="T42" fmla="*/ 20 w 20"/>
                <a:gd name="T43" fmla="*/ 0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 h="38">
                  <a:moveTo>
                    <a:pt x="5" y="28"/>
                  </a:moveTo>
                  <a:lnTo>
                    <a:pt x="2" y="28"/>
                  </a:lnTo>
                  <a:lnTo>
                    <a:pt x="0" y="30"/>
                  </a:lnTo>
                  <a:lnTo>
                    <a:pt x="0" y="33"/>
                  </a:lnTo>
                  <a:lnTo>
                    <a:pt x="0" y="33"/>
                  </a:lnTo>
                  <a:lnTo>
                    <a:pt x="0" y="35"/>
                  </a:lnTo>
                  <a:lnTo>
                    <a:pt x="0" y="35"/>
                  </a:lnTo>
                  <a:lnTo>
                    <a:pt x="2" y="38"/>
                  </a:lnTo>
                  <a:lnTo>
                    <a:pt x="2" y="35"/>
                  </a:lnTo>
                  <a:lnTo>
                    <a:pt x="5" y="33"/>
                  </a:lnTo>
                  <a:lnTo>
                    <a:pt x="5" y="30"/>
                  </a:lnTo>
                  <a:lnTo>
                    <a:pt x="5" y="28"/>
                  </a:lnTo>
                  <a:close/>
                  <a:moveTo>
                    <a:pt x="20" y="0"/>
                  </a:moveTo>
                  <a:lnTo>
                    <a:pt x="20" y="0"/>
                  </a:lnTo>
                  <a:lnTo>
                    <a:pt x="18" y="0"/>
                  </a:lnTo>
                  <a:lnTo>
                    <a:pt x="18" y="0"/>
                  </a:lnTo>
                  <a:lnTo>
                    <a:pt x="18" y="2"/>
                  </a:lnTo>
                  <a:lnTo>
                    <a:pt x="18" y="2"/>
                  </a:lnTo>
                  <a:lnTo>
                    <a:pt x="18" y="2"/>
                  </a:lnTo>
                  <a:lnTo>
                    <a:pt x="20" y="2"/>
                  </a:lnTo>
                  <a:lnTo>
                    <a:pt x="20" y="0"/>
                  </a:lnTo>
                  <a:lnTo>
                    <a:pt x="20"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217" name="Freeform 1835">
              <a:extLst>
                <a:ext uri="{FF2B5EF4-FFF2-40B4-BE49-F238E27FC236}">
                  <a16:creationId xmlns:a16="http://schemas.microsoft.com/office/drawing/2014/main" id="{B0103073-CFEC-0342-8B7D-013FFF0263CB}"/>
                </a:ext>
              </a:extLst>
            </p:cNvPr>
            <p:cNvSpPr>
              <a:spLocks/>
            </p:cNvSpPr>
            <p:nvPr/>
          </p:nvSpPr>
          <p:spPr bwMode="auto">
            <a:xfrm>
              <a:off x="6012627" y="2170301"/>
              <a:ext cx="0" cy="3271"/>
            </a:xfrm>
            <a:custGeom>
              <a:avLst/>
              <a:gdLst>
                <a:gd name="T0" fmla="*/ 0 h 2"/>
                <a:gd name="T1" fmla="*/ 0 h 2"/>
                <a:gd name="T2" fmla="*/ 2 h 2"/>
                <a:gd name="T3" fmla="*/ 2 h 2"/>
                <a:gd name="T4" fmla="*/ 2 h 2"/>
                <a:gd name="T5" fmla="*/ 2 h 2"/>
                <a:gd name="T6" fmla="*/ 0 h 2"/>
              </a:gdLst>
              <a:ahLst/>
              <a:cxnLst>
                <a:cxn ang="0">
                  <a:pos x="0" y="T0"/>
                </a:cxn>
                <a:cxn ang="0">
                  <a:pos x="0" y="T1"/>
                </a:cxn>
                <a:cxn ang="0">
                  <a:pos x="0" y="T2"/>
                </a:cxn>
                <a:cxn ang="0">
                  <a:pos x="0" y="T3"/>
                </a:cxn>
                <a:cxn ang="0">
                  <a:pos x="0" y="T4"/>
                </a:cxn>
                <a:cxn ang="0">
                  <a:pos x="0" y="T5"/>
                </a:cxn>
                <a:cxn ang="0">
                  <a:pos x="0" y="T6"/>
                </a:cxn>
              </a:cxnLst>
              <a:rect l="0" t="0" r="r" b="b"/>
              <a:pathLst>
                <a:path h="2">
                  <a:moveTo>
                    <a:pt x="0" y="0"/>
                  </a:moveTo>
                  <a:lnTo>
                    <a:pt x="0" y="0"/>
                  </a:lnTo>
                  <a:lnTo>
                    <a:pt x="0" y="2"/>
                  </a:lnTo>
                  <a:lnTo>
                    <a:pt x="0" y="2"/>
                  </a:lnTo>
                  <a:lnTo>
                    <a:pt x="0" y="2"/>
                  </a:lnTo>
                  <a:lnTo>
                    <a:pt x="0" y="2"/>
                  </a:lnTo>
                  <a:lnTo>
                    <a:pt x="0"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218" name="Freeform 1836">
              <a:extLst>
                <a:ext uri="{FF2B5EF4-FFF2-40B4-BE49-F238E27FC236}">
                  <a16:creationId xmlns:a16="http://schemas.microsoft.com/office/drawing/2014/main" id="{98F319BC-714C-684E-84B8-C20B02E6507B}"/>
                </a:ext>
              </a:extLst>
            </p:cNvPr>
            <p:cNvSpPr>
              <a:spLocks/>
            </p:cNvSpPr>
            <p:nvPr/>
          </p:nvSpPr>
          <p:spPr bwMode="auto">
            <a:xfrm>
              <a:off x="6558963" y="3842024"/>
              <a:ext cx="62158" cy="63794"/>
            </a:xfrm>
            <a:custGeom>
              <a:avLst/>
              <a:gdLst>
                <a:gd name="T0" fmla="*/ 38 w 38"/>
                <a:gd name="T1" fmla="*/ 21 h 39"/>
                <a:gd name="T2" fmla="*/ 38 w 38"/>
                <a:gd name="T3" fmla="*/ 13 h 39"/>
                <a:gd name="T4" fmla="*/ 38 w 38"/>
                <a:gd name="T5" fmla="*/ 8 h 39"/>
                <a:gd name="T6" fmla="*/ 36 w 38"/>
                <a:gd name="T7" fmla="*/ 6 h 39"/>
                <a:gd name="T8" fmla="*/ 31 w 38"/>
                <a:gd name="T9" fmla="*/ 0 h 39"/>
                <a:gd name="T10" fmla="*/ 33 w 38"/>
                <a:gd name="T11" fmla="*/ 0 h 39"/>
                <a:gd name="T12" fmla="*/ 31 w 38"/>
                <a:gd name="T13" fmla="*/ 0 h 39"/>
                <a:gd name="T14" fmla="*/ 28 w 38"/>
                <a:gd name="T15" fmla="*/ 0 h 39"/>
                <a:gd name="T16" fmla="*/ 25 w 38"/>
                <a:gd name="T17" fmla="*/ 3 h 39"/>
                <a:gd name="T18" fmla="*/ 23 w 38"/>
                <a:gd name="T19" fmla="*/ 6 h 39"/>
                <a:gd name="T20" fmla="*/ 20 w 38"/>
                <a:gd name="T21" fmla="*/ 8 h 39"/>
                <a:gd name="T22" fmla="*/ 20 w 38"/>
                <a:gd name="T23" fmla="*/ 8 h 39"/>
                <a:gd name="T24" fmla="*/ 18 w 38"/>
                <a:gd name="T25" fmla="*/ 6 h 39"/>
                <a:gd name="T26" fmla="*/ 13 w 38"/>
                <a:gd name="T27" fmla="*/ 6 h 39"/>
                <a:gd name="T28" fmla="*/ 10 w 38"/>
                <a:gd name="T29" fmla="*/ 8 h 39"/>
                <a:gd name="T30" fmla="*/ 8 w 38"/>
                <a:gd name="T31" fmla="*/ 11 h 39"/>
                <a:gd name="T32" fmla="*/ 5 w 38"/>
                <a:gd name="T33" fmla="*/ 13 h 39"/>
                <a:gd name="T34" fmla="*/ 5 w 38"/>
                <a:gd name="T35" fmla="*/ 18 h 39"/>
                <a:gd name="T36" fmla="*/ 5 w 38"/>
                <a:gd name="T37" fmla="*/ 23 h 39"/>
                <a:gd name="T38" fmla="*/ 5 w 38"/>
                <a:gd name="T39" fmla="*/ 26 h 39"/>
                <a:gd name="T40" fmla="*/ 0 w 38"/>
                <a:gd name="T41" fmla="*/ 28 h 39"/>
                <a:gd name="T42" fmla="*/ 0 w 38"/>
                <a:gd name="T43" fmla="*/ 31 h 39"/>
                <a:gd name="T44" fmla="*/ 0 w 38"/>
                <a:gd name="T45" fmla="*/ 36 h 39"/>
                <a:gd name="T46" fmla="*/ 3 w 38"/>
                <a:gd name="T47" fmla="*/ 36 h 39"/>
                <a:gd name="T48" fmla="*/ 3 w 38"/>
                <a:gd name="T49" fmla="*/ 34 h 39"/>
                <a:gd name="T50" fmla="*/ 5 w 38"/>
                <a:gd name="T51" fmla="*/ 34 h 39"/>
                <a:gd name="T52" fmla="*/ 8 w 38"/>
                <a:gd name="T53" fmla="*/ 39 h 39"/>
                <a:gd name="T54" fmla="*/ 10 w 38"/>
                <a:gd name="T55" fmla="*/ 39 h 39"/>
                <a:gd name="T56" fmla="*/ 15 w 38"/>
                <a:gd name="T57" fmla="*/ 39 h 39"/>
                <a:gd name="T58" fmla="*/ 20 w 38"/>
                <a:gd name="T59" fmla="*/ 36 h 39"/>
                <a:gd name="T60" fmla="*/ 20 w 38"/>
                <a:gd name="T61" fmla="*/ 34 h 39"/>
                <a:gd name="T62" fmla="*/ 20 w 38"/>
                <a:gd name="T63" fmla="*/ 28 h 39"/>
                <a:gd name="T64" fmla="*/ 23 w 38"/>
                <a:gd name="T65" fmla="*/ 31 h 39"/>
                <a:gd name="T66" fmla="*/ 25 w 38"/>
                <a:gd name="T67" fmla="*/ 28 h 39"/>
                <a:gd name="T68" fmla="*/ 28 w 38"/>
                <a:gd name="T69" fmla="*/ 28 h 39"/>
                <a:gd name="T70" fmla="*/ 31 w 38"/>
                <a:gd name="T71" fmla="*/ 28 h 39"/>
                <a:gd name="T72" fmla="*/ 33 w 38"/>
                <a:gd name="T73" fmla="*/ 28 h 39"/>
                <a:gd name="T74" fmla="*/ 36 w 38"/>
                <a:gd name="T75" fmla="*/ 28 h 39"/>
                <a:gd name="T76" fmla="*/ 38 w 38"/>
                <a:gd name="T77" fmla="*/ 28 h 39"/>
                <a:gd name="T78" fmla="*/ 38 w 38"/>
                <a:gd name="T79" fmla="*/ 28 h 39"/>
                <a:gd name="T80" fmla="*/ 38 w 38"/>
                <a:gd name="T81" fmla="*/ 2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8" h="39">
                  <a:moveTo>
                    <a:pt x="38" y="21"/>
                  </a:moveTo>
                  <a:lnTo>
                    <a:pt x="38" y="21"/>
                  </a:lnTo>
                  <a:lnTo>
                    <a:pt x="38" y="18"/>
                  </a:lnTo>
                  <a:lnTo>
                    <a:pt x="38" y="13"/>
                  </a:lnTo>
                  <a:lnTo>
                    <a:pt x="38" y="11"/>
                  </a:lnTo>
                  <a:lnTo>
                    <a:pt x="38" y="8"/>
                  </a:lnTo>
                  <a:lnTo>
                    <a:pt x="36" y="6"/>
                  </a:lnTo>
                  <a:lnTo>
                    <a:pt x="36" y="6"/>
                  </a:lnTo>
                  <a:lnTo>
                    <a:pt x="33" y="3"/>
                  </a:lnTo>
                  <a:lnTo>
                    <a:pt x="31" y="0"/>
                  </a:lnTo>
                  <a:lnTo>
                    <a:pt x="31" y="0"/>
                  </a:lnTo>
                  <a:lnTo>
                    <a:pt x="33" y="0"/>
                  </a:lnTo>
                  <a:lnTo>
                    <a:pt x="31" y="0"/>
                  </a:lnTo>
                  <a:lnTo>
                    <a:pt x="31" y="0"/>
                  </a:lnTo>
                  <a:lnTo>
                    <a:pt x="28" y="0"/>
                  </a:lnTo>
                  <a:lnTo>
                    <a:pt x="28" y="0"/>
                  </a:lnTo>
                  <a:lnTo>
                    <a:pt x="28" y="3"/>
                  </a:lnTo>
                  <a:lnTo>
                    <a:pt x="25" y="3"/>
                  </a:lnTo>
                  <a:lnTo>
                    <a:pt x="25" y="6"/>
                  </a:lnTo>
                  <a:lnTo>
                    <a:pt x="23" y="6"/>
                  </a:lnTo>
                  <a:lnTo>
                    <a:pt x="23" y="8"/>
                  </a:lnTo>
                  <a:lnTo>
                    <a:pt x="20" y="8"/>
                  </a:lnTo>
                  <a:lnTo>
                    <a:pt x="20" y="8"/>
                  </a:lnTo>
                  <a:lnTo>
                    <a:pt x="20" y="8"/>
                  </a:lnTo>
                  <a:lnTo>
                    <a:pt x="18" y="6"/>
                  </a:lnTo>
                  <a:lnTo>
                    <a:pt x="18" y="6"/>
                  </a:lnTo>
                  <a:lnTo>
                    <a:pt x="15" y="6"/>
                  </a:lnTo>
                  <a:lnTo>
                    <a:pt x="13" y="6"/>
                  </a:lnTo>
                  <a:lnTo>
                    <a:pt x="13" y="8"/>
                  </a:lnTo>
                  <a:lnTo>
                    <a:pt x="10" y="8"/>
                  </a:lnTo>
                  <a:lnTo>
                    <a:pt x="10" y="8"/>
                  </a:lnTo>
                  <a:lnTo>
                    <a:pt x="8" y="11"/>
                  </a:lnTo>
                  <a:lnTo>
                    <a:pt x="8" y="13"/>
                  </a:lnTo>
                  <a:lnTo>
                    <a:pt x="5" y="13"/>
                  </a:lnTo>
                  <a:lnTo>
                    <a:pt x="5" y="16"/>
                  </a:lnTo>
                  <a:lnTo>
                    <a:pt x="5" y="18"/>
                  </a:lnTo>
                  <a:lnTo>
                    <a:pt x="5" y="21"/>
                  </a:lnTo>
                  <a:lnTo>
                    <a:pt x="5" y="23"/>
                  </a:lnTo>
                  <a:lnTo>
                    <a:pt x="5" y="26"/>
                  </a:lnTo>
                  <a:lnTo>
                    <a:pt x="5" y="26"/>
                  </a:lnTo>
                  <a:lnTo>
                    <a:pt x="3" y="28"/>
                  </a:lnTo>
                  <a:lnTo>
                    <a:pt x="0" y="28"/>
                  </a:lnTo>
                  <a:lnTo>
                    <a:pt x="0" y="28"/>
                  </a:lnTo>
                  <a:lnTo>
                    <a:pt x="0" y="31"/>
                  </a:lnTo>
                  <a:lnTo>
                    <a:pt x="0" y="34"/>
                  </a:lnTo>
                  <a:lnTo>
                    <a:pt x="0" y="36"/>
                  </a:lnTo>
                  <a:lnTo>
                    <a:pt x="0" y="36"/>
                  </a:lnTo>
                  <a:lnTo>
                    <a:pt x="3" y="36"/>
                  </a:lnTo>
                  <a:lnTo>
                    <a:pt x="3" y="36"/>
                  </a:lnTo>
                  <a:lnTo>
                    <a:pt x="3" y="34"/>
                  </a:lnTo>
                  <a:lnTo>
                    <a:pt x="3" y="34"/>
                  </a:lnTo>
                  <a:lnTo>
                    <a:pt x="5" y="34"/>
                  </a:lnTo>
                  <a:lnTo>
                    <a:pt x="8" y="36"/>
                  </a:lnTo>
                  <a:lnTo>
                    <a:pt x="8" y="39"/>
                  </a:lnTo>
                  <a:lnTo>
                    <a:pt x="10" y="39"/>
                  </a:lnTo>
                  <a:lnTo>
                    <a:pt x="10" y="39"/>
                  </a:lnTo>
                  <a:lnTo>
                    <a:pt x="15" y="39"/>
                  </a:lnTo>
                  <a:lnTo>
                    <a:pt x="15" y="39"/>
                  </a:lnTo>
                  <a:lnTo>
                    <a:pt x="18" y="39"/>
                  </a:lnTo>
                  <a:lnTo>
                    <a:pt x="20" y="36"/>
                  </a:lnTo>
                  <a:lnTo>
                    <a:pt x="20" y="36"/>
                  </a:lnTo>
                  <a:lnTo>
                    <a:pt x="20" y="34"/>
                  </a:lnTo>
                  <a:lnTo>
                    <a:pt x="20" y="28"/>
                  </a:lnTo>
                  <a:lnTo>
                    <a:pt x="20" y="28"/>
                  </a:lnTo>
                  <a:lnTo>
                    <a:pt x="23" y="31"/>
                  </a:lnTo>
                  <a:lnTo>
                    <a:pt x="23" y="31"/>
                  </a:lnTo>
                  <a:lnTo>
                    <a:pt x="25" y="31"/>
                  </a:lnTo>
                  <a:lnTo>
                    <a:pt x="25" y="28"/>
                  </a:lnTo>
                  <a:lnTo>
                    <a:pt x="25" y="28"/>
                  </a:lnTo>
                  <a:lnTo>
                    <a:pt x="28" y="28"/>
                  </a:lnTo>
                  <a:lnTo>
                    <a:pt x="31" y="28"/>
                  </a:lnTo>
                  <a:lnTo>
                    <a:pt x="31" y="28"/>
                  </a:lnTo>
                  <a:lnTo>
                    <a:pt x="33" y="28"/>
                  </a:lnTo>
                  <a:lnTo>
                    <a:pt x="33" y="28"/>
                  </a:lnTo>
                  <a:lnTo>
                    <a:pt x="33" y="28"/>
                  </a:lnTo>
                  <a:lnTo>
                    <a:pt x="36" y="28"/>
                  </a:lnTo>
                  <a:lnTo>
                    <a:pt x="36" y="28"/>
                  </a:lnTo>
                  <a:lnTo>
                    <a:pt x="38" y="28"/>
                  </a:lnTo>
                  <a:lnTo>
                    <a:pt x="38" y="28"/>
                  </a:lnTo>
                  <a:lnTo>
                    <a:pt x="38" y="28"/>
                  </a:lnTo>
                  <a:lnTo>
                    <a:pt x="38" y="26"/>
                  </a:lnTo>
                  <a:lnTo>
                    <a:pt x="38" y="23"/>
                  </a:lnTo>
                  <a:lnTo>
                    <a:pt x="38" y="21"/>
                  </a:lnTo>
                  <a:close/>
                </a:path>
              </a:pathLst>
            </a:custGeom>
            <a:solidFill>
              <a:srgbClr val="FFC000"/>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219" name="Freeform 1837">
              <a:extLst>
                <a:ext uri="{FF2B5EF4-FFF2-40B4-BE49-F238E27FC236}">
                  <a16:creationId xmlns:a16="http://schemas.microsoft.com/office/drawing/2014/main" id="{509DD342-62B8-784F-8FA8-078D59408238}"/>
                </a:ext>
              </a:extLst>
            </p:cNvPr>
            <p:cNvSpPr>
              <a:spLocks/>
            </p:cNvSpPr>
            <p:nvPr/>
          </p:nvSpPr>
          <p:spPr bwMode="auto">
            <a:xfrm>
              <a:off x="6241630" y="2011634"/>
              <a:ext cx="279711" cy="170117"/>
            </a:xfrm>
            <a:custGeom>
              <a:avLst/>
              <a:gdLst>
                <a:gd name="T0" fmla="*/ 158 w 171"/>
                <a:gd name="T1" fmla="*/ 66 h 104"/>
                <a:gd name="T2" fmla="*/ 153 w 171"/>
                <a:gd name="T3" fmla="*/ 69 h 104"/>
                <a:gd name="T4" fmla="*/ 146 w 171"/>
                <a:gd name="T5" fmla="*/ 66 h 104"/>
                <a:gd name="T6" fmla="*/ 140 w 171"/>
                <a:gd name="T7" fmla="*/ 61 h 104"/>
                <a:gd name="T8" fmla="*/ 140 w 171"/>
                <a:gd name="T9" fmla="*/ 56 h 104"/>
                <a:gd name="T10" fmla="*/ 143 w 171"/>
                <a:gd name="T11" fmla="*/ 41 h 104"/>
                <a:gd name="T12" fmla="*/ 138 w 171"/>
                <a:gd name="T13" fmla="*/ 30 h 104"/>
                <a:gd name="T14" fmla="*/ 130 w 171"/>
                <a:gd name="T15" fmla="*/ 23 h 104"/>
                <a:gd name="T16" fmla="*/ 123 w 171"/>
                <a:gd name="T17" fmla="*/ 15 h 104"/>
                <a:gd name="T18" fmla="*/ 118 w 171"/>
                <a:gd name="T19" fmla="*/ 5 h 104"/>
                <a:gd name="T20" fmla="*/ 112 w 171"/>
                <a:gd name="T21" fmla="*/ 0 h 104"/>
                <a:gd name="T22" fmla="*/ 105 w 171"/>
                <a:gd name="T23" fmla="*/ 5 h 104"/>
                <a:gd name="T24" fmla="*/ 90 w 171"/>
                <a:gd name="T25" fmla="*/ 10 h 104"/>
                <a:gd name="T26" fmla="*/ 79 w 171"/>
                <a:gd name="T27" fmla="*/ 13 h 104"/>
                <a:gd name="T28" fmla="*/ 69 w 171"/>
                <a:gd name="T29" fmla="*/ 10 h 104"/>
                <a:gd name="T30" fmla="*/ 59 w 171"/>
                <a:gd name="T31" fmla="*/ 7 h 104"/>
                <a:gd name="T32" fmla="*/ 49 w 171"/>
                <a:gd name="T33" fmla="*/ 5 h 104"/>
                <a:gd name="T34" fmla="*/ 44 w 171"/>
                <a:gd name="T35" fmla="*/ 7 h 104"/>
                <a:gd name="T36" fmla="*/ 39 w 171"/>
                <a:gd name="T37" fmla="*/ 13 h 104"/>
                <a:gd name="T38" fmla="*/ 33 w 171"/>
                <a:gd name="T39" fmla="*/ 15 h 104"/>
                <a:gd name="T40" fmla="*/ 28 w 171"/>
                <a:gd name="T41" fmla="*/ 20 h 104"/>
                <a:gd name="T42" fmla="*/ 23 w 171"/>
                <a:gd name="T43" fmla="*/ 28 h 104"/>
                <a:gd name="T44" fmla="*/ 21 w 171"/>
                <a:gd name="T45" fmla="*/ 35 h 104"/>
                <a:gd name="T46" fmla="*/ 18 w 171"/>
                <a:gd name="T47" fmla="*/ 38 h 104"/>
                <a:gd name="T48" fmla="*/ 16 w 171"/>
                <a:gd name="T49" fmla="*/ 43 h 104"/>
                <a:gd name="T50" fmla="*/ 8 w 171"/>
                <a:gd name="T51" fmla="*/ 46 h 104"/>
                <a:gd name="T52" fmla="*/ 5 w 171"/>
                <a:gd name="T53" fmla="*/ 48 h 104"/>
                <a:gd name="T54" fmla="*/ 0 w 171"/>
                <a:gd name="T55" fmla="*/ 51 h 104"/>
                <a:gd name="T56" fmla="*/ 8 w 171"/>
                <a:gd name="T57" fmla="*/ 58 h 104"/>
                <a:gd name="T58" fmla="*/ 11 w 171"/>
                <a:gd name="T59" fmla="*/ 58 h 104"/>
                <a:gd name="T60" fmla="*/ 11 w 171"/>
                <a:gd name="T61" fmla="*/ 63 h 104"/>
                <a:gd name="T62" fmla="*/ 13 w 171"/>
                <a:gd name="T63" fmla="*/ 66 h 104"/>
                <a:gd name="T64" fmla="*/ 21 w 171"/>
                <a:gd name="T65" fmla="*/ 69 h 104"/>
                <a:gd name="T66" fmla="*/ 21 w 171"/>
                <a:gd name="T67" fmla="*/ 71 h 104"/>
                <a:gd name="T68" fmla="*/ 21 w 171"/>
                <a:gd name="T69" fmla="*/ 76 h 104"/>
                <a:gd name="T70" fmla="*/ 23 w 171"/>
                <a:gd name="T71" fmla="*/ 76 h 104"/>
                <a:gd name="T72" fmla="*/ 21 w 171"/>
                <a:gd name="T73" fmla="*/ 79 h 104"/>
                <a:gd name="T74" fmla="*/ 31 w 171"/>
                <a:gd name="T75" fmla="*/ 84 h 104"/>
                <a:gd name="T76" fmla="*/ 41 w 171"/>
                <a:gd name="T77" fmla="*/ 81 h 104"/>
                <a:gd name="T78" fmla="*/ 44 w 171"/>
                <a:gd name="T79" fmla="*/ 84 h 104"/>
                <a:gd name="T80" fmla="*/ 44 w 171"/>
                <a:gd name="T81" fmla="*/ 89 h 104"/>
                <a:gd name="T82" fmla="*/ 46 w 171"/>
                <a:gd name="T83" fmla="*/ 94 h 104"/>
                <a:gd name="T84" fmla="*/ 49 w 171"/>
                <a:gd name="T85" fmla="*/ 97 h 104"/>
                <a:gd name="T86" fmla="*/ 56 w 171"/>
                <a:gd name="T87" fmla="*/ 99 h 104"/>
                <a:gd name="T88" fmla="*/ 84 w 171"/>
                <a:gd name="T89" fmla="*/ 104 h 104"/>
                <a:gd name="T90" fmla="*/ 105 w 171"/>
                <a:gd name="T91" fmla="*/ 99 h 104"/>
                <a:gd name="T92" fmla="*/ 125 w 171"/>
                <a:gd name="T93" fmla="*/ 94 h 104"/>
                <a:gd name="T94" fmla="*/ 138 w 171"/>
                <a:gd name="T95" fmla="*/ 99 h 104"/>
                <a:gd name="T96" fmla="*/ 148 w 171"/>
                <a:gd name="T97" fmla="*/ 102 h 104"/>
                <a:gd name="T98" fmla="*/ 153 w 171"/>
                <a:gd name="T99" fmla="*/ 91 h 104"/>
                <a:gd name="T100" fmla="*/ 156 w 171"/>
                <a:gd name="T101" fmla="*/ 84 h 104"/>
                <a:gd name="T102" fmla="*/ 156 w 171"/>
                <a:gd name="T103" fmla="*/ 76 h 104"/>
                <a:gd name="T104" fmla="*/ 161 w 171"/>
                <a:gd name="T105" fmla="*/ 79 h 104"/>
                <a:gd name="T106" fmla="*/ 169 w 171"/>
                <a:gd name="T107" fmla="*/ 76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1" h="104">
                  <a:moveTo>
                    <a:pt x="169" y="66"/>
                  </a:moveTo>
                  <a:lnTo>
                    <a:pt x="169" y="66"/>
                  </a:lnTo>
                  <a:lnTo>
                    <a:pt x="166" y="63"/>
                  </a:lnTo>
                  <a:lnTo>
                    <a:pt x="161" y="63"/>
                  </a:lnTo>
                  <a:lnTo>
                    <a:pt x="158" y="66"/>
                  </a:lnTo>
                  <a:lnTo>
                    <a:pt x="156" y="66"/>
                  </a:lnTo>
                  <a:lnTo>
                    <a:pt x="156" y="66"/>
                  </a:lnTo>
                  <a:lnTo>
                    <a:pt x="153" y="66"/>
                  </a:lnTo>
                  <a:lnTo>
                    <a:pt x="153" y="66"/>
                  </a:lnTo>
                  <a:lnTo>
                    <a:pt x="153" y="69"/>
                  </a:lnTo>
                  <a:lnTo>
                    <a:pt x="153" y="69"/>
                  </a:lnTo>
                  <a:lnTo>
                    <a:pt x="153" y="69"/>
                  </a:lnTo>
                  <a:lnTo>
                    <a:pt x="153" y="69"/>
                  </a:lnTo>
                  <a:lnTo>
                    <a:pt x="148" y="66"/>
                  </a:lnTo>
                  <a:lnTo>
                    <a:pt x="146" y="66"/>
                  </a:lnTo>
                  <a:lnTo>
                    <a:pt x="143" y="63"/>
                  </a:lnTo>
                  <a:lnTo>
                    <a:pt x="143" y="61"/>
                  </a:lnTo>
                  <a:lnTo>
                    <a:pt x="140" y="61"/>
                  </a:lnTo>
                  <a:lnTo>
                    <a:pt x="140" y="61"/>
                  </a:lnTo>
                  <a:lnTo>
                    <a:pt x="140" y="61"/>
                  </a:lnTo>
                  <a:lnTo>
                    <a:pt x="140" y="58"/>
                  </a:lnTo>
                  <a:lnTo>
                    <a:pt x="143" y="58"/>
                  </a:lnTo>
                  <a:lnTo>
                    <a:pt x="140" y="58"/>
                  </a:lnTo>
                  <a:lnTo>
                    <a:pt x="140" y="56"/>
                  </a:lnTo>
                  <a:lnTo>
                    <a:pt x="140" y="56"/>
                  </a:lnTo>
                  <a:lnTo>
                    <a:pt x="140" y="53"/>
                  </a:lnTo>
                  <a:lnTo>
                    <a:pt x="140" y="51"/>
                  </a:lnTo>
                  <a:lnTo>
                    <a:pt x="140" y="48"/>
                  </a:lnTo>
                  <a:lnTo>
                    <a:pt x="140" y="43"/>
                  </a:lnTo>
                  <a:lnTo>
                    <a:pt x="143" y="41"/>
                  </a:lnTo>
                  <a:lnTo>
                    <a:pt x="140" y="41"/>
                  </a:lnTo>
                  <a:lnTo>
                    <a:pt x="140" y="38"/>
                  </a:lnTo>
                  <a:lnTo>
                    <a:pt x="140" y="35"/>
                  </a:lnTo>
                  <a:lnTo>
                    <a:pt x="140" y="33"/>
                  </a:lnTo>
                  <a:lnTo>
                    <a:pt x="138" y="30"/>
                  </a:lnTo>
                  <a:lnTo>
                    <a:pt x="135" y="28"/>
                  </a:lnTo>
                  <a:lnTo>
                    <a:pt x="133" y="25"/>
                  </a:lnTo>
                  <a:lnTo>
                    <a:pt x="133" y="25"/>
                  </a:lnTo>
                  <a:lnTo>
                    <a:pt x="133" y="25"/>
                  </a:lnTo>
                  <a:lnTo>
                    <a:pt x="130" y="23"/>
                  </a:lnTo>
                  <a:lnTo>
                    <a:pt x="130" y="23"/>
                  </a:lnTo>
                  <a:lnTo>
                    <a:pt x="128" y="18"/>
                  </a:lnTo>
                  <a:lnTo>
                    <a:pt x="125" y="18"/>
                  </a:lnTo>
                  <a:lnTo>
                    <a:pt x="125" y="18"/>
                  </a:lnTo>
                  <a:lnTo>
                    <a:pt x="123" y="15"/>
                  </a:lnTo>
                  <a:lnTo>
                    <a:pt x="123" y="13"/>
                  </a:lnTo>
                  <a:lnTo>
                    <a:pt x="123" y="13"/>
                  </a:lnTo>
                  <a:lnTo>
                    <a:pt x="120" y="10"/>
                  </a:lnTo>
                  <a:lnTo>
                    <a:pt x="120" y="7"/>
                  </a:lnTo>
                  <a:lnTo>
                    <a:pt x="118" y="5"/>
                  </a:lnTo>
                  <a:lnTo>
                    <a:pt x="118" y="5"/>
                  </a:lnTo>
                  <a:lnTo>
                    <a:pt x="118" y="2"/>
                  </a:lnTo>
                  <a:lnTo>
                    <a:pt x="115" y="2"/>
                  </a:lnTo>
                  <a:lnTo>
                    <a:pt x="112" y="2"/>
                  </a:lnTo>
                  <a:lnTo>
                    <a:pt x="112" y="0"/>
                  </a:lnTo>
                  <a:lnTo>
                    <a:pt x="110" y="0"/>
                  </a:lnTo>
                  <a:lnTo>
                    <a:pt x="110" y="2"/>
                  </a:lnTo>
                  <a:lnTo>
                    <a:pt x="107" y="2"/>
                  </a:lnTo>
                  <a:lnTo>
                    <a:pt x="105" y="2"/>
                  </a:lnTo>
                  <a:lnTo>
                    <a:pt x="105" y="5"/>
                  </a:lnTo>
                  <a:lnTo>
                    <a:pt x="102" y="5"/>
                  </a:lnTo>
                  <a:lnTo>
                    <a:pt x="102" y="7"/>
                  </a:lnTo>
                  <a:lnTo>
                    <a:pt x="97" y="7"/>
                  </a:lnTo>
                  <a:lnTo>
                    <a:pt x="95" y="7"/>
                  </a:lnTo>
                  <a:lnTo>
                    <a:pt x="90" y="10"/>
                  </a:lnTo>
                  <a:lnTo>
                    <a:pt x="84" y="10"/>
                  </a:lnTo>
                  <a:lnTo>
                    <a:pt x="84" y="13"/>
                  </a:lnTo>
                  <a:lnTo>
                    <a:pt x="82" y="13"/>
                  </a:lnTo>
                  <a:lnTo>
                    <a:pt x="79" y="13"/>
                  </a:lnTo>
                  <a:lnTo>
                    <a:pt x="79" y="13"/>
                  </a:lnTo>
                  <a:lnTo>
                    <a:pt x="77" y="10"/>
                  </a:lnTo>
                  <a:lnTo>
                    <a:pt x="74" y="7"/>
                  </a:lnTo>
                  <a:lnTo>
                    <a:pt x="72" y="7"/>
                  </a:lnTo>
                  <a:lnTo>
                    <a:pt x="72" y="7"/>
                  </a:lnTo>
                  <a:lnTo>
                    <a:pt x="69" y="10"/>
                  </a:lnTo>
                  <a:lnTo>
                    <a:pt x="67" y="10"/>
                  </a:lnTo>
                  <a:lnTo>
                    <a:pt x="64" y="7"/>
                  </a:lnTo>
                  <a:lnTo>
                    <a:pt x="64" y="7"/>
                  </a:lnTo>
                  <a:lnTo>
                    <a:pt x="64" y="7"/>
                  </a:lnTo>
                  <a:lnTo>
                    <a:pt x="59" y="7"/>
                  </a:lnTo>
                  <a:lnTo>
                    <a:pt x="59" y="7"/>
                  </a:lnTo>
                  <a:lnTo>
                    <a:pt x="59" y="7"/>
                  </a:lnTo>
                  <a:lnTo>
                    <a:pt x="56" y="7"/>
                  </a:lnTo>
                  <a:lnTo>
                    <a:pt x="54" y="7"/>
                  </a:lnTo>
                  <a:lnTo>
                    <a:pt x="49" y="5"/>
                  </a:lnTo>
                  <a:lnTo>
                    <a:pt x="49" y="5"/>
                  </a:lnTo>
                  <a:lnTo>
                    <a:pt x="49" y="5"/>
                  </a:lnTo>
                  <a:lnTo>
                    <a:pt x="46" y="7"/>
                  </a:lnTo>
                  <a:lnTo>
                    <a:pt x="44" y="7"/>
                  </a:lnTo>
                  <a:lnTo>
                    <a:pt x="44" y="7"/>
                  </a:lnTo>
                  <a:lnTo>
                    <a:pt x="44" y="7"/>
                  </a:lnTo>
                  <a:lnTo>
                    <a:pt x="41" y="13"/>
                  </a:lnTo>
                  <a:lnTo>
                    <a:pt x="39" y="13"/>
                  </a:lnTo>
                  <a:lnTo>
                    <a:pt x="39" y="13"/>
                  </a:lnTo>
                  <a:lnTo>
                    <a:pt x="39" y="13"/>
                  </a:lnTo>
                  <a:lnTo>
                    <a:pt x="36" y="13"/>
                  </a:lnTo>
                  <a:lnTo>
                    <a:pt x="36" y="13"/>
                  </a:lnTo>
                  <a:lnTo>
                    <a:pt x="33" y="13"/>
                  </a:lnTo>
                  <a:lnTo>
                    <a:pt x="33" y="13"/>
                  </a:lnTo>
                  <a:lnTo>
                    <a:pt x="33" y="15"/>
                  </a:lnTo>
                  <a:lnTo>
                    <a:pt x="31" y="15"/>
                  </a:lnTo>
                  <a:lnTo>
                    <a:pt x="31" y="18"/>
                  </a:lnTo>
                  <a:lnTo>
                    <a:pt x="28" y="18"/>
                  </a:lnTo>
                  <a:lnTo>
                    <a:pt x="28" y="20"/>
                  </a:lnTo>
                  <a:lnTo>
                    <a:pt x="28" y="20"/>
                  </a:lnTo>
                  <a:lnTo>
                    <a:pt x="28" y="23"/>
                  </a:lnTo>
                  <a:lnTo>
                    <a:pt x="26" y="23"/>
                  </a:lnTo>
                  <a:lnTo>
                    <a:pt x="26" y="25"/>
                  </a:lnTo>
                  <a:lnTo>
                    <a:pt x="26" y="28"/>
                  </a:lnTo>
                  <a:lnTo>
                    <a:pt x="23" y="28"/>
                  </a:lnTo>
                  <a:lnTo>
                    <a:pt x="23" y="28"/>
                  </a:lnTo>
                  <a:lnTo>
                    <a:pt x="23" y="30"/>
                  </a:lnTo>
                  <a:lnTo>
                    <a:pt x="23" y="33"/>
                  </a:lnTo>
                  <a:lnTo>
                    <a:pt x="21" y="33"/>
                  </a:lnTo>
                  <a:lnTo>
                    <a:pt x="21" y="35"/>
                  </a:lnTo>
                  <a:lnTo>
                    <a:pt x="21" y="35"/>
                  </a:lnTo>
                  <a:lnTo>
                    <a:pt x="21" y="38"/>
                  </a:lnTo>
                  <a:lnTo>
                    <a:pt x="18" y="38"/>
                  </a:lnTo>
                  <a:lnTo>
                    <a:pt x="18" y="38"/>
                  </a:lnTo>
                  <a:lnTo>
                    <a:pt x="18" y="38"/>
                  </a:lnTo>
                  <a:lnTo>
                    <a:pt x="18" y="41"/>
                  </a:lnTo>
                  <a:lnTo>
                    <a:pt x="18" y="41"/>
                  </a:lnTo>
                  <a:lnTo>
                    <a:pt x="18" y="43"/>
                  </a:lnTo>
                  <a:lnTo>
                    <a:pt x="16" y="43"/>
                  </a:lnTo>
                  <a:lnTo>
                    <a:pt x="16" y="43"/>
                  </a:lnTo>
                  <a:lnTo>
                    <a:pt x="16" y="46"/>
                  </a:lnTo>
                  <a:lnTo>
                    <a:pt x="16" y="46"/>
                  </a:lnTo>
                  <a:lnTo>
                    <a:pt x="13" y="46"/>
                  </a:lnTo>
                  <a:lnTo>
                    <a:pt x="11" y="46"/>
                  </a:lnTo>
                  <a:lnTo>
                    <a:pt x="8" y="46"/>
                  </a:lnTo>
                  <a:lnTo>
                    <a:pt x="8" y="46"/>
                  </a:lnTo>
                  <a:lnTo>
                    <a:pt x="8" y="48"/>
                  </a:lnTo>
                  <a:lnTo>
                    <a:pt x="8" y="48"/>
                  </a:lnTo>
                  <a:lnTo>
                    <a:pt x="8" y="48"/>
                  </a:lnTo>
                  <a:lnTo>
                    <a:pt x="5" y="48"/>
                  </a:lnTo>
                  <a:lnTo>
                    <a:pt x="3" y="48"/>
                  </a:lnTo>
                  <a:lnTo>
                    <a:pt x="0" y="48"/>
                  </a:lnTo>
                  <a:lnTo>
                    <a:pt x="0" y="48"/>
                  </a:lnTo>
                  <a:lnTo>
                    <a:pt x="0" y="51"/>
                  </a:lnTo>
                  <a:lnTo>
                    <a:pt x="0" y="51"/>
                  </a:lnTo>
                  <a:lnTo>
                    <a:pt x="3" y="53"/>
                  </a:lnTo>
                  <a:lnTo>
                    <a:pt x="5" y="53"/>
                  </a:lnTo>
                  <a:lnTo>
                    <a:pt x="5" y="53"/>
                  </a:lnTo>
                  <a:lnTo>
                    <a:pt x="8" y="56"/>
                  </a:lnTo>
                  <a:lnTo>
                    <a:pt x="8" y="58"/>
                  </a:lnTo>
                  <a:lnTo>
                    <a:pt x="8" y="58"/>
                  </a:lnTo>
                  <a:lnTo>
                    <a:pt x="8" y="56"/>
                  </a:lnTo>
                  <a:lnTo>
                    <a:pt x="8" y="56"/>
                  </a:lnTo>
                  <a:lnTo>
                    <a:pt x="11" y="56"/>
                  </a:lnTo>
                  <a:lnTo>
                    <a:pt x="11" y="58"/>
                  </a:lnTo>
                  <a:lnTo>
                    <a:pt x="11" y="58"/>
                  </a:lnTo>
                  <a:lnTo>
                    <a:pt x="11" y="61"/>
                  </a:lnTo>
                  <a:lnTo>
                    <a:pt x="11" y="61"/>
                  </a:lnTo>
                  <a:lnTo>
                    <a:pt x="11" y="61"/>
                  </a:lnTo>
                  <a:lnTo>
                    <a:pt x="11" y="63"/>
                  </a:lnTo>
                  <a:lnTo>
                    <a:pt x="11" y="63"/>
                  </a:lnTo>
                  <a:lnTo>
                    <a:pt x="11" y="63"/>
                  </a:lnTo>
                  <a:lnTo>
                    <a:pt x="11" y="63"/>
                  </a:lnTo>
                  <a:lnTo>
                    <a:pt x="13" y="66"/>
                  </a:lnTo>
                  <a:lnTo>
                    <a:pt x="13" y="66"/>
                  </a:lnTo>
                  <a:lnTo>
                    <a:pt x="16" y="66"/>
                  </a:lnTo>
                  <a:lnTo>
                    <a:pt x="16" y="66"/>
                  </a:lnTo>
                  <a:lnTo>
                    <a:pt x="18" y="69"/>
                  </a:lnTo>
                  <a:lnTo>
                    <a:pt x="21" y="69"/>
                  </a:lnTo>
                  <a:lnTo>
                    <a:pt x="21" y="69"/>
                  </a:lnTo>
                  <a:lnTo>
                    <a:pt x="23" y="69"/>
                  </a:lnTo>
                  <a:lnTo>
                    <a:pt x="23" y="71"/>
                  </a:lnTo>
                  <a:lnTo>
                    <a:pt x="23" y="71"/>
                  </a:lnTo>
                  <a:lnTo>
                    <a:pt x="23" y="71"/>
                  </a:lnTo>
                  <a:lnTo>
                    <a:pt x="21" y="71"/>
                  </a:lnTo>
                  <a:lnTo>
                    <a:pt x="21" y="74"/>
                  </a:lnTo>
                  <a:lnTo>
                    <a:pt x="21" y="74"/>
                  </a:lnTo>
                  <a:lnTo>
                    <a:pt x="21" y="74"/>
                  </a:lnTo>
                  <a:lnTo>
                    <a:pt x="21" y="74"/>
                  </a:lnTo>
                  <a:lnTo>
                    <a:pt x="21" y="76"/>
                  </a:lnTo>
                  <a:lnTo>
                    <a:pt x="21" y="76"/>
                  </a:lnTo>
                  <a:lnTo>
                    <a:pt x="21" y="76"/>
                  </a:lnTo>
                  <a:lnTo>
                    <a:pt x="23" y="76"/>
                  </a:lnTo>
                  <a:lnTo>
                    <a:pt x="23" y="76"/>
                  </a:lnTo>
                  <a:lnTo>
                    <a:pt x="23" y="76"/>
                  </a:lnTo>
                  <a:lnTo>
                    <a:pt x="23" y="79"/>
                  </a:lnTo>
                  <a:lnTo>
                    <a:pt x="23" y="79"/>
                  </a:lnTo>
                  <a:lnTo>
                    <a:pt x="21" y="79"/>
                  </a:lnTo>
                  <a:lnTo>
                    <a:pt x="21" y="79"/>
                  </a:lnTo>
                  <a:lnTo>
                    <a:pt x="21" y="79"/>
                  </a:lnTo>
                  <a:lnTo>
                    <a:pt x="23" y="79"/>
                  </a:lnTo>
                  <a:lnTo>
                    <a:pt x="26" y="81"/>
                  </a:lnTo>
                  <a:lnTo>
                    <a:pt x="26" y="81"/>
                  </a:lnTo>
                  <a:lnTo>
                    <a:pt x="28" y="81"/>
                  </a:lnTo>
                  <a:lnTo>
                    <a:pt x="31" y="84"/>
                  </a:lnTo>
                  <a:lnTo>
                    <a:pt x="33" y="84"/>
                  </a:lnTo>
                  <a:lnTo>
                    <a:pt x="33" y="86"/>
                  </a:lnTo>
                  <a:lnTo>
                    <a:pt x="36" y="84"/>
                  </a:lnTo>
                  <a:lnTo>
                    <a:pt x="39" y="81"/>
                  </a:lnTo>
                  <a:lnTo>
                    <a:pt x="41" y="81"/>
                  </a:lnTo>
                  <a:lnTo>
                    <a:pt x="44" y="84"/>
                  </a:lnTo>
                  <a:lnTo>
                    <a:pt x="46" y="84"/>
                  </a:lnTo>
                  <a:lnTo>
                    <a:pt x="46" y="84"/>
                  </a:lnTo>
                  <a:lnTo>
                    <a:pt x="46" y="84"/>
                  </a:lnTo>
                  <a:lnTo>
                    <a:pt x="44" y="84"/>
                  </a:lnTo>
                  <a:lnTo>
                    <a:pt x="44" y="86"/>
                  </a:lnTo>
                  <a:lnTo>
                    <a:pt x="41" y="86"/>
                  </a:lnTo>
                  <a:lnTo>
                    <a:pt x="41" y="89"/>
                  </a:lnTo>
                  <a:lnTo>
                    <a:pt x="44" y="89"/>
                  </a:lnTo>
                  <a:lnTo>
                    <a:pt x="44" y="89"/>
                  </a:lnTo>
                  <a:lnTo>
                    <a:pt x="44" y="91"/>
                  </a:lnTo>
                  <a:lnTo>
                    <a:pt x="46" y="91"/>
                  </a:lnTo>
                  <a:lnTo>
                    <a:pt x="46" y="91"/>
                  </a:lnTo>
                  <a:lnTo>
                    <a:pt x="46" y="91"/>
                  </a:lnTo>
                  <a:lnTo>
                    <a:pt x="46" y="94"/>
                  </a:lnTo>
                  <a:lnTo>
                    <a:pt x="51" y="94"/>
                  </a:lnTo>
                  <a:lnTo>
                    <a:pt x="51" y="97"/>
                  </a:lnTo>
                  <a:lnTo>
                    <a:pt x="51" y="97"/>
                  </a:lnTo>
                  <a:lnTo>
                    <a:pt x="51" y="97"/>
                  </a:lnTo>
                  <a:lnTo>
                    <a:pt x="49" y="97"/>
                  </a:lnTo>
                  <a:lnTo>
                    <a:pt x="49" y="99"/>
                  </a:lnTo>
                  <a:lnTo>
                    <a:pt x="49" y="99"/>
                  </a:lnTo>
                  <a:lnTo>
                    <a:pt x="49" y="99"/>
                  </a:lnTo>
                  <a:lnTo>
                    <a:pt x="51" y="102"/>
                  </a:lnTo>
                  <a:lnTo>
                    <a:pt x="56" y="99"/>
                  </a:lnTo>
                  <a:lnTo>
                    <a:pt x="61" y="102"/>
                  </a:lnTo>
                  <a:lnTo>
                    <a:pt x="69" y="102"/>
                  </a:lnTo>
                  <a:lnTo>
                    <a:pt x="74" y="102"/>
                  </a:lnTo>
                  <a:lnTo>
                    <a:pt x="77" y="102"/>
                  </a:lnTo>
                  <a:lnTo>
                    <a:pt x="84" y="104"/>
                  </a:lnTo>
                  <a:lnTo>
                    <a:pt x="92" y="104"/>
                  </a:lnTo>
                  <a:lnTo>
                    <a:pt x="97" y="104"/>
                  </a:lnTo>
                  <a:lnTo>
                    <a:pt x="100" y="104"/>
                  </a:lnTo>
                  <a:lnTo>
                    <a:pt x="102" y="102"/>
                  </a:lnTo>
                  <a:lnTo>
                    <a:pt x="105" y="99"/>
                  </a:lnTo>
                  <a:lnTo>
                    <a:pt x="110" y="97"/>
                  </a:lnTo>
                  <a:lnTo>
                    <a:pt x="115" y="97"/>
                  </a:lnTo>
                  <a:lnTo>
                    <a:pt x="120" y="94"/>
                  </a:lnTo>
                  <a:lnTo>
                    <a:pt x="125" y="94"/>
                  </a:lnTo>
                  <a:lnTo>
                    <a:pt x="125" y="94"/>
                  </a:lnTo>
                  <a:lnTo>
                    <a:pt x="133" y="97"/>
                  </a:lnTo>
                  <a:lnTo>
                    <a:pt x="133" y="97"/>
                  </a:lnTo>
                  <a:lnTo>
                    <a:pt x="135" y="97"/>
                  </a:lnTo>
                  <a:lnTo>
                    <a:pt x="138" y="99"/>
                  </a:lnTo>
                  <a:lnTo>
                    <a:pt x="138" y="99"/>
                  </a:lnTo>
                  <a:lnTo>
                    <a:pt x="140" y="97"/>
                  </a:lnTo>
                  <a:lnTo>
                    <a:pt x="140" y="99"/>
                  </a:lnTo>
                  <a:lnTo>
                    <a:pt x="143" y="102"/>
                  </a:lnTo>
                  <a:lnTo>
                    <a:pt x="146" y="102"/>
                  </a:lnTo>
                  <a:lnTo>
                    <a:pt x="148" y="102"/>
                  </a:lnTo>
                  <a:lnTo>
                    <a:pt x="151" y="104"/>
                  </a:lnTo>
                  <a:lnTo>
                    <a:pt x="153" y="102"/>
                  </a:lnTo>
                  <a:lnTo>
                    <a:pt x="153" y="102"/>
                  </a:lnTo>
                  <a:lnTo>
                    <a:pt x="153" y="97"/>
                  </a:lnTo>
                  <a:lnTo>
                    <a:pt x="153" y="91"/>
                  </a:lnTo>
                  <a:lnTo>
                    <a:pt x="153" y="89"/>
                  </a:lnTo>
                  <a:lnTo>
                    <a:pt x="156" y="86"/>
                  </a:lnTo>
                  <a:lnTo>
                    <a:pt x="158" y="84"/>
                  </a:lnTo>
                  <a:lnTo>
                    <a:pt x="156" y="84"/>
                  </a:lnTo>
                  <a:lnTo>
                    <a:pt x="156" y="84"/>
                  </a:lnTo>
                  <a:lnTo>
                    <a:pt x="156" y="84"/>
                  </a:lnTo>
                  <a:lnTo>
                    <a:pt x="156" y="81"/>
                  </a:lnTo>
                  <a:lnTo>
                    <a:pt x="156" y="81"/>
                  </a:lnTo>
                  <a:lnTo>
                    <a:pt x="158" y="79"/>
                  </a:lnTo>
                  <a:lnTo>
                    <a:pt x="156" y="76"/>
                  </a:lnTo>
                  <a:lnTo>
                    <a:pt x="158" y="76"/>
                  </a:lnTo>
                  <a:lnTo>
                    <a:pt x="158" y="76"/>
                  </a:lnTo>
                  <a:lnTo>
                    <a:pt x="161" y="76"/>
                  </a:lnTo>
                  <a:lnTo>
                    <a:pt x="158" y="76"/>
                  </a:lnTo>
                  <a:lnTo>
                    <a:pt x="161" y="79"/>
                  </a:lnTo>
                  <a:lnTo>
                    <a:pt x="161" y="79"/>
                  </a:lnTo>
                  <a:lnTo>
                    <a:pt x="161" y="81"/>
                  </a:lnTo>
                  <a:lnTo>
                    <a:pt x="169" y="79"/>
                  </a:lnTo>
                  <a:lnTo>
                    <a:pt x="169" y="76"/>
                  </a:lnTo>
                  <a:lnTo>
                    <a:pt x="169" y="76"/>
                  </a:lnTo>
                  <a:lnTo>
                    <a:pt x="171" y="71"/>
                  </a:lnTo>
                  <a:lnTo>
                    <a:pt x="171" y="69"/>
                  </a:lnTo>
                  <a:lnTo>
                    <a:pt x="171" y="69"/>
                  </a:lnTo>
                  <a:lnTo>
                    <a:pt x="169" y="66"/>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220" name="Freeform 1838">
              <a:extLst>
                <a:ext uri="{FF2B5EF4-FFF2-40B4-BE49-F238E27FC236}">
                  <a16:creationId xmlns:a16="http://schemas.microsoft.com/office/drawing/2014/main" id="{4FECDC02-4299-9A42-8043-F7A54C70A7BF}"/>
                </a:ext>
              </a:extLst>
            </p:cNvPr>
            <p:cNvSpPr>
              <a:spLocks/>
            </p:cNvSpPr>
            <p:nvPr/>
          </p:nvSpPr>
          <p:spPr bwMode="auto">
            <a:xfrm>
              <a:off x="7396460" y="4574834"/>
              <a:ext cx="16357" cy="21265"/>
            </a:xfrm>
            <a:custGeom>
              <a:avLst/>
              <a:gdLst>
                <a:gd name="T0" fmla="*/ 10 w 10"/>
                <a:gd name="T1" fmla="*/ 5 h 13"/>
                <a:gd name="T2" fmla="*/ 8 w 10"/>
                <a:gd name="T3" fmla="*/ 3 h 13"/>
                <a:gd name="T4" fmla="*/ 8 w 10"/>
                <a:gd name="T5" fmla="*/ 0 h 13"/>
                <a:gd name="T6" fmla="*/ 5 w 10"/>
                <a:gd name="T7" fmla="*/ 0 h 13"/>
                <a:gd name="T8" fmla="*/ 3 w 10"/>
                <a:gd name="T9" fmla="*/ 3 h 13"/>
                <a:gd name="T10" fmla="*/ 0 w 10"/>
                <a:gd name="T11" fmla="*/ 5 h 13"/>
                <a:gd name="T12" fmla="*/ 0 w 10"/>
                <a:gd name="T13" fmla="*/ 5 h 13"/>
                <a:gd name="T14" fmla="*/ 0 w 10"/>
                <a:gd name="T15" fmla="*/ 8 h 13"/>
                <a:gd name="T16" fmla="*/ 3 w 10"/>
                <a:gd name="T17" fmla="*/ 10 h 13"/>
                <a:gd name="T18" fmla="*/ 5 w 10"/>
                <a:gd name="T19" fmla="*/ 13 h 13"/>
                <a:gd name="T20" fmla="*/ 8 w 10"/>
                <a:gd name="T21" fmla="*/ 13 h 13"/>
                <a:gd name="T22" fmla="*/ 10 w 10"/>
                <a:gd name="T23" fmla="*/ 13 h 13"/>
                <a:gd name="T24" fmla="*/ 10 w 10"/>
                <a:gd name="T25" fmla="*/ 10 h 13"/>
                <a:gd name="T26" fmla="*/ 10 w 10"/>
                <a:gd name="T27" fmla="*/ 8 h 13"/>
                <a:gd name="T28" fmla="*/ 10 w 10"/>
                <a:gd name="T29" fmla="*/ 5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 h="13">
                  <a:moveTo>
                    <a:pt x="10" y="5"/>
                  </a:moveTo>
                  <a:lnTo>
                    <a:pt x="8" y="3"/>
                  </a:lnTo>
                  <a:lnTo>
                    <a:pt x="8" y="0"/>
                  </a:lnTo>
                  <a:lnTo>
                    <a:pt x="5" y="0"/>
                  </a:lnTo>
                  <a:lnTo>
                    <a:pt x="3" y="3"/>
                  </a:lnTo>
                  <a:lnTo>
                    <a:pt x="0" y="5"/>
                  </a:lnTo>
                  <a:lnTo>
                    <a:pt x="0" y="5"/>
                  </a:lnTo>
                  <a:lnTo>
                    <a:pt x="0" y="8"/>
                  </a:lnTo>
                  <a:lnTo>
                    <a:pt x="3" y="10"/>
                  </a:lnTo>
                  <a:lnTo>
                    <a:pt x="5" y="13"/>
                  </a:lnTo>
                  <a:lnTo>
                    <a:pt x="8" y="13"/>
                  </a:lnTo>
                  <a:lnTo>
                    <a:pt x="10" y="13"/>
                  </a:lnTo>
                  <a:lnTo>
                    <a:pt x="10" y="10"/>
                  </a:lnTo>
                  <a:lnTo>
                    <a:pt x="10" y="8"/>
                  </a:lnTo>
                  <a:lnTo>
                    <a:pt x="10" y="5"/>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221" name="Freeform 1839">
              <a:extLst>
                <a:ext uri="{FF2B5EF4-FFF2-40B4-BE49-F238E27FC236}">
                  <a16:creationId xmlns:a16="http://schemas.microsoft.com/office/drawing/2014/main" id="{2C98D6BF-4589-8E4F-9CBB-B15D18DF00E1}"/>
                </a:ext>
              </a:extLst>
            </p:cNvPr>
            <p:cNvSpPr>
              <a:spLocks/>
            </p:cNvSpPr>
            <p:nvPr/>
          </p:nvSpPr>
          <p:spPr bwMode="auto">
            <a:xfrm>
              <a:off x="7242701" y="2831139"/>
              <a:ext cx="24537" cy="58887"/>
            </a:xfrm>
            <a:custGeom>
              <a:avLst/>
              <a:gdLst>
                <a:gd name="T0" fmla="*/ 15 w 15"/>
                <a:gd name="T1" fmla="*/ 20 h 36"/>
                <a:gd name="T2" fmla="*/ 15 w 15"/>
                <a:gd name="T3" fmla="*/ 18 h 36"/>
                <a:gd name="T4" fmla="*/ 13 w 15"/>
                <a:gd name="T5" fmla="*/ 15 h 36"/>
                <a:gd name="T6" fmla="*/ 13 w 15"/>
                <a:gd name="T7" fmla="*/ 15 h 36"/>
                <a:gd name="T8" fmla="*/ 13 w 15"/>
                <a:gd name="T9" fmla="*/ 13 h 36"/>
                <a:gd name="T10" fmla="*/ 13 w 15"/>
                <a:gd name="T11" fmla="*/ 10 h 36"/>
                <a:gd name="T12" fmla="*/ 15 w 15"/>
                <a:gd name="T13" fmla="*/ 8 h 36"/>
                <a:gd name="T14" fmla="*/ 13 w 15"/>
                <a:gd name="T15" fmla="*/ 5 h 36"/>
                <a:gd name="T16" fmla="*/ 10 w 15"/>
                <a:gd name="T17" fmla="*/ 3 h 36"/>
                <a:gd name="T18" fmla="*/ 8 w 15"/>
                <a:gd name="T19" fmla="*/ 0 h 36"/>
                <a:gd name="T20" fmla="*/ 5 w 15"/>
                <a:gd name="T21" fmla="*/ 0 h 36"/>
                <a:gd name="T22" fmla="*/ 3 w 15"/>
                <a:gd name="T23" fmla="*/ 3 h 36"/>
                <a:gd name="T24" fmla="*/ 3 w 15"/>
                <a:gd name="T25" fmla="*/ 8 h 36"/>
                <a:gd name="T26" fmla="*/ 0 w 15"/>
                <a:gd name="T27" fmla="*/ 10 h 36"/>
                <a:gd name="T28" fmla="*/ 0 w 15"/>
                <a:gd name="T29" fmla="*/ 13 h 36"/>
                <a:gd name="T30" fmla="*/ 0 w 15"/>
                <a:gd name="T31" fmla="*/ 15 h 36"/>
                <a:gd name="T32" fmla="*/ 0 w 15"/>
                <a:gd name="T33" fmla="*/ 15 h 36"/>
                <a:gd name="T34" fmla="*/ 0 w 15"/>
                <a:gd name="T35" fmla="*/ 20 h 36"/>
                <a:gd name="T36" fmla="*/ 3 w 15"/>
                <a:gd name="T37" fmla="*/ 28 h 36"/>
                <a:gd name="T38" fmla="*/ 3 w 15"/>
                <a:gd name="T39" fmla="*/ 28 h 36"/>
                <a:gd name="T40" fmla="*/ 0 w 15"/>
                <a:gd name="T41" fmla="*/ 31 h 36"/>
                <a:gd name="T42" fmla="*/ 3 w 15"/>
                <a:gd name="T43" fmla="*/ 33 h 36"/>
                <a:gd name="T44" fmla="*/ 3 w 15"/>
                <a:gd name="T45" fmla="*/ 33 h 36"/>
                <a:gd name="T46" fmla="*/ 5 w 15"/>
                <a:gd name="T47" fmla="*/ 36 h 36"/>
                <a:gd name="T48" fmla="*/ 5 w 15"/>
                <a:gd name="T49" fmla="*/ 36 h 36"/>
                <a:gd name="T50" fmla="*/ 8 w 15"/>
                <a:gd name="T51" fmla="*/ 36 h 36"/>
                <a:gd name="T52" fmla="*/ 8 w 15"/>
                <a:gd name="T53" fmla="*/ 36 h 36"/>
                <a:gd name="T54" fmla="*/ 10 w 15"/>
                <a:gd name="T55" fmla="*/ 33 h 36"/>
                <a:gd name="T56" fmla="*/ 13 w 15"/>
                <a:gd name="T57" fmla="*/ 33 h 36"/>
                <a:gd name="T58" fmla="*/ 13 w 15"/>
                <a:gd name="T59" fmla="*/ 33 h 36"/>
                <a:gd name="T60" fmla="*/ 15 w 15"/>
                <a:gd name="T61" fmla="*/ 28 h 36"/>
                <a:gd name="T62" fmla="*/ 15 w 15"/>
                <a:gd name="T63" fmla="*/ 26 h 36"/>
                <a:gd name="T64" fmla="*/ 15 w 15"/>
                <a:gd name="T65" fmla="*/ 23 h 36"/>
                <a:gd name="T66" fmla="*/ 15 w 15"/>
                <a:gd name="T67" fmla="*/ 2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 h="36">
                  <a:moveTo>
                    <a:pt x="15" y="20"/>
                  </a:moveTo>
                  <a:lnTo>
                    <a:pt x="15" y="18"/>
                  </a:lnTo>
                  <a:lnTo>
                    <a:pt x="13" y="15"/>
                  </a:lnTo>
                  <a:lnTo>
                    <a:pt x="13" y="15"/>
                  </a:lnTo>
                  <a:lnTo>
                    <a:pt x="13" y="13"/>
                  </a:lnTo>
                  <a:lnTo>
                    <a:pt x="13" y="10"/>
                  </a:lnTo>
                  <a:lnTo>
                    <a:pt x="15" y="8"/>
                  </a:lnTo>
                  <a:lnTo>
                    <a:pt x="13" y="5"/>
                  </a:lnTo>
                  <a:lnTo>
                    <a:pt x="10" y="3"/>
                  </a:lnTo>
                  <a:lnTo>
                    <a:pt x="8" y="0"/>
                  </a:lnTo>
                  <a:lnTo>
                    <a:pt x="5" y="0"/>
                  </a:lnTo>
                  <a:lnTo>
                    <a:pt x="3" y="3"/>
                  </a:lnTo>
                  <a:lnTo>
                    <a:pt x="3" y="8"/>
                  </a:lnTo>
                  <a:lnTo>
                    <a:pt x="0" y="10"/>
                  </a:lnTo>
                  <a:lnTo>
                    <a:pt x="0" y="13"/>
                  </a:lnTo>
                  <a:lnTo>
                    <a:pt x="0" y="15"/>
                  </a:lnTo>
                  <a:lnTo>
                    <a:pt x="0" y="15"/>
                  </a:lnTo>
                  <a:lnTo>
                    <a:pt x="0" y="20"/>
                  </a:lnTo>
                  <a:lnTo>
                    <a:pt x="3" y="28"/>
                  </a:lnTo>
                  <a:lnTo>
                    <a:pt x="3" y="28"/>
                  </a:lnTo>
                  <a:lnTo>
                    <a:pt x="0" y="31"/>
                  </a:lnTo>
                  <a:lnTo>
                    <a:pt x="3" y="33"/>
                  </a:lnTo>
                  <a:lnTo>
                    <a:pt x="3" y="33"/>
                  </a:lnTo>
                  <a:lnTo>
                    <a:pt x="5" y="36"/>
                  </a:lnTo>
                  <a:lnTo>
                    <a:pt x="5" y="36"/>
                  </a:lnTo>
                  <a:lnTo>
                    <a:pt x="8" y="36"/>
                  </a:lnTo>
                  <a:lnTo>
                    <a:pt x="8" y="36"/>
                  </a:lnTo>
                  <a:lnTo>
                    <a:pt x="10" y="33"/>
                  </a:lnTo>
                  <a:lnTo>
                    <a:pt x="13" y="33"/>
                  </a:lnTo>
                  <a:lnTo>
                    <a:pt x="13" y="33"/>
                  </a:lnTo>
                  <a:lnTo>
                    <a:pt x="15" y="28"/>
                  </a:lnTo>
                  <a:lnTo>
                    <a:pt x="15" y="26"/>
                  </a:lnTo>
                  <a:lnTo>
                    <a:pt x="15" y="23"/>
                  </a:lnTo>
                  <a:lnTo>
                    <a:pt x="15" y="2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222" name="Freeform 1841">
              <a:extLst>
                <a:ext uri="{FF2B5EF4-FFF2-40B4-BE49-F238E27FC236}">
                  <a16:creationId xmlns:a16="http://schemas.microsoft.com/office/drawing/2014/main" id="{18DC9976-B86F-8345-8F3A-2A3D8E286809}"/>
                </a:ext>
              </a:extLst>
            </p:cNvPr>
            <p:cNvSpPr>
              <a:spLocks noEditPoints="1"/>
            </p:cNvSpPr>
            <p:nvPr/>
          </p:nvSpPr>
          <p:spPr bwMode="auto">
            <a:xfrm>
              <a:off x="3411805" y="3114120"/>
              <a:ext cx="86695" cy="21265"/>
            </a:xfrm>
            <a:custGeom>
              <a:avLst/>
              <a:gdLst>
                <a:gd name="T0" fmla="*/ 0 w 53"/>
                <a:gd name="T1" fmla="*/ 8 h 13"/>
                <a:gd name="T2" fmla="*/ 0 w 53"/>
                <a:gd name="T3" fmla="*/ 8 h 13"/>
                <a:gd name="T4" fmla="*/ 0 w 53"/>
                <a:gd name="T5" fmla="*/ 10 h 13"/>
                <a:gd name="T6" fmla="*/ 0 w 53"/>
                <a:gd name="T7" fmla="*/ 10 h 13"/>
                <a:gd name="T8" fmla="*/ 2 w 53"/>
                <a:gd name="T9" fmla="*/ 10 h 13"/>
                <a:gd name="T10" fmla="*/ 2 w 53"/>
                <a:gd name="T11" fmla="*/ 10 h 13"/>
                <a:gd name="T12" fmla="*/ 2 w 53"/>
                <a:gd name="T13" fmla="*/ 10 h 13"/>
                <a:gd name="T14" fmla="*/ 2 w 53"/>
                <a:gd name="T15" fmla="*/ 8 h 13"/>
                <a:gd name="T16" fmla="*/ 2 w 53"/>
                <a:gd name="T17" fmla="*/ 8 h 13"/>
                <a:gd name="T18" fmla="*/ 53 w 53"/>
                <a:gd name="T19" fmla="*/ 8 h 13"/>
                <a:gd name="T20" fmla="*/ 48 w 53"/>
                <a:gd name="T21" fmla="*/ 8 h 13"/>
                <a:gd name="T22" fmla="*/ 48 w 53"/>
                <a:gd name="T23" fmla="*/ 8 h 13"/>
                <a:gd name="T24" fmla="*/ 51 w 53"/>
                <a:gd name="T25" fmla="*/ 8 h 13"/>
                <a:gd name="T26" fmla="*/ 53 w 53"/>
                <a:gd name="T27" fmla="*/ 8 h 13"/>
                <a:gd name="T28" fmla="*/ 38 w 53"/>
                <a:gd name="T29" fmla="*/ 0 h 13"/>
                <a:gd name="T30" fmla="*/ 38 w 53"/>
                <a:gd name="T31" fmla="*/ 0 h 13"/>
                <a:gd name="T32" fmla="*/ 38 w 53"/>
                <a:gd name="T33" fmla="*/ 0 h 13"/>
                <a:gd name="T34" fmla="*/ 36 w 53"/>
                <a:gd name="T35" fmla="*/ 0 h 13"/>
                <a:gd name="T36" fmla="*/ 18 w 53"/>
                <a:gd name="T37" fmla="*/ 0 h 13"/>
                <a:gd name="T38" fmla="*/ 18 w 53"/>
                <a:gd name="T39" fmla="*/ 0 h 13"/>
                <a:gd name="T40" fmla="*/ 15 w 53"/>
                <a:gd name="T41" fmla="*/ 3 h 13"/>
                <a:gd name="T42" fmla="*/ 15 w 53"/>
                <a:gd name="T43" fmla="*/ 3 h 13"/>
                <a:gd name="T44" fmla="*/ 15 w 53"/>
                <a:gd name="T45" fmla="*/ 5 h 13"/>
                <a:gd name="T46" fmla="*/ 15 w 53"/>
                <a:gd name="T47" fmla="*/ 10 h 13"/>
                <a:gd name="T48" fmla="*/ 18 w 53"/>
                <a:gd name="T49" fmla="*/ 13 h 13"/>
                <a:gd name="T50" fmla="*/ 20 w 53"/>
                <a:gd name="T51" fmla="*/ 13 h 13"/>
                <a:gd name="T52" fmla="*/ 23 w 53"/>
                <a:gd name="T53" fmla="*/ 10 h 13"/>
                <a:gd name="T54" fmla="*/ 28 w 53"/>
                <a:gd name="T55" fmla="*/ 10 h 13"/>
                <a:gd name="T56" fmla="*/ 33 w 53"/>
                <a:gd name="T57" fmla="*/ 13 h 13"/>
                <a:gd name="T58" fmla="*/ 33 w 53"/>
                <a:gd name="T59" fmla="*/ 13 h 13"/>
                <a:gd name="T60" fmla="*/ 38 w 53"/>
                <a:gd name="T61" fmla="*/ 13 h 13"/>
                <a:gd name="T62" fmla="*/ 43 w 53"/>
                <a:gd name="T63" fmla="*/ 8 h 13"/>
                <a:gd name="T64" fmla="*/ 46 w 53"/>
                <a:gd name="T65" fmla="*/ 5 h 13"/>
                <a:gd name="T66" fmla="*/ 43 w 53"/>
                <a:gd name="T67" fmla="*/ 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3" h="13">
                  <a:moveTo>
                    <a:pt x="2" y="8"/>
                  </a:moveTo>
                  <a:lnTo>
                    <a:pt x="0" y="8"/>
                  </a:lnTo>
                  <a:lnTo>
                    <a:pt x="0" y="8"/>
                  </a:lnTo>
                  <a:lnTo>
                    <a:pt x="0" y="8"/>
                  </a:lnTo>
                  <a:lnTo>
                    <a:pt x="0" y="10"/>
                  </a:lnTo>
                  <a:lnTo>
                    <a:pt x="0" y="10"/>
                  </a:lnTo>
                  <a:lnTo>
                    <a:pt x="0" y="10"/>
                  </a:lnTo>
                  <a:lnTo>
                    <a:pt x="0" y="10"/>
                  </a:lnTo>
                  <a:lnTo>
                    <a:pt x="2" y="10"/>
                  </a:lnTo>
                  <a:lnTo>
                    <a:pt x="2" y="10"/>
                  </a:lnTo>
                  <a:lnTo>
                    <a:pt x="2" y="10"/>
                  </a:lnTo>
                  <a:lnTo>
                    <a:pt x="2" y="10"/>
                  </a:lnTo>
                  <a:lnTo>
                    <a:pt x="2" y="10"/>
                  </a:lnTo>
                  <a:lnTo>
                    <a:pt x="2" y="10"/>
                  </a:lnTo>
                  <a:lnTo>
                    <a:pt x="2" y="8"/>
                  </a:lnTo>
                  <a:lnTo>
                    <a:pt x="2" y="8"/>
                  </a:lnTo>
                  <a:lnTo>
                    <a:pt x="2" y="8"/>
                  </a:lnTo>
                  <a:lnTo>
                    <a:pt x="2" y="8"/>
                  </a:lnTo>
                  <a:lnTo>
                    <a:pt x="2" y="8"/>
                  </a:lnTo>
                  <a:close/>
                  <a:moveTo>
                    <a:pt x="53" y="8"/>
                  </a:moveTo>
                  <a:lnTo>
                    <a:pt x="51" y="8"/>
                  </a:lnTo>
                  <a:lnTo>
                    <a:pt x="48" y="8"/>
                  </a:lnTo>
                  <a:lnTo>
                    <a:pt x="48" y="8"/>
                  </a:lnTo>
                  <a:lnTo>
                    <a:pt x="48" y="8"/>
                  </a:lnTo>
                  <a:lnTo>
                    <a:pt x="48" y="8"/>
                  </a:lnTo>
                  <a:lnTo>
                    <a:pt x="51" y="8"/>
                  </a:lnTo>
                  <a:lnTo>
                    <a:pt x="53" y="8"/>
                  </a:lnTo>
                  <a:lnTo>
                    <a:pt x="53" y="8"/>
                  </a:lnTo>
                  <a:close/>
                  <a:moveTo>
                    <a:pt x="41" y="0"/>
                  </a:moveTo>
                  <a:lnTo>
                    <a:pt x="38" y="0"/>
                  </a:lnTo>
                  <a:lnTo>
                    <a:pt x="38" y="0"/>
                  </a:lnTo>
                  <a:lnTo>
                    <a:pt x="38" y="0"/>
                  </a:lnTo>
                  <a:lnTo>
                    <a:pt x="38" y="3"/>
                  </a:lnTo>
                  <a:lnTo>
                    <a:pt x="38" y="0"/>
                  </a:lnTo>
                  <a:lnTo>
                    <a:pt x="36" y="0"/>
                  </a:lnTo>
                  <a:lnTo>
                    <a:pt x="36" y="0"/>
                  </a:lnTo>
                  <a:lnTo>
                    <a:pt x="23" y="0"/>
                  </a:lnTo>
                  <a:lnTo>
                    <a:pt x="18" y="0"/>
                  </a:lnTo>
                  <a:lnTo>
                    <a:pt x="18" y="0"/>
                  </a:lnTo>
                  <a:lnTo>
                    <a:pt x="18" y="0"/>
                  </a:lnTo>
                  <a:lnTo>
                    <a:pt x="15" y="0"/>
                  </a:lnTo>
                  <a:lnTo>
                    <a:pt x="15" y="3"/>
                  </a:lnTo>
                  <a:lnTo>
                    <a:pt x="15" y="3"/>
                  </a:lnTo>
                  <a:lnTo>
                    <a:pt x="15" y="3"/>
                  </a:lnTo>
                  <a:lnTo>
                    <a:pt x="15" y="5"/>
                  </a:lnTo>
                  <a:lnTo>
                    <a:pt x="15" y="5"/>
                  </a:lnTo>
                  <a:lnTo>
                    <a:pt x="15" y="8"/>
                  </a:lnTo>
                  <a:lnTo>
                    <a:pt x="15" y="10"/>
                  </a:lnTo>
                  <a:lnTo>
                    <a:pt x="15" y="13"/>
                  </a:lnTo>
                  <a:lnTo>
                    <a:pt x="18" y="13"/>
                  </a:lnTo>
                  <a:lnTo>
                    <a:pt x="20" y="13"/>
                  </a:lnTo>
                  <a:lnTo>
                    <a:pt x="20" y="13"/>
                  </a:lnTo>
                  <a:lnTo>
                    <a:pt x="23" y="13"/>
                  </a:lnTo>
                  <a:lnTo>
                    <a:pt x="23" y="10"/>
                  </a:lnTo>
                  <a:lnTo>
                    <a:pt x="25" y="13"/>
                  </a:lnTo>
                  <a:lnTo>
                    <a:pt x="28" y="10"/>
                  </a:lnTo>
                  <a:lnTo>
                    <a:pt x="30" y="13"/>
                  </a:lnTo>
                  <a:lnTo>
                    <a:pt x="33" y="13"/>
                  </a:lnTo>
                  <a:lnTo>
                    <a:pt x="33" y="13"/>
                  </a:lnTo>
                  <a:lnTo>
                    <a:pt x="33" y="13"/>
                  </a:lnTo>
                  <a:lnTo>
                    <a:pt x="36" y="13"/>
                  </a:lnTo>
                  <a:lnTo>
                    <a:pt x="38" y="13"/>
                  </a:lnTo>
                  <a:lnTo>
                    <a:pt x="41" y="10"/>
                  </a:lnTo>
                  <a:lnTo>
                    <a:pt x="43" y="8"/>
                  </a:lnTo>
                  <a:lnTo>
                    <a:pt x="43" y="8"/>
                  </a:lnTo>
                  <a:lnTo>
                    <a:pt x="46" y="5"/>
                  </a:lnTo>
                  <a:lnTo>
                    <a:pt x="46" y="3"/>
                  </a:lnTo>
                  <a:lnTo>
                    <a:pt x="43" y="3"/>
                  </a:lnTo>
                  <a:lnTo>
                    <a:pt x="41"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223" name="Freeform 1842">
              <a:extLst>
                <a:ext uri="{FF2B5EF4-FFF2-40B4-BE49-F238E27FC236}">
                  <a16:creationId xmlns:a16="http://schemas.microsoft.com/office/drawing/2014/main" id="{F8518A31-1FD3-7D4E-9764-6B47D2D960C8}"/>
                </a:ext>
              </a:extLst>
            </p:cNvPr>
            <p:cNvSpPr>
              <a:spLocks noEditPoints="1"/>
            </p:cNvSpPr>
            <p:nvPr/>
          </p:nvSpPr>
          <p:spPr bwMode="auto">
            <a:xfrm>
              <a:off x="4682772" y="2235729"/>
              <a:ext cx="772068" cy="354955"/>
            </a:xfrm>
            <a:custGeom>
              <a:avLst/>
              <a:gdLst>
                <a:gd name="T0" fmla="*/ 247 w 472"/>
                <a:gd name="T1" fmla="*/ 214 h 217"/>
                <a:gd name="T2" fmla="*/ 258 w 472"/>
                <a:gd name="T3" fmla="*/ 214 h 217"/>
                <a:gd name="T4" fmla="*/ 107 w 472"/>
                <a:gd name="T5" fmla="*/ 115 h 217"/>
                <a:gd name="T6" fmla="*/ 110 w 472"/>
                <a:gd name="T7" fmla="*/ 115 h 217"/>
                <a:gd name="T8" fmla="*/ 102 w 472"/>
                <a:gd name="T9" fmla="*/ 97 h 217"/>
                <a:gd name="T10" fmla="*/ 97 w 472"/>
                <a:gd name="T11" fmla="*/ 97 h 217"/>
                <a:gd name="T12" fmla="*/ 51 w 472"/>
                <a:gd name="T13" fmla="*/ 79 h 217"/>
                <a:gd name="T14" fmla="*/ 54 w 472"/>
                <a:gd name="T15" fmla="*/ 84 h 217"/>
                <a:gd name="T16" fmla="*/ 51 w 472"/>
                <a:gd name="T17" fmla="*/ 79 h 217"/>
                <a:gd name="T18" fmla="*/ 46 w 472"/>
                <a:gd name="T19" fmla="*/ 82 h 217"/>
                <a:gd name="T20" fmla="*/ 56 w 472"/>
                <a:gd name="T21" fmla="*/ 77 h 217"/>
                <a:gd name="T22" fmla="*/ 54 w 472"/>
                <a:gd name="T23" fmla="*/ 77 h 217"/>
                <a:gd name="T24" fmla="*/ 72 w 472"/>
                <a:gd name="T25" fmla="*/ 77 h 217"/>
                <a:gd name="T26" fmla="*/ 77 w 472"/>
                <a:gd name="T27" fmla="*/ 74 h 217"/>
                <a:gd name="T28" fmla="*/ 3 w 472"/>
                <a:gd name="T29" fmla="*/ 61 h 217"/>
                <a:gd name="T30" fmla="*/ 472 w 472"/>
                <a:gd name="T31" fmla="*/ 13 h 217"/>
                <a:gd name="T32" fmla="*/ 464 w 472"/>
                <a:gd name="T33" fmla="*/ 10 h 217"/>
                <a:gd name="T34" fmla="*/ 464 w 472"/>
                <a:gd name="T35" fmla="*/ 5 h 217"/>
                <a:gd name="T36" fmla="*/ 456 w 472"/>
                <a:gd name="T37" fmla="*/ 5 h 217"/>
                <a:gd name="T38" fmla="*/ 454 w 472"/>
                <a:gd name="T39" fmla="*/ 5 h 217"/>
                <a:gd name="T40" fmla="*/ 446 w 472"/>
                <a:gd name="T41" fmla="*/ 8 h 217"/>
                <a:gd name="T42" fmla="*/ 439 w 472"/>
                <a:gd name="T43" fmla="*/ 8 h 217"/>
                <a:gd name="T44" fmla="*/ 433 w 472"/>
                <a:gd name="T45" fmla="*/ 5 h 217"/>
                <a:gd name="T46" fmla="*/ 436 w 472"/>
                <a:gd name="T47" fmla="*/ 3 h 217"/>
                <a:gd name="T48" fmla="*/ 428 w 472"/>
                <a:gd name="T49" fmla="*/ 3 h 217"/>
                <a:gd name="T50" fmla="*/ 423 w 472"/>
                <a:gd name="T51" fmla="*/ 10 h 217"/>
                <a:gd name="T52" fmla="*/ 426 w 472"/>
                <a:gd name="T53" fmla="*/ 23 h 217"/>
                <a:gd name="T54" fmla="*/ 423 w 472"/>
                <a:gd name="T55" fmla="*/ 33 h 217"/>
                <a:gd name="T56" fmla="*/ 421 w 472"/>
                <a:gd name="T57" fmla="*/ 46 h 217"/>
                <a:gd name="T58" fmla="*/ 408 w 472"/>
                <a:gd name="T59" fmla="*/ 61 h 217"/>
                <a:gd name="T60" fmla="*/ 405 w 472"/>
                <a:gd name="T61" fmla="*/ 74 h 217"/>
                <a:gd name="T62" fmla="*/ 410 w 472"/>
                <a:gd name="T63" fmla="*/ 77 h 217"/>
                <a:gd name="T64" fmla="*/ 418 w 472"/>
                <a:gd name="T65" fmla="*/ 69 h 217"/>
                <a:gd name="T66" fmla="*/ 413 w 472"/>
                <a:gd name="T67" fmla="*/ 77 h 217"/>
                <a:gd name="T68" fmla="*/ 410 w 472"/>
                <a:gd name="T69" fmla="*/ 82 h 217"/>
                <a:gd name="T70" fmla="*/ 418 w 472"/>
                <a:gd name="T71" fmla="*/ 82 h 217"/>
                <a:gd name="T72" fmla="*/ 416 w 472"/>
                <a:gd name="T73" fmla="*/ 94 h 217"/>
                <a:gd name="T74" fmla="*/ 413 w 472"/>
                <a:gd name="T75" fmla="*/ 112 h 217"/>
                <a:gd name="T76" fmla="*/ 418 w 472"/>
                <a:gd name="T77" fmla="*/ 112 h 217"/>
                <a:gd name="T78" fmla="*/ 439 w 472"/>
                <a:gd name="T79" fmla="*/ 112 h 217"/>
                <a:gd name="T80" fmla="*/ 441 w 472"/>
                <a:gd name="T81" fmla="*/ 99 h 217"/>
                <a:gd name="T82" fmla="*/ 449 w 472"/>
                <a:gd name="T83" fmla="*/ 92 h 217"/>
                <a:gd name="T84" fmla="*/ 444 w 472"/>
                <a:gd name="T85" fmla="*/ 82 h 217"/>
                <a:gd name="T86" fmla="*/ 446 w 472"/>
                <a:gd name="T87" fmla="*/ 74 h 217"/>
                <a:gd name="T88" fmla="*/ 451 w 472"/>
                <a:gd name="T89" fmla="*/ 66 h 217"/>
                <a:gd name="T90" fmla="*/ 444 w 472"/>
                <a:gd name="T91" fmla="*/ 56 h 217"/>
                <a:gd name="T92" fmla="*/ 451 w 472"/>
                <a:gd name="T93" fmla="*/ 54 h 217"/>
                <a:gd name="T94" fmla="*/ 454 w 472"/>
                <a:gd name="T95" fmla="*/ 49 h 217"/>
                <a:gd name="T96" fmla="*/ 456 w 472"/>
                <a:gd name="T97" fmla="*/ 41 h 217"/>
                <a:gd name="T98" fmla="*/ 456 w 472"/>
                <a:gd name="T99" fmla="*/ 38 h 217"/>
                <a:gd name="T100" fmla="*/ 456 w 472"/>
                <a:gd name="T101" fmla="*/ 26 h 217"/>
                <a:gd name="T102" fmla="*/ 464 w 472"/>
                <a:gd name="T103" fmla="*/ 21 h 217"/>
                <a:gd name="T104" fmla="*/ 472 w 472"/>
                <a:gd name="T105" fmla="*/ 13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72" h="217">
                  <a:moveTo>
                    <a:pt x="252" y="211"/>
                  </a:moveTo>
                  <a:lnTo>
                    <a:pt x="250" y="211"/>
                  </a:lnTo>
                  <a:lnTo>
                    <a:pt x="247" y="211"/>
                  </a:lnTo>
                  <a:lnTo>
                    <a:pt x="247" y="211"/>
                  </a:lnTo>
                  <a:lnTo>
                    <a:pt x="247" y="214"/>
                  </a:lnTo>
                  <a:lnTo>
                    <a:pt x="247" y="214"/>
                  </a:lnTo>
                  <a:lnTo>
                    <a:pt x="250" y="214"/>
                  </a:lnTo>
                  <a:lnTo>
                    <a:pt x="255" y="217"/>
                  </a:lnTo>
                  <a:lnTo>
                    <a:pt x="255" y="214"/>
                  </a:lnTo>
                  <a:lnTo>
                    <a:pt x="258" y="214"/>
                  </a:lnTo>
                  <a:lnTo>
                    <a:pt x="255" y="214"/>
                  </a:lnTo>
                  <a:lnTo>
                    <a:pt x="252" y="211"/>
                  </a:lnTo>
                  <a:close/>
                  <a:moveTo>
                    <a:pt x="110" y="115"/>
                  </a:moveTo>
                  <a:lnTo>
                    <a:pt x="107" y="115"/>
                  </a:lnTo>
                  <a:lnTo>
                    <a:pt x="107" y="115"/>
                  </a:lnTo>
                  <a:lnTo>
                    <a:pt x="107" y="117"/>
                  </a:lnTo>
                  <a:lnTo>
                    <a:pt x="110" y="117"/>
                  </a:lnTo>
                  <a:lnTo>
                    <a:pt x="110" y="117"/>
                  </a:lnTo>
                  <a:lnTo>
                    <a:pt x="110" y="117"/>
                  </a:lnTo>
                  <a:lnTo>
                    <a:pt x="110" y="115"/>
                  </a:lnTo>
                  <a:lnTo>
                    <a:pt x="110" y="115"/>
                  </a:lnTo>
                  <a:close/>
                  <a:moveTo>
                    <a:pt x="110" y="97"/>
                  </a:moveTo>
                  <a:lnTo>
                    <a:pt x="110" y="97"/>
                  </a:lnTo>
                  <a:lnTo>
                    <a:pt x="107" y="97"/>
                  </a:lnTo>
                  <a:lnTo>
                    <a:pt x="102" y="97"/>
                  </a:lnTo>
                  <a:lnTo>
                    <a:pt x="100" y="97"/>
                  </a:lnTo>
                  <a:lnTo>
                    <a:pt x="100" y="94"/>
                  </a:lnTo>
                  <a:lnTo>
                    <a:pt x="97" y="94"/>
                  </a:lnTo>
                  <a:lnTo>
                    <a:pt x="97" y="94"/>
                  </a:lnTo>
                  <a:lnTo>
                    <a:pt x="97" y="97"/>
                  </a:lnTo>
                  <a:lnTo>
                    <a:pt x="100" y="97"/>
                  </a:lnTo>
                  <a:lnTo>
                    <a:pt x="105" y="99"/>
                  </a:lnTo>
                  <a:lnTo>
                    <a:pt x="107" y="99"/>
                  </a:lnTo>
                  <a:lnTo>
                    <a:pt x="110" y="97"/>
                  </a:lnTo>
                  <a:close/>
                  <a:moveTo>
                    <a:pt x="51" y="79"/>
                  </a:moveTo>
                  <a:lnTo>
                    <a:pt x="49" y="79"/>
                  </a:lnTo>
                  <a:lnTo>
                    <a:pt x="49" y="82"/>
                  </a:lnTo>
                  <a:lnTo>
                    <a:pt x="49" y="82"/>
                  </a:lnTo>
                  <a:lnTo>
                    <a:pt x="51" y="84"/>
                  </a:lnTo>
                  <a:lnTo>
                    <a:pt x="54" y="84"/>
                  </a:lnTo>
                  <a:lnTo>
                    <a:pt x="54" y="84"/>
                  </a:lnTo>
                  <a:lnTo>
                    <a:pt x="56" y="84"/>
                  </a:lnTo>
                  <a:lnTo>
                    <a:pt x="56" y="84"/>
                  </a:lnTo>
                  <a:lnTo>
                    <a:pt x="56" y="82"/>
                  </a:lnTo>
                  <a:lnTo>
                    <a:pt x="51" y="79"/>
                  </a:lnTo>
                  <a:close/>
                  <a:moveTo>
                    <a:pt x="46" y="79"/>
                  </a:moveTo>
                  <a:lnTo>
                    <a:pt x="46" y="79"/>
                  </a:lnTo>
                  <a:lnTo>
                    <a:pt x="43" y="79"/>
                  </a:lnTo>
                  <a:lnTo>
                    <a:pt x="46" y="82"/>
                  </a:lnTo>
                  <a:lnTo>
                    <a:pt x="46" y="82"/>
                  </a:lnTo>
                  <a:lnTo>
                    <a:pt x="49" y="79"/>
                  </a:lnTo>
                  <a:lnTo>
                    <a:pt x="49" y="79"/>
                  </a:lnTo>
                  <a:lnTo>
                    <a:pt x="46" y="79"/>
                  </a:lnTo>
                  <a:close/>
                  <a:moveTo>
                    <a:pt x="54" y="77"/>
                  </a:moveTo>
                  <a:lnTo>
                    <a:pt x="56" y="77"/>
                  </a:lnTo>
                  <a:lnTo>
                    <a:pt x="59" y="79"/>
                  </a:lnTo>
                  <a:lnTo>
                    <a:pt x="61" y="79"/>
                  </a:lnTo>
                  <a:lnTo>
                    <a:pt x="64" y="79"/>
                  </a:lnTo>
                  <a:lnTo>
                    <a:pt x="61" y="79"/>
                  </a:lnTo>
                  <a:lnTo>
                    <a:pt x="54" y="77"/>
                  </a:lnTo>
                  <a:close/>
                  <a:moveTo>
                    <a:pt x="74" y="74"/>
                  </a:moveTo>
                  <a:lnTo>
                    <a:pt x="72" y="74"/>
                  </a:lnTo>
                  <a:lnTo>
                    <a:pt x="72" y="74"/>
                  </a:lnTo>
                  <a:lnTo>
                    <a:pt x="72" y="77"/>
                  </a:lnTo>
                  <a:lnTo>
                    <a:pt x="72" y="77"/>
                  </a:lnTo>
                  <a:lnTo>
                    <a:pt x="77" y="79"/>
                  </a:lnTo>
                  <a:lnTo>
                    <a:pt x="77" y="77"/>
                  </a:lnTo>
                  <a:lnTo>
                    <a:pt x="77" y="77"/>
                  </a:lnTo>
                  <a:lnTo>
                    <a:pt x="77" y="77"/>
                  </a:lnTo>
                  <a:lnTo>
                    <a:pt x="77" y="74"/>
                  </a:lnTo>
                  <a:lnTo>
                    <a:pt x="74" y="74"/>
                  </a:lnTo>
                  <a:close/>
                  <a:moveTo>
                    <a:pt x="3" y="59"/>
                  </a:moveTo>
                  <a:lnTo>
                    <a:pt x="0" y="61"/>
                  </a:lnTo>
                  <a:lnTo>
                    <a:pt x="3" y="61"/>
                  </a:lnTo>
                  <a:lnTo>
                    <a:pt x="3" y="61"/>
                  </a:lnTo>
                  <a:lnTo>
                    <a:pt x="3" y="61"/>
                  </a:lnTo>
                  <a:lnTo>
                    <a:pt x="5" y="59"/>
                  </a:lnTo>
                  <a:lnTo>
                    <a:pt x="3" y="59"/>
                  </a:lnTo>
                  <a:lnTo>
                    <a:pt x="3" y="59"/>
                  </a:lnTo>
                  <a:close/>
                  <a:moveTo>
                    <a:pt x="472" y="13"/>
                  </a:moveTo>
                  <a:lnTo>
                    <a:pt x="469" y="13"/>
                  </a:lnTo>
                  <a:lnTo>
                    <a:pt x="469" y="13"/>
                  </a:lnTo>
                  <a:lnTo>
                    <a:pt x="467" y="10"/>
                  </a:lnTo>
                  <a:lnTo>
                    <a:pt x="467" y="10"/>
                  </a:lnTo>
                  <a:lnTo>
                    <a:pt x="464" y="10"/>
                  </a:lnTo>
                  <a:lnTo>
                    <a:pt x="464" y="10"/>
                  </a:lnTo>
                  <a:lnTo>
                    <a:pt x="464" y="8"/>
                  </a:lnTo>
                  <a:lnTo>
                    <a:pt x="464" y="8"/>
                  </a:lnTo>
                  <a:lnTo>
                    <a:pt x="464" y="5"/>
                  </a:lnTo>
                  <a:lnTo>
                    <a:pt x="464" y="5"/>
                  </a:lnTo>
                  <a:lnTo>
                    <a:pt x="461" y="5"/>
                  </a:lnTo>
                  <a:lnTo>
                    <a:pt x="461" y="5"/>
                  </a:lnTo>
                  <a:lnTo>
                    <a:pt x="459" y="5"/>
                  </a:lnTo>
                  <a:lnTo>
                    <a:pt x="459" y="5"/>
                  </a:lnTo>
                  <a:lnTo>
                    <a:pt x="456" y="5"/>
                  </a:lnTo>
                  <a:lnTo>
                    <a:pt x="454" y="5"/>
                  </a:lnTo>
                  <a:lnTo>
                    <a:pt x="454" y="5"/>
                  </a:lnTo>
                  <a:lnTo>
                    <a:pt x="454" y="5"/>
                  </a:lnTo>
                  <a:lnTo>
                    <a:pt x="454" y="5"/>
                  </a:lnTo>
                  <a:lnTo>
                    <a:pt x="454" y="5"/>
                  </a:lnTo>
                  <a:lnTo>
                    <a:pt x="454" y="5"/>
                  </a:lnTo>
                  <a:lnTo>
                    <a:pt x="451" y="8"/>
                  </a:lnTo>
                  <a:lnTo>
                    <a:pt x="449" y="8"/>
                  </a:lnTo>
                  <a:lnTo>
                    <a:pt x="446" y="8"/>
                  </a:lnTo>
                  <a:lnTo>
                    <a:pt x="446" y="8"/>
                  </a:lnTo>
                  <a:lnTo>
                    <a:pt x="446" y="8"/>
                  </a:lnTo>
                  <a:lnTo>
                    <a:pt x="444" y="5"/>
                  </a:lnTo>
                  <a:lnTo>
                    <a:pt x="441" y="8"/>
                  </a:lnTo>
                  <a:lnTo>
                    <a:pt x="441" y="8"/>
                  </a:lnTo>
                  <a:lnTo>
                    <a:pt x="439" y="8"/>
                  </a:lnTo>
                  <a:lnTo>
                    <a:pt x="436" y="8"/>
                  </a:lnTo>
                  <a:lnTo>
                    <a:pt x="436" y="8"/>
                  </a:lnTo>
                  <a:lnTo>
                    <a:pt x="436" y="8"/>
                  </a:lnTo>
                  <a:lnTo>
                    <a:pt x="436" y="8"/>
                  </a:lnTo>
                  <a:lnTo>
                    <a:pt x="433" y="5"/>
                  </a:lnTo>
                  <a:lnTo>
                    <a:pt x="433" y="5"/>
                  </a:lnTo>
                  <a:lnTo>
                    <a:pt x="436" y="3"/>
                  </a:lnTo>
                  <a:lnTo>
                    <a:pt x="436" y="3"/>
                  </a:lnTo>
                  <a:lnTo>
                    <a:pt x="436" y="3"/>
                  </a:lnTo>
                  <a:lnTo>
                    <a:pt x="436" y="3"/>
                  </a:lnTo>
                  <a:lnTo>
                    <a:pt x="436" y="0"/>
                  </a:lnTo>
                  <a:lnTo>
                    <a:pt x="433" y="0"/>
                  </a:lnTo>
                  <a:lnTo>
                    <a:pt x="433" y="3"/>
                  </a:lnTo>
                  <a:lnTo>
                    <a:pt x="428" y="3"/>
                  </a:lnTo>
                  <a:lnTo>
                    <a:pt x="428" y="3"/>
                  </a:lnTo>
                  <a:lnTo>
                    <a:pt x="426" y="3"/>
                  </a:lnTo>
                  <a:lnTo>
                    <a:pt x="423" y="5"/>
                  </a:lnTo>
                  <a:lnTo>
                    <a:pt x="423" y="8"/>
                  </a:lnTo>
                  <a:lnTo>
                    <a:pt x="421" y="10"/>
                  </a:lnTo>
                  <a:lnTo>
                    <a:pt x="423" y="10"/>
                  </a:lnTo>
                  <a:lnTo>
                    <a:pt x="423" y="10"/>
                  </a:lnTo>
                  <a:lnTo>
                    <a:pt x="423" y="13"/>
                  </a:lnTo>
                  <a:lnTo>
                    <a:pt x="423" y="13"/>
                  </a:lnTo>
                  <a:lnTo>
                    <a:pt x="423" y="21"/>
                  </a:lnTo>
                  <a:lnTo>
                    <a:pt x="426" y="23"/>
                  </a:lnTo>
                  <a:lnTo>
                    <a:pt x="426" y="23"/>
                  </a:lnTo>
                  <a:lnTo>
                    <a:pt x="426" y="26"/>
                  </a:lnTo>
                  <a:lnTo>
                    <a:pt x="423" y="28"/>
                  </a:lnTo>
                  <a:lnTo>
                    <a:pt x="423" y="31"/>
                  </a:lnTo>
                  <a:lnTo>
                    <a:pt x="423" y="33"/>
                  </a:lnTo>
                  <a:lnTo>
                    <a:pt x="421" y="36"/>
                  </a:lnTo>
                  <a:lnTo>
                    <a:pt x="418" y="44"/>
                  </a:lnTo>
                  <a:lnTo>
                    <a:pt x="418" y="44"/>
                  </a:lnTo>
                  <a:lnTo>
                    <a:pt x="421" y="46"/>
                  </a:lnTo>
                  <a:lnTo>
                    <a:pt x="421" y="46"/>
                  </a:lnTo>
                  <a:lnTo>
                    <a:pt x="416" y="51"/>
                  </a:lnTo>
                  <a:lnTo>
                    <a:pt x="413" y="56"/>
                  </a:lnTo>
                  <a:lnTo>
                    <a:pt x="410" y="59"/>
                  </a:lnTo>
                  <a:lnTo>
                    <a:pt x="410" y="61"/>
                  </a:lnTo>
                  <a:lnTo>
                    <a:pt x="408" y="61"/>
                  </a:lnTo>
                  <a:lnTo>
                    <a:pt x="408" y="64"/>
                  </a:lnTo>
                  <a:lnTo>
                    <a:pt x="408" y="64"/>
                  </a:lnTo>
                  <a:lnTo>
                    <a:pt x="408" y="66"/>
                  </a:lnTo>
                  <a:lnTo>
                    <a:pt x="405" y="71"/>
                  </a:lnTo>
                  <a:lnTo>
                    <a:pt x="405" y="74"/>
                  </a:lnTo>
                  <a:lnTo>
                    <a:pt x="405" y="74"/>
                  </a:lnTo>
                  <a:lnTo>
                    <a:pt x="405" y="77"/>
                  </a:lnTo>
                  <a:lnTo>
                    <a:pt x="405" y="77"/>
                  </a:lnTo>
                  <a:lnTo>
                    <a:pt x="408" y="77"/>
                  </a:lnTo>
                  <a:lnTo>
                    <a:pt x="410" y="77"/>
                  </a:lnTo>
                  <a:lnTo>
                    <a:pt x="410" y="77"/>
                  </a:lnTo>
                  <a:lnTo>
                    <a:pt x="413" y="74"/>
                  </a:lnTo>
                  <a:lnTo>
                    <a:pt x="416" y="69"/>
                  </a:lnTo>
                  <a:lnTo>
                    <a:pt x="418" y="69"/>
                  </a:lnTo>
                  <a:lnTo>
                    <a:pt x="418" y="69"/>
                  </a:lnTo>
                  <a:lnTo>
                    <a:pt x="416" y="69"/>
                  </a:lnTo>
                  <a:lnTo>
                    <a:pt x="416" y="71"/>
                  </a:lnTo>
                  <a:lnTo>
                    <a:pt x="416" y="74"/>
                  </a:lnTo>
                  <a:lnTo>
                    <a:pt x="413" y="77"/>
                  </a:lnTo>
                  <a:lnTo>
                    <a:pt x="413" y="77"/>
                  </a:lnTo>
                  <a:lnTo>
                    <a:pt x="410" y="77"/>
                  </a:lnTo>
                  <a:lnTo>
                    <a:pt x="410" y="77"/>
                  </a:lnTo>
                  <a:lnTo>
                    <a:pt x="410" y="79"/>
                  </a:lnTo>
                  <a:lnTo>
                    <a:pt x="410" y="82"/>
                  </a:lnTo>
                  <a:lnTo>
                    <a:pt x="410" y="82"/>
                  </a:lnTo>
                  <a:lnTo>
                    <a:pt x="413" y="82"/>
                  </a:lnTo>
                  <a:lnTo>
                    <a:pt x="416" y="82"/>
                  </a:lnTo>
                  <a:lnTo>
                    <a:pt x="416" y="82"/>
                  </a:lnTo>
                  <a:lnTo>
                    <a:pt x="418" y="82"/>
                  </a:lnTo>
                  <a:lnTo>
                    <a:pt x="418" y="82"/>
                  </a:lnTo>
                  <a:lnTo>
                    <a:pt x="421" y="82"/>
                  </a:lnTo>
                  <a:lnTo>
                    <a:pt x="416" y="82"/>
                  </a:lnTo>
                  <a:lnTo>
                    <a:pt x="416" y="87"/>
                  </a:lnTo>
                  <a:lnTo>
                    <a:pt x="416" y="89"/>
                  </a:lnTo>
                  <a:lnTo>
                    <a:pt x="416" y="94"/>
                  </a:lnTo>
                  <a:lnTo>
                    <a:pt x="416" y="94"/>
                  </a:lnTo>
                  <a:lnTo>
                    <a:pt x="416" y="99"/>
                  </a:lnTo>
                  <a:lnTo>
                    <a:pt x="416" y="102"/>
                  </a:lnTo>
                  <a:lnTo>
                    <a:pt x="416" y="105"/>
                  </a:lnTo>
                  <a:lnTo>
                    <a:pt x="413" y="112"/>
                  </a:lnTo>
                  <a:lnTo>
                    <a:pt x="410" y="115"/>
                  </a:lnTo>
                  <a:lnTo>
                    <a:pt x="413" y="115"/>
                  </a:lnTo>
                  <a:lnTo>
                    <a:pt x="413" y="115"/>
                  </a:lnTo>
                  <a:lnTo>
                    <a:pt x="416" y="115"/>
                  </a:lnTo>
                  <a:lnTo>
                    <a:pt x="418" y="112"/>
                  </a:lnTo>
                  <a:lnTo>
                    <a:pt x="421" y="112"/>
                  </a:lnTo>
                  <a:lnTo>
                    <a:pt x="428" y="115"/>
                  </a:lnTo>
                  <a:lnTo>
                    <a:pt x="431" y="115"/>
                  </a:lnTo>
                  <a:lnTo>
                    <a:pt x="433" y="115"/>
                  </a:lnTo>
                  <a:lnTo>
                    <a:pt x="439" y="112"/>
                  </a:lnTo>
                  <a:lnTo>
                    <a:pt x="441" y="112"/>
                  </a:lnTo>
                  <a:lnTo>
                    <a:pt x="441" y="105"/>
                  </a:lnTo>
                  <a:lnTo>
                    <a:pt x="441" y="105"/>
                  </a:lnTo>
                  <a:lnTo>
                    <a:pt x="441" y="102"/>
                  </a:lnTo>
                  <a:lnTo>
                    <a:pt x="441" y="99"/>
                  </a:lnTo>
                  <a:lnTo>
                    <a:pt x="444" y="97"/>
                  </a:lnTo>
                  <a:lnTo>
                    <a:pt x="444" y="94"/>
                  </a:lnTo>
                  <a:lnTo>
                    <a:pt x="446" y="92"/>
                  </a:lnTo>
                  <a:lnTo>
                    <a:pt x="449" y="92"/>
                  </a:lnTo>
                  <a:lnTo>
                    <a:pt x="449" y="92"/>
                  </a:lnTo>
                  <a:lnTo>
                    <a:pt x="451" y="89"/>
                  </a:lnTo>
                  <a:lnTo>
                    <a:pt x="451" y="89"/>
                  </a:lnTo>
                  <a:lnTo>
                    <a:pt x="451" y="89"/>
                  </a:lnTo>
                  <a:lnTo>
                    <a:pt x="449" y="89"/>
                  </a:lnTo>
                  <a:lnTo>
                    <a:pt x="444" y="82"/>
                  </a:lnTo>
                  <a:lnTo>
                    <a:pt x="444" y="82"/>
                  </a:lnTo>
                  <a:lnTo>
                    <a:pt x="446" y="79"/>
                  </a:lnTo>
                  <a:lnTo>
                    <a:pt x="446" y="77"/>
                  </a:lnTo>
                  <a:lnTo>
                    <a:pt x="446" y="77"/>
                  </a:lnTo>
                  <a:lnTo>
                    <a:pt x="446" y="74"/>
                  </a:lnTo>
                  <a:lnTo>
                    <a:pt x="449" y="74"/>
                  </a:lnTo>
                  <a:lnTo>
                    <a:pt x="451" y="71"/>
                  </a:lnTo>
                  <a:lnTo>
                    <a:pt x="451" y="69"/>
                  </a:lnTo>
                  <a:lnTo>
                    <a:pt x="451" y="69"/>
                  </a:lnTo>
                  <a:lnTo>
                    <a:pt x="451" y="66"/>
                  </a:lnTo>
                  <a:lnTo>
                    <a:pt x="449" y="66"/>
                  </a:lnTo>
                  <a:lnTo>
                    <a:pt x="446" y="61"/>
                  </a:lnTo>
                  <a:lnTo>
                    <a:pt x="446" y="59"/>
                  </a:lnTo>
                  <a:lnTo>
                    <a:pt x="446" y="59"/>
                  </a:lnTo>
                  <a:lnTo>
                    <a:pt x="444" y="56"/>
                  </a:lnTo>
                  <a:lnTo>
                    <a:pt x="444" y="54"/>
                  </a:lnTo>
                  <a:lnTo>
                    <a:pt x="444" y="54"/>
                  </a:lnTo>
                  <a:lnTo>
                    <a:pt x="444" y="54"/>
                  </a:lnTo>
                  <a:lnTo>
                    <a:pt x="451" y="54"/>
                  </a:lnTo>
                  <a:lnTo>
                    <a:pt x="451" y="54"/>
                  </a:lnTo>
                  <a:lnTo>
                    <a:pt x="451" y="54"/>
                  </a:lnTo>
                  <a:lnTo>
                    <a:pt x="454" y="51"/>
                  </a:lnTo>
                  <a:lnTo>
                    <a:pt x="454" y="49"/>
                  </a:lnTo>
                  <a:lnTo>
                    <a:pt x="456" y="49"/>
                  </a:lnTo>
                  <a:lnTo>
                    <a:pt x="454" y="49"/>
                  </a:lnTo>
                  <a:lnTo>
                    <a:pt x="454" y="46"/>
                  </a:lnTo>
                  <a:lnTo>
                    <a:pt x="454" y="46"/>
                  </a:lnTo>
                  <a:lnTo>
                    <a:pt x="454" y="44"/>
                  </a:lnTo>
                  <a:lnTo>
                    <a:pt x="454" y="44"/>
                  </a:lnTo>
                  <a:lnTo>
                    <a:pt x="456" y="41"/>
                  </a:lnTo>
                  <a:lnTo>
                    <a:pt x="456" y="41"/>
                  </a:lnTo>
                  <a:lnTo>
                    <a:pt x="456" y="41"/>
                  </a:lnTo>
                  <a:lnTo>
                    <a:pt x="456" y="38"/>
                  </a:lnTo>
                  <a:lnTo>
                    <a:pt x="456" y="38"/>
                  </a:lnTo>
                  <a:lnTo>
                    <a:pt x="456" y="38"/>
                  </a:lnTo>
                  <a:lnTo>
                    <a:pt x="459" y="36"/>
                  </a:lnTo>
                  <a:lnTo>
                    <a:pt x="459" y="33"/>
                  </a:lnTo>
                  <a:lnTo>
                    <a:pt x="459" y="31"/>
                  </a:lnTo>
                  <a:lnTo>
                    <a:pt x="456" y="28"/>
                  </a:lnTo>
                  <a:lnTo>
                    <a:pt x="456" y="26"/>
                  </a:lnTo>
                  <a:lnTo>
                    <a:pt x="456" y="26"/>
                  </a:lnTo>
                  <a:lnTo>
                    <a:pt x="456" y="26"/>
                  </a:lnTo>
                  <a:lnTo>
                    <a:pt x="459" y="23"/>
                  </a:lnTo>
                  <a:lnTo>
                    <a:pt x="461" y="21"/>
                  </a:lnTo>
                  <a:lnTo>
                    <a:pt x="464" y="21"/>
                  </a:lnTo>
                  <a:lnTo>
                    <a:pt x="467" y="18"/>
                  </a:lnTo>
                  <a:lnTo>
                    <a:pt x="469" y="16"/>
                  </a:lnTo>
                  <a:lnTo>
                    <a:pt x="469" y="16"/>
                  </a:lnTo>
                  <a:lnTo>
                    <a:pt x="472" y="16"/>
                  </a:lnTo>
                  <a:lnTo>
                    <a:pt x="472" y="13"/>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224" name="Freeform 1843">
              <a:extLst>
                <a:ext uri="{FF2B5EF4-FFF2-40B4-BE49-F238E27FC236}">
                  <a16:creationId xmlns:a16="http://schemas.microsoft.com/office/drawing/2014/main" id="{D2B9323F-9B40-5B48-A79F-85FD3D8731E6}"/>
                </a:ext>
              </a:extLst>
            </p:cNvPr>
            <p:cNvSpPr>
              <a:spLocks/>
            </p:cNvSpPr>
            <p:nvPr/>
          </p:nvSpPr>
          <p:spPr bwMode="auto">
            <a:xfrm>
              <a:off x="6058427" y="1777723"/>
              <a:ext cx="282983" cy="209374"/>
            </a:xfrm>
            <a:custGeom>
              <a:avLst/>
              <a:gdLst>
                <a:gd name="T0" fmla="*/ 171 w 173"/>
                <a:gd name="T1" fmla="*/ 87 h 128"/>
                <a:gd name="T2" fmla="*/ 171 w 173"/>
                <a:gd name="T3" fmla="*/ 84 h 128"/>
                <a:gd name="T4" fmla="*/ 166 w 173"/>
                <a:gd name="T5" fmla="*/ 77 h 128"/>
                <a:gd name="T6" fmla="*/ 163 w 173"/>
                <a:gd name="T7" fmla="*/ 69 h 128"/>
                <a:gd name="T8" fmla="*/ 163 w 173"/>
                <a:gd name="T9" fmla="*/ 61 h 128"/>
                <a:gd name="T10" fmla="*/ 158 w 173"/>
                <a:gd name="T11" fmla="*/ 56 h 128"/>
                <a:gd name="T12" fmla="*/ 156 w 173"/>
                <a:gd name="T13" fmla="*/ 51 h 128"/>
                <a:gd name="T14" fmla="*/ 166 w 173"/>
                <a:gd name="T15" fmla="*/ 46 h 128"/>
                <a:gd name="T16" fmla="*/ 163 w 173"/>
                <a:gd name="T17" fmla="*/ 33 h 128"/>
                <a:gd name="T18" fmla="*/ 158 w 173"/>
                <a:gd name="T19" fmla="*/ 16 h 128"/>
                <a:gd name="T20" fmla="*/ 151 w 173"/>
                <a:gd name="T21" fmla="*/ 13 h 128"/>
                <a:gd name="T22" fmla="*/ 145 w 173"/>
                <a:gd name="T23" fmla="*/ 11 h 128"/>
                <a:gd name="T24" fmla="*/ 125 w 173"/>
                <a:gd name="T25" fmla="*/ 11 h 128"/>
                <a:gd name="T26" fmla="*/ 92 w 173"/>
                <a:gd name="T27" fmla="*/ 8 h 128"/>
                <a:gd name="T28" fmla="*/ 79 w 173"/>
                <a:gd name="T29" fmla="*/ 11 h 128"/>
                <a:gd name="T30" fmla="*/ 74 w 173"/>
                <a:gd name="T31" fmla="*/ 3 h 128"/>
                <a:gd name="T32" fmla="*/ 64 w 173"/>
                <a:gd name="T33" fmla="*/ 0 h 128"/>
                <a:gd name="T34" fmla="*/ 38 w 173"/>
                <a:gd name="T35" fmla="*/ 5 h 128"/>
                <a:gd name="T36" fmla="*/ 31 w 173"/>
                <a:gd name="T37" fmla="*/ 13 h 128"/>
                <a:gd name="T38" fmla="*/ 0 w 173"/>
                <a:gd name="T39" fmla="*/ 21 h 128"/>
                <a:gd name="T40" fmla="*/ 5 w 173"/>
                <a:gd name="T41" fmla="*/ 23 h 128"/>
                <a:gd name="T42" fmla="*/ 5 w 173"/>
                <a:gd name="T43" fmla="*/ 26 h 128"/>
                <a:gd name="T44" fmla="*/ 5 w 173"/>
                <a:gd name="T45" fmla="*/ 33 h 128"/>
                <a:gd name="T46" fmla="*/ 0 w 173"/>
                <a:gd name="T47" fmla="*/ 41 h 128"/>
                <a:gd name="T48" fmla="*/ 8 w 173"/>
                <a:gd name="T49" fmla="*/ 51 h 128"/>
                <a:gd name="T50" fmla="*/ 10 w 173"/>
                <a:gd name="T51" fmla="*/ 56 h 128"/>
                <a:gd name="T52" fmla="*/ 10 w 173"/>
                <a:gd name="T53" fmla="*/ 61 h 128"/>
                <a:gd name="T54" fmla="*/ 8 w 173"/>
                <a:gd name="T55" fmla="*/ 67 h 128"/>
                <a:gd name="T56" fmla="*/ 10 w 173"/>
                <a:gd name="T57" fmla="*/ 72 h 128"/>
                <a:gd name="T58" fmla="*/ 15 w 173"/>
                <a:gd name="T59" fmla="*/ 82 h 128"/>
                <a:gd name="T60" fmla="*/ 15 w 173"/>
                <a:gd name="T61" fmla="*/ 87 h 128"/>
                <a:gd name="T62" fmla="*/ 21 w 173"/>
                <a:gd name="T63" fmla="*/ 84 h 128"/>
                <a:gd name="T64" fmla="*/ 23 w 173"/>
                <a:gd name="T65" fmla="*/ 87 h 128"/>
                <a:gd name="T66" fmla="*/ 31 w 173"/>
                <a:gd name="T67" fmla="*/ 92 h 128"/>
                <a:gd name="T68" fmla="*/ 38 w 173"/>
                <a:gd name="T69" fmla="*/ 92 h 128"/>
                <a:gd name="T70" fmla="*/ 38 w 173"/>
                <a:gd name="T71" fmla="*/ 94 h 128"/>
                <a:gd name="T72" fmla="*/ 38 w 173"/>
                <a:gd name="T73" fmla="*/ 97 h 128"/>
                <a:gd name="T74" fmla="*/ 43 w 173"/>
                <a:gd name="T75" fmla="*/ 102 h 128"/>
                <a:gd name="T76" fmla="*/ 49 w 173"/>
                <a:gd name="T77" fmla="*/ 102 h 128"/>
                <a:gd name="T78" fmla="*/ 49 w 173"/>
                <a:gd name="T79" fmla="*/ 97 h 128"/>
                <a:gd name="T80" fmla="*/ 61 w 173"/>
                <a:gd name="T81" fmla="*/ 100 h 128"/>
                <a:gd name="T82" fmla="*/ 64 w 173"/>
                <a:gd name="T83" fmla="*/ 102 h 128"/>
                <a:gd name="T84" fmla="*/ 64 w 173"/>
                <a:gd name="T85" fmla="*/ 105 h 128"/>
                <a:gd name="T86" fmla="*/ 69 w 173"/>
                <a:gd name="T87" fmla="*/ 105 h 128"/>
                <a:gd name="T88" fmla="*/ 72 w 173"/>
                <a:gd name="T89" fmla="*/ 107 h 128"/>
                <a:gd name="T90" fmla="*/ 79 w 173"/>
                <a:gd name="T91" fmla="*/ 107 h 128"/>
                <a:gd name="T92" fmla="*/ 82 w 173"/>
                <a:gd name="T93" fmla="*/ 115 h 128"/>
                <a:gd name="T94" fmla="*/ 89 w 173"/>
                <a:gd name="T95" fmla="*/ 120 h 128"/>
                <a:gd name="T96" fmla="*/ 94 w 173"/>
                <a:gd name="T97" fmla="*/ 115 h 128"/>
                <a:gd name="T98" fmla="*/ 97 w 173"/>
                <a:gd name="T99" fmla="*/ 120 h 128"/>
                <a:gd name="T100" fmla="*/ 100 w 173"/>
                <a:gd name="T101" fmla="*/ 122 h 128"/>
                <a:gd name="T102" fmla="*/ 105 w 173"/>
                <a:gd name="T103" fmla="*/ 122 h 128"/>
                <a:gd name="T104" fmla="*/ 110 w 173"/>
                <a:gd name="T105" fmla="*/ 120 h 128"/>
                <a:gd name="T106" fmla="*/ 115 w 173"/>
                <a:gd name="T107" fmla="*/ 120 h 128"/>
                <a:gd name="T108" fmla="*/ 123 w 173"/>
                <a:gd name="T109" fmla="*/ 120 h 128"/>
                <a:gd name="T110" fmla="*/ 133 w 173"/>
                <a:gd name="T111" fmla="*/ 117 h 128"/>
                <a:gd name="T112" fmla="*/ 140 w 173"/>
                <a:gd name="T113" fmla="*/ 122 h 128"/>
                <a:gd name="T114" fmla="*/ 151 w 173"/>
                <a:gd name="T115" fmla="*/ 128 h 128"/>
                <a:gd name="T116" fmla="*/ 153 w 173"/>
                <a:gd name="T117" fmla="*/ 125 h 128"/>
                <a:gd name="T118" fmla="*/ 151 w 173"/>
                <a:gd name="T119" fmla="*/ 120 h 128"/>
                <a:gd name="T120" fmla="*/ 156 w 173"/>
                <a:gd name="T121" fmla="*/ 110 h 128"/>
                <a:gd name="T122" fmla="*/ 166 w 173"/>
                <a:gd name="T123" fmla="*/ 100 h 128"/>
                <a:gd name="T124" fmla="*/ 173 w 173"/>
                <a:gd name="T125" fmla="*/ 9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3" h="128">
                  <a:moveTo>
                    <a:pt x="173" y="92"/>
                  </a:moveTo>
                  <a:lnTo>
                    <a:pt x="173" y="89"/>
                  </a:lnTo>
                  <a:lnTo>
                    <a:pt x="171" y="89"/>
                  </a:lnTo>
                  <a:lnTo>
                    <a:pt x="171" y="89"/>
                  </a:lnTo>
                  <a:lnTo>
                    <a:pt x="171" y="87"/>
                  </a:lnTo>
                  <a:lnTo>
                    <a:pt x="171" y="87"/>
                  </a:lnTo>
                  <a:lnTo>
                    <a:pt x="173" y="87"/>
                  </a:lnTo>
                  <a:lnTo>
                    <a:pt x="173" y="87"/>
                  </a:lnTo>
                  <a:lnTo>
                    <a:pt x="173" y="87"/>
                  </a:lnTo>
                  <a:lnTo>
                    <a:pt x="171" y="84"/>
                  </a:lnTo>
                  <a:lnTo>
                    <a:pt x="171" y="84"/>
                  </a:lnTo>
                  <a:lnTo>
                    <a:pt x="168" y="82"/>
                  </a:lnTo>
                  <a:lnTo>
                    <a:pt x="166" y="77"/>
                  </a:lnTo>
                  <a:lnTo>
                    <a:pt x="166" y="77"/>
                  </a:lnTo>
                  <a:lnTo>
                    <a:pt x="166" y="77"/>
                  </a:lnTo>
                  <a:lnTo>
                    <a:pt x="166" y="74"/>
                  </a:lnTo>
                  <a:lnTo>
                    <a:pt x="163" y="74"/>
                  </a:lnTo>
                  <a:lnTo>
                    <a:pt x="163" y="72"/>
                  </a:lnTo>
                  <a:lnTo>
                    <a:pt x="163" y="69"/>
                  </a:lnTo>
                  <a:lnTo>
                    <a:pt x="163" y="69"/>
                  </a:lnTo>
                  <a:lnTo>
                    <a:pt x="163" y="67"/>
                  </a:lnTo>
                  <a:lnTo>
                    <a:pt x="163" y="67"/>
                  </a:lnTo>
                  <a:lnTo>
                    <a:pt x="163" y="64"/>
                  </a:lnTo>
                  <a:lnTo>
                    <a:pt x="163" y="61"/>
                  </a:lnTo>
                  <a:lnTo>
                    <a:pt x="163" y="61"/>
                  </a:lnTo>
                  <a:lnTo>
                    <a:pt x="163" y="61"/>
                  </a:lnTo>
                  <a:lnTo>
                    <a:pt x="163" y="59"/>
                  </a:lnTo>
                  <a:lnTo>
                    <a:pt x="161" y="59"/>
                  </a:lnTo>
                  <a:lnTo>
                    <a:pt x="161" y="59"/>
                  </a:lnTo>
                  <a:lnTo>
                    <a:pt x="158" y="56"/>
                  </a:lnTo>
                  <a:lnTo>
                    <a:pt x="156" y="56"/>
                  </a:lnTo>
                  <a:lnTo>
                    <a:pt x="156" y="56"/>
                  </a:lnTo>
                  <a:lnTo>
                    <a:pt x="156" y="54"/>
                  </a:lnTo>
                  <a:lnTo>
                    <a:pt x="156" y="54"/>
                  </a:lnTo>
                  <a:lnTo>
                    <a:pt x="156" y="51"/>
                  </a:lnTo>
                  <a:lnTo>
                    <a:pt x="158" y="51"/>
                  </a:lnTo>
                  <a:lnTo>
                    <a:pt x="161" y="49"/>
                  </a:lnTo>
                  <a:lnTo>
                    <a:pt x="166" y="46"/>
                  </a:lnTo>
                  <a:lnTo>
                    <a:pt x="166" y="46"/>
                  </a:lnTo>
                  <a:lnTo>
                    <a:pt x="166" y="46"/>
                  </a:lnTo>
                  <a:lnTo>
                    <a:pt x="166" y="44"/>
                  </a:lnTo>
                  <a:lnTo>
                    <a:pt x="166" y="41"/>
                  </a:lnTo>
                  <a:lnTo>
                    <a:pt x="166" y="39"/>
                  </a:lnTo>
                  <a:lnTo>
                    <a:pt x="166" y="39"/>
                  </a:lnTo>
                  <a:lnTo>
                    <a:pt x="163" y="33"/>
                  </a:lnTo>
                  <a:lnTo>
                    <a:pt x="161" y="26"/>
                  </a:lnTo>
                  <a:lnTo>
                    <a:pt x="158" y="21"/>
                  </a:lnTo>
                  <a:lnTo>
                    <a:pt x="158" y="18"/>
                  </a:lnTo>
                  <a:lnTo>
                    <a:pt x="158" y="18"/>
                  </a:lnTo>
                  <a:lnTo>
                    <a:pt x="158" y="16"/>
                  </a:lnTo>
                  <a:lnTo>
                    <a:pt x="156" y="16"/>
                  </a:lnTo>
                  <a:lnTo>
                    <a:pt x="156" y="13"/>
                  </a:lnTo>
                  <a:lnTo>
                    <a:pt x="153" y="13"/>
                  </a:lnTo>
                  <a:lnTo>
                    <a:pt x="151" y="13"/>
                  </a:lnTo>
                  <a:lnTo>
                    <a:pt x="151" y="13"/>
                  </a:lnTo>
                  <a:lnTo>
                    <a:pt x="151" y="13"/>
                  </a:lnTo>
                  <a:lnTo>
                    <a:pt x="148" y="11"/>
                  </a:lnTo>
                  <a:lnTo>
                    <a:pt x="148" y="11"/>
                  </a:lnTo>
                  <a:lnTo>
                    <a:pt x="148" y="11"/>
                  </a:lnTo>
                  <a:lnTo>
                    <a:pt x="145" y="11"/>
                  </a:lnTo>
                  <a:lnTo>
                    <a:pt x="145" y="11"/>
                  </a:lnTo>
                  <a:lnTo>
                    <a:pt x="145" y="11"/>
                  </a:lnTo>
                  <a:lnTo>
                    <a:pt x="143" y="11"/>
                  </a:lnTo>
                  <a:lnTo>
                    <a:pt x="135" y="11"/>
                  </a:lnTo>
                  <a:lnTo>
                    <a:pt x="125" y="11"/>
                  </a:lnTo>
                  <a:lnTo>
                    <a:pt x="117" y="11"/>
                  </a:lnTo>
                  <a:lnTo>
                    <a:pt x="110" y="11"/>
                  </a:lnTo>
                  <a:lnTo>
                    <a:pt x="102" y="11"/>
                  </a:lnTo>
                  <a:lnTo>
                    <a:pt x="97" y="8"/>
                  </a:lnTo>
                  <a:lnTo>
                    <a:pt x="92" y="8"/>
                  </a:lnTo>
                  <a:lnTo>
                    <a:pt x="92" y="8"/>
                  </a:lnTo>
                  <a:lnTo>
                    <a:pt x="89" y="8"/>
                  </a:lnTo>
                  <a:lnTo>
                    <a:pt x="87" y="11"/>
                  </a:lnTo>
                  <a:lnTo>
                    <a:pt x="82" y="11"/>
                  </a:lnTo>
                  <a:lnTo>
                    <a:pt x="79" y="11"/>
                  </a:lnTo>
                  <a:lnTo>
                    <a:pt x="74" y="8"/>
                  </a:lnTo>
                  <a:lnTo>
                    <a:pt x="74" y="8"/>
                  </a:lnTo>
                  <a:lnTo>
                    <a:pt x="72" y="3"/>
                  </a:lnTo>
                  <a:lnTo>
                    <a:pt x="72" y="3"/>
                  </a:lnTo>
                  <a:lnTo>
                    <a:pt x="74" y="3"/>
                  </a:lnTo>
                  <a:lnTo>
                    <a:pt x="77" y="5"/>
                  </a:lnTo>
                  <a:lnTo>
                    <a:pt x="77" y="3"/>
                  </a:lnTo>
                  <a:lnTo>
                    <a:pt x="72" y="3"/>
                  </a:lnTo>
                  <a:lnTo>
                    <a:pt x="69" y="0"/>
                  </a:lnTo>
                  <a:lnTo>
                    <a:pt x="64" y="0"/>
                  </a:lnTo>
                  <a:lnTo>
                    <a:pt x="61" y="0"/>
                  </a:lnTo>
                  <a:lnTo>
                    <a:pt x="51" y="3"/>
                  </a:lnTo>
                  <a:lnTo>
                    <a:pt x="46" y="5"/>
                  </a:lnTo>
                  <a:lnTo>
                    <a:pt x="46" y="5"/>
                  </a:lnTo>
                  <a:lnTo>
                    <a:pt x="38" y="5"/>
                  </a:lnTo>
                  <a:lnTo>
                    <a:pt x="36" y="8"/>
                  </a:lnTo>
                  <a:lnTo>
                    <a:pt x="36" y="11"/>
                  </a:lnTo>
                  <a:lnTo>
                    <a:pt x="33" y="11"/>
                  </a:lnTo>
                  <a:lnTo>
                    <a:pt x="33" y="13"/>
                  </a:lnTo>
                  <a:lnTo>
                    <a:pt x="31" y="13"/>
                  </a:lnTo>
                  <a:lnTo>
                    <a:pt x="28" y="13"/>
                  </a:lnTo>
                  <a:lnTo>
                    <a:pt x="18" y="16"/>
                  </a:lnTo>
                  <a:lnTo>
                    <a:pt x="8" y="18"/>
                  </a:lnTo>
                  <a:lnTo>
                    <a:pt x="3" y="21"/>
                  </a:lnTo>
                  <a:lnTo>
                    <a:pt x="0" y="21"/>
                  </a:lnTo>
                  <a:lnTo>
                    <a:pt x="0" y="21"/>
                  </a:lnTo>
                  <a:lnTo>
                    <a:pt x="0" y="21"/>
                  </a:lnTo>
                  <a:lnTo>
                    <a:pt x="0" y="21"/>
                  </a:lnTo>
                  <a:lnTo>
                    <a:pt x="3" y="21"/>
                  </a:lnTo>
                  <a:lnTo>
                    <a:pt x="5" y="23"/>
                  </a:lnTo>
                  <a:lnTo>
                    <a:pt x="5" y="23"/>
                  </a:lnTo>
                  <a:lnTo>
                    <a:pt x="5" y="26"/>
                  </a:lnTo>
                  <a:lnTo>
                    <a:pt x="8" y="26"/>
                  </a:lnTo>
                  <a:lnTo>
                    <a:pt x="8" y="26"/>
                  </a:lnTo>
                  <a:lnTo>
                    <a:pt x="5" y="26"/>
                  </a:lnTo>
                  <a:lnTo>
                    <a:pt x="0" y="23"/>
                  </a:lnTo>
                  <a:lnTo>
                    <a:pt x="0" y="26"/>
                  </a:lnTo>
                  <a:lnTo>
                    <a:pt x="3" y="26"/>
                  </a:lnTo>
                  <a:lnTo>
                    <a:pt x="3" y="28"/>
                  </a:lnTo>
                  <a:lnTo>
                    <a:pt x="5" y="33"/>
                  </a:lnTo>
                  <a:lnTo>
                    <a:pt x="5" y="36"/>
                  </a:lnTo>
                  <a:lnTo>
                    <a:pt x="5" y="36"/>
                  </a:lnTo>
                  <a:lnTo>
                    <a:pt x="3" y="39"/>
                  </a:lnTo>
                  <a:lnTo>
                    <a:pt x="3" y="39"/>
                  </a:lnTo>
                  <a:lnTo>
                    <a:pt x="0" y="41"/>
                  </a:lnTo>
                  <a:lnTo>
                    <a:pt x="0" y="41"/>
                  </a:lnTo>
                  <a:lnTo>
                    <a:pt x="0" y="44"/>
                  </a:lnTo>
                  <a:lnTo>
                    <a:pt x="3" y="44"/>
                  </a:lnTo>
                  <a:lnTo>
                    <a:pt x="5" y="49"/>
                  </a:lnTo>
                  <a:lnTo>
                    <a:pt x="8" y="51"/>
                  </a:lnTo>
                  <a:lnTo>
                    <a:pt x="8" y="51"/>
                  </a:lnTo>
                  <a:lnTo>
                    <a:pt x="8" y="54"/>
                  </a:lnTo>
                  <a:lnTo>
                    <a:pt x="8" y="54"/>
                  </a:lnTo>
                  <a:lnTo>
                    <a:pt x="8" y="56"/>
                  </a:lnTo>
                  <a:lnTo>
                    <a:pt x="10" y="56"/>
                  </a:lnTo>
                  <a:lnTo>
                    <a:pt x="10" y="56"/>
                  </a:lnTo>
                  <a:lnTo>
                    <a:pt x="10" y="59"/>
                  </a:lnTo>
                  <a:lnTo>
                    <a:pt x="10" y="59"/>
                  </a:lnTo>
                  <a:lnTo>
                    <a:pt x="10" y="59"/>
                  </a:lnTo>
                  <a:lnTo>
                    <a:pt x="10" y="61"/>
                  </a:lnTo>
                  <a:lnTo>
                    <a:pt x="10" y="61"/>
                  </a:lnTo>
                  <a:lnTo>
                    <a:pt x="10" y="61"/>
                  </a:lnTo>
                  <a:lnTo>
                    <a:pt x="10" y="64"/>
                  </a:lnTo>
                  <a:lnTo>
                    <a:pt x="8" y="67"/>
                  </a:lnTo>
                  <a:lnTo>
                    <a:pt x="8" y="67"/>
                  </a:lnTo>
                  <a:lnTo>
                    <a:pt x="10" y="69"/>
                  </a:lnTo>
                  <a:lnTo>
                    <a:pt x="10" y="69"/>
                  </a:lnTo>
                  <a:lnTo>
                    <a:pt x="10" y="69"/>
                  </a:lnTo>
                  <a:lnTo>
                    <a:pt x="10" y="72"/>
                  </a:lnTo>
                  <a:lnTo>
                    <a:pt x="10" y="72"/>
                  </a:lnTo>
                  <a:lnTo>
                    <a:pt x="13" y="74"/>
                  </a:lnTo>
                  <a:lnTo>
                    <a:pt x="13" y="74"/>
                  </a:lnTo>
                  <a:lnTo>
                    <a:pt x="15" y="74"/>
                  </a:lnTo>
                  <a:lnTo>
                    <a:pt x="15" y="79"/>
                  </a:lnTo>
                  <a:lnTo>
                    <a:pt x="15" y="82"/>
                  </a:lnTo>
                  <a:lnTo>
                    <a:pt x="13" y="84"/>
                  </a:lnTo>
                  <a:lnTo>
                    <a:pt x="13" y="87"/>
                  </a:lnTo>
                  <a:lnTo>
                    <a:pt x="13" y="87"/>
                  </a:lnTo>
                  <a:lnTo>
                    <a:pt x="13" y="87"/>
                  </a:lnTo>
                  <a:lnTo>
                    <a:pt x="15" y="87"/>
                  </a:lnTo>
                  <a:lnTo>
                    <a:pt x="15" y="84"/>
                  </a:lnTo>
                  <a:lnTo>
                    <a:pt x="15" y="84"/>
                  </a:lnTo>
                  <a:lnTo>
                    <a:pt x="15" y="84"/>
                  </a:lnTo>
                  <a:lnTo>
                    <a:pt x="18" y="84"/>
                  </a:lnTo>
                  <a:lnTo>
                    <a:pt x="21" y="84"/>
                  </a:lnTo>
                  <a:lnTo>
                    <a:pt x="21" y="87"/>
                  </a:lnTo>
                  <a:lnTo>
                    <a:pt x="21" y="87"/>
                  </a:lnTo>
                  <a:lnTo>
                    <a:pt x="21" y="87"/>
                  </a:lnTo>
                  <a:lnTo>
                    <a:pt x="23" y="87"/>
                  </a:lnTo>
                  <a:lnTo>
                    <a:pt x="23" y="87"/>
                  </a:lnTo>
                  <a:lnTo>
                    <a:pt x="26" y="89"/>
                  </a:lnTo>
                  <a:lnTo>
                    <a:pt x="28" y="89"/>
                  </a:lnTo>
                  <a:lnTo>
                    <a:pt x="31" y="89"/>
                  </a:lnTo>
                  <a:lnTo>
                    <a:pt x="31" y="89"/>
                  </a:lnTo>
                  <a:lnTo>
                    <a:pt x="31" y="92"/>
                  </a:lnTo>
                  <a:lnTo>
                    <a:pt x="33" y="92"/>
                  </a:lnTo>
                  <a:lnTo>
                    <a:pt x="33" y="92"/>
                  </a:lnTo>
                  <a:lnTo>
                    <a:pt x="33" y="92"/>
                  </a:lnTo>
                  <a:lnTo>
                    <a:pt x="38" y="92"/>
                  </a:lnTo>
                  <a:lnTo>
                    <a:pt x="38" y="92"/>
                  </a:lnTo>
                  <a:lnTo>
                    <a:pt x="41" y="92"/>
                  </a:lnTo>
                  <a:lnTo>
                    <a:pt x="41" y="92"/>
                  </a:lnTo>
                  <a:lnTo>
                    <a:pt x="38" y="94"/>
                  </a:lnTo>
                  <a:lnTo>
                    <a:pt x="38" y="94"/>
                  </a:lnTo>
                  <a:lnTo>
                    <a:pt x="38" y="94"/>
                  </a:lnTo>
                  <a:lnTo>
                    <a:pt x="38" y="94"/>
                  </a:lnTo>
                  <a:lnTo>
                    <a:pt x="36" y="94"/>
                  </a:lnTo>
                  <a:lnTo>
                    <a:pt x="36" y="97"/>
                  </a:lnTo>
                  <a:lnTo>
                    <a:pt x="36" y="97"/>
                  </a:lnTo>
                  <a:lnTo>
                    <a:pt x="38" y="97"/>
                  </a:lnTo>
                  <a:lnTo>
                    <a:pt x="38" y="97"/>
                  </a:lnTo>
                  <a:lnTo>
                    <a:pt x="38" y="97"/>
                  </a:lnTo>
                  <a:lnTo>
                    <a:pt x="41" y="100"/>
                  </a:lnTo>
                  <a:lnTo>
                    <a:pt x="43" y="102"/>
                  </a:lnTo>
                  <a:lnTo>
                    <a:pt x="43" y="102"/>
                  </a:lnTo>
                  <a:lnTo>
                    <a:pt x="46" y="102"/>
                  </a:lnTo>
                  <a:lnTo>
                    <a:pt x="46" y="102"/>
                  </a:lnTo>
                  <a:lnTo>
                    <a:pt x="46" y="102"/>
                  </a:lnTo>
                  <a:lnTo>
                    <a:pt x="49" y="102"/>
                  </a:lnTo>
                  <a:lnTo>
                    <a:pt x="49" y="102"/>
                  </a:lnTo>
                  <a:lnTo>
                    <a:pt x="51" y="100"/>
                  </a:lnTo>
                  <a:lnTo>
                    <a:pt x="51" y="100"/>
                  </a:lnTo>
                  <a:lnTo>
                    <a:pt x="49" y="97"/>
                  </a:lnTo>
                  <a:lnTo>
                    <a:pt x="49" y="97"/>
                  </a:lnTo>
                  <a:lnTo>
                    <a:pt x="49" y="97"/>
                  </a:lnTo>
                  <a:lnTo>
                    <a:pt x="51" y="97"/>
                  </a:lnTo>
                  <a:lnTo>
                    <a:pt x="54" y="97"/>
                  </a:lnTo>
                  <a:lnTo>
                    <a:pt x="59" y="100"/>
                  </a:lnTo>
                  <a:lnTo>
                    <a:pt x="59" y="100"/>
                  </a:lnTo>
                  <a:lnTo>
                    <a:pt x="61" y="100"/>
                  </a:lnTo>
                  <a:lnTo>
                    <a:pt x="61" y="100"/>
                  </a:lnTo>
                  <a:lnTo>
                    <a:pt x="64" y="100"/>
                  </a:lnTo>
                  <a:lnTo>
                    <a:pt x="64" y="100"/>
                  </a:lnTo>
                  <a:lnTo>
                    <a:pt x="64" y="100"/>
                  </a:lnTo>
                  <a:lnTo>
                    <a:pt x="64" y="102"/>
                  </a:lnTo>
                  <a:lnTo>
                    <a:pt x="61" y="102"/>
                  </a:lnTo>
                  <a:lnTo>
                    <a:pt x="61" y="102"/>
                  </a:lnTo>
                  <a:lnTo>
                    <a:pt x="61" y="102"/>
                  </a:lnTo>
                  <a:lnTo>
                    <a:pt x="61" y="102"/>
                  </a:lnTo>
                  <a:lnTo>
                    <a:pt x="64" y="105"/>
                  </a:lnTo>
                  <a:lnTo>
                    <a:pt x="64" y="105"/>
                  </a:lnTo>
                  <a:lnTo>
                    <a:pt x="64" y="105"/>
                  </a:lnTo>
                  <a:lnTo>
                    <a:pt x="66" y="107"/>
                  </a:lnTo>
                  <a:lnTo>
                    <a:pt x="69" y="105"/>
                  </a:lnTo>
                  <a:lnTo>
                    <a:pt x="69" y="105"/>
                  </a:lnTo>
                  <a:lnTo>
                    <a:pt x="69" y="105"/>
                  </a:lnTo>
                  <a:lnTo>
                    <a:pt x="69" y="105"/>
                  </a:lnTo>
                  <a:lnTo>
                    <a:pt x="69" y="105"/>
                  </a:lnTo>
                  <a:lnTo>
                    <a:pt x="69" y="105"/>
                  </a:lnTo>
                  <a:lnTo>
                    <a:pt x="72" y="107"/>
                  </a:lnTo>
                  <a:lnTo>
                    <a:pt x="72" y="107"/>
                  </a:lnTo>
                  <a:lnTo>
                    <a:pt x="74" y="107"/>
                  </a:lnTo>
                  <a:lnTo>
                    <a:pt x="74" y="107"/>
                  </a:lnTo>
                  <a:lnTo>
                    <a:pt x="77" y="107"/>
                  </a:lnTo>
                  <a:lnTo>
                    <a:pt x="79" y="107"/>
                  </a:lnTo>
                  <a:lnTo>
                    <a:pt x="79" y="110"/>
                  </a:lnTo>
                  <a:lnTo>
                    <a:pt x="79" y="110"/>
                  </a:lnTo>
                  <a:lnTo>
                    <a:pt x="79" y="110"/>
                  </a:lnTo>
                  <a:lnTo>
                    <a:pt x="82" y="115"/>
                  </a:lnTo>
                  <a:lnTo>
                    <a:pt x="82" y="115"/>
                  </a:lnTo>
                  <a:lnTo>
                    <a:pt x="84" y="117"/>
                  </a:lnTo>
                  <a:lnTo>
                    <a:pt x="84" y="117"/>
                  </a:lnTo>
                  <a:lnTo>
                    <a:pt x="84" y="117"/>
                  </a:lnTo>
                  <a:lnTo>
                    <a:pt x="87" y="120"/>
                  </a:lnTo>
                  <a:lnTo>
                    <a:pt x="89" y="120"/>
                  </a:lnTo>
                  <a:lnTo>
                    <a:pt x="89" y="117"/>
                  </a:lnTo>
                  <a:lnTo>
                    <a:pt x="92" y="115"/>
                  </a:lnTo>
                  <a:lnTo>
                    <a:pt x="92" y="115"/>
                  </a:lnTo>
                  <a:lnTo>
                    <a:pt x="94" y="115"/>
                  </a:lnTo>
                  <a:lnTo>
                    <a:pt x="94" y="115"/>
                  </a:lnTo>
                  <a:lnTo>
                    <a:pt x="94" y="117"/>
                  </a:lnTo>
                  <a:lnTo>
                    <a:pt x="97" y="117"/>
                  </a:lnTo>
                  <a:lnTo>
                    <a:pt x="97" y="117"/>
                  </a:lnTo>
                  <a:lnTo>
                    <a:pt x="97" y="117"/>
                  </a:lnTo>
                  <a:lnTo>
                    <a:pt x="97" y="120"/>
                  </a:lnTo>
                  <a:lnTo>
                    <a:pt x="100" y="120"/>
                  </a:lnTo>
                  <a:lnTo>
                    <a:pt x="100" y="120"/>
                  </a:lnTo>
                  <a:lnTo>
                    <a:pt x="100" y="120"/>
                  </a:lnTo>
                  <a:lnTo>
                    <a:pt x="100" y="122"/>
                  </a:lnTo>
                  <a:lnTo>
                    <a:pt x="100" y="122"/>
                  </a:lnTo>
                  <a:lnTo>
                    <a:pt x="100" y="122"/>
                  </a:lnTo>
                  <a:lnTo>
                    <a:pt x="100" y="122"/>
                  </a:lnTo>
                  <a:lnTo>
                    <a:pt x="102" y="122"/>
                  </a:lnTo>
                  <a:lnTo>
                    <a:pt x="102" y="122"/>
                  </a:lnTo>
                  <a:lnTo>
                    <a:pt x="105" y="122"/>
                  </a:lnTo>
                  <a:lnTo>
                    <a:pt x="105" y="122"/>
                  </a:lnTo>
                  <a:lnTo>
                    <a:pt x="107" y="120"/>
                  </a:lnTo>
                  <a:lnTo>
                    <a:pt x="107" y="120"/>
                  </a:lnTo>
                  <a:lnTo>
                    <a:pt x="110" y="120"/>
                  </a:lnTo>
                  <a:lnTo>
                    <a:pt x="110" y="120"/>
                  </a:lnTo>
                  <a:lnTo>
                    <a:pt x="110" y="120"/>
                  </a:lnTo>
                  <a:lnTo>
                    <a:pt x="112" y="120"/>
                  </a:lnTo>
                  <a:lnTo>
                    <a:pt x="112" y="120"/>
                  </a:lnTo>
                  <a:lnTo>
                    <a:pt x="112" y="120"/>
                  </a:lnTo>
                  <a:lnTo>
                    <a:pt x="115" y="120"/>
                  </a:lnTo>
                  <a:lnTo>
                    <a:pt x="117" y="120"/>
                  </a:lnTo>
                  <a:lnTo>
                    <a:pt x="117" y="120"/>
                  </a:lnTo>
                  <a:lnTo>
                    <a:pt x="120" y="120"/>
                  </a:lnTo>
                  <a:lnTo>
                    <a:pt x="120" y="120"/>
                  </a:lnTo>
                  <a:lnTo>
                    <a:pt x="123" y="120"/>
                  </a:lnTo>
                  <a:lnTo>
                    <a:pt x="123" y="117"/>
                  </a:lnTo>
                  <a:lnTo>
                    <a:pt x="123" y="117"/>
                  </a:lnTo>
                  <a:lnTo>
                    <a:pt x="125" y="117"/>
                  </a:lnTo>
                  <a:lnTo>
                    <a:pt x="128" y="117"/>
                  </a:lnTo>
                  <a:lnTo>
                    <a:pt x="133" y="117"/>
                  </a:lnTo>
                  <a:lnTo>
                    <a:pt x="133" y="120"/>
                  </a:lnTo>
                  <a:lnTo>
                    <a:pt x="138" y="120"/>
                  </a:lnTo>
                  <a:lnTo>
                    <a:pt x="138" y="120"/>
                  </a:lnTo>
                  <a:lnTo>
                    <a:pt x="138" y="122"/>
                  </a:lnTo>
                  <a:lnTo>
                    <a:pt x="140" y="122"/>
                  </a:lnTo>
                  <a:lnTo>
                    <a:pt x="143" y="125"/>
                  </a:lnTo>
                  <a:lnTo>
                    <a:pt x="148" y="125"/>
                  </a:lnTo>
                  <a:lnTo>
                    <a:pt x="148" y="125"/>
                  </a:lnTo>
                  <a:lnTo>
                    <a:pt x="151" y="125"/>
                  </a:lnTo>
                  <a:lnTo>
                    <a:pt x="151" y="128"/>
                  </a:lnTo>
                  <a:lnTo>
                    <a:pt x="153" y="128"/>
                  </a:lnTo>
                  <a:lnTo>
                    <a:pt x="153" y="128"/>
                  </a:lnTo>
                  <a:lnTo>
                    <a:pt x="153" y="125"/>
                  </a:lnTo>
                  <a:lnTo>
                    <a:pt x="153" y="125"/>
                  </a:lnTo>
                  <a:lnTo>
                    <a:pt x="153" y="125"/>
                  </a:lnTo>
                  <a:lnTo>
                    <a:pt x="151" y="125"/>
                  </a:lnTo>
                  <a:lnTo>
                    <a:pt x="151" y="122"/>
                  </a:lnTo>
                  <a:lnTo>
                    <a:pt x="151" y="122"/>
                  </a:lnTo>
                  <a:lnTo>
                    <a:pt x="151" y="120"/>
                  </a:lnTo>
                  <a:lnTo>
                    <a:pt x="151" y="120"/>
                  </a:lnTo>
                  <a:lnTo>
                    <a:pt x="151" y="117"/>
                  </a:lnTo>
                  <a:lnTo>
                    <a:pt x="151" y="115"/>
                  </a:lnTo>
                  <a:lnTo>
                    <a:pt x="151" y="115"/>
                  </a:lnTo>
                  <a:lnTo>
                    <a:pt x="153" y="110"/>
                  </a:lnTo>
                  <a:lnTo>
                    <a:pt x="156" y="110"/>
                  </a:lnTo>
                  <a:lnTo>
                    <a:pt x="156" y="107"/>
                  </a:lnTo>
                  <a:lnTo>
                    <a:pt x="161" y="105"/>
                  </a:lnTo>
                  <a:lnTo>
                    <a:pt x="163" y="102"/>
                  </a:lnTo>
                  <a:lnTo>
                    <a:pt x="163" y="100"/>
                  </a:lnTo>
                  <a:lnTo>
                    <a:pt x="166" y="100"/>
                  </a:lnTo>
                  <a:lnTo>
                    <a:pt x="168" y="97"/>
                  </a:lnTo>
                  <a:lnTo>
                    <a:pt x="171" y="97"/>
                  </a:lnTo>
                  <a:lnTo>
                    <a:pt x="171" y="94"/>
                  </a:lnTo>
                  <a:lnTo>
                    <a:pt x="173" y="94"/>
                  </a:lnTo>
                  <a:lnTo>
                    <a:pt x="173" y="94"/>
                  </a:lnTo>
                  <a:lnTo>
                    <a:pt x="173" y="9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225" name="Freeform 1844">
              <a:extLst>
                <a:ext uri="{FF2B5EF4-FFF2-40B4-BE49-F238E27FC236}">
                  <a16:creationId xmlns:a16="http://schemas.microsoft.com/office/drawing/2014/main" id="{9AA23047-1920-8549-9917-5B512FF48A7C}"/>
                </a:ext>
              </a:extLst>
            </p:cNvPr>
            <p:cNvSpPr>
              <a:spLocks/>
            </p:cNvSpPr>
            <p:nvPr/>
          </p:nvSpPr>
          <p:spPr bwMode="auto">
            <a:xfrm>
              <a:off x="1506171" y="4704056"/>
              <a:ext cx="0" cy="4908"/>
            </a:xfrm>
            <a:custGeom>
              <a:avLst/>
              <a:gdLst>
                <a:gd name="T0" fmla="*/ 3 h 3"/>
                <a:gd name="T1" fmla="*/ 0 h 3"/>
                <a:gd name="T2" fmla="*/ 0 h 3"/>
                <a:gd name="T3" fmla="*/ 0 h 3"/>
                <a:gd name="T4" fmla="*/ 3 h 3"/>
                <a:gd name="T5" fmla="*/ 3 h 3"/>
                <a:gd name="T6" fmla="*/ 3 h 3"/>
                <a:gd name="T7" fmla="*/ 3 h 3"/>
                <a:gd name="T8" fmla="*/ 3 h 3"/>
              </a:gdLst>
              <a:ahLst/>
              <a:cxnLst>
                <a:cxn ang="0">
                  <a:pos x="0" y="T0"/>
                </a:cxn>
                <a:cxn ang="0">
                  <a:pos x="0" y="T1"/>
                </a:cxn>
                <a:cxn ang="0">
                  <a:pos x="0" y="T2"/>
                </a:cxn>
                <a:cxn ang="0">
                  <a:pos x="0" y="T3"/>
                </a:cxn>
                <a:cxn ang="0">
                  <a:pos x="0" y="T4"/>
                </a:cxn>
                <a:cxn ang="0">
                  <a:pos x="0" y="T5"/>
                </a:cxn>
                <a:cxn ang="0">
                  <a:pos x="0" y="T6"/>
                </a:cxn>
                <a:cxn ang="0">
                  <a:pos x="0" y="T7"/>
                </a:cxn>
                <a:cxn ang="0">
                  <a:pos x="0" y="T8"/>
                </a:cxn>
              </a:cxnLst>
              <a:rect l="0" t="0" r="r" b="b"/>
              <a:pathLst>
                <a:path h="3">
                  <a:moveTo>
                    <a:pt x="0" y="3"/>
                  </a:moveTo>
                  <a:lnTo>
                    <a:pt x="0" y="0"/>
                  </a:lnTo>
                  <a:lnTo>
                    <a:pt x="0" y="0"/>
                  </a:lnTo>
                  <a:lnTo>
                    <a:pt x="0" y="0"/>
                  </a:lnTo>
                  <a:lnTo>
                    <a:pt x="0" y="3"/>
                  </a:lnTo>
                  <a:lnTo>
                    <a:pt x="0" y="3"/>
                  </a:lnTo>
                  <a:lnTo>
                    <a:pt x="0" y="3"/>
                  </a:lnTo>
                  <a:lnTo>
                    <a:pt x="0" y="3"/>
                  </a:lnTo>
                  <a:lnTo>
                    <a:pt x="0" y="3"/>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226" name="Freeform 1845">
              <a:extLst>
                <a:ext uri="{FF2B5EF4-FFF2-40B4-BE49-F238E27FC236}">
                  <a16:creationId xmlns:a16="http://schemas.microsoft.com/office/drawing/2014/main" id="{D3544A61-55D0-1446-8D8C-CE2212355574}"/>
                </a:ext>
              </a:extLst>
            </p:cNvPr>
            <p:cNvSpPr>
              <a:spLocks noEditPoints="1"/>
            </p:cNvSpPr>
            <p:nvPr/>
          </p:nvSpPr>
          <p:spPr bwMode="auto">
            <a:xfrm>
              <a:off x="9444402" y="3027426"/>
              <a:ext cx="315698" cy="585594"/>
            </a:xfrm>
            <a:custGeom>
              <a:avLst/>
              <a:gdLst>
                <a:gd name="T0" fmla="*/ 86 w 193"/>
                <a:gd name="T1" fmla="*/ 336 h 358"/>
                <a:gd name="T2" fmla="*/ 102 w 193"/>
                <a:gd name="T3" fmla="*/ 328 h 358"/>
                <a:gd name="T4" fmla="*/ 119 w 193"/>
                <a:gd name="T5" fmla="*/ 305 h 358"/>
                <a:gd name="T6" fmla="*/ 153 w 193"/>
                <a:gd name="T7" fmla="*/ 264 h 358"/>
                <a:gd name="T8" fmla="*/ 178 w 193"/>
                <a:gd name="T9" fmla="*/ 252 h 358"/>
                <a:gd name="T10" fmla="*/ 186 w 193"/>
                <a:gd name="T11" fmla="*/ 272 h 358"/>
                <a:gd name="T12" fmla="*/ 163 w 193"/>
                <a:gd name="T13" fmla="*/ 272 h 358"/>
                <a:gd name="T14" fmla="*/ 135 w 193"/>
                <a:gd name="T15" fmla="*/ 290 h 358"/>
                <a:gd name="T16" fmla="*/ 119 w 193"/>
                <a:gd name="T17" fmla="*/ 287 h 358"/>
                <a:gd name="T18" fmla="*/ 109 w 193"/>
                <a:gd name="T19" fmla="*/ 305 h 358"/>
                <a:gd name="T20" fmla="*/ 130 w 193"/>
                <a:gd name="T21" fmla="*/ 297 h 358"/>
                <a:gd name="T22" fmla="*/ 145 w 193"/>
                <a:gd name="T23" fmla="*/ 323 h 358"/>
                <a:gd name="T24" fmla="*/ 175 w 193"/>
                <a:gd name="T25" fmla="*/ 341 h 358"/>
                <a:gd name="T26" fmla="*/ 183 w 193"/>
                <a:gd name="T27" fmla="*/ 318 h 358"/>
                <a:gd name="T28" fmla="*/ 181 w 193"/>
                <a:gd name="T29" fmla="*/ 249 h 358"/>
                <a:gd name="T30" fmla="*/ 137 w 193"/>
                <a:gd name="T31" fmla="*/ 254 h 358"/>
                <a:gd name="T32" fmla="*/ 168 w 193"/>
                <a:gd name="T33" fmla="*/ 236 h 358"/>
                <a:gd name="T34" fmla="*/ 56 w 193"/>
                <a:gd name="T35" fmla="*/ 234 h 358"/>
                <a:gd name="T36" fmla="*/ 109 w 193"/>
                <a:gd name="T37" fmla="*/ 231 h 358"/>
                <a:gd name="T38" fmla="*/ 124 w 193"/>
                <a:gd name="T39" fmla="*/ 262 h 358"/>
                <a:gd name="T40" fmla="*/ 114 w 193"/>
                <a:gd name="T41" fmla="*/ 226 h 358"/>
                <a:gd name="T42" fmla="*/ 137 w 193"/>
                <a:gd name="T43" fmla="*/ 219 h 358"/>
                <a:gd name="T44" fmla="*/ 130 w 193"/>
                <a:gd name="T45" fmla="*/ 247 h 358"/>
                <a:gd name="T46" fmla="*/ 45 w 193"/>
                <a:gd name="T47" fmla="*/ 216 h 358"/>
                <a:gd name="T48" fmla="*/ 20 w 193"/>
                <a:gd name="T49" fmla="*/ 262 h 358"/>
                <a:gd name="T50" fmla="*/ 15 w 193"/>
                <a:gd name="T51" fmla="*/ 275 h 358"/>
                <a:gd name="T52" fmla="*/ 45 w 193"/>
                <a:gd name="T53" fmla="*/ 239 h 358"/>
                <a:gd name="T54" fmla="*/ 163 w 193"/>
                <a:gd name="T55" fmla="*/ 239 h 358"/>
                <a:gd name="T56" fmla="*/ 145 w 193"/>
                <a:gd name="T57" fmla="*/ 213 h 358"/>
                <a:gd name="T58" fmla="*/ 153 w 193"/>
                <a:gd name="T59" fmla="*/ 244 h 358"/>
                <a:gd name="T60" fmla="*/ 150 w 193"/>
                <a:gd name="T61" fmla="*/ 208 h 358"/>
                <a:gd name="T62" fmla="*/ 117 w 193"/>
                <a:gd name="T63" fmla="*/ 211 h 358"/>
                <a:gd name="T64" fmla="*/ 96 w 193"/>
                <a:gd name="T65" fmla="*/ 221 h 358"/>
                <a:gd name="T66" fmla="*/ 53 w 193"/>
                <a:gd name="T67" fmla="*/ 206 h 358"/>
                <a:gd name="T68" fmla="*/ 51 w 193"/>
                <a:gd name="T69" fmla="*/ 196 h 358"/>
                <a:gd name="T70" fmla="*/ 102 w 193"/>
                <a:gd name="T71" fmla="*/ 188 h 358"/>
                <a:gd name="T72" fmla="*/ 160 w 193"/>
                <a:gd name="T73" fmla="*/ 221 h 358"/>
                <a:gd name="T74" fmla="*/ 163 w 193"/>
                <a:gd name="T75" fmla="*/ 196 h 358"/>
                <a:gd name="T76" fmla="*/ 124 w 193"/>
                <a:gd name="T77" fmla="*/ 196 h 358"/>
                <a:gd name="T78" fmla="*/ 117 w 193"/>
                <a:gd name="T79" fmla="*/ 191 h 358"/>
                <a:gd name="T80" fmla="*/ 91 w 193"/>
                <a:gd name="T81" fmla="*/ 193 h 358"/>
                <a:gd name="T82" fmla="*/ 112 w 193"/>
                <a:gd name="T83" fmla="*/ 178 h 358"/>
                <a:gd name="T84" fmla="*/ 68 w 193"/>
                <a:gd name="T85" fmla="*/ 168 h 358"/>
                <a:gd name="T86" fmla="*/ 68 w 193"/>
                <a:gd name="T87" fmla="*/ 183 h 358"/>
                <a:gd name="T88" fmla="*/ 89 w 193"/>
                <a:gd name="T89" fmla="*/ 165 h 358"/>
                <a:gd name="T90" fmla="*/ 51 w 193"/>
                <a:gd name="T91" fmla="*/ 157 h 358"/>
                <a:gd name="T92" fmla="*/ 86 w 193"/>
                <a:gd name="T93" fmla="*/ 150 h 358"/>
                <a:gd name="T94" fmla="*/ 84 w 193"/>
                <a:gd name="T95" fmla="*/ 137 h 358"/>
                <a:gd name="T96" fmla="*/ 56 w 193"/>
                <a:gd name="T97" fmla="*/ 145 h 358"/>
                <a:gd name="T98" fmla="*/ 63 w 193"/>
                <a:gd name="T99" fmla="*/ 157 h 358"/>
                <a:gd name="T100" fmla="*/ 102 w 193"/>
                <a:gd name="T101" fmla="*/ 173 h 358"/>
                <a:gd name="T102" fmla="*/ 117 w 193"/>
                <a:gd name="T103" fmla="*/ 173 h 358"/>
                <a:gd name="T104" fmla="*/ 127 w 193"/>
                <a:gd name="T105" fmla="*/ 175 h 358"/>
                <a:gd name="T106" fmla="*/ 114 w 193"/>
                <a:gd name="T107" fmla="*/ 157 h 358"/>
                <a:gd name="T108" fmla="*/ 94 w 193"/>
                <a:gd name="T109" fmla="*/ 155 h 358"/>
                <a:gd name="T110" fmla="*/ 73 w 193"/>
                <a:gd name="T111" fmla="*/ 122 h 358"/>
                <a:gd name="T112" fmla="*/ 86 w 193"/>
                <a:gd name="T113" fmla="*/ 81 h 358"/>
                <a:gd name="T114" fmla="*/ 68 w 193"/>
                <a:gd name="T115" fmla="*/ 56 h 358"/>
                <a:gd name="T116" fmla="*/ 45 w 193"/>
                <a:gd name="T117" fmla="*/ 91 h 358"/>
                <a:gd name="T118" fmla="*/ 68 w 193"/>
                <a:gd name="T119" fmla="*/ 46 h 358"/>
                <a:gd name="T120" fmla="*/ 61 w 193"/>
                <a:gd name="T121" fmla="*/ 33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3" h="358">
                  <a:moveTo>
                    <a:pt x="68" y="351"/>
                  </a:moveTo>
                  <a:lnTo>
                    <a:pt x="68" y="351"/>
                  </a:lnTo>
                  <a:lnTo>
                    <a:pt x="66" y="353"/>
                  </a:lnTo>
                  <a:lnTo>
                    <a:pt x="63" y="353"/>
                  </a:lnTo>
                  <a:lnTo>
                    <a:pt x="61" y="356"/>
                  </a:lnTo>
                  <a:lnTo>
                    <a:pt x="61" y="358"/>
                  </a:lnTo>
                  <a:lnTo>
                    <a:pt x="61" y="358"/>
                  </a:lnTo>
                  <a:lnTo>
                    <a:pt x="63" y="358"/>
                  </a:lnTo>
                  <a:lnTo>
                    <a:pt x="63" y="356"/>
                  </a:lnTo>
                  <a:lnTo>
                    <a:pt x="66" y="356"/>
                  </a:lnTo>
                  <a:lnTo>
                    <a:pt x="66" y="353"/>
                  </a:lnTo>
                  <a:lnTo>
                    <a:pt x="68" y="356"/>
                  </a:lnTo>
                  <a:lnTo>
                    <a:pt x="68" y="356"/>
                  </a:lnTo>
                  <a:lnTo>
                    <a:pt x="68" y="356"/>
                  </a:lnTo>
                  <a:lnTo>
                    <a:pt x="68" y="353"/>
                  </a:lnTo>
                  <a:lnTo>
                    <a:pt x="68" y="353"/>
                  </a:lnTo>
                  <a:lnTo>
                    <a:pt x="68" y="351"/>
                  </a:lnTo>
                  <a:close/>
                  <a:moveTo>
                    <a:pt x="89" y="336"/>
                  </a:moveTo>
                  <a:lnTo>
                    <a:pt x="89" y="336"/>
                  </a:lnTo>
                  <a:lnTo>
                    <a:pt x="86" y="336"/>
                  </a:lnTo>
                  <a:lnTo>
                    <a:pt x="84" y="336"/>
                  </a:lnTo>
                  <a:lnTo>
                    <a:pt x="81" y="336"/>
                  </a:lnTo>
                  <a:lnTo>
                    <a:pt x="81" y="338"/>
                  </a:lnTo>
                  <a:lnTo>
                    <a:pt x="81" y="338"/>
                  </a:lnTo>
                  <a:lnTo>
                    <a:pt x="84" y="338"/>
                  </a:lnTo>
                  <a:lnTo>
                    <a:pt x="86" y="338"/>
                  </a:lnTo>
                  <a:lnTo>
                    <a:pt x="89" y="338"/>
                  </a:lnTo>
                  <a:lnTo>
                    <a:pt x="89" y="341"/>
                  </a:lnTo>
                  <a:lnTo>
                    <a:pt x="91" y="338"/>
                  </a:lnTo>
                  <a:lnTo>
                    <a:pt x="91" y="338"/>
                  </a:lnTo>
                  <a:lnTo>
                    <a:pt x="91" y="336"/>
                  </a:lnTo>
                  <a:lnTo>
                    <a:pt x="89" y="336"/>
                  </a:lnTo>
                  <a:close/>
                  <a:moveTo>
                    <a:pt x="104" y="320"/>
                  </a:moveTo>
                  <a:lnTo>
                    <a:pt x="102" y="320"/>
                  </a:lnTo>
                  <a:lnTo>
                    <a:pt x="99" y="323"/>
                  </a:lnTo>
                  <a:lnTo>
                    <a:pt x="99" y="323"/>
                  </a:lnTo>
                  <a:lnTo>
                    <a:pt x="99" y="323"/>
                  </a:lnTo>
                  <a:lnTo>
                    <a:pt x="102" y="325"/>
                  </a:lnTo>
                  <a:lnTo>
                    <a:pt x="102" y="328"/>
                  </a:lnTo>
                  <a:lnTo>
                    <a:pt x="102" y="328"/>
                  </a:lnTo>
                  <a:lnTo>
                    <a:pt x="104" y="328"/>
                  </a:lnTo>
                  <a:lnTo>
                    <a:pt x="107" y="325"/>
                  </a:lnTo>
                  <a:lnTo>
                    <a:pt x="107" y="323"/>
                  </a:lnTo>
                  <a:lnTo>
                    <a:pt x="109" y="323"/>
                  </a:lnTo>
                  <a:lnTo>
                    <a:pt x="109" y="323"/>
                  </a:lnTo>
                  <a:lnTo>
                    <a:pt x="104" y="320"/>
                  </a:lnTo>
                  <a:close/>
                  <a:moveTo>
                    <a:pt x="175" y="310"/>
                  </a:moveTo>
                  <a:lnTo>
                    <a:pt x="175" y="313"/>
                  </a:lnTo>
                  <a:lnTo>
                    <a:pt x="175" y="313"/>
                  </a:lnTo>
                  <a:lnTo>
                    <a:pt x="178" y="315"/>
                  </a:lnTo>
                  <a:lnTo>
                    <a:pt x="178" y="315"/>
                  </a:lnTo>
                  <a:lnTo>
                    <a:pt x="178" y="310"/>
                  </a:lnTo>
                  <a:lnTo>
                    <a:pt x="175" y="310"/>
                  </a:lnTo>
                  <a:close/>
                  <a:moveTo>
                    <a:pt x="119" y="305"/>
                  </a:moveTo>
                  <a:lnTo>
                    <a:pt x="119" y="305"/>
                  </a:lnTo>
                  <a:lnTo>
                    <a:pt x="117" y="305"/>
                  </a:lnTo>
                  <a:lnTo>
                    <a:pt x="117" y="305"/>
                  </a:lnTo>
                  <a:lnTo>
                    <a:pt x="117" y="308"/>
                  </a:lnTo>
                  <a:lnTo>
                    <a:pt x="119" y="308"/>
                  </a:lnTo>
                  <a:lnTo>
                    <a:pt x="119" y="305"/>
                  </a:lnTo>
                  <a:lnTo>
                    <a:pt x="119" y="305"/>
                  </a:lnTo>
                  <a:lnTo>
                    <a:pt x="119" y="305"/>
                  </a:lnTo>
                  <a:lnTo>
                    <a:pt x="119" y="305"/>
                  </a:lnTo>
                  <a:close/>
                  <a:moveTo>
                    <a:pt x="0" y="290"/>
                  </a:moveTo>
                  <a:lnTo>
                    <a:pt x="0" y="290"/>
                  </a:lnTo>
                  <a:lnTo>
                    <a:pt x="0" y="295"/>
                  </a:lnTo>
                  <a:lnTo>
                    <a:pt x="2" y="295"/>
                  </a:lnTo>
                  <a:lnTo>
                    <a:pt x="2" y="295"/>
                  </a:lnTo>
                  <a:lnTo>
                    <a:pt x="2" y="290"/>
                  </a:lnTo>
                  <a:lnTo>
                    <a:pt x="0" y="290"/>
                  </a:lnTo>
                  <a:close/>
                  <a:moveTo>
                    <a:pt x="7" y="285"/>
                  </a:moveTo>
                  <a:lnTo>
                    <a:pt x="5" y="285"/>
                  </a:lnTo>
                  <a:lnTo>
                    <a:pt x="5" y="285"/>
                  </a:lnTo>
                  <a:lnTo>
                    <a:pt x="7" y="287"/>
                  </a:lnTo>
                  <a:lnTo>
                    <a:pt x="7" y="287"/>
                  </a:lnTo>
                  <a:lnTo>
                    <a:pt x="7" y="285"/>
                  </a:lnTo>
                  <a:lnTo>
                    <a:pt x="7" y="285"/>
                  </a:lnTo>
                  <a:close/>
                  <a:moveTo>
                    <a:pt x="153" y="264"/>
                  </a:moveTo>
                  <a:lnTo>
                    <a:pt x="153" y="264"/>
                  </a:lnTo>
                  <a:lnTo>
                    <a:pt x="153" y="264"/>
                  </a:lnTo>
                  <a:lnTo>
                    <a:pt x="153" y="264"/>
                  </a:lnTo>
                  <a:lnTo>
                    <a:pt x="155" y="267"/>
                  </a:lnTo>
                  <a:lnTo>
                    <a:pt x="155" y="264"/>
                  </a:lnTo>
                  <a:lnTo>
                    <a:pt x="155" y="264"/>
                  </a:lnTo>
                  <a:lnTo>
                    <a:pt x="153" y="264"/>
                  </a:lnTo>
                  <a:lnTo>
                    <a:pt x="153" y="264"/>
                  </a:lnTo>
                  <a:close/>
                  <a:moveTo>
                    <a:pt x="132" y="262"/>
                  </a:moveTo>
                  <a:lnTo>
                    <a:pt x="132" y="262"/>
                  </a:lnTo>
                  <a:lnTo>
                    <a:pt x="130" y="264"/>
                  </a:lnTo>
                  <a:lnTo>
                    <a:pt x="130" y="264"/>
                  </a:lnTo>
                  <a:lnTo>
                    <a:pt x="130" y="264"/>
                  </a:lnTo>
                  <a:lnTo>
                    <a:pt x="130" y="267"/>
                  </a:lnTo>
                  <a:lnTo>
                    <a:pt x="132" y="267"/>
                  </a:lnTo>
                  <a:lnTo>
                    <a:pt x="132" y="264"/>
                  </a:lnTo>
                  <a:lnTo>
                    <a:pt x="132" y="264"/>
                  </a:lnTo>
                  <a:lnTo>
                    <a:pt x="132" y="262"/>
                  </a:lnTo>
                  <a:close/>
                  <a:moveTo>
                    <a:pt x="178" y="254"/>
                  </a:moveTo>
                  <a:lnTo>
                    <a:pt x="178" y="254"/>
                  </a:lnTo>
                  <a:lnTo>
                    <a:pt x="178" y="252"/>
                  </a:lnTo>
                  <a:lnTo>
                    <a:pt x="178" y="252"/>
                  </a:lnTo>
                  <a:lnTo>
                    <a:pt x="175" y="254"/>
                  </a:lnTo>
                  <a:lnTo>
                    <a:pt x="178" y="257"/>
                  </a:lnTo>
                  <a:lnTo>
                    <a:pt x="178" y="254"/>
                  </a:lnTo>
                  <a:close/>
                  <a:moveTo>
                    <a:pt x="193" y="303"/>
                  </a:moveTo>
                  <a:lnTo>
                    <a:pt x="193" y="297"/>
                  </a:lnTo>
                  <a:lnTo>
                    <a:pt x="193" y="297"/>
                  </a:lnTo>
                  <a:lnTo>
                    <a:pt x="191" y="297"/>
                  </a:lnTo>
                  <a:lnTo>
                    <a:pt x="191" y="295"/>
                  </a:lnTo>
                  <a:lnTo>
                    <a:pt x="191" y="292"/>
                  </a:lnTo>
                  <a:lnTo>
                    <a:pt x="191" y="287"/>
                  </a:lnTo>
                  <a:lnTo>
                    <a:pt x="191" y="287"/>
                  </a:lnTo>
                  <a:lnTo>
                    <a:pt x="188" y="285"/>
                  </a:lnTo>
                  <a:lnTo>
                    <a:pt x="188" y="280"/>
                  </a:lnTo>
                  <a:lnTo>
                    <a:pt x="186" y="280"/>
                  </a:lnTo>
                  <a:lnTo>
                    <a:pt x="183" y="280"/>
                  </a:lnTo>
                  <a:lnTo>
                    <a:pt x="183" y="277"/>
                  </a:lnTo>
                  <a:lnTo>
                    <a:pt x="183" y="277"/>
                  </a:lnTo>
                  <a:lnTo>
                    <a:pt x="183" y="275"/>
                  </a:lnTo>
                  <a:lnTo>
                    <a:pt x="186" y="275"/>
                  </a:lnTo>
                  <a:lnTo>
                    <a:pt x="186" y="272"/>
                  </a:lnTo>
                  <a:lnTo>
                    <a:pt x="186" y="269"/>
                  </a:lnTo>
                  <a:lnTo>
                    <a:pt x="183" y="267"/>
                  </a:lnTo>
                  <a:lnTo>
                    <a:pt x="183" y="267"/>
                  </a:lnTo>
                  <a:lnTo>
                    <a:pt x="183" y="262"/>
                  </a:lnTo>
                  <a:lnTo>
                    <a:pt x="181" y="262"/>
                  </a:lnTo>
                  <a:lnTo>
                    <a:pt x="178" y="262"/>
                  </a:lnTo>
                  <a:lnTo>
                    <a:pt x="178" y="259"/>
                  </a:lnTo>
                  <a:lnTo>
                    <a:pt x="175" y="257"/>
                  </a:lnTo>
                  <a:lnTo>
                    <a:pt x="170" y="254"/>
                  </a:lnTo>
                  <a:lnTo>
                    <a:pt x="168" y="252"/>
                  </a:lnTo>
                  <a:lnTo>
                    <a:pt x="168" y="252"/>
                  </a:lnTo>
                  <a:lnTo>
                    <a:pt x="165" y="254"/>
                  </a:lnTo>
                  <a:lnTo>
                    <a:pt x="168" y="262"/>
                  </a:lnTo>
                  <a:lnTo>
                    <a:pt x="170" y="264"/>
                  </a:lnTo>
                  <a:lnTo>
                    <a:pt x="170" y="269"/>
                  </a:lnTo>
                  <a:lnTo>
                    <a:pt x="168" y="269"/>
                  </a:lnTo>
                  <a:lnTo>
                    <a:pt x="165" y="267"/>
                  </a:lnTo>
                  <a:lnTo>
                    <a:pt x="163" y="267"/>
                  </a:lnTo>
                  <a:lnTo>
                    <a:pt x="163" y="269"/>
                  </a:lnTo>
                  <a:lnTo>
                    <a:pt x="163" y="272"/>
                  </a:lnTo>
                  <a:lnTo>
                    <a:pt x="160" y="272"/>
                  </a:lnTo>
                  <a:lnTo>
                    <a:pt x="158" y="269"/>
                  </a:lnTo>
                  <a:lnTo>
                    <a:pt x="158" y="269"/>
                  </a:lnTo>
                  <a:lnTo>
                    <a:pt x="155" y="269"/>
                  </a:lnTo>
                  <a:lnTo>
                    <a:pt x="155" y="272"/>
                  </a:lnTo>
                  <a:lnTo>
                    <a:pt x="155" y="275"/>
                  </a:lnTo>
                  <a:lnTo>
                    <a:pt x="155" y="280"/>
                  </a:lnTo>
                  <a:lnTo>
                    <a:pt x="153" y="280"/>
                  </a:lnTo>
                  <a:lnTo>
                    <a:pt x="150" y="277"/>
                  </a:lnTo>
                  <a:lnTo>
                    <a:pt x="147" y="277"/>
                  </a:lnTo>
                  <a:lnTo>
                    <a:pt x="147" y="280"/>
                  </a:lnTo>
                  <a:lnTo>
                    <a:pt x="147" y="280"/>
                  </a:lnTo>
                  <a:lnTo>
                    <a:pt x="145" y="282"/>
                  </a:lnTo>
                  <a:lnTo>
                    <a:pt x="145" y="285"/>
                  </a:lnTo>
                  <a:lnTo>
                    <a:pt x="145" y="287"/>
                  </a:lnTo>
                  <a:lnTo>
                    <a:pt x="145" y="287"/>
                  </a:lnTo>
                  <a:lnTo>
                    <a:pt x="140" y="287"/>
                  </a:lnTo>
                  <a:lnTo>
                    <a:pt x="140" y="287"/>
                  </a:lnTo>
                  <a:lnTo>
                    <a:pt x="137" y="290"/>
                  </a:lnTo>
                  <a:lnTo>
                    <a:pt x="135" y="290"/>
                  </a:lnTo>
                  <a:lnTo>
                    <a:pt x="137" y="287"/>
                  </a:lnTo>
                  <a:lnTo>
                    <a:pt x="137" y="287"/>
                  </a:lnTo>
                  <a:lnTo>
                    <a:pt x="137" y="282"/>
                  </a:lnTo>
                  <a:lnTo>
                    <a:pt x="137" y="282"/>
                  </a:lnTo>
                  <a:lnTo>
                    <a:pt x="135" y="280"/>
                  </a:lnTo>
                  <a:lnTo>
                    <a:pt x="135" y="277"/>
                  </a:lnTo>
                  <a:lnTo>
                    <a:pt x="132" y="277"/>
                  </a:lnTo>
                  <a:lnTo>
                    <a:pt x="130" y="277"/>
                  </a:lnTo>
                  <a:lnTo>
                    <a:pt x="130" y="275"/>
                  </a:lnTo>
                  <a:lnTo>
                    <a:pt x="127" y="277"/>
                  </a:lnTo>
                  <a:lnTo>
                    <a:pt x="127" y="280"/>
                  </a:lnTo>
                  <a:lnTo>
                    <a:pt x="127" y="280"/>
                  </a:lnTo>
                  <a:lnTo>
                    <a:pt x="122" y="280"/>
                  </a:lnTo>
                  <a:lnTo>
                    <a:pt x="122" y="280"/>
                  </a:lnTo>
                  <a:lnTo>
                    <a:pt x="122" y="282"/>
                  </a:lnTo>
                  <a:lnTo>
                    <a:pt x="119" y="282"/>
                  </a:lnTo>
                  <a:lnTo>
                    <a:pt x="119" y="282"/>
                  </a:lnTo>
                  <a:lnTo>
                    <a:pt x="119" y="285"/>
                  </a:lnTo>
                  <a:lnTo>
                    <a:pt x="119" y="287"/>
                  </a:lnTo>
                  <a:lnTo>
                    <a:pt x="119" y="287"/>
                  </a:lnTo>
                  <a:lnTo>
                    <a:pt x="117" y="287"/>
                  </a:lnTo>
                  <a:lnTo>
                    <a:pt x="114" y="287"/>
                  </a:lnTo>
                  <a:lnTo>
                    <a:pt x="112" y="290"/>
                  </a:lnTo>
                  <a:lnTo>
                    <a:pt x="109" y="290"/>
                  </a:lnTo>
                  <a:lnTo>
                    <a:pt x="107" y="290"/>
                  </a:lnTo>
                  <a:lnTo>
                    <a:pt x="107" y="292"/>
                  </a:lnTo>
                  <a:lnTo>
                    <a:pt x="104" y="295"/>
                  </a:lnTo>
                  <a:lnTo>
                    <a:pt x="104" y="297"/>
                  </a:lnTo>
                  <a:lnTo>
                    <a:pt x="104" y="300"/>
                  </a:lnTo>
                  <a:lnTo>
                    <a:pt x="102" y="305"/>
                  </a:lnTo>
                  <a:lnTo>
                    <a:pt x="102" y="308"/>
                  </a:lnTo>
                  <a:lnTo>
                    <a:pt x="102" y="310"/>
                  </a:lnTo>
                  <a:lnTo>
                    <a:pt x="99" y="313"/>
                  </a:lnTo>
                  <a:lnTo>
                    <a:pt x="102" y="315"/>
                  </a:lnTo>
                  <a:lnTo>
                    <a:pt x="102" y="315"/>
                  </a:lnTo>
                  <a:lnTo>
                    <a:pt x="104" y="315"/>
                  </a:lnTo>
                  <a:lnTo>
                    <a:pt x="104" y="315"/>
                  </a:lnTo>
                  <a:lnTo>
                    <a:pt x="107" y="313"/>
                  </a:lnTo>
                  <a:lnTo>
                    <a:pt x="107" y="310"/>
                  </a:lnTo>
                  <a:lnTo>
                    <a:pt x="109" y="305"/>
                  </a:lnTo>
                  <a:lnTo>
                    <a:pt x="109" y="303"/>
                  </a:lnTo>
                  <a:lnTo>
                    <a:pt x="112" y="300"/>
                  </a:lnTo>
                  <a:lnTo>
                    <a:pt x="112" y="300"/>
                  </a:lnTo>
                  <a:lnTo>
                    <a:pt x="114" y="297"/>
                  </a:lnTo>
                  <a:lnTo>
                    <a:pt x="114" y="297"/>
                  </a:lnTo>
                  <a:lnTo>
                    <a:pt x="117" y="297"/>
                  </a:lnTo>
                  <a:lnTo>
                    <a:pt x="117" y="303"/>
                  </a:lnTo>
                  <a:lnTo>
                    <a:pt x="119" y="303"/>
                  </a:lnTo>
                  <a:lnTo>
                    <a:pt x="119" y="303"/>
                  </a:lnTo>
                  <a:lnTo>
                    <a:pt x="122" y="303"/>
                  </a:lnTo>
                  <a:lnTo>
                    <a:pt x="122" y="300"/>
                  </a:lnTo>
                  <a:lnTo>
                    <a:pt x="122" y="297"/>
                  </a:lnTo>
                  <a:lnTo>
                    <a:pt x="124" y="300"/>
                  </a:lnTo>
                  <a:lnTo>
                    <a:pt x="124" y="300"/>
                  </a:lnTo>
                  <a:lnTo>
                    <a:pt x="124" y="300"/>
                  </a:lnTo>
                  <a:lnTo>
                    <a:pt x="124" y="303"/>
                  </a:lnTo>
                  <a:lnTo>
                    <a:pt x="127" y="303"/>
                  </a:lnTo>
                  <a:lnTo>
                    <a:pt x="130" y="305"/>
                  </a:lnTo>
                  <a:lnTo>
                    <a:pt x="130" y="300"/>
                  </a:lnTo>
                  <a:lnTo>
                    <a:pt x="130" y="297"/>
                  </a:lnTo>
                  <a:lnTo>
                    <a:pt x="130" y="297"/>
                  </a:lnTo>
                  <a:lnTo>
                    <a:pt x="132" y="295"/>
                  </a:lnTo>
                  <a:lnTo>
                    <a:pt x="132" y="295"/>
                  </a:lnTo>
                  <a:lnTo>
                    <a:pt x="132" y="295"/>
                  </a:lnTo>
                  <a:lnTo>
                    <a:pt x="135" y="295"/>
                  </a:lnTo>
                  <a:lnTo>
                    <a:pt x="135" y="297"/>
                  </a:lnTo>
                  <a:lnTo>
                    <a:pt x="137" y="297"/>
                  </a:lnTo>
                  <a:lnTo>
                    <a:pt x="140" y="300"/>
                  </a:lnTo>
                  <a:lnTo>
                    <a:pt x="142" y="300"/>
                  </a:lnTo>
                  <a:lnTo>
                    <a:pt x="145" y="305"/>
                  </a:lnTo>
                  <a:lnTo>
                    <a:pt x="145" y="305"/>
                  </a:lnTo>
                  <a:lnTo>
                    <a:pt x="145" y="308"/>
                  </a:lnTo>
                  <a:lnTo>
                    <a:pt x="145" y="308"/>
                  </a:lnTo>
                  <a:lnTo>
                    <a:pt x="145" y="310"/>
                  </a:lnTo>
                  <a:lnTo>
                    <a:pt x="145" y="310"/>
                  </a:lnTo>
                  <a:lnTo>
                    <a:pt x="142" y="313"/>
                  </a:lnTo>
                  <a:lnTo>
                    <a:pt x="142" y="315"/>
                  </a:lnTo>
                  <a:lnTo>
                    <a:pt x="142" y="315"/>
                  </a:lnTo>
                  <a:lnTo>
                    <a:pt x="142" y="318"/>
                  </a:lnTo>
                  <a:lnTo>
                    <a:pt x="145" y="323"/>
                  </a:lnTo>
                  <a:lnTo>
                    <a:pt x="145" y="325"/>
                  </a:lnTo>
                  <a:lnTo>
                    <a:pt x="145" y="328"/>
                  </a:lnTo>
                  <a:lnTo>
                    <a:pt x="147" y="331"/>
                  </a:lnTo>
                  <a:lnTo>
                    <a:pt x="153" y="333"/>
                  </a:lnTo>
                  <a:lnTo>
                    <a:pt x="155" y="336"/>
                  </a:lnTo>
                  <a:lnTo>
                    <a:pt x="163" y="341"/>
                  </a:lnTo>
                  <a:lnTo>
                    <a:pt x="163" y="341"/>
                  </a:lnTo>
                  <a:lnTo>
                    <a:pt x="165" y="341"/>
                  </a:lnTo>
                  <a:lnTo>
                    <a:pt x="165" y="338"/>
                  </a:lnTo>
                  <a:lnTo>
                    <a:pt x="168" y="336"/>
                  </a:lnTo>
                  <a:lnTo>
                    <a:pt x="168" y="336"/>
                  </a:lnTo>
                  <a:lnTo>
                    <a:pt x="168" y="336"/>
                  </a:lnTo>
                  <a:lnTo>
                    <a:pt x="168" y="336"/>
                  </a:lnTo>
                  <a:lnTo>
                    <a:pt x="168" y="338"/>
                  </a:lnTo>
                  <a:lnTo>
                    <a:pt x="168" y="341"/>
                  </a:lnTo>
                  <a:lnTo>
                    <a:pt x="168" y="343"/>
                  </a:lnTo>
                  <a:lnTo>
                    <a:pt x="170" y="346"/>
                  </a:lnTo>
                  <a:lnTo>
                    <a:pt x="170" y="346"/>
                  </a:lnTo>
                  <a:lnTo>
                    <a:pt x="173" y="343"/>
                  </a:lnTo>
                  <a:lnTo>
                    <a:pt x="175" y="341"/>
                  </a:lnTo>
                  <a:lnTo>
                    <a:pt x="178" y="338"/>
                  </a:lnTo>
                  <a:lnTo>
                    <a:pt x="178" y="331"/>
                  </a:lnTo>
                  <a:lnTo>
                    <a:pt x="175" y="325"/>
                  </a:lnTo>
                  <a:lnTo>
                    <a:pt x="175" y="325"/>
                  </a:lnTo>
                  <a:lnTo>
                    <a:pt x="173" y="323"/>
                  </a:lnTo>
                  <a:lnTo>
                    <a:pt x="170" y="323"/>
                  </a:lnTo>
                  <a:lnTo>
                    <a:pt x="170" y="320"/>
                  </a:lnTo>
                  <a:lnTo>
                    <a:pt x="170" y="318"/>
                  </a:lnTo>
                  <a:lnTo>
                    <a:pt x="173" y="315"/>
                  </a:lnTo>
                  <a:lnTo>
                    <a:pt x="173" y="313"/>
                  </a:lnTo>
                  <a:lnTo>
                    <a:pt x="175" y="313"/>
                  </a:lnTo>
                  <a:lnTo>
                    <a:pt x="175" y="310"/>
                  </a:lnTo>
                  <a:lnTo>
                    <a:pt x="175" y="310"/>
                  </a:lnTo>
                  <a:lnTo>
                    <a:pt x="175" y="308"/>
                  </a:lnTo>
                  <a:lnTo>
                    <a:pt x="178" y="308"/>
                  </a:lnTo>
                  <a:lnTo>
                    <a:pt x="178" y="308"/>
                  </a:lnTo>
                  <a:lnTo>
                    <a:pt x="181" y="310"/>
                  </a:lnTo>
                  <a:lnTo>
                    <a:pt x="181" y="313"/>
                  </a:lnTo>
                  <a:lnTo>
                    <a:pt x="183" y="315"/>
                  </a:lnTo>
                  <a:lnTo>
                    <a:pt x="183" y="318"/>
                  </a:lnTo>
                  <a:lnTo>
                    <a:pt x="183" y="320"/>
                  </a:lnTo>
                  <a:lnTo>
                    <a:pt x="186" y="325"/>
                  </a:lnTo>
                  <a:lnTo>
                    <a:pt x="186" y="328"/>
                  </a:lnTo>
                  <a:lnTo>
                    <a:pt x="188" y="331"/>
                  </a:lnTo>
                  <a:lnTo>
                    <a:pt x="188" y="325"/>
                  </a:lnTo>
                  <a:lnTo>
                    <a:pt x="188" y="320"/>
                  </a:lnTo>
                  <a:lnTo>
                    <a:pt x="186" y="318"/>
                  </a:lnTo>
                  <a:lnTo>
                    <a:pt x="186" y="318"/>
                  </a:lnTo>
                  <a:lnTo>
                    <a:pt x="188" y="318"/>
                  </a:lnTo>
                  <a:lnTo>
                    <a:pt x="191" y="313"/>
                  </a:lnTo>
                  <a:lnTo>
                    <a:pt x="193" y="310"/>
                  </a:lnTo>
                  <a:lnTo>
                    <a:pt x="193" y="308"/>
                  </a:lnTo>
                  <a:lnTo>
                    <a:pt x="193" y="308"/>
                  </a:lnTo>
                  <a:lnTo>
                    <a:pt x="193" y="303"/>
                  </a:lnTo>
                  <a:close/>
                  <a:moveTo>
                    <a:pt x="178" y="252"/>
                  </a:moveTo>
                  <a:lnTo>
                    <a:pt x="178" y="252"/>
                  </a:lnTo>
                  <a:lnTo>
                    <a:pt x="181" y="252"/>
                  </a:lnTo>
                  <a:lnTo>
                    <a:pt x="181" y="252"/>
                  </a:lnTo>
                  <a:lnTo>
                    <a:pt x="181" y="249"/>
                  </a:lnTo>
                  <a:lnTo>
                    <a:pt x="181" y="249"/>
                  </a:lnTo>
                  <a:lnTo>
                    <a:pt x="181" y="247"/>
                  </a:lnTo>
                  <a:lnTo>
                    <a:pt x="178" y="244"/>
                  </a:lnTo>
                  <a:lnTo>
                    <a:pt x="178" y="247"/>
                  </a:lnTo>
                  <a:lnTo>
                    <a:pt x="178" y="249"/>
                  </a:lnTo>
                  <a:lnTo>
                    <a:pt x="178" y="252"/>
                  </a:lnTo>
                  <a:close/>
                  <a:moveTo>
                    <a:pt x="163" y="247"/>
                  </a:moveTo>
                  <a:lnTo>
                    <a:pt x="163" y="247"/>
                  </a:lnTo>
                  <a:lnTo>
                    <a:pt x="163" y="244"/>
                  </a:lnTo>
                  <a:lnTo>
                    <a:pt x="160" y="241"/>
                  </a:lnTo>
                  <a:lnTo>
                    <a:pt x="160" y="241"/>
                  </a:lnTo>
                  <a:lnTo>
                    <a:pt x="160" y="244"/>
                  </a:lnTo>
                  <a:lnTo>
                    <a:pt x="163" y="247"/>
                  </a:lnTo>
                  <a:close/>
                  <a:moveTo>
                    <a:pt x="140" y="244"/>
                  </a:moveTo>
                  <a:lnTo>
                    <a:pt x="140" y="247"/>
                  </a:lnTo>
                  <a:lnTo>
                    <a:pt x="135" y="247"/>
                  </a:lnTo>
                  <a:lnTo>
                    <a:pt x="135" y="249"/>
                  </a:lnTo>
                  <a:lnTo>
                    <a:pt x="135" y="249"/>
                  </a:lnTo>
                  <a:lnTo>
                    <a:pt x="135" y="252"/>
                  </a:lnTo>
                  <a:lnTo>
                    <a:pt x="135" y="254"/>
                  </a:lnTo>
                  <a:lnTo>
                    <a:pt x="137" y="254"/>
                  </a:lnTo>
                  <a:lnTo>
                    <a:pt x="140" y="254"/>
                  </a:lnTo>
                  <a:lnTo>
                    <a:pt x="145" y="254"/>
                  </a:lnTo>
                  <a:lnTo>
                    <a:pt x="145" y="254"/>
                  </a:lnTo>
                  <a:lnTo>
                    <a:pt x="147" y="252"/>
                  </a:lnTo>
                  <a:lnTo>
                    <a:pt x="147" y="252"/>
                  </a:lnTo>
                  <a:lnTo>
                    <a:pt x="150" y="252"/>
                  </a:lnTo>
                  <a:lnTo>
                    <a:pt x="150" y="252"/>
                  </a:lnTo>
                  <a:lnTo>
                    <a:pt x="150" y="249"/>
                  </a:lnTo>
                  <a:lnTo>
                    <a:pt x="150" y="249"/>
                  </a:lnTo>
                  <a:lnTo>
                    <a:pt x="150" y="247"/>
                  </a:lnTo>
                  <a:lnTo>
                    <a:pt x="147" y="244"/>
                  </a:lnTo>
                  <a:lnTo>
                    <a:pt x="145" y="244"/>
                  </a:lnTo>
                  <a:lnTo>
                    <a:pt x="145" y="244"/>
                  </a:lnTo>
                  <a:lnTo>
                    <a:pt x="145" y="241"/>
                  </a:lnTo>
                  <a:lnTo>
                    <a:pt x="145" y="241"/>
                  </a:lnTo>
                  <a:lnTo>
                    <a:pt x="140" y="244"/>
                  </a:lnTo>
                  <a:lnTo>
                    <a:pt x="140" y="244"/>
                  </a:lnTo>
                  <a:close/>
                  <a:moveTo>
                    <a:pt x="170" y="236"/>
                  </a:moveTo>
                  <a:lnTo>
                    <a:pt x="170" y="236"/>
                  </a:lnTo>
                  <a:lnTo>
                    <a:pt x="168" y="236"/>
                  </a:lnTo>
                  <a:lnTo>
                    <a:pt x="168" y="236"/>
                  </a:lnTo>
                  <a:lnTo>
                    <a:pt x="168" y="239"/>
                  </a:lnTo>
                  <a:lnTo>
                    <a:pt x="168" y="241"/>
                  </a:lnTo>
                  <a:lnTo>
                    <a:pt x="168" y="244"/>
                  </a:lnTo>
                  <a:lnTo>
                    <a:pt x="168" y="244"/>
                  </a:lnTo>
                  <a:lnTo>
                    <a:pt x="170" y="247"/>
                  </a:lnTo>
                  <a:lnTo>
                    <a:pt x="170" y="247"/>
                  </a:lnTo>
                  <a:lnTo>
                    <a:pt x="170" y="249"/>
                  </a:lnTo>
                  <a:lnTo>
                    <a:pt x="170" y="249"/>
                  </a:lnTo>
                  <a:lnTo>
                    <a:pt x="170" y="247"/>
                  </a:lnTo>
                  <a:lnTo>
                    <a:pt x="170" y="247"/>
                  </a:lnTo>
                  <a:lnTo>
                    <a:pt x="170" y="244"/>
                  </a:lnTo>
                  <a:lnTo>
                    <a:pt x="170" y="241"/>
                  </a:lnTo>
                  <a:lnTo>
                    <a:pt x="170" y="236"/>
                  </a:lnTo>
                  <a:lnTo>
                    <a:pt x="170" y="236"/>
                  </a:lnTo>
                  <a:close/>
                  <a:moveTo>
                    <a:pt x="53" y="231"/>
                  </a:moveTo>
                  <a:lnTo>
                    <a:pt x="51" y="234"/>
                  </a:lnTo>
                  <a:lnTo>
                    <a:pt x="53" y="236"/>
                  </a:lnTo>
                  <a:lnTo>
                    <a:pt x="56" y="234"/>
                  </a:lnTo>
                  <a:lnTo>
                    <a:pt x="56" y="234"/>
                  </a:lnTo>
                  <a:lnTo>
                    <a:pt x="56" y="234"/>
                  </a:lnTo>
                  <a:lnTo>
                    <a:pt x="56" y="231"/>
                  </a:lnTo>
                  <a:lnTo>
                    <a:pt x="53" y="231"/>
                  </a:lnTo>
                  <a:close/>
                  <a:moveTo>
                    <a:pt x="145" y="231"/>
                  </a:moveTo>
                  <a:lnTo>
                    <a:pt x="142" y="231"/>
                  </a:lnTo>
                  <a:lnTo>
                    <a:pt x="142" y="229"/>
                  </a:lnTo>
                  <a:lnTo>
                    <a:pt x="142" y="231"/>
                  </a:lnTo>
                  <a:lnTo>
                    <a:pt x="142" y="231"/>
                  </a:lnTo>
                  <a:lnTo>
                    <a:pt x="145" y="231"/>
                  </a:lnTo>
                  <a:lnTo>
                    <a:pt x="145" y="231"/>
                  </a:lnTo>
                  <a:close/>
                  <a:moveTo>
                    <a:pt x="109" y="236"/>
                  </a:moveTo>
                  <a:lnTo>
                    <a:pt x="109" y="236"/>
                  </a:lnTo>
                  <a:lnTo>
                    <a:pt x="109" y="236"/>
                  </a:lnTo>
                  <a:lnTo>
                    <a:pt x="109" y="234"/>
                  </a:lnTo>
                  <a:lnTo>
                    <a:pt x="112" y="231"/>
                  </a:lnTo>
                  <a:lnTo>
                    <a:pt x="112" y="229"/>
                  </a:lnTo>
                  <a:lnTo>
                    <a:pt x="109" y="229"/>
                  </a:lnTo>
                  <a:lnTo>
                    <a:pt x="109" y="229"/>
                  </a:lnTo>
                  <a:lnTo>
                    <a:pt x="109" y="229"/>
                  </a:lnTo>
                  <a:lnTo>
                    <a:pt x="109" y="231"/>
                  </a:lnTo>
                  <a:lnTo>
                    <a:pt x="107" y="231"/>
                  </a:lnTo>
                  <a:lnTo>
                    <a:pt x="107" y="234"/>
                  </a:lnTo>
                  <a:lnTo>
                    <a:pt x="107" y="236"/>
                  </a:lnTo>
                  <a:lnTo>
                    <a:pt x="109" y="236"/>
                  </a:lnTo>
                  <a:close/>
                  <a:moveTo>
                    <a:pt x="107" y="249"/>
                  </a:moveTo>
                  <a:lnTo>
                    <a:pt x="107" y="252"/>
                  </a:lnTo>
                  <a:lnTo>
                    <a:pt x="109" y="257"/>
                  </a:lnTo>
                  <a:lnTo>
                    <a:pt x="112" y="259"/>
                  </a:lnTo>
                  <a:lnTo>
                    <a:pt x="112" y="259"/>
                  </a:lnTo>
                  <a:lnTo>
                    <a:pt x="114" y="259"/>
                  </a:lnTo>
                  <a:lnTo>
                    <a:pt x="117" y="262"/>
                  </a:lnTo>
                  <a:lnTo>
                    <a:pt x="117" y="267"/>
                  </a:lnTo>
                  <a:lnTo>
                    <a:pt x="119" y="267"/>
                  </a:lnTo>
                  <a:lnTo>
                    <a:pt x="119" y="267"/>
                  </a:lnTo>
                  <a:lnTo>
                    <a:pt x="122" y="267"/>
                  </a:lnTo>
                  <a:lnTo>
                    <a:pt x="122" y="267"/>
                  </a:lnTo>
                  <a:lnTo>
                    <a:pt x="124" y="267"/>
                  </a:lnTo>
                  <a:lnTo>
                    <a:pt x="124" y="264"/>
                  </a:lnTo>
                  <a:lnTo>
                    <a:pt x="124" y="262"/>
                  </a:lnTo>
                  <a:lnTo>
                    <a:pt x="124" y="262"/>
                  </a:lnTo>
                  <a:lnTo>
                    <a:pt x="124" y="259"/>
                  </a:lnTo>
                  <a:lnTo>
                    <a:pt x="122" y="254"/>
                  </a:lnTo>
                  <a:lnTo>
                    <a:pt x="122" y="254"/>
                  </a:lnTo>
                  <a:lnTo>
                    <a:pt x="122" y="252"/>
                  </a:lnTo>
                  <a:lnTo>
                    <a:pt x="122" y="249"/>
                  </a:lnTo>
                  <a:lnTo>
                    <a:pt x="122" y="247"/>
                  </a:lnTo>
                  <a:lnTo>
                    <a:pt x="122" y="244"/>
                  </a:lnTo>
                  <a:lnTo>
                    <a:pt x="122" y="244"/>
                  </a:lnTo>
                  <a:lnTo>
                    <a:pt x="124" y="239"/>
                  </a:lnTo>
                  <a:lnTo>
                    <a:pt x="124" y="236"/>
                  </a:lnTo>
                  <a:lnTo>
                    <a:pt x="127" y="234"/>
                  </a:lnTo>
                  <a:lnTo>
                    <a:pt x="127" y="231"/>
                  </a:lnTo>
                  <a:lnTo>
                    <a:pt x="127" y="229"/>
                  </a:lnTo>
                  <a:lnTo>
                    <a:pt x="127" y="226"/>
                  </a:lnTo>
                  <a:lnTo>
                    <a:pt x="127" y="226"/>
                  </a:lnTo>
                  <a:lnTo>
                    <a:pt x="119" y="224"/>
                  </a:lnTo>
                  <a:lnTo>
                    <a:pt x="119" y="224"/>
                  </a:lnTo>
                  <a:lnTo>
                    <a:pt x="117" y="226"/>
                  </a:lnTo>
                  <a:lnTo>
                    <a:pt x="114" y="226"/>
                  </a:lnTo>
                  <a:lnTo>
                    <a:pt x="114" y="226"/>
                  </a:lnTo>
                  <a:lnTo>
                    <a:pt x="114" y="229"/>
                  </a:lnTo>
                  <a:lnTo>
                    <a:pt x="114" y="231"/>
                  </a:lnTo>
                  <a:lnTo>
                    <a:pt x="114" y="231"/>
                  </a:lnTo>
                  <a:lnTo>
                    <a:pt x="114" y="234"/>
                  </a:lnTo>
                  <a:lnTo>
                    <a:pt x="112" y="234"/>
                  </a:lnTo>
                  <a:lnTo>
                    <a:pt x="114" y="236"/>
                  </a:lnTo>
                  <a:lnTo>
                    <a:pt x="114" y="239"/>
                  </a:lnTo>
                  <a:lnTo>
                    <a:pt x="114" y="244"/>
                  </a:lnTo>
                  <a:lnTo>
                    <a:pt x="114" y="244"/>
                  </a:lnTo>
                  <a:lnTo>
                    <a:pt x="112" y="247"/>
                  </a:lnTo>
                  <a:lnTo>
                    <a:pt x="109" y="247"/>
                  </a:lnTo>
                  <a:lnTo>
                    <a:pt x="107" y="247"/>
                  </a:lnTo>
                  <a:lnTo>
                    <a:pt x="107" y="247"/>
                  </a:lnTo>
                  <a:lnTo>
                    <a:pt x="107" y="249"/>
                  </a:lnTo>
                  <a:lnTo>
                    <a:pt x="107" y="249"/>
                  </a:lnTo>
                  <a:close/>
                  <a:moveTo>
                    <a:pt x="137" y="224"/>
                  </a:moveTo>
                  <a:lnTo>
                    <a:pt x="137" y="224"/>
                  </a:lnTo>
                  <a:lnTo>
                    <a:pt x="137" y="221"/>
                  </a:lnTo>
                  <a:lnTo>
                    <a:pt x="135" y="221"/>
                  </a:lnTo>
                  <a:lnTo>
                    <a:pt x="137" y="219"/>
                  </a:lnTo>
                  <a:lnTo>
                    <a:pt x="135" y="216"/>
                  </a:lnTo>
                  <a:lnTo>
                    <a:pt x="135" y="219"/>
                  </a:lnTo>
                  <a:lnTo>
                    <a:pt x="135" y="221"/>
                  </a:lnTo>
                  <a:lnTo>
                    <a:pt x="135" y="221"/>
                  </a:lnTo>
                  <a:lnTo>
                    <a:pt x="135" y="221"/>
                  </a:lnTo>
                  <a:lnTo>
                    <a:pt x="135" y="224"/>
                  </a:lnTo>
                  <a:lnTo>
                    <a:pt x="132" y="229"/>
                  </a:lnTo>
                  <a:lnTo>
                    <a:pt x="130" y="234"/>
                  </a:lnTo>
                  <a:lnTo>
                    <a:pt x="130" y="236"/>
                  </a:lnTo>
                  <a:lnTo>
                    <a:pt x="130" y="239"/>
                  </a:lnTo>
                  <a:lnTo>
                    <a:pt x="127" y="241"/>
                  </a:lnTo>
                  <a:lnTo>
                    <a:pt x="124" y="247"/>
                  </a:lnTo>
                  <a:lnTo>
                    <a:pt x="124" y="249"/>
                  </a:lnTo>
                  <a:lnTo>
                    <a:pt x="124" y="257"/>
                  </a:lnTo>
                  <a:lnTo>
                    <a:pt x="124" y="257"/>
                  </a:lnTo>
                  <a:lnTo>
                    <a:pt x="124" y="259"/>
                  </a:lnTo>
                  <a:lnTo>
                    <a:pt x="127" y="259"/>
                  </a:lnTo>
                  <a:lnTo>
                    <a:pt x="127" y="254"/>
                  </a:lnTo>
                  <a:lnTo>
                    <a:pt x="130" y="247"/>
                  </a:lnTo>
                  <a:lnTo>
                    <a:pt x="130" y="247"/>
                  </a:lnTo>
                  <a:lnTo>
                    <a:pt x="132" y="244"/>
                  </a:lnTo>
                  <a:lnTo>
                    <a:pt x="132" y="241"/>
                  </a:lnTo>
                  <a:lnTo>
                    <a:pt x="135" y="239"/>
                  </a:lnTo>
                  <a:lnTo>
                    <a:pt x="135" y="239"/>
                  </a:lnTo>
                  <a:lnTo>
                    <a:pt x="137" y="236"/>
                  </a:lnTo>
                  <a:lnTo>
                    <a:pt x="137" y="234"/>
                  </a:lnTo>
                  <a:lnTo>
                    <a:pt x="137" y="229"/>
                  </a:lnTo>
                  <a:lnTo>
                    <a:pt x="137" y="224"/>
                  </a:lnTo>
                  <a:close/>
                  <a:moveTo>
                    <a:pt x="130" y="216"/>
                  </a:moveTo>
                  <a:lnTo>
                    <a:pt x="130" y="219"/>
                  </a:lnTo>
                  <a:lnTo>
                    <a:pt x="130" y="219"/>
                  </a:lnTo>
                  <a:lnTo>
                    <a:pt x="132" y="219"/>
                  </a:lnTo>
                  <a:lnTo>
                    <a:pt x="130" y="216"/>
                  </a:lnTo>
                  <a:lnTo>
                    <a:pt x="130" y="216"/>
                  </a:lnTo>
                  <a:close/>
                  <a:moveTo>
                    <a:pt x="48" y="229"/>
                  </a:moveTo>
                  <a:lnTo>
                    <a:pt x="45" y="224"/>
                  </a:lnTo>
                  <a:lnTo>
                    <a:pt x="45" y="221"/>
                  </a:lnTo>
                  <a:lnTo>
                    <a:pt x="45" y="221"/>
                  </a:lnTo>
                  <a:lnTo>
                    <a:pt x="45" y="219"/>
                  </a:lnTo>
                  <a:lnTo>
                    <a:pt x="45" y="216"/>
                  </a:lnTo>
                  <a:lnTo>
                    <a:pt x="45" y="216"/>
                  </a:lnTo>
                  <a:lnTo>
                    <a:pt x="45" y="216"/>
                  </a:lnTo>
                  <a:lnTo>
                    <a:pt x="43" y="216"/>
                  </a:lnTo>
                  <a:lnTo>
                    <a:pt x="43" y="224"/>
                  </a:lnTo>
                  <a:lnTo>
                    <a:pt x="40" y="224"/>
                  </a:lnTo>
                  <a:lnTo>
                    <a:pt x="40" y="226"/>
                  </a:lnTo>
                  <a:lnTo>
                    <a:pt x="43" y="229"/>
                  </a:lnTo>
                  <a:lnTo>
                    <a:pt x="43" y="231"/>
                  </a:lnTo>
                  <a:lnTo>
                    <a:pt x="43" y="234"/>
                  </a:lnTo>
                  <a:lnTo>
                    <a:pt x="40" y="234"/>
                  </a:lnTo>
                  <a:lnTo>
                    <a:pt x="40" y="236"/>
                  </a:lnTo>
                  <a:lnTo>
                    <a:pt x="40" y="236"/>
                  </a:lnTo>
                  <a:lnTo>
                    <a:pt x="38" y="236"/>
                  </a:lnTo>
                  <a:lnTo>
                    <a:pt x="38" y="239"/>
                  </a:lnTo>
                  <a:lnTo>
                    <a:pt x="33" y="244"/>
                  </a:lnTo>
                  <a:lnTo>
                    <a:pt x="33" y="244"/>
                  </a:lnTo>
                  <a:lnTo>
                    <a:pt x="33" y="244"/>
                  </a:lnTo>
                  <a:lnTo>
                    <a:pt x="28" y="252"/>
                  </a:lnTo>
                  <a:lnTo>
                    <a:pt x="25" y="254"/>
                  </a:lnTo>
                  <a:lnTo>
                    <a:pt x="20" y="262"/>
                  </a:lnTo>
                  <a:lnTo>
                    <a:pt x="20" y="262"/>
                  </a:lnTo>
                  <a:lnTo>
                    <a:pt x="17" y="262"/>
                  </a:lnTo>
                  <a:lnTo>
                    <a:pt x="17" y="262"/>
                  </a:lnTo>
                  <a:lnTo>
                    <a:pt x="17" y="264"/>
                  </a:lnTo>
                  <a:lnTo>
                    <a:pt x="15" y="267"/>
                  </a:lnTo>
                  <a:lnTo>
                    <a:pt x="10" y="269"/>
                  </a:lnTo>
                  <a:lnTo>
                    <a:pt x="10" y="272"/>
                  </a:lnTo>
                  <a:lnTo>
                    <a:pt x="7" y="275"/>
                  </a:lnTo>
                  <a:lnTo>
                    <a:pt x="7" y="275"/>
                  </a:lnTo>
                  <a:lnTo>
                    <a:pt x="5" y="280"/>
                  </a:lnTo>
                  <a:lnTo>
                    <a:pt x="5" y="282"/>
                  </a:lnTo>
                  <a:lnTo>
                    <a:pt x="5" y="282"/>
                  </a:lnTo>
                  <a:lnTo>
                    <a:pt x="7" y="282"/>
                  </a:lnTo>
                  <a:lnTo>
                    <a:pt x="7" y="280"/>
                  </a:lnTo>
                  <a:lnTo>
                    <a:pt x="10" y="280"/>
                  </a:lnTo>
                  <a:lnTo>
                    <a:pt x="10" y="280"/>
                  </a:lnTo>
                  <a:lnTo>
                    <a:pt x="10" y="277"/>
                  </a:lnTo>
                  <a:lnTo>
                    <a:pt x="10" y="277"/>
                  </a:lnTo>
                  <a:lnTo>
                    <a:pt x="12" y="277"/>
                  </a:lnTo>
                  <a:lnTo>
                    <a:pt x="15" y="275"/>
                  </a:lnTo>
                  <a:lnTo>
                    <a:pt x="17" y="272"/>
                  </a:lnTo>
                  <a:lnTo>
                    <a:pt x="20" y="272"/>
                  </a:lnTo>
                  <a:lnTo>
                    <a:pt x="20" y="269"/>
                  </a:lnTo>
                  <a:lnTo>
                    <a:pt x="23" y="267"/>
                  </a:lnTo>
                  <a:lnTo>
                    <a:pt x="23" y="264"/>
                  </a:lnTo>
                  <a:lnTo>
                    <a:pt x="25" y="264"/>
                  </a:lnTo>
                  <a:lnTo>
                    <a:pt x="28" y="262"/>
                  </a:lnTo>
                  <a:lnTo>
                    <a:pt x="28" y="262"/>
                  </a:lnTo>
                  <a:lnTo>
                    <a:pt x="30" y="259"/>
                  </a:lnTo>
                  <a:lnTo>
                    <a:pt x="33" y="252"/>
                  </a:lnTo>
                  <a:lnTo>
                    <a:pt x="33" y="249"/>
                  </a:lnTo>
                  <a:lnTo>
                    <a:pt x="33" y="247"/>
                  </a:lnTo>
                  <a:lnTo>
                    <a:pt x="35" y="247"/>
                  </a:lnTo>
                  <a:lnTo>
                    <a:pt x="35" y="247"/>
                  </a:lnTo>
                  <a:lnTo>
                    <a:pt x="40" y="244"/>
                  </a:lnTo>
                  <a:lnTo>
                    <a:pt x="40" y="244"/>
                  </a:lnTo>
                  <a:lnTo>
                    <a:pt x="43" y="241"/>
                  </a:lnTo>
                  <a:lnTo>
                    <a:pt x="43" y="239"/>
                  </a:lnTo>
                  <a:lnTo>
                    <a:pt x="43" y="239"/>
                  </a:lnTo>
                  <a:lnTo>
                    <a:pt x="45" y="239"/>
                  </a:lnTo>
                  <a:lnTo>
                    <a:pt x="48" y="236"/>
                  </a:lnTo>
                  <a:lnTo>
                    <a:pt x="48" y="236"/>
                  </a:lnTo>
                  <a:lnTo>
                    <a:pt x="51" y="234"/>
                  </a:lnTo>
                  <a:lnTo>
                    <a:pt x="51" y="234"/>
                  </a:lnTo>
                  <a:lnTo>
                    <a:pt x="48" y="229"/>
                  </a:lnTo>
                  <a:close/>
                  <a:moveTo>
                    <a:pt x="53" y="213"/>
                  </a:moveTo>
                  <a:lnTo>
                    <a:pt x="51" y="211"/>
                  </a:lnTo>
                  <a:lnTo>
                    <a:pt x="51" y="211"/>
                  </a:lnTo>
                  <a:lnTo>
                    <a:pt x="51" y="213"/>
                  </a:lnTo>
                  <a:lnTo>
                    <a:pt x="48" y="213"/>
                  </a:lnTo>
                  <a:lnTo>
                    <a:pt x="48" y="213"/>
                  </a:lnTo>
                  <a:lnTo>
                    <a:pt x="51" y="213"/>
                  </a:lnTo>
                  <a:lnTo>
                    <a:pt x="51" y="213"/>
                  </a:lnTo>
                  <a:lnTo>
                    <a:pt x="51" y="213"/>
                  </a:lnTo>
                  <a:lnTo>
                    <a:pt x="53" y="213"/>
                  </a:lnTo>
                  <a:close/>
                  <a:moveTo>
                    <a:pt x="160" y="241"/>
                  </a:moveTo>
                  <a:lnTo>
                    <a:pt x="160" y="241"/>
                  </a:lnTo>
                  <a:lnTo>
                    <a:pt x="160" y="241"/>
                  </a:lnTo>
                  <a:lnTo>
                    <a:pt x="160" y="239"/>
                  </a:lnTo>
                  <a:lnTo>
                    <a:pt x="163" y="239"/>
                  </a:lnTo>
                  <a:lnTo>
                    <a:pt x="163" y="239"/>
                  </a:lnTo>
                  <a:lnTo>
                    <a:pt x="163" y="239"/>
                  </a:lnTo>
                  <a:lnTo>
                    <a:pt x="160" y="236"/>
                  </a:lnTo>
                  <a:lnTo>
                    <a:pt x="160" y="234"/>
                  </a:lnTo>
                  <a:lnTo>
                    <a:pt x="160" y="231"/>
                  </a:lnTo>
                  <a:lnTo>
                    <a:pt x="158" y="231"/>
                  </a:lnTo>
                  <a:lnTo>
                    <a:pt x="158" y="229"/>
                  </a:lnTo>
                  <a:lnTo>
                    <a:pt x="158" y="229"/>
                  </a:lnTo>
                  <a:lnTo>
                    <a:pt x="155" y="229"/>
                  </a:lnTo>
                  <a:lnTo>
                    <a:pt x="155" y="224"/>
                  </a:lnTo>
                  <a:lnTo>
                    <a:pt x="155" y="221"/>
                  </a:lnTo>
                  <a:lnTo>
                    <a:pt x="155" y="219"/>
                  </a:lnTo>
                  <a:lnTo>
                    <a:pt x="155" y="219"/>
                  </a:lnTo>
                  <a:lnTo>
                    <a:pt x="153" y="213"/>
                  </a:lnTo>
                  <a:lnTo>
                    <a:pt x="150" y="213"/>
                  </a:lnTo>
                  <a:lnTo>
                    <a:pt x="150" y="216"/>
                  </a:lnTo>
                  <a:lnTo>
                    <a:pt x="147" y="216"/>
                  </a:lnTo>
                  <a:lnTo>
                    <a:pt x="147" y="216"/>
                  </a:lnTo>
                  <a:lnTo>
                    <a:pt x="145" y="213"/>
                  </a:lnTo>
                  <a:lnTo>
                    <a:pt x="145" y="213"/>
                  </a:lnTo>
                  <a:lnTo>
                    <a:pt x="142" y="213"/>
                  </a:lnTo>
                  <a:lnTo>
                    <a:pt x="142" y="211"/>
                  </a:lnTo>
                  <a:lnTo>
                    <a:pt x="140" y="211"/>
                  </a:lnTo>
                  <a:lnTo>
                    <a:pt x="140" y="211"/>
                  </a:lnTo>
                  <a:lnTo>
                    <a:pt x="142" y="213"/>
                  </a:lnTo>
                  <a:lnTo>
                    <a:pt x="142" y="216"/>
                  </a:lnTo>
                  <a:lnTo>
                    <a:pt x="142" y="219"/>
                  </a:lnTo>
                  <a:lnTo>
                    <a:pt x="145" y="226"/>
                  </a:lnTo>
                  <a:lnTo>
                    <a:pt x="145" y="226"/>
                  </a:lnTo>
                  <a:lnTo>
                    <a:pt x="147" y="224"/>
                  </a:lnTo>
                  <a:lnTo>
                    <a:pt x="150" y="224"/>
                  </a:lnTo>
                  <a:lnTo>
                    <a:pt x="150" y="226"/>
                  </a:lnTo>
                  <a:lnTo>
                    <a:pt x="153" y="229"/>
                  </a:lnTo>
                  <a:lnTo>
                    <a:pt x="153" y="229"/>
                  </a:lnTo>
                  <a:lnTo>
                    <a:pt x="153" y="231"/>
                  </a:lnTo>
                  <a:lnTo>
                    <a:pt x="153" y="236"/>
                  </a:lnTo>
                  <a:lnTo>
                    <a:pt x="153" y="239"/>
                  </a:lnTo>
                  <a:lnTo>
                    <a:pt x="153" y="239"/>
                  </a:lnTo>
                  <a:lnTo>
                    <a:pt x="153" y="241"/>
                  </a:lnTo>
                  <a:lnTo>
                    <a:pt x="153" y="244"/>
                  </a:lnTo>
                  <a:lnTo>
                    <a:pt x="155" y="244"/>
                  </a:lnTo>
                  <a:lnTo>
                    <a:pt x="158" y="244"/>
                  </a:lnTo>
                  <a:lnTo>
                    <a:pt x="158" y="244"/>
                  </a:lnTo>
                  <a:lnTo>
                    <a:pt x="158" y="241"/>
                  </a:lnTo>
                  <a:lnTo>
                    <a:pt x="158" y="236"/>
                  </a:lnTo>
                  <a:lnTo>
                    <a:pt x="158" y="239"/>
                  </a:lnTo>
                  <a:lnTo>
                    <a:pt x="160" y="241"/>
                  </a:lnTo>
                  <a:close/>
                  <a:moveTo>
                    <a:pt x="145" y="211"/>
                  </a:moveTo>
                  <a:lnTo>
                    <a:pt x="147" y="211"/>
                  </a:lnTo>
                  <a:lnTo>
                    <a:pt x="147" y="211"/>
                  </a:lnTo>
                  <a:lnTo>
                    <a:pt x="145" y="208"/>
                  </a:lnTo>
                  <a:lnTo>
                    <a:pt x="145" y="208"/>
                  </a:lnTo>
                  <a:lnTo>
                    <a:pt x="142" y="208"/>
                  </a:lnTo>
                  <a:lnTo>
                    <a:pt x="142" y="208"/>
                  </a:lnTo>
                  <a:lnTo>
                    <a:pt x="142" y="211"/>
                  </a:lnTo>
                  <a:lnTo>
                    <a:pt x="145" y="211"/>
                  </a:lnTo>
                  <a:close/>
                  <a:moveTo>
                    <a:pt x="150" y="211"/>
                  </a:moveTo>
                  <a:lnTo>
                    <a:pt x="150" y="211"/>
                  </a:lnTo>
                  <a:lnTo>
                    <a:pt x="150" y="211"/>
                  </a:lnTo>
                  <a:lnTo>
                    <a:pt x="150" y="208"/>
                  </a:lnTo>
                  <a:lnTo>
                    <a:pt x="150" y="208"/>
                  </a:lnTo>
                  <a:lnTo>
                    <a:pt x="147" y="206"/>
                  </a:lnTo>
                  <a:lnTo>
                    <a:pt x="150" y="208"/>
                  </a:lnTo>
                  <a:lnTo>
                    <a:pt x="150" y="211"/>
                  </a:lnTo>
                  <a:lnTo>
                    <a:pt x="150" y="211"/>
                  </a:lnTo>
                  <a:close/>
                  <a:moveTo>
                    <a:pt x="107" y="231"/>
                  </a:moveTo>
                  <a:lnTo>
                    <a:pt x="109" y="229"/>
                  </a:lnTo>
                  <a:lnTo>
                    <a:pt x="112" y="226"/>
                  </a:lnTo>
                  <a:lnTo>
                    <a:pt x="112" y="226"/>
                  </a:lnTo>
                  <a:lnTo>
                    <a:pt x="112" y="224"/>
                  </a:lnTo>
                  <a:lnTo>
                    <a:pt x="112" y="224"/>
                  </a:lnTo>
                  <a:lnTo>
                    <a:pt x="112" y="224"/>
                  </a:lnTo>
                  <a:lnTo>
                    <a:pt x="114" y="221"/>
                  </a:lnTo>
                  <a:lnTo>
                    <a:pt x="114" y="221"/>
                  </a:lnTo>
                  <a:lnTo>
                    <a:pt x="117" y="219"/>
                  </a:lnTo>
                  <a:lnTo>
                    <a:pt x="117" y="216"/>
                  </a:lnTo>
                  <a:lnTo>
                    <a:pt x="117" y="216"/>
                  </a:lnTo>
                  <a:lnTo>
                    <a:pt x="117" y="213"/>
                  </a:lnTo>
                  <a:lnTo>
                    <a:pt x="117" y="211"/>
                  </a:lnTo>
                  <a:lnTo>
                    <a:pt x="117" y="211"/>
                  </a:lnTo>
                  <a:lnTo>
                    <a:pt x="112" y="213"/>
                  </a:lnTo>
                  <a:lnTo>
                    <a:pt x="112" y="211"/>
                  </a:lnTo>
                  <a:lnTo>
                    <a:pt x="112" y="211"/>
                  </a:lnTo>
                  <a:lnTo>
                    <a:pt x="112" y="211"/>
                  </a:lnTo>
                  <a:lnTo>
                    <a:pt x="109" y="208"/>
                  </a:lnTo>
                  <a:lnTo>
                    <a:pt x="107" y="211"/>
                  </a:lnTo>
                  <a:lnTo>
                    <a:pt x="104" y="208"/>
                  </a:lnTo>
                  <a:lnTo>
                    <a:pt x="102" y="208"/>
                  </a:lnTo>
                  <a:lnTo>
                    <a:pt x="99" y="206"/>
                  </a:lnTo>
                  <a:lnTo>
                    <a:pt x="96" y="203"/>
                  </a:lnTo>
                  <a:lnTo>
                    <a:pt x="94" y="203"/>
                  </a:lnTo>
                  <a:lnTo>
                    <a:pt x="94" y="203"/>
                  </a:lnTo>
                  <a:lnTo>
                    <a:pt x="91" y="203"/>
                  </a:lnTo>
                  <a:lnTo>
                    <a:pt x="91" y="206"/>
                  </a:lnTo>
                  <a:lnTo>
                    <a:pt x="91" y="206"/>
                  </a:lnTo>
                  <a:lnTo>
                    <a:pt x="96" y="206"/>
                  </a:lnTo>
                  <a:lnTo>
                    <a:pt x="96" y="208"/>
                  </a:lnTo>
                  <a:lnTo>
                    <a:pt x="96" y="208"/>
                  </a:lnTo>
                  <a:lnTo>
                    <a:pt x="96" y="216"/>
                  </a:lnTo>
                  <a:lnTo>
                    <a:pt x="96" y="221"/>
                  </a:lnTo>
                  <a:lnTo>
                    <a:pt x="96" y="224"/>
                  </a:lnTo>
                  <a:lnTo>
                    <a:pt x="94" y="226"/>
                  </a:lnTo>
                  <a:lnTo>
                    <a:pt x="94" y="229"/>
                  </a:lnTo>
                  <a:lnTo>
                    <a:pt x="96" y="231"/>
                  </a:lnTo>
                  <a:lnTo>
                    <a:pt x="96" y="231"/>
                  </a:lnTo>
                  <a:lnTo>
                    <a:pt x="94" y="234"/>
                  </a:lnTo>
                  <a:lnTo>
                    <a:pt x="96" y="236"/>
                  </a:lnTo>
                  <a:lnTo>
                    <a:pt x="96" y="236"/>
                  </a:lnTo>
                  <a:lnTo>
                    <a:pt x="96" y="236"/>
                  </a:lnTo>
                  <a:lnTo>
                    <a:pt x="96" y="234"/>
                  </a:lnTo>
                  <a:lnTo>
                    <a:pt x="99" y="234"/>
                  </a:lnTo>
                  <a:lnTo>
                    <a:pt x="99" y="231"/>
                  </a:lnTo>
                  <a:lnTo>
                    <a:pt x="107" y="231"/>
                  </a:lnTo>
                  <a:close/>
                  <a:moveTo>
                    <a:pt x="53" y="203"/>
                  </a:moveTo>
                  <a:lnTo>
                    <a:pt x="53" y="201"/>
                  </a:lnTo>
                  <a:lnTo>
                    <a:pt x="53" y="201"/>
                  </a:lnTo>
                  <a:lnTo>
                    <a:pt x="51" y="201"/>
                  </a:lnTo>
                  <a:lnTo>
                    <a:pt x="51" y="201"/>
                  </a:lnTo>
                  <a:lnTo>
                    <a:pt x="53" y="206"/>
                  </a:lnTo>
                  <a:lnTo>
                    <a:pt x="53" y="206"/>
                  </a:lnTo>
                  <a:lnTo>
                    <a:pt x="53" y="208"/>
                  </a:lnTo>
                  <a:lnTo>
                    <a:pt x="53" y="208"/>
                  </a:lnTo>
                  <a:lnTo>
                    <a:pt x="56" y="208"/>
                  </a:lnTo>
                  <a:lnTo>
                    <a:pt x="56" y="206"/>
                  </a:lnTo>
                  <a:lnTo>
                    <a:pt x="56" y="203"/>
                  </a:lnTo>
                  <a:lnTo>
                    <a:pt x="56" y="203"/>
                  </a:lnTo>
                  <a:lnTo>
                    <a:pt x="53" y="203"/>
                  </a:lnTo>
                  <a:close/>
                  <a:moveTo>
                    <a:pt x="58" y="196"/>
                  </a:moveTo>
                  <a:lnTo>
                    <a:pt x="56" y="196"/>
                  </a:lnTo>
                  <a:lnTo>
                    <a:pt x="56" y="198"/>
                  </a:lnTo>
                  <a:lnTo>
                    <a:pt x="56" y="196"/>
                  </a:lnTo>
                  <a:lnTo>
                    <a:pt x="56" y="196"/>
                  </a:lnTo>
                  <a:lnTo>
                    <a:pt x="53" y="193"/>
                  </a:lnTo>
                  <a:lnTo>
                    <a:pt x="51" y="193"/>
                  </a:lnTo>
                  <a:lnTo>
                    <a:pt x="51" y="193"/>
                  </a:lnTo>
                  <a:lnTo>
                    <a:pt x="51" y="193"/>
                  </a:lnTo>
                  <a:lnTo>
                    <a:pt x="51" y="193"/>
                  </a:lnTo>
                  <a:lnTo>
                    <a:pt x="51" y="193"/>
                  </a:lnTo>
                  <a:lnTo>
                    <a:pt x="51" y="196"/>
                  </a:lnTo>
                  <a:lnTo>
                    <a:pt x="51" y="196"/>
                  </a:lnTo>
                  <a:lnTo>
                    <a:pt x="51" y="196"/>
                  </a:lnTo>
                  <a:lnTo>
                    <a:pt x="53" y="198"/>
                  </a:lnTo>
                  <a:lnTo>
                    <a:pt x="53" y="201"/>
                  </a:lnTo>
                  <a:lnTo>
                    <a:pt x="56" y="201"/>
                  </a:lnTo>
                  <a:lnTo>
                    <a:pt x="56" y="201"/>
                  </a:lnTo>
                  <a:lnTo>
                    <a:pt x="58" y="201"/>
                  </a:lnTo>
                  <a:lnTo>
                    <a:pt x="61" y="201"/>
                  </a:lnTo>
                  <a:lnTo>
                    <a:pt x="61" y="198"/>
                  </a:lnTo>
                  <a:lnTo>
                    <a:pt x="58" y="198"/>
                  </a:lnTo>
                  <a:lnTo>
                    <a:pt x="58" y="196"/>
                  </a:lnTo>
                  <a:close/>
                  <a:moveTo>
                    <a:pt x="102" y="188"/>
                  </a:moveTo>
                  <a:lnTo>
                    <a:pt x="102" y="191"/>
                  </a:lnTo>
                  <a:lnTo>
                    <a:pt x="102" y="191"/>
                  </a:lnTo>
                  <a:lnTo>
                    <a:pt x="102" y="191"/>
                  </a:lnTo>
                  <a:lnTo>
                    <a:pt x="104" y="193"/>
                  </a:lnTo>
                  <a:lnTo>
                    <a:pt x="107" y="193"/>
                  </a:lnTo>
                  <a:lnTo>
                    <a:pt x="107" y="191"/>
                  </a:lnTo>
                  <a:lnTo>
                    <a:pt x="107" y="191"/>
                  </a:lnTo>
                  <a:lnTo>
                    <a:pt x="104" y="191"/>
                  </a:lnTo>
                  <a:lnTo>
                    <a:pt x="102" y="188"/>
                  </a:lnTo>
                  <a:close/>
                  <a:moveTo>
                    <a:pt x="140" y="196"/>
                  </a:moveTo>
                  <a:lnTo>
                    <a:pt x="142" y="198"/>
                  </a:lnTo>
                  <a:lnTo>
                    <a:pt x="142" y="198"/>
                  </a:lnTo>
                  <a:lnTo>
                    <a:pt x="145" y="198"/>
                  </a:lnTo>
                  <a:lnTo>
                    <a:pt x="147" y="201"/>
                  </a:lnTo>
                  <a:lnTo>
                    <a:pt x="147" y="201"/>
                  </a:lnTo>
                  <a:lnTo>
                    <a:pt x="150" y="203"/>
                  </a:lnTo>
                  <a:lnTo>
                    <a:pt x="150" y="203"/>
                  </a:lnTo>
                  <a:lnTo>
                    <a:pt x="153" y="206"/>
                  </a:lnTo>
                  <a:lnTo>
                    <a:pt x="153" y="206"/>
                  </a:lnTo>
                  <a:lnTo>
                    <a:pt x="153" y="206"/>
                  </a:lnTo>
                  <a:lnTo>
                    <a:pt x="155" y="208"/>
                  </a:lnTo>
                  <a:lnTo>
                    <a:pt x="153" y="208"/>
                  </a:lnTo>
                  <a:lnTo>
                    <a:pt x="153" y="211"/>
                  </a:lnTo>
                  <a:lnTo>
                    <a:pt x="153" y="213"/>
                  </a:lnTo>
                  <a:lnTo>
                    <a:pt x="155" y="216"/>
                  </a:lnTo>
                  <a:lnTo>
                    <a:pt x="158" y="216"/>
                  </a:lnTo>
                  <a:lnTo>
                    <a:pt x="158" y="216"/>
                  </a:lnTo>
                  <a:lnTo>
                    <a:pt x="160" y="221"/>
                  </a:lnTo>
                  <a:lnTo>
                    <a:pt x="160" y="221"/>
                  </a:lnTo>
                  <a:lnTo>
                    <a:pt x="163" y="221"/>
                  </a:lnTo>
                  <a:lnTo>
                    <a:pt x="168" y="221"/>
                  </a:lnTo>
                  <a:lnTo>
                    <a:pt x="168" y="221"/>
                  </a:lnTo>
                  <a:lnTo>
                    <a:pt x="170" y="221"/>
                  </a:lnTo>
                  <a:lnTo>
                    <a:pt x="170" y="221"/>
                  </a:lnTo>
                  <a:lnTo>
                    <a:pt x="170" y="219"/>
                  </a:lnTo>
                  <a:lnTo>
                    <a:pt x="168" y="219"/>
                  </a:lnTo>
                  <a:lnTo>
                    <a:pt x="165" y="219"/>
                  </a:lnTo>
                  <a:lnTo>
                    <a:pt x="165" y="216"/>
                  </a:lnTo>
                  <a:lnTo>
                    <a:pt x="168" y="216"/>
                  </a:lnTo>
                  <a:lnTo>
                    <a:pt x="165" y="213"/>
                  </a:lnTo>
                  <a:lnTo>
                    <a:pt x="165" y="211"/>
                  </a:lnTo>
                  <a:lnTo>
                    <a:pt x="163" y="211"/>
                  </a:lnTo>
                  <a:lnTo>
                    <a:pt x="163" y="208"/>
                  </a:lnTo>
                  <a:lnTo>
                    <a:pt x="163" y="206"/>
                  </a:lnTo>
                  <a:lnTo>
                    <a:pt x="163" y="206"/>
                  </a:lnTo>
                  <a:lnTo>
                    <a:pt x="163" y="201"/>
                  </a:lnTo>
                  <a:lnTo>
                    <a:pt x="163" y="198"/>
                  </a:lnTo>
                  <a:lnTo>
                    <a:pt x="163" y="198"/>
                  </a:lnTo>
                  <a:lnTo>
                    <a:pt x="163" y="196"/>
                  </a:lnTo>
                  <a:lnTo>
                    <a:pt x="163" y="196"/>
                  </a:lnTo>
                  <a:lnTo>
                    <a:pt x="160" y="193"/>
                  </a:lnTo>
                  <a:lnTo>
                    <a:pt x="160" y="193"/>
                  </a:lnTo>
                  <a:lnTo>
                    <a:pt x="158" y="193"/>
                  </a:lnTo>
                  <a:lnTo>
                    <a:pt x="158" y="191"/>
                  </a:lnTo>
                  <a:lnTo>
                    <a:pt x="158" y="191"/>
                  </a:lnTo>
                  <a:lnTo>
                    <a:pt x="158" y="188"/>
                  </a:lnTo>
                  <a:lnTo>
                    <a:pt x="155" y="188"/>
                  </a:lnTo>
                  <a:lnTo>
                    <a:pt x="150" y="188"/>
                  </a:lnTo>
                  <a:lnTo>
                    <a:pt x="142" y="188"/>
                  </a:lnTo>
                  <a:lnTo>
                    <a:pt x="137" y="188"/>
                  </a:lnTo>
                  <a:lnTo>
                    <a:pt x="140" y="191"/>
                  </a:lnTo>
                  <a:lnTo>
                    <a:pt x="140" y="196"/>
                  </a:lnTo>
                  <a:close/>
                  <a:moveTo>
                    <a:pt x="117" y="198"/>
                  </a:moveTo>
                  <a:lnTo>
                    <a:pt x="117" y="201"/>
                  </a:lnTo>
                  <a:lnTo>
                    <a:pt x="117" y="203"/>
                  </a:lnTo>
                  <a:lnTo>
                    <a:pt x="119" y="201"/>
                  </a:lnTo>
                  <a:lnTo>
                    <a:pt x="122" y="196"/>
                  </a:lnTo>
                  <a:lnTo>
                    <a:pt x="122" y="196"/>
                  </a:lnTo>
                  <a:lnTo>
                    <a:pt x="124" y="196"/>
                  </a:lnTo>
                  <a:lnTo>
                    <a:pt x="124" y="198"/>
                  </a:lnTo>
                  <a:lnTo>
                    <a:pt x="127" y="198"/>
                  </a:lnTo>
                  <a:lnTo>
                    <a:pt x="127" y="198"/>
                  </a:lnTo>
                  <a:lnTo>
                    <a:pt x="127" y="201"/>
                  </a:lnTo>
                  <a:lnTo>
                    <a:pt x="127" y="201"/>
                  </a:lnTo>
                  <a:lnTo>
                    <a:pt x="130" y="201"/>
                  </a:lnTo>
                  <a:lnTo>
                    <a:pt x="130" y="203"/>
                  </a:lnTo>
                  <a:lnTo>
                    <a:pt x="132" y="206"/>
                  </a:lnTo>
                  <a:lnTo>
                    <a:pt x="135" y="206"/>
                  </a:lnTo>
                  <a:lnTo>
                    <a:pt x="135" y="206"/>
                  </a:lnTo>
                  <a:lnTo>
                    <a:pt x="135" y="201"/>
                  </a:lnTo>
                  <a:lnTo>
                    <a:pt x="132" y="196"/>
                  </a:lnTo>
                  <a:lnTo>
                    <a:pt x="127" y="193"/>
                  </a:lnTo>
                  <a:lnTo>
                    <a:pt x="124" y="191"/>
                  </a:lnTo>
                  <a:lnTo>
                    <a:pt x="124" y="191"/>
                  </a:lnTo>
                  <a:lnTo>
                    <a:pt x="122" y="188"/>
                  </a:lnTo>
                  <a:lnTo>
                    <a:pt x="119" y="188"/>
                  </a:lnTo>
                  <a:lnTo>
                    <a:pt x="117" y="188"/>
                  </a:lnTo>
                  <a:lnTo>
                    <a:pt x="117" y="188"/>
                  </a:lnTo>
                  <a:lnTo>
                    <a:pt x="117" y="191"/>
                  </a:lnTo>
                  <a:lnTo>
                    <a:pt x="117" y="193"/>
                  </a:lnTo>
                  <a:lnTo>
                    <a:pt x="117" y="198"/>
                  </a:lnTo>
                  <a:close/>
                  <a:moveTo>
                    <a:pt x="96" y="188"/>
                  </a:moveTo>
                  <a:lnTo>
                    <a:pt x="96" y="188"/>
                  </a:lnTo>
                  <a:lnTo>
                    <a:pt x="96" y="188"/>
                  </a:lnTo>
                  <a:lnTo>
                    <a:pt x="96" y="188"/>
                  </a:lnTo>
                  <a:lnTo>
                    <a:pt x="99" y="188"/>
                  </a:lnTo>
                  <a:lnTo>
                    <a:pt x="96" y="188"/>
                  </a:lnTo>
                  <a:lnTo>
                    <a:pt x="96" y="188"/>
                  </a:lnTo>
                  <a:close/>
                  <a:moveTo>
                    <a:pt x="94" y="198"/>
                  </a:moveTo>
                  <a:lnTo>
                    <a:pt x="94" y="193"/>
                  </a:lnTo>
                  <a:lnTo>
                    <a:pt x="94" y="188"/>
                  </a:lnTo>
                  <a:lnTo>
                    <a:pt x="94" y="185"/>
                  </a:lnTo>
                  <a:lnTo>
                    <a:pt x="94" y="185"/>
                  </a:lnTo>
                  <a:lnTo>
                    <a:pt x="94" y="185"/>
                  </a:lnTo>
                  <a:lnTo>
                    <a:pt x="91" y="188"/>
                  </a:lnTo>
                  <a:lnTo>
                    <a:pt x="91" y="191"/>
                  </a:lnTo>
                  <a:lnTo>
                    <a:pt x="91" y="191"/>
                  </a:lnTo>
                  <a:lnTo>
                    <a:pt x="91" y="193"/>
                  </a:lnTo>
                  <a:lnTo>
                    <a:pt x="91" y="193"/>
                  </a:lnTo>
                  <a:lnTo>
                    <a:pt x="91" y="196"/>
                  </a:lnTo>
                  <a:lnTo>
                    <a:pt x="91" y="196"/>
                  </a:lnTo>
                  <a:lnTo>
                    <a:pt x="94" y="198"/>
                  </a:lnTo>
                  <a:close/>
                  <a:moveTo>
                    <a:pt x="127" y="191"/>
                  </a:moveTo>
                  <a:lnTo>
                    <a:pt x="127" y="193"/>
                  </a:lnTo>
                  <a:lnTo>
                    <a:pt x="127" y="191"/>
                  </a:lnTo>
                  <a:lnTo>
                    <a:pt x="127" y="185"/>
                  </a:lnTo>
                  <a:lnTo>
                    <a:pt x="124" y="185"/>
                  </a:lnTo>
                  <a:lnTo>
                    <a:pt x="124" y="185"/>
                  </a:lnTo>
                  <a:lnTo>
                    <a:pt x="124" y="188"/>
                  </a:lnTo>
                  <a:lnTo>
                    <a:pt x="127" y="191"/>
                  </a:lnTo>
                  <a:close/>
                  <a:moveTo>
                    <a:pt x="119" y="185"/>
                  </a:moveTo>
                  <a:lnTo>
                    <a:pt x="117" y="180"/>
                  </a:lnTo>
                  <a:lnTo>
                    <a:pt x="114" y="180"/>
                  </a:lnTo>
                  <a:lnTo>
                    <a:pt x="112" y="175"/>
                  </a:lnTo>
                  <a:lnTo>
                    <a:pt x="112" y="175"/>
                  </a:lnTo>
                  <a:lnTo>
                    <a:pt x="109" y="175"/>
                  </a:lnTo>
                  <a:lnTo>
                    <a:pt x="109" y="175"/>
                  </a:lnTo>
                  <a:lnTo>
                    <a:pt x="109" y="178"/>
                  </a:lnTo>
                  <a:lnTo>
                    <a:pt x="112" y="178"/>
                  </a:lnTo>
                  <a:lnTo>
                    <a:pt x="114" y="180"/>
                  </a:lnTo>
                  <a:lnTo>
                    <a:pt x="117" y="183"/>
                  </a:lnTo>
                  <a:lnTo>
                    <a:pt x="119" y="185"/>
                  </a:lnTo>
                  <a:close/>
                  <a:moveTo>
                    <a:pt x="81" y="191"/>
                  </a:moveTo>
                  <a:lnTo>
                    <a:pt x="81" y="188"/>
                  </a:lnTo>
                  <a:lnTo>
                    <a:pt x="81" y="188"/>
                  </a:lnTo>
                  <a:lnTo>
                    <a:pt x="84" y="185"/>
                  </a:lnTo>
                  <a:lnTo>
                    <a:pt x="81" y="180"/>
                  </a:lnTo>
                  <a:lnTo>
                    <a:pt x="81" y="180"/>
                  </a:lnTo>
                  <a:lnTo>
                    <a:pt x="81" y="178"/>
                  </a:lnTo>
                  <a:lnTo>
                    <a:pt x="81" y="175"/>
                  </a:lnTo>
                  <a:lnTo>
                    <a:pt x="81" y="175"/>
                  </a:lnTo>
                  <a:lnTo>
                    <a:pt x="79" y="173"/>
                  </a:lnTo>
                  <a:lnTo>
                    <a:pt x="79" y="173"/>
                  </a:lnTo>
                  <a:lnTo>
                    <a:pt x="76" y="170"/>
                  </a:lnTo>
                  <a:lnTo>
                    <a:pt x="73" y="168"/>
                  </a:lnTo>
                  <a:lnTo>
                    <a:pt x="73" y="170"/>
                  </a:lnTo>
                  <a:lnTo>
                    <a:pt x="71" y="168"/>
                  </a:lnTo>
                  <a:lnTo>
                    <a:pt x="71" y="168"/>
                  </a:lnTo>
                  <a:lnTo>
                    <a:pt x="68" y="168"/>
                  </a:lnTo>
                  <a:lnTo>
                    <a:pt x="68" y="165"/>
                  </a:lnTo>
                  <a:lnTo>
                    <a:pt x="66" y="168"/>
                  </a:lnTo>
                  <a:lnTo>
                    <a:pt x="63" y="168"/>
                  </a:lnTo>
                  <a:lnTo>
                    <a:pt x="63" y="168"/>
                  </a:lnTo>
                  <a:lnTo>
                    <a:pt x="58" y="165"/>
                  </a:lnTo>
                  <a:lnTo>
                    <a:pt x="58" y="165"/>
                  </a:lnTo>
                  <a:lnTo>
                    <a:pt x="56" y="168"/>
                  </a:lnTo>
                  <a:lnTo>
                    <a:pt x="56" y="168"/>
                  </a:lnTo>
                  <a:lnTo>
                    <a:pt x="58" y="168"/>
                  </a:lnTo>
                  <a:lnTo>
                    <a:pt x="58" y="168"/>
                  </a:lnTo>
                  <a:lnTo>
                    <a:pt x="58" y="168"/>
                  </a:lnTo>
                  <a:lnTo>
                    <a:pt x="61" y="170"/>
                  </a:lnTo>
                  <a:lnTo>
                    <a:pt x="61" y="173"/>
                  </a:lnTo>
                  <a:lnTo>
                    <a:pt x="61" y="173"/>
                  </a:lnTo>
                  <a:lnTo>
                    <a:pt x="63" y="173"/>
                  </a:lnTo>
                  <a:lnTo>
                    <a:pt x="63" y="175"/>
                  </a:lnTo>
                  <a:lnTo>
                    <a:pt x="66" y="178"/>
                  </a:lnTo>
                  <a:lnTo>
                    <a:pt x="66" y="180"/>
                  </a:lnTo>
                  <a:lnTo>
                    <a:pt x="66" y="183"/>
                  </a:lnTo>
                  <a:lnTo>
                    <a:pt x="68" y="183"/>
                  </a:lnTo>
                  <a:lnTo>
                    <a:pt x="68" y="185"/>
                  </a:lnTo>
                  <a:lnTo>
                    <a:pt x="71" y="185"/>
                  </a:lnTo>
                  <a:lnTo>
                    <a:pt x="71" y="188"/>
                  </a:lnTo>
                  <a:lnTo>
                    <a:pt x="71" y="188"/>
                  </a:lnTo>
                  <a:lnTo>
                    <a:pt x="71" y="191"/>
                  </a:lnTo>
                  <a:lnTo>
                    <a:pt x="73" y="193"/>
                  </a:lnTo>
                  <a:lnTo>
                    <a:pt x="73" y="193"/>
                  </a:lnTo>
                  <a:lnTo>
                    <a:pt x="73" y="193"/>
                  </a:lnTo>
                  <a:lnTo>
                    <a:pt x="76" y="196"/>
                  </a:lnTo>
                  <a:lnTo>
                    <a:pt x="76" y="196"/>
                  </a:lnTo>
                  <a:lnTo>
                    <a:pt x="79" y="196"/>
                  </a:lnTo>
                  <a:lnTo>
                    <a:pt x="79" y="193"/>
                  </a:lnTo>
                  <a:lnTo>
                    <a:pt x="79" y="193"/>
                  </a:lnTo>
                  <a:lnTo>
                    <a:pt x="79" y="193"/>
                  </a:lnTo>
                  <a:lnTo>
                    <a:pt x="81" y="193"/>
                  </a:lnTo>
                  <a:lnTo>
                    <a:pt x="81" y="193"/>
                  </a:lnTo>
                  <a:lnTo>
                    <a:pt x="81" y="191"/>
                  </a:lnTo>
                  <a:lnTo>
                    <a:pt x="81" y="191"/>
                  </a:lnTo>
                  <a:close/>
                  <a:moveTo>
                    <a:pt x="89" y="165"/>
                  </a:moveTo>
                  <a:lnTo>
                    <a:pt x="89" y="165"/>
                  </a:lnTo>
                  <a:lnTo>
                    <a:pt x="89" y="165"/>
                  </a:lnTo>
                  <a:lnTo>
                    <a:pt x="86" y="165"/>
                  </a:lnTo>
                  <a:lnTo>
                    <a:pt x="86" y="168"/>
                  </a:lnTo>
                  <a:lnTo>
                    <a:pt x="86" y="170"/>
                  </a:lnTo>
                  <a:lnTo>
                    <a:pt x="89" y="170"/>
                  </a:lnTo>
                  <a:lnTo>
                    <a:pt x="91" y="173"/>
                  </a:lnTo>
                  <a:lnTo>
                    <a:pt x="91" y="173"/>
                  </a:lnTo>
                  <a:lnTo>
                    <a:pt x="91" y="173"/>
                  </a:lnTo>
                  <a:lnTo>
                    <a:pt x="91" y="170"/>
                  </a:lnTo>
                  <a:lnTo>
                    <a:pt x="91" y="168"/>
                  </a:lnTo>
                  <a:lnTo>
                    <a:pt x="91" y="168"/>
                  </a:lnTo>
                  <a:lnTo>
                    <a:pt x="89" y="165"/>
                  </a:lnTo>
                  <a:close/>
                  <a:moveTo>
                    <a:pt x="51" y="157"/>
                  </a:moveTo>
                  <a:lnTo>
                    <a:pt x="51" y="157"/>
                  </a:lnTo>
                  <a:lnTo>
                    <a:pt x="51" y="160"/>
                  </a:lnTo>
                  <a:lnTo>
                    <a:pt x="51" y="160"/>
                  </a:lnTo>
                  <a:lnTo>
                    <a:pt x="56" y="163"/>
                  </a:lnTo>
                  <a:lnTo>
                    <a:pt x="56" y="160"/>
                  </a:lnTo>
                  <a:lnTo>
                    <a:pt x="53" y="160"/>
                  </a:lnTo>
                  <a:lnTo>
                    <a:pt x="51" y="157"/>
                  </a:lnTo>
                  <a:close/>
                  <a:moveTo>
                    <a:pt x="130" y="165"/>
                  </a:moveTo>
                  <a:lnTo>
                    <a:pt x="132" y="165"/>
                  </a:lnTo>
                  <a:lnTo>
                    <a:pt x="135" y="165"/>
                  </a:lnTo>
                  <a:lnTo>
                    <a:pt x="135" y="165"/>
                  </a:lnTo>
                  <a:lnTo>
                    <a:pt x="135" y="165"/>
                  </a:lnTo>
                  <a:lnTo>
                    <a:pt x="137" y="163"/>
                  </a:lnTo>
                  <a:lnTo>
                    <a:pt x="137" y="163"/>
                  </a:lnTo>
                  <a:lnTo>
                    <a:pt x="137" y="160"/>
                  </a:lnTo>
                  <a:lnTo>
                    <a:pt x="137" y="157"/>
                  </a:lnTo>
                  <a:lnTo>
                    <a:pt x="135" y="157"/>
                  </a:lnTo>
                  <a:lnTo>
                    <a:pt x="135" y="157"/>
                  </a:lnTo>
                  <a:lnTo>
                    <a:pt x="132" y="152"/>
                  </a:lnTo>
                  <a:lnTo>
                    <a:pt x="132" y="155"/>
                  </a:lnTo>
                  <a:lnTo>
                    <a:pt x="132" y="155"/>
                  </a:lnTo>
                  <a:lnTo>
                    <a:pt x="130" y="155"/>
                  </a:lnTo>
                  <a:lnTo>
                    <a:pt x="132" y="160"/>
                  </a:lnTo>
                  <a:lnTo>
                    <a:pt x="130" y="163"/>
                  </a:lnTo>
                  <a:lnTo>
                    <a:pt x="130" y="165"/>
                  </a:lnTo>
                  <a:close/>
                  <a:moveTo>
                    <a:pt x="86" y="150"/>
                  </a:moveTo>
                  <a:lnTo>
                    <a:pt x="86" y="150"/>
                  </a:lnTo>
                  <a:lnTo>
                    <a:pt x="86" y="152"/>
                  </a:lnTo>
                  <a:lnTo>
                    <a:pt x="91" y="155"/>
                  </a:lnTo>
                  <a:lnTo>
                    <a:pt x="91" y="155"/>
                  </a:lnTo>
                  <a:lnTo>
                    <a:pt x="86" y="150"/>
                  </a:lnTo>
                  <a:lnTo>
                    <a:pt x="86" y="150"/>
                  </a:lnTo>
                  <a:close/>
                  <a:moveTo>
                    <a:pt x="84" y="140"/>
                  </a:moveTo>
                  <a:lnTo>
                    <a:pt x="86" y="140"/>
                  </a:lnTo>
                  <a:lnTo>
                    <a:pt x="86" y="140"/>
                  </a:lnTo>
                  <a:lnTo>
                    <a:pt x="86" y="137"/>
                  </a:lnTo>
                  <a:lnTo>
                    <a:pt x="86" y="135"/>
                  </a:lnTo>
                  <a:lnTo>
                    <a:pt x="86" y="132"/>
                  </a:lnTo>
                  <a:lnTo>
                    <a:pt x="86" y="132"/>
                  </a:lnTo>
                  <a:lnTo>
                    <a:pt x="86" y="132"/>
                  </a:lnTo>
                  <a:lnTo>
                    <a:pt x="86" y="132"/>
                  </a:lnTo>
                  <a:lnTo>
                    <a:pt x="84" y="132"/>
                  </a:lnTo>
                  <a:lnTo>
                    <a:pt x="81" y="132"/>
                  </a:lnTo>
                  <a:lnTo>
                    <a:pt x="81" y="132"/>
                  </a:lnTo>
                  <a:lnTo>
                    <a:pt x="84" y="135"/>
                  </a:lnTo>
                  <a:lnTo>
                    <a:pt x="84" y="137"/>
                  </a:lnTo>
                  <a:lnTo>
                    <a:pt x="84" y="137"/>
                  </a:lnTo>
                  <a:lnTo>
                    <a:pt x="84" y="137"/>
                  </a:lnTo>
                  <a:lnTo>
                    <a:pt x="84" y="140"/>
                  </a:lnTo>
                  <a:lnTo>
                    <a:pt x="84" y="140"/>
                  </a:lnTo>
                  <a:close/>
                  <a:moveTo>
                    <a:pt x="38" y="109"/>
                  </a:moveTo>
                  <a:lnTo>
                    <a:pt x="38" y="112"/>
                  </a:lnTo>
                  <a:lnTo>
                    <a:pt x="40" y="112"/>
                  </a:lnTo>
                  <a:lnTo>
                    <a:pt x="40" y="112"/>
                  </a:lnTo>
                  <a:lnTo>
                    <a:pt x="40" y="114"/>
                  </a:lnTo>
                  <a:lnTo>
                    <a:pt x="43" y="122"/>
                  </a:lnTo>
                  <a:lnTo>
                    <a:pt x="43" y="124"/>
                  </a:lnTo>
                  <a:lnTo>
                    <a:pt x="45" y="127"/>
                  </a:lnTo>
                  <a:lnTo>
                    <a:pt x="45" y="129"/>
                  </a:lnTo>
                  <a:lnTo>
                    <a:pt x="45" y="132"/>
                  </a:lnTo>
                  <a:lnTo>
                    <a:pt x="48" y="135"/>
                  </a:lnTo>
                  <a:lnTo>
                    <a:pt x="48" y="137"/>
                  </a:lnTo>
                  <a:lnTo>
                    <a:pt x="51" y="137"/>
                  </a:lnTo>
                  <a:lnTo>
                    <a:pt x="51" y="137"/>
                  </a:lnTo>
                  <a:lnTo>
                    <a:pt x="53" y="140"/>
                  </a:lnTo>
                  <a:lnTo>
                    <a:pt x="53" y="142"/>
                  </a:lnTo>
                  <a:lnTo>
                    <a:pt x="56" y="145"/>
                  </a:lnTo>
                  <a:lnTo>
                    <a:pt x="56" y="145"/>
                  </a:lnTo>
                  <a:lnTo>
                    <a:pt x="58" y="145"/>
                  </a:lnTo>
                  <a:lnTo>
                    <a:pt x="58" y="145"/>
                  </a:lnTo>
                  <a:lnTo>
                    <a:pt x="58" y="145"/>
                  </a:lnTo>
                  <a:lnTo>
                    <a:pt x="58" y="142"/>
                  </a:lnTo>
                  <a:lnTo>
                    <a:pt x="58" y="137"/>
                  </a:lnTo>
                  <a:lnTo>
                    <a:pt x="58" y="135"/>
                  </a:lnTo>
                  <a:lnTo>
                    <a:pt x="58" y="137"/>
                  </a:lnTo>
                  <a:lnTo>
                    <a:pt x="61" y="137"/>
                  </a:lnTo>
                  <a:lnTo>
                    <a:pt x="63" y="137"/>
                  </a:lnTo>
                  <a:lnTo>
                    <a:pt x="63" y="140"/>
                  </a:lnTo>
                  <a:lnTo>
                    <a:pt x="66" y="140"/>
                  </a:lnTo>
                  <a:lnTo>
                    <a:pt x="66" y="142"/>
                  </a:lnTo>
                  <a:lnTo>
                    <a:pt x="66" y="145"/>
                  </a:lnTo>
                  <a:lnTo>
                    <a:pt x="61" y="147"/>
                  </a:lnTo>
                  <a:lnTo>
                    <a:pt x="61" y="150"/>
                  </a:lnTo>
                  <a:lnTo>
                    <a:pt x="61" y="150"/>
                  </a:lnTo>
                  <a:lnTo>
                    <a:pt x="61" y="155"/>
                  </a:lnTo>
                  <a:lnTo>
                    <a:pt x="61" y="160"/>
                  </a:lnTo>
                  <a:lnTo>
                    <a:pt x="63" y="157"/>
                  </a:lnTo>
                  <a:lnTo>
                    <a:pt x="66" y="157"/>
                  </a:lnTo>
                  <a:lnTo>
                    <a:pt x="68" y="160"/>
                  </a:lnTo>
                  <a:lnTo>
                    <a:pt x="68" y="160"/>
                  </a:lnTo>
                  <a:lnTo>
                    <a:pt x="71" y="163"/>
                  </a:lnTo>
                  <a:lnTo>
                    <a:pt x="73" y="163"/>
                  </a:lnTo>
                  <a:lnTo>
                    <a:pt x="76" y="163"/>
                  </a:lnTo>
                  <a:lnTo>
                    <a:pt x="79" y="163"/>
                  </a:lnTo>
                  <a:lnTo>
                    <a:pt x="79" y="160"/>
                  </a:lnTo>
                  <a:lnTo>
                    <a:pt x="79" y="157"/>
                  </a:lnTo>
                  <a:lnTo>
                    <a:pt x="81" y="157"/>
                  </a:lnTo>
                  <a:lnTo>
                    <a:pt x="81" y="157"/>
                  </a:lnTo>
                  <a:lnTo>
                    <a:pt x="84" y="157"/>
                  </a:lnTo>
                  <a:lnTo>
                    <a:pt x="84" y="157"/>
                  </a:lnTo>
                  <a:lnTo>
                    <a:pt x="91" y="160"/>
                  </a:lnTo>
                  <a:lnTo>
                    <a:pt x="94" y="163"/>
                  </a:lnTo>
                  <a:lnTo>
                    <a:pt x="96" y="165"/>
                  </a:lnTo>
                  <a:lnTo>
                    <a:pt x="96" y="168"/>
                  </a:lnTo>
                  <a:lnTo>
                    <a:pt x="99" y="170"/>
                  </a:lnTo>
                  <a:lnTo>
                    <a:pt x="102" y="170"/>
                  </a:lnTo>
                  <a:lnTo>
                    <a:pt x="102" y="173"/>
                  </a:lnTo>
                  <a:lnTo>
                    <a:pt x="102" y="173"/>
                  </a:lnTo>
                  <a:lnTo>
                    <a:pt x="104" y="173"/>
                  </a:lnTo>
                  <a:lnTo>
                    <a:pt x="104" y="168"/>
                  </a:lnTo>
                  <a:lnTo>
                    <a:pt x="102" y="165"/>
                  </a:lnTo>
                  <a:lnTo>
                    <a:pt x="102" y="165"/>
                  </a:lnTo>
                  <a:lnTo>
                    <a:pt x="99" y="163"/>
                  </a:lnTo>
                  <a:lnTo>
                    <a:pt x="99" y="163"/>
                  </a:lnTo>
                  <a:lnTo>
                    <a:pt x="99" y="160"/>
                  </a:lnTo>
                  <a:lnTo>
                    <a:pt x="99" y="160"/>
                  </a:lnTo>
                  <a:lnTo>
                    <a:pt x="99" y="157"/>
                  </a:lnTo>
                  <a:lnTo>
                    <a:pt x="99" y="157"/>
                  </a:lnTo>
                  <a:lnTo>
                    <a:pt x="99" y="157"/>
                  </a:lnTo>
                  <a:lnTo>
                    <a:pt x="102" y="157"/>
                  </a:lnTo>
                  <a:lnTo>
                    <a:pt x="104" y="160"/>
                  </a:lnTo>
                  <a:lnTo>
                    <a:pt x="107" y="163"/>
                  </a:lnTo>
                  <a:lnTo>
                    <a:pt x="107" y="165"/>
                  </a:lnTo>
                  <a:lnTo>
                    <a:pt x="112" y="168"/>
                  </a:lnTo>
                  <a:lnTo>
                    <a:pt x="114" y="168"/>
                  </a:lnTo>
                  <a:lnTo>
                    <a:pt x="114" y="170"/>
                  </a:lnTo>
                  <a:lnTo>
                    <a:pt x="117" y="173"/>
                  </a:lnTo>
                  <a:lnTo>
                    <a:pt x="117" y="175"/>
                  </a:lnTo>
                  <a:lnTo>
                    <a:pt x="117" y="178"/>
                  </a:lnTo>
                  <a:lnTo>
                    <a:pt x="119" y="178"/>
                  </a:lnTo>
                  <a:lnTo>
                    <a:pt x="124" y="180"/>
                  </a:lnTo>
                  <a:lnTo>
                    <a:pt x="127" y="180"/>
                  </a:lnTo>
                  <a:lnTo>
                    <a:pt x="127" y="180"/>
                  </a:lnTo>
                  <a:lnTo>
                    <a:pt x="127" y="180"/>
                  </a:lnTo>
                  <a:lnTo>
                    <a:pt x="130" y="178"/>
                  </a:lnTo>
                  <a:lnTo>
                    <a:pt x="130" y="180"/>
                  </a:lnTo>
                  <a:lnTo>
                    <a:pt x="130" y="183"/>
                  </a:lnTo>
                  <a:lnTo>
                    <a:pt x="130" y="185"/>
                  </a:lnTo>
                  <a:lnTo>
                    <a:pt x="132" y="188"/>
                  </a:lnTo>
                  <a:lnTo>
                    <a:pt x="132" y="188"/>
                  </a:lnTo>
                  <a:lnTo>
                    <a:pt x="135" y="183"/>
                  </a:lnTo>
                  <a:lnTo>
                    <a:pt x="135" y="178"/>
                  </a:lnTo>
                  <a:lnTo>
                    <a:pt x="132" y="178"/>
                  </a:lnTo>
                  <a:lnTo>
                    <a:pt x="132" y="178"/>
                  </a:lnTo>
                  <a:lnTo>
                    <a:pt x="130" y="175"/>
                  </a:lnTo>
                  <a:lnTo>
                    <a:pt x="127" y="175"/>
                  </a:lnTo>
                  <a:lnTo>
                    <a:pt x="127" y="175"/>
                  </a:lnTo>
                  <a:lnTo>
                    <a:pt x="127" y="173"/>
                  </a:lnTo>
                  <a:lnTo>
                    <a:pt x="127" y="173"/>
                  </a:lnTo>
                  <a:lnTo>
                    <a:pt x="124" y="170"/>
                  </a:lnTo>
                  <a:lnTo>
                    <a:pt x="124" y="168"/>
                  </a:lnTo>
                  <a:lnTo>
                    <a:pt x="122" y="165"/>
                  </a:lnTo>
                  <a:lnTo>
                    <a:pt x="119" y="163"/>
                  </a:lnTo>
                  <a:lnTo>
                    <a:pt x="122" y="163"/>
                  </a:lnTo>
                  <a:lnTo>
                    <a:pt x="124" y="163"/>
                  </a:lnTo>
                  <a:lnTo>
                    <a:pt x="127" y="160"/>
                  </a:lnTo>
                  <a:lnTo>
                    <a:pt x="124" y="157"/>
                  </a:lnTo>
                  <a:lnTo>
                    <a:pt x="122" y="157"/>
                  </a:lnTo>
                  <a:lnTo>
                    <a:pt x="122" y="157"/>
                  </a:lnTo>
                  <a:lnTo>
                    <a:pt x="122" y="157"/>
                  </a:lnTo>
                  <a:lnTo>
                    <a:pt x="117" y="155"/>
                  </a:lnTo>
                  <a:lnTo>
                    <a:pt x="117" y="155"/>
                  </a:lnTo>
                  <a:lnTo>
                    <a:pt x="114" y="152"/>
                  </a:lnTo>
                  <a:lnTo>
                    <a:pt x="114" y="155"/>
                  </a:lnTo>
                  <a:lnTo>
                    <a:pt x="114" y="155"/>
                  </a:lnTo>
                  <a:lnTo>
                    <a:pt x="114" y="157"/>
                  </a:lnTo>
                  <a:lnTo>
                    <a:pt x="114" y="157"/>
                  </a:lnTo>
                  <a:lnTo>
                    <a:pt x="114" y="160"/>
                  </a:lnTo>
                  <a:lnTo>
                    <a:pt x="112" y="160"/>
                  </a:lnTo>
                  <a:lnTo>
                    <a:pt x="109" y="160"/>
                  </a:lnTo>
                  <a:lnTo>
                    <a:pt x="109" y="157"/>
                  </a:lnTo>
                  <a:lnTo>
                    <a:pt x="109" y="157"/>
                  </a:lnTo>
                  <a:lnTo>
                    <a:pt x="109" y="155"/>
                  </a:lnTo>
                  <a:lnTo>
                    <a:pt x="109" y="152"/>
                  </a:lnTo>
                  <a:lnTo>
                    <a:pt x="107" y="150"/>
                  </a:lnTo>
                  <a:lnTo>
                    <a:pt x="104" y="150"/>
                  </a:lnTo>
                  <a:lnTo>
                    <a:pt x="102" y="147"/>
                  </a:lnTo>
                  <a:lnTo>
                    <a:pt x="99" y="147"/>
                  </a:lnTo>
                  <a:lnTo>
                    <a:pt x="96" y="147"/>
                  </a:lnTo>
                  <a:lnTo>
                    <a:pt x="94" y="150"/>
                  </a:lnTo>
                  <a:lnTo>
                    <a:pt x="94" y="150"/>
                  </a:lnTo>
                  <a:lnTo>
                    <a:pt x="91" y="150"/>
                  </a:lnTo>
                  <a:lnTo>
                    <a:pt x="91" y="152"/>
                  </a:lnTo>
                  <a:lnTo>
                    <a:pt x="91" y="152"/>
                  </a:lnTo>
                  <a:lnTo>
                    <a:pt x="94" y="155"/>
                  </a:lnTo>
                  <a:lnTo>
                    <a:pt x="94" y="155"/>
                  </a:lnTo>
                  <a:lnTo>
                    <a:pt x="94" y="155"/>
                  </a:lnTo>
                  <a:lnTo>
                    <a:pt x="94" y="157"/>
                  </a:lnTo>
                  <a:lnTo>
                    <a:pt x="91" y="157"/>
                  </a:lnTo>
                  <a:lnTo>
                    <a:pt x="89" y="157"/>
                  </a:lnTo>
                  <a:lnTo>
                    <a:pt x="86" y="155"/>
                  </a:lnTo>
                  <a:lnTo>
                    <a:pt x="86" y="152"/>
                  </a:lnTo>
                  <a:lnTo>
                    <a:pt x="84" y="152"/>
                  </a:lnTo>
                  <a:lnTo>
                    <a:pt x="84" y="152"/>
                  </a:lnTo>
                  <a:lnTo>
                    <a:pt x="84" y="150"/>
                  </a:lnTo>
                  <a:lnTo>
                    <a:pt x="79" y="145"/>
                  </a:lnTo>
                  <a:lnTo>
                    <a:pt x="79" y="142"/>
                  </a:lnTo>
                  <a:lnTo>
                    <a:pt x="79" y="140"/>
                  </a:lnTo>
                  <a:lnTo>
                    <a:pt x="81" y="137"/>
                  </a:lnTo>
                  <a:lnTo>
                    <a:pt x="79" y="137"/>
                  </a:lnTo>
                  <a:lnTo>
                    <a:pt x="79" y="137"/>
                  </a:lnTo>
                  <a:lnTo>
                    <a:pt x="76" y="132"/>
                  </a:lnTo>
                  <a:lnTo>
                    <a:pt x="73" y="127"/>
                  </a:lnTo>
                  <a:lnTo>
                    <a:pt x="73" y="127"/>
                  </a:lnTo>
                  <a:lnTo>
                    <a:pt x="73" y="124"/>
                  </a:lnTo>
                  <a:lnTo>
                    <a:pt x="73" y="124"/>
                  </a:lnTo>
                  <a:lnTo>
                    <a:pt x="73" y="122"/>
                  </a:lnTo>
                  <a:lnTo>
                    <a:pt x="73" y="122"/>
                  </a:lnTo>
                  <a:lnTo>
                    <a:pt x="76" y="119"/>
                  </a:lnTo>
                  <a:lnTo>
                    <a:pt x="76" y="117"/>
                  </a:lnTo>
                  <a:lnTo>
                    <a:pt x="76" y="117"/>
                  </a:lnTo>
                  <a:lnTo>
                    <a:pt x="73" y="114"/>
                  </a:lnTo>
                  <a:lnTo>
                    <a:pt x="73" y="114"/>
                  </a:lnTo>
                  <a:lnTo>
                    <a:pt x="73" y="112"/>
                  </a:lnTo>
                  <a:lnTo>
                    <a:pt x="76" y="109"/>
                  </a:lnTo>
                  <a:lnTo>
                    <a:pt x="79" y="107"/>
                  </a:lnTo>
                  <a:lnTo>
                    <a:pt x="81" y="107"/>
                  </a:lnTo>
                  <a:lnTo>
                    <a:pt x="84" y="107"/>
                  </a:lnTo>
                  <a:lnTo>
                    <a:pt x="86" y="101"/>
                  </a:lnTo>
                  <a:lnTo>
                    <a:pt x="86" y="99"/>
                  </a:lnTo>
                  <a:lnTo>
                    <a:pt x="89" y="91"/>
                  </a:lnTo>
                  <a:lnTo>
                    <a:pt x="89" y="86"/>
                  </a:lnTo>
                  <a:lnTo>
                    <a:pt x="89" y="86"/>
                  </a:lnTo>
                  <a:lnTo>
                    <a:pt x="89" y="84"/>
                  </a:lnTo>
                  <a:lnTo>
                    <a:pt x="89" y="84"/>
                  </a:lnTo>
                  <a:lnTo>
                    <a:pt x="86" y="84"/>
                  </a:lnTo>
                  <a:lnTo>
                    <a:pt x="86" y="81"/>
                  </a:lnTo>
                  <a:lnTo>
                    <a:pt x="86" y="81"/>
                  </a:lnTo>
                  <a:lnTo>
                    <a:pt x="84" y="79"/>
                  </a:lnTo>
                  <a:lnTo>
                    <a:pt x="84" y="79"/>
                  </a:lnTo>
                  <a:lnTo>
                    <a:pt x="81" y="76"/>
                  </a:lnTo>
                  <a:lnTo>
                    <a:pt x="81" y="74"/>
                  </a:lnTo>
                  <a:lnTo>
                    <a:pt x="79" y="71"/>
                  </a:lnTo>
                  <a:lnTo>
                    <a:pt x="79" y="68"/>
                  </a:lnTo>
                  <a:lnTo>
                    <a:pt x="79" y="63"/>
                  </a:lnTo>
                  <a:lnTo>
                    <a:pt x="79" y="61"/>
                  </a:lnTo>
                  <a:lnTo>
                    <a:pt x="81" y="58"/>
                  </a:lnTo>
                  <a:lnTo>
                    <a:pt x="81" y="56"/>
                  </a:lnTo>
                  <a:lnTo>
                    <a:pt x="79" y="56"/>
                  </a:lnTo>
                  <a:lnTo>
                    <a:pt x="79" y="53"/>
                  </a:lnTo>
                  <a:lnTo>
                    <a:pt x="79" y="53"/>
                  </a:lnTo>
                  <a:lnTo>
                    <a:pt x="76" y="53"/>
                  </a:lnTo>
                  <a:lnTo>
                    <a:pt x="76" y="56"/>
                  </a:lnTo>
                  <a:lnTo>
                    <a:pt x="76" y="56"/>
                  </a:lnTo>
                  <a:lnTo>
                    <a:pt x="73" y="58"/>
                  </a:lnTo>
                  <a:lnTo>
                    <a:pt x="71" y="58"/>
                  </a:lnTo>
                  <a:lnTo>
                    <a:pt x="68" y="56"/>
                  </a:lnTo>
                  <a:lnTo>
                    <a:pt x="66" y="56"/>
                  </a:lnTo>
                  <a:lnTo>
                    <a:pt x="58" y="51"/>
                  </a:lnTo>
                  <a:lnTo>
                    <a:pt x="56" y="51"/>
                  </a:lnTo>
                  <a:lnTo>
                    <a:pt x="53" y="51"/>
                  </a:lnTo>
                  <a:lnTo>
                    <a:pt x="53" y="51"/>
                  </a:lnTo>
                  <a:lnTo>
                    <a:pt x="51" y="51"/>
                  </a:lnTo>
                  <a:lnTo>
                    <a:pt x="51" y="51"/>
                  </a:lnTo>
                  <a:lnTo>
                    <a:pt x="48" y="51"/>
                  </a:lnTo>
                  <a:lnTo>
                    <a:pt x="45" y="53"/>
                  </a:lnTo>
                  <a:lnTo>
                    <a:pt x="45" y="56"/>
                  </a:lnTo>
                  <a:lnTo>
                    <a:pt x="45" y="58"/>
                  </a:lnTo>
                  <a:lnTo>
                    <a:pt x="45" y="61"/>
                  </a:lnTo>
                  <a:lnTo>
                    <a:pt x="43" y="74"/>
                  </a:lnTo>
                  <a:lnTo>
                    <a:pt x="45" y="74"/>
                  </a:lnTo>
                  <a:lnTo>
                    <a:pt x="45" y="76"/>
                  </a:lnTo>
                  <a:lnTo>
                    <a:pt x="45" y="79"/>
                  </a:lnTo>
                  <a:lnTo>
                    <a:pt x="45" y="81"/>
                  </a:lnTo>
                  <a:lnTo>
                    <a:pt x="48" y="84"/>
                  </a:lnTo>
                  <a:lnTo>
                    <a:pt x="48" y="89"/>
                  </a:lnTo>
                  <a:lnTo>
                    <a:pt x="45" y="91"/>
                  </a:lnTo>
                  <a:lnTo>
                    <a:pt x="45" y="94"/>
                  </a:lnTo>
                  <a:lnTo>
                    <a:pt x="48" y="96"/>
                  </a:lnTo>
                  <a:lnTo>
                    <a:pt x="48" y="101"/>
                  </a:lnTo>
                  <a:lnTo>
                    <a:pt x="51" y="104"/>
                  </a:lnTo>
                  <a:lnTo>
                    <a:pt x="51" y="107"/>
                  </a:lnTo>
                  <a:lnTo>
                    <a:pt x="51" y="107"/>
                  </a:lnTo>
                  <a:lnTo>
                    <a:pt x="48" y="109"/>
                  </a:lnTo>
                  <a:lnTo>
                    <a:pt x="48" y="109"/>
                  </a:lnTo>
                  <a:lnTo>
                    <a:pt x="45" y="109"/>
                  </a:lnTo>
                  <a:lnTo>
                    <a:pt x="45" y="109"/>
                  </a:lnTo>
                  <a:lnTo>
                    <a:pt x="43" y="107"/>
                  </a:lnTo>
                  <a:lnTo>
                    <a:pt x="40" y="104"/>
                  </a:lnTo>
                  <a:lnTo>
                    <a:pt x="40" y="104"/>
                  </a:lnTo>
                  <a:lnTo>
                    <a:pt x="40" y="104"/>
                  </a:lnTo>
                  <a:lnTo>
                    <a:pt x="38" y="101"/>
                  </a:lnTo>
                  <a:lnTo>
                    <a:pt x="38" y="101"/>
                  </a:lnTo>
                  <a:lnTo>
                    <a:pt x="38" y="104"/>
                  </a:lnTo>
                  <a:lnTo>
                    <a:pt x="38" y="109"/>
                  </a:lnTo>
                  <a:lnTo>
                    <a:pt x="38" y="109"/>
                  </a:lnTo>
                  <a:close/>
                  <a:moveTo>
                    <a:pt x="68" y="46"/>
                  </a:moveTo>
                  <a:lnTo>
                    <a:pt x="71" y="43"/>
                  </a:lnTo>
                  <a:lnTo>
                    <a:pt x="71" y="43"/>
                  </a:lnTo>
                  <a:lnTo>
                    <a:pt x="71" y="40"/>
                  </a:lnTo>
                  <a:lnTo>
                    <a:pt x="68" y="40"/>
                  </a:lnTo>
                  <a:lnTo>
                    <a:pt x="68" y="43"/>
                  </a:lnTo>
                  <a:lnTo>
                    <a:pt x="68" y="43"/>
                  </a:lnTo>
                  <a:lnTo>
                    <a:pt x="68" y="46"/>
                  </a:lnTo>
                  <a:lnTo>
                    <a:pt x="68" y="46"/>
                  </a:lnTo>
                  <a:close/>
                  <a:moveTo>
                    <a:pt x="56" y="40"/>
                  </a:moveTo>
                  <a:lnTo>
                    <a:pt x="56" y="40"/>
                  </a:lnTo>
                  <a:lnTo>
                    <a:pt x="56" y="40"/>
                  </a:lnTo>
                  <a:lnTo>
                    <a:pt x="56" y="38"/>
                  </a:lnTo>
                  <a:lnTo>
                    <a:pt x="56" y="38"/>
                  </a:lnTo>
                  <a:lnTo>
                    <a:pt x="56" y="38"/>
                  </a:lnTo>
                  <a:lnTo>
                    <a:pt x="56" y="38"/>
                  </a:lnTo>
                  <a:lnTo>
                    <a:pt x="56" y="40"/>
                  </a:lnTo>
                  <a:close/>
                  <a:moveTo>
                    <a:pt x="58" y="33"/>
                  </a:moveTo>
                  <a:lnTo>
                    <a:pt x="61" y="35"/>
                  </a:lnTo>
                  <a:lnTo>
                    <a:pt x="61" y="35"/>
                  </a:lnTo>
                  <a:lnTo>
                    <a:pt x="61" y="33"/>
                  </a:lnTo>
                  <a:lnTo>
                    <a:pt x="58" y="33"/>
                  </a:lnTo>
                  <a:lnTo>
                    <a:pt x="58" y="33"/>
                  </a:lnTo>
                  <a:lnTo>
                    <a:pt x="58" y="33"/>
                  </a:lnTo>
                  <a:lnTo>
                    <a:pt x="58" y="33"/>
                  </a:lnTo>
                  <a:close/>
                  <a:moveTo>
                    <a:pt x="66" y="10"/>
                  </a:moveTo>
                  <a:lnTo>
                    <a:pt x="66" y="7"/>
                  </a:lnTo>
                  <a:lnTo>
                    <a:pt x="66" y="7"/>
                  </a:lnTo>
                  <a:lnTo>
                    <a:pt x="66" y="7"/>
                  </a:lnTo>
                  <a:lnTo>
                    <a:pt x="66" y="10"/>
                  </a:lnTo>
                  <a:lnTo>
                    <a:pt x="66" y="10"/>
                  </a:lnTo>
                  <a:lnTo>
                    <a:pt x="66" y="10"/>
                  </a:lnTo>
                  <a:close/>
                  <a:moveTo>
                    <a:pt x="61" y="2"/>
                  </a:moveTo>
                  <a:lnTo>
                    <a:pt x="63" y="0"/>
                  </a:lnTo>
                  <a:lnTo>
                    <a:pt x="63" y="0"/>
                  </a:lnTo>
                  <a:lnTo>
                    <a:pt x="61" y="0"/>
                  </a:lnTo>
                  <a:lnTo>
                    <a:pt x="61" y="2"/>
                  </a:lnTo>
                  <a:lnTo>
                    <a:pt x="61" y="2"/>
                  </a:lnTo>
                  <a:lnTo>
                    <a:pt x="61" y="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227" name="Freeform 1846">
              <a:extLst>
                <a:ext uri="{FF2B5EF4-FFF2-40B4-BE49-F238E27FC236}">
                  <a16:creationId xmlns:a16="http://schemas.microsoft.com/office/drawing/2014/main" id="{BBC709CC-13AA-9E4D-84FD-15D495D87326}"/>
                </a:ext>
              </a:extLst>
            </p:cNvPr>
            <p:cNvSpPr>
              <a:spLocks/>
            </p:cNvSpPr>
            <p:nvPr/>
          </p:nvSpPr>
          <p:spPr bwMode="auto">
            <a:xfrm>
              <a:off x="2935805" y="3801130"/>
              <a:ext cx="438377" cy="682103"/>
            </a:xfrm>
            <a:custGeom>
              <a:avLst/>
              <a:gdLst>
                <a:gd name="T0" fmla="*/ 258 w 268"/>
                <a:gd name="T1" fmla="*/ 351 h 417"/>
                <a:gd name="T2" fmla="*/ 258 w 268"/>
                <a:gd name="T3" fmla="*/ 331 h 417"/>
                <a:gd name="T4" fmla="*/ 263 w 268"/>
                <a:gd name="T5" fmla="*/ 321 h 417"/>
                <a:gd name="T6" fmla="*/ 258 w 268"/>
                <a:gd name="T7" fmla="*/ 293 h 417"/>
                <a:gd name="T8" fmla="*/ 255 w 268"/>
                <a:gd name="T9" fmla="*/ 270 h 417"/>
                <a:gd name="T10" fmla="*/ 232 w 268"/>
                <a:gd name="T11" fmla="*/ 252 h 417"/>
                <a:gd name="T12" fmla="*/ 222 w 268"/>
                <a:gd name="T13" fmla="*/ 237 h 417"/>
                <a:gd name="T14" fmla="*/ 222 w 268"/>
                <a:gd name="T15" fmla="*/ 216 h 417"/>
                <a:gd name="T16" fmla="*/ 207 w 268"/>
                <a:gd name="T17" fmla="*/ 226 h 417"/>
                <a:gd name="T18" fmla="*/ 186 w 268"/>
                <a:gd name="T19" fmla="*/ 216 h 417"/>
                <a:gd name="T20" fmla="*/ 171 w 268"/>
                <a:gd name="T21" fmla="*/ 201 h 417"/>
                <a:gd name="T22" fmla="*/ 161 w 268"/>
                <a:gd name="T23" fmla="*/ 191 h 417"/>
                <a:gd name="T24" fmla="*/ 156 w 268"/>
                <a:gd name="T25" fmla="*/ 178 h 417"/>
                <a:gd name="T26" fmla="*/ 151 w 268"/>
                <a:gd name="T27" fmla="*/ 170 h 417"/>
                <a:gd name="T28" fmla="*/ 156 w 268"/>
                <a:gd name="T29" fmla="*/ 165 h 417"/>
                <a:gd name="T30" fmla="*/ 166 w 268"/>
                <a:gd name="T31" fmla="*/ 148 h 417"/>
                <a:gd name="T32" fmla="*/ 169 w 268"/>
                <a:gd name="T33" fmla="*/ 127 h 417"/>
                <a:gd name="T34" fmla="*/ 179 w 268"/>
                <a:gd name="T35" fmla="*/ 112 h 417"/>
                <a:gd name="T36" fmla="*/ 202 w 268"/>
                <a:gd name="T37" fmla="*/ 102 h 417"/>
                <a:gd name="T38" fmla="*/ 219 w 268"/>
                <a:gd name="T39" fmla="*/ 94 h 417"/>
                <a:gd name="T40" fmla="*/ 227 w 268"/>
                <a:gd name="T41" fmla="*/ 94 h 417"/>
                <a:gd name="T42" fmla="*/ 217 w 268"/>
                <a:gd name="T43" fmla="*/ 89 h 417"/>
                <a:gd name="T44" fmla="*/ 225 w 268"/>
                <a:gd name="T45" fmla="*/ 61 h 417"/>
                <a:gd name="T46" fmla="*/ 209 w 268"/>
                <a:gd name="T47" fmla="*/ 51 h 417"/>
                <a:gd name="T48" fmla="*/ 194 w 268"/>
                <a:gd name="T49" fmla="*/ 51 h 417"/>
                <a:gd name="T50" fmla="*/ 179 w 268"/>
                <a:gd name="T51" fmla="*/ 56 h 417"/>
                <a:gd name="T52" fmla="*/ 166 w 268"/>
                <a:gd name="T53" fmla="*/ 53 h 417"/>
                <a:gd name="T54" fmla="*/ 158 w 268"/>
                <a:gd name="T55" fmla="*/ 41 h 417"/>
                <a:gd name="T56" fmla="*/ 151 w 268"/>
                <a:gd name="T57" fmla="*/ 28 h 417"/>
                <a:gd name="T58" fmla="*/ 138 w 268"/>
                <a:gd name="T59" fmla="*/ 18 h 417"/>
                <a:gd name="T60" fmla="*/ 130 w 268"/>
                <a:gd name="T61" fmla="*/ 5 h 417"/>
                <a:gd name="T62" fmla="*/ 120 w 268"/>
                <a:gd name="T63" fmla="*/ 3 h 417"/>
                <a:gd name="T64" fmla="*/ 120 w 268"/>
                <a:gd name="T65" fmla="*/ 13 h 417"/>
                <a:gd name="T66" fmla="*/ 118 w 268"/>
                <a:gd name="T67" fmla="*/ 20 h 417"/>
                <a:gd name="T68" fmla="*/ 100 w 268"/>
                <a:gd name="T69" fmla="*/ 53 h 417"/>
                <a:gd name="T70" fmla="*/ 67 w 268"/>
                <a:gd name="T71" fmla="*/ 74 h 417"/>
                <a:gd name="T72" fmla="*/ 61 w 268"/>
                <a:gd name="T73" fmla="*/ 79 h 417"/>
                <a:gd name="T74" fmla="*/ 56 w 268"/>
                <a:gd name="T75" fmla="*/ 89 h 417"/>
                <a:gd name="T76" fmla="*/ 54 w 268"/>
                <a:gd name="T77" fmla="*/ 102 h 417"/>
                <a:gd name="T78" fmla="*/ 46 w 268"/>
                <a:gd name="T79" fmla="*/ 112 h 417"/>
                <a:gd name="T80" fmla="*/ 33 w 268"/>
                <a:gd name="T81" fmla="*/ 102 h 417"/>
                <a:gd name="T82" fmla="*/ 21 w 268"/>
                <a:gd name="T83" fmla="*/ 102 h 417"/>
                <a:gd name="T84" fmla="*/ 18 w 268"/>
                <a:gd name="T85" fmla="*/ 92 h 417"/>
                <a:gd name="T86" fmla="*/ 23 w 268"/>
                <a:gd name="T87" fmla="*/ 84 h 417"/>
                <a:gd name="T88" fmla="*/ 16 w 268"/>
                <a:gd name="T89" fmla="*/ 79 h 417"/>
                <a:gd name="T90" fmla="*/ 5 w 268"/>
                <a:gd name="T91" fmla="*/ 117 h 417"/>
                <a:gd name="T92" fmla="*/ 5 w 268"/>
                <a:gd name="T93" fmla="*/ 137 h 417"/>
                <a:gd name="T94" fmla="*/ 44 w 268"/>
                <a:gd name="T95" fmla="*/ 181 h 417"/>
                <a:gd name="T96" fmla="*/ 69 w 268"/>
                <a:gd name="T97" fmla="*/ 224 h 417"/>
                <a:gd name="T98" fmla="*/ 95 w 268"/>
                <a:gd name="T99" fmla="*/ 275 h 417"/>
                <a:gd name="T100" fmla="*/ 115 w 268"/>
                <a:gd name="T101" fmla="*/ 303 h 417"/>
                <a:gd name="T102" fmla="*/ 123 w 268"/>
                <a:gd name="T103" fmla="*/ 333 h 417"/>
                <a:gd name="T104" fmla="*/ 169 w 268"/>
                <a:gd name="T105" fmla="*/ 366 h 417"/>
                <a:gd name="T106" fmla="*/ 209 w 268"/>
                <a:gd name="T107" fmla="*/ 387 h 417"/>
                <a:gd name="T108" fmla="*/ 235 w 268"/>
                <a:gd name="T109" fmla="*/ 410 h 417"/>
                <a:gd name="T110" fmla="*/ 253 w 268"/>
                <a:gd name="T111" fmla="*/ 407 h 417"/>
                <a:gd name="T112" fmla="*/ 258 w 268"/>
                <a:gd name="T113" fmla="*/ 394 h 417"/>
                <a:gd name="T114" fmla="*/ 263 w 268"/>
                <a:gd name="T115" fmla="*/ 379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68" h="417">
                  <a:moveTo>
                    <a:pt x="268" y="372"/>
                  </a:moveTo>
                  <a:lnTo>
                    <a:pt x="268" y="369"/>
                  </a:lnTo>
                  <a:lnTo>
                    <a:pt x="265" y="369"/>
                  </a:lnTo>
                  <a:lnTo>
                    <a:pt x="263" y="369"/>
                  </a:lnTo>
                  <a:lnTo>
                    <a:pt x="263" y="369"/>
                  </a:lnTo>
                  <a:lnTo>
                    <a:pt x="260" y="366"/>
                  </a:lnTo>
                  <a:lnTo>
                    <a:pt x="258" y="359"/>
                  </a:lnTo>
                  <a:lnTo>
                    <a:pt x="255" y="356"/>
                  </a:lnTo>
                  <a:lnTo>
                    <a:pt x="255" y="354"/>
                  </a:lnTo>
                  <a:lnTo>
                    <a:pt x="258" y="351"/>
                  </a:lnTo>
                  <a:lnTo>
                    <a:pt x="258" y="349"/>
                  </a:lnTo>
                  <a:lnTo>
                    <a:pt x="260" y="346"/>
                  </a:lnTo>
                  <a:lnTo>
                    <a:pt x="260" y="346"/>
                  </a:lnTo>
                  <a:lnTo>
                    <a:pt x="255" y="341"/>
                  </a:lnTo>
                  <a:lnTo>
                    <a:pt x="255" y="341"/>
                  </a:lnTo>
                  <a:lnTo>
                    <a:pt x="255" y="338"/>
                  </a:lnTo>
                  <a:lnTo>
                    <a:pt x="255" y="336"/>
                  </a:lnTo>
                  <a:lnTo>
                    <a:pt x="258" y="336"/>
                  </a:lnTo>
                  <a:lnTo>
                    <a:pt x="258" y="333"/>
                  </a:lnTo>
                  <a:lnTo>
                    <a:pt x="258" y="331"/>
                  </a:lnTo>
                  <a:lnTo>
                    <a:pt x="258" y="331"/>
                  </a:lnTo>
                  <a:lnTo>
                    <a:pt x="258" y="331"/>
                  </a:lnTo>
                  <a:lnTo>
                    <a:pt x="260" y="328"/>
                  </a:lnTo>
                  <a:lnTo>
                    <a:pt x="260" y="328"/>
                  </a:lnTo>
                  <a:lnTo>
                    <a:pt x="260" y="326"/>
                  </a:lnTo>
                  <a:lnTo>
                    <a:pt x="260" y="323"/>
                  </a:lnTo>
                  <a:lnTo>
                    <a:pt x="263" y="323"/>
                  </a:lnTo>
                  <a:lnTo>
                    <a:pt x="263" y="323"/>
                  </a:lnTo>
                  <a:lnTo>
                    <a:pt x="263" y="323"/>
                  </a:lnTo>
                  <a:lnTo>
                    <a:pt x="263" y="321"/>
                  </a:lnTo>
                  <a:lnTo>
                    <a:pt x="263" y="318"/>
                  </a:lnTo>
                  <a:lnTo>
                    <a:pt x="260" y="318"/>
                  </a:lnTo>
                  <a:lnTo>
                    <a:pt x="260" y="313"/>
                  </a:lnTo>
                  <a:lnTo>
                    <a:pt x="258" y="310"/>
                  </a:lnTo>
                  <a:lnTo>
                    <a:pt x="258" y="310"/>
                  </a:lnTo>
                  <a:lnTo>
                    <a:pt x="260" y="308"/>
                  </a:lnTo>
                  <a:lnTo>
                    <a:pt x="260" y="308"/>
                  </a:lnTo>
                  <a:lnTo>
                    <a:pt x="260" y="305"/>
                  </a:lnTo>
                  <a:lnTo>
                    <a:pt x="258" y="295"/>
                  </a:lnTo>
                  <a:lnTo>
                    <a:pt x="258" y="293"/>
                  </a:lnTo>
                  <a:lnTo>
                    <a:pt x="260" y="293"/>
                  </a:lnTo>
                  <a:lnTo>
                    <a:pt x="260" y="290"/>
                  </a:lnTo>
                  <a:lnTo>
                    <a:pt x="263" y="290"/>
                  </a:lnTo>
                  <a:lnTo>
                    <a:pt x="263" y="288"/>
                  </a:lnTo>
                  <a:lnTo>
                    <a:pt x="263" y="288"/>
                  </a:lnTo>
                  <a:lnTo>
                    <a:pt x="263" y="285"/>
                  </a:lnTo>
                  <a:lnTo>
                    <a:pt x="263" y="285"/>
                  </a:lnTo>
                  <a:lnTo>
                    <a:pt x="260" y="280"/>
                  </a:lnTo>
                  <a:lnTo>
                    <a:pt x="258" y="275"/>
                  </a:lnTo>
                  <a:lnTo>
                    <a:pt x="255" y="270"/>
                  </a:lnTo>
                  <a:lnTo>
                    <a:pt x="253" y="265"/>
                  </a:lnTo>
                  <a:lnTo>
                    <a:pt x="250" y="262"/>
                  </a:lnTo>
                  <a:lnTo>
                    <a:pt x="248" y="257"/>
                  </a:lnTo>
                  <a:lnTo>
                    <a:pt x="248" y="254"/>
                  </a:lnTo>
                  <a:lnTo>
                    <a:pt x="242" y="249"/>
                  </a:lnTo>
                  <a:lnTo>
                    <a:pt x="242" y="249"/>
                  </a:lnTo>
                  <a:lnTo>
                    <a:pt x="237" y="249"/>
                  </a:lnTo>
                  <a:lnTo>
                    <a:pt x="235" y="249"/>
                  </a:lnTo>
                  <a:lnTo>
                    <a:pt x="235" y="249"/>
                  </a:lnTo>
                  <a:lnTo>
                    <a:pt x="232" y="252"/>
                  </a:lnTo>
                  <a:lnTo>
                    <a:pt x="230" y="252"/>
                  </a:lnTo>
                  <a:lnTo>
                    <a:pt x="230" y="252"/>
                  </a:lnTo>
                  <a:lnTo>
                    <a:pt x="227" y="252"/>
                  </a:lnTo>
                  <a:lnTo>
                    <a:pt x="227" y="249"/>
                  </a:lnTo>
                  <a:lnTo>
                    <a:pt x="225" y="249"/>
                  </a:lnTo>
                  <a:lnTo>
                    <a:pt x="225" y="249"/>
                  </a:lnTo>
                  <a:lnTo>
                    <a:pt x="222" y="249"/>
                  </a:lnTo>
                  <a:lnTo>
                    <a:pt x="222" y="247"/>
                  </a:lnTo>
                  <a:lnTo>
                    <a:pt x="222" y="242"/>
                  </a:lnTo>
                  <a:lnTo>
                    <a:pt x="222" y="237"/>
                  </a:lnTo>
                  <a:lnTo>
                    <a:pt x="222" y="232"/>
                  </a:lnTo>
                  <a:lnTo>
                    <a:pt x="222" y="226"/>
                  </a:lnTo>
                  <a:lnTo>
                    <a:pt x="222" y="224"/>
                  </a:lnTo>
                  <a:lnTo>
                    <a:pt x="222" y="221"/>
                  </a:lnTo>
                  <a:lnTo>
                    <a:pt x="222" y="221"/>
                  </a:lnTo>
                  <a:lnTo>
                    <a:pt x="222" y="219"/>
                  </a:lnTo>
                  <a:lnTo>
                    <a:pt x="222" y="216"/>
                  </a:lnTo>
                  <a:lnTo>
                    <a:pt x="222" y="216"/>
                  </a:lnTo>
                  <a:lnTo>
                    <a:pt x="222" y="214"/>
                  </a:lnTo>
                  <a:lnTo>
                    <a:pt x="222" y="216"/>
                  </a:lnTo>
                  <a:lnTo>
                    <a:pt x="219" y="216"/>
                  </a:lnTo>
                  <a:lnTo>
                    <a:pt x="219" y="216"/>
                  </a:lnTo>
                  <a:lnTo>
                    <a:pt x="217" y="216"/>
                  </a:lnTo>
                  <a:lnTo>
                    <a:pt x="217" y="219"/>
                  </a:lnTo>
                  <a:lnTo>
                    <a:pt x="217" y="219"/>
                  </a:lnTo>
                  <a:lnTo>
                    <a:pt x="214" y="221"/>
                  </a:lnTo>
                  <a:lnTo>
                    <a:pt x="212" y="224"/>
                  </a:lnTo>
                  <a:lnTo>
                    <a:pt x="212" y="224"/>
                  </a:lnTo>
                  <a:lnTo>
                    <a:pt x="209" y="226"/>
                  </a:lnTo>
                  <a:lnTo>
                    <a:pt x="207" y="226"/>
                  </a:lnTo>
                  <a:lnTo>
                    <a:pt x="202" y="226"/>
                  </a:lnTo>
                  <a:lnTo>
                    <a:pt x="197" y="226"/>
                  </a:lnTo>
                  <a:lnTo>
                    <a:pt x="191" y="226"/>
                  </a:lnTo>
                  <a:lnTo>
                    <a:pt x="191" y="226"/>
                  </a:lnTo>
                  <a:lnTo>
                    <a:pt x="189" y="226"/>
                  </a:lnTo>
                  <a:lnTo>
                    <a:pt x="191" y="224"/>
                  </a:lnTo>
                  <a:lnTo>
                    <a:pt x="189" y="221"/>
                  </a:lnTo>
                  <a:lnTo>
                    <a:pt x="189" y="221"/>
                  </a:lnTo>
                  <a:lnTo>
                    <a:pt x="186" y="219"/>
                  </a:lnTo>
                  <a:lnTo>
                    <a:pt x="186" y="216"/>
                  </a:lnTo>
                  <a:lnTo>
                    <a:pt x="186" y="216"/>
                  </a:lnTo>
                  <a:lnTo>
                    <a:pt x="184" y="216"/>
                  </a:lnTo>
                  <a:lnTo>
                    <a:pt x="181" y="214"/>
                  </a:lnTo>
                  <a:lnTo>
                    <a:pt x="176" y="214"/>
                  </a:lnTo>
                  <a:lnTo>
                    <a:pt x="174" y="214"/>
                  </a:lnTo>
                  <a:lnTo>
                    <a:pt x="169" y="214"/>
                  </a:lnTo>
                  <a:lnTo>
                    <a:pt x="171" y="211"/>
                  </a:lnTo>
                  <a:lnTo>
                    <a:pt x="174" y="206"/>
                  </a:lnTo>
                  <a:lnTo>
                    <a:pt x="174" y="204"/>
                  </a:lnTo>
                  <a:lnTo>
                    <a:pt x="171" y="201"/>
                  </a:lnTo>
                  <a:lnTo>
                    <a:pt x="171" y="201"/>
                  </a:lnTo>
                  <a:lnTo>
                    <a:pt x="169" y="198"/>
                  </a:lnTo>
                  <a:lnTo>
                    <a:pt x="166" y="196"/>
                  </a:lnTo>
                  <a:lnTo>
                    <a:pt x="166" y="196"/>
                  </a:lnTo>
                  <a:lnTo>
                    <a:pt x="166" y="193"/>
                  </a:lnTo>
                  <a:lnTo>
                    <a:pt x="163" y="193"/>
                  </a:lnTo>
                  <a:lnTo>
                    <a:pt x="163" y="193"/>
                  </a:lnTo>
                  <a:lnTo>
                    <a:pt x="163" y="191"/>
                  </a:lnTo>
                  <a:lnTo>
                    <a:pt x="161" y="191"/>
                  </a:lnTo>
                  <a:lnTo>
                    <a:pt x="161" y="191"/>
                  </a:lnTo>
                  <a:lnTo>
                    <a:pt x="161" y="188"/>
                  </a:lnTo>
                  <a:lnTo>
                    <a:pt x="161" y="188"/>
                  </a:lnTo>
                  <a:lnTo>
                    <a:pt x="158" y="186"/>
                  </a:lnTo>
                  <a:lnTo>
                    <a:pt x="158" y="186"/>
                  </a:lnTo>
                  <a:lnTo>
                    <a:pt x="158" y="183"/>
                  </a:lnTo>
                  <a:lnTo>
                    <a:pt x="158" y="183"/>
                  </a:lnTo>
                  <a:lnTo>
                    <a:pt x="156" y="181"/>
                  </a:lnTo>
                  <a:lnTo>
                    <a:pt x="156" y="181"/>
                  </a:lnTo>
                  <a:lnTo>
                    <a:pt x="156" y="181"/>
                  </a:lnTo>
                  <a:lnTo>
                    <a:pt x="156" y="178"/>
                  </a:lnTo>
                  <a:lnTo>
                    <a:pt x="156" y="178"/>
                  </a:lnTo>
                  <a:lnTo>
                    <a:pt x="156" y="178"/>
                  </a:lnTo>
                  <a:lnTo>
                    <a:pt x="156" y="176"/>
                  </a:lnTo>
                  <a:lnTo>
                    <a:pt x="156" y="176"/>
                  </a:lnTo>
                  <a:lnTo>
                    <a:pt x="153" y="173"/>
                  </a:lnTo>
                  <a:lnTo>
                    <a:pt x="151" y="173"/>
                  </a:lnTo>
                  <a:lnTo>
                    <a:pt x="151" y="173"/>
                  </a:lnTo>
                  <a:lnTo>
                    <a:pt x="151" y="170"/>
                  </a:lnTo>
                  <a:lnTo>
                    <a:pt x="151" y="170"/>
                  </a:lnTo>
                  <a:lnTo>
                    <a:pt x="151" y="170"/>
                  </a:lnTo>
                  <a:lnTo>
                    <a:pt x="151" y="170"/>
                  </a:lnTo>
                  <a:lnTo>
                    <a:pt x="151" y="168"/>
                  </a:lnTo>
                  <a:lnTo>
                    <a:pt x="151" y="168"/>
                  </a:lnTo>
                  <a:lnTo>
                    <a:pt x="153" y="168"/>
                  </a:lnTo>
                  <a:lnTo>
                    <a:pt x="153" y="168"/>
                  </a:lnTo>
                  <a:lnTo>
                    <a:pt x="153" y="168"/>
                  </a:lnTo>
                  <a:lnTo>
                    <a:pt x="153" y="168"/>
                  </a:lnTo>
                  <a:lnTo>
                    <a:pt x="156" y="168"/>
                  </a:lnTo>
                  <a:lnTo>
                    <a:pt x="156" y="165"/>
                  </a:lnTo>
                  <a:lnTo>
                    <a:pt x="156" y="165"/>
                  </a:lnTo>
                  <a:lnTo>
                    <a:pt x="156" y="163"/>
                  </a:lnTo>
                  <a:lnTo>
                    <a:pt x="153" y="163"/>
                  </a:lnTo>
                  <a:lnTo>
                    <a:pt x="153" y="160"/>
                  </a:lnTo>
                  <a:lnTo>
                    <a:pt x="156" y="158"/>
                  </a:lnTo>
                  <a:lnTo>
                    <a:pt x="156" y="158"/>
                  </a:lnTo>
                  <a:lnTo>
                    <a:pt x="156" y="155"/>
                  </a:lnTo>
                  <a:lnTo>
                    <a:pt x="161" y="153"/>
                  </a:lnTo>
                  <a:lnTo>
                    <a:pt x="163" y="150"/>
                  </a:lnTo>
                  <a:lnTo>
                    <a:pt x="166" y="150"/>
                  </a:lnTo>
                  <a:lnTo>
                    <a:pt x="166" y="148"/>
                  </a:lnTo>
                  <a:lnTo>
                    <a:pt x="166" y="148"/>
                  </a:lnTo>
                  <a:lnTo>
                    <a:pt x="166" y="145"/>
                  </a:lnTo>
                  <a:lnTo>
                    <a:pt x="166" y="145"/>
                  </a:lnTo>
                  <a:lnTo>
                    <a:pt x="166" y="142"/>
                  </a:lnTo>
                  <a:lnTo>
                    <a:pt x="166" y="140"/>
                  </a:lnTo>
                  <a:lnTo>
                    <a:pt x="163" y="137"/>
                  </a:lnTo>
                  <a:lnTo>
                    <a:pt x="166" y="137"/>
                  </a:lnTo>
                  <a:lnTo>
                    <a:pt x="166" y="135"/>
                  </a:lnTo>
                  <a:lnTo>
                    <a:pt x="169" y="132"/>
                  </a:lnTo>
                  <a:lnTo>
                    <a:pt x="169" y="127"/>
                  </a:lnTo>
                  <a:lnTo>
                    <a:pt x="169" y="127"/>
                  </a:lnTo>
                  <a:lnTo>
                    <a:pt x="169" y="125"/>
                  </a:lnTo>
                  <a:lnTo>
                    <a:pt x="171" y="120"/>
                  </a:lnTo>
                  <a:lnTo>
                    <a:pt x="171" y="117"/>
                  </a:lnTo>
                  <a:lnTo>
                    <a:pt x="171" y="117"/>
                  </a:lnTo>
                  <a:lnTo>
                    <a:pt x="171" y="117"/>
                  </a:lnTo>
                  <a:lnTo>
                    <a:pt x="171" y="117"/>
                  </a:lnTo>
                  <a:lnTo>
                    <a:pt x="174" y="115"/>
                  </a:lnTo>
                  <a:lnTo>
                    <a:pt x="176" y="115"/>
                  </a:lnTo>
                  <a:lnTo>
                    <a:pt x="179" y="112"/>
                  </a:lnTo>
                  <a:lnTo>
                    <a:pt x="181" y="109"/>
                  </a:lnTo>
                  <a:lnTo>
                    <a:pt x="184" y="107"/>
                  </a:lnTo>
                  <a:lnTo>
                    <a:pt x="186" y="104"/>
                  </a:lnTo>
                  <a:lnTo>
                    <a:pt x="189" y="104"/>
                  </a:lnTo>
                  <a:lnTo>
                    <a:pt x="189" y="104"/>
                  </a:lnTo>
                  <a:lnTo>
                    <a:pt x="191" y="102"/>
                  </a:lnTo>
                  <a:lnTo>
                    <a:pt x="194" y="102"/>
                  </a:lnTo>
                  <a:lnTo>
                    <a:pt x="197" y="102"/>
                  </a:lnTo>
                  <a:lnTo>
                    <a:pt x="199" y="102"/>
                  </a:lnTo>
                  <a:lnTo>
                    <a:pt x="202" y="102"/>
                  </a:lnTo>
                  <a:lnTo>
                    <a:pt x="204" y="99"/>
                  </a:lnTo>
                  <a:lnTo>
                    <a:pt x="204" y="99"/>
                  </a:lnTo>
                  <a:lnTo>
                    <a:pt x="209" y="99"/>
                  </a:lnTo>
                  <a:lnTo>
                    <a:pt x="209" y="97"/>
                  </a:lnTo>
                  <a:lnTo>
                    <a:pt x="212" y="97"/>
                  </a:lnTo>
                  <a:lnTo>
                    <a:pt x="212" y="94"/>
                  </a:lnTo>
                  <a:lnTo>
                    <a:pt x="214" y="94"/>
                  </a:lnTo>
                  <a:lnTo>
                    <a:pt x="214" y="94"/>
                  </a:lnTo>
                  <a:lnTo>
                    <a:pt x="217" y="94"/>
                  </a:lnTo>
                  <a:lnTo>
                    <a:pt x="219" y="94"/>
                  </a:lnTo>
                  <a:lnTo>
                    <a:pt x="222" y="94"/>
                  </a:lnTo>
                  <a:lnTo>
                    <a:pt x="222" y="97"/>
                  </a:lnTo>
                  <a:lnTo>
                    <a:pt x="225" y="97"/>
                  </a:lnTo>
                  <a:lnTo>
                    <a:pt x="225" y="97"/>
                  </a:lnTo>
                  <a:lnTo>
                    <a:pt x="225" y="97"/>
                  </a:lnTo>
                  <a:lnTo>
                    <a:pt x="227" y="99"/>
                  </a:lnTo>
                  <a:lnTo>
                    <a:pt x="227" y="99"/>
                  </a:lnTo>
                  <a:lnTo>
                    <a:pt x="230" y="97"/>
                  </a:lnTo>
                  <a:lnTo>
                    <a:pt x="230" y="97"/>
                  </a:lnTo>
                  <a:lnTo>
                    <a:pt x="227" y="94"/>
                  </a:lnTo>
                  <a:lnTo>
                    <a:pt x="227" y="94"/>
                  </a:lnTo>
                  <a:lnTo>
                    <a:pt x="225" y="92"/>
                  </a:lnTo>
                  <a:lnTo>
                    <a:pt x="225" y="92"/>
                  </a:lnTo>
                  <a:lnTo>
                    <a:pt x="222" y="89"/>
                  </a:lnTo>
                  <a:lnTo>
                    <a:pt x="222" y="87"/>
                  </a:lnTo>
                  <a:lnTo>
                    <a:pt x="222" y="87"/>
                  </a:lnTo>
                  <a:lnTo>
                    <a:pt x="219" y="87"/>
                  </a:lnTo>
                  <a:lnTo>
                    <a:pt x="219" y="87"/>
                  </a:lnTo>
                  <a:lnTo>
                    <a:pt x="217" y="89"/>
                  </a:lnTo>
                  <a:lnTo>
                    <a:pt x="217" y="89"/>
                  </a:lnTo>
                  <a:lnTo>
                    <a:pt x="214" y="87"/>
                  </a:lnTo>
                  <a:lnTo>
                    <a:pt x="212" y="87"/>
                  </a:lnTo>
                  <a:lnTo>
                    <a:pt x="214" y="81"/>
                  </a:lnTo>
                  <a:lnTo>
                    <a:pt x="219" y="74"/>
                  </a:lnTo>
                  <a:lnTo>
                    <a:pt x="222" y="71"/>
                  </a:lnTo>
                  <a:lnTo>
                    <a:pt x="225" y="66"/>
                  </a:lnTo>
                  <a:lnTo>
                    <a:pt x="225" y="64"/>
                  </a:lnTo>
                  <a:lnTo>
                    <a:pt x="227" y="61"/>
                  </a:lnTo>
                  <a:lnTo>
                    <a:pt x="225" y="61"/>
                  </a:lnTo>
                  <a:lnTo>
                    <a:pt x="225" y="61"/>
                  </a:lnTo>
                  <a:lnTo>
                    <a:pt x="225" y="61"/>
                  </a:lnTo>
                  <a:lnTo>
                    <a:pt x="222" y="59"/>
                  </a:lnTo>
                  <a:lnTo>
                    <a:pt x="222" y="59"/>
                  </a:lnTo>
                  <a:lnTo>
                    <a:pt x="219" y="59"/>
                  </a:lnTo>
                  <a:lnTo>
                    <a:pt x="219" y="56"/>
                  </a:lnTo>
                  <a:lnTo>
                    <a:pt x="217" y="56"/>
                  </a:lnTo>
                  <a:lnTo>
                    <a:pt x="214" y="56"/>
                  </a:lnTo>
                  <a:lnTo>
                    <a:pt x="214" y="56"/>
                  </a:lnTo>
                  <a:lnTo>
                    <a:pt x="212" y="53"/>
                  </a:lnTo>
                  <a:lnTo>
                    <a:pt x="209" y="51"/>
                  </a:lnTo>
                  <a:lnTo>
                    <a:pt x="207" y="51"/>
                  </a:lnTo>
                  <a:lnTo>
                    <a:pt x="207" y="51"/>
                  </a:lnTo>
                  <a:lnTo>
                    <a:pt x="204" y="51"/>
                  </a:lnTo>
                  <a:lnTo>
                    <a:pt x="202" y="53"/>
                  </a:lnTo>
                  <a:lnTo>
                    <a:pt x="202" y="53"/>
                  </a:lnTo>
                  <a:lnTo>
                    <a:pt x="199" y="53"/>
                  </a:lnTo>
                  <a:lnTo>
                    <a:pt x="199" y="53"/>
                  </a:lnTo>
                  <a:lnTo>
                    <a:pt x="197" y="51"/>
                  </a:lnTo>
                  <a:lnTo>
                    <a:pt x="197" y="51"/>
                  </a:lnTo>
                  <a:lnTo>
                    <a:pt x="194" y="51"/>
                  </a:lnTo>
                  <a:lnTo>
                    <a:pt x="191" y="48"/>
                  </a:lnTo>
                  <a:lnTo>
                    <a:pt x="191" y="48"/>
                  </a:lnTo>
                  <a:lnTo>
                    <a:pt x="189" y="51"/>
                  </a:lnTo>
                  <a:lnTo>
                    <a:pt x="189" y="51"/>
                  </a:lnTo>
                  <a:lnTo>
                    <a:pt x="186" y="53"/>
                  </a:lnTo>
                  <a:lnTo>
                    <a:pt x="186" y="53"/>
                  </a:lnTo>
                  <a:lnTo>
                    <a:pt x="184" y="53"/>
                  </a:lnTo>
                  <a:lnTo>
                    <a:pt x="181" y="53"/>
                  </a:lnTo>
                  <a:lnTo>
                    <a:pt x="181" y="56"/>
                  </a:lnTo>
                  <a:lnTo>
                    <a:pt x="179" y="56"/>
                  </a:lnTo>
                  <a:lnTo>
                    <a:pt x="176" y="53"/>
                  </a:lnTo>
                  <a:lnTo>
                    <a:pt x="176" y="53"/>
                  </a:lnTo>
                  <a:lnTo>
                    <a:pt x="174" y="53"/>
                  </a:lnTo>
                  <a:lnTo>
                    <a:pt x="174" y="53"/>
                  </a:lnTo>
                  <a:lnTo>
                    <a:pt x="174" y="53"/>
                  </a:lnTo>
                  <a:lnTo>
                    <a:pt x="171" y="56"/>
                  </a:lnTo>
                  <a:lnTo>
                    <a:pt x="169" y="56"/>
                  </a:lnTo>
                  <a:lnTo>
                    <a:pt x="169" y="53"/>
                  </a:lnTo>
                  <a:lnTo>
                    <a:pt x="166" y="53"/>
                  </a:lnTo>
                  <a:lnTo>
                    <a:pt x="166" y="53"/>
                  </a:lnTo>
                  <a:lnTo>
                    <a:pt x="163" y="51"/>
                  </a:lnTo>
                  <a:lnTo>
                    <a:pt x="163" y="51"/>
                  </a:lnTo>
                  <a:lnTo>
                    <a:pt x="163" y="48"/>
                  </a:lnTo>
                  <a:lnTo>
                    <a:pt x="163" y="48"/>
                  </a:lnTo>
                  <a:lnTo>
                    <a:pt x="163" y="46"/>
                  </a:lnTo>
                  <a:lnTo>
                    <a:pt x="163" y="43"/>
                  </a:lnTo>
                  <a:lnTo>
                    <a:pt x="163" y="41"/>
                  </a:lnTo>
                  <a:lnTo>
                    <a:pt x="161" y="41"/>
                  </a:lnTo>
                  <a:lnTo>
                    <a:pt x="161" y="41"/>
                  </a:lnTo>
                  <a:lnTo>
                    <a:pt x="158" y="41"/>
                  </a:lnTo>
                  <a:lnTo>
                    <a:pt x="158" y="41"/>
                  </a:lnTo>
                  <a:lnTo>
                    <a:pt x="156" y="38"/>
                  </a:lnTo>
                  <a:lnTo>
                    <a:pt x="156" y="38"/>
                  </a:lnTo>
                  <a:lnTo>
                    <a:pt x="156" y="36"/>
                  </a:lnTo>
                  <a:lnTo>
                    <a:pt x="156" y="33"/>
                  </a:lnTo>
                  <a:lnTo>
                    <a:pt x="156" y="33"/>
                  </a:lnTo>
                  <a:lnTo>
                    <a:pt x="153" y="31"/>
                  </a:lnTo>
                  <a:lnTo>
                    <a:pt x="153" y="28"/>
                  </a:lnTo>
                  <a:lnTo>
                    <a:pt x="151" y="28"/>
                  </a:lnTo>
                  <a:lnTo>
                    <a:pt x="151" y="28"/>
                  </a:lnTo>
                  <a:lnTo>
                    <a:pt x="148" y="28"/>
                  </a:lnTo>
                  <a:lnTo>
                    <a:pt x="148" y="25"/>
                  </a:lnTo>
                  <a:lnTo>
                    <a:pt x="146" y="25"/>
                  </a:lnTo>
                  <a:lnTo>
                    <a:pt x="146" y="23"/>
                  </a:lnTo>
                  <a:lnTo>
                    <a:pt x="143" y="23"/>
                  </a:lnTo>
                  <a:lnTo>
                    <a:pt x="140" y="23"/>
                  </a:lnTo>
                  <a:lnTo>
                    <a:pt x="140" y="20"/>
                  </a:lnTo>
                  <a:lnTo>
                    <a:pt x="140" y="20"/>
                  </a:lnTo>
                  <a:lnTo>
                    <a:pt x="140" y="18"/>
                  </a:lnTo>
                  <a:lnTo>
                    <a:pt x="138" y="18"/>
                  </a:lnTo>
                  <a:lnTo>
                    <a:pt x="138" y="15"/>
                  </a:lnTo>
                  <a:lnTo>
                    <a:pt x="138" y="13"/>
                  </a:lnTo>
                  <a:lnTo>
                    <a:pt x="138" y="13"/>
                  </a:lnTo>
                  <a:lnTo>
                    <a:pt x="135" y="10"/>
                  </a:lnTo>
                  <a:lnTo>
                    <a:pt x="135" y="10"/>
                  </a:lnTo>
                  <a:lnTo>
                    <a:pt x="133" y="8"/>
                  </a:lnTo>
                  <a:lnTo>
                    <a:pt x="133" y="8"/>
                  </a:lnTo>
                  <a:lnTo>
                    <a:pt x="130" y="8"/>
                  </a:lnTo>
                  <a:lnTo>
                    <a:pt x="130" y="5"/>
                  </a:lnTo>
                  <a:lnTo>
                    <a:pt x="130" y="5"/>
                  </a:lnTo>
                  <a:lnTo>
                    <a:pt x="130" y="5"/>
                  </a:lnTo>
                  <a:lnTo>
                    <a:pt x="128" y="5"/>
                  </a:lnTo>
                  <a:lnTo>
                    <a:pt x="128" y="5"/>
                  </a:lnTo>
                  <a:lnTo>
                    <a:pt x="125" y="3"/>
                  </a:lnTo>
                  <a:lnTo>
                    <a:pt x="125" y="3"/>
                  </a:lnTo>
                  <a:lnTo>
                    <a:pt x="123" y="0"/>
                  </a:lnTo>
                  <a:lnTo>
                    <a:pt x="123" y="0"/>
                  </a:lnTo>
                  <a:lnTo>
                    <a:pt x="120" y="0"/>
                  </a:lnTo>
                  <a:lnTo>
                    <a:pt x="120" y="3"/>
                  </a:lnTo>
                  <a:lnTo>
                    <a:pt x="120" y="3"/>
                  </a:lnTo>
                  <a:lnTo>
                    <a:pt x="118" y="3"/>
                  </a:lnTo>
                  <a:lnTo>
                    <a:pt x="118" y="3"/>
                  </a:lnTo>
                  <a:lnTo>
                    <a:pt x="115" y="3"/>
                  </a:lnTo>
                  <a:lnTo>
                    <a:pt x="112" y="3"/>
                  </a:lnTo>
                  <a:lnTo>
                    <a:pt x="112" y="3"/>
                  </a:lnTo>
                  <a:lnTo>
                    <a:pt x="115" y="5"/>
                  </a:lnTo>
                  <a:lnTo>
                    <a:pt x="115" y="5"/>
                  </a:lnTo>
                  <a:lnTo>
                    <a:pt x="118" y="8"/>
                  </a:lnTo>
                  <a:lnTo>
                    <a:pt x="118" y="10"/>
                  </a:lnTo>
                  <a:lnTo>
                    <a:pt x="120" y="13"/>
                  </a:lnTo>
                  <a:lnTo>
                    <a:pt x="120" y="13"/>
                  </a:lnTo>
                  <a:lnTo>
                    <a:pt x="120" y="13"/>
                  </a:lnTo>
                  <a:lnTo>
                    <a:pt x="120" y="15"/>
                  </a:lnTo>
                  <a:lnTo>
                    <a:pt x="120" y="15"/>
                  </a:lnTo>
                  <a:lnTo>
                    <a:pt x="120" y="23"/>
                  </a:lnTo>
                  <a:lnTo>
                    <a:pt x="120" y="23"/>
                  </a:lnTo>
                  <a:lnTo>
                    <a:pt x="120" y="23"/>
                  </a:lnTo>
                  <a:lnTo>
                    <a:pt x="120" y="23"/>
                  </a:lnTo>
                  <a:lnTo>
                    <a:pt x="118" y="20"/>
                  </a:lnTo>
                  <a:lnTo>
                    <a:pt x="118" y="20"/>
                  </a:lnTo>
                  <a:lnTo>
                    <a:pt x="118" y="23"/>
                  </a:lnTo>
                  <a:lnTo>
                    <a:pt x="118" y="25"/>
                  </a:lnTo>
                  <a:lnTo>
                    <a:pt x="115" y="31"/>
                  </a:lnTo>
                  <a:lnTo>
                    <a:pt x="115" y="36"/>
                  </a:lnTo>
                  <a:lnTo>
                    <a:pt x="112" y="36"/>
                  </a:lnTo>
                  <a:lnTo>
                    <a:pt x="112" y="38"/>
                  </a:lnTo>
                  <a:lnTo>
                    <a:pt x="107" y="43"/>
                  </a:lnTo>
                  <a:lnTo>
                    <a:pt x="105" y="48"/>
                  </a:lnTo>
                  <a:lnTo>
                    <a:pt x="102" y="51"/>
                  </a:lnTo>
                  <a:lnTo>
                    <a:pt x="100" y="53"/>
                  </a:lnTo>
                  <a:lnTo>
                    <a:pt x="97" y="56"/>
                  </a:lnTo>
                  <a:lnTo>
                    <a:pt x="92" y="59"/>
                  </a:lnTo>
                  <a:lnTo>
                    <a:pt x="90" y="61"/>
                  </a:lnTo>
                  <a:lnTo>
                    <a:pt x="84" y="61"/>
                  </a:lnTo>
                  <a:lnTo>
                    <a:pt x="79" y="64"/>
                  </a:lnTo>
                  <a:lnTo>
                    <a:pt x="77" y="66"/>
                  </a:lnTo>
                  <a:lnTo>
                    <a:pt x="74" y="66"/>
                  </a:lnTo>
                  <a:lnTo>
                    <a:pt x="69" y="69"/>
                  </a:lnTo>
                  <a:lnTo>
                    <a:pt x="67" y="69"/>
                  </a:lnTo>
                  <a:lnTo>
                    <a:pt x="67" y="74"/>
                  </a:lnTo>
                  <a:lnTo>
                    <a:pt x="64" y="74"/>
                  </a:lnTo>
                  <a:lnTo>
                    <a:pt x="64" y="76"/>
                  </a:lnTo>
                  <a:lnTo>
                    <a:pt x="64" y="76"/>
                  </a:lnTo>
                  <a:lnTo>
                    <a:pt x="64" y="76"/>
                  </a:lnTo>
                  <a:lnTo>
                    <a:pt x="64" y="79"/>
                  </a:lnTo>
                  <a:lnTo>
                    <a:pt x="64" y="79"/>
                  </a:lnTo>
                  <a:lnTo>
                    <a:pt x="64" y="79"/>
                  </a:lnTo>
                  <a:lnTo>
                    <a:pt x="61" y="79"/>
                  </a:lnTo>
                  <a:lnTo>
                    <a:pt x="61" y="79"/>
                  </a:lnTo>
                  <a:lnTo>
                    <a:pt x="61" y="79"/>
                  </a:lnTo>
                  <a:lnTo>
                    <a:pt x="61" y="76"/>
                  </a:lnTo>
                  <a:lnTo>
                    <a:pt x="61" y="76"/>
                  </a:lnTo>
                  <a:lnTo>
                    <a:pt x="59" y="76"/>
                  </a:lnTo>
                  <a:lnTo>
                    <a:pt x="59" y="79"/>
                  </a:lnTo>
                  <a:lnTo>
                    <a:pt x="59" y="81"/>
                  </a:lnTo>
                  <a:lnTo>
                    <a:pt x="59" y="84"/>
                  </a:lnTo>
                  <a:lnTo>
                    <a:pt x="59" y="84"/>
                  </a:lnTo>
                  <a:lnTo>
                    <a:pt x="59" y="87"/>
                  </a:lnTo>
                  <a:lnTo>
                    <a:pt x="59" y="87"/>
                  </a:lnTo>
                  <a:lnTo>
                    <a:pt x="56" y="89"/>
                  </a:lnTo>
                  <a:lnTo>
                    <a:pt x="56" y="89"/>
                  </a:lnTo>
                  <a:lnTo>
                    <a:pt x="56" y="92"/>
                  </a:lnTo>
                  <a:lnTo>
                    <a:pt x="56" y="92"/>
                  </a:lnTo>
                  <a:lnTo>
                    <a:pt x="56" y="94"/>
                  </a:lnTo>
                  <a:lnTo>
                    <a:pt x="54" y="97"/>
                  </a:lnTo>
                  <a:lnTo>
                    <a:pt x="54" y="99"/>
                  </a:lnTo>
                  <a:lnTo>
                    <a:pt x="54" y="99"/>
                  </a:lnTo>
                  <a:lnTo>
                    <a:pt x="54" y="102"/>
                  </a:lnTo>
                  <a:lnTo>
                    <a:pt x="54" y="102"/>
                  </a:lnTo>
                  <a:lnTo>
                    <a:pt x="54" y="102"/>
                  </a:lnTo>
                  <a:lnTo>
                    <a:pt x="54" y="104"/>
                  </a:lnTo>
                  <a:lnTo>
                    <a:pt x="54" y="104"/>
                  </a:lnTo>
                  <a:lnTo>
                    <a:pt x="51" y="107"/>
                  </a:lnTo>
                  <a:lnTo>
                    <a:pt x="49" y="107"/>
                  </a:lnTo>
                  <a:lnTo>
                    <a:pt x="49" y="109"/>
                  </a:lnTo>
                  <a:lnTo>
                    <a:pt x="49" y="109"/>
                  </a:lnTo>
                  <a:lnTo>
                    <a:pt x="49" y="109"/>
                  </a:lnTo>
                  <a:lnTo>
                    <a:pt x="49" y="112"/>
                  </a:lnTo>
                  <a:lnTo>
                    <a:pt x="49" y="112"/>
                  </a:lnTo>
                  <a:lnTo>
                    <a:pt x="46" y="112"/>
                  </a:lnTo>
                  <a:lnTo>
                    <a:pt x="46" y="115"/>
                  </a:lnTo>
                  <a:lnTo>
                    <a:pt x="44" y="112"/>
                  </a:lnTo>
                  <a:lnTo>
                    <a:pt x="44" y="112"/>
                  </a:lnTo>
                  <a:lnTo>
                    <a:pt x="41" y="112"/>
                  </a:lnTo>
                  <a:lnTo>
                    <a:pt x="41" y="109"/>
                  </a:lnTo>
                  <a:lnTo>
                    <a:pt x="39" y="109"/>
                  </a:lnTo>
                  <a:lnTo>
                    <a:pt x="39" y="107"/>
                  </a:lnTo>
                  <a:lnTo>
                    <a:pt x="36" y="104"/>
                  </a:lnTo>
                  <a:lnTo>
                    <a:pt x="36" y="102"/>
                  </a:lnTo>
                  <a:lnTo>
                    <a:pt x="33" y="102"/>
                  </a:lnTo>
                  <a:lnTo>
                    <a:pt x="33" y="102"/>
                  </a:lnTo>
                  <a:lnTo>
                    <a:pt x="31" y="102"/>
                  </a:lnTo>
                  <a:lnTo>
                    <a:pt x="31" y="102"/>
                  </a:lnTo>
                  <a:lnTo>
                    <a:pt x="28" y="99"/>
                  </a:lnTo>
                  <a:lnTo>
                    <a:pt x="26" y="99"/>
                  </a:lnTo>
                  <a:lnTo>
                    <a:pt x="23" y="97"/>
                  </a:lnTo>
                  <a:lnTo>
                    <a:pt x="23" y="99"/>
                  </a:lnTo>
                  <a:lnTo>
                    <a:pt x="23" y="99"/>
                  </a:lnTo>
                  <a:lnTo>
                    <a:pt x="21" y="99"/>
                  </a:lnTo>
                  <a:lnTo>
                    <a:pt x="21" y="102"/>
                  </a:lnTo>
                  <a:lnTo>
                    <a:pt x="18" y="102"/>
                  </a:lnTo>
                  <a:lnTo>
                    <a:pt x="18" y="102"/>
                  </a:lnTo>
                  <a:lnTo>
                    <a:pt x="18" y="99"/>
                  </a:lnTo>
                  <a:lnTo>
                    <a:pt x="18" y="99"/>
                  </a:lnTo>
                  <a:lnTo>
                    <a:pt x="21" y="97"/>
                  </a:lnTo>
                  <a:lnTo>
                    <a:pt x="18" y="97"/>
                  </a:lnTo>
                  <a:lnTo>
                    <a:pt x="18" y="94"/>
                  </a:lnTo>
                  <a:lnTo>
                    <a:pt x="18" y="94"/>
                  </a:lnTo>
                  <a:lnTo>
                    <a:pt x="18" y="92"/>
                  </a:lnTo>
                  <a:lnTo>
                    <a:pt x="18" y="92"/>
                  </a:lnTo>
                  <a:lnTo>
                    <a:pt x="18" y="92"/>
                  </a:lnTo>
                  <a:lnTo>
                    <a:pt x="21" y="92"/>
                  </a:lnTo>
                  <a:lnTo>
                    <a:pt x="21" y="92"/>
                  </a:lnTo>
                  <a:lnTo>
                    <a:pt x="21" y="89"/>
                  </a:lnTo>
                  <a:lnTo>
                    <a:pt x="23" y="89"/>
                  </a:lnTo>
                  <a:lnTo>
                    <a:pt x="23" y="89"/>
                  </a:lnTo>
                  <a:lnTo>
                    <a:pt x="23" y="89"/>
                  </a:lnTo>
                  <a:lnTo>
                    <a:pt x="23" y="87"/>
                  </a:lnTo>
                  <a:lnTo>
                    <a:pt x="23" y="84"/>
                  </a:lnTo>
                  <a:lnTo>
                    <a:pt x="23" y="84"/>
                  </a:lnTo>
                  <a:lnTo>
                    <a:pt x="23" y="84"/>
                  </a:lnTo>
                  <a:lnTo>
                    <a:pt x="23" y="81"/>
                  </a:lnTo>
                  <a:lnTo>
                    <a:pt x="21" y="81"/>
                  </a:lnTo>
                  <a:lnTo>
                    <a:pt x="21" y="79"/>
                  </a:lnTo>
                  <a:lnTo>
                    <a:pt x="21" y="79"/>
                  </a:lnTo>
                  <a:lnTo>
                    <a:pt x="21" y="79"/>
                  </a:lnTo>
                  <a:lnTo>
                    <a:pt x="21" y="79"/>
                  </a:lnTo>
                  <a:lnTo>
                    <a:pt x="21" y="76"/>
                  </a:lnTo>
                  <a:lnTo>
                    <a:pt x="21" y="76"/>
                  </a:lnTo>
                  <a:lnTo>
                    <a:pt x="16" y="79"/>
                  </a:lnTo>
                  <a:lnTo>
                    <a:pt x="13" y="84"/>
                  </a:lnTo>
                  <a:lnTo>
                    <a:pt x="11" y="84"/>
                  </a:lnTo>
                  <a:lnTo>
                    <a:pt x="8" y="89"/>
                  </a:lnTo>
                  <a:lnTo>
                    <a:pt x="3" y="97"/>
                  </a:lnTo>
                  <a:lnTo>
                    <a:pt x="0" y="99"/>
                  </a:lnTo>
                  <a:lnTo>
                    <a:pt x="0" y="107"/>
                  </a:lnTo>
                  <a:lnTo>
                    <a:pt x="3" y="109"/>
                  </a:lnTo>
                  <a:lnTo>
                    <a:pt x="3" y="112"/>
                  </a:lnTo>
                  <a:lnTo>
                    <a:pt x="5" y="115"/>
                  </a:lnTo>
                  <a:lnTo>
                    <a:pt x="5" y="117"/>
                  </a:lnTo>
                  <a:lnTo>
                    <a:pt x="5" y="117"/>
                  </a:lnTo>
                  <a:lnTo>
                    <a:pt x="11" y="125"/>
                  </a:lnTo>
                  <a:lnTo>
                    <a:pt x="11" y="127"/>
                  </a:lnTo>
                  <a:lnTo>
                    <a:pt x="11" y="130"/>
                  </a:lnTo>
                  <a:lnTo>
                    <a:pt x="11" y="132"/>
                  </a:lnTo>
                  <a:lnTo>
                    <a:pt x="8" y="132"/>
                  </a:lnTo>
                  <a:lnTo>
                    <a:pt x="8" y="132"/>
                  </a:lnTo>
                  <a:lnTo>
                    <a:pt x="5" y="132"/>
                  </a:lnTo>
                  <a:lnTo>
                    <a:pt x="5" y="135"/>
                  </a:lnTo>
                  <a:lnTo>
                    <a:pt x="5" y="137"/>
                  </a:lnTo>
                  <a:lnTo>
                    <a:pt x="8" y="140"/>
                  </a:lnTo>
                  <a:lnTo>
                    <a:pt x="13" y="142"/>
                  </a:lnTo>
                  <a:lnTo>
                    <a:pt x="28" y="150"/>
                  </a:lnTo>
                  <a:lnTo>
                    <a:pt x="31" y="153"/>
                  </a:lnTo>
                  <a:lnTo>
                    <a:pt x="31" y="158"/>
                  </a:lnTo>
                  <a:lnTo>
                    <a:pt x="36" y="160"/>
                  </a:lnTo>
                  <a:lnTo>
                    <a:pt x="39" y="165"/>
                  </a:lnTo>
                  <a:lnTo>
                    <a:pt x="39" y="168"/>
                  </a:lnTo>
                  <a:lnTo>
                    <a:pt x="44" y="178"/>
                  </a:lnTo>
                  <a:lnTo>
                    <a:pt x="44" y="181"/>
                  </a:lnTo>
                  <a:lnTo>
                    <a:pt x="49" y="183"/>
                  </a:lnTo>
                  <a:lnTo>
                    <a:pt x="51" y="186"/>
                  </a:lnTo>
                  <a:lnTo>
                    <a:pt x="54" y="191"/>
                  </a:lnTo>
                  <a:lnTo>
                    <a:pt x="56" y="196"/>
                  </a:lnTo>
                  <a:lnTo>
                    <a:pt x="56" y="198"/>
                  </a:lnTo>
                  <a:lnTo>
                    <a:pt x="59" y="204"/>
                  </a:lnTo>
                  <a:lnTo>
                    <a:pt x="61" y="209"/>
                  </a:lnTo>
                  <a:lnTo>
                    <a:pt x="64" y="214"/>
                  </a:lnTo>
                  <a:lnTo>
                    <a:pt x="67" y="219"/>
                  </a:lnTo>
                  <a:lnTo>
                    <a:pt x="69" y="224"/>
                  </a:lnTo>
                  <a:lnTo>
                    <a:pt x="69" y="229"/>
                  </a:lnTo>
                  <a:lnTo>
                    <a:pt x="72" y="234"/>
                  </a:lnTo>
                  <a:lnTo>
                    <a:pt x="79" y="247"/>
                  </a:lnTo>
                  <a:lnTo>
                    <a:pt x="82" y="249"/>
                  </a:lnTo>
                  <a:lnTo>
                    <a:pt x="82" y="254"/>
                  </a:lnTo>
                  <a:lnTo>
                    <a:pt x="84" y="257"/>
                  </a:lnTo>
                  <a:lnTo>
                    <a:pt x="90" y="262"/>
                  </a:lnTo>
                  <a:lnTo>
                    <a:pt x="92" y="265"/>
                  </a:lnTo>
                  <a:lnTo>
                    <a:pt x="95" y="270"/>
                  </a:lnTo>
                  <a:lnTo>
                    <a:pt x="95" y="275"/>
                  </a:lnTo>
                  <a:lnTo>
                    <a:pt x="97" y="275"/>
                  </a:lnTo>
                  <a:lnTo>
                    <a:pt x="97" y="277"/>
                  </a:lnTo>
                  <a:lnTo>
                    <a:pt x="97" y="277"/>
                  </a:lnTo>
                  <a:lnTo>
                    <a:pt x="102" y="280"/>
                  </a:lnTo>
                  <a:lnTo>
                    <a:pt x="102" y="285"/>
                  </a:lnTo>
                  <a:lnTo>
                    <a:pt x="105" y="290"/>
                  </a:lnTo>
                  <a:lnTo>
                    <a:pt x="107" y="293"/>
                  </a:lnTo>
                  <a:lnTo>
                    <a:pt x="110" y="295"/>
                  </a:lnTo>
                  <a:lnTo>
                    <a:pt x="110" y="298"/>
                  </a:lnTo>
                  <a:lnTo>
                    <a:pt x="115" y="303"/>
                  </a:lnTo>
                  <a:lnTo>
                    <a:pt x="118" y="308"/>
                  </a:lnTo>
                  <a:lnTo>
                    <a:pt x="115" y="313"/>
                  </a:lnTo>
                  <a:lnTo>
                    <a:pt x="115" y="313"/>
                  </a:lnTo>
                  <a:lnTo>
                    <a:pt x="112" y="316"/>
                  </a:lnTo>
                  <a:lnTo>
                    <a:pt x="115" y="318"/>
                  </a:lnTo>
                  <a:lnTo>
                    <a:pt x="115" y="321"/>
                  </a:lnTo>
                  <a:lnTo>
                    <a:pt x="118" y="323"/>
                  </a:lnTo>
                  <a:lnTo>
                    <a:pt x="120" y="326"/>
                  </a:lnTo>
                  <a:lnTo>
                    <a:pt x="123" y="328"/>
                  </a:lnTo>
                  <a:lnTo>
                    <a:pt x="123" y="333"/>
                  </a:lnTo>
                  <a:lnTo>
                    <a:pt x="128" y="336"/>
                  </a:lnTo>
                  <a:lnTo>
                    <a:pt x="133" y="338"/>
                  </a:lnTo>
                  <a:lnTo>
                    <a:pt x="135" y="344"/>
                  </a:lnTo>
                  <a:lnTo>
                    <a:pt x="138" y="346"/>
                  </a:lnTo>
                  <a:lnTo>
                    <a:pt x="140" y="349"/>
                  </a:lnTo>
                  <a:lnTo>
                    <a:pt x="143" y="351"/>
                  </a:lnTo>
                  <a:lnTo>
                    <a:pt x="153" y="356"/>
                  </a:lnTo>
                  <a:lnTo>
                    <a:pt x="158" y="359"/>
                  </a:lnTo>
                  <a:lnTo>
                    <a:pt x="163" y="361"/>
                  </a:lnTo>
                  <a:lnTo>
                    <a:pt x="169" y="366"/>
                  </a:lnTo>
                  <a:lnTo>
                    <a:pt x="171" y="369"/>
                  </a:lnTo>
                  <a:lnTo>
                    <a:pt x="179" y="372"/>
                  </a:lnTo>
                  <a:lnTo>
                    <a:pt x="181" y="372"/>
                  </a:lnTo>
                  <a:lnTo>
                    <a:pt x="186" y="377"/>
                  </a:lnTo>
                  <a:lnTo>
                    <a:pt x="191" y="377"/>
                  </a:lnTo>
                  <a:lnTo>
                    <a:pt x="197" y="379"/>
                  </a:lnTo>
                  <a:lnTo>
                    <a:pt x="199" y="382"/>
                  </a:lnTo>
                  <a:lnTo>
                    <a:pt x="202" y="384"/>
                  </a:lnTo>
                  <a:lnTo>
                    <a:pt x="207" y="387"/>
                  </a:lnTo>
                  <a:lnTo>
                    <a:pt x="209" y="387"/>
                  </a:lnTo>
                  <a:lnTo>
                    <a:pt x="212" y="389"/>
                  </a:lnTo>
                  <a:lnTo>
                    <a:pt x="212" y="392"/>
                  </a:lnTo>
                  <a:lnTo>
                    <a:pt x="217" y="392"/>
                  </a:lnTo>
                  <a:lnTo>
                    <a:pt x="219" y="394"/>
                  </a:lnTo>
                  <a:lnTo>
                    <a:pt x="219" y="397"/>
                  </a:lnTo>
                  <a:lnTo>
                    <a:pt x="222" y="399"/>
                  </a:lnTo>
                  <a:lnTo>
                    <a:pt x="222" y="402"/>
                  </a:lnTo>
                  <a:lnTo>
                    <a:pt x="230" y="407"/>
                  </a:lnTo>
                  <a:lnTo>
                    <a:pt x="232" y="407"/>
                  </a:lnTo>
                  <a:lnTo>
                    <a:pt x="235" y="410"/>
                  </a:lnTo>
                  <a:lnTo>
                    <a:pt x="240" y="415"/>
                  </a:lnTo>
                  <a:lnTo>
                    <a:pt x="242" y="417"/>
                  </a:lnTo>
                  <a:lnTo>
                    <a:pt x="242" y="417"/>
                  </a:lnTo>
                  <a:lnTo>
                    <a:pt x="245" y="417"/>
                  </a:lnTo>
                  <a:lnTo>
                    <a:pt x="248" y="417"/>
                  </a:lnTo>
                  <a:lnTo>
                    <a:pt x="250" y="415"/>
                  </a:lnTo>
                  <a:lnTo>
                    <a:pt x="253" y="415"/>
                  </a:lnTo>
                  <a:lnTo>
                    <a:pt x="253" y="412"/>
                  </a:lnTo>
                  <a:lnTo>
                    <a:pt x="255" y="410"/>
                  </a:lnTo>
                  <a:lnTo>
                    <a:pt x="253" y="407"/>
                  </a:lnTo>
                  <a:lnTo>
                    <a:pt x="253" y="405"/>
                  </a:lnTo>
                  <a:lnTo>
                    <a:pt x="253" y="402"/>
                  </a:lnTo>
                  <a:lnTo>
                    <a:pt x="253" y="402"/>
                  </a:lnTo>
                  <a:lnTo>
                    <a:pt x="255" y="402"/>
                  </a:lnTo>
                  <a:lnTo>
                    <a:pt x="258" y="399"/>
                  </a:lnTo>
                  <a:lnTo>
                    <a:pt x="258" y="397"/>
                  </a:lnTo>
                  <a:lnTo>
                    <a:pt x="258" y="397"/>
                  </a:lnTo>
                  <a:lnTo>
                    <a:pt x="258" y="397"/>
                  </a:lnTo>
                  <a:lnTo>
                    <a:pt x="258" y="394"/>
                  </a:lnTo>
                  <a:lnTo>
                    <a:pt x="258" y="394"/>
                  </a:lnTo>
                  <a:lnTo>
                    <a:pt x="255" y="392"/>
                  </a:lnTo>
                  <a:lnTo>
                    <a:pt x="255" y="392"/>
                  </a:lnTo>
                  <a:lnTo>
                    <a:pt x="255" y="392"/>
                  </a:lnTo>
                  <a:lnTo>
                    <a:pt x="258" y="389"/>
                  </a:lnTo>
                  <a:lnTo>
                    <a:pt x="258" y="389"/>
                  </a:lnTo>
                  <a:lnTo>
                    <a:pt x="260" y="387"/>
                  </a:lnTo>
                  <a:lnTo>
                    <a:pt x="260" y="387"/>
                  </a:lnTo>
                  <a:lnTo>
                    <a:pt x="263" y="384"/>
                  </a:lnTo>
                  <a:lnTo>
                    <a:pt x="263" y="382"/>
                  </a:lnTo>
                  <a:lnTo>
                    <a:pt x="263" y="379"/>
                  </a:lnTo>
                  <a:lnTo>
                    <a:pt x="265" y="379"/>
                  </a:lnTo>
                  <a:lnTo>
                    <a:pt x="265" y="379"/>
                  </a:lnTo>
                  <a:lnTo>
                    <a:pt x="265" y="377"/>
                  </a:lnTo>
                  <a:lnTo>
                    <a:pt x="265" y="374"/>
                  </a:lnTo>
                  <a:lnTo>
                    <a:pt x="265" y="374"/>
                  </a:lnTo>
                  <a:lnTo>
                    <a:pt x="268" y="372"/>
                  </a:lnTo>
                  <a:lnTo>
                    <a:pt x="268" y="372"/>
                  </a:lnTo>
                  <a:lnTo>
                    <a:pt x="268" y="372"/>
                  </a:lnTo>
                  <a:lnTo>
                    <a:pt x="268" y="37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228" name="Freeform 1847">
              <a:extLst>
                <a:ext uri="{FF2B5EF4-FFF2-40B4-BE49-F238E27FC236}">
                  <a16:creationId xmlns:a16="http://schemas.microsoft.com/office/drawing/2014/main" id="{70F49E3F-2D80-ED46-89F3-EC86DD72EA84}"/>
                </a:ext>
              </a:extLst>
            </p:cNvPr>
            <p:cNvSpPr>
              <a:spLocks/>
            </p:cNvSpPr>
            <p:nvPr/>
          </p:nvSpPr>
          <p:spPr bwMode="auto">
            <a:xfrm>
              <a:off x="3599914" y="4517582"/>
              <a:ext cx="278075" cy="307518"/>
            </a:xfrm>
            <a:custGeom>
              <a:avLst/>
              <a:gdLst>
                <a:gd name="T0" fmla="*/ 165 w 170"/>
                <a:gd name="T1" fmla="*/ 104 h 188"/>
                <a:gd name="T2" fmla="*/ 158 w 170"/>
                <a:gd name="T3" fmla="*/ 104 h 188"/>
                <a:gd name="T4" fmla="*/ 150 w 170"/>
                <a:gd name="T5" fmla="*/ 107 h 188"/>
                <a:gd name="T6" fmla="*/ 145 w 170"/>
                <a:gd name="T7" fmla="*/ 101 h 188"/>
                <a:gd name="T8" fmla="*/ 142 w 170"/>
                <a:gd name="T9" fmla="*/ 94 h 188"/>
                <a:gd name="T10" fmla="*/ 140 w 170"/>
                <a:gd name="T11" fmla="*/ 86 h 188"/>
                <a:gd name="T12" fmla="*/ 140 w 170"/>
                <a:gd name="T13" fmla="*/ 79 h 188"/>
                <a:gd name="T14" fmla="*/ 137 w 170"/>
                <a:gd name="T15" fmla="*/ 71 h 188"/>
                <a:gd name="T16" fmla="*/ 130 w 170"/>
                <a:gd name="T17" fmla="*/ 68 h 188"/>
                <a:gd name="T18" fmla="*/ 122 w 170"/>
                <a:gd name="T19" fmla="*/ 63 h 188"/>
                <a:gd name="T20" fmla="*/ 119 w 170"/>
                <a:gd name="T21" fmla="*/ 68 h 188"/>
                <a:gd name="T22" fmla="*/ 112 w 170"/>
                <a:gd name="T23" fmla="*/ 68 h 188"/>
                <a:gd name="T24" fmla="*/ 101 w 170"/>
                <a:gd name="T25" fmla="*/ 66 h 188"/>
                <a:gd name="T26" fmla="*/ 94 w 170"/>
                <a:gd name="T27" fmla="*/ 66 h 188"/>
                <a:gd name="T28" fmla="*/ 91 w 170"/>
                <a:gd name="T29" fmla="*/ 61 h 188"/>
                <a:gd name="T30" fmla="*/ 91 w 170"/>
                <a:gd name="T31" fmla="*/ 56 h 188"/>
                <a:gd name="T32" fmla="*/ 91 w 170"/>
                <a:gd name="T33" fmla="*/ 48 h 188"/>
                <a:gd name="T34" fmla="*/ 91 w 170"/>
                <a:gd name="T35" fmla="*/ 43 h 188"/>
                <a:gd name="T36" fmla="*/ 91 w 170"/>
                <a:gd name="T37" fmla="*/ 35 h 188"/>
                <a:gd name="T38" fmla="*/ 89 w 170"/>
                <a:gd name="T39" fmla="*/ 33 h 188"/>
                <a:gd name="T40" fmla="*/ 86 w 170"/>
                <a:gd name="T41" fmla="*/ 25 h 188"/>
                <a:gd name="T42" fmla="*/ 84 w 170"/>
                <a:gd name="T43" fmla="*/ 20 h 188"/>
                <a:gd name="T44" fmla="*/ 71 w 170"/>
                <a:gd name="T45" fmla="*/ 5 h 188"/>
                <a:gd name="T46" fmla="*/ 28 w 170"/>
                <a:gd name="T47" fmla="*/ 5 h 188"/>
                <a:gd name="T48" fmla="*/ 10 w 170"/>
                <a:gd name="T49" fmla="*/ 17 h 188"/>
                <a:gd name="T50" fmla="*/ 5 w 170"/>
                <a:gd name="T51" fmla="*/ 40 h 188"/>
                <a:gd name="T52" fmla="*/ 0 w 170"/>
                <a:gd name="T53" fmla="*/ 68 h 188"/>
                <a:gd name="T54" fmla="*/ 10 w 170"/>
                <a:gd name="T55" fmla="*/ 76 h 188"/>
                <a:gd name="T56" fmla="*/ 25 w 170"/>
                <a:gd name="T57" fmla="*/ 91 h 188"/>
                <a:gd name="T58" fmla="*/ 35 w 170"/>
                <a:gd name="T59" fmla="*/ 99 h 188"/>
                <a:gd name="T60" fmla="*/ 56 w 170"/>
                <a:gd name="T61" fmla="*/ 107 h 188"/>
                <a:gd name="T62" fmla="*/ 73 w 170"/>
                <a:gd name="T63" fmla="*/ 119 h 188"/>
                <a:gd name="T64" fmla="*/ 94 w 170"/>
                <a:gd name="T65" fmla="*/ 129 h 188"/>
                <a:gd name="T66" fmla="*/ 107 w 170"/>
                <a:gd name="T67" fmla="*/ 137 h 188"/>
                <a:gd name="T68" fmla="*/ 107 w 170"/>
                <a:gd name="T69" fmla="*/ 145 h 188"/>
                <a:gd name="T70" fmla="*/ 104 w 170"/>
                <a:gd name="T71" fmla="*/ 152 h 188"/>
                <a:gd name="T72" fmla="*/ 101 w 170"/>
                <a:gd name="T73" fmla="*/ 157 h 188"/>
                <a:gd name="T74" fmla="*/ 99 w 170"/>
                <a:gd name="T75" fmla="*/ 163 h 188"/>
                <a:gd name="T76" fmla="*/ 99 w 170"/>
                <a:gd name="T77" fmla="*/ 170 h 188"/>
                <a:gd name="T78" fmla="*/ 99 w 170"/>
                <a:gd name="T79" fmla="*/ 173 h 188"/>
                <a:gd name="T80" fmla="*/ 94 w 170"/>
                <a:gd name="T81" fmla="*/ 178 h 188"/>
                <a:gd name="T82" fmla="*/ 119 w 170"/>
                <a:gd name="T83" fmla="*/ 185 h 188"/>
                <a:gd name="T84" fmla="*/ 132 w 170"/>
                <a:gd name="T85" fmla="*/ 188 h 188"/>
                <a:gd name="T86" fmla="*/ 140 w 170"/>
                <a:gd name="T87" fmla="*/ 185 h 188"/>
                <a:gd name="T88" fmla="*/ 147 w 170"/>
                <a:gd name="T89" fmla="*/ 183 h 188"/>
                <a:gd name="T90" fmla="*/ 152 w 170"/>
                <a:gd name="T91" fmla="*/ 180 h 188"/>
                <a:gd name="T92" fmla="*/ 158 w 170"/>
                <a:gd name="T93" fmla="*/ 175 h 188"/>
                <a:gd name="T94" fmla="*/ 163 w 170"/>
                <a:gd name="T95" fmla="*/ 170 h 188"/>
                <a:gd name="T96" fmla="*/ 168 w 170"/>
                <a:gd name="T97" fmla="*/ 165 h 188"/>
                <a:gd name="T98" fmla="*/ 168 w 170"/>
                <a:gd name="T99" fmla="*/ 135 h 188"/>
                <a:gd name="T100" fmla="*/ 170 w 170"/>
                <a:gd name="T101" fmla="*/ 11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70" h="188">
                  <a:moveTo>
                    <a:pt x="168" y="109"/>
                  </a:moveTo>
                  <a:lnTo>
                    <a:pt x="170" y="109"/>
                  </a:lnTo>
                  <a:lnTo>
                    <a:pt x="170" y="109"/>
                  </a:lnTo>
                  <a:lnTo>
                    <a:pt x="168" y="107"/>
                  </a:lnTo>
                  <a:lnTo>
                    <a:pt x="165" y="104"/>
                  </a:lnTo>
                  <a:lnTo>
                    <a:pt x="163" y="104"/>
                  </a:lnTo>
                  <a:lnTo>
                    <a:pt x="163" y="104"/>
                  </a:lnTo>
                  <a:lnTo>
                    <a:pt x="160" y="104"/>
                  </a:lnTo>
                  <a:lnTo>
                    <a:pt x="160" y="104"/>
                  </a:lnTo>
                  <a:lnTo>
                    <a:pt x="158" y="104"/>
                  </a:lnTo>
                  <a:lnTo>
                    <a:pt x="158" y="107"/>
                  </a:lnTo>
                  <a:lnTo>
                    <a:pt x="155" y="107"/>
                  </a:lnTo>
                  <a:lnTo>
                    <a:pt x="152" y="107"/>
                  </a:lnTo>
                  <a:lnTo>
                    <a:pt x="152" y="107"/>
                  </a:lnTo>
                  <a:lnTo>
                    <a:pt x="150" y="107"/>
                  </a:lnTo>
                  <a:lnTo>
                    <a:pt x="147" y="107"/>
                  </a:lnTo>
                  <a:lnTo>
                    <a:pt x="147" y="107"/>
                  </a:lnTo>
                  <a:lnTo>
                    <a:pt x="145" y="104"/>
                  </a:lnTo>
                  <a:lnTo>
                    <a:pt x="145" y="101"/>
                  </a:lnTo>
                  <a:lnTo>
                    <a:pt x="145" y="101"/>
                  </a:lnTo>
                  <a:lnTo>
                    <a:pt x="145" y="99"/>
                  </a:lnTo>
                  <a:lnTo>
                    <a:pt x="142" y="99"/>
                  </a:lnTo>
                  <a:lnTo>
                    <a:pt x="142" y="96"/>
                  </a:lnTo>
                  <a:lnTo>
                    <a:pt x="142" y="94"/>
                  </a:lnTo>
                  <a:lnTo>
                    <a:pt x="142" y="94"/>
                  </a:lnTo>
                  <a:lnTo>
                    <a:pt x="142" y="94"/>
                  </a:lnTo>
                  <a:lnTo>
                    <a:pt x="142" y="91"/>
                  </a:lnTo>
                  <a:lnTo>
                    <a:pt x="142" y="91"/>
                  </a:lnTo>
                  <a:lnTo>
                    <a:pt x="142" y="89"/>
                  </a:lnTo>
                  <a:lnTo>
                    <a:pt x="140" y="86"/>
                  </a:lnTo>
                  <a:lnTo>
                    <a:pt x="140" y="86"/>
                  </a:lnTo>
                  <a:lnTo>
                    <a:pt x="140" y="84"/>
                  </a:lnTo>
                  <a:lnTo>
                    <a:pt x="140" y="81"/>
                  </a:lnTo>
                  <a:lnTo>
                    <a:pt x="140" y="81"/>
                  </a:lnTo>
                  <a:lnTo>
                    <a:pt x="140" y="79"/>
                  </a:lnTo>
                  <a:lnTo>
                    <a:pt x="140" y="76"/>
                  </a:lnTo>
                  <a:lnTo>
                    <a:pt x="140" y="76"/>
                  </a:lnTo>
                  <a:lnTo>
                    <a:pt x="137" y="76"/>
                  </a:lnTo>
                  <a:lnTo>
                    <a:pt x="137" y="73"/>
                  </a:lnTo>
                  <a:lnTo>
                    <a:pt x="137" y="71"/>
                  </a:lnTo>
                  <a:lnTo>
                    <a:pt x="135" y="71"/>
                  </a:lnTo>
                  <a:lnTo>
                    <a:pt x="135" y="68"/>
                  </a:lnTo>
                  <a:lnTo>
                    <a:pt x="132" y="68"/>
                  </a:lnTo>
                  <a:lnTo>
                    <a:pt x="132" y="68"/>
                  </a:lnTo>
                  <a:lnTo>
                    <a:pt x="130" y="68"/>
                  </a:lnTo>
                  <a:lnTo>
                    <a:pt x="127" y="68"/>
                  </a:lnTo>
                  <a:lnTo>
                    <a:pt x="127" y="68"/>
                  </a:lnTo>
                  <a:lnTo>
                    <a:pt x="124" y="66"/>
                  </a:lnTo>
                  <a:lnTo>
                    <a:pt x="124" y="66"/>
                  </a:lnTo>
                  <a:lnTo>
                    <a:pt x="122" y="63"/>
                  </a:lnTo>
                  <a:lnTo>
                    <a:pt x="122" y="63"/>
                  </a:lnTo>
                  <a:lnTo>
                    <a:pt x="119" y="63"/>
                  </a:lnTo>
                  <a:lnTo>
                    <a:pt x="119" y="66"/>
                  </a:lnTo>
                  <a:lnTo>
                    <a:pt x="119" y="66"/>
                  </a:lnTo>
                  <a:lnTo>
                    <a:pt x="119" y="68"/>
                  </a:lnTo>
                  <a:lnTo>
                    <a:pt x="117" y="68"/>
                  </a:lnTo>
                  <a:lnTo>
                    <a:pt x="117" y="68"/>
                  </a:lnTo>
                  <a:lnTo>
                    <a:pt x="114" y="68"/>
                  </a:lnTo>
                  <a:lnTo>
                    <a:pt x="112" y="68"/>
                  </a:lnTo>
                  <a:lnTo>
                    <a:pt x="112" y="68"/>
                  </a:lnTo>
                  <a:lnTo>
                    <a:pt x="109" y="66"/>
                  </a:lnTo>
                  <a:lnTo>
                    <a:pt x="107" y="66"/>
                  </a:lnTo>
                  <a:lnTo>
                    <a:pt x="104" y="66"/>
                  </a:lnTo>
                  <a:lnTo>
                    <a:pt x="104" y="66"/>
                  </a:lnTo>
                  <a:lnTo>
                    <a:pt x="101" y="66"/>
                  </a:lnTo>
                  <a:lnTo>
                    <a:pt x="99" y="66"/>
                  </a:lnTo>
                  <a:lnTo>
                    <a:pt x="99" y="66"/>
                  </a:lnTo>
                  <a:lnTo>
                    <a:pt x="96" y="63"/>
                  </a:lnTo>
                  <a:lnTo>
                    <a:pt x="96" y="63"/>
                  </a:lnTo>
                  <a:lnTo>
                    <a:pt x="94" y="66"/>
                  </a:lnTo>
                  <a:lnTo>
                    <a:pt x="94" y="66"/>
                  </a:lnTo>
                  <a:lnTo>
                    <a:pt x="91" y="63"/>
                  </a:lnTo>
                  <a:lnTo>
                    <a:pt x="91" y="63"/>
                  </a:lnTo>
                  <a:lnTo>
                    <a:pt x="91" y="63"/>
                  </a:lnTo>
                  <a:lnTo>
                    <a:pt x="91" y="61"/>
                  </a:lnTo>
                  <a:lnTo>
                    <a:pt x="91" y="61"/>
                  </a:lnTo>
                  <a:lnTo>
                    <a:pt x="91" y="58"/>
                  </a:lnTo>
                  <a:lnTo>
                    <a:pt x="91" y="58"/>
                  </a:lnTo>
                  <a:lnTo>
                    <a:pt x="91" y="56"/>
                  </a:lnTo>
                  <a:lnTo>
                    <a:pt x="91" y="56"/>
                  </a:lnTo>
                  <a:lnTo>
                    <a:pt x="91" y="53"/>
                  </a:lnTo>
                  <a:lnTo>
                    <a:pt x="91" y="53"/>
                  </a:lnTo>
                  <a:lnTo>
                    <a:pt x="91" y="51"/>
                  </a:lnTo>
                  <a:lnTo>
                    <a:pt x="91" y="51"/>
                  </a:lnTo>
                  <a:lnTo>
                    <a:pt x="91" y="48"/>
                  </a:lnTo>
                  <a:lnTo>
                    <a:pt x="91" y="48"/>
                  </a:lnTo>
                  <a:lnTo>
                    <a:pt x="91" y="45"/>
                  </a:lnTo>
                  <a:lnTo>
                    <a:pt x="91" y="45"/>
                  </a:lnTo>
                  <a:lnTo>
                    <a:pt x="91" y="43"/>
                  </a:lnTo>
                  <a:lnTo>
                    <a:pt x="91" y="43"/>
                  </a:lnTo>
                  <a:lnTo>
                    <a:pt x="91" y="40"/>
                  </a:lnTo>
                  <a:lnTo>
                    <a:pt x="91" y="38"/>
                  </a:lnTo>
                  <a:lnTo>
                    <a:pt x="91" y="38"/>
                  </a:lnTo>
                  <a:lnTo>
                    <a:pt x="91" y="35"/>
                  </a:lnTo>
                  <a:lnTo>
                    <a:pt x="91" y="35"/>
                  </a:lnTo>
                  <a:lnTo>
                    <a:pt x="91" y="35"/>
                  </a:lnTo>
                  <a:lnTo>
                    <a:pt x="89" y="35"/>
                  </a:lnTo>
                  <a:lnTo>
                    <a:pt x="91" y="33"/>
                  </a:lnTo>
                  <a:lnTo>
                    <a:pt x="89" y="33"/>
                  </a:lnTo>
                  <a:lnTo>
                    <a:pt x="89" y="33"/>
                  </a:lnTo>
                  <a:lnTo>
                    <a:pt x="89" y="30"/>
                  </a:lnTo>
                  <a:lnTo>
                    <a:pt x="89" y="30"/>
                  </a:lnTo>
                  <a:lnTo>
                    <a:pt x="86" y="28"/>
                  </a:lnTo>
                  <a:lnTo>
                    <a:pt x="86" y="28"/>
                  </a:lnTo>
                  <a:lnTo>
                    <a:pt x="86" y="25"/>
                  </a:lnTo>
                  <a:lnTo>
                    <a:pt x="86" y="25"/>
                  </a:lnTo>
                  <a:lnTo>
                    <a:pt x="86" y="25"/>
                  </a:lnTo>
                  <a:lnTo>
                    <a:pt x="84" y="23"/>
                  </a:lnTo>
                  <a:lnTo>
                    <a:pt x="84" y="23"/>
                  </a:lnTo>
                  <a:lnTo>
                    <a:pt x="84" y="20"/>
                  </a:lnTo>
                  <a:lnTo>
                    <a:pt x="84" y="17"/>
                  </a:lnTo>
                  <a:lnTo>
                    <a:pt x="84" y="12"/>
                  </a:lnTo>
                  <a:lnTo>
                    <a:pt x="84" y="12"/>
                  </a:lnTo>
                  <a:lnTo>
                    <a:pt x="76" y="7"/>
                  </a:lnTo>
                  <a:lnTo>
                    <a:pt x="71" y="5"/>
                  </a:lnTo>
                  <a:lnTo>
                    <a:pt x="63" y="0"/>
                  </a:lnTo>
                  <a:lnTo>
                    <a:pt x="53" y="0"/>
                  </a:lnTo>
                  <a:lnTo>
                    <a:pt x="45" y="0"/>
                  </a:lnTo>
                  <a:lnTo>
                    <a:pt x="35" y="2"/>
                  </a:lnTo>
                  <a:lnTo>
                    <a:pt x="28" y="5"/>
                  </a:lnTo>
                  <a:lnTo>
                    <a:pt x="25" y="5"/>
                  </a:lnTo>
                  <a:lnTo>
                    <a:pt x="15" y="7"/>
                  </a:lnTo>
                  <a:lnTo>
                    <a:pt x="12" y="7"/>
                  </a:lnTo>
                  <a:lnTo>
                    <a:pt x="10" y="12"/>
                  </a:lnTo>
                  <a:lnTo>
                    <a:pt x="10" y="17"/>
                  </a:lnTo>
                  <a:lnTo>
                    <a:pt x="7" y="20"/>
                  </a:lnTo>
                  <a:lnTo>
                    <a:pt x="5" y="25"/>
                  </a:lnTo>
                  <a:lnTo>
                    <a:pt x="2" y="30"/>
                  </a:lnTo>
                  <a:lnTo>
                    <a:pt x="5" y="35"/>
                  </a:lnTo>
                  <a:lnTo>
                    <a:pt x="5" y="40"/>
                  </a:lnTo>
                  <a:lnTo>
                    <a:pt x="2" y="48"/>
                  </a:lnTo>
                  <a:lnTo>
                    <a:pt x="2" y="56"/>
                  </a:lnTo>
                  <a:lnTo>
                    <a:pt x="2" y="61"/>
                  </a:lnTo>
                  <a:lnTo>
                    <a:pt x="0" y="66"/>
                  </a:lnTo>
                  <a:lnTo>
                    <a:pt x="0" y="68"/>
                  </a:lnTo>
                  <a:lnTo>
                    <a:pt x="0" y="68"/>
                  </a:lnTo>
                  <a:lnTo>
                    <a:pt x="2" y="68"/>
                  </a:lnTo>
                  <a:lnTo>
                    <a:pt x="2" y="71"/>
                  </a:lnTo>
                  <a:lnTo>
                    <a:pt x="7" y="71"/>
                  </a:lnTo>
                  <a:lnTo>
                    <a:pt x="10" y="76"/>
                  </a:lnTo>
                  <a:lnTo>
                    <a:pt x="12" y="81"/>
                  </a:lnTo>
                  <a:lnTo>
                    <a:pt x="17" y="86"/>
                  </a:lnTo>
                  <a:lnTo>
                    <a:pt x="20" y="89"/>
                  </a:lnTo>
                  <a:lnTo>
                    <a:pt x="22" y="91"/>
                  </a:lnTo>
                  <a:lnTo>
                    <a:pt x="25" y="91"/>
                  </a:lnTo>
                  <a:lnTo>
                    <a:pt x="25" y="94"/>
                  </a:lnTo>
                  <a:lnTo>
                    <a:pt x="25" y="94"/>
                  </a:lnTo>
                  <a:lnTo>
                    <a:pt x="28" y="94"/>
                  </a:lnTo>
                  <a:lnTo>
                    <a:pt x="33" y="96"/>
                  </a:lnTo>
                  <a:lnTo>
                    <a:pt x="35" y="99"/>
                  </a:lnTo>
                  <a:lnTo>
                    <a:pt x="35" y="101"/>
                  </a:lnTo>
                  <a:lnTo>
                    <a:pt x="40" y="104"/>
                  </a:lnTo>
                  <a:lnTo>
                    <a:pt x="48" y="107"/>
                  </a:lnTo>
                  <a:lnTo>
                    <a:pt x="53" y="107"/>
                  </a:lnTo>
                  <a:lnTo>
                    <a:pt x="56" y="107"/>
                  </a:lnTo>
                  <a:lnTo>
                    <a:pt x="61" y="109"/>
                  </a:lnTo>
                  <a:lnTo>
                    <a:pt x="66" y="114"/>
                  </a:lnTo>
                  <a:lnTo>
                    <a:pt x="68" y="117"/>
                  </a:lnTo>
                  <a:lnTo>
                    <a:pt x="71" y="117"/>
                  </a:lnTo>
                  <a:lnTo>
                    <a:pt x="73" y="119"/>
                  </a:lnTo>
                  <a:lnTo>
                    <a:pt x="84" y="124"/>
                  </a:lnTo>
                  <a:lnTo>
                    <a:pt x="89" y="127"/>
                  </a:lnTo>
                  <a:lnTo>
                    <a:pt x="91" y="127"/>
                  </a:lnTo>
                  <a:lnTo>
                    <a:pt x="91" y="129"/>
                  </a:lnTo>
                  <a:lnTo>
                    <a:pt x="94" y="129"/>
                  </a:lnTo>
                  <a:lnTo>
                    <a:pt x="94" y="129"/>
                  </a:lnTo>
                  <a:lnTo>
                    <a:pt x="96" y="129"/>
                  </a:lnTo>
                  <a:lnTo>
                    <a:pt x="99" y="132"/>
                  </a:lnTo>
                  <a:lnTo>
                    <a:pt x="104" y="132"/>
                  </a:lnTo>
                  <a:lnTo>
                    <a:pt x="107" y="137"/>
                  </a:lnTo>
                  <a:lnTo>
                    <a:pt x="109" y="140"/>
                  </a:lnTo>
                  <a:lnTo>
                    <a:pt x="109" y="140"/>
                  </a:lnTo>
                  <a:lnTo>
                    <a:pt x="109" y="142"/>
                  </a:lnTo>
                  <a:lnTo>
                    <a:pt x="109" y="145"/>
                  </a:lnTo>
                  <a:lnTo>
                    <a:pt x="107" y="145"/>
                  </a:lnTo>
                  <a:lnTo>
                    <a:pt x="107" y="145"/>
                  </a:lnTo>
                  <a:lnTo>
                    <a:pt x="107" y="147"/>
                  </a:lnTo>
                  <a:lnTo>
                    <a:pt x="107" y="147"/>
                  </a:lnTo>
                  <a:lnTo>
                    <a:pt x="104" y="150"/>
                  </a:lnTo>
                  <a:lnTo>
                    <a:pt x="104" y="152"/>
                  </a:lnTo>
                  <a:lnTo>
                    <a:pt x="104" y="152"/>
                  </a:lnTo>
                  <a:lnTo>
                    <a:pt x="104" y="155"/>
                  </a:lnTo>
                  <a:lnTo>
                    <a:pt x="101" y="155"/>
                  </a:lnTo>
                  <a:lnTo>
                    <a:pt x="101" y="157"/>
                  </a:lnTo>
                  <a:lnTo>
                    <a:pt x="101" y="157"/>
                  </a:lnTo>
                  <a:lnTo>
                    <a:pt x="101" y="157"/>
                  </a:lnTo>
                  <a:lnTo>
                    <a:pt x="99" y="160"/>
                  </a:lnTo>
                  <a:lnTo>
                    <a:pt x="99" y="160"/>
                  </a:lnTo>
                  <a:lnTo>
                    <a:pt x="99" y="163"/>
                  </a:lnTo>
                  <a:lnTo>
                    <a:pt x="99" y="163"/>
                  </a:lnTo>
                  <a:lnTo>
                    <a:pt x="101" y="165"/>
                  </a:lnTo>
                  <a:lnTo>
                    <a:pt x="101" y="168"/>
                  </a:lnTo>
                  <a:lnTo>
                    <a:pt x="99" y="168"/>
                  </a:lnTo>
                  <a:lnTo>
                    <a:pt x="99" y="168"/>
                  </a:lnTo>
                  <a:lnTo>
                    <a:pt x="99" y="170"/>
                  </a:lnTo>
                  <a:lnTo>
                    <a:pt x="99" y="170"/>
                  </a:lnTo>
                  <a:lnTo>
                    <a:pt x="99" y="170"/>
                  </a:lnTo>
                  <a:lnTo>
                    <a:pt x="99" y="173"/>
                  </a:lnTo>
                  <a:lnTo>
                    <a:pt x="99" y="173"/>
                  </a:lnTo>
                  <a:lnTo>
                    <a:pt x="99" y="173"/>
                  </a:lnTo>
                  <a:lnTo>
                    <a:pt x="96" y="173"/>
                  </a:lnTo>
                  <a:lnTo>
                    <a:pt x="96" y="175"/>
                  </a:lnTo>
                  <a:lnTo>
                    <a:pt x="96" y="175"/>
                  </a:lnTo>
                  <a:lnTo>
                    <a:pt x="96" y="178"/>
                  </a:lnTo>
                  <a:lnTo>
                    <a:pt x="94" y="178"/>
                  </a:lnTo>
                  <a:lnTo>
                    <a:pt x="94" y="180"/>
                  </a:lnTo>
                  <a:lnTo>
                    <a:pt x="94" y="183"/>
                  </a:lnTo>
                  <a:lnTo>
                    <a:pt x="104" y="183"/>
                  </a:lnTo>
                  <a:lnTo>
                    <a:pt x="109" y="183"/>
                  </a:lnTo>
                  <a:lnTo>
                    <a:pt x="119" y="185"/>
                  </a:lnTo>
                  <a:lnTo>
                    <a:pt x="124" y="185"/>
                  </a:lnTo>
                  <a:lnTo>
                    <a:pt x="127" y="185"/>
                  </a:lnTo>
                  <a:lnTo>
                    <a:pt x="130" y="185"/>
                  </a:lnTo>
                  <a:lnTo>
                    <a:pt x="130" y="185"/>
                  </a:lnTo>
                  <a:lnTo>
                    <a:pt x="132" y="188"/>
                  </a:lnTo>
                  <a:lnTo>
                    <a:pt x="135" y="185"/>
                  </a:lnTo>
                  <a:lnTo>
                    <a:pt x="137" y="185"/>
                  </a:lnTo>
                  <a:lnTo>
                    <a:pt x="137" y="188"/>
                  </a:lnTo>
                  <a:lnTo>
                    <a:pt x="140" y="188"/>
                  </a:lnTo>
                  <a:lnTo>
                    <a:pt x="140" y="185"/>
                  </a:lnTo>
                  <a:lnTo>
                    <a:pt x="142" y="183"/>
                  </a:lnTo>
                  <a:lnTo>
                    <a:pt x="142" y="183"/>
                  </a:lnTo>
                  <a:lnTo>
                    <a:pt x="145" y="183"/>
                  </a:lnTo>
                  <a:lnTo>
                    <a:pt x="147" y="183"/>
                  </a:lnTo>
                  <a:lnTo>
                    <a:pt x="147" y="183"/>
                  </a:lnTo>
                  <a:lnTo>
                    <a:pt x="150" y="185"/>
                  </a:lnTo>
                  <a:lnTo>
                    <a:pt x="152" y="185"/>
                  </a:lnTo>
                  <a:lnTo>
                    <a:pt x="152" y="183"/>
                  </a:lnTo>
                  <a:lnTo>
                    <a:pt x="152" y="183"/>
                  </a:lnTo>
                  <a:lnTo>
                    <a:pt x="152" y="180"/>
                  </a:lnTo>
                  <a:lnTo>
                    <a:pt x="152" y="178"/>
                  </a:lnTo>
                  <a:lnTo>
                    <a:pt x="155" y="178"/>
                  </a:lnTo>
                  <a:lnTo>
                    <a:pt x="155" y="178"/>
                  </a:lnTo>
                  <a:lnTo>
                    <a:pt x="155" y="175"/>
                  </a:lnTo>
                  <a:lnTo>
                    <a:pt x="158" y="175"/>
                  </a:lnTo>
                  <a:lnTo>
                    <a:pt x="160" y="175"/>
                  </a:lnTo>
                  <a:lnTo>
                    <a:pt x="160" y="173"/>
                  </a:lnTo>
                  <a:lnTo>
                    <a:pt x="160" y="173"/>
                  </a:lnTo>
                  <a:lnTo>
                    <a:pt x="163" y="173"/>
                  </a:lnTo>
                  <a:lnTo>
                    <a:pt x="163" y="170"/>
                  </a:lnTo>
                  <a:lnTo>
                    <a:pt x="165" y="170"/>
                  </a:lnTo>
                  <a:lnTo>
                    <a:pt x="165" y="168"/>
                  </a:lnTo>
                  <a:lnTo>
                    <a:pt x="165" y="168"/>
                  </a:lnTo>
                  <a:lnTo>
                    <a:pt x="165" y="168"/>
                  </a:lnTo>
                  <a:lnTo>
                    <a:pt x="168" y="165"/>
                  </a:lnTo>
                  <a:lnTo>
                    <a:pt x="168" y="160"/>
                  </a:lnTo>
                  <a:lnTo>
                    <a:pt x="168" y="152"/>
                  </a:lnTo>
                  <a:lnTo>
                    <a:pt x="168" y="142"/>
                  </a:lnTo>
                  <a:lnTo>
                    <a:pt x="168" y="140"/>
                  </a:lnTo>
                  <a:lnTo>
                    <a:pt x="168" y="135"/>
                  </a:lnTo>
                  <a:lnTo>
                    <a:pt x="170" y="132"/>
                  </a:lnTo>
                  <a:lnTo>
                    <a:pt x="168" y="132"/>
                  </a:lnTo>
                  <a:lnTo>
                    <a:pt x="168" y="127"/>
                  </a:lnTo>
                  <a:lnTo>
                    <a:pt x="170" y="119"/>
                  </a:lnTo>
                  <a:lnTo>
                    <a:pt x="170" y="114"/>
                  </a:lnTo>
                  <a:lnTo>
                    <a:pt x="168" y="112"/>
                  </a:lnTo>
                  <a:lnTo>
                    <a:pt x="168" y="109"/>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229" name="Freeform 1848">
              <a:extLst>
                <a:ext uri="{FF2B5EF4-FFF2-40B4-BE49-F238E27FC236}">
                  <a16:creationId xmlns:a16="http://schemas.microsoft.com/office/drawing/2014/main" id="{772777B4-F228-D24A-9A27-A7853F3FD252}"/>
                </a:ext>
              </a:extLst>
            </p:cNvPr>
            <p:cNvSpPr>
              <a:spLocks noEditPoints="1"/>
            </p:cNvSpPr>
            <p:nvPr/>
          </p:nvSpPr>
          <p:spPr bwMode="auto">
            <a:xfrm>
              <a:off x="10227920" y="3851837"/>
              <a:ext cx="500535" cy="382762"/>
            </a:xfrm>
            <a:custGeom>
              <a:avLst/>
              <a:gdLst>
                <a:gd name="T0" fmla="*/ 249 w 306"/>
                <a:gd name="T1" fmla="*/ 234 h 234"/>
                <a:gd name="T2" fmla="*/ 260 w 306"/>
                <a:gd name="T3" fmla="*/ 226 h 234"/>
                <a:gd name="T4" fmla="*/ 201 w 306"/>
                <a:gd name="T5" fmla="*/ 195 h 234"/>
                <a:gd name="T6" fmla="*/ 204 w 306"/>
                <a:gd name="T7" fmla="*/ 201 h 234"/>
                <a:gd name="T8" fmla="*/ 199 w 306"/>
                <a:gd name="T9" fmla="*/ 188 h 234"/>
                <a:gd name="T10" fmla="*/ 188 w 306"/>
                <a:gd name="T11" fmla="*/ 188 h 234"/>
                <a:gd name="T12" fmla="*/ 239 w 306"/>
                <a:gd name="T13" fmla="*/ 178 h 234"/>
                <a:gd name="T14" fmla="*/ 234 w 306"/>
                <a:gd name="T15" fmla="*/ 178 h 234"/>
                <a:gd name="T16" fmla="*/ 51 w 306"/>
                <a:gd name="T17" fmla="*/ 165 h 234"/>
                <a:gd name="T18" fmla="*/ 204 w 306"/>
                <a:gd name="T19" fmla="*/ 167 h 234"/>
                <a:gd name="T20" fmla="*/ 53 w 306"/>
                <a:gd name="T21" fmla="*/ 160 h 234"/>
                <a:gd name="T22" fmla="*/ 145 w 306"/>
                <a:gd name="T23" fmla="*/ 101 h 234"/>
                <a:gd name="T24" fmla="*/ 290 w 306"/>
                <a:gd name="T25" fmla="*/ 101 h 234"/>
                <a:gd name="T26" fmla="*/ 283 w 306"/>
                <a:gd name="T27" fmla="*/ 104 h 234"/>
                <a:gd name="T28" fmla="*/ 298 w 306"/>
                <a:gd name="T29" fmla="*/ 124 h 234"/>
                <a:gd name="T30" fmla="*/ 130 w 306"/>
                <a:gd name="T31" fmla="*/ 94 h 234"/>
                <a:gd name="T32" fmla="*/ 280 w 306"/>
                <a:gd name="T33" fmla="*/ 86 h 234"/>
                <a:gd name="T34" fmla="*/ 107 w 306"/>
                <a:gd name="T35" fmla="*/ 73 h 234"/>
                <a:gd name="T36" fmla="*/ 237 w 306"/>
                <a:gd name="T37" fmla="*/ 71 h 234"/>
                <a:gd name="T38" fmla="*/ 219 w 306"/>
                <a:gd name="T39" fmla="*/ 66 h 234"/>
                <a:gd name="T40" fmla="*/ 206 w 306"/>
                <a:gd name="T41" fmla="*/ 91 h 234"/>
                <a:gd name="T42" fmla="*/ 188 w 306"/>
                <a:gd name="T43" fmla="*/ 86 h 234"/>
                <a:gd name="T44" fmla="*/ 173 w 306"/>
                <a:gd name="T45" fmla="*/ 96 h 234"/>
                <a:gd name="T46" fmla="*/ 155 w 306"/>
                <a:gd name="T47" fmla="*/ 101 h 234"/>
                <a:gd name="T48" fmla="*/ 181 w 306"/>
                <a:gd name="T49" fmla="*/ 111 h 234"/>
                <a:gd name="T50" fmla="*/ 211 w 306"/>
                <a:gd name="T51" fmla="*/ 104 h 234"/>
                <a:gd name="T52" fmla="*/ 229 w 306"/>
                <a:gd name="T53" fmla="*/ 89 h 234"/>
                <a:gd name="T54" fmla="*/ 244 w 306"/>
                <a:gd name="T55" fmla="*/ 40 h 234"/>
                <a:gd name="T56" fmla="*/ 229 w 306"/>
                <a:gd name="T57" fmla="*/ 33 h 234"/>
                <a:gd name="T58" fmla="*/ 183 w 306"/>
                <a:gd name="T59" fmla="*/ 201 h 234"/>
                <a:gd name="T60" fmla="*/ 181 w 306"/>
                <a:gd name="T61" fmla="*/ 190 h 234"/>
                <a:gd name="T62" fmla="*/ 163 w 306"/>
                <a:gd name="T63" fmla="*/ 175 h 234"/>
                <a:gd name="T64" fmla="*/ 145 w 306"/>
                <a:gd name="T65" fmla="*/ 155 h 234"/>
                <a:gd name="T66" fmla="*/ 125 w 306"/>
                <a:gd name="T67" fmla="*/ 124 h 234"/>
                <a:gd name="T68" fmla="*/ 140 w 306"/>
                <a:gd name="T69" fmla="*/ 109 h 234"/>
                <a:gd name="T70" fmla="*/ 102 w 306"/>
                <a:gd name="T71" fmla="*/ 91 h 234"/>
                <a:gd name="T72" fmla="*/ 79 w 306"/>
                <a:gd name="T73" fmla="*/ 58 h 234"/>
                <a:gd name="T74" fmla="*/ 58 w 306"/>
                <a:gd name="T75" fmla="*/ 48 h 234"/>
                <a:gd name="T76" fmla="*/ 12 w 306"/>
                <a:gd name="T77" fmla="*/ 28 h 234"/>
                <a:gd name="T78" fmla="*/ 7 w 306"/>
                <a:gd name="T79" fmla="*/ 61 h 234"/>
                <a:gd name="T80" fmla="*/ 5 w 306"/>
                <a:gd name="T81" fmla="*/ 114 h 234"/>
                <a:gd name="T82" fmla="*/ 2 w 306"/>
                <a:gd name="T83" fmla="*/ 157 h 234"/>
                <a:gd name="T84" fmla="*/ 15 w 306"/>
                <a:gd name="T85" fmla="*/ 178 h 234"/>
                <a:gd name="T86" fmla="*/ 48 w 306"/>
                <a:gd name="T87" fmla="*/ 173 h 234"/>
                <a:gd name="T88" fmla="*/ 30 w 306"/>
                <a:gd name="T89" fmla="*/ 157 h 234"/>
                <a:gd name="T90" fmla="*/ 40 w 306"/>
                <a:gd name="T91" fmla="*/ 157 h 234"/>
                <a:gd name="T92" fmla="*/ 61 w 306"/>
                <a:gd name="T93" fmla="*/ 152 h 234"/>
                <a:gd name="T94" fmla="*/ 69 w 306"/>
                <a:gd name="T95" fmla="*/ 145 h 234"/>
                <a:gd name="T96" fmla="*/ 81 w 306"/>
                <a:gd name="T97" fmla="*/ 145 h 234"/>
                <a:gd name="T98" fmla="*/ 104 w 306"/>
                <a:gd name="T99" fmla="*/ 152 h 234"/>
                <a:gd name="T100" fmla="*/ 119 w 306"/>
                <a:gd name="T101" fmla="*/ 175 h 234"/>
                <a:gd name="T102" fmla="*/ 137 w 306"/>
                <a:gd name="T103" fmla="*/ 198 h 234"/>
                <a:gd name="T104" fmla="*/ 165 w 306"/>
                <a:gd name="T105" fmla="*/ 203 h 234"/>
                <a:gd name="T106" fmla="*/ 191 w 306"/>
                <a:gd name="T107" fmla="*/ 208 h 234"/>
                <a:gd name="T108" fmla="*/ 237 w 306"/>
                <a:gd name="T109" fmla="*/ 48 h 234"/>
                <a:gd name="T110" fmla="*/ 206 w 306"/>
                <a:gd name="T111" fmla="*/ 28 h 234"/>
                <a:gd name="T112" fmla="*/ 229 w 306"/>
                <a:gd name="T113" fmla="*/ 48 h 234"/>
                <a:gd name="T114" fmla="*/ 244 w 306"/>
                <a:gd name="T115" fmla="*/ 73 h 234"/>
                <a:gd name="T116" fmla="*/ 191 w 306"/>
                <a:gd name="T117" fmla="*/ 25 h 234"/>
                <a:gd name="T118" fmla="*/ 191 w 306"/>
                <a:gd name="T119" fmla="*/ 25 h 234"/>
                <a:gd name="T120" fmla="*/ 125 w 306"/>
                <a:gd name="T121" fmla="*/ 20 h 234"/>
                <a:gd name="T122" fmla="*/ 140 w 306"/>
                <a:gd name="T123" fmla="*/ 15 h 234"/>
                <a:gd name="T124" fmla="*/ 122 w 306"/>
                <a:gd name="T125" fmla="*/ 20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06" h="234">
                  <a:moveTo>
                    <a:pt x="247" y="229"/>
                  </a:moveTo>
                  <a:lnTo>
                    <a:pt x="242" y="226"/>
                  </a:lnTo>
                  <a:lnTo>
                    <a:pt x="239" y="226"/>
                  </a:lnTo>
                  <a:lnTo>
                    <a:pt x="239" y="226"/>
                  </a:lnTo>
                  <a:lnTo>
                    <a:pt x="239" y="229"/>
                  </a:lnTo>
                  <a:lnTo>
                    <a:pt x="242" y="229"/>
                  </a:lnTo>
                  <a:lnTo>
                    <a:pt x="242" y="231"/>
                  </a:lnTo>
                  <a:lnTo>
                    <a:pt x="242" y="231"/>
                  </a:lnTo>
                  <a:lnTo>
                    <a:pt x="242" y="231"/>
                  </a:lnTo>
                  <a:lnTo>
                    <a:pt x="244" y="234"/>
                  </a:lnTo>
                  <a:lnTo>
                    <a:pt x="244" y="234"/>
                  </a:lnTo>
                  <a:lnTo>
                    <a:pt x="249" y="234"/>
                  </a:lnTo>
                  <a:lnTo>
                    <a:pt x="249" y="231"/>
                  </a:lnTo>
                  <a:lnTo>
                    <a:pt x="249" y="231"/>
                  </a:lnTo>
                  <a:lnTo>
                    <a:pt x="247" y="229"/>
                  </a:lnTo>
                  <a:close/>
                  <a:moveTo>
                    <a:pt x="257" y="226"/>
                  </a:moveTo>
                  <a:lnTo>
                    <a:pt x="257" y="229"/>
                  </a:lnTo>
                  <a:lnTo>
                    <a:pt x="255" y="226"/>
                  </a:lnTo>
                  <a:lnTo>
                    <a:pt x="257" y="229"/>
                  </a:lnTo>
                  <a:lnTo>
                    <a:pt x="257" y="229"/>
                  </a:lnTo>
                  <a:lnTo>
                    <a:pt x="257" y="229"/>
                  </a:lnTo>
                  <a:lnTo>
                    <a:pt x="260" y="229"/>
                  </a:lnTo>
                  <a:lnTo>
                    <a:pt x="260" y="229"/>
                  </a:lnTo>
                  <a:lnTo>
                    <a:pt x="260" y="226"/>
                  </a:lnTo>
                  <a:lnTo>
                    <a:pt x="260" y="226"/>
                  </a:lnTo>
                  <a:lnTo>
                    <a:pt x="257" y="226"/>
                  </a:lnTo>
                  <a:close/>
                  <a:moveTo>
                    <a:pt x="193" y="208"/>
                  </a:moveTo>
                  <a:lnTo>
                    <a:pt x="193" y="211"/>
                  </a:lnTo>
                  <a:lnTo>
                    <a:pt x="193" y="211"/>
                  </a:lnTo>
                  <a:lnTo>
                    <a:pt x="196" y="211"/>
                  </a:lnTo>
                  <a:lnTo>
                    <a:pt x="196" y="208"/>
                  </a:lnTo>
                  <a:lnTo>
                    <a:pt x="196" y="208"/>
                  </a:lnTo>
                  <a:lnTo>
                    <a:pt x="193" y="208"/>
                  </a:lnTo>
                  <a:close/>
                  <a:moveTo>
                    <a:pt x="204" y="195"/>
                  </a:moveTo>
                  <a:lnTo>
                    <a:pt x="201" y="195"/>
                  </a:lnTo>
                  <a:lnTo>
                    <a:pt x="201" y="195"/>
                  </a:lnTo>
                  <a:lnTo>
                    <a:pt x="199" y="195"/>
                  </a:lnTo>
                  <a:lnTo>
                    <a:pt x="201" y="195"/>
                  </a:lnTo>
                  <a:lnTo>
                    <a:pt x="196" y="193"/>
                  </a:lnTo>
                  <a:lnTo>
                    <a:pt x="196" y="190"/>
                  </a:lnTo>
                  <a:lnTo>
                    <a:pt x="196" y="190"/>
                  </a:lnTo>
                  <a:lnTo>
                    <a:pt x="196" y="190"/>
                  </a:lnTo>
                  <a:lnTo>
                    <a:pt x="196" y="193"/>
                  </a:lnTo>
                  <a:lnTo>
                    <a:pt x="196" y="195"/>
                  </a:lnTo>
                  <a:lnTo>
                    <a:pt x="199" y="195"/>
                  </a:lnTo>
                  <a:lnTo>
                    <a:pt x="199" y="198"/>
                  </a:lnTo>
                  <a:lnTo>
                    <a:pt x="201" y="201"/>
                  </a:lnTo>
                  <a:lnTo>
                    <a:pt x="204" y="201"/>
                  </a:lnTo>
                  <a:lnTo>
                    <a:pt x="204" y="195"/>
                  </a:lnTo>
                  <a:lnTo>
                    <a:pt x="204" y="195"/>
                  </a:lnTo>
                  <a:lnTo>
                    <a:pt x="204" y="195"/>
                  </a:lnTo>
                  <a:close/>
                  <a:moveTo>
                    <a:pt x="188" y="188"/>
                  </a:moveTo>
                  <a:lnTo>
                    <a:pt x="191" y="188"/>
                  </a:lnTo>
                  <a:lnTo>
                    <a:pt x="193" y="188"/>
                  </a:lnTo>
                  <a:lnTo>
                    <a:pt x="196" y="188"/>
                  </a:lnTo>
                  <a:lnTo>
                    <a:pt x="196" y="188"/>
                  </a:lnTo>
                  <a:lnTo>
                    <a:pt x="196" y="190"/>
                  </a:lnTo>
                  <a:lnTo>
                    <a:pt x="199" y="188"/>
                  </a:lnTo>
                  <a:lnTo>
                    <a:pt x="199" y="188"/>
                  </a:lnTo>
                  <a:lnTo>
                    <a:pt x="199" y="188"/>
                  </a:lnTo>
                  <a:lnTo>
                    <a:pt x="199" y="185"/>
                  </a:lnTo>
                  <a:lnTo>
                    <a:pt x="196" y="183"/>
                  </a:lnTo>
                  <a:lnTo>
                    <a:pt x="196" y="183"/>
                  </a:lnTo>
                  <a:lnTo>
                    <a:pt x="193" y="183"/>
                  </a:lnTo>
                  <a:lnTo>
                    <a:pt x="191" y="180"/>
                  </a:lnTo>
                  <a:lnTo>
                    <a:pt x="191" y="180"/>
                  </a:lnTo>
                  <a:lnTo>
                    <a:pt x="188" y="183"/>
                  </a:lnTo>
                  <a:lnTo>
                    <a:pt x="188" y="183"/>
                  </a:lnTo>
                  <a:lnTo>
                    <a:pt x="188" y="183"/>
                  </a:lnTo>
                  <a:lnTo>
                    <a:pt x="191" y="185"/>
                  </a:lnTo>
                  <a:lnTo>
                    <a:pt x="191" y="185"/>
                  </a:lnTo>
                  <a:lnTo>
                    <a:pt x="188" y="188"/>
                  </a:lnTo>
                  <a:close/>
                  <a:moveTo>
                    <a:pt x="186" y="185"/>
                  </a:moveTo>
                  <a:lnTo>
                    <a:pt x="186" y="185"/>
                  </a:lnTo>
                  <a:lnTo>
                    <a:pt x="188" y="183"/>
                  </a:lnTo>
                  <a:lnTo>
                    <a:pt x="188" y="180"/>
                  </a:lnTo>
                  <a:lnTo>
                    <a:pt x="186" y="180"/>
                  </a:lnTo>
                  <a:lnTo>
                    <a:pt x="186" y="178"/>
                  </a:lnTo>
                  <a:lnTo>
                    <a:pt x="183" y="180"/>
                  </a:lnTo>
                  <a:lnTo>
                    <a:pt x="183" y="183"/>
                  </a:lnTo>
                  <a:lnTo>
                    <a:pt x="186" y="185"/>
                  </a:lnTo>
                  <a:lnTo>
                    <a:pt x="186" y="185"/>
                  </a:lnTo>
                  <a:close/>
                  <a:moveTo>
                    <a:pt x="239" y="178"/>
                  </a:moveTo>
                  <a:lnTo>
                    <a:pt x="239" y="178"/>
                  </a:lnTo>
                  <a:lnTo>
                    <a:pt x="242" y="178"/>
                  </a:lnTo>
                  <a:lnTo>
                    <a:pt x="242" y="175"/>
                  </a:lnTo>
                  <a:lnTo>
                    <a:pt x="239" y="175"/>
                  </a:lnTo>
                  <a:lnTo>
                    <a:pt x="239" y="175"/>
                  </a:lnTo>
                  <a:lnTo>
                    <a:pt x="237" y="175"/>
                  </a:lnTo>
                  <a:lnTo>
                    <a:pt x="237" y="173"/>
                  </a:lnTo>
                  <a:lnTo>
                    <a:pt x="234" y="173"/>
                  </a:lnTo>
                  <a:lnTo>
                    <a:pt x="234" y="173"/>
                  </a:lnTo>
                  <a:lnTo>
                    <a:pt x="232" y="173"/>
                  </a:lnTo>
                  <a:lnTo>
                    <a:pt x="232" y="173"/>
                  </a:lnTo>
                  <a:lnTo>
                    <a:pt x="234" y="175"/>
                  </a:lnTo>
                  <a:lnTo>
                    <a:pt x="234" y="178"/>
                  </a:lnTo>
                  <a:lnTo>
                    <a:pt x="234" y="178"/>
                  </a:lnTo>
                  <a:lnTo>
                    <a:pt x="237" y="178"/>
                  </a:lnTo>
                  <a:lnTo>
                    <a:pt x="237" y="178"/>
                  </a:lnTo>
                  <a:lnTo>
                    <a:pt x="239" y="178"/>
                  </a:lnTo>
                  <a:lnTo>
                    <a:pt x="239" y="178"/>
                  </a:lnTo>
                  <a:lnTo>
                    <a:pt x="239" y="178"/>
                  </a:lnTo>
                  <a:close/>
                  <a:moveTo>
                    <a:pt x="51" y="162"/>
                  </a:moveTo>
                  <a:lnTo>
                    <a:pt x="48" y="162"/>
                  </a:lnTo>
                  <a:lnTo>
                    <a:pt x="46" y="160"/>
                  </a:lnTo>
                  <a:lnTo>
                    <a:pt x="46" y="162"/>
                  </a:lnTo>
                  <a:lnTo>
                    <a:pt x="48" y="162"/>
                  </a:lnTo>
                  <a:lnTo>
                    <a:pt x="51" y="165"/>
                  </a:lnTo>
                  <a:lnTo>
                    <a:pt x="53" y="167"/>
                  </a:lnTo>
                  <a:lnTo>
                    <a:pt x="53" y="165"/>
                  </a:lnTo>
                  <a:lnTo>
                    <a:pt x="51" y="162"/>
                  </a:lnTo>
                  <a:close/>
                  <a:moveTo>
                    <a:pt x="204" y="160"/>
                  </a:moveTo>
                  <a:lnTo>
                    <a:pt x="204" y="160"/>
                  </a:lnTo>
                  <a:lnTo>
                    <a:pt x="201" y="162"/>
                  </a:lnTo>
                  <a:lnTo>
                    <a:pt x="204" y="165"/>
                  </a:lnTo>
                  <a:lnTo>
                    <a:pt x="204" y="165"/>
                  </a:lnTo>
                  <a:lnTo>
                    <a:pt x="204" y="165"/>
                  </a:lnTo>
                  <a:lnTo>
                    <a:pt x="204" y="167"/>
                  </a:lnTo>
                  <a:lnTo>
                    <a:pt x="204" y="170"/>
                  </a:lnTo>
                  <a:lnTo>
                    <a:pt x="204" y="167"/>
                  </a:lnTo>
                  <a:lnTo>
                    <a:pt x="204" y="165"/>
                  </a:lnTo>
                  <a:lnTo>
                    <a:pt x="204" y="162"/>
                  </a:lnTo>
                  <a:lnTo>
                    <a:pt x="204" y="160"/>
                  </a:lnTo>
                  <a:lnTo>
                    <a:pt x="204" y="160"/>
                  </a:lnTo>
                  <a:close/>
                  <a:moveTo>
                    <a:pt x="53" y="160"/>
                  </a:moveTo>
                  <a:lnTo>
                    <a:pt x="48" y="160"/>
                  </a:lnTo>
                  <a:lnTo>
                    <a:pt x="48" y="160"/>
                  </a:lnTo>
                  <a:lnTo>
                    <a:pt x="53" y="162"/>
                  </a:lnTo>
                  <a:lnTo>
                    <a:pt x="53" y="162"/>
                  </a:lnTo>
                  <a:lnTo>
                    <a:pt x="53" y="162"/>
                  </a:lnTo>
                  <a:lnTo>
                    <a:pt x="53" y="160"/>
                  </a:lnTo>
                  <a:lnTo>
                    <a:pt x="53" y="160"/>
                  </a:lnTo>
                  <a:close/>
                  <a:moveTo>
                    <a:pt x="145" y="101"/>
                  </a:moveTo>
                  <a:lnTo>
                    <a:pt x="145" y="101"/>
                  </a:lnTo>
                  <a:lnTo>
                    <a:pt x="148" y="101"/>
                  </a:lnTo>
                  <a:lnTo>
                    <a:pt x="148" y="99"/>
                  </a:lnTo>
                  <a:lnTo>
                    <a:pt x="148" y="96"/>
                  </a:lnTo>
                  <a:lnTo>
                    <a:pt x="148" y="96"/>
                  </a:lnTo>
                  <a:lnTo>
                    <a:pt x="145" y="94"/>
                  </a:lnTo>
                  <a:lnTo>
                    <a:pt x="142" y="94"/>
                  </a:lnTo>
                  <a:lnTo>
                    <a:pt x="142" y="94"/>
                  </a:lnTo>
                  <a:lnTo>
                    <a:pt x="142" y="96"/>
                  </a:lnTo>
                  <a:lnTo>
                    <a:pt x="145" y="99"/>
                  </a:lnTo>
                  <a:lnTo>
                    <a:pt x="145" y="101"/>
                  </a:lnTo>
                  <a:close/>
                  <a:moveTo>
                    <a:pt x="306" y="119"/>
                  </a:moveTo>
                  <a:lnTo>
                    <a:pt x="303" y="117"/>
                  </a:lnTo>
                  <a:lnTo>
                    <a:pt x="303" y="114"/>
                  </a:lnTo>
                  <a:lnTo>
                    <a:pt x="300" y="111"/>
                  </a:lnTo>
                  <a:lnTo>
                    <a:pt x="298" y="111"/>
                  </a:lnTo>
                  <a:lnTo>
                    <a:pt x="298" y="109"/>
                  </a:lnTo>
                  <a:lnTo>
                    <a:pt x="298" y="109"/>
                  </a:lnTo>
                  <a:lnTo>
                    <a:pt x="295" y="109"/>
                  </a:lnTo>
                  <a:lnTo>
                    <a:pt x="295" y="104"/>
                  </a:lnTo>
                  <a:lnTo>
                    <a:pt x="293" y="104"/>
                  </a:lnTo>
                  <a:lnTo>
                    <a:pt x="290" y="101"/>
                  </a:lnTo>
                  <a:lnTo>
                    <a:pt x="290" y="101"/>
                  </a:lnTo>
                  <a:lnTo>
                    <a:pt x="290" y="101"/>
                  </a:lnTo>
                  <a:lnTo>
                    <a:pt x="290" y="96"/>
                  </a:lnTo>
                  <a:lnTo>
                    <a:pt x="288" y="94"/>
                  </a:lnTo>
                  <a:lnTo>
                    <a:pt x="285" y="94"/>
                  </a:lnTo>
                  <a:lnTo>
                    <a:pt x="283" y="94"/>
                  </a:lnTo>
                  <a:lnTo>
                    <a:pt x="283" y="94"/>
                  </a:lnTo>
                  <a:lnTo>
                    <a:pt x="283" y="94"/>
                  </a:lnTo>
                  <a:lnTo>
                    <a:pt x="283" y="96"/>
                  </a:lnTo>
                  <a:lnTo>
                    <a:pt x="280" y="99"/>
                  </a:lnTo>
                  <a:lnTo>
                    <a:pt x="280" y="101"/>
                  </a:lnTo>
                  <a:lnTo>
                    <a:pt x="283" y="104"/>
                  </a:lnTo>
                  <a:lnTo>
                    <a:pt x="283" y="104"/>
                  </a:lnTo>
                  <a:lnTo>
                    <a:pt x="285" y="106"/>
                  </a:lnTo>
                  <a:lnTo>
                    <a:pt x="285" y="109"/>
                  </a:lnTo>
                  <a:lnTo>
                    <a:pt x="288" y="109"/>
                  </a:lnTo>
                  <a:lnTo>
                    <a:pt x="288" y="111"/>
                  </a:lnTo>
                  <a:lnTo>
                    <a:pt x="290" y="111"/>
                  </a:lnTo>
                  <a:lnTo>
                    <a:pt x="290" y="114"/>
                  </a:lnTo>
                  <a:lnTo>
                    <a:pt x="290" y="117"/>
                  </a:lnTo>
                  <a:lnTo>
                    <a:pt x="290" y="119"/>
                  </a:lnTo>
                  <a:lnTo>
                    <a:pt x="293" y="122"/>
                  </a:lnTo>
                  <a:lnTo>
                    <a:pt x="293" y="124"/>
                  </a:lnTo>
                  <a:lnTo>
                    <a:pt x="295" y="124"/>
                  </a:lnTo>
                  <a:lnTo>
                    <a:pt x="298" y="124"/>
                  </a:lnTo>
                  <a:lnTo>
                    <a:pt x="300" y="124"/>
                  </a:lnTo>
                  <a:lnTo>
                    <a:pt x="300" y="124"/>
                  </a:lnTo>
                  <a:lnTo>
                    <a:pt x="300" y="124"/>
                  </a:lnTo>
                  <a:lnTo>
                    <a:pt x="303" y="122"/>
                  </a:lnTo>
                  <a:lnTo>
                    <a:pt x="303" y="124"/>
                  </a:lnTo>
                  <a:lnTo>
                    <a:pt x="303" y="124"/>
                  </a:lnTo>
                  <a:lnTo>
                    <a:pt x="306" y="122"/>
                  </a:lnTo>
                  <a:lnTo>
                    <a:pt x="306" y="119"/>
                  </a:lnTo>
                  <a:close/>
                  <a:moveTo>
                    <a:pt x="127" y="89"/>
                  </a:moveTo>
                  <a:lnTo>
                    <a:pt x="127" y="89"/>
                  </a:lnTo>
                  <a:lnTo>
                    <a:pt x="127" y="91"/>
                  </a:lnTo>
                  <a:lnTo>
                    <a:pt x="130" y="94"/>
                  </a:lnTo>
                  <a:lnTo>
                    <a:pt x="130" y="94"/>
                  </a:lnTo>
                  <a:lnTo>
                    <a:pt x="132" y="91"/>
                  </a:lnTo>
                  <a:lnTo>
                    <a:pt x="132" y="89"/>
                  </a:lnTo>
                  <a:lnTo>
                    <a:pt x="130" y="86"/>
                  </a:lnTo>
                  <a:lnTo>
                    <a:pt x="127" y="89"/>
                  </a:lnTo>
                  <a:close/>
                  <a:moveTo>
                    <a:pt x="283" y="89"/>
                  </a:moveTo>
                  <a:lnTo>
                    <a:pt x="283" y="86"/>
                  </a:lnTo>
                  <a:lnTo>
                    <a:pt x="283" y="84"/>
                  </a:lnTo>
                  <a:lnTo>
                    <a:pt x="280" y="84"/>
                  </a:lnTo>
                  <a:lnTo>
                    <a:pt x="280" y="84"/>
                  </a:lnTo>
                  <a:lnTo>
                    <a:pt x="278" y="86"/>
                  </a:lnTo>
                  <a:lnTo>
                    <a:pt x="280" y="86"/>
                  </a:lnTo>
                  <a:lnTo>
                    <a:pt x="280" y="89"/>
                  </a:lnTo>
                  <a:lnTo>
                    <a:pt x="280" y="89"/>
                  </a:lnTo>
                  <a:lnTo>
                    <a:pt x="280" y="94"/>
                  </a:lnTo>
                  <a:lnTo>
                    <a:pt x="280" y="94"/>
                  </a:lnTo>
                  <a:lnTo>
                    <a:pt x="283" y="91"/>
                  </a:lnTo>
                  <a:lnTo>
                    <a:pt x="283" y="89"/>
                  </a:lnTo>
                  <a:close/>
                  <a:moveTo>
                    <a:pt x="107" y="76"/>
                  </a:moveTo>
                  <a:lnTo>
                    <a:pt x="109" y="76"/>
                  </a:lnTo>
                  <a:lnTo>
                    <a:pt x="109" y="73"/>
                  </a:lnTo>
                  <a:lnTo>
                    <a:pt x="109" y="73"/>
                  </a:lnTo>
                  <a:lnTo>
                    <a:pt x="107" y="73"/>
                  </a:lnTo>
                  <a:lnTo>
                    <a:pt x="107" y="73"/>
                  </a:lnTo>
                  <a:lnTo>
                    <a:pt x="107" y="73"/>
                  </a:lnTo>
                  <a:lnTo>
                    <a:pt x="104" y="76"/>
                  </a:lnTo>
                  <a:lnTo>
                    <a:pt x="107" y="76"/>
                  </a:lnTo>
                  <a:lnTo>
                    <a:pt x="107" y="76"/>
                  </a:lnTo>
                  <a:close/>
                  <a:moveTo>
                    <a:pt x="232" y="84"/>
                  </a:moveTo>
                  <a:lnTo>
                    <a:pt x="232" y="81"/>
                  </a:lnTo>
                  <a:lnTo>
                    <a:pt x="234" y="81"/>
                  </a:lnTo>
                  <a:lnTo>
                    <a:pt x="234" y="78"/>
                  </a:lnTo>
                  <a:lnTo>
                    <a:pt x="237" y="76"/>
                  </a:lnTo>
                  <a:lnTo>
                    <a:pt x="237" y="73"/>
                  </a:lnTo>
                  <a:lnTo>
                    <a:pt x="237" y="73"/>
                  </a:lnTo>
                  <a:lnTo>
                    <a:pt x="237" y="71"/>
                  </a:lnTo>
                  <a:lnTo>
                    <a:pt x="237" y="68"/>
                  </a:lnTo>
                  <a:lnTo>
                    <a:pt x="234" y="68"/>
                  </a:lnTo>
                  <a:lnTo>
                    <a:pt x="232" y="66"/>
                  </a:lnTo>
                  <a:lnTo>
                    <a:pt x="232" y="66"/>
                  </a:lnTo>
                  <a:lnTo>
                    <a:pt x="229" y="68"/>
                  </a:lnTo>
                  <a:lnTo>
                    <a:pt x="227" y="66"/>
                  </a:lnTo>
                  <a:lnTo>
                    <a:pt x="227" y="66"/>
                  </a:lnTo>
                  <a:lnTo>
                    <a:pt x="224" y="66"/>
                  </a:lnTo>
                  <a:lnTo>
                    <a:pt x="224" y="66"/>
                  </a:lnTo>
                  <a:lnTo>
                    <a:pt x="221" y="66"/>
                  </a:lnTo>
                  <a:lnTo>
                    <a:pt x="219" y="66"/>
                  </a:lnTo>
                  <a:lnTo>
                    <a:pt x="219" y="66"/>
                  </a:lnTo>
                  <a:lnTo>
                    <a:pt x="219" y="68"/>
                  </a:lnTo>
                  <a:lnTo>
                    <a:pt x="221" y="73"/>
                  </a:lnTo>
                  <a:lnTo>
                    <a:pt x="221" y="78"/>
                  </a:lnTo>
                  <a:lnTo>
                    <a:pt x="221" y="81"/>
                  </a:lnTo>
                  <a:lnTo>
                    <a:pt x="219" y="81"/>
                  </a:lnTo>
                  <a:lnTo>
                    <a:pt x="216" y="81"/>
                  </a:lnTo>
                  <a:lnTo>
                    <a:pt x="216" y="81"/>
                  </a:lnTo>
                  <a:lnTo>
                    <a:pt x="214" y="81"/>
                  </a:lnTo>
                  <a:lnTo>
                    <a:pt x="211" y="86"/>
                  </a:lnTo>
                  <a:lnTo>
                    <a:pt x="209" y="86"/>
                  </a:lnTo>
                  <a:lnTo>
                    <a:pt x="209" y="91"/>
                  </a:lnTo>
                  <a:lnTo>
                    <a:pt x="206" y="91"/>
                  </a:lnTo>
                  <a:lnTo>
                    <a:pt x="206" y="94"/>
                  </a:lnTo>
                  <a:lnTo>
                    <a:pt x="204" y="94"/>
                  </a:lnTo>
                  <a:lnTo>
                    <a:pt x="204" y="94"/>
                  </a:lnTo>
                  <a:lnTo>
                    <a:pt x="201" y="94"/>
                  </a:lnTo>
                  <a:lnTo>
                    <a:pt x="199" y="94"/>
                  </a:lnTo>
                  <a:lnTo>
                    <a:pt x="199" y="94"/>
                  </a:lnTo>
                  <a:lnTo>
                    <a:pt x="196" y="94"/>
                  </a:lnTo>
                  <a:lnTo>
                    <a:pt x="193" y="94"/>
                  </a:lnTo>
                  <a:lnTo>
                    <a:pt x="191" y="94"/>
                  </a:lnTo>
                  <a:lnTo>
                    <a:pt x="188" y="94"/>
                  </a:lnTo>
                  <a:lnTo>
                    <a:pt x="188" y="89"/>
                  </a:lnTo>
                  <a:lnTo>
                    <a:pt x="188" y="86"/>
                  </a:lnTo>
                  <a:lnTo>
                    <a:pt x="191" y="86"/>
                  </a:lnTo>
                  <a:lnTo>
                    <a:pt x="191" y="84"/>
                  </a:lnTo>
                  <a:lnTo>
                    <a:pt x="191" y="84"/>
                  </a:lnTo>
                  <a:lnTo>
                    <a:pt x="188" y="84"/>
                  </a:lnTo>
                  <a:lnTo>
                    <a:pt x="188" y="84"/>
                  </a:lnTo>
                  <a:lnTo>
                    <a:pt x="188" y="86"/>
                  </a:lnTo>
                  <a:lnTo>
                    <a:pt x="186" y="94"/>
                  </a:lnTo>
                  <a:lnTo>
                    <a:pt x="183" y="94"/>
                  </a:lnTo>
                  <a:lnTo>
                    <a:pt x="181" y="94"/>
                  </a:lnTo>
                  <a:lnTo>
                    <a:pt x="181" y="94"/>
                  </a:lnTo>
                  <a:lnTo>
                    <a:pt x="176" y="96"/>
                  </a:lnTo>
                  <a:lnTo>
                    <a:pt x="173" y="96"/>
                  </a:lnTo>
                  <a:lnTo>
                    <a:pt x="170" y="96"/>
                  </a:lnTo>
                  <a:lnTo>
                    <a:pt x="170" y="94"/>
                  </a:lnTo>
                  <a:lnTo>
                    <a:pt x="168" y="94"/>
                  </a:lnTo>
                  <a:lnTo>
                    <a:pt x="163" y="94"/>
                  </a:lnTo>
                  <a:lnTo>
                    <a:pt x="160" y="94"/>
                  </a:lnTo>
                  <a:lnTo>
                    <a:pt x="160" y="94"/>
                  </a:lnTo>
                  <a:lnTo>
                    <a:pt x="160" y="94"/>
                  </a:lnTo>
                  <a:lnTo>
                    <a:pt x="158" y="94"/>
                  </a:lnTo>
                  <a:lnTo>
                    <a:pt x="155" y="94"/>
                  </a:lnTo>
                  <a:lnTo>
                    <a:pt x="153" y="96"/>
                  </a:lnTo>
                  <a:lnTo>
                    <a:pt x="153" y="99"/>
                  </a:lnTo>
                  <a:lnTo>
                    <a:pt x="155" y="101"/>
                  </a:lnTo>
                  <a:lnTo>
                    <a:pt x="158" y="101"/>
                  </a:lnTo>
                  <a:lnTo>
                    <a:pt x="158" y="101"/>
                  </a:lnTo>
                  <a:lnTo>
                    <a:pt x="160" y="101"/>
                  </a:lnTo>
                  <a:lnTo>
                    <a:pt x="163" y="104"/>
                  </a:lnTo>
                  <a:lnTo>
                    <a:pt x="168" y="109"/>
                  </a:lnTo>
                  <a:lnTo>
                    <a:pt x="168" y="109"/>
                  </a:lnTo>
                  <a:lnTo>
                    <a:pt x="170" y="106"/>
                  </a:lnTo>
                  <a:lnTo>
                    <a:pt x="173" y="106"/>
                  </a:lnTo>
                  <a:lnTo>
                    <a:pt x="176" y="109"/>
                  </a:lnTo>
                  <a:lnTo>
                    <a:pt x="178" y="111"/>
                  </a:lnTo>
                  <a:lnTo>
                    <a:pt x="178" y="111"/>
                  </a:lnTo>
                  <a:lnTo>
                    <a:pt x="181" y="111"/>
                  </a:lnTo>
                  <a:lnTo>
                    <a:pt x="183" y="111"/>
                  </a:lnTo>
                  <a:lnTo>
                    <a:pt x="191" y="111"/>
                  </a:lnTo>
                  <a:lnTo>
                    <a:pt x="193" y="111"/>
                  </a:lnTo>
                  <a:lnTo>
                    <a:pt x="196" y="111"/>
                  </a:lnTo>
                  <a:lnTo>
                    <a:pt x="199" y="109"/>
                  </a:lnTo>
                  <a:lnTo>
                    <a:pt x="201" y="109"/>
                  </a:lnTo>
                  <a:lnTo>
                    <a:pt x="201" y="109"/>
                  </a:lnTo>
                  <a:lnTo>
                    <a:pt x="204" y="106"/>
                  </a:lnTo>
                  <a:lnTo>
                    <a:pt x="204" y="106"/>
                  </a:lnTo>
                  <a:lnTo>
                    <a:pt x="206" y="106"/>
                  </a:lnTo>
                  <a:lnTo>
                    <a:pt x="209" y="106"/>
                  </a:lnTo>
                  <a:lnTo>
                    <a:pt x="211" y="104"/>
                  </a:lnTo>
                  <a:lnTo>
                    <a:pt x="214" y="101"/>
                  </a:lnTo>
                  <a:lnTo>
                    <a:pt x="216" y="99"/>
                  </a:lnTo>
                  <a:lnTo>
                    <a:pt x="216" y="99"/>
                  </a:lnTo>
                  <a:lnTo>
                    <a:pt x="216" y="99"/>
                  </a:lnTo>
                  <a:lnTo>
                    <a:pt x="216" y="96"/>
                  </a:lnTo>
                  <a:lnTo>
                    <a:pt x="216" y="96"/>
                  </a:lnTo>
                  <a:lnTo>
                    <a:pt x="221" y="96"/>
                  </a:lnTo>
                  <a:lnTo>
                    <a:pt x="224" y="96"/>
                  </a:lnTo>
                  <a:lnTo>
                    <a:pt x="227" y="94"/>
                  </a:lnTo>
                  <a:lnTo>
                    <a:pt x="229" y="94"/>
                  </a:lnTo>
                  <a:lnTo>
                    <a:pt x="229" y="91"/>
                  </a:lnTo>
                  <a:lnTo>
                    <a:pt x="229" y="89"/>
                  </a:lnTo>
                  <a:lnTo>
                    <a:pt x="227" y="86"/>
                  </a:lnTo>
                  <a:lnTo>
                    <a:pt x="227" y="84"/>
                  </a:lnTo>
                  <a:lnTo>
                    <a:pt x="229" y="84"/>
                  </a:lnTo>
                  <a:lnTo>
                    <a:pt x="232" y="84"/>
                  </a:lnTo>
                  <a:close/>
                  <a:moveTo>
                    <a:pt x="262" y="63"/>
                  </a:moveTo>
                  <a:lnTo>
                    <a:pt x="262" y="63"/>
                  </a:lnTo>
                  <a:lnTo>
                    <a:pt x="262" y="63"/>
                  </a:lnTo>
                  <a:lnTo>
                    <a:pt x="262" y="61"/>
                  </a:lnTo>
                  <a:lnTo>
                    <a:pt x="262" y="61"/>
                  </a:lnTo>
                  <a:lnTo>
                    <a:pt x="262" y="63"/>
                  </a:lnTo>
                  <a:close/>
                  <a:moveTo>
                    <a:pt x="242" y="43"/>
                  </a:moveTo>
                  <a:lnTo>
                    <a:pt x="244" y="40"/>
                  </a:lnTo>
                  <a:lnTo>
                    <a:pt x="242" y="38"/>
                  </a:lnTo>
                  <a:lnTo>
                    <a:pt x="242" y="38"/>
                  </a:lnTo>
                  <a:lnTo>
                    <a:pt x="242" y="40"/>
                  </a:lnTo>
                  <a:lnTo>
                    <a:pt x="242" y="40"/>
                  </a:lnTo>
                  <a:lnTo>
                    <a:pt x="242" y="43"/>
                  </a:lnTo>
                  <a:close/>
                  <a:moveTo>
                    <a:pt x="229" y="35"/>
                  </a:moveTo>
                  <a:lnTo>
                    <a:pt x="229" y="35"/>
                  </a:lnTo>
                  <a:lnTo>
                    <a:pt x="232" y="38"/>
                  </a:lnTo>
                  <a:lnTo>
                    <a:pt x="232" y="38"/>
                  </a:lnTo>
                  <a:lnTo>
                    <a:pt x="232" y="35"/>
                  </a:lnTo>
                  <a:lnTo>
                    <a:pt x="232" y="35"/>
                  </a:lnTo>
                  <a:lnTo>
                    <a:pt x="229" y="33"/>
                  </a:lnTo>
                  <a:lnTo>
                    <a:pt x="229" y="35"/>
                  </a:lnTo>
                  <a:close/>
                  <a:moveTo>
                    <a:pt x="232" y="33"/>
                  </a:moveTo>
                  <a:lnTo>
                    <a:pt x="232" y="30"/>
                  </a:lnTo>
                  <a:lnTo>
                    <a:pt x="229" y="30"/>
                  </a:lnTo>
                  <a:lnTo>
                    <a:pt x="229" y="33"/>
                  </a:lnTo>
                  <a:lnTo>
                    <a:pt x="229" y="33"/>
                  </a:lnTo>
                  <a:lnTo>
                    <a:pt x="229" y="33"/>
                  </a:lnTo>
                  <a:lnTo>
                    <a:pt x="232" y="33"/>
                  </a:lnTo>
                  <a:close/>
                  <a:moveTo>
                    <a:pt x="191" y="203"/>
                  </a:moveTo>
                  <a:lnTo>
                    <a:pt x="188" y="201"/>
                  </a:lnTo>
                  <a:lnTo>
                    <a:pt x="186" y="201"/>
                  </a:lnTo>
                  <a:lnTo>
                    <a:pt x="183" y="201"/>
                  </a:lnTo>
                  <a:lnTo>
                    <a:pt x="183" y="198"/>
                  </a:lnTo>
                  <a:lnTo>
                    <a:pt x="181" y="198"/>
                  </a:lnTo>
                  <a:lnTo>
                    <a:pt x="178" y="198"/>
                  </a:lnTo>
                  <a:lnTo>
                    <a:pt x="178" y="198"/>
                  </a:lnTo>
                  <a:lnTo>
                    <a:pt x="176" y="195"/>
                  </a:lnTo>
                  <a:lnTo>
                    <a:pt x="176" y="195"/>
                  </a:lnTo>
                  <a:lnTo>
                    <a:pt x="173" y="193"/>
                  </a:lnTo>
                  <a:lnTo>
                    <a:pt x="176" y="193"/>
                  </a:lnTo>
                  <a:lnTo>
                    <a:pt x="176" y="190"/>
                  </a:lnTo>
                  <a:lnTo>
                    <a:pt x="178" y="190"/>
                  </a:lnTo>
                  <a:lnTo>
                    <a:pt x="178" y="190"/>
                  </a:lnTo>
                  <a:lnTo>
                    <a:pt x="181" y="190"/>
                  </a:lnTo>
                  <a:lnTo>
                    <a:pt x="178" y="188"/>
                  </a:lnTo>
                  <a:lnTo>
                    <a:pt x="178" y="188"/>
                  </a:lnTo>
                  <a:lnTo>
                    <a:pt x="176" y="188"/>
                  </a:lnTo>
                  <a:lnTo>
                    <a:pt x="168" y="188"/>
                  </a:lnTo>
                  <a:lnTo>
                    <a:pt x="168" y="185"/>
                  </a:lnTo>
                  <a:lnTo>
                    <a:pt x="165" y="185"/>
                  </a:lnTo>
                  <a:lnTo>
                    <a:pt x="165" y="183"/>
                  </a:lnTo>
                  <a:lnTo>
                    <a:pt x="165" y="180"/>
                  </a:lnTo>
                  <a:lnTo>
                    <a:pt x="165" y="178"/>
                  </a:lnTo>
                  <a:lnTo>
                    <a:pt x="165" y="175"/>
                  </a:lnTo>
                  <a:lnTo>
                    <a:pt x="165" y="175"/>
                  </a:lnTo>
                  <a:lnTo>
                    <a:pt x="163" y="175"/>
                  </a:lnTo>
                  <a:lnTo>
                    <a:pt x="163" y="175"/>
                  </a:lnTo>
                  <a:lnTo>
                    <a:pt x="158" y="175"/>
                  </a:lnTo>
                  <a:lnTo>
                    <a:pt x="155" y="175"/>
                  </a:lnTo>
                  <a:lnTo>
                    <a:pt x="153" y="175"/>
                  </a:lnTo>
                  <a:lnTo>
                    <a:pt x="153" y="173"/>
                  </a:lnTo>
                  <a:lnTo>
                    <a:pt x="150" y="167"/>
                  </a:lnTo>
                  <a:lnTo>
                    <a:pt x="150" y="165"/>
                  </a:lnTo>
                  <a:lnTo>
                    <a:pt x="148" y="162"/>
                  </a:lnTo>
                  <a:lnTo>
                    <a:pt x="148" y="162"/>
                  </a:lnTo>
                  <a:lnTo>
                    <a:pt x="148" y="162"/>
                  </a:lnTo>
                  <a:lnTo>
                    <a:pt x="148" y="157"/>
                  </a:lnTo>
                  <a:lnTo>
                    <a:pt x="145" y="155"/>
                  </a:lnTo>
                  <a:lnTo>
                    <a:pt x="145" y="152"/>
                  </a:lnTo>
                  <a:lnTo>
                    <a:pt x="142" y="150"/>
                  </a:lnTo>
                  <a:lnTo>
                    <a:pt x="140" y="150"/>
                  </a:lnTo>
                  <a:lnTo>
                    <a:pt x="137" y="147"/>
                  </a:lnTo>
                  <a:lnTo>
                    <a:pt x="135" y="145"/>
                  </a:lnTo>
                  <a:lnTo>
                    <a:pt x="132" y="142"/>
                  </a:lnTo>
                  <a:lnTo>
                    <a:pt x="130" y="139"/>
                  </a:lnTo>
                  <a:lnTo>
                    <a:pt x="130" y="139"/>
                  </a:lnTo>
                  <a:lnTo>
                    <a:pt x="127" y="137"/>
                  </a:lnTo>
                  <a:lnTo>
                    <a:pt x="127" y="132"/>
                  </a:lnTo>
                  <a:lnTo>
                    <a:pt x="125" y="127"/>
                  </a:lnTo>
                  <a:lnTo>
                    <a:pt x="125" y="124"/>
                  </a:lnTo>
                  <a:lnTo>
                    <a:pt x="125" y="124"/>
                  </a:lnTo>
                  <a:lnTo>
                    <a:pt x="127" y="122"/>
                  </a:lnTo>
                  <a:lnTo>
                    <a:pt x="132" y="122"/>
                  </a:lnTo>
                  <a:lnTo>
                    <a:pt x="140" y="122"/>
                  </a:lnTo>
                  <a:lnTo>
                    <a:pt x="142" y="122"/>
                  </a:lnTo>
                  <a:lnTo>
                    <a:pt x="142" y="122"/>
                  </a:lnTo>
                  <a:lnTo>
                    <a:pt x="142" y="119"/>
                  </a:lnTo>
                  <a:lnTo>
                    <a:pt x="142" y="114"/>
                  </a:lnTo>
                  <a:lnTo>
                    <a:pt x="142" y="111"/>
                  </a:lnTo>
                  <a:lnTo>
                    <a:pt x="140" y="111"/>
                  </a:lnTo>
                  <a:lnTo>
                    <a:pt x="140" y="111"/>
                  </a:lnTo>
                  <a:lnTo>
                    <a:pt x="140" y="109"/>
                  </a:lnTo>
                  <a:lnTo>
                    <a:pt x="137" y="106"/>
                  </a:lnTo>
                  <a:lnTo>
                    <a:pt x="137" y="106"/>
                  </a:lnTo>
                  <a:lnTo>
                    <a:pt x="135" y="104"/>
                  </a:lnTo>
                  <a:lnTo>
                    <a:pt x="135" y="104"/>
                  </a:lnTo>
                  <a:lnTo>
                    <a:pt x="132" y="104"/>
                  </a:lnTo>
                  <a:lnTo>
                    <a:pt x="130" y="104"/>
                  </a:lnTo>
                  <a:lnTo>
                    <a:pt x="127" y="104"/>
                  </a:lnTo>
                  <a:lnTo>
                    <a:pt x="114" y="96"/>
                  </a:lnTo>
                  <a:lnTo>
                    <a:pt x="112" y="96"/>
                  </a:lnTo>
                  <a:lnTo>
                    <a:pt x="107" y="94"/>
                  </a:lnTo>
                  <a:lnTo>
                    <a:pt x="104" y="94"/>
                  </a:lnTo>
                  <a:lnTo>
                    <a:pt x="102" y="91"/>
                  </a:lnTo>
                  <a:lnTo>
                    <a:pt x="104" y="86"/>
                  </a:lnTo>
                  <a:lnTo>
                    <a:pt x="104" y="81"/>
                  </a:lnTo>
                  <a:lnTo>
                    <a:pt x="102" y="78"/>
                  </a:lnTo>
                  <a:lnTo>
                    <a:pt x="94" y="68"/>
                  </a:lnTo>
                  <a:lnTo>
                    <a:pt x="91" y="68"/>
                  </a:lnTo>
                  <a:lnTo>
                    <a:pt x="89" y="68"/>
                  </a:lnTo>
                  <a:lnTo>
                    <a:pt x="89" y="66"/>
                  </a:lnTo>
                  <a:lnTo>
                    <a:pt x="86" y="63"/>
                  </a:lnTo>
                  <a:lnTo>
                    <a:pt x="86" y="63"/>
                  </a:lnTo>
                  <a:lnTo>
                    <a:pt x="84" y="61"/>
                  </a:lnTo>
                  <a:lnTo>
                    <a:pt x="81" y="61"/>
                  </a:lnTo>
                  <a:lnTo>
                    <a:pt x="79" y="58"/>
                  </a:lnTo>
                  <a:lnTo>
                    <a:pt x="79" y="56"/>
                  </a:lnTo>
                  <a:lnTo>
                    <a:pt x="79" y="56"/>
                  </a:lnTo>
                  <a:lnTo>
                    <a:pt x="76" y="56"/>
                  </a:lnTo>
                  <a:lnTo>
                    <a:pt x="76" y="56"/>
                  </a:lnTo>
                  <a:lnTo>
                    <a:pt x="74" y="56"/>
                  </a:lnTo>
                  <a:lnTo>
                    <a:pt x="71" y="56"/>
                  </a:lnTo>
                  <a:lnTo>
                    <a:pt x="71" y="56"/>
                  </a:lnTo>
                  <a:lnTo>
                    <a:pt x="69" y="56"/>
                  </a:lnTo>
                  <a:lnTo>
                    <a:pt x="66" y="53"/>
                  </a:lnTo>
                  <a:lnTo>
                    <a:pt x="66" y="50"/>
                  </a:lnTo>
                  <a:lnTo>
                    <a:pt x="63" y="50"/>
                  </a:lnTo>
                  <a:lnTo>
                    <a:pt x="58" y="48"/>
                  </a:lnTo>
                  <a:lnTo>
                    <a:pt x="56" y="45"/>
                  </a:lnTo>
                  <a:lnTo>
                    <a:pt x="51" y="45"/>
                  </a:lnTo>
                  <a:lnTo>
                    <a:pt x="48" y="45"/>
                  </a:lnTo>
                  <a:lnTo>
                    <a:pt x="48" y="45"/>
                  </a:lnTo>
                  <a:lnTo>
                    <a:pt x="40" y="43"/>
                  </a:lnTo>
                  <a:lnTo>
                    <a:pt x="33" y="40"/>
                  </a:lnTo>
                  <a:lnTo>
                    <a:pt x="28" y="35"/>
                  </a:lnTo>
                  <a:lnTo>
                    <a:pt x="28" y="35"/>
                  </a:lnTo>
                  <a:lnTo>
                    <a:pt x="28" y="35"/>
                  </a:lnTo>
                  <a:lnTo>
                    <a:pt x="25" y="35"/>
                  </a:lnTo>
                  <a:lnTo>
                    <a:pt x="23" y="33"/>
                  </a:lnTo>
                  <a:lnTo>
                    <a:pt x="12" y="28"/>
                  </a:lnTo>
                  <a:lnTo>
                    <a:pt x="12" y="28"/>
                  </a:lnTo>
                  <a:lnTo>
                    <a:pt x="10" y="28"/>
                  </a:lnTo>
                  <a:lnTo>
                    <a:pt x="10" y="28"/>
                  </a:lnTo>
                  <a:lnTo>
                    <a:pt x="10" y="28"/>
                  </a:lnTo>
                  <a:lnTo>
                    <a:pt x="10" y="30"/>
                  </a:lnTo>
                  <a:lnTo>
                    <a:pt x="10" y="33"/>
                  </a:lnTo>
                  <a:lnTo>
                    <a:pt x="10" y="38"/>
                  </a:lnTo>
                  <a:lnTo>
                    <a:pt x="7" y="43"/>
                  </a:lnTo>
                  <a:lnTo>
                    <a:pt x="7" y="48"/>
                  </a:lnTo>
                  <a:lnTo>
                    <a:pt x="7" y="50"/>
                  </a:lnTo>
                  <a:lnTo>
                    <a:pt x="7" y="56"/>
                  </a:lnTo>
                  <a:lnTo>
                    <a:pt x="7" y="61"/>
                  </a:lnTo>
                  <a:lnTo>
                    <a:pt x="7" y="66"/>
                  </a:lnTo>
                  <a:lnTo>
                    <a:pt x="7" y="71"/>
                  </a:lnTo>
                  <a:lnTo>
                    <a:pt x="7" y="73"/>
                  </a:lnTo>
                  <a:lnTo>
                    <a:pt x="7" y="78"/>
                  </a:lnTo>
                  <a:lnTo>
                    <a:pt x="7" y="84"/>
                  </a:lnTo>
                  <a:lnTo>
                    <a:pt x="7" y="89"/>
                  </a:lnTo>
                  <a:lnTo>
                    <a:pt x="5" y="94"/>
                  </a:lnTo>
                  <a:lnTo>
                    <a:pt x="5" y="96"/>
                  </a:lnTo>
                  <a:lnTo>
                    <a:pt x="5" y="101"/>
                  </a:lnTo>
                  <a:lnTo>
                    <a:pt x="5" y="106"/>
                  </a:lnTo>
                  <a:lnTo>
                    <a:pt x="5" y="111"/>
                  </a:lnTo>
                  <a:lnTo>
                    <a:pt x="5" y="114"/>
                  </a:lnTo>
                  <a:lnTo>
                    <a:pt x="5" y="117"/>
                  </a:lnTo>
                  <a:lnTo>
                    <a:pt x="2" y="119"/>
                  </a:lnTo>
                  <a:lnTo>
                    <a:pt x="2" y="122"/>
                  </a:lnTo>
                  <a:lnTo>
                    <a:pt x="2" y="124"/>
                  </a:lnTo>
                  <a:lnTo>
                    <a:pt x="5" y="127"/>
                  </a:lnTo>
                  <a:lnTo>
                    <a:pt x="5" y="129"/>
                  </a:lnTo>
                  <a:lnTo>
                    <a:pt x="2" y="134"/>
                  </a:lnTo>
                  <a:lnTo>
                    <a:pt x="2" y="139"/>
                  </a:lnTo>
                  <a:lnTo>
                    <a:pt x="2" y="145"/>
                  </a:lnTo>
                  <a:lnTo>
                    <a:pt x="2" y="147"/>
                  </a:lnTo>
                  <a:lnTo>
                    <a:pt x="2" y="152"/>
                  </a:lnTo>
                  <a:lnTo>
                    <a:pt x="2" y="157"/>
                  </a:lnTo>
                  <a:lnTo>
                    <a:pt x="2" y="162"/>
                  </a:lnTo>
                  <a:lnTo>
                    <a:pt x="0" y="167"/>
                  </a:lnTo>
                  <a:lnTo>
                    <a:pt x="0" y="173"/>
                  </a:lnTo>
                  <a:lnTo>
                    <a:pt x="0" y="175"/>
                  </a:lnTo>
                  <a:lnTo>
                    <a:pt x="0" y="175"/>
                  </a:lnTo>
                  <a:lnTo>
                    <a:pt x="2" y="178"/>
                  </a:lnTo>
                  <a:lnTo>
                    <a:pt x="5" y="178"/>
                  </a:lnTo>
                  <a:lnTo>
                    <a:pt x="7" y="178"/>
                  </a:lnTo>
                  <a:lnTo>
                    <a:pt x="7" y="178"/>
                  </a:lnTo>
                  <a:lnTo>
                    <a:pt x="10" y="178"/>
                  </a:lnTo>
                  <a:lnTo>
                    <a:pt x="12" y="178"/>
                  </a:lnTo>
                  <a:lnTo>
                    <a:pt x="15" y="178"/>
                  </a:lnTo>
                  <a:lnTo>
                    <a:pt x="20" y="178"/>
                  </a:lnTo>
                  <a:lnTo>
                    <a:pt x="25" y="178"/>
                  </a:lnTo>
                  <a:lnTo>
                    <a:pt x="25" y="178"/>
                  </a:lnTo>
                  <a:lnTo>
                    <a:pt x="28" y="178"/>
                  </a:lnTo>
                  <a:lnTo>
                    <a:pt x="28" y="178"/>
                  </a:lnTo>
                  <a:lnTo>
                    <a:pt x="30" y="180"/>
                  </a:lnTo>
                  <a:lnTo>
                    <a:pt x="33" y="180"/>
                  </a:lnTo>
                  <a:lnTo>
                    <a:pt x="38" y="178"/>
                  </a:lnTo>
                  <a:lnTo>
                    <a:pt x="43" y="175"/>
                  </a:lnTo>
                  <a:lnTo>
                    <a:pt x="46" y="175"/>
                  </a:lnTo>
                  <a:lnTo>
                    <a:pt x="48" y="173"/>
                  </a:lnTo>
                  <a:lnTo>
                    <a:pt x="48" y="173"/>
                  </a:lnTo>
                  <a:lnTo>
                    <a:pt x="48" y="170"/>
                  </a:lnTo>
                  <a:lnTo>
                    <a:pt x="48" y="167"/>
                  </a:lnTo>
                  <a:lnTo>
                    <a:pt x="48" y="165"/>
                  </a:lnTo>
                  <a:lnTo>
                    <a:pt x="46" y="165"/>
                  </a:lnTo>
                  <a:lnTo>
                    <a:pt x="43" y="162"/>
                  </a:lnTo>
                  <a:lnTo>
                    <a:pt x="43" y="162"/>
                  </a:lnTo>
                  <a:lnTo>
                    <a:pt x="43" y="160"/>
                  </a:lnTo>
                  <a:lnTo>
                    <a:pt x="38" y="160"/>
                  </a:lnTo>
                  <a:lnTo>
                    <a:pt x="33" y="157"/>
                  </a:lnTo>
                  <a:lnTo>
                    <a:pt x="30" y="160"/>
                  </a:lnTo>
                  <a:lnTo>
                    <a:pt x="30" y="157"/>
                  </a:lnTo>
                  <a:lnTo>
                    <a:pt x="30" y="157"/>
                  </a:lnTo>
                  <a:lnTo>
                    <a:pt x="28" y="155"/>
                  </a:lnTo>
                  <a:lnTo>
                    <a:pt x="25" y="155"/>
                  </a:lnTo>
                  <a:lnTo>
                    <a:pt x="28" y="155"/>
                  </a:lnTo>
                  <a:lnTo>
                    <a:pt x="30" y="155"/>
                  </a:lnTo>
                  <a:lnTo>
                    <a:pt x="30" y="155"/>
                  </a:lnTo>
                  <a:lnTo>
                    <a:pt x="30" y="157"/>
                  </a:lnTo>
                  <a:lnTo>
                    <a:pt x="30" y="157"/>
                  </a:lnTo>
                  <a:lnTo>
                    <a:pt x="33" y="157"/>
                  </a:lnTo>
                  <a:lnTo>
                    <a:pt x="35" y="157"/>
                  </a:lnTo>
                  <a:lnTo>
                    <a:pt x="35" y="157"/>
                  </a:lnTo>
                  <a:lnTo>
                    <a:pt x="38" y="157"/>
                  </a:lnTo>
                  <a:lnTo>
                    <a:pt x="40" y="157"/>
                  </a:lnTo>
                  <a:lnTo>
                    <a:pt x="43" y="157"/>
                  </a:lnTo>
                  <a:lnTo>
                    <a:pt x="48" y="157"/>
                  </a:lnTo>
                  <a:lnTo>
                    <a:pt x="51" y="157"/>
                  </a:lnTo>
                  <a:lnTo>
                    <a:pt x="56" y="155"/>
                  </a:lnTo>
                  <a:lnTo>
                    <a:pt x="53" y="152"/>
                  </a:lnTo>
                  <a:lnTo>
                    <a:pt x="53" y="152"/>
                  </a:lnTo>
                  <a:lnTo>
                    <a:pt x="53" y="150"/>
                  </a:lnTo>
                  <a:lnTo>
                    <a:pt x="53" y="150"/>
                  </a:lnTo>
                  <a:lnTo>
                    <a:pt x="56" y="150"/>
                  </a:lnTo>
                  <a:lnTo>
                    <a:pt x="58" y="152"/>
                  </a:lnTo>
                  <a:lnTo>
                    <a:pt x="58" y="152"/>
                  </a:lnTo>
                  <a:lnTo>
                    <a:pt x="61" y="152"/>
                  </a:lnTo>
                  <a:lnTo>
                    <a:pt x="58" y="150"/>
                  </a:lnTo>
                  <a:lnTo>
                    <a:pt x="61" y="150"/>
                  </a:lnTo>
                  <a:lnTo>
                    <a:pt x="61" y="150"/>
                  </a:lnTo>
                  <a:lnTo>
                    <a:pt x="58" y="139"/>
                  </a:lnTo>
                  <a:lnTo>
                    <a:pt x="56" y="139"/>
                  </a:lnTo>
                  <a:lnTo>
                    <a:pt x="58" y="139"/>
                  </a:lnTo>
                  <a:lnTo>
                    <a:pt x="58" y="139"/>
                  </a:lnTo>
                  <a:lnTo>
                    <a:pt x="61" y="142"/>
                  </a:lnTo>
                  <a:lnTo>
                    <a:pt x="61" y="145"/>
                  </a:lnTo>
                  <a:lnTo>
                    <a:pt x="63" y="145"/>
                  </a:lnTo>
                  <a:lnTo>
                    <a:pt x="66" y="145"/>
                  </a:lnTo>
                  <a:lnTo>
                    <a:pt x="69" y="145"/>
                  </a:lnTo>
                  <a:lnTo>
                    <a:pt x="69" y="145"/>
                  </a:lnTo>
                  <a:lnTo>
                    <a:pt x="69" y="145"/>
                  </a:lnTo>
                  <a:lnTo>
                    <a:pt x="71" y="142"/>
                  </a:lnTo>
                  <a:lnTo>
                    <a:pt x="71" y="145"/>
                  </a:lnTo>
                  <a:lnTo>
                    <a:pt x="71" y="145"/>
                  </a:lnTo>
                  <a:lnTo>
                    <a:pt x="74" y="142"/>
                  </a:lnTo>
                  <a:lnTo>
                    <a:pt x="74" y="142"/>
                  </a:lnTo>
                  <a:lnTo>
                    <a:pt x="76" y="142"/>
                  </a:lnTo>
                  <a:lnTo>
                    <a:pt x="76" y="142"/>
                  </a:lnTo>
                  <a:lnTo>
                    <a:pt x="79" y="142"/>
                  </a:lnTo>
                  <a:lnTo>
                    <a:pt x="81" y="142"/>
                  </a:lnTo>
                  <a:lnTo>
                    <a:pt x="81" y="145"/>
                  </a:lnTo>
                  <a:lnTo>
                    <a:pt x="81" y="145"/>
                  </a:lnTo>
                  <a:lnTo>
                    <a:pt x="81" y="147"/>
                  </a:lnTo>
                  <a:lnTo>
                    <a:pt x="84" y="147"/>
                  </a:lnTo>
                  <a:lnTo>
                    <a:pt x="86" y="147"/>
                  </a:lnTo>
                  <a:lnTo>
                    <a:pt x="89" y="147"/>
                  </a:lnTo>
                  <a:lnTo>
                    <a:pt x="91" y="150"/>
                  </a:lnTo>
                  <a:lnTo>
                    <a:pt x="94" y="150"/>
                  </a:lnTo>
                  <a:lnTo>
                    <a:pt x="97" y="150"/>
                  </a:lnTo>
                  <a:lnTo>
                    <a:pt x="99" y="150"/>
                  </a:lnTo>
                  <a:lnTo>
                    <a:pt x="99" y="150"/>
                  </a:lnTo>
                  <a:lnTo>
                    <a:pt x="104" y="152"/>
                  </a:lnTo>
                  <a:lnTo>
                    <a:pt x="104" y="152"/>
                  </a:lnTo>
                  <a:lnTo>
                    <a:pt x="104" y="155"/>
                  </a:lnTo>
                  <a:lnTo>
                    <a:pt x="104" y="155"/>
                  </a:lnTo>
                  <a:lnTo>
                    <a:pt x="107" y="157"/>
                  </a:lnTo>
                  <a:lnTo>
                    <a:pt x="107" y="160"/>
                  </a:lnTo>
                  <a:lnTo>
                    <a:pt x="107" y="162"/>
                  </a:lnTo>
                  <a:lnTo>
                    <a:pt x="112" y="165"/>
                  </a:lnTo>
                  <a:lnTo>
                    <a:pt x="112" y="167"/>
                  </a:lnTo>
                  <a:lnTo>
                    <a:pt x="114" y="173"/>
                  </a:lnTo>
                  <a:lnTo>
                    <a:pt x="114" y="175"/>
                  </a:lnTo>
                  <a:lnTo>
                    <a:pt x="117" y="175"/>
                  </a:lnTo>
                  <a:lnTo>
                    <a:pt x="119" y="175"/>
                  </a:lnTo>
                  <a:lnTo>
                    <a:pt x="119" y="175"/>
                  </a:lnTo>
                  <a:lnTo>
                    <a:pt x="119" y="178"/>
                  </a:lnTo>
                  <a:lnTo>
                    <a:pt x="119" y="180"/>
                  </a:lnTo>
                  <a:lnTo>
                    <a:pt x="119" y="183"/>
                  </a:lnTo>
                  <a:lnTo>
                    <a:pt x="122" y="183"/>
                  </a:lnTo>
                  <a:lnTo>
                    <a:pt x="125" y="188"/>
                  </a:lnTo>
                  <a:lnTo>
                    <a:pt x="127" y="188"/>
                  </a:lnTo>
                  <a:lnTo>
                    <a:pt x="130" y="190"/>
                  </a:lnTo>
                  <a:lnTo>
                    <a:pt x="130" y="195"/>
                  </a:lnTo>
                  <a:lnTo>
                    <a:pt x="132" y="195"/>
                  </a:lnTo>
                  <a:lnTo>
                    <a:pt x="132" y="195"/>
                  </a:lnTo>
                  <a:lnTo>
                    <a:pt x="135" y="198"/>
                  </a:lnTo>
                  <a:lnTo>
                    <a:pt x="137" y="198"/>
                  </a:lnTo>
                  <a:lnTo>
                    <a:pt x="140" y="198"/>
                  </a:lnTo>
                  <a:lnTo>
                    <a:pt x="140" y="198"/>
                  </a:lnTo>
                  <a:lnTo>
                    <a:pt x="142" y="198"/>
                  </a:lnTo>
                  <a:lnTo>
                    <a:pt x="145" y="198"/>
                  </a:lnTo>
                  <a:lnTo>
                    <a:pt x="145" y="201"/>
                  </a:lnTo>
                  <a:lnTo>
                    <a:pt x="148" y="201"/>
                  </a:lnTo>
                  <a:lnTo>
                    <a:pt x="150" y="201"/>
                  </a:lnTo>
                  <a:lnTo>
                    <a:pt x="153" y="201"/>
                  </a:lnTo>
                  <a:lnTo>
                    <a:pt x="153" y="201"/>
                  </a:lnTo>
                  <a:lnTo>
                    <a:pt x="155" y="201"/>
                  </a:lnTo>
                  <a:lnTo>
                    <a:pt x="158" y="203"/>
                  </a:lnTo>
                  <a:lnTo>
                    <a:pt x="165" y="203"/>
                  </a:lnTo>
                  <a:lnTo>
                    <a:pt x="168" y="203"/>
                  </a:lnTo>
                  <a:lnTo>
                    <a:pt x="170" y="203"/>
                  </a:lnTo>
                  <a:lnTo>
                    <a:pt x="173" y="203"/>
                  </a:lnTo>
                  <a:lnTo>
                    <a:pt x="176" y="206"/>
                  </a:lnTo>
                  <a:lnTo>
                    <a:pt x="176" y="208"/>
                  </a:lnTo>
                  <a:lnTo>
                    <a:pt x="178" y="208"/>
                  </a:lnTo>
                  <a:lnTo>
                    <a:pt x="178" y="208"/>
                  </a:lnTo>
                  <a:lnTo>
                    <a:pt x="181" y="211"/>
                  </a:lnTo>
                  <a:lnTo>
                    <a:pt x="183" y="211"/>
                  </a:lnTo>
                  <a:lnTo>
                    <a:pt x="186" y="211"/>
                  </a:lnTo>
                  <a:lnTo>
                    <a:pt x="186" y="211"/>
                  </a:lnTo>
                  <a:lnTo>
                    <a:pt x="191" y="208"/>
                  </a:lnTo>
                  <a:lnTo>
                    <a:pt x="191" y="208"/>
                  </a:lnTo>
                  <a:lnTo>
                    <a:pt x="191" y="208"/>
                  </a:lnTo>
                  <a:lnTo>
                    <a:pt x="188" y="206"/>
                  </a:lnTo>
                  <a:lnTo>
                    <a:pt x="186" y="203"/>
                  </a:lnTo>
                  <a:lnTo>
                    <a:pt x="186" y="203"/>
                  </a:lnTo>
                  <a:lnTo>
                    <a:pt x="191" y="203"/>
                  </a:lnTo>
                  <a:lnTo>
                    <a:pt x="191" y="203"/>
                  </a:lnTo>
                  <a:lnTo>
                    <a:pt x="196" y="201"/>
                  </a:lnTo>
                  <a:lnTo>
                    <a:pt x="191" y="203"/>
                  </a:lnTo>
                  <a:close/>
                  <a:moveTo>
                    <a:pt x="249" y="63"/>
                  </a:moveTo>
                  <a:lnTo>
                    <a:pt x="237" y="50"/>
                  </a:lnTo>
                  <a:lnTo>
                    <a:pt x="237" y="48"/>
                  </a:lnTo>
                  <a:lnTo>
                    <a:pt x="234" y="45"/>
                  </a:lnTo>
                  <a:lnTo>
                    <a:pt x="232" y="43"/>
                  </a:lnTo>
                  <a:lnTo>
                    <a:pt x="232" y="43"/>
                  </a:lnTo>
                  <a:lnTo>
                    <a:pt x="227" y="40"/>
                  </a:lnTo>
                  <a:lnTo>
                    <a:pt x="224" y="38"/>
                  </a:lnTo>
                  <a:lnTo>
                    <a:pt x="221" y="38"/>
                  </a:lnTo>
                  <a:lnTo>
                    <a:pt x="219" y="35"/>
                  </a:lnTo>
                  <a:lnTo>
                    <a:pt x="216" y="35"/>
                  </a:lnTo>
                  <a:lnTo>
                    <a:pt x="214" y="35"/>
                  </a:lnTo>
                  <a:lnTo>
                    <a:pt x="214" y="33"/>
                  </a:lnTo>
                  <a:lnTo>
                    <a:pt x="211" y="30"/>
                  </a:lnTo>
                  <a:lnTo>
                    <a:pt x="206" y="28"/>
                  </a:lnTo>
                  <a:lnTo>
                    <a:pt x="206" y="30"/>
                  </a:lnTo>
                  <a:lnTo>
                    <a:pt x="206" y="30"/>
                  </a:lnTo>
                  <a:lnTo>
                    <a:pt x="206" y="30"/>
                  </a:lnTo>
                  <a:lnTo>
                    <a:pt x="206" y="33"/>
                  </a:lnTo>
                  <a:lnTo>
                    <a:pt x="209" y="33"/>
                  </a:lnTo>
                  <a:lnTo>
                    <a:pt x="211" y="33"/>
                  </a:lnTo>
                  <a:lnTo>
                    <a:pt x="219" y="38"/>
                  </a:lnTo>
                  <a:lnTo>
                    <a:pt x="219" y="40"/>
                  </a:lnTo>
                  <a:lnTo>
                    <a:pt x="221" y="40"/>
                  </a:lnTo>
                  <a:lnTo>
                    <a:pt x="227" y="45"/>
                  </a:lnTo>
                  <a:lnTo>
                    <a:pt x="227" y="45"/>
                  </a:lnTo>
                  <a:lnTo>
                    <a:pt x="229" y="48"/>
                  </a:lnTo>
                  <a:lnTo>
                    <a:pt x="229" y="48"/>
                  </a:lnTo>
                  <a:lnTo>
                    <a:pt x="232" y="48"/>
                  </a:lnTo>
                  <a:lnTo>
                    <a:pt x="234" y="48"/>
                  </a:lnTo>
                  <a:lnTo>
                    <a:pt x="234" y="50"/>
                  </a:lnTo>
                  <a:lnTo>
                    <a:pt x="237" y="53"/>
                  </a:lnTo>
                  <a:lnTo>
                    <a:pt x="242" y="61"/>
                  </a:lnTo>
                  <a:lnTo>
                    <a:pt x="242" y="63"/>
                  </a:lnTo>
                  <a:lnTo>
                    <a:pt x="242" y="66"/>
                  </a:lnTo>
                  <a:lnTo>
                    <a:pt x="242" y="68"/>
                  </a:lnTo>
                  <a:lnTo>
                    <a:pt x="242" y="71"/>
                  </a:lnTo>
                  <a:lnTo>
                    <a:pt x="242" y="71"/>
                  </a:lnTo>
                  <a:lnTo>
                    <a:pt x="244" y="73"/>
                  </a:lnTo>
                  <a:lnTo>
                    <a:pt x="244" y="76"/>
                  </a:lnTo>
                  <a:lnTo>
                    <a:pt x="244" y="78"/>
                  </a:lnTo>
                  <a:lnTo>
                    <a:pt x="247" y="78"/>
                  </a:lnTo>
                  <a:lnTo>
                    <a:pt x="247" y="76"/>
                  </a:lnTo>
                  <a:lnTo>
                    <a:pt x="249" y="76"/>
                  </a:lnTo>
                  <a:lnTo>
                    <a:pt x="249" y="73"/>
                  </a:lnTo>
                  <a:lnTo>
                    <a:pt x="249" y="71"/>
                  </a:lnTo>
                  <a:lnTo>
                    <a:pt x="252" y="68"/>
                  </a:lnTo>
                  <a:lnTo>
                    <a:pt x="252" y="68"/>
                  </a:lnTo>
                  <a:lnTo>
                    <a:pt x="252" y="66"/>
                  </a:lnTo>
                  <a:lnTo>
                    <a:pt x="249" y="63"/>
                  </a:lnTo>
                  <a:close/>
                  <a:moveTo>
                    <a:pt x="191" y="25"/>
                  </a:moveTo>
                  <a:lnTo>
                    <a:pt x="193" y="28"/>
                  </a:lnTo>
                  <a:lnTo>
                    <a:pt x="193" y="30"/>
                  </a:lnTo>
                  <a:lnTo>
                    <a:pt x="196" y="30"/>
                  </a:lnTo>
                  <a:lnTo>
                    <a:pt x="199" y="30"/>
                  </a:lnTo>
                  <a:lnTo>
                    <a:pt x="199" y="30"/>
                  </a:lnTo>
                  <a:lnTo>
                    <a:pt x="199" y="28"/>
                  </a:lnTo>
                  <a:lnTo>
                    <a:pt x="199" y="25"/>
                  </a:lnTo>
                  <a:lnTo>
                    <a:pt x="199" y="25"/>
                  </a:lnTo>
                  <a:lnTo>
                    <a:pt x="196" y="22"/>
                  </a:lnTo>
                  <a:lnTo>
                    <a:pt x="193" y="25"/>
                  </a:lnTo>
                  <a:lnTo>
                    <a:pt x="191" y="25"/>
                  </a:lnTo>
                  <a:lnTo>
                    <a:pt x="191" y="25"/>
                  </a:lnTo>
                  <a:lnTo>
                    <a:pt x="191" y="25"/>
                  </a:lnTo>
                  <a:close/>
                  <a:moveTo>
                    <a:pt x="148" y="22"/>
                  </a:moveTo>
                  <a:lnTo>
                    <a:pt x="148" y="20"/>
                  </a:lnTo>
                  <a:lnTo>
                    <a:pt x="148" y="20"/>
                  </a:lnTo>
                  <a:lnTo>
                    <a:pt x="148" y="20"/>
                  </a:lnTo>
                  <a:lnTo>
                    <a:pt x="145" y="22"/>
                  </a:lnTo>
                  <a:lnTo>
                    <a:pt x="145" y="22"/>
                  </a:lnTo>
                  <a:lnTo>
                    <a:pt x="145" y="22"/>
                  </a:lnTo>
                  <a:lnTo>
                    <a:pt x="148" y="22"/>
                  </a:lnTo>
                  <a:close/>
                  <a:moveTo>
                    <a:pt x="122" y="20"/>
                  </a:moveTo>
                  <a:lnTo>
                    <a:pt x="122" y="17"/>
                  </a:lnTo>
                  <a:lnTo>
                    <a:pt x="125" y="20"/>
                  </a:lnTo>
                  <a:lnTo>
                    <a:pt x="125" y="17"/>
                  </a:lnTo>
                  <a:lnTo>
                    <a:pt x="130" y="20"/>
                  </a:lnTo>
                  <a:lnTo>
                    <a:pt x="132" y="20"/>
                  </a:lnTo>
                  <a:lnTo>
                    <a:pt x="132" y="17"/>
                  </a:lnTo>
                  <a:lnTo>
                    <a:pt x="135" y="20"/>
                  </a:lnTo>
                  <a:lnTo>
                    <a:pt x="137" y="17"/>
                  </a:lnTo>
                  <a:lnTo>
                    <a:pt x="137" y="15"/>
                  </a:lnTo>
                  <a:lnTo>
                    <a:pt x="137" y="17"/>
                  </a:lnTo>
                  <a:lnTo>
                    <a:pt x="140" y="15"/>
                  </a:lnTo>
                  <a:lnTo>
                    <a:pt x="140" y="15"/>
                  </a:lnTo>
                  <a:lnTo>
                    <a:pt x="140" y="15"/>
                  </a:lnTo>
                  <a:lnTo>
                    <a:pt x="140" y="15"/>
                  </a:lnTo>
                  <a:lnTo>
                    <a:pt x="140" y="15"/>
                  </a:lnTo>
                  <a:lnTo>
                    <a:pt x="137" y="15"/>
                  </a:lnTo>
                  <a:lnTo>
                    <a:pt x="132" y="15"/>
                  </a:lnTo>
                  <a:lnTo>
                    <a:pt x="127" y="12"/>
                  </a:lnTo>
                  <a:lnTo>
                    <a:pt x="125" y="15"/>
                  </a:lnTo>
                  <a:lnTo>
                    <a:pt x="125" y="15"/>
                  </a:lnTo>
                  <a:lnTo>
                    <a:pt x="122" y="15"/>
                  </a:lnTo>
                  <a:lnTo>
                    <a:pt x="122" y="17"/>
                  </a:lnTo>
                  <a:lnTo>
                    <a:pt x="122" y="17"/>
                  </a:lnTo>
                  <a:lnTo>
                    <a:pt x="122" y="17"/>
                  </a:lnTo>
                  <a:lnTo>
                    <a:pt x="122" y="20"/>
                  </a:lnTo>
                  <a:lnTo>
                    <a:pt x="122" y="20"/>
                  </a:lnTo>
                  <a:close/>
                  <a:moveTo>
                    <a:pt x="186" y="5"/>
                  </a:moveTo>
                  <a:lnTo>
                    <a:pt x="186" y="5"/>
                  </a:lnTo>
                  <a:lnTo>
                    <a:pt x="186" y="5"/>
                  </a:lnTo>
                  <a:lnTo>
                    <a:pt x="186" y="2"/>
                  </a:lnTo>
                  <a:lnTo>
                    <a:pt x="183" y="0"/>
                  </a:lnTo>
                  <a:lnTo>
                    <a:pt x="183" y="0"/>
                  </a:lnTo>
                  <a:lnTo>
                    <a:pt x="183" y="2"/>
                  </a:lnTo>
                  <a:lnTo>
                    <a:pt x="183" y="2"/>
                  </a:lnTo>
                  <a:lnTo>
                    <a:pt x="186" y="5"/>
                  </a:lnTo>
                  <a:lnTo>
                    <a:pt x="186" y="5"/>
                  </a:lnTo>
                  <a:close/>
                </a:path>
              </a:pathLst>
            </a:custGeom>
            <a:solidFill>
              <a:srgbClr val="FFC000"/>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230" name="Freeform 1849">
              <a:extLst>
                <a:ext uri="{FF2B5EF4-FFF2-40B4-BE49-F238E27FC236}">
                  <a16:creationId xmlns:a16="http://schemas.microsoft.com/office/drawing/2014/main" id="{82AA4A12-463D-0440-855F-590DD464B3BB}"/>
                </a:ext>
              </a:extLst>
            </p:cNvPr>
            <p:cNvSpPr>
              <a:spLocks noEditPoints="1"/>
            </p:cNvSpPr>
            <p:nvPr/>
          </p:nvSpPr>
          <p:spPr bwMode="auto">
            <a:xfrm>
              <a:off x="2886733" y="3442903"/>
              <a:ext cx="191382" cy="91601"/>
            </a:xfrm>
            <a:custGeom>
              <a:avLst/>
              <a:gdLst>
                <a:gd name="T0" fmla="*/ 25 w 117"/>
                <a:gd name="T1" fmla="*/ 46 h 56"/>
                <a:gd name="T2" fmla="*/ 23 w 117"/>
                <a:gd name="T3" fmla="*/ 49 h 56"/>
                <a:gd name="T4" fmla="*/ 28 w 117"/>
                <a:gd name="T5" fmla="*/ 54 h 56"/>
                <a:gd name="T6" fmla="*/ 79 w 117"/>
                <a:gd name="T7" fmla="*/ 31 h 56"/>
                <a:gd name="T8" fmla="*/ 79 w 117"/>
                <a:gd name="T9" fmla="*/ 31 h 56"/>
                <a:gd name="T10" fmla="*/ 81 w 117"/>
                <a:gd name="T11" fmla="*/ 28 h 56"/>
                <a:gd name="T12" fmla="*/ 84 w 117"/>
                <a:gd name="T13" fmla="*/ 31 h 56"/>
                <a:gd name="T14" fmla="*/ 18 w 117"/>
                <a:gd name="T15" fmla="*/ 5 h 56"/>
                <a:gd name="T16" fmla="*/ 18 w 117"/>
                <a:gd name="T17" fmla="*/ 8 h 56"/>
                <a:gd name="T18" fmla="*/ 114 w 117"/>
                <a:gd name="T19" fmla="*/ 31 h 56"/>
                <a:gd name="T20" fmla="*/ 112 w 117"/>
                <a:gd name="T21" fmla="*/ 26 h 56"/>
                <a:gd name="T22" fmla="*/ 107 w 117"/>
                <a:gd name="T23" fmla="*/ 13 h 56"/>
                <a:gd name="T24" fmla="*/ 84 w 117"/>
                <a:gd name="T25" fmla="*/ 5 h 56"/>
                <a:gd name="T26" fmla="*/ 79 w 117"/>
                <a:gd name="T27" fmla="*/ 3 h 56"/>
                <a:gd name="T28" fmla="*/ 69 w 117"/>
                <a:gd name="T29" fmla="*/ 3 h 56"/>
                <a:gd name="T30" fmla="*/ 61 w 117"/>
                <a:gd name="T31" fmla="*/ 10 h 56"/>
                <a:gd name="T32" fmla="*/ 41 w 117"/>
                <a:gd name="T33" fmla="*/ 18 h 56"/>
                <a:gd name="T34" fmla="*/ 28 w 117"/>
                <a:gd name="T35" fmla="*/ 15 h 56"/>
                <a:gd name="T36" fmla="*/ 25 w 117"/>
                <a:gd name="T37" fmla="*/ 13 h 56"/>
                <a:gd name="T38" fmla="*/ 25 w 117"/>
                <a:gd name="T39" fmla="*/ 15 h 56"/>
                <a:gd name="T40" fmla="*/ 18 w 117"/>
                <a:gd name="T41" fmla="*/ 10 h 56"/>
                <a:gd name="T42" fmla="*/ 18 w 117"/>
                <a:gd name="T43" fmla="*/ 10 h 56"/>
                <a:gd name="T44" fmla="*/ 15 w 117"/>
                <a:gd name="T45" fmla="*/ 5 h 56"/>
                <a:gd name="T46" fmla="*/ 12 w 117"/>
                <a:gd name="T47" fmla="*/ 3 h 56"/>
                <a:gd name="T48" fmla="*/ 7 w 117"/>
                <a:gd name="T49" fmla="*/ 0 h 56"/>
                <a:gd name="T50" fmla="*/ 5 w 117"/>
                <a:gd name="T51" fmla="*/ 3 h 56"/>
                <a:gd name="T52" fmla="*/ 5 w 117"/>
                <a:gd name="T53" fmla="*/ 13 h 56"/>
                <a:gd name="T54" fmla="*/ 7 w 117"/>
                <a:gd name="T55" fmla="*/ 18 h 56"/>
                <a:gd name="T56" fmla="*/ 5 w 117"/>
                <a:gd name="T57" fmla="*/ 23 h 56"/>
                <a:gd name="T58" fmla="*/ 2 w 117"/>
                <a:gd name="T59" fmla="*/ 28 h 56"/>
                <a:gd name="T60" fmla="*/ 2 w 117"/>
                <a:gd name="T61" fmla="*/ 33 h 56"/>
                <a:gd name="T62" fmla="*/ 5 w 117"/>
                <a:gd name="T63" fmla="*/ 31 h 56"/>
                <a:gd name="T64" fmla="*/ 15 w 117"/>
                <a:gd name="T65" fmla="*/ 31 h 56"/>
                <a:gd name="T66" fmla="*/ 20 w 117"/>
                <a:gd name="T67" fmla="*/ 33 h 56"/>
                <a:gd name="T68" fmla="*/ 28 w 117"/>
                <a:gd name="T69" fmla="*/ 36 h 56"/>
                <a:gd name="T70" fmla="*/ 35 w 117"/>
                <a:gd name="T71" fmla="*/ 46 h 56"/>
                <a:gd name="T72" fmla="*/ 38 w 117"/>
                <a:gd name="T73" fmla="*/ 41 h 56"/>
                <a:gd name="T74" fmla="*/ 43 w 117"/>
                <a:gd name="T75" fmla="*/ 51 h 56"/>
                <a:gd name="T76" fmla="*/ 51 w 117"/>
                <a:gd name="T77" fmla="*/ 54 h 56"/>
                <a:gd name="T78" fmla="*/ 58 w 117"/>
                <a:gd name="T79" fmla="*/ 51 h 56"/>
                <a:gd name="T80" fmla="*/ 58 w 117"/>
                <a:gd name="T81" fmla="*/ 46 h 56"/>
                <a:gd name="T82" fmla="*/ 51 w 117"/>
                <a:gd name="T83" fmla="*/ 36 h 56"/>
                <a:gd name="T84" fmla="*/ 53 w 117"/>
                <a:gd name="T85" fmla="*/ 31 h 56"/>
                <a:gd name="T86" fmla="*/ 66 w 117"/>
                <a:gd name="T87" fmla="*/ 23 h 56"/>
                <a:gd name="T88" fmla="*/ 71 w 117"/>
                <a:gd name="T89" fmla="*/ 18 h 56"/>
                <a:gd name="T90" fmla="*/ 76 w 117"/>
                <a:gd name="T91" fmla="*/ 13 h 56"/>
                <a:gd name="T92" fmla="*/ 86 w 117"/>
                <a:gd name="T93" fmla="*/ 18 h 56"/>
                <a:gd name="T94" fmla="*/ 91 w 117"/>
                <a:gd name="T95" fmla="*/ 23 h 56"/>
                <a:gd name="T96" fmla="*/ 94 w 117"/>
                <a:gd name="T97" fmla="*/ 28 h 56"/>
                <a:gd name="T98" fmla="*/ 94 w 117"/>
                <a:gd name="T99" fmla="*/ 26 h 56"/>
                <a:gd name="T100" fmla="*/ 97 w 117"/>
                <a:gd name="T101" fmla="*/ 28 h 56"/>
                <a:gd name="T102" fmla="*/ 102 w 117"/>
                <a:gd name="T103" fmla="*/ 28 h 56"/>
                <a:gd name="T104" fmla="*/ 104 w 117"/>
                <a:gd name="T105" fmla="*/ 33 h 56"/>
                <a:gd name="T106" fmla="*/ 99 w 117"/>
                <a:gd name="T107" fmla="*/ 28 h 56"/>
                <a:gd name="T108" fmla="*/ 97 w 117"/>
                <a:gd name="T109" fmla="*/ 36 h 56"/>
                <a:gd name="T110" fmla="*/ 94 w 117"/>
                <a:gd name="T111" fmla="*/ 38 h 56"/>
                <a:gd name="T112" fmla="*/ 104 w 117"/>
                <a:gd name="T113" fmla="*/ 51 h 56"/>
                <a:gd name="T114" fmla="*/ 107 w 117"/>
                <a:gd name="T115" fmla="*/ 43 h 56"/>
                <a:gd name="T116" fmla="*/ 107 w 117"/>
                <a:gd name="T117" fmla="*/ 46 h 56"/>
                <a:gd name="T118" fmla="*/ 114 w 117"/>
                <a:gd name="T119" fmla="*/ 43 h 56"/>
                <a:gd name="T120" fmla="*/ 117 w 117"/>
                <a:gd name="T121" fmla="*/ 38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7" h="56">
                  <a:moveTo>
                    <a:pt x="25" y="51"/>
                  </a:moveTo>
                  <a:lnTo>
                    <a:pt x="25" y="49"/>
                  </a:lnTo>
                  <a:lnTo>
                    <a:pt x="28" y="49"/>
                  </a:lnTo>
                  <a:lnTo>
                    <a:pt x="25" y="46"/>
                  </a:lnTo>
                  <a:lnTo>
                    <a:pt x="25" y="46"/>
                  </a:lnTo>
                  <a:lnTo>
                    <a:pt x="25" y="46"/>
                  </a:lnTo>
                  <a:lnTo>
                    <a:pt x="23" y="49"/>
                  </a:lnTo>
                  <a:lnTo>
                    <a:pt x="23" y="49"/>
                  </a:lnTo>
                  <a:lnTo>
                    <a:pt x="23" y="49"/>
                  </a:lnTo>
                  <a:lnTo>
                    <a:pt x="25" y="51"/>
                  </a:lnTo>
                  <a:lnTo>
                    <a:pt x="28" y="54"/>
                  </a:lnTo>
                  <a:lnTo>
                    <a:pt x="28" y="54"/>
                  </a:lnTo>
                  <a:lnTo>
                    <a:pt x="28" y="51"/>
                  </a:lnTo>
                  <a:lnTo>
                    <a:pt x="25" y="51"/>
                  </a:lnTo>
                  <a:close/>
                  <a:moveTo>
                    <a:pt x="79" y="31"/>
                  </a:moveTo>
                  <a:lnTo>
                    <a:pt x="79" y="31"/>
                  </a:lnTo>
                  <a:lnTo>
                    <a:pt x="79" y="33"/>
                  </a:lnTo>
                  <a:lnTo>
                    <a:pt x="81" y="31"/>
                  </a:lnTo>
                  <a:lnTo>
                    <a:pt x="79" y="31"/>
                  </a:lnTo>
                  <a:lnTo>
                    <a:pt x="79" y="31"/>
                  </a:lnTo>
                  <a:close/>
                  <a:moveTo>
                    <a:pt x="84" y="26"/>
                  </a:moveTo>
                  <a:lnTo>
                    <a:pt x="84" y="28"/>
                  </a:lnTo>
                  <a:lnTo>
                    <a:pt x="81" y="28"/>
                  </a:lnTo>
                  <a:lnTo>
                    <a:pt x="81" y="28"/>
                  </a:lnTo>
                  <a:lnTo>
                    <a:pt x="81" y="31"/>
                  </a:lnTo>
                  <a:lnTo>
                    <a:pt x="84" y="33"/>
                  </a:lnTo>
                  <a:lnTo>
                    <a:pt x="84" y="31"/>
                  </a:lnTo>
                  <a:lnTo>
                    <a:pt x="84" y="31"/>
                  </a:lnTo>
                  <a:lnTo>
                    <a:pt x="84" y="28"/>
                  </a:lnTo>
                  <a:lnTo>
                    <a:pt x="84" y="28"/>
                  </a:lnTo>
                  <a:lnTo>
                    <a:pt x="84" y="26"/>
                  </a:lnTo>
                  <a:close/>
                  <a:moveTo>
                    <a:pt x="18" y="5"/>
                  </a:moveTo>
                  <a:lnTo>
                    <a:pt x="18" y="5"/>
                  </a:lnTo>
                  <a:lnTo>
                    <a:pt x="18" y="5"/>
                  </a:lnTo>
                  <a:lnTo>
                    <a:pt x="18" y="5"/>
                  </a:lnTo>
                  <a:lnTo>
                    <a:pt x="18" y="8"/>
                  </a:lnTo>
                  <a:lnTo>
                    <a:pt x="18" y="5"/>
                  </a:lnTo>
                  <a:close/>
                  <a:moveTo>
                    <a:pt x="117" y="36"/>
                  </a:moveTo>
                  <a:lnTo>
                    <a:pt x="117" y="33"/>
                  </a:lnTo>
                  <a:lnTo>
                    <a:pt x="114" y="31"/>
                  </a:lnTo>
                  <a:lnTo>
                    <a:pt x="114" y="28"/>
                  </a:lnTo>
                  <a:lnTo>
                    <a:pt x="114" y="28"/>
                  </a:lnTo>
                  <a:lnTo>
                    <a:pt x="112" y="26"/>
                  </a:lnTo>
                  <a:lnTo>
                    <a:pt x="112" y="26"/>
                  </a:lnTo>
                  <a:lnTo>
                    <a:pt x="114" y="23"/>
                  </a:lnTo>
                  <a:lnTo>
                    <a:pt x="114" y="23"/>
                  </a:lnTo>
                  <a:lnTo>
                    <a:pt x="109" y="18"/>
                  </a:lnTo>
                  <a:lnTo>
                    <a:pt x="107" y="13"/>
                  </a:lnTo>
                  <a:lnTo>
                    <a:pt x="102" y="10"/>
                  </a:lnTo>
                  <a:lnTo>
                    <a:pt x="94" y="5"/>
                  </a:lnTo>
                  <a:lnTo>
                    <a:pt x="89" y="5"/>
                  </a:lnTo>
                  <a:lnTo>
                    <a:pt x="84" y="5"/>
                  </a:lnTo>
                  <a:lnTo>
                    <a:pt x="84" y="5"/>
                  </a:lnTo>
                  <a:lnTo>
                    <a:pt x="84" y="3"/>
                  </a:lnTo>
                  <a:lnTo>
                    <a:pt x="81" y="3"/>
                  </a:lnTo>
                  <a:lnTo>
                    <a:pt x="79" y="3"/>
                  </a:lnTo>
                  <a:lnTo>
                    <a:pt x="76" y="3"/>
                  </a:lnTo>
                  <a:lnTo>
                    <a:pt x="71" y="0"/>
                  </a:lnTo>
                  <a:lnTo>
                    <a:pt x="71" y="3"/>
                  </a:lnTo>
                  <a:lnTo>
                    <a:pt x="69" y="3"/>
                  </a:lnTo>
                  <a:lnTo>
                    <a:pt x="66" y="5"/>
                  </a:lnTo>
                  <a:lnTo>
                    <a:pt x="63" y="5"/>
                  </a:lnTo>
                  <a:lnTo>
                    <a:pt x="63" y="8"/>
                  </a:lnTo>
                  <a:lnTo>
                    <a:pt x="61" y="10"/>
                  </a:lnTo>
                  <a:lnTo>
                    <a:pt x="51" y="13"/>
                  </a:lnTo>
                  <a:lnTo>
                    <a:pt x="48" y="13"/>
                  </a:lnTo>
                  <a:lnTo>
                    <a:pt x="46" y="18"/>
                  </a:lnTo>
                  <a:lnTo>
                    <a:pt x="41" y="18"/>
                  </a:lnTo>
                  <a:lnTo>
                    <a:pt x="38" y="21"/>
                  </a:lnTo>
                  <a:lnTo>
                    <a:pt x="35" y="21"/>
                  </a:lnTo>
                  <a:lnTo>
                    <a:pt x="30" y="18"/>
                  </a:lnTo>
                  <a:lnTo>
                    <a:pt x="28" y="15"/>
                  </a:lnTo>
                  <a:lnTo>
                    <a:pt x="25" y="13"/>
                  </a:lnTo>
                  <a:lnTo>
                    <a:pt x="25" y="13"/>
                  </a:lnTo>
                  <a:lnTo>
                    <a:pt x="25" y="10"/>
                  </a:lnTo>
                  <a:lnTo>
                    <a:pt x="25" y="13"/>
                  </a:lnTo>
                  <a:lnTo>
                    <a:pt x="25" y="13"/>
                  </a:lnTo>
                  <a:lnTo>
                    <a:pt x="28" y="15"/>
                  </a:lnTo>
                  <a:lnTo>
                    <a:pt x="25" y="15"/>
                  </a:lnTo>
                  <a:lnTo>
                    <a:pt x="25" y="15"/>
                  </a:lnTo>
                  <a:lnTo>
                    <a:pt x="20" y="15"/>
                  </a:lnTo>
                  <a:lnTo>
                    <a:pt x="20" y="15"/>
                  </a:lnTo>
                  <a:lnTo>
                    <a:pt x="18" y="13"/>
                  </a:lnTo>
                  <a:lnTo>
                    <a:pt x="18" y="10"/>
                  </a:lnTo>
                  <a:lnTo>
                    <a:pt x="18" y="10"/>
                  </a:lnTo>
                  <a:lnTo>
                    <a:pt x="18" y="10"/>
                  </a:lnTo>
                  <a:lnTo>
                    <a:pt x="18" y="10"/>
                  </a:lnTo>
                  <a:lnTo>
                    <a:pt x="18" y="10"/>
                  </a:lnTo>
                  <a:lnTo>
                    <a:pt x="15" y="10"/>
                  </a:lnTo>
                  <a:lnTo>
                    <a:pt x="15" y="8"/>
                  </a:lnTo>
                  <a:lnTo>
                    <a:pt x="15" y="5"/>
                  </a:lnTo>
                  <a:lnTo>
                    <a:pt x="15" y="5"/>
                  </a:lnTo>
                  <a:lnTo>
                    <a:pt x="12" y="3"/>
                  </a:lnTo>
                  <a:lnTo>
                    <a:pt x="12" y="3"/>
                  </a:lnTo>
                  <a:lnTo>
                    <a:pt x="12" y="3"/>
                  </a:lnTo>
                  <a:lnTo>
                    <a:pt x="12" y="3"/>
                  </a:lnTo>
                  <a:lnTo>
                    <a:pt x="10" y="3"/>
                  </a:lnTo>
                  <a:lnTo>
                    <a:pt x="10" y="3"/>
                  </a:lnTo>
                  <a:lnTo>
                    <a:pt x="7" y="3"/>
                  </a:lnTo>
                  <a:lnTo>
                    <a:pt x="7" y="0"/>
                  </a:lnTo>
                  <a:lnTo>
                    <a:pt x="7" y="3"/>
                  </a:lnTo>
                  <a:lnTo>
                    <a:pt x="5" y="3"/>
                  </a:lnTo>
                  <a:lnTo>
                    <a:pt x="5" y="3"/>
                  </a:lnTo>
                  <a:lnTo>
                    <a:pt x="5" y="3"/>
                  </a:lnTo>
                  <a:lnTo>
                    <a:pt x="5" y="5"/>
                  </a:lnTo>
                  <a:lnTo>
                    <a:pt x="5" y="8"/>
                  </a:lnTo>
                  <a:lnTo>
                    <a:pt x="2" y="13"/>
                  </a:lnTo>
                  <a:lnTo>
                    <a:pt x="5" y="13"/>
                  </a:lnTo>
                  <a:lnTo>
                    <a:pt x="7" y="15"/>
                  </a:lnTo>
                  <a:lnTo>
                    <a:pt x="7" y="15"/>
                  </a:lnTo>
                  <a:lnTo>
                    <a:pt x="7" y="15"/>
                  </a:lnTo>
                  <a:lnTo>
                    <a:pt x="7" y="18"/>
                  </a:lnTo>
                  <a:lnTo>
                    <a:pt x="5" y="18"/>
                  </a:lnTo>
                  <a:lnTo>
                    <a:pt x="5" y="18"/>
                  </a:lnTo>
                  <a:lnTo>
                    <a:pt x="2" y="21"/>
                  </a:lnTo>
                  <a:lnTo>
                    <a:pt x="5" y="23"/>
                  </a:lnTo>
                  <a:lnTo>
                    <a:pt x="5" y="26"/>
                  </a:lnTo>
                  <a:lnTo>
                    <a:pt x="5" y="26"/>
                  </a:lnTo>
                  <a:lnTo>
                    <a:pt x="5" y="28"/>
                  </a:lnTo>
                  <a:lnTo>
                    <a:pt x="2" y="28"/>
                  </a:lnTo>
                  <a:lnTo>
                    <a:pt x="0" y="31"/>
                  </a:lnTo>
                  <a:lnTo>
                    <a:pt x="0" y="31"/>
                  </a:lnTo>
                  <a:lnTo>
                    <a:pt x="2" y="31"/>
                  </a:lnTo>
                  <a:lnTo>
                    <a:pt x="2" y="33"/>
                  </a:lnTo>
                  <a:lnTo>
                    <a:pt x="2" y="33"/>
                  </a:lnTo>
                  <a:lnTo>
                    <a:pt x="2" y="36"/>
                  </a:lnTo>
                  <a:lnTo>
                    <a:pt x="5" y="36"/>
                  </a:lnTo>
                  <a:lnTo>
                    <a:pt x="5" y="31"/>
                  </a:lnTo>
                  <a:lnTo>
                    <a:pt x="5" y="31"/>
                  </a:lnTo>
                  <a:lnTo>
                    <a:pt x="7" y="31"/>
                  </a:lnTo>
                  <a:lnTo>
                    <a:pt x="10" y="31"/>
                  </a:lnTo>
                  <a:lnTo>
                    <a:pt x="15" y="31"/>
                  </a:lnTo>
                  <a:lnTo>
                    <a:pt x="18" y="31"/>
                  </a:lnTo>
                  <a:lnTo>
                    <a:pt x="18" y="33"/>
                  </a:lnTo>
                  <a:lnTo>
                    <a:pt x="18" y="33"/>
                  </a:lnTo>
                  <a:lnTo>
                    <a:pt x="20" y="33"/>
                  </a:lnTo>
                  <a:lnTo>
                    <a:pt x="23" y="33"/>
                  </a:lnTo>
                  <a:lnTo>
                    <a:pt x="25" y="33"/>
                  </a:lnTo>
                  <a:lnTo>
                    <a:pt x="28" y="33"/>
                  </a:lnTo>
                  <a:lnTo>
                    <a:pt x="28" y="36"/>
                  </a:lnTo>
                  <a:lnTo>
                    <a:pt x="28" y="36"/>
                  </a:lnTo>
                  <a:lnTo>
                    <a:pt x="30" y="43"/>
                  </a:lnTo>
                  <a:lnTo>
                    <a:pt x="33" y="46"/>
                  </a:lnTo>
                  <a:lnTo>
                    <a:pt x="35" y="46"/>
                  </a:lnTo>
                  <a:lnTo>
                    <a:pt x="35" y="46"/>
                  </a:lnTo>
                  <a:lnTo>
                    <a:pt x="35" y="46"/>
                  </a:lnTo>
                  <a:lnTo>
                    <a:pt x="38" y="41"/>
                  </a:lnTo>
                  <a:lnTo>
                    <a:pt x="38" y="41"/>
                  </a:lnTo>
                  <a:lnTo>
                    <a:pt x="38" y="41"/>
                  </a:lnTo>
                  <a:lnTo>
                    <a:pt x="41" y="38"/>
                  </a:lnTo>
                  <a:lnTo>
                    <a:pt x="41" y="43"/>
                  </a:lnTo>
                  <a:lnTo>
                    <a:pt x="43" y="51"/>
                  </a:lnTo>
                  <a:lnTo>
                    <a:pt x="43" y="54"/>
                  </a:lnTo>
                  <a:lnTo>
                    <a:pt x="43" y="56"/>
                  </a:lnTo>
                  <a:lnTo>
                    <a:pt x="46" y="56"/>
                  </a:lnTo>
                  <a:lnTo>
                    <a:pt x="51" y="54"/>
                  </a:lnTo>
                  <a:lnTo>
                    <a:pt x="53" y="54"/>
                  </a:lnTo>
                  <a:lnTo>
                    <a:pt x="53" y="51"/>
                  </a:lnTo>
                  <a:lnTo>
                    <a:pt x="56" y="51"/>
                  </a:lnTo>
                  <a:lnTo>
                    <a:pt x="58" y="51"/>
                  </a:lnTo>
                  <a:lnTo>
                    <a:pt x="58" y="49"/>
                  </a:lnTo>
                  <a:lnTo>
                    <a:pt x="61" y="49"/>
                  </a:lnTo>
                  <a:lnTo>
                    <a:pt x="61" y="46"/>
                  </a:lnTo>
                  <a:lnTo>
                    <a:pt x="58" y="46"/>
                  </a:lnTo>
                  <a:lnTo>
                    <a:pt x="56" y="41"/>
                  </a:lnTo>
                  <a:lnTo>
                    <a:pt x="53" y="38"/>
                  </a:lnTo>
                  <a:lnTo>
                    <a:pt x="53" y="36"/>
                  </a:lnTo>
                  <a:lnTo>
                    <a:pt x="51" y="36"/>
                  </a:lnTo>
                  <a:lnTo>
                    <a:pt x="51" y="33"/>
                  </a:lnTo>
                  <a:lnTo>
                    <a:pt x="53" y="33"/>
                  </a:lnTo>
                  <a:lnTo>
                    <a:pt x="53" y="31"/>
                  </a:lnTo>
                  <a:lnTo>
                    <a:pt x="53" y="31"/>
                  </a:lnTo>
                  <a:lnTo>
                    <a:pt x="58" y="31"/>
                  </a:lnTo>
                  <a:lnTo>
                    <a:pt x="58" y="28"/>
                  </a:lnTo>
                  <a:lnTo>
                    <a:pt x="66" y="23"/>
                  </a:lnTo>
                  <a:lnTo>
                    <a:pt x="66" y="23"/>
                  </a:lnTo>
                  <a:lnTo>
                    <a:pt x="66" y="21"/>
                  </a:lnTo>
                  <a:lnTo>
                    <a:pt x="69" y="21"/>
                  </a:lnTo>
                  <a:lnTo>
                    <a:pt x="69" y="18"/>
                  </a:lnTo>
                  <a:lnTo>
                    <a:pt x="71" y="18"/>
                  </a:lnTo>
                  <a:lnTo>
                    <a:pt x="71" y="15"/>
                  </a:lnTo>
                  <a:lnTo>
                    <a:pt x="71" y="15"/>
                  </a:lnTo>
                  <a:lnTo>
                    <a:pt x="74" y="15"/>
                  </a:lnTo>
                  <a:lnTo>
                    <a:pt x="76" y="13"/>
                  </a:lnTo>
                  <a:lnTo>
                    <a:pt x="81" y="15"/>
                  </a:lnTo>
                  <a:lnTo>
                    <a:pt x="84" y="15"/>
                  </a:lnTo>
                  <a:lnTo>
                    <a:pt x="86" y="18"/>
                  </a:lnTo>
                  <a:lnTo>
                    <a:pt x="86" y="18"/>
                  </a:lnTo>
                  <a:lnTo>
                    <a:pt x="89" y="21"/>
                  </a:lnTo>
                  <a:lnTo>
                    <a:pt x="89" y="21"/>
                  </a:lnTo>
                  <a:lnTo>
                    <a:pt x="89" y="21"/>
                  </a:lnTo>
                  <a:lnTo>
                    <a:pt x="91" y="23"/>
                  </a:lnTo>
                  <a:lnTo>
                    <a:pt x="91" y="28"/>
                  </a:lnTo>
                  <a:lnTo>
                    <a:pt x="94" y="28"/>
                  </a:lnTo>
                  <a:lnTo>
                    <a:pt x="94" y="28"/>
                  </a:lnTo>
                  <a:lnTo>
                    <a:pt x="94" y="28"/>
                  </a:lnTo>
                  <a:lnTo>
                    <a:pt x="94" y="28"/>
                  </a:lnTo>
                  <a:lnTo>
                    <a:pt x="94" y="28"/>
                  </a:lnTo>
                  <a:lnTo>
                    <a:pt x="94" y="26"/>
                  </a:lnTo>
                  <a:lnTo>
                    <a:pt x="94" y="26"/>
                  </a:lnTo>
                  <a:lnTo>
                    <a:pt x="94" y="26"/>
                  </a:lnTo>
                  <a:lnTo>
                    <a:pt x="97" y="28"/>
                  </a:lnTo>
                  <a:lnTo>
                    <a:pt x="97" y="28"/>
                  </a:lnTo>
                  <a:lnTo>
                    <a:pt x="97" y="28"/>
                  </a:lnTo>
                  <a:lnTo>
                    <a:pt x="97" y="28"/>
                  </a:lnTo>
                  <a:lnTo>
                    <a:pt x="99" y="28"/>
                  </a:lnTo>
                  <a:lnTo>
                    <a:pt x="99" y="26"/>
                  </a:lnTo>
                  <a:lnTo>
                    <a:pt x="102" y="28"/>
                  </a:lnTo>
                  <a:lnTo>
                    <a:pt x="102" y="31"/>
                  </a:lnTo>
                  <a:lnTo>
                    <a:pt x="104" y="33"/>
                  </a:lnTo>
                  <a:lnTo>
                    <a:pt x="107" y="33"/>
                  </a:lnTo>
                  <a:lnTo>
                    <a:pt x="104" y="33"/>
                  </a:lnTo>
                  <a:lnTo>
                    <a:pt x="102" y="33"/>
                  </a:lnTo>
                  <a:lnTo>
                    <a:pt x="102" y="31"/>
                  </a:lnTo>
                  <a:lnTo>
                    <a:pt x="99" y="28"/>
                  </a:lnTo>
                  <a:lnTo>
                    <a:pt x="99" y="28"/>
                  </a:lnTo>
                  <a:lnTo>
                    <a:pt x="99" y="31"/>
                  </a:lnTo>
                  <a:lnTo>
                    <a:pt x="97" y="31"/>
                  </a:lnTo>
                  <a:lnTo>
                    <a:pt x="97" y="33"/>
                  </a:lnTo>
                  <a:lnTo>
                    <a:pt x="97" y="36"/>
                  </a:lnTo>
                  <a:lnTo>
                    <a:pt x="94" y="36"/>
                  </a:lnTo>
                  <a:lnTo>
                    <a:pt x="94" y="36"/>
                  </a:lnTo>
                  <a:lnTo>
                    <a:pt x="91" y="36"/>
                  </a:lnTo>
                  <a:lnTo>
                    <a:pt x="94" y="38"/>
                  </a:lnTo>
                  <a:lnTo>
                    <a:pt x="97" y="49"/>
                  </a:lnTo>
                  <a:lnTo>
                    <a:pt x="102" y="54"/>
                  </a:lnTo>
                  <a:lnTo>
                    <a:pt x="102" y="54"/>
                  </a:lnTo>
                  <a:lnTo>
                    <a:pt x="104" y="51"/>
                  </a:lnTo>
                  <a:lnTo>
                    <a:pt x="104" y="49"/>
                  </a:lnTo>
                  <a:lnTo>
                    <a:pt x="107" y="49"/>
                  </a:lnTo>
                  <a:lnTo>
                    <a:pt x="104" y="46"/>
                  </a:lnTo>
                  <a:lnTo>
                    <a:pt x="107" y="43"/>
                  </a:lnTo>
                  <a:lnTo>
                    <a:pt x="107" y="43"/>
                  </a:lnTo>
                  <a:lnTo>
                    <a:pt x="107" y="43"/>
                  </a:lnTo>
                  <a:lnTo>
                    <a:pt x="107" y="43"/>
                  </a:lnTo>
                  <a:lnTo>
                    <a:pt x="107" y="46"/>
                  </a:lnTo>
                  <a:lnTo>
                    <a:pt x="109" y="46"/>
                  </a:lnTo>
                  <a:lnTo>
                    <a:pt x="109" y="49"/>
                  </a:lnTo>
                  <a:lnTo>
                    <a:pt x="109" y="46"/>
                  </a:lnTo>
                  <a:lnTo>
                    <a:pt x="114" y="43"/>
                  </a:lnTo>
                  <a:lnTo>
                    <a:pt x="114" y="43"/>
                  </a:lnTo>
                  <a:lnTo>
                    <a:pt x="114" y="41"/>
                  </a:lnTo>
                  <a:lnTo>
                    <a:pt x="114" y="38"/>
                  </a:lnTo>
                  <a:lnTo>
                    <a:pt x="117" y="38"/>
                  </a:lnTo>
                  <a:lnTo>
                    <a:pt x="117" y="38"/>
                  </a:lnTo>
                  <a:lnTo>
                    <a:pt x="117" y="36"/>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231" name="Freeform 1850">
              <a:extLst>
                <a:ext uri="{FF2B5EF4-FFF2-40B4-BE49-F238E27FC236}">
                  <a16:creationId xmlns:a16="http://schemas.microsoft.com/office/drawing/2014/main" id="{105470AA-3105-1841-B388-7F32A17FC6F0}"/>
                </a:ext>
              </a:extLst>
            </p:cNvPr>
            <p:cNvSpPr>
              <a:spLocks noEditPoints="1"/>
            </p:cNvSpPr>
            <p:nvPr/>
          </p:nvSpPr>
          <p:spPr bwMode="auto">
            <a:xfrm>
              <a:off x="9918766" y="3513240"/>
              <a:ext cx="104687" cy="175024"/>
            </a:xfrm>
            <a:custGeom>
              <a:avLst/>
              <a:gdLst>
                <a:gd name="T0" fmla="*/ 0 w 64"/>
                <a:gd name="T1" fmla="*/ 107 h 107"/>
                <a:gd name="T2" fmla="*/ 0 w 64"/>
                <a:gd name="T3" fmla="*/ 107 h 107"/>
                <a:gd name="T4" fmla="*/ 0 w 64"/>
                <a:gd name="T5" fmla="*/ 107 h 107"/>
                <a:gd name="T6" fmla="*/ 0 w 64"/>
                <a:gd name="T7" fmla="*/ 107 h 107"/>
                <a:gd name="T8" fmla="*/ 0 w 64"/>
                <a:gd name="T9" fmla="*/ 107 h 107"/>
                <a:gd name="T10" fmla="*/ 0 w 64"/>
                <a:gd name="T11" fmla="*/ 107 h 107"/>
                <a:gd name="T12" fmla="*/ 0 w 64"/>
                <a:gd name="T13" fmla="*/ 107 h 107"/>
                <a:gd name="T14" fmla="*/ 0 w 64"/>
                <a:gd name="T15" fmla="*/ 107 h 107"/>
                <a:gd name="T16" fmla="*/ 0 w 64"/>
                <a:gd name="T17" fmla="*/ 107 h 107"/>
                <a:gd name="T18" fmla="*/ 64 w 64"/>
                <a:gd name="T19" fmla="*/ 3 h 107"/>
                <a:gd name="T20" fmla="*/ 64 w 64"/>
                <a:gd name="T21" fmla="*/ 0 h 107"/>
                <a:gd name="T22" fmla="*/ 64 w 64"/>
                <a:gd name="T23" fmla="*/ 3 h 107"/>
                <a:gd name="T24" fmla="*/ 64 w 64"/>
                <a:gd name="T25" fmla="*/ 3 h 107"/>
                <a:gd name="T26" fmla="*/ 64 w 64"/>
                <a:gd name="T27" fmla="*/ 3 h 107"/>
                <a:gd name="T28" fmla="*/ 61 w 64"/>
                <a:gd name="T29" fmla="*/ 6 h 107"/>
                <a:gd name="T30" fmla="*/ 61 w 64"/>
                <a:gd name="T31" fmla="*/ 8 h 107"/>
                <a:gd name="T32" fmla="*/ 64 w 64"/>
                <a:gd name="T33" fmla="*/ 8 h 107"/>
                <a:gd name="T34" fmla="*/ 64 w 64"/>
                <a:gd name="T35" fmla="*/ 8 h 107"/>
                <a:gd name="T36" fmla="*/ 64 w 64"/>
                <a:gd name="T37" fmla="*/ 8 h 107"/>
                <a:gd name="T38" fmla="*/ 64 w 64"/>
                <a:gd name="T39" fmla="*/ 6 h 107"/>
                <a:gd name="T40" fmla="*/ 64 w 64"/>
                <a:gd name="T41" fmla="*/ 3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4" h="107">
                  <a:moveTo>
                    <a:pt x="0" y="107"/>
                  </a:moveTo>
                  <a:lnTo>
                    <a:pt x="0" y="107"/>
                  </a:lnTo>
                  <a:lnTo>
                    <a:pt x="0" y="107"/>
                  </a:lnTo>
                  <a:lnTo>
                    <a:pt x="0" y="107"/>
                  </a:lnTo>
                  <a:lnTo>
                    <a:pt x="0" y="107"/>
                  </a:lnTo>
                  <a:lnTo>
                    <a:pt x="0" y="107"/>
                  </a:lnTo>
                  <a:lnTo>
                    <a:pt x="0" y="107"/>
                  </a:lnTo>
                  <a:lnTo>
                    <a:pt x="0" y="107"/>
                  </a:lnTo>
                  <a:lnTo>
                    <a:pt x="0" y="107"/>
                  </a:lnTo>
                  <a:close/>
                  <a:moveTo>
                    <a:pt x="64" y="3"/>
                  </a:moveTo>
                  <a:lnTo>
                    <a:pt x="64" y="0"/>
                  </a:lnTo>
                  <a:lnTo>
                    <a:pt x="64" y="3"/>
                  </a:lnTo>
                  <a:lnTo>
                    <a:pt x="64" y="3"/>
                  </a:lnTo>
                  <a:lnTo>
                    <a:pt x="64" y="3"/>
                  </a:lnTo>
                  <a:lnTo>
                    <a:pt x="61" y="6"/>
                  </a:lnTo>
                  <a:lnTo>
                    <a:pt x="61" y="8"/>
                  </a:lnTo>
                  <a:lnTo>
                    <a:pt x="64" y="8"/>
                  </a:lnTo>
                  <a:lnTo>
                    <a:pt x="64" y="8"/>
                  </a:lnTo>
                  <a:lnTo>
                    <a:pt x="64" y="8"/>
                  </a:lnTo>
                  <a:lnTo>
                    <a:pt x="64" y="6"/>
                  </a:lnTo>
                  <a:lnTo>
                    <a:pt x="64" y="3"/>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232" name="Freeform 1851">
              <a:extLst>
                <a:ext uri="{FF2B5EF4-FFF2-40B4-BE49-F238E27FC236}">
                  <a16:creationId xmlns:a16="http://schemas.microsoft.com/office/drawing/2014/main" id="{93E77DFA-5E05-B041-AC85-EC060AEF7A33}"/>
                </a:ext>
              </a:extLst>
            </p:cNvPr>
            <p:cNvSpPr>
              <a:spLocks noEditPoints="1"/>
            </p:cNvSpPr>
            <p:nvPr/>
          </p:nvSpPr>
          <p:spPr bwMode="auto">
            <a:xfrm>
              <a:off x="6701271" y="2593956"/>
              <a:ext cx="40894" cy="45801"/>
            </a:xfrm>
            <a:custGeom>
              <a:avLst/>
              <a:gdLst>
                <a:gd name="T0" fmla="*/ 5 w 25"/>
                <a:gd name="T1" fmla="*/ 20 h 28"/>
                <a:gd name="T2" fmla="*/ 5 w 25"/>
                <a:gd name="T3" fmla="*/ 20 h 28"/>
                <a:gd name="T4" fmla="*/ 2 w 25"/>
                <a:gd name="T5" fmla="*/ 23 h 28"/>
                <a:gd name="T6" fmla="*/ 0 w 25"/>
                <a:gd name="T7" fmla="*/ 26 h 28"/>
                <a:gd name="T8" fmla="*/ 0 w 25"/>
                <a:gd name="T9" fmla="*/ 28 h 28"/>
                <a:gd name="T10" fmla="*/ 0 w 25"/>
                <a:gd name="T11" fmla="*/ 28 h 28"/>
                <a:gd name="T12" fmla="*/ 2 w 25"/>
                <a:gd name="T13" fmla="*/ 28 h 28"/>
                <a:gd name="T14" fmla="*/ 2 w 25"/>
                <a:gd name="T15" fmla="*/ 26 h 28"/>
                <a:gd name="T16" fmla="*/ 5 w 25"/>
                <a:gd name="T17" fmla="*/ 23 h 28"/>
                <a:gd name="T18" fmla="*/ 5 w 25"/>
                <a:gd name="T19" fmla="*/ 20 h 28"/>
                <a:gd name="T20" fmla="*/ 23 w 25"/>
                <a:gd name="T21" fmla="*/ 13 h 28"/>
                <a:gd name="T22" fmla="*/ 23 w 25"/>
                <a:gd name="T23" fmla="*/ 8 h 28"/>
                <a:gd name="T24" fmla="*/ 23 w 25"/>
                <a:gd name="T25" fmla="*/ 5 h 28"/>
                <a:gd name="T26" fmla="*/ 23 w 25"/>
                <a:gd name="T27" fmla="*/ 3 h 28"/>
                <a:gd name="T28" fmla="*/ 23 w 25"/>
                <a:gd name="T29" fmla="*/ 3 h 28"/>
                <a:gd name="T30" fmla="*/ 20 w 25"/>
                <a:gd name="T31" fmla="*/ 0 h 28"/>
                <a:gd name="T32" fmla="*/ 20 w 25"/>
                <a:gd name="T33" fmla="*/ 0 h 28"/>
                <a:gd name="T34" fmla="*/ 20 w 25"/>
                <a:gd name="T35" fmla="*/ 0 h 28"/>
                <a:gd name="T36" fmla="*/ 17 w 25"/>
                <a:gd name="T37" fmla="*/ 0 h 28"/>
                <a:gd name="T38" fmla="*/ 15 w 25"/>
                <a:gd name="T39" fmla="*/ 0 h 28"/>
                <a:gd name="T40" fmla="*/ 12 w 25"/>
                <a:gd name="T41" fmla="*/ 0 h 28"/>
                <a:gd name="T42" fmla="*/ 12 w 25"/>
                <a:gd name="T43" fmla="*/ 3 h 28"/>
                <a:gd name="T44" fmla="*/ 12 w 25"/>
                <a:gd name="T45" fmla="*/ 5 h 28"/>
                <a:gd name="T46" fmla="*/ 12 w 25"/>
                <a:gd name="T47" fmla="*/ 8 h 28"/>
                <a:gd name="T48" fmla="*/ 12 w 25"/>
                <a:gd name="T49" fmla="*/ 10 h 28"/>
                <a:gd name="T50" fmla="*/ 12 w 25"/>
                <a:gd name="T51" fmla="*/ 10 h 28"/>
                <a:gd name="T52" fmla="*/ 12 w 25"/>
                <a:gd name="T53" fmla="*/ 13 h 28"/>
                <a:gd name="T54" fmla="*/ 12 w 25"/>
                <a:gd name="T55" fmla="*/ 15 h 28"/>
                <a:gd name="T56" fmla="*/ 12 w 25"/>
                <a:gd name="T57" fmla="*/ 15 h 28"/>
                <a:gd name="T58" fmla="*/ 12 w 25"/>
                <a:gd name="T59" fmla="*/ 15 h 28"/>
                <a:gd name="T60" fmla="*/ 12 w 25"/>
                <a:gd name="T61" fmla="*/ 15 h 28"/>
                <a:gd name="T62" fmla="*/ 15 w 25"/>
                <a:gd name="T63" fmla="*/ 15 h 28"/>
                <a:gd name="T64" fmla="*/ 15 w 25"/>
                <a:gd name="T65" fmla="*/ 15 h 28"/>
                <a:gd name="T66" fmla="*/ 17 w 25"/>
                <a:gd name="T67" fmla="*/ 15 h 28"/>
                <a:gd name="T68" fmla="*/ 17 w 25"/>
                <a:gd name="T69" fmla="*/ 18 h 28"/>
                <a:gd name="T70" fmla="*/ 17 w 25"/>
                <a:gd name="T71" fmla="*/ 18 h 28"/>
                <a:gd name="T72" fmla="*/ 15 w 25"/>
                <a:gd name="T73" fmla="*/ 18 h 28"/>
                <a:gd name="T74" fmla="*/ 12 w 25"/>
                <a:gd name="T75" fmla="*/ 20 h 28"/>
                <a:gd name="T76" fmla="*/ 12 w 25"/>
                <a:gd name="T77" fmla="*/ 23 h 28"/>
                <a:gd name="T78" fmla="*/ 12 w 25"/>
                <a:gd name="T79" fmla="*/ 26 h 28"/>
                <a:gd name="T80" fmla="*/ 12 w 25"/>
                <a:gd name="T81" fmla="*/ 26 h 28"/>
                <a:gd name="T82" fmla="*/ 12 w 25"/>
                <a:gd name="T83" fmla="*/ 26 h 28"/>
                <a:gd name="T84" fmla="*/ 15 w 25"/>
                <a:gd name="T85" fmla="*/ 26 h 28"/>
                <a:gd name="T86" fmla="*/ 20 w 25"/>
                <a:gd name="T87" fmla="*/ 26 h 28"/>
                <a:gd name="T88" fmla="*/ 23 w 25"/>
                <a:gd name="T89" fmla="*/ 23 h 28"/>
                <a:gd name="T90" fmla="*/ 23 w 25"/>
                <a:gd name="T91" fmla="*/ 23 h 28"/>
                <a:gd name="T92" fmla="*/ 23 w 25"/>
                <a:gd name="T93" fmla="*/ 20 h 28"/>
                <a:gd name="T94" fmla="*/ 23 w 25"/>
                <a:gd name="T95" fmla="*/ 18 h 28"/>
                <a:gd name="T96" fmla="*/ 25 w 25"/>
                <a:gd name="T97" fmla="*/ 15 h 28"/>
                <a:gd name="T98" fmla="*/ 23 w 25"/>
                <a:gd name="T99" fmla="*/ 13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5" h="28">
                  <a:moveTo>
                    <a:pt x="5" y="20"/>
                  </a:moveTo>
                  <a:lnTo>
                    <a:pt x="5" y="20"/>
                  </a:lnTo>
                  <a:lnTo>
                    <a:pt x="2" y="23"/>
                  </a:lnTo>
                  <a:lnTo>
                    <a:pt x="0" y="26"/>
                  </a:lnTo>
                  <a:lnTo>
                    <a:pt x="0" y="28"/>
                  </a:lnTo>
                  <a:lnTo>
                    <a:pt x="0" y="28"/>
                  </a:lnTo>
                  <a:lnTo>
                    <a:pt x="2" y="28"/>
                  </a:lnTo>
                  <a:lnTo>
                    <a:pt x="2" y="26"/>
                  </a:lnTo>
                  <a:lnTo>
                    <a:pt x="5" y="23"/>
                  </a:lnTo>
                  <a:lnTo>
                    <a:pt x="5" y="20"/>
                  </a:lnTo>
                  <a:close/>
                  <a:moveTo>
                    <a:pt x="23" y="13"/>
                  </a:moveTo>
                  <a:lnTo>
                    <a:pt x="23" y="8"/>
                  </a:lnTo>
                  <a:lnTo>
                    <a:pt x="23" y="5"/>
                  </a:lnTo>
                  <a:lnTo>
                    <a:pt x="23" y="3"/>
                  </a:lnTo>
                  <a:lnTo>
                    <a:pt x="23" y="3"/>
                  </a:lnTo>
                  <a:lnTo>
                    <a:pt x="20" y="0"/>
                  </a:lnTo>
                  <a:lnTo>
                    <a:pt x="20" y="0"/>
                  </a:lnTo>
                  <a:lnTo>
                    <a:pt x="20" y="0"/>
                  </a:lnTo>
                  <a:lnTo>
                    <a:pt x="17" y="0"/>
                  </a:lnTo>
                  <a:lnTo>
                    <a:pt x="15" y="0"/>
                  </a:lnTo>
                  <a:lnTo>
                    <a:pt x="12" y="0"/>
                  </a:lnTo>
                  <a:lnTo>
                    <a:pt x="12" y="3"/>
                  </a:lnTo>
                  <a:lnTo>
                    <a:pt x="12" y="5"/>
                  </a:lnTo>
                  <a:lnTo>
                    <a:pt x="12" y="8"/>
                  </a:lnTo>
                  <a:lnTo>
                    <a:pt x="12" y="10"/>
                  </a:lnTo>
                  <a:lnTo>
                    <a:pt x="12" y="10"/>
                  </a:lnTo>
                  <a:lnTo>
                    <a:pt x="12" y="13"/>
                  </a:lnTo>
                  <a:lnTo>
                    <a:pt x="12" y="15"/>
                  </a:lnTo>
                  <a:lnTo>
                    <a:pt x="12" y="15"/>
                  </a:lnTo>
                  <a:lnTo>
                    <a:pt x="12" y="15"/>
                  </a:lnTo>
                  <a:lnTo>
                    <a:pt x="12" y="15"/>
                  </a:lnTo>
                  <a:lnTo>
                    <a:pt x="15" y="15"/>
                  </a:lnTo>
                  <a:lnTo>
                    <a:pt x="15" y="15"/>
                  </a:lnTo>
                  <a:lnTo>
                    <a:pt x="17" y="15"/>
                  </a:lnTo>
                  <a:lnTo>
                    <a:pt x="17" y="18"/>
                  </a:lnTo>
                  <a:lnTo>
                    <a:pt x="17" y="18"/>
                  </a:lnTo>
                  <a:lnTo>
                    <a:pt x="15" y="18"/>
                  </a:lnTo>
                  <a:lnTo>
                    <a:pt x="12" y="20"/>
                  </a:lnTo>
                  <a:lnTo>
                    <a:pt x="12" y="23"/>
                  </a:lnTo>
                  <a:lnTo>
                    <a:pt x="12" y="26"/>
                  </a:lnTo>
                  <a:lnTo>
                    <a:pt x="12" y="26"/>
                  </a:lnTo>
                  <a:lnTo>
                    <a:pt x="12" y="26"/>
                  </a:lnTo>
                  <a:lnTo>
                    <a:pt x="15" y="26"/>
                  </a:lnTo>
                  <a:lnTo>
                    <a:pt x="20" y="26"/>
                  </a:lnTo>
                  <a:lnTo>
                    <a:pt x="23" y="23"/>
                  </a:lnTo>
                  <a:lnTo>
                    <a:pt x="23" y="23"/>
                  </a:lnTo>
                  <a:lnTo>
                    <a:pt x="23" y="20"/>
                  </a:lnTo>
                  <a:lnTo>
                    <a:pt x="23" y="18"/>
                  </a:lnTo>
                  <a:lnTo>
                    <a:pt x="25" y="15"/>
                  </a:lnTo>
                  <a:lnTo>
                    <a:pt x="23" y="13"/>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233" name="Freeform 1852">
              <a:extLst>
                <a:ext uri="{FF2B5EF4-FFF2-40B4-BE49-F238E27FC236}">
                  <a16:creationId xmlns:a16="http://schemas.microsoft.com/office/drawing/2014/main" id="{C04F653B-546E-4641-89FD-B57DE5AC08C5}"/>
                </a:ext>
              </a:extLst>
            </p:cNvPr>
            <p:cNvSpPr>
              <a:spLocks/>
            </p:cNvSpPr>
            <p:nvPr/>
          </p:nvSpPr>
          <p:spPr bwMode="auto">
            <a:xfrm>
              <a:off x="7542040" y="2423840"/>
              <a:ext cx="476000" cy="495629"/>
            </a:xfrm>
            <a:custGeom>
              <a:avLst/>
              <a:gdLst>
                <a:gd name="T0" fmla="*/ 278 w 291"/>
                <a:gd name="T1" fmla="*/ 30 h 303"/>
                <a:gd name="T2" fmla="*/ 266 w 291"/>
                <a:gd name="T3" fmla="*/ 25 h 303"/>
                <a:gd name="T4" fmla="*/ 260 w 291"/>
                <a:gd name="T5" fmla="*/ 10 h 303"/>
                <a:gd name="T6" fmla="*/ 245 w 291"/>
                <a:gd name="T7" fmla="*/ 2 h 303"/>
                <a:gd name="T8" fmla="*/ 232 w 291"/>
                <a:gd name="T9" fmla="*/ 2 h 303"/>
                <a:gd name="T10" fmla="*/ 204 w 291"/>
                <a:gd name="T11" fmla="*/ 5 h 303"/>
                <a:gd name="T12" fmla="*/ 186 w 291"/>
                <a:gd name="T13" fmla="*/ 12 h 303"/>
                <a:gd name="T14" fmla="*/ 174 w 291"/>
                <a:gd name="T15" fmla="*/ 23 h 303"/>
                <a:gd name="T16" fmla="*/ 186 w 291"/>
                <a:gd name="T17" fmla="*/ 38 h 303"/>
                <a:gd name="T18" fmla="*/ 186 w 291"/>
                <a:gd name="T19" fmla="*/ 46 h 303"/>
                <a:gd name="T20" fmla="*/ 179 w 291"/>
                <a:gd name="T21" fmla="*/ 58 h 303"/>
                <a:gd name="T22" fmla="*/ 169 w 291"/>
                <a:gd name="T23" fmla="*/ 71 h 303"/>
                <a:gd name="T24" fmla="*/ 169 w 291"/>
                <a:gd name="T25" fmla="*/ 84 h 303"/>
                <a:gd name="T26" fmla="*/ 156 w 291"/>
                <a:gd name="T27" fmla="*/ 99 h 303"/>
                <a:gd name="T28" fmla="*/ 151 w 291"/>
                <a:gd name="T29" fmla="*/ 124 h 303"/>
                <a:gd name="T30" fmla="*/ 136 w 291"/>
                <a:gd name="T31" fmla="*/ 119 h 303"/>
                <a:gd name="T32" fmla="*/ 130 w 291"/>
                <a:gd name="T33" fmla="*/ 130 h 303"/>
                <a:gd name="T34" fmla="*/ 110 w 291"/>
                <a:gd name="T35" fmla="*/ 135 h 303"/>
                <a:gd name="T36" fmla="*/ 105 w 291"/>
                <a:gd name="T37" fmla="*/ 152 h 303"/>
                <a:gd name="T38" fmla="*/ 95 w 291"/>
                <a:gd name="T39" fmla="*/ 168 h 303"/>
                <a:gd name="T40" fmla="*/ 69 w 291"/>
                <a:gd name="T41" fmla="*/ 173 h 303"/>
                <a:gd name="T42" fmla="*/ 16 w 291"/>
                <a:gd name="T43" fmla="*/ 168 h 303"/>
                <a:gd name="T44" fmla="*/ 18 w 291"/>
                <a:gd name="T45" fmla="*/ 186 h 303"/>
                <a:gd name="T46" fmla="*/ 41 w 291"/>
                <a:gd name="T47" fmla="*/ 201 h 303"/>
                <a:gd name="T48" fmla="*/ 46 w 291"/>
                <a:gd name="T49" fmla="*/ 221 h 303"/>
                <a:gd name="T50" fmla="*/ 57 w 291"/>
                <a:gd name="T51" fmla="*/ 226 h 303"/>
                <a:gd name="T52" fmla="*/ 49 w 291"/>
                <a:gd name="T53" fmla="*/ 236 h 303"/>
                <a:gd name="T54" fmla="*/ 36 w 291"/>
                <a:gd name="T55" fmla="*/ 244 h 303"/>
                <a:gd name="T56" fmla="*/ 28 w 291"/>
                <a:gd name="T57" fmla="*/ 257 h 303"/>
                <a:gd name="T58" fmla="*/ 39 w 291"/>
                <a:gd name="T59" fmla="*/ 269 h 303"/>
                <a:gd name="T60" fmla="*/ 59 w 291"/>
                <a:gd name="T61" fmla="*/ 269 h 303"/>
                <a:gd name="T62" fmla="*/ 77 w 291"/>
                <a:gd name="T63" fmla="*/ 264 h 303"/>
                <a:gd name="T64" fmla="*/ 113 w 291"/>
                <a:gd name="T65" fmla="*/ 264 h 303"/>
                <a:gd name="T66" fmla="*/ 118 w 291"/>
                <a:gd name="T67" fmla="*/ 262 h 303"/>
                <a:gd name="T68" fmla="*/ 138 w 291"/>
                <a:gd name="T69" fmla="*/ 280 h 303"/>
                <a:gd name="T70" fmla="*/ 146 w 291"/>
                <a:gd name="T71" fmla="*/ 297 h 303"/>
                <a:gd name="T72" fmla="*/ 158 w 291"/>
                <a:gd name="T73" fmla="*/ 300 h 303"/>
                <a:gd name="T74" fmla="*/ 169 w 291"/>
                <a:gd name="T75" fmla="*/ 297 h 303"/>
                <a:gd name="T76" fmla="*/ 174 w 291"/>
                <a:gd name="T77" fmla="*/ 290 h 303"/>
                <a:gd name="T78" fmla="*/ 192 w 291"/>
                <a:gd name="T79" fmla="*/ 292 h 303"/>
                <a:gd name="T80" fmla="*/ 207 w 291"/>
                <a:gd name="T81" fmla="*/ 290 h 303"/>
                <a:gd name="T82" fmla="*/ 215 w 291"/>
                <a:gd name="T83" fmla="*/ 287 h 303"/>
                <a:gd name="T84" fmla="*/ 215 w 291"/>
                <a:gd name="T85" fmla="*/ 280 h 303"/>
                <a:gd name="T86" fmla="*/ 202 w 291"/>
                <a:gd name="T87" fmla="*/ 259 h 303"/>
                <a:gd name="T88" fmla="*/ 192 w 291"/>
                <a:gd name="T89" fmla="*/ 244 h 303"/>
                <a:gd name="T90" fmla="*/ 179 w 291"/>
                <a:gd name="T91" fmla="*/ 234 h 303"/>
                <a:gd name="T92" fmla="*/ 186 w 291"/>
                <a:gd name="T93" fmla="*/ 213 h 303"/>
                <a:gd name="T94" fmla="*/ 197 w 291"/>
                <a:gd name="T95" fmla="*/ 208 h 303"/>
                <a:gd name="T96" fmla="*/ 222 w 291"/>
                <a:gd name="T97" fmla="*/ 206 h 303"/>
                <a:gd name="T98" fmla="*/ 237 w 291"/>
                <a:gd name="T99" fmla="*/ 183 h 303"/>
                <a:gd name="T100" fmla="*/ 250 w 291"/>
                <a:gd name="T101" fmla="*/ 158 h 303"/>
                <a:gd name="T102" fmla="*/ 258 w 291"/>
                <a:gd name="T103" fmla="*/ 140 h 303"/>
                <a:gd name="T104" fmla="*/ 260 w 291"/>
                <a:gd name="T105" fmla="*/ 127 h 303"/>
                <a:gd name="T106" fmla="*/ 271 w 291"/>
                <a:gd name="T107" fmla="*/ 112 h 303"/>
                <a:gd name="T108" fmla="*/ 258 w 291"/>
                <a:gd name="T109" fmla="*/ 104 h 303"/>
                <a:gd name="T110" fmla="*/ 248 w 291"/>
                <a:gd name="T111" fmla="*/ 94 h 303"/>
                <a:gd name="T112" fmla="*/ 243 w 291"/>
                <a:gd name="T113" fmla="*/ 86 h 303"/>
                <a:gd name="T114" fmla="*/ 240 w 291"/>
                <a:gd name="T115" fmla="*/ 74 h 303"/>
                <a:gd name="T116" fmla="*/ 235 w 291"/>
                <a:gd name="T117" fmla="*/ 68 h 303"/>
                <a:gd name="T118" fmla="*/ 232 w 291"/>
                <a:gd name="T119" fmla="*/ 58 h 303"/>
                <a:gd name="T120" fmla="*/ 253 w 291"/>
                <a:gd name="T121" fmla="*/ 56 h 303"/>
                <a:gd name="T122" fmla="*/ 273 w 291"/>
                <a:gd name="T123" fmla="*/ 56 h 303"/>
                <a:gd name="T124" fmla="*/ 288 w 291"/>
                <a:gd name="T125" fmla="*/ 48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91" h="303">
                  <a:moveTo>
                    <a:pt x="288" y="43"/>
                  </a:moveTo>
                  <a:lnTo>
                    <a:pt x="288" y="40"/>
                  </a:lnTo>
                  <a:lnTo>
                    <a:pt x="286" y="38"/>
                  </a:lnTo>
                  <a:lnTo>
                    <a:pt x="286" y="38"/>
                  </a:lnTo>
                  <a:lnTo>
                    <a:pt x="283" y="33"/>
                  </a:lnTo>
                  <a:lnTo>
                    <a:pt x="281" y="33"/>
                  </a:lnTo>
                  <a:lnTo>
                    <a:pt x="281" y="30"/>
                  </a:lnTo>
                  <a:lnTo>
                    <a:pt x="278" y="30"/>
                  </a:lnTo>
                  <a:lnTo>
                    <a:pt x="278" y="30"/>
                  </a:lnTo>
                  <a:lnTo>
                    <a:pt x="276" y="25"/>
                  </a:lnTo>
                  <a:lnTo>
                    <a:pt x="276" y="28"/>
                  </a:lnTo>
                  <a:lnTo>
                    <a:pt x="273" y="28"/>
                  </a:lnTo>
                  <a:lnTo>
                    <a:pt x="271" y="28"/>
                  </a:lnTo>
                  <a:lnTo>
                    <a:pt x="271" y="28"/>
                  </a:lnTo>
                  <a:lnTo>
                    <a:pt x="271" y="28"/>
                  </a:lnTo>
                  <a:lnTo>
                    <a:pt x="268" y="25"/>
                  </a:lnTo>
                  <a:lnTo>
                    <a:pt x="268" y="25"/>
                  </a:lnTo>
                  <a:lnTo>
                    <a:pt x="266" y="25"/>
                  </a:lnTo>
                  <a:lnTo>
                    <a:pt x="266" y="23"/>
                  </a:lnTo>
                  <a:lnTo>
                    <a:pt x="263" y="23"/>
                  </a:lnTo>
                  <a:lnTo>
                    <a:pt x="263" y="23"/>
                  </a:lnTo>
                  <a:lnTo>
                    <a:pt x="263" y="20"/>
                  </a:lnTo>
                  <a:lnTo>
                    <a:pt x="266" y="20"/>
                  </a:lnTo>
                  <a:lnTo>
                    <a:pt x="263" y="15"/>
                  </a:lnTo>
                  <a:lnTo>
                    <a:pt x="263" y="12"/>
                  </a:lnTo>
                  <a:lnTo>
                    <a:pt x="263" y="12"/>
                  </a:lnTo>
                  <a:lnTo>
                    <a:pt x="260" y="10"/>
                  </a:lnTo>
                  <a:lnTo>
                    <a:pt x="260" y="10"/>
                  </a:lnTo>
                  <a:lnTo>
                    <a:pt x="258" y="7"/>
                  </a:lnTo>
                  <a:lnTo>
                    <a:pt x="255" y="7"/>
                  </a:lnTo>
                  <a:lnTo>
                    <a:pt x="253" y="7"/>
                  </a:lnTo>
                  <a:lnTo>
                    <a:pt x="253" y="7"/>
                  </a:lnTo>
                  <a:lnTo>
                    <a:pt x="250" y="7"/>
                  </a:lnTo>
                  <a:lnTo>
                    <a:pt x="250" y="2"/>
                  </a:lnTo>
                  <a:lnTo>
                    <a:pt x="248" y="2"/>
                  </a:lnTo>
                  <a:lnTo>
                    <a:pt x="245" y="2"/>
                  </a:lnTo>
                  <a:lnTo>
                    <a:pt x="243" y="0"/>
                  </a:lnTo>
                  <a:lnTo>
                    <a:pt x="240" y="2"/>
                  </a:lnTo>
                  <a:lnTo>
                    <a:pt x="240" y="2"/>
                  </a:lnTo>
                  <a:lnTo>
                    <a:pt x="240" y="2"/>
                  </a:lnTo>
                  <a:lnTo>
                    <a:pt x="237" y="0"/>
                  </a:lnTo>
                  <a:lnTo>
                    <a:pt x="235" y="0"/>
                  </a:lnTo>
                  <a:lnTo>
                    <a:pt x="235" y="0"/>
                  </a:lnTo>
                  <a:lnTo>
                    <a:pt x="232" y="0"/>
                  </a:lnTo>
                  <a:lnTo>
                    <a:pt x="232" y="2"/>
                  </a:lnTo>
                  <a:lnTo>
                    <a:pt x="227" y="2"/>
                  </a:lnTo>
                  <a:lnTo>
                    <a:pt x="225" y="5"/>
                  </a:lnTo>
                  <a:lnTo>
                    <a:pt x="225" y="5"/>
                  </a:lnTo>
                  <a:lnTo>
                    <a:pt x="222" y="5"/>
                  </a:lnTo>
                  <a:lnTo>
                    <a:pt x="220" y="2"/>
                  </a:lnTo>
                  <a:lnTo>
                    <a:pt x="220" y="2"/>
                  </a:lnTo>
                  <a:lnTo>
                    <a:pt x="212" y="2"/>
                  </a:lnTo>
                  <a:lnTo>
                    <a:pt x="207" y="5"/>
                  </a:lnTo>
                  <a:lnTo>
                    <a:pt x="204" y="5"/>
                  </a:lnTo>
                  <a:lnTo>
                    <a:pt x="202" y="5"/>
                  </a:lnTo>
                  <a:lnTo>
                    <a:pt x="197" y="5"/>
                  </a:lnTo>
                  <a:lnTo>
                    <a:pt x="197" y="5"/>
                  </a:lnTo>
                  <a:lnTo>
                    <a:pt x="194" y="7"/>
                  </a:lnTo>
                  <a:lnTo>
                    <a:pt x="192" y="7"/>
                  </a:lnTo>
                  <a:lnTo>
                    <a:pt x="192" y="7"/>
                  </a:lnTo>
                  <a:lnTo>
                    <a:pt x="189" y="7"/>
                  </a:lnTo>
                  <a:lnTo>
                    <a:pt x="189" y="10"/>
                  </a:lnTo>
                  <a:lnTo>
                    <a:pt x="186" y="12"/>
                  </a:lnTo>
                  <a:lnTo>
                    <a:pt x="184" y="12"/>
                  </a:lnTo>
                  <a:lnTo>
                    <a:pt x="184" y="15"/>
                  </a:lnTo>
                  <a:lnTo>
                    <a:pt x="184" y="15"/>
                  </a:lnTo>
                  <a:lnTo>
                    <a:pt x="181" y="15"/>
                  </a:lnTo>
                  <a:lnTo>
                    <a:pt x="179" y="15"/>
                  </a:lnTo>
                  <a:lnTo>
                    <a:pt x="179" y="18"/>
                  </a:lnTo>
                  <a:lnTo>
                    <a:pt x="176" y="20"/>
                  </a:lnTo>
                  <a:lnTo>
                    <a:pt x="176" y="20"/>
                  </a:lnTo>
                  <a:lnTo>
                    <a:pt x="174" y="23"/>
                  </a:lnTo>
                  <a:lnTo>
                    <a:pt x="176" y="23"/>
                  </a:lnTo>
                  <a:lnTo>
                    <a:pt x="179" y="25"/>
                  </a:lnTo>
                  <a:lnTo>
                    <a:pt x="179" y="28"/>
                  </a:lnTo>
                  <a:lnTo>
                    <a:pt x="181" y="28"/>
                  </a:lnTo>
                  <a:lnTo>
                    <a:pt x="181" y="30"/>
                  </a:lnTo>
                  <a:lnTo>
                    <a:pt x="184" y="33"/>
                  </a:lnTo>
                  <a:lnTo>
                    <a:pt x="184" y="35"/>
                  </a:lnTo>
                  <a:lnTo>
                    <a:pt x="184" y="35"/>
                  </a:lnTo>
                  <a:lnTo>
                    <a:pt x="186" y="38"/>
                  </a:lnTo>
                  <a:lnTo>
                    <a:pt x="186" y="38"/>
                  </a:lnTo>
                  <a:lnTo>
                    <a:pt x="184" y="40"/>
                  </a:lnTo>
                  <a:lnTo>
                    <a:pt x="184" y="40"/>
                  </a:lnTo>
                  <a:lnTo>
                    <a:pt x="186" y="40"/>
                  </a:lnTo>
                  <a:lnTo>
                    <a:pt x="186" y="43"/>
                  </a:lnTo>
                  <a:lnTo>
                    <a:pt x="186" y="43"/>
                  </a:lnTo>
                  <a:lnTo>
                    <a:pt x="186" y="43"/>
                  </a:lnTo>
                  <a:lnTo>
                    <a:pt x="186" y="46"/>
                  </a:lnTo>
                  <a:lnTo>
                    <a:pt x="186" y="46"/>
                  </a:lnTo>
                  <a:lnTo>
                    <a:pt x="184" y="48"/>
                  </a:lnTo>
                  <a:lnTo>
                    <a:pt x="184" y="48"/>
                  </a:lnTo>
                  <a:lnTo>
                    <a:pt x="181" y="51"/>
                  </a:lnTo>
                  <a:lnTo>
                    <a:pt x="181" y="53"/>
                  </a:lnTo>
                  <a:lnTo>
                    <a:pt x="179" y="53"/>
                  </a:lnTo>
                  <a:lnTo>
                    <a:pt x="179" y="56"/>
                  </a:lnTo>
                  <a:lnTo>
                    <a:pt x="179" y="58"/>
                  </a:lnTo>
                  <a:lnTo>
                    <a:pt x="179" y="58"/>
                  </a:lnTo>
                  <a:lnTo>
                    <a:pt x="179" y="58"/>
                  </a:lnTo>
                  <a:lnTo>
                    <a:pt x="179" y="61"/>
                  </a:lnTo>
                  <a:lnTo>
                    <a:pt x="181" y="61"/>
                  </a:lnTo>
                  <a:lnTo>
                    <a:pt x="181" y="63"/>
                  </a:lnTo>
                  <a:lnTo>
                    <a:pt x="181" y="66"/>
                  </a:lnTo>
                  <a:lnTo>
                    <a:pt x="181" y="66"/>
                  </a:lnTo>
                  <a:lnTo>
                    <a:pt x="181" y="68"/>
                  </a:lnTo>
                  <a:lnTo>
                    <a:pt x="179" y="71"/>
                  </a:lnTo>
                  <a:lnTo>
                    <a:pt x="174" y="71"/>
                  </a:lnTo>
                  <a:lnTo>
                    <a:pt x="169" y="71"/>
                  </a:lnTo>
                  <a:lnTo>
                    <a:pt x="169" y="71"/>
                  </a:lnTo>
                  <a:lnTo>
                    <a:pt x="166" y="71"/>
                  </a:lnTo>
                  <a:lnTo>
                    <a:pt x="161" y="68"/>
                  </a:lnTo>
                  <a:lnTo>
                    <a:pt x="158" y="68"/>
                  </a:lnTo>
                  <a:lnTo>
                    <a:pt x="158" y="71"/>
                  </a:lnTo>
                  <a:lnTo>
                    <a:pt x="164" y="76"/>
                  </a:lnTo>
                  <a:lnTo>
                    <a:pt x="166" y="79"/>
                  </a:lnTo>
                  <a:lnTo>
                    <a:pt x="169" y="81"/>
                  </a:lnTo>
                  <a:lnTo>
                    <a:pt x="169" y="84"/>
                  </a:lnTo>
                  <a:lnTo>
                    <a:pt x="169" y="86"/>
                  </a:lnTo>
                  <a:lnTo>
                    <a:pt x="166" y="89"/>
                  </a:lnTo>
                  <a:lnTo>
                    <a:pt x="164" y="89"/>
                  </a:lnTo>
                  <a:lnTo>
                    <a:pt x="161" y="91"/>
                  </a:lnTo>
                  <a:lnTo>
                    <a:pt x="158" y="91"/>
                  </a:lnTo>
                  <a:lnTo>
                    <a:pt x="156" y="91"/>
                  </a:lnTo>
                  <a:lnTo>
                    <a:pt x="156" y="96"/>
                  </a:lnTo>
                  <a:lnTo>
                    <a:pt x="156" y="99"/>
                  </a:lnTo>
                  <a:lnTo>
                    <a:pt x="156" y="99"/>
                  </a:lnTo>
                  <a:lnTo>
                    <a:pt x="156" y="102"/>
                  </a:lnTo>
                  <a:lnTo>
                    <a:pt x="153" y="104"/>
                  </a:lnTo>
                  <a:lnTo>
                    <a:pt x="153" y="107"/>
                  </a:lnTo>
                  <a:lnTo>
                    <a:pt x="156" y="109"/>
                  </a:lnTo>
                  <a:lnTo>
                    <a:pt x="156" y="117"/>
                  </a:lnTo>
                  <a:lnTo>
                    <a:pt x="156" y="119"/>
                  </a:lnTo>
                  <a:lnTo>
                    <a:pt x="153" y="122"/>
                  </a:lnTo>
                  <a:lnTo>
                    <a:pt x="151" y="122"/>
                  </a:lnTo>
                  <a:lnTo>
                    <a:pt x="151" y="124"/>
                  </a:lnTo>
                  <a:lnTo>
                    <a:pt x="148" y="124"/>
                  </a:lnTo>
                  <a:lnTo>
                    <a:pt x="146" y="122"/>
                  </a:lnTo>
                  <a:lnTo>
                    <a:pt x="146" y="122"/>
                  </a:lnTo>
                  <a:lnTo>
                    <a:pt x="143" y="119"/>
                  </a:lnTo>
                  <a:lnTo>
                    <a:pt x="143" y="119"/>
                  </a:lnTo>
                  <a:lnTo>
                    <a:pt x="141" y="122"/>
                  </a:lnTo>
                  <a:lnTo>
                    <a:pt x="138" y="119"/>
                  </a:lnTo>
                  <a:lnTo>
                    <a:pt x="136" y="119"/>
                  </a:lnTo>
                  <a:lnTo>
                    <a:pt x="136" y="119"/>
                  </a:lnTo>
                  <a:lnTo>
                    <a:pt x="136" y="122"/>
                  </a:lnTo>
                  <a:lnTo>
                    <a:pt x="133" y="122"/>
                  </a:lnTo>
                  <a:lnTo>
                    <a:pt x="128" y="124"/>
                  </a:lnTo>
                  <a:lnTo>
                    <a:pt x="125" y="124"/>
                  </a:lnTo>
                  <a:lnTo>
                    <a:pt x="125" y="127"/>
                  </a:lnTo>
                  <a:lnTo>
                    <a:pt x="125" y="127"/>
                  </a:lnTo>
                  <a:lnTo>
                    <a:pt x="128" y="130"/>
                  </a:lnTo>
                  <a:lnTo>
                    <a:pt x="128" y="130"/>
                  </a:lnTo>
                  <a:lnTo>
                    <a:pt x="130" y="130"/>
                  </a:lnTo>
                  <a:lnTo>
                    <a:pt x="128" y="132"/>
                  </a:lnTo>
                  <a:lnTo>
                    <a:pt x="128" y="132"/>
                  </a:lnTo>
                  <a:lnTo>
                    <a:pt x="125" y="132"/>
                  </a:lnTo>
                  <a:lnTo>
                    <a:pt x="120" y="132"/>
                  </a:lnTo>
                  <a:lnTo>
                    <a:pt x="118" y="132"/>
                  </a:lnTo>
                  <a:lnTo>
                    <a:pt x="115" y="132"/>
                  </a:lnTo>
                  <a:lnTo>
                    <a:pt x="113" y="132"/>
                  </a:lnTo>
                  <a:lnTo>
                    <a:pt x="113" y="132"/>
                  </a:lnTo>
                  <a:lnTo>
                    <a:pt x="110" y="135"/>
                  </a:lnTo>
                  <a:lnTo>
                    <a:pt x="110" y="137"/>
                  </a:lnTo>
                  <a:lnTo>
                    <a:pt x="107" y="137"/>
                  </a:lnTo>
                  <a:lnTo>
                    <a:pt x="107" y="137"/>
                  </a:lnTo>
                  <a:lnTo>
                    <a:pt x="107" y="140"/>
                  </a:lnTo>
                  <a:lnTo>
                    <a:pt x="105" y="140"/>
                  </a:lnTo>
                  <a:lnTo>
                    <a:pt x="105" y="142"/>
                  </a:lnTo>
                  <a:lnTo>
                    <a:pt x="105" y="147"/>
                  </a:lnTo>
                  <a:lnTo>
                    <a:pt x="105" y="150"/>
                  </a:lnTo>
                  <a:lnTo>
                    <a:pt x="105" y="152"/>
                  </a:lnTo>
                  <a:lnTo>
                    <a:pt x="105" y="155"/>
                  </a:lnTo>
                  <a:lnTo>
                    <a:pt x="105" y="158"/>
                  </a:lnTo>
                  <a:lnTo>
                    <a:pt x="105" y="160"/>
                  </a:lnTo>
                  <a:lnTo>
                    <a:pt x="107" y="160"/>
                  </a:lnTo>
                  <a:lnTo>
                    <a:pt x="107" y="163"/>
                  </a:lnTo>
                  <a:lnTo>
                    <a:pt x="105" y="163"/>
                  </a:lnTo>
                  <a:lnTo>
                    <a:pt x="105" y="165"/>
                  </a:lnTo>
                  <a:lnTo>
                    <a:pt x="100" y="165"/>
                  </a:lnTo>
                  <a:lnTo>
                    <a:pt x="95" y="168"/>
                  </a:lnTo>
                  <a:lnTo>
                    <a:pt x="92" y="168"/>
                  </a:lnTo>
                  <a:lnTo>
                    <a:pt x="87" y="170"/>
                  </a:lnTo>
                  <a:lnTo>
                    <a:pt x="85" y="170"/>
                  </a:lnTo>
                  <a:lnTo>
                    <a:pt x="82" y="170"/>
                  </a:lnTo>
                  <a:lnTo>
                    <a:pt x="79" y="170"/>
                  </a:lnTo>
                  <a:lnTo>
                    <a:pt x="77" y="170"/>
                  </a:lnTo>
                  <a:lnTo>
                    <a:pt x="74" y="170"/>
                  </a:lnTo>
                  <a:lnTo>
                    <a:pt x="72" y="170"/>
                  </a:lnTo>
                  <a:lnTo>
                    <a:pt x="69" y="173"/>
                  </a:lnTo>
                  <a:lnTo>
                    <a:pt x="67" y="173"/>
                  </a:lnTo>
                  <a:lnTo>
                    <a:pt x="67" y="173"/>
                  </a:lnTo>
                  <a:lnTo>
                    <a:pt x="67" y="175"/>
                  </a:lnTo>
                  <a:lnTo>
                    <a:pt x="64" y="173"/>
                  </a:lnTo>
                  <a:lnTo>
                    <a:pt x="54" y="173"/>
                  </a:lnTo>
                  <a:lnTo>
                    <a:pt x="34" y="173"/>
                  </a:lnTo>
                  <a:lnTo>
                    <a:pt x="31" y="173"/>
                  </a:lnTo>
                  <a:lnTo>
                    <a:pt x="26" y="170"/>
                  </a:lnTo>
                  <a:lnTo>
                    <a:pt x="16" y="168"/>
                  </a:lnTo>
                  <a:lnTo>
                    <a:pt x="8" y="165"/>
                  </a:lnTo>
                  <a:lnTo>
                    <a:pt x="0" y="163"/>
                  </a:lnTo>
                  <a:lnTo>
                    <a:pt x="6" y="168"/>
                  </a:lnTo>
                  <a:lnTo>
                    <a:pt x="8" y="170"/>
                  </a:lnTo>
                  <a:lnTo>
                    <a:pt x="13" y="175"/>
                  </a:lnTo>
                  <a:lnTo>
                    <a:pt x="13" y="175"/>
                  </a:lnTo>
                  <a:lnTo>
                    <a:pt x="13" y="178"/>
                  </a:lnTo>
                  <a:lnTo>
                    <a:pt x="16" y="183"/>
                  </a:lnTo>
                  <a:lnTo>
                    <a:pt x="18" y="186"/>
                  </a:lnTo>
                  <a:lnTo>
                    <a:pt x="21" y="188"/>
                  </a:lnTo>
                  <a:lnTo>
                    <a:pt x="23" y="191"/>
                  </a:lnTo>
                  <a:lnTo>
                    <a:pt x="26" y="193"/>
                  </a:lnTo>
                  <a:lnTo>
                    <a:pt x="28" y="196"/>
                  </a:lnTo>
                  <a:lnTo>
                    <a:pt x="31" y="196"/>
                  </a:lnTo>
                  <a:lnTo>
                    <a:pt x="36" y="196"/>
                  </a:lnTo>
                  <a:lnTo>
                    <a:pt x="36" y="198"/>
                  </a:lnTo>
                  <a:lnTo>
                    <a:pt x="39" y="201"/>
                  </a:lnTo>
                  <a:lnTo>
                    <a:pt x="41" y="201"/>
                  </a:lnTo>
                  <a:lnTo>
                    <a:pt x="44" y="201"/>
                  </a:lnTo>
                  <a:lnTo>
                    <a:pt x="44" y="201"/>
                  </a:lnTo>
                  <a:lnTo>
                    <a:pt x="44" y="201"/>
                  </a:lnTo>
                  <a:lnTo>
                    <a:pt x="44" y="206"/>
                  </a:lnTo>
                  <a:lnTo>
                    <a:pt x="44" y="211"/>
                  </a:lnTo>
                  <a:lnTo>
                    <a:pt x="46" y="219"/>
                  </a:lnTo>
                  <a:lnTo>
                    <a:pt x="46" y="219"/>
                  </a:lnTo>
                  <a:lnTo>
                    <a:pt x="46" y="221"/>
                  </a:lnTo>
                  <a:lnTo>
                    <a:pt x="46" y="221"/>
                  </a:lnTo>
                  <a:lnTo>
                    <a:pt x="46" y="224"/>
                  </a:lnTo>
                  <a:lnTo>
                    <a:pt x="46" y="224"/>
                  </a:lnTo>
                  <a:lnTo>
                    <a:pt x="46" y="224"/>
                  </a:lnTo>
                  <a:lnTo>
                    <a:pt x="49" y="224"/>
                  </a:lnTo>
                  <a:lnTo>
                    <a:pt x="54" y="224"/>
                  </a:lnTo>
                  <a:lnTo>
                    <a:pt x="54" y="224"/>
                  </a:lnTo>
                  <a:lnTo>
                    <a:pt x="57" y="224"/>
                  </a:lnTo>
                  <a:lnTo>
                    <a:pt x="57" y="226"/>
                  </a:lnTo>
                  <a:lnTo>
                    <a:pt x="57" y="226"/>
                  </a:lnTo>
                  <a:lnTo>
                    <a:pt x="57" y="226"/>
                  </a:lnTo>
                  <a:lnTo>
                    <a:pt x="57" y="229"/>
                  </a:lnTo>
                  <a:lnTo>
                    <a:pt x="57" y="231"/>
                  </a:lnTo>
                  <a:lnTo>
                    <a:pt x="57" y="231"/>
                  </a:lnTo>
                  <a:lnTo>
                    <a:pt x="57" y="231"/>
                  </a:lnTo>
                  <a:lnTo>
                    <a:pt x="57" y="236"/>
                  </a:lnTo>
                  <a:lnTo>
                    <a:pt x="57" y="236"/>
                  </a:lnTo>
                  <a:lnTo>
                    <a:pt x="54" y="236"/>
                  </a:lnTo>
                  <a:lnTo>
                    <a:pt x="49" y="236"/>
                  </a:lnTo>
                  <a:lnTo>
                    <a:pt x="46" y="236"/>
                  </a:lnTo>
                  <a:lnTo>
                    <a:pt x="46" y="239"/>
                  </a:lnTo>
                  <a:lnTo>
                    <a:pt x="41" y="239"/>
                  </a:lnTo>
                  <a:lnTo>
                    <a:pt x="41" y="239"/>
                  </a:lnTo>
                  <a:lnTo>
                    <a:pt x="39" y="239"/>
                  </a:lnTo>
                  <a:lnTo>
                    <a:pt x="39" y="241"/>
                  </a:lnTo>
                  <a:lnTo>
                    <a:pt x="39" y="244"/>
                  </a:lnTo>
                  <a:lnTo>
                    <a:pt x="39" y="244"/>
                  </a:lnTo>
                  <a:lnTo>
                    <a:pt x="36" y="244"/>
                  </a:lnTo>
                  <a:lnTo>
                    <a:pt x="36" y="244"/>
                  </a:lnTo>
                  <a:lnTo>
                    <a:pt x="31" y="247"/>
                  </a:lnTo>
                  <a:lnTo>
                    <a:pt x="31" y="247"/>
                  </a:lnTo>
                  <a:lnTo>
                    <a:pt x="31" y="247"/>
                  </a:lnTo>
                  <a:lnTo>
                    <a:pt x="31" y="252"/>
                  </a:lnTo>
                  <a:lnTo>
                    <a:pt x="31" y="254"/>
                  </a:lnTo>
                  <a:lnTo>
                    <a:pt x="28" y="254"/>
                  </a:lnTo>
                  <a:lnTo>
                    <a:pt x="28" y="257"/>
                  </a:lnTo>
                  <a:lnTo>
                    <a:pt x="28" y="257"/>
                  </a:lnTo>
                  <a:lnTo>
                    <a:pt x="28" y="259"/>
                  </a:lnTo>
                  <a:lnTo>
                    <a:pt x="28" y="262"/>
                  </a:lnTo>
                  <a:lnTo>
                    <a:pt x="28" y="267"/>
                  </a:lnTo>
                  <a:lnTo>
                    <a:pt x="28" y="269"/>
                  </a:lnTo>
                  <a:lnTo>
                    <a:pt x="28" y="269"/>
                  </a:lnTo>
                  <a:lnTo>
                    <a:pt x="31" y="272"/>
                  </a:lnTo>
                  <a:lnTo>
                    <a:pt x="34" y="272"/>
                  </a:lnTo>
                  <a:lnTo>
                    <a:pt x="39" y="269"/>
                  </a:lnTo>
                  <a:lnTo>
                    <a:pt x="39" y="269"/>
                  </a:lnTo>
                  <a:lnTo>
                    <a:pt x="41" y="269"/>
                  </a:lnTo>
                  <a:lnTo>
                    <a:pt x="41" y="269"/>
                  </a:lnTo>
                  <a:lnTo>
                    <a:pt x="41" y="272"/>
                  </a:lnTo>
                  <a:lnTo>
                    <a:pt x="44" y="269"/>
                  </a:lnTo>
                  <a:lnTo>
                    <a:pt x="44" y="269"/>
                  </a:lnTo>
                  <a:lnTo>
                    <a:pt x="46" y="269"/>
                  </a:lnTo>
                  <a:lnTo>
                    <a:pt x="49" y="267"/>
                  </a:lnTo>
                  <a:lnTo>
                    <a:pt x="57" y="269"/>
                  </a:lnTo>
                  <a:lnTo>
                    <a:pt x="59" y="269"/>
                  </a:lnTo>
                  <a:lnTo>
                    <a:pt x="62" y="269"/>
                  </a:lnTo>
                  <a:lnTo>
                    <a:pt x="64" y="269"/>
                  </a:lnTo>
                  <a:lnTo>
                    <a:pt x="64" y="267"/>
                  </a:lnTo>
                  <a:lnTo>
                    <a:pt x="67" y="267"/>
                  </a:lnTo>
                  <a:lnTo>
                    <a:pt x="69" y="264"/>
                  </a:lnTo>
                  <a:lnTo>
                    <a:pt x="74" y="267"/>
                  </a:lnTo>
                  <a:lnTo>
                    <a:pt x="74" y="267"/>
                  </a:lnTo>
                  <a:lnTo>
                    <a:pt x="77" y="264"/>
                  </a:lnTo>
                  <a:lnTo>
                    <a:pt x="77" y="264"/>
                  </a:lnTo>
                  <a:lnTo>
                    <a:pt x="77" y="267"/>
                  </a:lnTo>
                  <a:lnTo>
                    <a:pt x="87" y="269"/>
                  </a:lnTo>
                  <a:lnTo>
                    <a:pt x="87" y="269"/>
                  </a:lnTo>
                  <a:lnTo>
                    <a:pt x="87" y="269"/>
                  </a:lnTo>
                  <a:lnTo>
                    <a:pt x="90" y="267"/>
                  </a:lnTo>
                  <a:lnTo>
                    <a:pt x="95" y="267"/>
                  </a:lnTo>
                  <a:lnTo>
                    <a:pt x="102" y="264"/>
                  </a:lnTo>
                  <a:lnTo>
                    <a:pt x="107" y="267"/>
                  </a:lnTo>
                  <a:lnTo>
                    <a:pt x="113" y="264"/>
                  </a:lnTo>
                  <a:lnTo>
                    <a:pt x="118" y="264"/>
                  </a:lnTo>
                  <a:lnTo>
                    <a:pt x="120" y="264"/>
                  </a:lnTo>
                  <a:lnTo>
                    <a:pt x="123" y="264"/>
                  </a:lnTo>
                  <a:lnTo>
                    <a:pt x="123" y="264"/>
                  </a:lnTo>
                  <a:lnTo>
                    <a:pt x="123" y="262"/>
                  </a:lnTo>
                  <a:lnTo>
                    <a:pt x="120" y="262"/>
                  </a:lnTo>
                  <a:lnTo>
                    <a:pt x="115" y="262"/>
                  </a:lnTo>
                  <a:lnTo>
                    <a:pt x="118" y="262"/>
                  </a:lnTo>
                  <a:lnTo>
                    <a:pt x="118" y="262"/>
                  </a:lnTo>
                  <a:lnTo>
                    <a:pt x="120" y="259"/>
                  </a:lnTo>
                  <a:lnTo>
                    <a:pt x="123" y="262"/>
                  </a:lnTo>
                  <a:lnTo>
                    <a:pt x="125" y="262"/>
                  </a:lnTo>
                  <a:lnTo>
                    <a:pt x="125" y="264"/>
                  </a:lnTo>
                  <a:lnTo>
                    <a:pt x="128" y="269"/>
                  </a:lnTo>
                  <a:lnTo>
                    <a:pt x="128" y="272"/>
                  </a:lnTo>
                  <a:lnTo>
                    <a:pt x="128" y="275"/>
                  </a:lnTo>
                  <a:lnTo>
                    <a:pt x="128" y="277"/>
                  </a:lnTo>
                  <a:lnTo>
                    <a:pt x="138" y="280"/>
                  </a:lnTo>
                  <a:lnTo>
                    <a:pt x="138" y="280"/>
                  </a:lnTo>
                  <a:lnTo>
                    <a:pt x="141" y="287"/>
                  </a:lnTo>
                  <a:lnTo>
                    <a:pt x="143" y="290"/>
                  </a:lnTo>
                  <a:lnTo>
                    <a:pt x="143" y="292"/>
                  </a:lnTo>
                  <a:lnTo>
                    <a:pt x="143" y="295"/>
                  </a:lnTo>
                  <a:lnTo>
                    <a:pt x="146" y="295"/>
                  </a:lnTo>
                  <a:lnTo>
                    <a:pt x="146" y="295"/>
                  </a:lnTo>
                  <a:lnTo>
                    <a:pt x="146" y="297"/>
                  </a:lnTo>
                  <a:lnTo>
                    <a:pt x="146" y="297"/>
                  </a:lnTo>
                  <a:lnTo>
                    <a:pt x="148" y="300"/>
                  </a:lnTo>
                  <a:lnTo>
                    <a:pt x="151" y="297"/>
                  </a:lnTo>
                  <a:lnTo>
                    <a:pt x="151" y="300"/>
                  </a:lnTo>
                  <a:lnTo>
                    <a:pt x="151" y="300"/>
                  </a:lnTo>
                  <a:lnTo>
                    <a:pt x="153" y="300"/>
                  </a:lnTo>
                  <a:lnTo>
                    <a:pt x="153" y="300"/>
                  </a:lnTo>
                  <a:lnTo>
                    <a:pt x="156" y="300"/>
                  </a:lnTo>
                  <a:lnTo>
                    <a:pt x="156" y="300"/>
                  </a:lnTo>
                  <a:lnTo>
                    <a:pt x="158" y="300"/>
                  </a:lnTo>
                  <a:lnTo>
                    <a:pt x="158" y="300"/>
                  </a:lnTo>
                  <a:lnTo>
                    <a:pt x="158" y="303"/>
                  </a:lnTo>
                  <a:lnTo>
                    <a:pt x="161" y="303"/>
                  </a:lnTo>
                  <a:lnTo>
                    <a:pt x="161" y="300"/>
                  </a:lnTo>
                  <a:lnTo>
                    <a:pt x="161" y="300"/>
                  </a:lnTo>
                  <a:lnTo>
                    <a:pt x="161" y="297"/>
                  </a:lnTo>
                  <a:lnTo>
                    <a:pt x="164" y="297"/>
                  </a:lnTo>
                  <a:lnTo>
                    <a:pt x="166" y="297"/>
                  </a:lnTo>
                  <a:lnTo>
                    <a:pt x="169" y="297"/>
                  </a:lnTo>
                  <a:lnTo>
                    <a:pt x="171" y="297"/>
                  </a:lnTo>
                  <a:lnTo>
                    <a:pt x="171" y="290"/>
                  </a:lnTo>
                  <a:lnTo>
                    <a:pt x="171" y="290"/>
                  </a:lnTo>
                  <a:lnTo>
                    <a:pt x="171" y="290"/>
                  </a:lnTo>
                  <a:lnTo>
                    <a:pt x="171" y="290"/>
                  </a:lnTo>
                  <a:lnTo>
                    <a:pt x="171" y="290"/>
                  </a:lnTo>
                  <a:lnTo>
                    <a:pt x="171" y="290"/>
                  </a:lnTo>
                  <a:lnTo>
                    <a:pt x="174" y="290"/>
                  </a:lnTo>
                  <a:lnTo>
                    <a:pt x="174" y="290"/>
                  </a:lnTo>
                  <a:lnTo>
                    <a:pt x="176" y="290"/>
                  </a:lnTo>
                  <a:lnTo>
                    <a:pt x="176" y="290"/>
                  </a:lnTo>
                  <a:lnTo>
                    <a:pt x="179" y="290"/>
                  </a:lnTo>
                  <a:lnTo>
                    <a:pt x="179" y="290"/>
                  </a:lnTo>
                  <a:lnTo>
                    <a:pt x="184" y="290"/>
                  </a:lnTo>
                  <a:lnTo>
                    <a:pt x="186" y="290"/>
                  </a:lnTo>
                  <a:lnTo>
                    <a:pt x="189" y="292"/>
                  </a:lnTo>
                  <a:lnTo>
                    <a:pt x="189" y="292"/>
                  </a:lnTo>
                  <a:lnTo>
                    <a:pt x="192" y="292"/>
                  </a:lnTo>
                  <a:lnTo>
                    <a:pt x="194" y="292"/>
                  </a:lnTo>
                  <a:lnTo>
                    <a:pt x="197" y="292"/>
                  </a:lnTo>
                  <a:lnTo>
                    <a:pt x="197" y="292"/>
                  </a:lnTo>
                  <a:lnTo>
                    <a:pt x="197" y="290"/>
                  </a:lnTo>
                  <a:lnTo>
                    <a:pt x="199" y="290"/>
                  </a:lnTo>
                  <a:lnTo>
                    <a:pt x="204" y="287"/>
                  </a:lnTo>
                  <a:lnTo>
                    <a:pt x="204" y="287"/>
                  </a:lnTo>
                  <a:lnTo>
                    <a:pt x="207" y="287"/>
                  </a:lnTo>
                  <a:lnTo>
                    <a:pt x="207" y="290"/>
                  </a:lnTo>
                  <a:lnTo>
                    <a:pt x="207" y="290"/>
                  </a:lnTo>
                  <a:lnTo>
                    <a:pt x="207" y="292"/>
                  </a:lnTo>
                  <a:lnTo>
                    <a:pt x="209" y="292"/>
                  </a:lnTo>
                  <a:lnTo>
                    <a:pt x="209" y="292"/>
                  </a:lnTo>
                  <a:lnTo>
                    <a:pt x="212" y="290"/>
                  </a:lnTo>
                  <a:lnTo>
                    <a:pt x="212" y="290"/>
                  </a:lnTo>
                  <a:lnTo>
                    <a:pt x="212" y="290"/>
                  </a:lnTo>
                  <a:lnTo>
                    <a:pt x="215" y="290"/>
                  </a:lnTo>
                  <a:lnTo>
                    <a:pt x="215" y="287"/>
                  </a:lnTo>
                  <a:lnTo>
                    <a:pt x="215" y="287"/>
                  </a:lnTo>
                  <a:lnTo>
                    <a:pt x="215" y="287"/>
                  </a:lnTo>
                  <a:lnTo>
                    <a:pt x="215" y="285"/>
                  </a:lnTo>
                  <a:lnTo>
                    <a:pt x="215" y="285"/>
                  </a:lnTo>
                  <a:lnTo>
                    <a:pt x="212" y="285"/>
                  </a:lnTo>
                  <a:lnTo>
                    <a:pt x="212" y="282"/>
                  </a:lnTo>
                  <a:lnTo>
                    <a:pt x="215" y="282"/>
                  </a:lnTo>
                  <a:lnTo>
                    <a:pt x="215" y="282"/>
                  </a:lnTo>
                  <a:lnTo>
                    <a:pt x="215" y="280"/>
                  </a:lnTo>
                  <a:lnTo>
                    <a:pt x="212" y="277"/>
                  </a:lnTo>
                  <a:lnTo>
                    <a:pt x="209" y="272"/>
                  </a:lnTo>
                  <a:lnTo>
                    <a:pt x="209" y="269"/>
                  </a:lnTo>
                  <a:lnTo>
                    <a:pt x="207" y="267"/>
                  </a:lnTo>
                  <a:lnTo>
                    <a:pt x="204" y="264"/>
                  </a:lnTo>
                  <a:lnTo>
                    <a:pt x="204" y="259"/>
                  </a:lnTo>
                  <a:lnTo>
                    <a:pt x="204" y="259"/>
                  </a:lnTo>
                  <a:lnTo>
                    <a:pt x="204" y="259"/>
                  </a:lnTo>
                  <a:lnTo>
                    <a:pt x="202" y="259"/>
                  </a:lnTo>
                  <a:lnTo>
                    <a:pt x="202" y="259"/>
                  </a:lnTo>
                  <a:lnTo>
                    <a:pt x="199" y="259"/>
                  </a:lnTo>
                  <a:lnTo>
                    <a:pt x="197" y="259"/>
                  </a:lnTo>
                  <a:lnTo>
                    <a:pt x="197" y="259"/>
                  </a:lnTo>
                  <a:lnTo>
                    <a:pt x="192" y="254"/>
                  </a:lnTo>
                  <a:lnTo>
                    <a:pt x="192" y="252"/>
                  </a:lnTo>
                  <a:lnTo>
                    <a:pt x="192" y="249"/>
                  </a:lnTo>
                  <a:lnTo>
                    <a:pt x="192" y="247"/>
                  </a:lnTo>
                  <a:lnTo>
                    <a:pt x="192" y="244"/>
                  </a:lnTo>
                  <a:lnTo>
                    <a:pt x="192" y="241"/>
                  </a:lnTo>
                  <a:lnTo>
                    <a:pt x="192" y="239"/>
                  </a:lnTo>
                  <a:lnTo>
                    <a:pt x="192" y="239"/>
                  </a:lnTo>
                  <a:lnTo>
                    <a:pt x="189" y="239"/>
                  </a:lnTo>
                  <a:lnTo>
                    <a:pt x="186" y="239"/>
                  </a:lnTo>
                  <a:lnTo>
                    <a:pt x="184" y="236"/>
                  </a:lnTo>
                  <a:lnTo>
                    <a:pt x="181" y="236"/>
                  </a:lnTo>
                  <a:lnTo>
                    <a:pt x="179" y="234"/>
                  </a:lnTo>
                  <a:lnTo>
                    <a:pt x="179" y="234"/>
                  </a:lnTo>
                  <a:lnTo>
                    <a:pt x="179" y="234"/>
                  </a:lnTo>
                  <a:lnTo>
                    <a:pt x="179" y="229"/>
                  </a:lnTo>
                  <a:lnTo>
                    <a:pt x="179" y="226"/>
                  </a:lnTo>
                  <a:lnTo>
                    <a:pt x="179" y="224"/>
                  </a:lnTo>
                  <a:lnTo>
                    <a:pt x="179" y="224"/>
                  </a:lnTo>
                  <a:lnTo>
                    <a:pt x="181" y="224"/>
                  </a:lnTo>
                  <a:lnTo>
                    <a:pt x="181" y="221"/>
                  </a:lnTo>
                  <a:lnTo>
                    <a:pt x="184" y="219"/>
                  </a:lnTo>
                  <a:lnTo>
                    <a:pt x="186" y="213"/>
                  </a:lnTo>
                  <a:lnTo>
                    <a:pt x="189" y="208"/>
                  </a:lnTo>
                  <a:lnTo>
                    <a:pt x="189" y="208"/>
                  </a:lnTo>
                  <a:lnTo>
                    <a:pt x="189" y="208"/>
                  </a:lnTo>
                  <a:lnTo>
                    <a:pt x="192" y="206"/>
                  </a:lnTo>
                  <a:lnTo>
                    <a:pt x="192" y="206"/>
                  </a:lnTo>
                  <a:lnTo>
                    <a:pt x="194" y="206"/>
                  </a:lnTo>
                  <a:lnTo>
                    <a:pt x="197" y="206"/>
                  </a:lnTo>
                  <a:lnTo>
                    <a:pt x="197" y="208"/>
                  </a:lnTo>
                  <a:lnTo>
                    <a:pt x="197" y="208"/>
                  </a:lnTo>
                  <a:lnTo>
                    <a:pt x="199" y="211"/>
                  </a:lnTo>
                  <a:lnTo>
                    <a:pt x="199" y="211"/>
                  </a:lnTo>
                  <a:lnTo>
                    <a:pt x="202" y="213"/>
                  </a:lnTo>
                  <a:lnTo>
                    <a:pt x="202" y="213"/>
                  </a:lnTo>
                  <a:lnTo>
                    <a:pt x="207" y="211"/>
                  </a:lnTo>
                  <a:lnTo>
                    <a:pt x="209" y="208"/>
                  </a:lnTo>
                  <a:lnTo>
                    <a:pt x="215" y="208"/>
                  </a:lnTo>
                  <a:lnTo>
                    <a:pt x="217" y="208"/>
                  </a:lnTo>
                  <a:lnTo>
                    <a:pt x="222" y="206"/>
                  </a:lnTo>
                  <a:lnTo>
                    <a:pt x="222" y="206"/>
                  </a:lnTo>
                  <a:lnTo>
                    <a:pt x="222" y="201"/>
                  </a:lnTo>
                  <a:lnTo>
                    <a:pt x="225" y="198"/>
                  </a:lnTo>
                  <a:lnTo>
                    <a:pt x="225" y="196"/>
                  </a:lnTo>
                  <a:lnTo>
                    <a:pt x="225" y="193"/>
                  </a:lnTo>
                  <a:lnTo>
                    <a:pt x="227" y="191"/>
                  </a:lnTo>
                  <a:lnTo>
                    <a:pt x="227" y="188"/>
                  </a:lnTo>
                  <a:lnTo>
                    <a:pt x="232" y="186"/>
                  </a:lnTo>
                  <a:lnTo>
                    <a:pt x="237" y="183"/>
                  </a:lnTo>
                  <a:lnTo>
                    <a:pt x="237" y="180"/>
                  </a:lnTo>
                  <a:lnTo>
                    <a:pt x="240" y="175"/>
                  </a:lnTo>
                  <a:lnTo>
                    <a:pt x="243" y="170"/>
                  </a:lnTo>
                  <a:lnTo>
                    <a:pt x="243" y="170"/>
                  </a:lnTo>
                  <a:lnTo>
                    <a:pt x="243" y="165"/>
                  </a:lnTo>
                  <a:lnTo>
                    <a:pt x="243" y="163"/>
                  </a:lnTo>
                  <a:lnTo>
                    <a:pt x="245" y="160"/>
                  </a:lnTo>
                  <a:lnTo>
                    <a:pt x="248" y="160"/>
                  </a:lnTo>
                  <a:lnTo>
                    <a:pt x="250" y="158"/>
                  </a:lnTo>
                  <a:lnTo>
                    <a:pt x="253" y="158"/>
                  </a:lnTo>
                  <a:lnTo>
                    <a:pt x="253" y="155"/>
                  </a:lnTo>
                  <a:lnTo>
                    <a:pt x="253" y="155"/>
                  </a:lnTo>
                  <a:lnTo>
                    <a:pt x="250" y="152"/>
                  </a:lnTo>
                  <a:lnTo>
                    <a:pt x="250" y="152"/>
                  </a:lnTo>
                  <a:lnTo>
                    <a:pt x="250" y="150"/>
                  </a:lnTo>
                  <a:lnTo>
                    <a:pt x="253" y="150"/>
                  </a:lnTo>
                  <a:lnTo>
                    <a:pt x="255" y="142"/>
                  </a:lnTo>
                  <a:lnTo>
                    <a:pt x="258" y="140"/>
                  </a:lnTo>
                  <a:lnTo>
                    <a:pt x="258" y="140"/>
                  </a:lnTo>
                  <a:lnTo>
                    <a:pt x="260" y="140"/>
                  </a:lnTo>
                  <a:lnTo>
                    <a:pt x="263" y="137"/>
                  </a:lnTo>
                  <a:lnTo>
                    <a:pt x="263" y="137"/>
                  </a:lnTo>
                  <a:lnTo>
                    <a:pt x="263" y="135"/>
                  </a:lnTo>
                  <a:lnTo>
                    <a:pt x="260" y="135"/>
                  </a:lnTo>
                  <a:lnTo>
                    <a:pt x="260" y="135"/>
                  </a:lnTo>
                  <a:lnTo>
                    <a:pt x="260" y="132"/>
                  </a:lnTo>
                  <a:lnTo>
                    <a:pt x="260" y="127"/>
                  </a:lnTo>
                  <a:lnTo>
                    <a:pt x="260" y="127"/>
                  </a:lnTo>
                  <a:lnTo>
                    <a:pt x="258" y="122"/>
                  </a:lnTo>
                  <a:lnTo>
                    <a:pt x="258" y="119"/>
                  </a:lnTo>
                  <a:lnTo>
                    <a:pt x="258" y="119"/>
                  </a:lnTo>
                  <a:lnTo>
                    <a:pt x="260" y="117"/>
                  </a:lnTo>
                  <a:lnTo>
                    <a:pt x="260" y="117"/>
                  </a:lnTo>
                  <a:lnTo>
                    <a:pt x="268" y="114"/>
                  </a:lnTo>
                  <a:lnTo>
                    <a:pt x="268" y="112"/>
                  </a:lnTo>
                  <a:lnTo>
                    <a:pt x="271" y="112"/>
                  </a:lnTo>
                  <a:lnTo>
                    <a:pt x="271" y="109"/>
                  </a:lnTo>
                  <a:lnTo>
                    <a:pt x="271" y="109"/>
                  </a:lnTo>
                  <a:lnTo>
                    <a:pt x="271" y="109"/>
                  </a:lnTo>
                  <a:lnTo>
                    <a:pt x="268" y="107"/>
                  </a:lnTo>
                  <a:lnTo>
                    <a:pt x="266" y="107"/>
                  </a:lnTo>
                  <a:lnTo>
                    <a:pt x="263" y="104"/>
                  </a:lnTo>
                  <a:lnTo>
                    <a:pt x="260" y="104"/>
                  </a:lnTo>
                  <a:lnTo>
                    <a:pt x="258" y="104"/>
                  </a:lnTo>
                  <a:lnTo>
                    <a:pt x="258" y="104"/>
                  </a:lnTo>
                  <a:lnTo>
                    <a:pt x="255" y="102"/>
                  </a:lnTo>
                  <a:lnTo>
                    <a:pt x="255" y="99"/>
                  </a:lnTo>
                  <a:lnTo>
                    <a:pt x="255" y="99"/>
                  </a:lnTo>
                  <a:lnTo>
                    <a:pt x="255" y="99"/>
                  </a:lnTo>
                  <a:lnTo>
                    <a:pt x="253" y="99"/>
                  </a:lnTo>
                  <a:lnTo>
                    <a:pt x="250" y="99"/>
                  </a:lnTo>
                  <a:lnTo>
                    <a:pt x="250" y="96"/>
                  </a:lnTo>
                  <a:lnTo>
                    <a:pt x="250" y="96"/>
                  </a:lnTo>
                  <a:lnTo>
                    <a:pt x="248" y="94"/>
                  </a:lnTo>
                  <a:lnTo>
                    <a:pt x="248" y="94"/>
                  </a:lnTo>
                  <a:lnTo>
                    <a:pt x="248" y="91"/>
                  </a:lnTo>
                  <a:lnTo>
                    <a:pt x="248" y="91"/>
                  </a:lnTo>
                  <a:lnTo>
                    <a:pt x="245" y="91"/>
                  </a:lnTo>
                  <a:lnTo>
                    <a:pt x="243" y="89"/>
                  </a:lnTo>
                  <a:lnTo>
                    <a:pt x="243" y="89"/>
                  </a:lnTo>
                  <a:lnTo>
                    <a:pt x="240" y="89"/>
                  </a:lnTo>
                  <a:lnTo>
                    <a:pt x="240" y="86"/>
                  </a:lnTo>
                  <a:lnTo>
                    <a:pt x="243" y="86"/>
                  </a:lnTo>
                  <a:lnTo>
                    <a:pt x="243" y="84"/>
                  </a:lnTo>
                  <a:lnTo>
                    <a:pt x="243" y="81"/>
                  </a:lnTo>
                  <a:lnTo>
                    <a:pt x="243" y="81"/>
                  </a:lnTo>
                  <a:lnTo>
                    <a:pt x="243" y="81"/>
                  </a:lnTo>
                  <a:lnTo>
                    <a:pt x="240" y="79"/>
                  </a:lnTo>
                  <a:lnTo>
                    <a:pt x="240" y="79"/>
                  </a:lnTo>
                  <a:lnTo>
                    <a:pt x="240" y="79"/>
                  </a:lnTo>
                  <a:lnTo>
                    <a:pt x="237" y="76"/>
                  </a:lnTo>
                  <a:lnTo>
                    <a:pt x="240" y="74"/>
                  </a:lnTo>
                  <a:lnTo>
                    <a:pt x="240" y="74"/>
                  </a:lnTo>
                  <a:lnTo>
                    <a:pt x="243" y="74"/>
                  </a:lnTo>
                  <a:lnTo>
                    <a:pt x="243" y="71"/>
                  </a:lnTo>
                  <a:lnTo>
                    <a:pt x="243" y="71"/>
                  </a:lnTo>
                  <a:lnTo>
                    <a:pt x="243" y="71"/>
                  </a:lnTo>
                  <a:lnTo>
                    <a:pt x="240" y="71"/>
                  </a:lnTo>
                  <a:lnTo>
                    <a:pt x="237" y="68"/>
                  </a:lnTo>
                  <a:lnTo>
                    <a:pt x="235" y="68"/>
                  </a:lnTo>
                  <a:lnTo>
                    <a:pt x="235" y="68"/>
                  </a:lnTo>
                  <a:lnTo>
                    <a:pt x="235" y="68"/>
                  </a:lnTo>
                  <a:lnTo>
                    <a:pt x="235" y="66"/>
                  </a:lnTo>
                  <a:lnTo>
                    <a:pt x="237" y="66"/>
                  </a:lnTo>
                  <a:lnTo>
                    <a:pt x="235" y="63"/>
                  </a:lnTo>
                  <a:lnTo>
                    <a:pt x="235" y="63"/>
                  </a:lnTo>
                  <a:lnTo>
                    <a:pt x="232" y="63"/>
                  </a:lnTo>
                  <a:lnTo>
                    <a:pt x="232" y="61"/>
                  </a:lnTo>
                  <a:lnTo>
                    <a:pt x="232" y="61"/>
                  </a:lnTo>
                  <a:lnTo>
                    <a:pt x="232" y="58"/>
                  </a:lnTo>
                  <a:lnTo>
                    <a:pt x="232" y="58"/>
                  </a:lnTo>
                  <a:lnTo>
                    <a:pt x="235" y="56"/>
                  </a:lnTo>
                  <a:lnTo>
                    <a:pt x="235" y="53"/>
                  </a:lnTo>
                  <a:lnTo>
                    <a:pt x="237" y="53"/>
                  </a:lnTo>
                  <a:lnTo>
                    <a:pt x="240" y="53"/>
                  </a:lnTo>
                  <a:lnTo>
                    <a:pt x="243" y="53"/>
                  </a:lnTo>
                  <a:lnTo>
                    <a:pt x="245" y="53"/>
                  </a:lnTo>
                  <a:lnTo>
                    <a:pt x="250" y="53"/>
                  </a:lnTo>
                  <a:lnTo>
                    <a:pt x="253" y="56"/>
                  </a:lnTo>
                  <a:lnTo>
                    <a:pt x="255" y="56"/>
                  </a:lnTo>
                  <a:lnTo>
                    <a:pt x="258" y="56"/>
                  </a:lnTo>
                  <a:lnTo>
                    <a:pt x="258" y="56"/>
                  </a:lnTo>
                  <a:lnTo>
                    <a:pt x="263" y="58"/>
                  </a:lnTo>
                  <a:lnTo>
                    <a:pt x="266" y="58"/>
                  </a:lnTo>
                  <a:lnTo>
                    <a:pt x="268" y="58"/>
                  </a:lnTo>
                  <a:lnTo>
                    <a:pt x="271" y="58"/>
                  </a:lnTo>
                  <a:lnTo>
                    <a:pt x="271" y="56"/>
                  </a:lnTo>
                  <a:lnTo>
                    <a:pt x="273" y="56"/>
                  </a:lnTo>
                  <a:lnTo>
                    <a:pt x="276" y="56"/>
                  </a:lnTo>
                  <a:lnTo>
                    <a:pt x="281" y="53"/>
                  </a:lnTo>
                  <a:lnTo>
                    <a:pt x="281" y="53"/>
                  </a:lnTo>
                  <a:lnTo>
                    <a:pt x="283" y="53"/>
                  </a:lnTo>
                  <a:lnTo>
                    <a:pt x="286" y="51"/>
                  </a:lnTo>
                  <a:lnTo>
                    <a:pt x="286" y="51"/>
                  </a:lnTo>
                  <a:lnTo>
                    <a:pt x="286" y="51"/>
                  </a:lnTo>
                  <a:lnTo>
                    <a:pt x="286" y="48"/>
                  </a:lnTo>
                  <a:lnTo>
                    <a:pt x="288" y="48"/>
                  </a:lnTo>
                  <a:lnTo>
                    <a:pt x="291" y="48"/>
                  </a:lnTo>
                  <a:lnTo>
                    <a:pt x="291" y="46"/>
                  </a:lnTo>
                  <a:lnTo>
                    <a:pt x="291" y="46"/>
                  </a:lnTo>
                  <a:lnTo>
                    <a:pt x="288" y="43"/>
                  </a:lnTo>
                  <a:close/>
                </a:path>
              </a:pathLst>
            </a:custGeom>
            <a:solidFill>
              <a:srgbClr val="FFC000"/>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234" name="Freeform 1853">
              <a:extLst>
                <a:ext uri="{FF2B5EF4-FFF2-40B4-BE49-F238E27FC236}">
                  <a16:creationId xmlns:a16="http://schemas.microsoft.com/office/drawing/2014/main" id="{7C925161-F85E-6240-AF41-243C24923523}"/>
                </a:ext>
              </a:extLst>
            </p:cNvPr>
            <p:cNvSpPr>
              <a:spLocks noEditPoints="1"/>
            </p:cNvSpPr>
            <p:nvPr/>
          </p:nvSpPr>
          <p:spPr bwMode="auto">
            <a:xfrm>
              <a:off x="7296680" y="2822959"/>
              <a:ext cx="245361" cy="358227"/>
            </a:xfrm>
            <a:custGeom>
              <a:avLst/>
              <a:gdLst>
                <a:gd name="T0" fmla="*/ 130 w 150"/>
                <a:gd name="T1" fmla="*/ 140 h 219"/>
                <a:gd name="T2" fmla="*/ 135 w 150"/>
                <a:gd name="T3" fmla="*/ 132 h 219"/>
                <a:gd name="T4" fmla="*/ 145 w 150"/>
                <a:gd name="T5" fmla="*/ 87 h 219"/>
                <a:gd name="T6" fmla="*/ 135 w 150"/>
                <a:gd name="T7" fmla="*/ 76 h 219"/>
                <a:gd name="T8" fmla="*/ 128 w 150"/>
                <a:gd name="T9" fmla="*/ 66 h 219"/>
                <a:gd name="T10" fmla="*/ 120 w 150"/>
                <a:gd name="T11" fmla="*/ 61 h 219"/>
                <a:gd name="T12" fmla="*/ 102 w 150"/>
                <a:gd name="T13" fmla="*/ 59 h 219"/>
                <a:gd name="T14" fmla="*/ 87 w 150"/>
                <a:gd name="T15" fmla="*/ 46 h 219"/>
                <a:gd name="T16" fmla="*/ 77 w 150"/>
                <a:gd name="T17" fmla="*/ 31 h 219"/>
                <a:gd name="T18" fmla="*/ 71 w 150"/>
                <a:gd name="T19" fmla="*/ 36 h 219"/>
                <a:gd name="T20" fmla="*/ 69 w 150"/>
                <a:gd name="T21" fmla="*/ 33 h 219"/>
                <a:gd name="T22" fmla="*/ 69 w 150"/>
                <a:gd name="T23" fmla="*/ 31 h 219"/>
                <a:gd name="T24" fmla="*/ 66 w 150"/>
                <a:gd name="T25" fmla="*/ 33 h 219"/>
                <a:gd name="T26" fmla="*/ 66 w 150"/>
                <a:gd name="T27" fmla="*/ 38 h 219"/>
                <a:gd name="T28" fmla="*/ 66 w 150"/>
                <a:gd name="T29" fmla="*/ 43 h 219"/>
                <a:gd name="T30" fmla="*/ 69 w 150"/>
                <a:gd name="T31" fmla="*/ 48 h 219"/>
                <a:gd name="T32" fmla="*/ 69 w 150"/>
                <a:gd name="T33" fmla="*/ 51 h 219"/>
                <a:gd name="T34" fmla="*/ 61 w 150"/>
                <a:gd name="T35" fmla="*/ 53 h 219"/>
                <a:gd name="T36" fmla="*/ 61 w 150"/>
                <a:gd name="T37" fmla="*/ 59 h 219"/>
                <a:gd name="T38" fmla="*/ 59 w 150"/>
                <a:gd name="T39" fmla="*/ 71 h 219"/>
                <a:gd name="T40" fmla="*/ 56 w 150"/>
                <a:gd name="T41" fmla="*/ 81 h 219"/>
                <a:gd name="T42" fmla="*/ 64 w 150"/>
                <a:gd name="T43" fmla="*/ 94 h 219"/>
                <a:gd name="T44" fmla="*/ 66 w 150"/>
                <a:gd name="T45" fmla="*/ 102 h 219"/>
                <a:gd name="T46" fmla="*/ 64 w 150"/>
                <a:gd name="T47" fmla="*/ 115 h 219"/>
                <a:gd name="T48" fmla="*/ 61 w 150"/>
                <a:gd name="T49" fmla="*/ 125 h 219"/>
                <a:gd name="T50" fmla="*/ 59 w 150"/>
                <a:gd name="T51" fmla="*/ 135 h 219"/>
                <a:gd name="T52" fmla="*/ 56 w 150"/>
                <a:gd name="T53" fmla="*/ 145 h 219"/>
                <a:gd name="T54" fmla="*/ 41 w 150"/>
                <a:gd name="T55" fmla="*/ 150 h 219"/>
                <a:gd name="T56" fmla="*/ 28 w 150"/>
                <a:gd name="T57" fmla="*/ 155 h 219"/>
                <a:gd name="T58" fmla="*/ 15 w 150"/>
                <a:gd name="T59" fmla="*/ 160 h 219"/>
                <a:gd name="T60" fmla="*/ 3 w 150"/>
                <a:gd name="T61" fmla="*/ 165 h 219"/>
                <a:gd name="T62" fmla="*/ 3 w 150"/>
                <a:gd name="T63" fmla="*/ 173 h 219"/>
                <a:gd name="T64" fmla="*/ 8 w 150"/>
                <a:gd name="T65" fmla="*/ 183 h 219"/>
                <a:gd name="T66" fmla="*/ 10 w 150"/>
                <a:gd name="T67" fmla="*/ 191 h 219"/>
                <a:gd name="T68" fmla="*/ 15 w 150"/>
                <a:gd name="T69" fmla="*/ 201 h 219"/>
                <a:gd name="T70" fmla="*/ 18 w 150"/>
                <a:gd name="T71" fmla="*/ 209 h 219"/>
                <a:gd name="T72" fmla="*/ 26 w 150"/>
                <a:gd name="T73" fmla="*/ 219 h 219"/>
                <a:gd name="T74" fmla="*/ 41 w 150"/>
                <a:gd name="T75" fmla="*/ 214 h 219"/>
                <a:gd name="T76" fmla="*/ 56 w 150"/>
                <a:gd name="T77" fmla="*/ 211 h 219"/>
                <a:gd name="T78" fmla="*/ 66 w 150"/>
                <a:gd name="T79" fmla="*/ 204 h 219"/>
                <a:gd name="T80" fmla="*/ 66 w 150"/>
                <a:gd name="T81" fmla="*/ 199 h 219"/>
                <a:gd name="T82" fmla="*/ 87 w 150"/>
                <a:gd name="T83" fmla="*/ 191 h 219"/>
                <a:gd name="T84" fmla="*/ 97 w 150"/>
                <a:gd name="T85" fmla="*/ 173 h 219"/>
                <a:gd name="T86" fmla="*/ 112 w 150"/>
                <a:gd name="T87" fmla="*/ 168 h 219"/>
                <a:gd name="T88" fmla="*/ 115 w 150"/>
                <a:gd name="T89" fmla="*/ 160 h 219"/>
                <a:gd name="T90" fmla="*/ 112 w 150"/>
                <a:gd name="T91" fmla="*/ 148 h 219"/>
                <a:gd name="T92" fmla="*/ 115 w 150"/>
                <a:gd name="T93" fmla="*/ 135 h 219"/>
                <a:gd name="T94" fmla="*/ 120 w 150"/>
                <a:gd name="T95" fmla="*/ 132 h 219"/>
                <a:gd name="T96" fmla="*/ 125 w 150"/>
                <a:gd name="T97" fmla="*/ 135 h 219"/>
                <a:gd name="T98" fmla="*/ 135 w 150"/>
                <a:gd name="T99" fmla="*/ 115 h 219"/>
                <a:gd name="T100" fmla="*/ 145 w 150"/>
                <a:gd name="T101" fmla="*/ 99 h 219"/>
                <a:gd name="T102" fmla="*/ 150 w 150"/>
                <a:gd name="T103" fmla="*/ 89 h 219"/>
                <a:gd name="T104" fmla="*/ 74 w 150"/>
                <a:gd name="T105" fmla="*/ 25 h 219"/>
                <a:gd name="T106" fmla="*/ 74 w 150"/>
                <a:gd name="T107" fmla="*/ 23 h 219"/>
                <a:gd name="T108" fmla="*/ 71 w 150"/>
                <a:gd name="T109" fmla="*/ 10 h 219"/>
                <a:gd name="T110" fmla="*/ 74 w 150"/>
                <a:gd name="T111" fmla="*/ 15 h 219"/>
                <a:gd name="T112" fmla="*/ 74 w 150"/>
                <a:gd name="T113" fmla="*/ 13 h 219"/>
                <a:gd name="T114" fmla="*/ 74 w 150"/>
                <a:gd name="T115" fmla="*/ 0 h 219"/>
                <a:gd name="T116" fmla="*/ 71 w 150"/>
                <a:gd name="T117" fmla="*/ 3 h 219"/>
                <a:gd name="T118" fmla="*/ 69 w 150"/>
                <a:gd name="T119" fmla="*/ 5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0" h="219">
                  <a:moveTo>
                    <a:pt x="133" y="132"/>
                  </a:moveTo>
                  <a:lnTo>
                    <a:pt x="130" y="135"/>
                  </a:lnTo>
                  <a:lnTo>
                    <a:pt x="130" y="140"/>
                  </a:lnTo>
                  <a:lnTo>
                    <a:pt x="130" y="140"/>
                  </a:lnTo>
                  <a:lnTo>
                    <a:pt x="130" y="140"/>
                  </a:lnTo>
                  <a:lnTo>
                    <a:pt x="133" y="137"/>
                  </a:lnTo>
                  <a:lnTo>
                    <a:pt x="133" y="135"/>
                  </a:lnTo>
                  <a:lnTo>
                    <a:pt x="135" y="132"/>
                  </a:lnTo>
                  <a:lnTo>
                    <a:pt x="133" y="127"/>
                  </a:lnTo>
                  <a:lnTo>
                    <a:pt x="133" y="132"/>
                  </a:lnTo>
                  <a:close/>
                  <a:moveTo>
                    <a:pt x="148" y="87"/>
                  </a:moveTo>
                  <a:lnTo>
                    <a:pt x="145" y="87"/>
                  </a:lnTo>
                  <a:lnTo>
                    <a:pt x="143" y="84"/>
                  </a:lnTo>
                  <a:lnTo>
                    <a:pt x="140" y="84"/>
                  </a:lnTo>
                  <a:lnTo>
                    <a:pt x="138" y="81"/>
                  </a:lnTo>
                  <a:lnTo>
                    <a:pt x="135" y="76"/>
                  </a:lnTo>
                  <a:lnTo>
                    <a:pt x="133" y="74"/>
                  </a:lnTo>
                  <a:lnTo>
                    <a:pt x="130" y="71"/>
                  </a:lnTo>
                  <a:lnTo>
                    <a:pt x="130" y="69"/>
                  </a:lnTo>
                  <a:lnTo>
                    <a:pt x="128" y="66"/>
                  </a:lnTo>
                  <a:lnTo>
                    <a:pt x="128" y="64"/>
                  </a:lnTo>
                  <a:lnTo>
                    <a:pt x="122" y="61"/>
                  </a:lnTo>
                  <a:lnTo>
                    <a:pt x="120" y="61"/>
                  </a:lnTo>
                  <a:lnTo>
                    <a:pt x="120" y="61"/>
                  </a:lnTo>
                  <a:lnTo>
                    <a:pt x="117" y="61"/>
                  </a:lnTo>
                  <a:lnTo>
                    <a:pt x="112" y="59"/>
                  </a:lnTo>
                  <a:lnTo>
                    <a:pt x="107" y="59"/>
                  </a:lnTo>
                  <a:lnTo>
                    <a:pt x="102" y="59"/>
                  </a:lnTo>
                  <a:lnTo>
                    <a:pt x="94" y="53"/>
                  </a:lnTo>
                  <a:lnTo>
                    <a:pt x="94" y="53"/>
                  </a:lnTo>
                  <a:lnTo>
                    <a:pt x="89" y="48"/>
                  </a:lnTo>
                  <a:lnTo>
                    <a:pt x="87" y="46"/>
                  </a:lnTo>
                  <a:lnTo>
                    <a:pt x="82" y="43"/>
                  </a:lnTo>
                  <a:lnTo>
                    <a:pt x="79" y="36"/>
                  </a:lnTo>
                  <a:lnTo>
                    <a:pt x="77" y="31"/>
                  </a:lnTo>
                  <a:lnTo>
                    <a:pt x="77" y="31"/>
                  </a:lnTo>
                  <a:lnTo>
                    <a:pt x="77" y="31"/>
                  </a:lnTo>
                  <a:lnTo>
                    <a:pt x="74" y="33"/>
                  </a:lnTo>
                  <a:lnTo>
                    <a:pt x="74" y="33"/>
                  </a:lnTo>
                  <a:lnTo>
                    <a:pt x="71" y="36"/>
                  </a:lnTo>
                  <a:lnTo>
                    <a:pt x="71" y="36"/>
                  </a:lnTo>
                  <a:lnTo>
                    <a:pt x="71" y="36"/>
                  </a:lnTo>
                  <a:lnTo>
                    <a:pt x="69" y="36"/>
                  </a:lnTo>
                  <a:lnTo>
                    <a:pt x="69" y="33"/>
                  </a:lnTo>
                  <a:lnTo>
                    <a:pt x="69" y="33"/>
                  </a:lnTo>
                  <a:lnTo>
                    <a:pt x="69" y="33"/>
                  </a:lnTo>
                  <a:lnTo>
                    <a:pt x="69" y="33"/>
                  </a:lnTo>
                  <a:lnTo>
                    <a:pt x="69" y="31"/>
                  </a:lnTo>
                  <a:lnTo>
                    <a:pt x="69" y="31"/>
                  </a:lnTo>
                  <a:lnTo>
                    <a:pt x="69" y="31"/>
                  </a:lnTo>
                  <a:lnTo>
                    <a:pt x="66" y="31"/>
                  </a:lnTo>
                  <a:lnTo>
                    <a:pt x="66" y="33"/>
                  </a:lnTo>
                  <a:lnTo>
                    <a:pt x="66" y="33"/>
                  </a:lnTo>
                  <a:lnTo>
                    <a:pt x="66" y="36"/>
                  </a:lnTo>
                  <a:lnTo>
                    <a:pt x="66" y="38"/>
                  </a:lnTo>
                  <a:lnTo>
                    <a:pt x="66" y="38"/>
                  </a:lnTo>
                  <a:lnTo>
                    <a:pt x="66" y="41"/>
                  </a:lnTo>
                  <a:lnTo>
                    <a:pt x="66" y="41"/>
                  </a:lnTo>
                  <a:lnTo>
                    <a:pt x="66" y="43"/>
                  </a:lnTo>
                  <a:lnTo>
                    <a:pt x="66" y="43"/>
                  </a:lnTo>
                  <a:lnTo>
                    <a:pt x="66" y="46"/>
                  </a:lnTo>
                  <a:lnTo>
                    <a:pt x="66" y="48"/>
                  </a:lnTo>
                  <a:lnTo>
                    <a:pt x="66" y="48"/>
                  </a:lnTo>
                  <a:lnTo>
                    <a:pt x="69" y="48"/>
                  </a:lnTo>
                  <a:lnTo>
                    <a:pt x="71" y="48"/>
                  </a:lnTo>
                  <a:lnTo>
                    <a:pt x="71" y="51"/>
                  </a:lnTo>
                  <a:lnTo>
                    <a:pt x="71" y="51"/>
                  </a:lnTo>
                  <a:lnTo>
                    <a:pt x="69" y="51"/>
                  </a:lnTo>
                  <a:lnTo>
                    <a:pt x="66" y="53"/>
                  </a:lnTo>
                  <a:lnTo>
                    <a:pt x="66" y="53"/>
                  </a:lnTo>
                  <a:lnTo>
                    <a:pt x="61" y="53"/>
                  </a:lnTo>
                  <a:lnTo>
                    <a:pt x="61" y="53"/>
                  </a:lnTo>
                  <a:lnTo>
                    <a:pt x="61" y="56"/>
                  </a:lnTo>
                  <a:lnTo>
                    <a:pt x="61" y="56"/>
                  </a:lnTo>
                  <a:lnTo>
                    <a:pt x="61" y="56"/>
                  </a:lnTo>
                  <a:lnTo>
                    <a:pt x="61" y="59"/>
                  </a:lnTo>
                  <a:lnTo>
                    <a:pt x="61" y="61"/>
                  </a:lnTo>
                  <a:lnTo>
                    <a:pt x="61" y="64"/>
                  </a:lnTo>
                  <a:lnTo>
                    <a:pt x="59" y="66"/>
                  </a:lnTo>
                  <a:lnTo>
                    <a:pt x="59" y="71"/>
                  </a:lnTo>
                  <a:lnTo>
                    <a:pt x="56" y="74"/>
                  </a:lnTo>
                  <a:lnTo>
                    <a:pt x="56" y="76"/>
                  </a:lnTo>
                  <a:lnTo>
                    <a:pt x="56" y="79"/>
                  </a:lnTo>
                  <a:lnTo>
                    <a:pt x="56" y="81"/>
                  </a:lnTo>
                  <a:lnTo>
                    <a:pt x="59" y="84"/>
                  </a:lnTo>
                  <a:lnTo>
                    <a:pt x="61" y="87"/>
                  </a:lnTo>
                  <a:lnTo>
                    <a:pt x="61" y="89"/>
                  </a:lnTo>
                  <a:lnTo>
                    <a:pt x="64" y="94"/>
                  </a:lnTo>
                  <a:lnTo>
                    <a:pt x="66" y="97"/>
                  </a:lnTo>
                  <a:lnTo>
                    <a:pt x="66" y="99"/>
                  </a:lnTo>
                  <a:lnTo>
                    <a:pt x="66" y="102"/>
                  </a:lnTo>
                  <a:lnTo>
                    <a:pt x="66" y="102"/>
                  </a:lnTo>
                  <a:lnTo>
                    <a:pt x="66" y="104"/>
                  </a:lnTo>
                  <a:lnTo>
                    <a:pt x="66" y="107"/>
                  </a:lnTo>
                  <a:lnTo>
                    <a:pt x="64" y="112"/>
                  </a:lnTo>
                  <a:lnTo>
                    <a:pt x="64" y="115"/>
                  </a:lnTo>
                  <a:lnTo>
                    <a:pt x="64" y="117"/>
                  </a:lnTo>
                  <a:lnTo>
                    <a:pt x="61" y="120"/>
                  </a:lnTo>
                  <a:lnTo>
                    <a:pt x="61" y="122"/>
                  </a:lnTo>
                  <a:lnTo>
                    <a:pt x="61" y="125"/>
                  </a:lnTo>
                  <a:lnTo>
                    <a:pt x="61" y="127"/>
                  </a:lnTo>
                  <a:lnTo>
                    <a:pt x="61" y="130"/>
                  </a:lnTo>
                  <a:lnTo>
                    <a:pt x="59" y="132"/>
                  </a:lnTo>
                  <a:lnTo>
                    <a:pt x="59" y="135"/>
                  </a:lnTo>
                  <a:lnTo>
                    <a:pt x="59" y="137"/>
                  </a:lnTo>
                  <a:lnTo>
                    <a:pt x="59" y="140"/>
                  </a:lnTo>
                  <a:lnTo>
                    <a:pt x="56" y="143"/>
                  </a:lnTo>
                  <a:lnTo>
                    <a:pt x="56" y="145"/>
                  </a:lnTo>
                  <a:lnTo>
                    <a:pt x="51" y="145"/>
                  </a:lnTo>
                  <a:lnTo>
                    <a:pt x="49" y="148"/>
                  </a:lnTo>
                  <a:lnTo>
                    <a:pt x="46" y="148"/>
                  </a:lnTo>
                  <a:lnTo>
                    <a:pt x="41" y="150"/>
                  </a:lnTo>
                  <a:lnTo>
                    <a:pt x="38" y="150"/>
                  </a:lnTo>
                  <a:lnTo>
                    <a:pt x="36" y="153"/>
                  </a:lnTo>
                  <a:lnTo>
                    <a:pt x="33" y="153"/>
                  </a:lnTo>
                  <a:lnTo>
                    <a:pt x="28" y="155"/>
                  </a:lnTo>
                  <a:lnTo>
                    <a:pt x="26" y="155"/>
                  </a:lnTo>
                  <a:lnTo>
                    <a:pt x="23" y="158"/>
                  </a:lnTo>
                  <a:lnTo>
                    <a:pt x="18" y="158"/>
                  </a:lnTo>
                  <a:lnTo>
                    <a:pt x="15" y="160"/>
                  </a:lnTo>
                  <a:lnTo>
                    <a:pt x="13" y="160"/>
                  </a:lnTo>
                  <a:lnTo>
                    <a:pt x="8" y="163"/>
                  </a:lnTo>
                  <a:lnTo>
                    <a:pt x="5" y="163"/>
                  </a:lnTo>
                  <a:lnTo>
                    <a:pt x="3" y="165"/>
                  </a:lnTo>
                  <a:lnTo>
                    <a:pt x="0" y="165"/>
                  </a:lnTo>
                  <a:lnTo>
                    <a:pt x="0" y="168"/>
                  </a:lnTo>
                  <a:lnTo>
                    <a:pt x="3" y="171"/>
                  </a:lnTo>
                  <a:lnTo>
                    <a:pt x="3" y="173"/>
                  </a:lnTo>
                  <a:lnTo>
                    <a:pt x="3" y="176"/>
                  </a:lnTo>
                  <a:lnTo>
                    <a:pt x="5" y="178"/>
                  </a:lnTo>
                  <a:lnTo>
                    <a:pt x="5" y="181"/>
                  </a:lnTo>
                  <a:lnTo>
                    <a:pt x="8" y="183"/>
                  </a:lnTo>
                  <a:lnTo>
                    <a:pt x="8" y="186"/>
                  </a:lnTo>
                  <a:lnTo>
                    <a:pt x="8" y="186"/>
                  </a:lnTo>
                  <a:lnTo>
                    <a:pt x="10" y="188"/>
                  </a:lnTo>
                  <a:lnTo>
                    <a:pt x="10" y="191"/>
                  </a:lnTo>
                  <a:lnTo>
                    <a:pt x="13" y="193"/>
                  </a:lnTo>
                  <a:lnTo>
                    <a:pt x="13" y="196"/>
                  </a:lnTo>
                  <a:lnTo>
                    <a:pt x="13" y="199"/>
                  </a:lnTo>
                  <a:lnTo>
                    <a:pt x="15" y="201"/>
                  </a:lnTo>
                  <a:lnTo>
                    <a:pt x="15" y="204"/>
                  </a:lnTo>
                  <a:lnTo>
                    <a:pt x="18" y="206"/>
                  </a:lnTo>
                  <a:lnTo>
                    <a:pt x="18" y="206"/>
                  </a:lnTo>
                  <a:lnTo>
                    <a:pt x="18" y="209"/>
                  </a:lnTo>
                  <a:lnTo>
                    <a:pt x="20" y="211"/>
                  </a:lnTo>
                  <a:lnTo>
                    <a:pt x="23" y="214"/>
                  </a:lnTo>
                  <a:lnTo>
                    <a:pt x="23" y="216"/>
                  </a:lnTo>
                  <a:lnTo>
                    <a:pt x="26" y="219"/>
                  </a:lnTo>
                  <a:lnTo>
                    <a:pt x="28" y="219"/>
                  </a:lnTo>
                  <a:lnTo>
                    <a:pt x="36" y="216"/>
                  </a:lnTo>
                  <a:lnTo>
                    <a:pt x="38" y="216"/>
                  </a:lnTo>
                  <a:lnTo>
                    <a:pt x="41" y="214"/>
                  </a:lnTo>
                  <a:lnTo>
                    <a:pt x="43" y="211"/>
                  </a:lnTo>
                  <a:lnTo>
                    <a:pt x="49" y="211"/>
                  </a:lnTo>
                  <a:lnTo>
                    <a:pt x="54" y="211"/>
                  </a:lnTo>
                  <a:lnTo>
                    <a:pt x="56" y="211"/>
                  </a:lnTo>
                  <a:lnTo>
                    <a:pt x="59" y="214"/>
                  </a:lnTo>
                  <a:lnTo>
                    <a:pt x="64" y="211"/>
                  </a:lnTo>
                  <a:lnTo>
                    <a:pt x="66" y="209"/>
                  </a:lnTo>
                  <a:lnTo>
                    <a:pt x="66" y="204"/>
                  </a:lnTo>
                  <a:lnTo>
                    <a:pt x="66" y="204"/>
                  </a:lnTo>
                  <a:lnTo>
                    <a:pt x="66" y="201"/>
                  </a:lnTo>
                  <a:lnTo>
                    <a:pt x="66" y="201"/>
                  </a:lnTo>
                  <a:lnTo>
                    <a:pt x="66" y="199"/>
                  </a:lnTo>
                  <a:lnTo>
                    <a:pt x="71" y="193"/>
                  </a:lnTo>
                  <a:lnTo>
                    <a:pt x="74" y="191"/>
                  </a:lnTo>
                  <a:lnTo>
                    <a:pt x="82" y="191"/>
                  </a:lnTo>
                  <a:lnTo>
                    <a:pt x="87" y="191"/>
                  </a:lnTo>
                  <a:lnTo>
                    <a:pt x="89" y="188"/>
                  </a:lnTo>
                  <a:lnTo>
                    <a:pt x="92" y="186"/>
                  </a:lnTo>
                  <a:lnTo>
                    <a:pt x="92" y="176"/>
                  </a:lnTo>
                  <a:lnTo>
                    <a:pt x="97" y="173"/>
                  </a:lnTo>
                  <a:lnTo>
                    <a:pt x="99" y="171"/>
                  </a:lnTo>
                  <a:lnTo>
                    <a:pt x="102" y="168"/>
                  </a:lnTo>
                  <a:lnTo>
                    <a:pt x="107" y="168"/>
                  </a:lnTo>
                  <a:lnTo>
                    <a:pt x="112" y="168"/>
                  </a:lnTo>
                  <a:lnTo>
                    <a:pt x="115" y="168"/>
                  </a:lnTo>
                  <a:lnTo>
                    <a:pt x="115" y="165"/>
                  </a:lnTo>
                  <a:lnTo>
                    <a:pt x="115" y="163"/>
                  </a:lnTo>
                  <a:lnTo>
                    <a:pt x="115" y="160"/>
                  </a:lnTo>
                  <a:lnTo>
                    <a:pt x="112" y="158"/>
                  </a:lnTo>
                  <a:lnTo>
                    <a:pt x="112" y="153"/>
                  </a:lnTo>
                  <a:lnTo>
                    <a:pt x="112" y="150"/>
                  </a:lnTo>
                  <a:lnTo>
                    <a:pt x="112" y="148"/>
                  </a:lnTo>
                  <a:lnTo>
                    <a:pt x="112" y="145"/>
                  </a:lnTo>
                  <a:lnTo>
                    <a:pt x="115" y="140"/>
                  </a:lnTo>
                  <a:lnTo>
                    <a:pt x="115" y="137"/>
                  </a:lnTo>
                  <a:lnTo>
                    <a:pt x="115" y="135"/>
                  </a:lnTo>
                  <a:lnTo>
                    <a:pt x="117" y="130"/>
                  </a:lnTo>
                  <a:lnTo>
                    <a:pt x="120" y="130"/>
                  </a:lnTo>
                  <a:lnTo>
                    <a:pt x="120" y="130"/>
                  </a:lnTo>
                  <a:lnTo>
                    <a:pt x="120" y="132"/>
                  </a:lnTo>
                  <a:lnTo>
                    <a:pt x="120" y="135"/>
                  </a:lnTo>
                  <a:lnTo>
                    <a:pt x="122" y="135"/>
                  </a:lnTo>
                  <a:lnTo>
                    <a:pt x="122" y="135"/>
                  </a:lnTo>
                  <a:lnTo>
                    <a:pt x="125" y="135"/>
                  </a:lnTo>
                  <a:lnTo>
                    <a:pt x="128" y="132"/>
                  </a:lnTo>
                  <a:lnTo>
                    <a:pt x="130" y="125"/>
                  </a:lnTo>
                  <a:lnTo>
                    <a:pt x="133" y="120"/>
                  </a:lnTo>
                  <a:lnTo>
                    <a:pt x="135" y="115"/>
                  </a:lnTo>
                  <a:lnTo>
                    <a:pt x="140" y="112"/>
                  </a:lnTo>
                  <a:lnTo>
                    <a:pt x="143" y="109"/>
                  </a:lnTo>
                  <a:lnTo>
                    <a:pt x="143" y="104"/>
                  </a:lnTo>
                  <a:lnTo>
                    <a:pt x="145" y="99"/>
                  </a:lnTo>
                  <a:lnTo>
                    <a:pt x="148" y="97"/>
                  </a:lnTo>
                  <a:lnTo>
                    <a:pt x="148" y="94"/>
                  </a:lnTo>
                  <a:lnTo>
                    <a:pt x="150" y="92"/>
                  </a:lnTo>
                  <a:lnTo>
                    <a:pt x="150" y="89"/>
                  </a:lnTo>
                  <a:lnTo>
                    <a:pt x="148" y="87"/>
                  </a:lnTo>
                  <a:close/>
                  <a:moveTo>
                    <a:pt x="74" y="23"/>
                  </a:moveTo>
                  <a:lnTo>
                    <a:pt x="74" y="23"/>
                  </a:lnTo>
                  <a:lnTo>
                    <a:pt x="74" y="25"/>
                  </a:lnTo>
                  <a:lnTo>
                    <a:pt x="74" y="25"/>
                  </a:lnTo>
                  <a:lnTo>
                    <a:pt x="74" y="25"/>
                  </a:lnTo>
                  <a:lnTo>
                    <a:pt x="74" y="23"/>
                  </a:lnTo>
                  <a:lnTo>
                    <a:pt x="74" y="23"/>
                  </a:lnTo>
                  <a:lnTo>
                    <a:pt x="74" y="23"/>
                  </a:lnTo>
                  <a:close/>
                  <a:moveTo>
                    <a:pt x="71" y="5"/>
                  </a:moveTo>
                  <a:lnTo>
                    <a:pt x="71" y="8"/>
                  </a:lnTo>
                  <a:lnTo>
                    <a:pt x="71" y="10"/>
                  </a:lnTo>
                  <a:lnTo>
                    <a:pt x="71" y="13"/>
                  </a:lnTo>
                  <a:lnTo>
                    <a:pt x="71" y="15"/>
                  </a:lnTo>
                  <a:lnTo>
                    <a:pt x="71" y="15"/>
                  </a:lnTo>
                  <a:lnTo>
                    <a:pt x="74" y="15"/>
                  </a:lnTo>
                  <a:lnTo>
                    <a:pt x="74" y="15"/>
                  </a:lnTo>
                  <a:lnTo>
                    <a:pt x="74" y="15"/>
                  </a:lnTo>
                  <a:lnTo>
                    <a:pt x="74" y="13"/>
                  </a:lnTo>
                  <a:lnTo>
                    <a:pt x="74" y="13"/>
                  </a:lnTo>
                  <a:lnTo>
                    <a:pt x="74" y="13"/>
                  </a:lnTo>
                  <a:lnTo>
                    <a:pt x="74" y="5"/>
                  </a:lnTo>
                  <a:lnTo>
                    <a:pt x="74" y="3"/>
                  </a:lnTo>
                  <a:lnTo>
                    <a:pt x="74" y="0"/>
                  </a:lnTo>
                  <a:lnTo>
                    <a:pt x="74" y="0"/>
                  </a:lnTo>
                  <a:lnTo>
                    <a:pt x="74" y="0"/>
                  </a:lnTo>
                  <a:lnTo>
                    <a:pt x="74" y="0"/>
                  </a:lnTo>
                  <a:lnTo>
                    <a:pt x="71" y="3"/>
                  </a:lnTo>
                  <a:lnTo>
                    <a:pt x="71" y="3"/>
                  </a:lnTo>
                  <a:lnTo>
                    <a:pt x="71" y="3"/>
                  </a:lnTo>
                  <a:lnTo>
                    <a:pt x="69" y="3"/>
                  </a:lnTo>
                  <a:lnTo>
                    <a:pt x="69" y="5"/>
                  </a:lnTo>
                  <a:lnTo>
                    <a:pt x="69" y="5"/>
                  </a:lnTo>
                  <a:lnTo>
                    <a:pt x="71" y="5"/>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235" name="Freeform 1854">
              <a:extLst>
                <a:ext uri="{FF2B5EF4-FFF2-40B4-BE49-F238E27FC236}">
                  <a16:creationId xmlns:a16="http://schemas.microsoft.com/office/drawing/2014/main" id="{B975A4E7-9A14-F24F-A8C5-74C3F31C9B1C}"/>
                </a:ext>
              </a:extLst>
            </p:cNvPr>
            <p:cNvSpPr>
              <a:spLocks noEditPoints="1"/>
            </p:cNvSpPr>
            <p:nvPr/>
          </p:nvSpPr>
          <p:spPr bwMode="auto">
            <a:xfrm>
              <a:off x="5500641" y="974577"/>
              <a:ext cx="942184" cy="691917"/>
            </a:xfrm>
            <a:custGeom>
              <a:avLst/>
              <a:gdLst>
                <a:gd name="T0" fmla="*/ 252 w 576"/>
                <a:gd name="T1" fmla="*/ 306 h 423"/>
                <a:gd name="T2" fmla="*/ 311 w 576"/>
                <a:gd name="T3" fmla="*/ 260 h 423"/>
                <a:gd name="T4" fmla="*/ 323 w 576"/>
                <a:gd name="T5" fmla="*/ 219 h 423"/>
                <a:gd name="T6" fmla="*/ 344 w 576"/>
                <a:gd name="T7" fmla="*/ 209 h 423"/>
                <a:gd name="T8" fmla="*/ 359 w 576"/>
                <a:gd name="T9" fmla="*/ 214 h 423"/>
                <a:gd name="T10" fmla="*/ 356 w 576"/>
                <a:gd name="T11" fmla="*/ 199 h 423"/>
                <a:gd name="T12" fmla="*/ 379 w 576"/>
                <a:gd name="T13" fmla="*/ 194 h 423"/>
                <a:gd name="T14" fmla="*/ 423 w 576"/>
                <a:gd name="T15" fmla="*/ 178 h 423"/>
                <a:gd name="T16" fmla="*/ 405 w 576"/>
                <a:gd name="T17" fmla="*/ 178 h 423"/>
                <a:gd name="T18" fmla="*/ 415 w 576"/>
                <a:gd name="T19" fmla="*/ 178 h 423"/>
                <a:gd name="T20" fmla="*/ 474 w 576"/>
                <a:gd name="T21" fmla="*/ 171 h 423"/>
                <a:gd name="T22" fmla="*/ 448 w 576"/>
                <a:gd name="T23" fmla="*/ 171 h 423"/>
                <a:gd name="T24" fmla="*/ 573 w 576"/>
                <a:gd name="T25" fmla="*/ 176 h 423"/>
                <a:gd name="T26" fmla="*/ 530 w 576"/>
                <a:gd name="T27" fmla="*/ 168 h 423"/>
                <a:gd name="T28" fmla="*/ 494 w 576"/>
                <a:gd name="T29" fmla="*/ 176 h 423"/>
                <a:gd name="T30" fmla="*/ 474 w 576"/>
                <a:gd name="T31" fmla="*/ 173 h 423"/>
                <a:gd name="T32" fmla="*/ 443 w 576"/>
                <a:gd name="T33" fmla="*/ 186 h 423"/>
                <a:gd name="T34" fmla="*/ 413 w 576"/>
                <a:gd name="T35" fmla="*/ 194 h 423"/>
                <a:gd name="T36" fmla="*/ 377 w 576"/>
                <a:gd name="T37" fmla="*/ 206 h 423"/>
                <a:gd name="T38" fmla="*/ 362 w 576"/>
                <a:gd name="T39" fmla="*/ 217 h 423"/>
                <a:gd name="T40" fmla="*/ 354 w 576"/>
                <a:gd name="T41" fmla="*/ 232 h 423"/>
                <a:gd name="T42" fmla="*/ 326 w 576"/>
                <a:gd name="T43" fmla="*/ 245 h 423"/>
                <a:gd name="T44" fmla="*/ 305 w 576"/>
                <a:gd name="T45" fmla="*/ 275 h 423"/>
                <a:gd name="T46" fmla="*/ 265 w 576"/>
                <a:gd name="T47" fmla="*/ 306 h 423"/>
                <a:gd name="T48" fmla="*/ 283 w 576"/>
                <a:gd name="T49" fmla="*/ 311 h 423"/>
                <a:gd name="T50" fmla="*/ 244 w 576"/>
                <a:gd name="T51" fmla="*/ 316 h 423"/>
                <a:gd name="T52" fmla="*/ 234 w 576"/>
                <a:gd name="T53" fmla="*/ 328 h 423"/>
                <a:gd name="T54" fmla="*/ 193 w 576"/>
                <a:gd name="T55" fmla="*/ 341 h 423"/>
                <a:gd name="T56" fmla="*/ 209 w 576"/>
                <a:gd name="T57" fmla="*/ 359 h 423"/>
                <a:gd name="T58" fmla="*/ 206 w 576"/>
                <a:gd name="T59" fmla="*/ 359 h 423"/>
                <a:gd name="T60" fmla="*/ 191 w 576"/>
                <a:gd name="T61" fmla="*/ 390 h 423"/>
                <a:gd name="T62" fmla="*/ 204 w 576"/>
                <a:gd name="T63" fmla="*/ 384 h 423"/>
                <a:gd name="T64" fmla="*/ 209 w 576"/>
                <a:gd name="T65" fmla="*/ 395 h 423"/>
                <a:gd name="T66" fmla="*/ 214 w 576"/>
                <a:gd name="T67" fmla="*/ 423 h 423"/>
                <a:gd name="T68" fmla="*/ 267 w 576"/>
                <a:gd name="T69" fmla="*/ 402 h 423"/>
                <a:gd name="T70" fmla="*/ 298 w 576"/>
                <a:gd name="T71" fmla="*/ 402 h 423"/>
                <a:gd name="T72" fmla="*/ 316 w 576"/>
                <a:gd name="T73" fmla="*/ 351 h 423"/>
                <a:gd name="T74" fmla="*/ 334 w 576"/>
                <a:gd name="T75" fmla="*/ 298 h 423"/>
                <a:gd name="T76" fmla="*/ 364 w 576"/>
                <a:gd name="T77" fmla="*/ 232 h 423"/>
                <a:gd name="T78" fmla="*/ 423 w 576"/>
                <a:gd name="T79" fmla="*/ 204 h 423"/>
                <a:gd name="T80" fmla="*/ 476 w 576"/>
                <a:gd name="T81" fmla="*/ 206 h 423"/>
                <a:gd name="T82" fmla="*/ 522 w 576"/>
                <a:gd name="T83" fmla="*/ 183 h 423"/>
                <a:gd name="T84" fmla="*/ 568 w 576"/>
                <a:gd name="T85" fmla="*/ 191 h 423"/>
                <a:gd name="T86" fmla="*/ 18 w 576"/>
                <a:gd name="T87" fmla="*/ 161 h 423"/>
                <a:gd name="T88" fmla="*/ 446 w 576"/>
                <a:gd name="T89" fmla="*/ 36 h 423"/>
                <a:gd name="T90" fmla="*/ 428 w 576"/>
                <a:gd name="T91" fmla="*/ 49 h 423"/>
                <a:gd name="T92" fmla="*/ 298 w 576"/>
                <a:gd name="T93" fmla="*/ 33 h 423"/>
                <a:gd name="T94" fmla="*/ 285 w 576"/>
                <a:gd name="T95" fmla="*/ 13 h 423"/>
                <a:gd name="T96" fmla="*/ 293 w 576"/>
                <a:gd name="T97" fmla="*/ 23 h 423"/>
                <a:gd name="T98" fmla="*/ 336 w 576"/>
                <a:gd name="T99" fmla="*/ 28 h 423"/>
                <a:gd name="T100" fmla="*/ 349 w 576"/>
                <a:gd name="T101" fmla="*/ 33 h 423"/>
                <a:gd name="T102" fmla="*/ 359 w 576"/>
                <a:gd name="T103" fmla="*/ 44 h 423"/>
                <a:gd name="T104" fmla="*/ 369 w 576"/>
                <a:gd name="T105" fmla="*/ 56 h 423"/>
                <a:gd name="T106" fmla="*/ 420 w 576"/>
                <a:gd name="T107" fmla="*/ 26 h 423"/>
                <a:gd name="T108" fmla="*/ 372 w 576"/>
                <a:gd name="T109" fmla="*/ 16 h 423"/>
                <a:gd name="T110" fmla="*/ 349 w 576"/>
                <a:gd name="T111" fmla="*/ 21 h 423"/>
                <a:gd name="T112" fmla="*/ 313 w 576"/>
                <a:gd name="T113" fmla="*/ 10 h 423"/>
                <a:gd name="T114" fmla="*/ 377 w 576"/>
                <a:gd name="T115" fmla="*/ 0 h 423"/>
                <a:gd name="T116" fmla="*/ 410 w 576"/>
                <a:gd name="T117" fmla="*/ 16 h 423"/>
                <a:gd name="T118" fmla="*/ 461 w 576"/>
                <a:gd name="T119" fmla="*/ 3 h 423"/>
                <a:gd name="T120" fmla="*/ 420 w 576"/>
                <a:gd name="T121" fmla="*/ 5 h 423"/>
                <a:gd name="T122" fmla="*/ 377 w 576"/>
                <a:gd name="T123" fmla="*/ 5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76" h="423">
                  <a:moveTo>
                    <a:pt x="193" y="377"/>
                  </a:moveTo>
                  <a:lnTo>
                    <a:pt x="191" y="374"/>
                  </a:lnTo>
                  <a:lnTo>
                    <a:pt x="191" y="372"/>
                  </a:lnTo>
                  <a:lnTo>
                    <a:pt x="191" y="372"/>
                  </a:lnTo>
                  <a:lnTo>
                    <a:pt x="191" y="374"/>
                  </a:lnTo>
                  <a:lnTo>
                    <a:pt x="191" y="374"/>
                  </a:lnTo>
                  <a:lnTo>
                    <a:pt x="191" y="377"/>
                  </a:lnTo>
                  <a:lnTo>
                    <a:pt x="191" y="377"/>
                  </a:lnTo>
                  <a:lnTo>
                    <a:pt x="191" y="377"/>
                  </a:lnTo>
                  <a:lnTo>
                    <a:pt x="193" y="379"/>
                  </a:lnTo>
                  <a:lnTo>
                    <a:pt x="193" y="377"/>
                  </a:lnTo>
                  <a:close/>
                  <a:moveTo>
                    <a:pt x="191" y="359"/>
                  </a:moveTo>
                  <a:lnTo>
                    <a:pt x="191" y="356"/>
                  </a:lnTo>
                  <a:lnTo>
                    <a:pt x="188" y="356"/>
                  </a:lnTo>
                  <a:lnTo>
                    <a:pt x="188" y="359"/>
                  </a:lnTo>
                  <a:lnTo>
                    <a:pt x="188" y="359"/>
                  </a:lnTo>
                  <a:lnTo>
                    <a:pt x="188" y="359"/>
                  </a:lnTo>
                  <a:lnTo>
                    <a:pt x="191" y="359"/>
                  </a:lnTo>
                  <a:lnTo>
                    <a:pt x="191" y="359"/>
                  </a:lnTo>
                  <a:close/>
                  <a:moveTo>
                    <a:pt x="239" y="313"/>
                  </a:moveTo>
                  <a:lnTo>
                    <a:pt x="239" y="313"/>
                  </a:lnTo>
                  <a:lnTo>
                    <a:pt x="242" y="313"/>
                  </a:lnTo>
                  <a:lnTo>
                    <a:pt x="242" y="313"/>
                  </a:lnTo>
                  <a:lnTo>
                    <a:pt x="242" y="311"/>
                  </a:lnTo>
                  <a:lnTo>
                    <a:pt x="242" y="311"/>
                  </a:lnTo>
                  <a:lnTo>
                    <a:pt x="239" y="311"/>
                  </a:lnTo>
                  <a:lnTo>
                    <a:pt x="237" y="313"/>
                  </a:lnTo>
                  <a:lnTo>
                    <a:pt x="237" y="313"/>
                  </a:lnTo>
                  <a:lnTo>
                    <a:pt x="239" y="313"/>
                  </a:lnTo>
                  <a:close/>
                  <a:moveTo>
                    <a:pt x="247" y="308"/>
                  </a:moveTo>
                  <a:lnTo>
                    <a:pt x="252" y="306"/>
                  </a:lnTo>
                  <a:lnTo>
                    <a:pt x="252" y="306"/>
                  </a:lnTo>
                  <a:lnTo>
                    <a:pt x="252" y="306"/>
                  </a:lnTo>
                  <a:lnTo>
                    <a:pt x="252" y="303"/>
                  </a:lnTo>
                  <a:lnTo>
                    <a:pt x="252" y="303"/>
                  </a:lnTo>
                  <a:lnTo>
                    <a:pt x="252" y="306"/>
                  </a:lnTo>
                  <a:lnTo>
                    <a:pt x="247" y="306"/>
                  </a:lnTo>
                  <a:lnTo>
                    <a:pt x="244" y="306"/>
                  </a:lnTo>
                  <a:lnTo>
                    <a:pt x="247" y="308"/>
                  </a:lnTo>
                  <a:lnTo>
                    <a:pt x="247" y="308"/>
                  </a:lnTo>
                  <a:close/>
                  <a:moveTo>
                    <a:pt x="288" y="280"/>
                  </a:moveTo>
                  <a:lnTo>
                    <a:pt x="285" y="283"/>
                  </a:lnTo>
                  <a:lnTo>
                    <a:pt x="283" y="283"/>
                  </a:lnTo>
                  <a:lnTo>
                    <a:pt x="285" y="283"/>
                  </a:lnTo>
                  <a:lnTo>
                    <a:pt x="288" y="283"/>
                  </a:lnTo>
                  <a:lnTo>
                    <a:pt x="290" y="283"/>
                  </a:lnTo>
                  <a:lnTo>
                    <a:pt x="290" y="283"/>
                  </a:lnTo>
                  <a:lnTo>
                    <a:pt x="290" y="283"/>
                  </a:lnTo>
                  <a:lnTo>
                    <a:pt x="290" y="280"/>
                  </a:lnTo>
                  <a:lnTo>
                    <a:pt x="288" y="280"/>
                  </a:lnTo>
                  <a:close/>
                  <a:moveTo>
                    <a:pt x="298" y="267"/>
                  </a:moveTo>
                  <a:lnTo>
                    <a:pt x="298" y="267"/>
                  </a:lnTo>
                  <a:lnTo>
                    <a:pt x="298" y="267"/>
                  </a:lnTo>
                  <a:lnTo>
                    <a:pt x="300" y="267"/>
                  </a:lnTo>
                  <a:lnTo>
                    <a:pt x="300" y="267"/>
                  </a:lnTo>
                  <a:lnTo>
                    <a:pt x="303" y="267"/>
                  </a:lnTo>
                  <a:lnTo>
                    <a:pt x="303" y="265"/>
                  </a:lnTo>
                  <a:lnTo>
                    <a:pt x="300" y="265"/>
                  </a:lnTo>
                  <a:lnTo>
                    <a:pt x="298" y="267"/>
                  </a:lnTo>
                  <a:close/>
                  <a:moveTo>
                    <a:pt x="313" y="260"/>
                  </a:moveTo>
                  <a:lnTo>
                    <a:pt x="313" y="260"/>
                  </a:lnTo>
                  <a:lnTo>
                    <a:pt x="313" y="260"/>
                  </a:lnTo>
                  <a:lnTo>
                    <a:pt x="311" y="260"/>
                  </a:lnTo>
                  <a:lnTo>
                    <a:pt x="311" y="260"/>
                  </a:lnTo>
                  <a:lnTo>
                    <a:pt x="308" y="260"/>
                  </a:lnTo>
                  <a:lnTo>
                    <a:pt x="308" y="262"/>
                  </a:lnTo>
                  <a:lnTo>
                    <a:pt x="308" y="262"/>
                  </a:lnTo>
                  <a:lnTo>
                    <a:pt x="311" y="262"/>
                  </a:lnTo>
                  <a:lnTo>
                    <a:pt x="313" y="260"/>
                  </a:lnTo>
                  <a:close/>
                  <a:moveTo>
                    <a:pt x="311" y="257"/>
                  </a:moveTo>
                  <a:lnTo>
                    <a:pt x="311" y="257"/>
                  </a:lnTo>
                  <a:lnTo>
                    <a:pt x="311" y="257"/>
                  </a:lnTo>
                  <a:lnTo>
                    <a:pt x="308" y="257"/>
                  </a:lnTo>
                  <a:lnTo>
                    <a:pt x="308" y="257"/>
                  </a:lnTo>
                  <a:lnTo>
                    <a:pt x="308" y="257"/>
                  </a:lnTo>
                  <a:lnTo>
                    <a:pt x="308" y="260"/>
                  </a:lnTo>
                  <a:lnTo>
                    <a:pt x="308" y="260"/>
                  </a:lnTo>
                  <a:lnTo>
                    <a:pt x="308" y="260"/>
                  </a:lnTo>
                  <a:lnTo>
                    <a:pt x="311" y="260"/>
                  </a:lnTo>
                  <a:lnTo>
                    <a:pt x="311" y="257"/>
                  </a:lnTo>
                  <a:close/>
                  <a:moveTo>
                    <a:pt x="318" y="219"/>
                  </a:moveTo>
                  <a:lnTo>
                    <a:pt x="316" y="222"/>
                  </a:lnTo>
                  <a:lnTo>
                    <a:pt x="316" y="222"/>
                  </a:lnTo>
                  <a:lnTo>
                    <a:pt x="313" y="224"/>
                  </a:lnTo>
                  <a:lnTo>
                    <a:pt x="316" y="224"/>
                  </a:lnTo>
                  <a:lnTo>
                    <a:pt x="318" y="222"/>
                  </a:lnTo>
                  <a:lnTo>
                    <a:pt x="318" y="222"/>
                  </a:lnTo>
                  <a:lnTo>
                    <a:pt x="318" y="222"/>
                  </a:lnTo>
                  <a:lnTo>
                    <a:pt x="318" y="219"/>
                  </a:lnTo>
                  <a:lnTo>
                    <a:pt x="318" y="219"/>
                  </a:lnTo>
                  <a:close/>
                  <a:moveTo>
                    <a:pt x="331" y="217"/>
                  </a:moveTo>
                  <a:lnTo>
                    <a:pt x="328" y="217"/>
                  </a:lnTo>
                  <a:lnTo>
                    <a:pt x="328" y="217"/>
                  </a:lnTo>
                  <a:lnTo>
                    <a:pt x="326" y="217"/>
                  </a:lnTo>
                  <a:lnTo>
                    <a:pt x="323" y="217"/>
                  </a:lnTo>
                  <a:lnTo>
                    <a:pt x="323" y="219"/>
                  </a:lnTo>
                  <a:lnTo>
                    <a:pt x="321" y="217"/>
                  </a:lnTo>
                  <a:lnTo>
                    <a:pt x="321" y="219"/>
                  </a:lnTo>
                  <a:lnTo>
                    <a:pt x="321" y="219"/>
                  </a:lnTo>
                  <a:lnTo>
                    <a:pt x="318" y="219"/>
                  </a:lnTo>
                  <a:lnTo>
                    <a:pt x="321" y="222"/>
                  </a:lnTo>
                  <a:lnTo>
                    <a:pt x="321" y="222"/>
                  </a:lnTo>
                  <a:lnTo>
                    <a:pt x="323" y="222"/>
                  </a:lnTo>
                  <a:lnTo>
                    <a:pt x="323" y="219"/>
                  </a:lnTo>
                  <a:lnTo>
                    <a:pt x="323" y="219"/>
                  </a:lnTo>
                  <a:lnTo>
                    <a:pt x="323" y="219"/>
                  </a:lnTo>
                  <a:lnTo>
                    <a:pt x="326" y="219"/>
                  </a:lnTo>
                  <a:lnTo>
                    <a:pt x="326" y="219"/>
                  </a:lnTo>
                  <a:lnTo>
                    <a:pt x="328" y="219"/>
                  </a:lnTo>
                  <a:lnTo>
                    <a:pt x="328" y="219"/>
                  </a:lnTo>
                  <a:lnTo>
                    <a:pt x="328" y="217"/>
                  </a:lnTo>
                  <a:lnTo>
                    <a:pt x="331" y="217"/>
                  </a:lnTo>
                  <a:lnTo>
                    <a:pt x="334" y="217"/>
                  </a:lnTo>
                  <a:lnTo>
                    <a:pt x="334" y="217"/>
                  </a:lnTo>
                  <a:lnTo>
                    <a:pt x="334" y="217"/>
                  </a:lnTo>
                  <a:lnTo>
                    <a:pt x="331" y="217"/>
                  </a:lnTo>
                  <a:close/>
                  <a:moveTo>
                    <a:pt x="341" y="206"/>
                  </a:moveTo>
                  <a:lnTo>
                    <a:pt x="341" y="206"/>
                  </a:lnTo>
                  <a:lnTo>
                    <a:pt x="339" y="206"/>
                  </a:lnTo>
                  <a:lnTo>
                    <a:pt x="339" y="206"/>
                  </a:lnTo>
                  <a:lnTo>
                    <a:pt x="336" y="206"/>
                  </a:lnTo>
                  <a:lnTo>
                    <a:pt x="336" y="209"/>
                  </a:lnTo>
                  <a:lnTo>
                    <a:pt x="339" y="209"/>
                  </a:lnTo>
                  <a:lnTo>
                    <a:pt x="341" y="209"/>
                  </a:lnTo>
                  <a:lnTo>
                    <a:pt x="341" y="209"/>
                  </a:lnTo>
                  <a:lnTo>
                    <a:pt x="344" y="209"/>
                  </a:lnTo>
                  <a:lnTo>
                    <a:pt x="344" y="209"/>
                  </a:lnTo>
                  <a:lnTo>
                    <a:pt x="344" y="209"/>
                  </a:lnTo>
                  <a:lnTo>
                    <a:pt x="346" y="209"/>
                  </a:lnTo>
                  <a:lnTo>
                    <a:pt x="349" y="209"/>
                  </a:lnTo>
                  <a:lnTo>
                    <a:pt x="351" y="209"/>
                  </a:lnTo>
                  <a:lnTo>
                    <a:pt x="351" y="206"/>
                  </a:lnTo>
                  <a:lnTo>
                    <a:pt x="351" y="204"/>
                  </a:lnTo>
                  <a:lnTo>
                    <a:pt x="349" y="204"/>
                  </a:lnTo>
                  <a:lnTo>
                    <a:pt x="349" y="201"/>
                  </a:lnTo>
                  <a:lnTo>
                    <a:pt x="346" y="201"/>
                  </a:lnTo>
                  <a:lnTo>
                    <a:pt x="346" y="201"/>
                  </a:lnTo>
                  <a:lnTo>
                    <a:pt x="346" y="201"/>
                  </a:lnTo>
                  <a:lnTo>
                    <a:pt x="346" y="204"/>
                  </a:lnTo>
                  <a:lnTo>
                    <a:pt x="344" y="204"/>
                  </a:lnTo>
                  <a:lnTo>
                    <a:pt x="344" y="204"/>
                  </a:lnTo>
                  <a:lnTo>
                    <a:pt x="344" y="204"/>
                  </a:lnTo>
                  <a:lnTo>
                    <a:pt x="344" y="206"/>
                  </a:lnTo>
                  <a:lnTo>
                    <a:pt x="341" y="206"/>
                  </a:lnTo>
                  <a:close/>
                  <a:moveTo>
                    <a:pt x="336" y="217"/>
                  </a:moveTo>
                  <a:lnTo>
                    <a:pt x="336" y="217"/>
                  </a:lnTo>
                  <a:lnTo>
                    <a:pt x="341" y="217"/>
                  </a:lnTo>
                  <a:lnTo>
                    <a:pt x="344" y="214"/>
                  </a:lnTo>
                  <a:lnTo>
                    <a:pt x="346" y="217"/>
                  </a:lnTo>
                  <a:lnTo>
                    <a:pt x="346" y="217"/>
                  </a:lnTo>
                  <a:lnTo>
                    <a:pt x="349" y="214"/>
                  </a:lnTo>
                  <a:lnTo>
                    <a:pt x="349" y="214"/>
                  </a:lnTo>
                  <a:lnTo>
                    <a:pt x="351" y="214"/>
                  </a:lnTo>
                  <a:lnTo>
                    <a:pt x="351" y="214"/>
                  </a:lnTo>
                  <a:lnTo>
                    <a:pt x="351" y="214"/>
                  </a:lnTo>
                  <a:lnTo>
                    <a:pt x="356" y="214"/>
                  </a:lnTo>
                  <a:lnTo>
                    <a:pt x="356" y="214"/>
                  </a:lnTo>
                  <a:lnTo>
                    <a:pt x="359" y="214"/>
                  </a:lnTo>
                  <a:lnTo>
                    <a:pt x="359" y="214"/>
                  </a:lnTo>
                  <a:lnTo>
                    <a:pt x="359" y="214"/>
                  </a:lnTo>
                  <a:lnTo>
                    <a:pt x="359" y="214"/>
                  </a:lnTo>
                  <a:lnTo>
                    <a:pt x="362" y="211"/>
                  </a:lnTo>
                  <a:lnTo>
                    <a:pt x="364" y="211"/>
                  </a:lnTo>
                  <a:lnTo>
                    <a:pt x="364" y="209"/>
                  </a:lnTo>
                  <a:lnTo>
                    <a:pt x="369" y="209"/>
                  </a:lnTo>
                  <a:lnTo>
                    <a:pt x="369" y="206"/>
                  </a:lnTo>
                  <a:lnTo>
                    <a:pt x="367" y="206"/>
                  </a:lnTo>
                  <a:lnTo>
                    <a:pt x="367" y="204"/>
                  </a:lnTo>
                  <a:lnTo>
                    <a:pt x="364" y="204"/>
                  </a:lnTo>
                  <a:lnTo>
                    <a:pt x="364" y="204"/>
                  </a:lnTo>
                  <a:lnTo>
                    <a:pt x="364" y="204"/>
                  </a:lnTo>
                  <a:lnTo>
                    <a:pt x="362" y="204"/>
                  </a:lnTo>
                  <a:lnTo>
                    <a:pt x="362" y="206"/>
                  </a:lnTo>
                  <a:lnTo>
                    <a:pt x="362" y="206"/>
                  </a:lnTo>
                  <a:lnTo>
                    <a:pt x="362" y="206"/>
                  </a:lnTo>
                  <a:lnTo>
                    <a:pt x="362" y="209"/>
                  </a:lnTo>
                  <a:lnTo>
                    <a:pt x="359" y="209"/>
                  </a:lnTo>
                  <a:lnTo>
                    <a:pt x="356" y="211"/>
                  </a:lnTo>
                  <a:lnTo>
                    <a:pt x="356" y="209"/>
                  </a:lnTo>
                  <a:lnTo>
                    <a:pt x="356" y="209"/>
                  </a:lnTo>
                  <a:lnTo>
                    <a:pt x="359" y="206"/>
                  </a:lnTo>
                  <a:lnTo>
                    <a:pt x="359" y="206"/>
                  </a:lnTo>
                  <a:lnTo>
                    <a:pt x="359" y="204"/>
                  </a:lnTo>
                  <a:lnTo>
                    <a:pt x="356" y="201"/>
                  </a:lnTo>
                  <a:lnTo>
                    <a:pt x="356" y="201"/>
                  </a:lnTo>
                  <a:lnTo>
                    <a:pt x="359" y="199"/>
                  </a:lnTo>
                  <a:lnTo>
                    <a:pt x="362" y="199"/>
                  </a:lnTo>
                  <a:lnTo>
                    <a:pt x="362" y="196"/>
                  </a:lnTo>
                  <a:lnTo>
                    <a:pt x="362" y="196"/>
                  </a:lnTo>
                  <a:lnTo>
                    <a:pt x="359" y="196"/>
                  </a:lnTo>
                  <a:lnTo>
                    <a:pt x="359" y="196"/>
                  </a:lnTo>
                  <a:lnTo>
                    <a:pt x="356" y="199"/>
                  </a:lnTo>
                  <a:lnTo>
                    <a:pt x="354" y="199"/>
                  </a:lnTo>
                  <a:lnTo>
                    <a:pt x="351" y="201"/>
                  </a:lnTo>
                  <a:lnTo>
                    <a:pt x="351" y="201"/>
                  </a:lnTo>
                  <a:lnTo>
                    <a:pt x="351" y="204"/>
                  </a:lnTo>
                  <a:lnTo>
                    <a:pt x="354" y="204"/>
                  </a:lnTo>
                  <a:lnTo>
                    <a:pt x="354" y="204"/>
                  </a:lnTo>
                  <a:lnTo>
                    <a:pt x="354" y="206"/>
                  </a:lnTo>
                  <a:lnTo>
                    <a:pt x="351" y="209"/>
                  </a:lnTo>
                  <a:lnTo>
                    <a:pt x="346" y="211"/>
                  </a:lnTo>
                  <a:lnTo>
                    <a:pt x="339" y="214"/>
                  </a:lnTo>
                  <a:lnTo>
                    <a:pt x="339" y="214"/>
                  </a:lnTo>
                  <a:lnTo>
                    <a:pt x="336" y="217"/>
                  </a:lnTo>
                  <a:lnTo>
                    <a:pt x="336" y="217"/>
                  </a:lnTo>
                  <a:close/>
                  <a:moveTo>
                    <a:pt x="390" y="196"/>
                  </a:moveTo>
                  <a:lnTo>
                    <a:pt x="390" y="194"/>
                  </a:lnTo>
                  <a:lnTo>
                    <a:pt x="390" y="194"/>
                  </a:lnTo>
                  <a:lnTo>
                    <a:pt x="390" y="191"/>
                  </a:lnTo>
                  <a:lnTo>
                    <a:pt x="387" y="191"/>
                  </a:lnTo>
                  <a:lnTo>
                    <a:pt x="387" y="191"/>
                  </a:lnTo>
                  <a:lnTo>
                    <a:pt x="384" y="191"/>
                  </a:lnTo>
                  <a:lnTo>
                    <a:pt x="384" y="191"/>
                  </a:lnTo>
                  <a:lnTo>
                    <a:pt x="382" y="191"/>
                  </a:lnTo>
                  <a:lnTo>
                    <a:pt x="382" y="191"/>
                  </a:lnTo>
                  <a:lnTo>
                    <a:pt x="382" y="191"/>
                  </a:lnTo>
                  <a:lnTo>
                    <a:pt x="382" y="191"/>
                  </a:lnTo>
                  <a:lnTo>
                    <a:pt x="382" y="191"/>
                  </a:lnTo>
                  <a:lnTo>
                    <a:pt x="379" y="191"/>
                  </a:lnTo>
                  <a:lnTo>
                    <a:pt x="377" y="191"/>
                  </a:lnTo>
                  <a:lnTo>
                    <a:pt x="377" y="194"/>
                  </a:lnTo>
                  <a:lnTo>
                    <a:pt x="379" y="194"/>
                  </a:lnTo>
                  <a:lnTo>
                    <a:pt x="379" y="194"/>
                  </a:lnTo>
                  <a:lnTo>
                    <a:pt x="379" y="194"/>
                  </a:lnTo>
                  <a:lnTo>
                    <a:pt x="374" y="194"/>
                  </a:lnTo>
                  <a:lnTo>
                    <a:pt x="374" y="194"/>
                  </a:lnTo>
                  <a:lnTo>
                    <a:pt x="374" y="196"/>
                  </a:lnTo>
                  <a:lnTo>
                    <a:pt x="374" y="196"/>
                  </a:lnTo>
                  <a:lnTo>
                    <a:pt x="374" y="199"/>
                  </a:lnTo>
                  <a:lnTo>
                    <a:pt x="374" y="199"/>
                  </a:lnTo>
                  <a:lnTo>
                    <a:pt x="372" y="199"/>
                  </a:lnTo>
                  <a:lnTo>
                    <a:pt x="372" y="199"/>
                  </a:lnTo>
                  <a:lnTo>
                    <a:pt x="372" y="201"/>
                  </a:lnTo>
                  <a:lnTo>
                    <a:pt x="374" y="201"/>
                  </a:lnTo>
                  <a:lnTo>
                    <a:pt x="377" y="201"/>
                  </a:lnTo>
                  <a:lnTo>
                    <a:pt x="377" y="201"/>
                  </a:lnTo>
                  <a:lnTo>
                    <a:pt x="377" y="201"/>
                  </a:lnTo>
                  <a:lnTo>
                    <a:pt x="379" y="199"/>
                  </a:lnTo>
                  <a:lnTo>
                    <a:pt x="382" y="199"/>
                  </a:lnTo>
                  <a:lnTo>
                    <a:pt x="382" y="199"/>
                  </a:lnTo>
                  <a:lnTo>
                    <a:pt x="384" y="199"/>
                  </a:lnTo>
                  <a:lnTo>
                    <a:pt x="387" y="199"/>
                  </a:lnTo>
                  <a:lnTo>
                    <a:pt x="387" y="196"/>
                  </a:lnTo>
                  <a:lnTo>
                    <a:pt x="387" y="196"/>
                  </a:lnTo>
                  <a:lnTo>
                    <a:pt x="390" y="196"/>
                  </a:lnTo>
                  <a:close/>
                  <a:moveTo>
                    <a:pt x="560" y="183"/>
                  </a:moveTo>
                  <a:lnTo>
                    <a:pt x="558" y="186"/>
                  </a:lnTo>
                  <a:lnTo>
                    <a:pt x="558" y="186"/>
                  </a:lnTo>
                  <a:lnTo>
                    <a:pt x="558" y="186"/>
                  </a:lnTo>
                  <a:lnTo>
                    <a:pt x="560" y="186"/>
                  </a:lnTo>
                  <a:lnTo>
                    <a:pt x="563" y="186"/>
                  </a:lnTo>
                  <a:lnTo>
                    <a:pt x="563" y="186"/>
                  </a:lnTo>
                  <a:lnTo>
                    <a:pt x="560" y="183"/>
                  </a:lnTo>
                  <a:lnTo>
                    <a:pt x="560" y="183"/>
                  </a:lnTo>
                  <a:close/>
                  <a:moveTo>
                    <a:pt x="425" y="178"/>
                  </a:moveTo>
                  <a:lnTo>
                    <a:pt x="423" y="178"/>
                  </a:lnTo>
                  <a:lnTo>
                    <a:pt x="423" y="181"/>
                  </a:lnTo>
                  <a:lnTo>
                    <a:pt x="423" y="181"/>
                  </a:lnTo>
                  <a:lnTo>
                    <a:pt x="423" y="181"/>
                  </a:lnTo>
                  <a:lnTo>
                    <a:pt x="425" y="181"/>
                  </a:lnTo>
                  <a:lnTo>
                    <a:pt x="425" y="181"/>
                  </a:lnTo>
                  <a:lnTo>
                    <a:pt x="425" y="181"/>
                  </a:lnTo>
                  <a:lnTo>
                    <a:pt x="428" y="181"/>
                  </a:lnTo>
                  <a:lnTo>
                    <a:pt x="428" y="181"/>
                  </a:lnTo>
                  <a:lnTo>
                    <a:pt x="428" y="178"/>
                  </a:lnTo>
                  <a:lnTo>
                    <a:pt x="428" y="178"/>
                  </a:lnTo>
                  <a:lnTo>
                    <a:pt x="425" y="178"/>
                  </a:lnTo>
                  <a:close/>
                  <a:moveTo>
                    <a:pt x="392" y="191"/>
                  </a:moveTo>
                  <a:lnTo>
                    <a:pt x="395" y="191"/>
                  </a:lnTo>
                  <a:lnTo>
                    <a:pt x="400" y="191"/>
                  </a:lnTo>
                  <a:lnTo>
                    <a:pt x="400" y="191"/>
                  </a:lnTo>
                  <a:lnTo>
                    <a:pt x="400" y="189"/>
                  </a:lnTo>
                  <a:lnTo>
                    <a:pt x="402" y="189"/>
                  </a:lnTo>
                  <a:lnTo>
                    <a:pt x="402" y="186"/>
                  </a:lnTo>
                  <a:lnTo>
                    <a:pt x="405" y="186"/>
                  </a:lnTo>
                  <a:lnTo>
                    <a:pt x="405" y="186"/>
                  </a:lnTo>
                  <a:lnTo>
                    <a:pt x="407" y="186"/>
                  </a:lnTo>
                  <a:lnTo>
                    <a:pt x="410" y="183"/>
                  </a:lnTo>
                  <a:lnTo>
                    <a:pt x="410" y="183"/>
                  </a:lnTo>
                  <a:lnTo>
                    <a:pt x="413" y="183"/>
                  </a:lnTo>
                  <a:lnTo>
                    <a:pt x="410" y="181"/>
                  </a:lnTo>
                  <a:lnTo>
                    <a:pt x="410" y="181"/>
                  </a:lnTo>
                  <a:lnTo>
                    <a:pt x="407" y="183"/>
                  </a:lnTo>
                  <a:lnTo>
                    <a:pt x="407" y="183"/>
                  </a:lnTo>
                  <a:lnTo>
                    <a:pt x="405" y="181"/>
                  </a:lnTo>
                  <a:lnTo>
                    <a:pt x="405" y="178"/>
                  </a:lnTo>
                  <a:lnTo>
                    <a:pt x="405" y="178"/>
                  </a:lnTo>
                  <a:lnTo>
                    <a:pt x="405" y="178"/>
                  </a:lnTo>
                  <a:lnTo>
                    <a:pt x="402" y="178"/>
                  </a:lnTo>
                  <a:lnTo>
                    <a:pt x="402" y="181"/>
                  </a:lnTo>
                  <a:lnTo>
                    <a:pt x="402" y="181"/>
                  </a:lnTo>
                  <a:lnTo>
                    <a:pt x="402" y="181"/>
                  </a:lnTo>
                  <a:lnTo>
                    <a:pt x="402" y="181"/>
                  </a:lnTo>
                  <a:lnTo>
                    <a:pt x="400" y="183"/>
                  </a:lnTo>
                  <a:lnTo>
                    <a:pt x="400" y="183"/>
                  </a:lnTo>
                  <a:lnTo>
                    <a:pt x="397" y="186"/>
                  </a:lnTo>
                  <a:lnTo>
                    <a:pt x="397" y="186"/>
                  </a:lnTo>
                  <a:lnTo>
                    <a:pt x="397" y="186"/>
                  </a:lnTo>
                  <a:lnTo>
                    <a:pt x="397" y="186"/>
                  </a:lnTo>
                  <a:lnTo>
                    <a:pt x="397" y="186"/>
                  </a:lnTo>
                  <a:lnTo>
                    <a:pt x="397" y="186"/>
                  </a:lnTo>
                  <a:lnTo>
                    <a:pt x="395" y="186"/>
                  </a:lnTo>
                  <a:lnTo>
                    <a:pt x="395" y="186"/>
                  </a:lnTo>
                  <a:lnTo>
                    <a:pt x="392" y="186"/>
                  </a:lnTo>
                  <a:lnTo>
                    <a:pt x="392" y="189"/>
                  </a:lnTo>
                  <a:lnTo>
                    <a:pt x="392" y="189"/>
                  </a:lnTo>
                  <a:lnTo>
                    <a:pt x="392" y="189"/>
                  </a:lnTo>
                  <a:lnTo>
                    <a:pt x="392" y="189"/>
                  </a:lnTo>
                  <a:lnTo>
                    <a:pt x="390" y="189"/>
                  </a:lnTo>
                  <a:lnTo>
                    <a:pt x="390" y="191"/>
                  </a:lnTo>
                  <a:lnTo>
                    <a:pt x="390" y="191"/>
                  </a:lnTo>
                  <a:lnTo>
                    <a:pt x="392" y="191"/>
                  </a:lnTo>
                  <a:close/>
                  <a:moveTo>
                    <a:pt x="413" y="181"/>
                  </a:moveTo>
                  <a:lnTo>
                    <a:pt x="413" y="181"/>
                  </a:lnTo>
                  <a:lnTo>
                    <a:pt x="415" y="181"/>
                  </a:lnTo>
                  <a:lnTo>
                    <a:pt x="418" y="181"/>
                  </a:lnTo>
                  <a:lnTo>
                    <a:pt x="418" y="181"/>
                  </a:lnTo>
                  <a:lnTo>
                    <a:pt x="418" y="181"/>
                  </a:lnTo>
                  <a:lnTo>
                    <a:pt x="418" y="181"/>
                  </a:lnTo>
                  <a:lnTo>
                    <a:pt x="415" y="178"/>
                  </a:lnTo>
                  <a:lnTo>
                    <a:pt x="415" y="178"/>
                  </a:lnTo>
                  <a:lnTo>
                    <a:pt x="415" y="178"/>
                  </a:lnTo>
                  <a:lnTo>
                    <a:pt x="413" y="178"/>
                  </a:lnTo>
                  <a:lnTo>
                    <a:pt x="413" y="178"/>
                  </a:lnTo>
                  <a:lnTo>
                    <a:pt x="410" y="178"/>
                  </a:lnTo>
                  <a:lnTo>
                    <a:pt x="410" y="178"/>
                  </a:lnTo>
                  <a:lnTo>
                    <a:pt x="413" y="178"/>
                  </a:lnTo>
                  <a:lnTo>
                    <a:pt x="413" y="181"/>
                  </a:lnTo>
                  <a:close/>
                  <a:moveTo>
                    <a:pt x="469" y="173"/>
                  </a:moveTo>
                  <a:lnTo>
                    <a:pt x="469" y="173"/>
                  </a:lnTo>
                  <a:lnTo>
                    <a:pt x="469" y="173"/>
                  </a:lnTo>
                  <a:lnTo>
                    <a:pt x="469" y="171"/>
                  </a:lnTo>
                  <a:lnTo>
                    <a:pt x="466" y="171"/>
                  </a:lnTo>
                  <a:lnTo>
                    <a:pt x="464" y="173"/>
                  </a:lnTo>
                  <a:lnTo>
                    <a:pt x="461" y="173"/>
                  </a:lnTo>
                  <a:lnTo>
                    <a:pt x="458" y="173"/>
                  </a:lnTo>
                  <a:lnTo>
                    <a:pt x="458" y="173"/>
                  </a:lnTo>
                  <a:lnTo>
                    <a:pt x="458" y="176"/>
                  </a:lnTo>
                  <a:lnTo>
                    <a:pt x="458" y="176"/>
                  </a:lnTo>
                  <a:lnTo>
                    <a:pt x="458" y="176"/>
                  </a:lnTo>
                  <a:lnTo>
                    <a:pt x="461" y="176"/>
                  </a:lnTo>
                  <a:lnTo>
                    <a:pt x="461" y="176"/>
                  </a:lnTo>
                  <a:lnTo>
                    <a:pt x="461" y="176"/>
                  </a:lnTo>
                  <a:lnTo>
                    <a:pt x="461" y="178"/>
                  </a:lnTo>
                  <a:lnTo>
                    <a:pt x="464" y="176"/>
                  </a:lnTo>
                  <a:lnTo>
                    <a:pt x="464" y="176"/>
                  </a:lnTo>
                  <a:lnTo>
                    <a:pt x="464" y="176"/>
                  </a:lnTo>
                  <a:lnTo>
                    <a:pt x="469" y="176"/>
                  </a:lnTo>
                  <a:lnTo>
                    <a:pt x="469" y="173"/>
                  </a:lnTo>
                  <a:close/>
                  <a:moveTo>
                    <a:pt x="469" y="173"/>
                  </a:moveTo>
                  <a:lnTo>
                    <a:pt x="471" y="173"/>
                  </a:lnTo>
                  <a:lnTo>
                    <a:pt x="474" y="171"/>
                  </a:lnTo>
                  <a:lnTo>
                    <a:pt x="474" y="171"/>
                  </a:lnTo>
                  <a:lnTo>
                    <a:pt x="474" y="171"/>
                  </a:lnTo>
                  <a:lnTo>
                    <a:pt x="471" y="168"/>
                  </a:lnTo>
                  <a:lnTo>
                    <a:pt x="471" y="168"/>
                  </a:lnTo>
                  <a:lnTo>
                    <a:pt x="471" y="168"/>
                  </a:lnTo>
                  <a:lnTo>
                    <a:pt x="469" y="168"/>
                  </a:lnTo>
                  <a:lnTo>
                    <a:pt x="469" y="171"/>
                  </a:lnTo>
                  <a:lnTo>
                    <a:pt x="469" y="171"/>
                  </a:lnTo>
                  <a:lnTo>
                    <a:pt x="469" y="173"/>
                  </a:lnTo>
                  <a:close/>
                  <a:moveTo>
                    <a:pt x="448" y="173"/>
                  </a:moveTo>
                  <a:lnTo>
                    <a:pt x="451" y="173"/>
                  </a:lnTo>
                  <a:lnTo>
                    <a:pt x="451" y="173"/>
                  </a:lnTo>
                  <a:lnTo>
                    <a:pt x="453" y="173"/>
                  </a:lnTo>
                  <a:lnTo>
                    <a:pt x="453" y="173"/>
                  </a:lnTo>
                  <a:lnTo>
                    <a:pt x="453" y="173"/>
                  </a:lnTo>
                  <a:lnTo>
                    <a:pt x="456" y="173"/>
                  </a:lnTo>
                  <a:lnTo>
                    <a:pt x="458" y="173"/>
                  </a:lnTo>
                  <a:lnTo>
                    <a:pt x="458" y="171"/>
                  </a:lnTo>
                  <a:lnTo>
                    <a:pt x="461" y="171"/>
                  </a:lnTo>
                  <a:lnTo>
                    <a:pt x="464" y="168"/>
                  </a:lnTo>
                  <a:lnTo>
                    <a:pt x="464" y="168"/>
                  </a:lnTo>
                  <a:lnTo>
                    <a:pt x="464" y="168"/>
                  </a:lnTo>
                  <a:lnTo>
                    <a:pt x="466" y="168"/>
                  </a:lnTo>
                  <a:lnTo>
                    <a:pt x="464" y="166"/>
                  </a:lnTo>
                  <a:lnTo>
                    <a:pt x="464" y="168"/>
                  </a:lnTo>
                  <a:lnTo>
                    <a:pt x="461" y="168"/>
                  </a:lnTo>
                  <a:lnTo>
                    <a:pt x="458" y="168"/>
                  </a:lnTo>
                  <a:lnTo>
                    <a:pt x="456" y="168"/>
                  </a:lnTo>
                  <a:lnTo>
                    <a:pt x="453" y="171"/>
                  </a:lnTo>
                  <a:lnTo>
                    <a:pt x="451" y="168"/>
                  </a:lnTo>
                  <a:lnTo>
                    <a:pt x="451" y="171"/>
                  </a:lnTo>
                  <a:lnTo>
                    <a:pt x="448" y="171"/>
                  </a:lnTo>
                  <a:lnTo>
                    <a:pt x="448" y="171"/>
                  </a:lnTo>
                  <a:lnTo>
                    <a:pt x="446" y="171"/>
                  </a:lnTo>
                  <a:lnTo>
                    <a:pt x="446" y="171"/>
                  </a:lnTo>
                  <a:lnTo>
                    <a:pt x="448" y="173"/>
                  </a:lnTo>
                  <a:close/>
                  <a:moveTo>
                    <a:pt x="576" y="189"/>
                  </a:moveTo>
                  <a:lnTo>
                    <a:pt x="576" y="186"/>
                  </a:lnTo>
                  <a:lnTo>
                    <a:pt x="573" y="186"/>
                  </a:lnTo>
                  <a:lnTo>
                    <a:pt x="571" y="186"/>
                  </a:lnTo>
                  <a:lnTo>
                    <a:pt x="568" y="186"/>
                  </a:lnTo>
                  <a:lnTo>
                    <a:pt x="568" y="189"/>
                  </a:lnTo>
                  <a:lnTo>
                    <a:pt x="568" y="189"/>
                  </a:lnTo>
                  <a:lnTo>
                    <a:pt x="568" y="186"/>
                  </a:lnTo>
                  <a:lnTo>
                    <a:pt x="565" y="186"/>
                  </a:lnTo>
                  <a:lnTo>
                    <a:pt x="565" y="186"/>
                  </a:lnTo>
                  <a:lnTo>
                    <a:pt x="565" y="189"/>
                  </a:lnTo>
                  <a:lnTo>
                    <a:pt x="563" y="189"/>
                  </a:lnTo>
                  <a:lnTo>
                    <a:pt x="563" y="189"/>
                  </a:lnTo>
                  <a:lnTo>
                    <a:pt x="560" y="189"/>
                  </a:lnTo>
                  <a:lnTo>
                    <a:pt x="558" y="189"/>
                  </a:lnTo>
                  <a:lnTo>
                    <a:pt x="558" y="186"/>
                  </a:lnTo>
                  <a:lnTo>
                    <a:pt x="558" y="186"/>
                  </a:lnTo>
                  <a:lnTo>
                    <a:pt x="555" y="186"/>
                  </a:lnTo>
                  <a:lnTo>
                    <a:pt x="555" y="183"/>
                  </a:lnTo>
                  <a:lnTo>
                    <a:pt x="555" y="183"/>
                  </a:lnTo>
                  <a:lnTo>
                    <a:pt x="545" y="181"/>
                  </a:lnTo>
                  <a:lnTo>
                    <a:pt x="543" y="181"/>
                  </a:lnTo>
                  <a:lnTo>
                    <a:pt x="560" y="181"/>
                  </a:lnTo>
                  <a:lnTo>
                    <a:pt x="565" y="181"/>
                  </a:lnTo>
                  <a:lnTo>
                    <a:pt x="568" y="178"/>
                  </a:lnTo>
                  <a:lnTo>
                    <a:pt x="573" y="178"/>
                  </a:lnTo>
                  <a:lnTo>
                    <a:pt x="573" y="176"/>
                  </a:lnTo>
                  <a:lnTo>
                    <a:pt x="573" y="176"/>
                  </a:lnTo>
                  <a:lnTo>
                    <a:pt x="568" y="173"/>
                  </a:lnTo>
                  <a:lnTo>
                    <a:pt x="565" y="173"/>
                  </a:lnTo>
                  <a:lnTo>
                    <a:pt x="563" y="173"/>
                  </a:lnTo>
                  <a:lnTo>
                    <a:pt x="563" y="173"/>
                  </a:lnTo>
                  <a:lnTo>
                    <a:pt x="563" y="171"/>
                  </a:lnTo>
                  <a:lnTo>
                    <a:pt x="560" y="168"/>
                  </a:lnTo>
                  <a:lnTo>
                    <a:pt x="558" y="171"/>
                  </a:lnTo>
                  <a:lnTo>
                    <a:pt x="555" y="171"/>
                  </a:lnTo>
                  <a:lnTo>
                    <a:pt x="555" y="171"/>
                  </a:lnTo>
                  <a:lnTo>
                    <a:pt x="555" y="171"/>
                  </a:lnTo>
                  <a:lnTo>
                    <a:pt x="553" y="168"/>
                  </a:lnTo>
                  <a:lnTo>
                    <a:pt x="550" y="168"/>
                  </a:lnTo>
                  <a:lnTo>
                    <a:pt x="550" y="168"/>
                  </a:lnTo>
                  <a:lnTo>
                    <a:pt x="548" y="168"/>
                  </a:lnTo>
                  <a:lnTo>
                    <a:pt x="545" y="166"/>
                  </a:lnTo>
                  <a:lnTo>
                    <a:pt x="543" y="166"/>
                  </a:lnTo>
                  <a:lnTo>
                    <a:pt x="540" y="166"/>
                  </a:lnTo>
                  <a:lnTo>
                    <a:pt x="540" y="168"/>
                  </a:lnTo>
                  <a:lnTo>
                    <a:pt x="537" y="171"/>
                  </a:lnTo>
                  <a:lnTo>
                    <a:pt x="537" y="173"/>
                  </a:lnTo>
                  <a:lnTo>
                    <a:pt x="535" y="173"/>
                  </a:lnTo>
                  <a:lnTo>
                    <a:pt x="535" y="176"/>
                  </a:lnTo>
                  <a:lnTo>
                    <a:pt x="535" y="178"/>
                  </a:lnTo>
                  <a:lnTo>
                    <a:pt x="535" y="178"/>
                  </a:lnTo>
                  <a:lnTo>
                    <a:pt x="535" y="176"/>
                  </a:lnTo>
                  <a:lnTo>
                    <a:pt x="535" y="173"/>
                  </a:lnTo>
                  <a:lnTo>
                    <a:pt x="535" y="171"/>
                  </a:lnTo>
                  <a:lnTo>
                    <a:pt x="535" y="171"/>
                  </a:lnTo>
                  <a:lnTo>
                    <a:pt x="532" y="168"/>
                  </a:lnTo>
                  <a:lnTo>
                    <a:pt x="530" y="171"/>
                  </a:lnTo>
                  <a:lnTo>
                    <a:pt x="530" y="171"/>
                  </a:lnTo>
                  <a:lnTo>
                    <a:pt x="530" y="168"/>
                  </a:lnTo>
                  <a:lnTo>
                    <a:pt x="535" y="168"/>
                  </a:lnTo>
                  <a:lnTo>
                    <a:pt x="535" y="168"/>
                  </a:lnTo>
                  <a:lnTo>
                    <a:pt x="535" y="166"/>
                  </a:lnTo>
                  <a:lnTo>
                    <a:pt x="535" y="163"/>
                  </a:lnTo>
                  <a:lnTo>
                    <a:pt x="532" y="163"/>
                  </a:lnTo>
                  <a:lnTo>
                    <a:pt x="527" y="163"/>
                  </a:lnTo>
                  <a:lnTo>
                    <a:pt x="525" y="163"/>
                  </a:lnTo>
                  <a:lnTo>
                    <a:pt x="525" y="163"/>
                  </a:lnTo>
                  <a:lnTo>
                    <a:pt x="520" y="163"/>
                  </a:lnTo>
                  <a:lnTo>
                    <a:pt x="520" y="166"/>
                  </a:lnTo>
                  <a:lnTo>
                    <a:pt x="520" y="166"/>
                  </a:lnTo>
                  <a:lnTo>
                    <a:pt x="525" y="168"/>
                  </a:lnTo>
                  <a:lnTo>
                    <a:pt x="525" y="168"/>
                  </a:lnTo>
                  <a:lnTo>
                    <a:pt x="520" y="168"/>
                  </a:lnTo>
                  <a:lnTo>
                    <a:pt x="520" y="168"/>
                  </a:lnTo>
                  <a:lnTo>
                    <a:pt x="520" y="171"/>
                  </a:lnTo>
                  <a:lnTo>
                    <a:pt x="517" y="171"/>
                  </a:lnTo>
                  <a:lnTo>
                    <a:pt x="517" y="173"/>
                  </a:lnTo>
                  <a:lnTo>
                    <a:pt x="512" y="176"/>
                  </a:lnTo>
                  <a:lnTo>
                    <a:pt x="512" y="176"/>
                  </a:lnTo>
                  <a:lnTo>
                    <a:pt x="512" y="173"/>
                  </a:lnTo>
                  <a:lnTo>
                    <a:pt x="512" y="173"/>
                  </a:lnTo>
                  <a:lnTo>
                    <a:pt x="512" y="173"/>
                  </a:lnTo>
                  <a:lnTo>
                    <a:pt x="512" y="171"/>
                  </a:lnTo>
                  <a:lnTo>
                    <a:pt x="509" y="171"/>
                  </a:lnTo>
                  <a:lnTo>
                    <a:pt x="512" y="168"/>
                  </a:lnTo>
                  <a:lnTo>
                    <a:pt x="512" y="166"/>
                  </a:lnTo>
                  <a:lnTo>
                    <a:pt x="512" y="166"/>
                  </a:lnTo>
                  <a:lnTo>
                    <a:pt x="509" y="166"/>
                  </a:lnTo>
                  <a:lnTo>
                    <a:pt x="504" y="168"/>
                  </a:lnTo>
                  <a:lnTo>
                    <a:pt x="502" y="171"/>
                  </a:lnTo>
                  <a:lnTo>
                    <a:pt x="494" y="176"/>
                  </a:lnTo>
                  <a:lnTo>
                    <a:pt x="494" y="178"/>
                  </a:lnTo>
                  <a:lnTo>
                    <a:pt x="492" y="181"/>
                  </a:lnTo>
                  <a:lnTo>
                    <a:pt x="489" y="181"/>
                  </a:lnTo>
                  <a:lnTo>
                    <a:pt x="489" y="181"/>
                  </a:lnTo>
                  <a:lnTo>
                    <a:pt x="489" y="178"/>
                  </a:lnTo>
                  <a:lnTo>
                    <a:pt x="492" y="176"/>
                  </a:lnTo>
                  <a:lnTo>
                    <a:pt x="492" y="173"/>
                  </a:lnTo>
                  <a:lnTo>
                    <a:pt x="492" y="173"/>
                  </a:lnTo>
                  <a:lnTo>
                    <a:pt x="494" y="171"/>
                  </a:lnTo>
                  <a:lnTo>
                    <a:pt x="497" y="168"/>
                  </a:lnTo>
                  <a:lnTo>
                    <a:pt x="499" y="168"/>
                  </a:lnTo>
                  <a:lnTo>
                    <a:pt x="499" y="166"/>
                  </a:lnTo>
                  <a:lnTo>
                    <a:pt x="497" y="166"/>
                  </a:lnTo>
                  <a:lnTo>
                    <a:pt x="497" y="166"/>
                  </a:lnTo>
                  <a:lnTo>
                    <a:pt x="494" y="166"/>
                  </a:lnTo>
                  <a:lnTo>
                    <a:pt x="494" y="166"/>
                  </a:lnTo>
                  <a:lnTo>
                    <a:pt x="492" y="166"/>
                  </a:lnTo>
                  <a:lnTo>
                    <a:pt x="492" y="166"/>
                  </a:lnTo>
                  <a:lnTo>
                    <a:pt x="492" y="166"/>
                  </a:lnTo>
                  <a:lnTo>
                    <a:pt x="489" y="166"/>
                  </a:lnTo>
                  <a:lnTo>
                    <a:pt x="486" y="166"/>
                  </a:lnTo>
                  <a:lnTo>
                    <a:pt x="484" y="163"/>
                  </a:lnTo>
                  <a:lnTo>
                    <a:pt x="484" y="163"/>
                  </a:lnTo>
                  <a:lnTo>
                    <a:pt x="481" y="163"/>
                  </a:lnTo>
                  <a:lnTo>
                    <a:pt x="479" y="166"/>
                  </a:lnTo>
                  <a:lnTo>
                    <a:pt x="476" y="168"/>
                  </a:lnTo>
                  <a:lnTo>
                    <a:pt x="476" y="168"/>
                  </a:lnTo>
                  <a:lnTo>
                    <a:pt x="479" y="168"/>
                  </a:lnTo>
                  <a:lnTo>
                    <a:pt x="479" y="168"/>
                  </a:lnTo>
                  <a:lnTo>
                    <a:pt x="479" y="171"/>
                  </a:lnTo>
                  <a:lnTo>
                    <a:pt x="476" y="171"/>
                  </a:lnTo>
                  <a:lnTo>
                    <a:pt x="474" y="173"/>
                  </a:lnTo>
                  <a:lnTo>
                    <a:pt x="471" y="173"/>
                  </a:lnTo>
                  <a:lnTo>
                    <a:pt x="469" y="176"/>
                  </a:lnTo>
                  <a:lnTo>
                    <a:pt x="466" y="178"/>
                  </a:lnTo>
                  <a:lnTo>
                    <a:pt x="464" y="178"/>
                  </a:lnTo>
                  <a:lnTo>
                    <a:pt x="464" y="181"/>
                  </a:lnTo>
                  <a:lnTo>
                    <a:pt x="464" y="181"/>
                  </a:lnTo>
                  <a:lnTo>
                    <a:pt x="466" y="183"/>
                  </a:lnTo>
                  <a:lnTo>
                    <a:pt x="466" y="183"/>
                  </a:lnTo>
                  <a:lnTo>
                    <a:pt x="464" y="183"/>
                  </a:lnTo>
                  <a:lnTo>
                    <a:pt x="464" y="181"/>
                  </a:lnTo>
                  <a:lnTo>
                    <a:pt x="461" y="181"/>
                  </a:lnTo>
                  <a:lnTo>
                    <a:pt x="458" y="178"/>
                  </a:lnTo>
                  <a:lnTo>
                    <a:pt x="458" y="176"/>
                  </a:lnTo>
                  <a:lnTo>
                    <a:pt x="458" y="176"/>
                  </a:lnTo>
                  <a:lnTo>
                    <a:pt x="456" y="176"/>
                  </a:lnTo>
                  <a:lnTo>
                    <a:pt x="451" y="176"/>
                  </a:lnTo>
                  <a:lnTo>
                    <a:pt x="451" y="178"/>
                  </a:lnTo>
                  <a:lnTo>
                    <a:pt x="451" y="178"/>
                  </a:lnTo>
                  <a:lnTo>
                    <a:pt x="448" y="176"/>
                  </a:lnTo>
                  <a:lnTo>
                    <a:pt x="446" y="178"/>
                  </a:lnTo>
                  <a:lnTo>
                    <a:pt x="446" y="178"/>
                  </a:lnTo>
                  <a:lnTo>
                    <a:pt x="443" y="178"/>
                  </a:lnTo>
                  <a:lnTo>
                    <a:pt x="438" y="178"/>
                  </a:lnTo>
                  <a:lnTo>
                    <a:pt x="435" y="178"/>
                  </a:lnTo>
                  <a:lnTo>
                    <a:pt x="435" y="178"/>
                  </a:lnTo>
                  <a:lnTo>
                    <a:pt x="438" y="178"/>
                  </a:lnTo>
                  <a:lnTo>
                    <a:pt x="441" y="181"/>
                  </a:lnTo>
                  <a:lnTo>
                    <a:pt x="443" y="181"/>
                  </a:lnTo>
                  <a:lnTo>
                    <a:pt x="443" y="183"/>
                  </a:lnTo>
                  <a:lnTo>
                    <a:pt x="446" y="186"/>
                  </a:lnTo>
                  <a:lnTo>
                    <a:pt x="446" y="186"/>
                  </a:lnTo>
                  <a:lnTo>
                    <a:pt x="443" y="186"/>
                  </a:lnTo>
                  <a:lnTo>
                    <a:pt x="441" y="183"/>
                  </a:lnTo>
                  <a:lnTo>
                    <a:pt x="438" y="183"/>
                  </a:lnTo>
                  <a:lnTo>
                    <a:pt x="435" y="183"/>
                  </a:lnTo>
                  <a:lnTo>
                    <a:pt x="433" y="186"/>
                  </a:lnTo>
                  <a:lnTo>
                    <a:pt x="433" y="186"/>
                  </a:lnTo>
                  <a:lnTo>
                    <a:pt x="430" y="183"/>
                  </a:lnTo>
                  <a:lnTo>
                    <a:pt x="430" y="183"/>
                  </a:lnTo>
                  <a:lnTo>
                    <a:pt x="425" y="183"/>
                  </a:lnTo>
                  <a:lnTo>
                    <a:pt x="425" y="186"/>
                  </a:lnTo>
                  <a:lnTo>
                    <a:pt x="425" y="189"/>
                  </a:lnTo>
                  <a:lnTo>
                    <a:pt x="425" y="189"/>
                  </a:lnTo>
                  <a:lnTo>
                    <a:pt x="428" y="191"/>
                  </a:lnTo>
                  <a:lnTo>
                    <a:pt x="428" y="191"/>
                  </a:lnTo>
                  <a:lnTo>
                    <a:pt x="428" y="191"/>
                  </a:lnTo>
                  <a:lnTo>
                    <a:pt x="425" y="191"/>
                  </a:lnTo>
                  <a:lnTo>
                    <a:pt x="420" y="194"/>
                  </a:lnTo>
                  <a:lnTo>
                    <a:pt x="420" y="196"/>
                  </a:lnTo>
                  <a:lnTo>
                    <a:pt x="418" y="196"/>
                  </a:lnTo>
                  <a:lnTo>
                    <a:pt x="418" y="196"/>
                  </a:lnTo>
                  <a:lnTo>
                    <a:pt x="423" y="191"/>
                  </a:lnTo>
                  <a:lnTo>
                    <a:pt x="423" y="191"/>
                  </a:lnTo>
                  <a:lnTo>
                    <a:pt x="423" y="189"/>
                  </a:lnTo>
                  <a:lnTo>
                    <a:pt x="423" y="186"/>
                  </a:lnTo>
                  <a:lnTo>
                    <a:pt x="423" y="183"/>
                  </a:lnTo>
                  <a:lnTo>
                    <a:pt x="423" y="183"/>
                  </a:lnTo>
                  <a:lnTo>
                    <a:pt x="420" y="183"/>
                  </a:lnTo>
                  <a:lnTo>
                    <a:pt x="420" y="183"/>
                  </a:lnTo>
                  <a:lnTo>
                    <a:pt x="418" y="186"/>
                  </a:lnTo>
                  <a:lnTo>
                    <a:pt x="418" y="186"/>
                  </a:lnTo>
                  <a:lnTo>
                    <a:pt x="415" y="189"/>
                  </a:lnTo>
                  <a:lnTo>
                    <a:pt x="415" y="191"/>
                  </a:lnTo>
                  <a:lnTo>
                    <a:pt x="413" y="194"/>
                  </a:lnTo>
                  <a:lnTo>
                    <a:pt x="413" y="191"/>
                  </a:lnTo>
                  <a:lnTo>
                    <a:pt x="413" y="191"/>
                  </a:lnTo>
                  <a:lnTo>
                    <a:pt x="413" y="186"/>
                  </a:lnTo>
                  <a:lnTo>
                    <a:pt x="413" y="186"/>
                  </a:lnTo>
                  <a:lnTo>
                    <a:pt x="405" y="189"/>
                  </a:lnTo>
                  <a:lnTo>
                    <a:pt x="402" y="189"/>
                  </a:lnTo>
                  <a:lnTo>
                    <a:pt x="402" y="189"/>
                  </a:lnTo>
                  <a:lnTo>
                    <a:pt x="402" y="191"/>
                  </a:lnTo>
                  <a:lnTo>
                    <a:pt x="402" y="191"/>
                  </a:lnTo>
                  <a:lnTo>
                    <a:pt x="402" y="191"/>
                  </a:lnTo>
                  <a:lnTo>
                    <a:pt x="400" y="191"/>
                  </a:lnTo>
                  <a:lnTo>
                    <a:pt x="397" y="191"/>
                  </a:lnTo>
                  <a:lnTo>
                    <a:pt x="397" y="191"/>
                  </a:lnTo>
                  <a:lnTo>
                    <a:pt x="397" y="194"/>
                  </a:lnTo>
                  <a:lnTo>
                    <a:pt x="400" y="194"/>
                  </a:lnTo>
                  <a:lnTo>
                    <a:pt x="402" y="196"/>
                  </a:lnTo>
                  <a:lnTo>
                    <a:pt x="402" y="196"/>
                  </a:lnTo>
                  <a:lnTo>
                    <a:pt x="397" y="196"/>
                  </a:lnTo>
                  <a:lnTo>
                    <a:pt x="395" y="194"/>
                  </a:lnTo>
                  <a:lnTo>
                    <a:pt x="395" y="194"/>
                  </a:lnTo>
                  <a:lnTo>
                    <a:pt x="392" y="194"/>
                  </a:lnTo>
                  <a:lnTo>
                    <a:pt x="392" y="194"/>
                  </a:lnTo>
                  <a:lnTo>
                    <a:pt x="392" y="194"/>
                  </a:lnTo>
                  <a:lnTo>
                    <a:pt x="390" y="196"/>
                  </a:lnTo>
                  <a:lnTo>
                    <a:pt x="390" y="196"/>
                  </a:lnTo>
                  <a:lnTo>
                    <a:pt x="390" y="199"/>
                  </a:lnTo>
                  <a:lnTo>
                    <a:pt x="390" y="199"/>
                  </a:lnTo>
                  <a:lnTo>
                    <a:pt x="384" y="199"/>
                  </a:lnTo>
                  <a:lnTo>
                    <a:pt x="382" y="201"/>
                  </a:lnTo>
                  <a:lnTo>
                    <a:pt x="382" y="204"/>
                  </a:lnTo>
                  <a:lnTo>
                    <a:pt x="379" y="206"/>
                  </a:lnTo>
                  <a:lnTo>
                    <a:pt x="377" y="206"/>
                  </a:lnTo>
                  <a:lnTo>
                    <a:pt x="374" y="209"/>
                  </a:lnTo>
                  <a:lnTo>
                    <a:pt x="369" y="209"/>
                  </a:lnTo>
                  <a:lnTo>
                    <a:pt x="369" y="209"/>
                  </a:lnTo>
                  <a:lnTo>
                    <a:pt x="369" y="211"/>
                  </a:lnTo>
                  <a:lnTo>
                    <a:pt x="369" y="211"/>
                  </a:lnTo>
                  <a:lnTo>
                    <a:pt x="369" y="211"/>
                  </a:lnTo>
                  <a:lnTo>
                    <a:pt x="379" y="211"/>
                  </a:lnTo>
                  <a:lnTo>
                    <a:pt x="382" y="211"/>
                  </a:lnTo>
                  <a:lnTo>
                    <a:pt x="382" y="211"/>
                  </a:lnTo>
                  <a:lnTo>
                    <a:pt x="382" y="211"/>
                  </a:lnTo>
                  <a:lnTo>
                    <a:pt x="384" y="211"/>
                  </a:lnTo>
                  <a:lnTo>
                    <a:pt x="384" y="214"/>
                  </a:lnTo>
                  <a:lnTo>
                    <a:pt x="382" y="214"/>
                  </a:lnTo>
                  <a:lnTo>
                    <a:pt x="379" y="214"/>
                  </a:lnTo>
                  <a:lnTo>
                    <a:pt x="377" y="214"/>
                  </a:lnTo>
                  <a:lnTo>
                    <a:pt x="374" y="214"/>
                  </a:lnTo>
                  <a:lnTo>
                    <a:pt x="374" y="214"/>
                  </a:lnTo>
                  <a:lnTo>
                    <a:pt x="369" y="214"/>
                  </a:lnTo>
                  <a:lnTo>
                    <a:pt x="367" y="214"/>
                  </a:lnTo>
                  <a:lnTo>
                    <a:pt x="364" y="214"/>
                  </a:lnTo>
                  <a:lnTo>
                    <a:pt x="364" y="217"/>
                  </a:lnTo>
                  <a:lnTo>
                    <a:pt x="364" y="219"/>
                  </a:lnTo>
                  <a:lnTo>
                    <a:pt x="367" y="219"/>
                  </a:lnTo>
                  <a:lnTo>
                    <a:pt x="367" y="219"/>
                  </a:lnTo>
                  <a:lnTo>
                    <a:pt x="367" y="219"/>
                  </a:lnTo>
                  <a:lnTo>
                    <a:pt x="367" y="219"/>
                  </a:lnTo>
                  <a:lnTo>
                    <a:pt x="364" y="222"/>
                  </a:lnTo>
                  <a:lnTo>
                    <a:pt x="367" y="224"/>
                  </a:lnTo>
                  <a:lnTo>
                    <a:pt x="364" y="224"/>
                  </a:lnTo>
                  <a:lnTo>
                    <a:pt x="362" y="222"/>
                  </a:lnTo>
                  <a:lnTo>
                    <a:pt x="362" y="217"/>
                  </a:lnTo>
                  <a:lnTo>
                    <a:pt x="362" y="217"/>
                  </a:lnTo>
                  <a:lnTo>
                    <a:pt x="362" y="217"/>
                  </a:lnTo>
                  <a:lnTo>
                    <a:pt x="359" y="217"/>
                  </a:lnTo>
                  <a:lnTo>
                    <a:pt x="356" y="219"/>
                  </a:lnTo>
                  <a:lnTo>
                    <a:pt x="354" y="219"/>
                  </a:lnTo>
                  <a:lnTo>
                    <a:pt x="351" y="219"/>
                  </a:lnTo>
                  <a:lnTo>
                    <a:pt x="351" y="219"/>
                  </a:lnTo>
                  <a:lnTo>
                    <a:pt x="351" y="222"/>
                  </a:lnTo>
                  <a:lnTo>
                    <a:pt x="354" y="222"/>
                  </a:lnTo>
                  <a:lnTo>
                    <a:pt x="356" y="222"/>
                  </a:lnTo>
                  <a:lnTo>
                    <a:pt x="354" y="222"/>
                  </a:lnTo>
                  <a:lnTo>
                    <a:pt x="351" y="222"/>
                  </a:lnTo>
                  <a:lnTo>
                    <a:pt x="351" y="222"/>
                  </a:lnTo>
                  <a:lnTo>
                    <a:pt x="349" y="222"/>
                  </a:lnTo>
                  <a:lnTo>
                    <a:pt x="346" y="222"/>
                  </a:lnTo>
                  <a:lnTo>
                    <a:pt x="344" y="224"/>
                  </a:lnTo>
                  <a:lnTo>
                    <a:pt x="344" y="227"/>
                  </a:lnTo>
                  <a:lnTo>
                    <a:pt x="344" y="227"/>
                  </a:lnTo>
                  <a:lnTo>
                    <a:pt x="344" y="227"/>
                  </a:lnTo>
                  <a:lnTo>
                    <a:pt x="346" y="227"/>
                  </a:lnTo>
                  <a:lnTo>
                    <a:pt x="351" y="227"/>
                  </a:lnTo>
                  <a:lnTo>
                    <a:pt x="351" y="227"/>
                  </a:lnTo>
                  <a:lnTo>
                    <a:pt x="351" y="227"/>
                  </a:lnTo>
                  <a:lnTo>
                    <a:pt x="349" y="227"/>
                  </a:lnTo>
                  <a:lnTo>
                    <a:pt x="349" y="229"/>
                  </a:lnTo>
                  <a:lnTo>
                    <a:pt x="351" y="229"/>
                  </a:lnTo>
                  <a:lnTo>
                    <a:pt x="354" y="229"/>
                  </a:lnTo>
                  <a:lnTo>
                    <a:pt x="356" y="229"/>
                  </a:lnTo>
                  <a:lnTo>
                    <a:pt x="356" y="229"/>
                  </a:lnTo>
                  <a:lnTo>
                    <a:pt x="354" y="232"/>
                  </a:lnTo>
                  <a:lnTo>
                    <a:pt x="356" y="234"/>
                  </a:lnTo>
                  <a:lnTo>
                    <a:pt x="354" y="234"/>
                  </a:lnTo>
                  <a:lnTo>
                    <a:pt x="354" y="232"/>
                  </a:lnTo>
                  <a:lnTo>
                    <a:pt x="351" y="232"/>
                  </a:lnTo>
                  <a:lnTo>
                    <a:pt x="351" y="232"/>
                  </a:lnTo>
                  <a:lnTo>
                    <a:pt x="349" y="229"/>
                  </a:lnTo>
                  <a:lnTo>
                    <a:pt x="346" y="229"/>
                  </a:lnTo>
                  <a:lnTo>
                    <a:pt x="344" y="232"/>
                  </a:lnTo>
                  <a:lnTo>
                    <a:pt x="341" y="232"/>
                  </a:lnTo>
                  <a:lnTo>
                    <a:pt x="339" y="234"/>
                  </a:lnTo>
                  <a:lnTo>
                    <a:pt x="339" y="234"/>
                  </a:lnTo>
                  <a:lnTo>
                    <a:pt x="339" y="234"/>
                  </a:lnTo>
                  <a:lnTo>
                    <a:pt x="339" y="234"/>
                  </a:lnTo>
                  <a:lnTo>
                    <a:pt x="341" y="234"/>
                  </a:lnTo>
                  <a:lnTo>
                    <a:pt x="344" y="234"/>
                  </a:lnTo>
                  <a:lnTo>
                    <a:pt x="351" y="234"/>
                  </a:lnTo>
                  <a:lnTo>
                    <a:pt x="354" y="237"/>
                  </a:lnTo>
                  <a:lnTo>
                    <a:pt x="354" y="237"/>
                  </a:lnTo>
                  <a:lnTo>
                    <a:pt x="344" y="237"/>
                  </a:lnTo>
                  <a:lnTo>
                    <a:pt x="341" y="237"/>
                  </a:lnTo>
                  <a:lnTo>
                    <a:pt x="339" y="237"/>
                  </a:lnTo>
                  <a:lnTo>
                    <a:pt x="336" y="237"/>
                  </a:lnTo>
                  <a:lnTo>
                    <a:pt x="336" y="239"/>
                  </a:lnTo>
                  <a:lnTo>
                    <a:pt x="334" y="239"/>
                  </a:lnTo>
                  <a:lnTo>
                    <a:pt x="331" y="239"/>
                  </a:lnTo>
                  <a:lnTo>
                    <a:pt x="331" y="242"/>
                  </a:lnTo>
                  <a:lnTo>
                    <a:pt x="328" y="242"/>
                  </a:lnTo>
                  <a:lnTo>
                    <a:pt x="328" y="242"/>
                  </a:lnTo>
                  <a:lnTo>
                    <a:pt x="326" y="242"/>
                  </a:lnTo>
                  <a:lnTo>
                    <a:pt x="328" y="245"/>
                  </a:lnTo>
                  <a:lnTo>
                    <a:pt x="331" y="245"/>
                  </a:lnTo>
                  <a:lnTo>
                    <a:pt x="331" y="245"/>
                  </a:lnTo>
                  <a:lnTo>
                    <a:pt x="328" y="245"/>
                  </a:lnTo>
                  <a:lnTo>
                    <a:pt x="326" y="245"/>
                  </a:lnTo>
                  <a:lnTo>
                    <a:pt x="326" y="245"/>
                  </a:lnTo>
                  <a:lnTo>
                    <a:pt x="323" y="247"/>
                  </a:lnTo>
                  <a:lnTo>
                    <a:pt x="321" y="247"/>
                  </a:lnTo>
                  <a:lnTo>
                    <a:pt x="321" y="247"/>
                  </a:lnTo>
                  <a:lnTo>
                    <a:pt x="321" y="250"/>
                  </a:lnTo>
                  <a:lnTo>
                    <a:pt x="318" y="250"/>
                  </a:lnTo>
                  <a:lnTo>
                    <a:pt x="318" y="252"/>
                  </a:lnTo>
                  <a:lnTo>
                    <a:pt x="318" y="255"/>
                  </a:lnTo>
                  <a:lnTo>
                    <a:pt x="323" y="255"/>
                  </a:lnTo>
                  <a:lnTo>
                    <a:pt x="323" y="255"/>
                  </a:lnTo>
                  <a:lnTo>
                    <a:pt x="323" y="255"/>
                  </a:lnTo>
                  <a:lnTo>
                    <a:pt x="328" y="255"/>
                  </a:lnTo>
                  <a:lnTo>
                    <a:pt x="331" y="255"/>
                  </a:lnTo>
                  <a:lnTo>
                    <a:pt x="334" y="255"/>
                  </a:lnTo>
                  <a:lnTo>
                    <a:pt x="331" y="255"/>
                  </a:lnTo>
                  <a:lnTo>
                    <a:pt x="328" y="255"/>
                  </a:lnTo>
                  <a:lnTo>
                    <a:pt x="328" y="257"/>
                  </a:lnTo>
                  <a:lnTo>
                    <a:pt x="323" y="257"/>
                  </a:lnTo>
                  <a:lnTo>
                    <a:pt x="313" y="257"/>
                  </a:lnTo>
                  <a:lnTo>
                    <a:pt x="313" y="260"/>
                  </a:lnTo>
                  <a:lnTo>
                    <a:pt x="316" y="260"/>
                  </a:lnTo>
                  <a:lnTo>
                    <a:pt x="318" y="262"/>
                  </a:lnTo>
                  <a:lnTo>
                    <a:pt x="316" y="262"/>
                  </a:lnTo>
                  <a:lnTo>
                    <a:pt x="313" y="262"/>
                  </a:lnTo>
                  <a:lnTo>
                    <a:pt x="313" y="262"/>
                  </a:lnTo>
                  <a:lnTo>
                    <a:pt x="311" y="265"/>
                  </a:lnTo>
                  <a:lnTo>
                    <a:pt x="308" y="267"/>
                  </a:lnTo>
                  <a:lnTo>
                    <a:pt x="305" y="270"/>
                  </a:lnTo>
                  <a:lnTo>
                    <a:pt x="305" y="270"/>
                  </a:lnTo>
                  <a:lnTo>
                    <a:pt x="303" y="273"/>
                  </a:lnTo>
                  <a:lnTo>
                    <a:pt x="303" y="275"/>
                  </a:lnTo>
                  <a:lnTo>
                    <a:pt x="305" y="275"/>
                  </a:lnTo>
                  <a:lnTo>
                    <a:pt x="305" y="275"/>
                  </a:lnTo>
                  <a:lnTo>
                    <a:pt x="308" y="275"/>
                  </a:lnTo>
                  <a:lnTo>
                    <a:pt x="308" y="275"/>
                  </a:lnTo>
                  <a:lnTo>
                    <a:pt x="308" y="278"/>
                  </a:lnTo>
                  <a:lnTo>
                    <a:pt x="311" y="275"/>
                  </a:lnTo>
                  <a:lnTo>
                    <a:pt x="313" y="275"/>
                  </a:lnTo>
                  <a:lnTo>
                    <a:pt x="316" y="275"/>
                  </a:lnTo>
                  <a:lnTo>
                    <a:pt x="316" y="273"/>
                  </a:lnTo>
                  <a:lnTo>
                    <a:pt x="313" y="275"/>
                  </a:lnTo>
                  <a:lnTo>
                    <a:pt x="311" y="278"/>
                  </a:lnTo>
                  <a:lnTo>
                    <a:pt x="308" y="278"/>
                  </a:lnTo>
                  <a:lnTo>
                    <a:pt x="305" y="278"/>
                  </a:lnTo>
                  <a:lnTo>
                    <a:pt x="305" y="278"/>
                  </a:lnTo>
                  <a:lnTo>
                    <a:pt x="295" y="280"/>
                  </a:lnTo>
                  <a:lnTo>
                    <a:pt x="293" y="283"/>
                  </a:lnTo>
                  <a:lnTo>
                    <a:pt x="293" y="283"/>
                  </a:lnTo>
                  <a:lnTo>
                    <a:pt x="293" y="285"/>
                  </a:lnTo>
                  <a:lnTo>
                    <a:pt x="293" y="285"/>
                  </a:lnTo>
                  <a:lnTo>
                    <a:pt x="295" y="283"/>
                  </a:lnTo>
                  <a:lnTo>
                    <a:pt x="298" y="283"/>
                  </a:lnTo>
                  <a:lnTo>
                    <a:pt x="295" y="285"/>
                  </a:lnTo>
                  <a:lnTo>
                    <a:pt x="293" y="285"/>
                  </a:lnTo>
                  <a:lnTo>
                    <a:pt x="290" y="288"/>
                  </a:lnTo>
                  <a:lnTo>
                    <a:pt x="288" y="288"/>
                  </a:lnTo>
                  <a:lnTo>
                    <a:pt x="285" y="288"/>
                  </a:lnTo>
                  <a:lnTo>
                    <a:pt x="285" y="290"/>
                  </a:lnTo>
                  <a:lnTo>
                    <a:pt x="280" y="293"/>
                  </a:lnTo>
                  <a:lnTo>
                    <a:pt x="275" y="295"/>
                  </a:lnTo>
                  <a:lnTo>
                    <a:pt x="272" y="298"/>
                  </a:lnTo>
                  <a:lnTo>
                    <a:pt x="270" y="301"/>
                  </a:lnTo>
                  <a:lnTo>
                    <a:pt x="270" y="303"/>
                  </a:lnTo>
                  <a:lnTo>
                    <a:pt x="267" y="303"/>
                  </a:lnTo>
                  <a:lnTo>
                    <a:pt x="265" y="306"/>
                  </a:lnTo>
                  <a:lnTo>
                    <a:pt x="265" y="306"/>
                  </a:lnTo>
                  <a:lnTo>
                    <a:pt x="265" y="306"/>
                  </a:lnTo>
                  <a:lnTo>
                    <a:pt x="267" y="306"/>
                  </a:lnTo>
                  <a:lnTo>
                    <a:pt x="267" y="306"/>
                  </a:lnTo>
                  <a:lnTo>
                    <a:pt x="270" y="308"/>
                  </a:lnTo>
                  <a:lnTo>
                    <a:pt x="270" y="308"/>
                  </a:lnTo>
                  <a:lnTo>
                    <a:pt x="270" y="311"/>
                  </a:lnTo>
                  <a:lnTo>
                    <a:pt x="272" y="311"/>
                  </a:lnTo>
                  <a:lnTo>
                    <a:pt x="277" y="308"/>
                  </a:lnTo>
                  <a:lnTo>
                    <a:pt x="285" y="306"/>
                  </a:lnTo>
                  <a:lnTo>
                    <a:pt x="288" y="303"/>
                  </a:lnTo>
                  <a:lnTo>
                    <a:pt x="288" y="303"/>
                  </a:lnTo>
                  <a:lnTo>
                    <a:pt x="285" y="303"/>
                  </a:lnTo>
                  <a:lnTo>
                    <a:pt x="288" y="301"/>
                  </a:lnTo>
                  <a:lnTo>
                    <a:pt x="290" y="301"/>
                  </a:lnTo>
                  <a:lnTo>
                    <a:pt x="293" y="298"/>
                  </a:lnTo>
                  <a:lnTo>
                    <a:pt x="293" y="301"/>
                  </a:lnTo>
                  <a:lnTo>
                    <a:pt x="293" y="301"/>
                  </a:lnTo>
                  <a:lnTo>
                    <a:pt x="293" y="301"/>
                  </a:lnTo>
                  <a:lnTo>
                    <a:pt x="290" y="303"/>
                  </a:lnTo>
                  <a:lnTo>
                    <a:pt x="290" y="303"/>
                  </a:lnTo>
                  <a:lnTo>
                    <a:pt x="293" y="303"/>
                  </a:lnTo>
                  <a:lnTo>
                    <a:pt x="293" y="303"/>
                  </a:lnTo>
                  <a:lnTo>
                    <a:pt x="293" y="303"/>
                  </a:lnTo>
                  <a:lnTo>
                    <a:pt x="290" y="306"/>
                  </a:lnTo>
                  <a:lnTo>
                    <a:pt x="288" y="306"/>
                  </a:lnTo>
                  <a:lnTo>
                    <a:pt x="285" y="306"/>
                  </a:lnTo>
                  <a:lnTo>
                    <a:pt x="283" y="308"/>
                  </a:lnTo>
                  <a:lnTo>
                    <a:pt x="283" y="308"/>
                  </a:lnTo>
                  <a:lnTo>
                    <a:pt x="283" y="308"/>
                  </a:lnTo>
                  <a:lnTo>
                    <a:pt x="283" y="311"/>
                  </a:lnTo>
                  <a:lnTo>
                    <a:pt x="283" y="311"/>
                  </a:lnTo>
                  <a:lnTo>
                    <a:pt x="283" y="311"/>
                  </a:lnTo>
                  <a:lnTo>
                    <a:pt x="280" y="311"/>
                  </a:lnTo>
                  <a:lnTo>
                    <a:pt x="277" y="311"/>
                  </a:lnTo>
                  <a:lnTo>
                    <a:pt x="275" y="311"/>
                  </a:lnTo>
                  <a:lnTo>
                    <a:pt x="272" y="311"/>
                  </a:lnTo>
                  <a:lnTo>
                    <a:pt x="272" y="313"/>
                  </a:lnTo>
                  <a:lnTo>
                    <a:pt x="270" y="313"/>
                  </a:lnTo>
                  <a:lnTo>
                    <a:pt x="270" y="311"/>
                  </a:lnTo>
                  <a:lnTo>
                    <a:pt x="270" y="311"/>
                  </a:lnTo>
                  <a:lnTo>
                    <a:pt x="270" y="311"/>
                  </a:lnTo>
                  <a:lnTo>
                    <a:pt x="267" y="308"/>
                  </a:lnTo>
                  <a:lnTo>
                    <a:pt x="265" y="308"/>
                  </a:lnTo>
                  <a:lnTo>
                    <a:pt x="265" y="308"/>
                  </a:lnTo>
                  <a:lnTo>
                    <a:pt x="262" y="308"/>
                  </a:lnTo>
                  <a:lnTo>
                    <a:pt x="257" y="311"/>
                  </a:lnTo>
                  <a:lnTo>
                    <a:pt x="257" y="311"/>
                  </a:lnTo>
                  <a:lnTo>
                    <a:pt x="257" y="311"/>
                  </a:lnTo>
                  <a:lnTo>
                    <a:pt x="260" y="308"/>
                  </a:lnTo>
                  <a:lnTo>
                    <a:pt x="257" y="308"/>
                  </a:lnTo>
                  <a:lnTo>
                    <a:pt x="255" y="308"/>
                  </a:lnTo>
                  <a:lnTo>
                    <a:pt x="252" y="308"/>
                  </a:lnTo>
                  <a:lnTo>
                    <a:pt x="249" y="308"/>
                  </a:lnTo>
                  <a:lnTo>
                    <a:pt x="247" y="311"/>
                  </a:lnTo>
                  <a:lnTo>
                    <a:pt x="247" y="311"/>
                  </a:lnTo>
                  <a:lnTo>
                    <a:pt x="247" y="311"/>
                  </a:lnTo>
                  <a:lnTo>
                    <a:pt x="247" y="311"/>
                  </a:lnTo>
                  <a:lnTo>
                    <a:pt x="249" y="311"/>
                  </a:lnTo>
                  <a:lnTo>
                    <a:pt x="249" y="313"/>
                  </a:lnTo>
                  <a:lnTo>
                    <a:pt x="249" y="313"/>
                  </a:lnTo>
                  <a:lnTo>
                    <a:pt x="249" y="313"/>
                  </a:lnTo>
                  <a:lnTo>
                    <a:pt x="244" y="316"/>
                  </a:lnTo>
                  <a:lnTo>
                    <a:pt x="244" y="316"/>
                  </a:lnTo>
                  <a:lnTo>
                    <a:pt x="242" y="318"/>
                  </a:lnTo>
                  <a:lnTo>
                    <a:pt x="244" y="318"/>
                  </a:lnTo>
                  <a:lnTo>
                    <a:pt x="244" y="321"/>
                  </a:lnTo>
                  <a:lnTo>
                    <a:pt x="249" y="323"/>
                  </a:lnTo>
                  <a:lnTo>
                    <a:pt x="249" y="323"/>
                  </a:lnTo>
                  <a:lnTo>
                    <a:pt x="244" y="321"/>
                  </a:lnTo>
                  <a:lnTo>
                    <a:pt x="244" y="321"/>
                  </a:lnTo>
                  <a:lnTo>
                    <a:pt x="242" y="318"/>
                  </a:lnTo>
                  <a:lnTo>
                    <a:pt x="239" y="318"/>
                  </a:lnTo>
                  <a:lnTo>
                    <a:pt x="237" y="318"/>
                  </a:lnTo>
                  <a:lnTo>
                    <a:pt x="234" y="318"/>
                  </a:lnTo>
                  <a:lnTo>
                    <a:pt x="234" y="318"/>
                  </a:lnTo>
                  <a:lnTo>
                    <a:pt x="232" y="321"/>
                  </a:lnTo>
                  <a:lnTo>
                    <a:pt x="224" y="321"/>
                  </a:lnTo>
                  <a:lnTo>
                    <a:pt x="224" y="321"/>
                  </a:lnTo>
                  <a:lnTo>
                    <a:pt x="224" y="323"/>
                  </a:lnTo>
                  <a:lnTo>
                    <a:pt x="221" y="326"/>
                  </a:lnTo>
                  <a:lnTo>
                    <a:pt x="221" y="326"/>
                  </a:lnTo>
                  <a:lnTo>
                    <a:pt x="221" y="326"/>
                  </a:lnTo>
                  <a:lnTo>
                    <a:pt x="224" y="326"/>
                  </a:lnTo>
                  <a:lnTo>
                    <a:pt x="226" y="326"/>
                  </a:lnTo>
                  <a:lnTo>
                    <a:pt x="229" y="326"/>
                  </a:lnTo>
                  <a:lnTo>
                    <a:pt x="232" y="326"/>
                  </a:lnTo>
                  <a:lnTo>
                    <a:pt x="242" y="326"/>
                  </a:lnTo>
                  <a:lnTo>
                    <a:pt x="242" y="326"/>
                  </a:lnTo>
                  <a:lnTo>
                    <a:pt x="237" y="326"/>
                  </a:lnTo>
                  <a:lnTo>
                    <a:pt x="232" y="326"/>
                  </a:lnTo>
                  <a:lnTo>
                    <a:pt x="232" y="328"/>
                  </a:lnTo>
                  <a:lnTo>
                    <a:pt x="232" y="328"/>
                  </a:lnTo>
                  <a:lnTo>
                    <a:pt x="234" y="328"/>
                  </a:lnTo>
                  <a:lnTo>
                    <a:pt x="234" y="328"/>
                  </a:lnTo>
                  <a:lnTo>
                    <a:pt x="234" y="328"/>
                  </a:lnTo>
                  <a:lnTo>
                    <a:pt x="232" y="331"/>
                  </a:lnTo>
                  <a:lnTo>
                    <a:pt x="229" y="328"/>
                  </a:lnTo>
                  <a:lnTo>
                    <a:pt x="224" y="328"/>
                  </a:lnTo>
                  <a:lnTo>
                    <a:pt x="221" y="328"/>
                  </a:lnTo>
                  <a:lnTo>
                    <a:pt x="219" y="328"/>
                  </a:lnTo>
                  <a:lnTo>
                    <a:pt x="216" y="328"/>
                  </a:lnTo>
                  <a:lnTo>
                    <a:pt x="214" y="328"/>
                  </a:lnTo>
                  <a:lnTo>
                    <a:pt x="214" y="328"/>
                  </a:lnTo>
                  <a:lnTo>
                    <a:pt x="211" y="331"/>
                  </a:lnTo>
                  <a:lnTo>
                    <a:pt x="211" y="331"/>
                  </a:lnTo>
                  <a:lnTo>
                    <a:pt x="211" y="331"/>
                  </a:lnTo>
                  <a:lnTo>
                    <a:pt x="211" y="334"/>
                  </a:lnTo>
                  <a:lnTo>
                    <a:pt x="214" y="334"/>
                  </a:lnTo>
                  <a:lnTo>
                    <a:pt x="216" y="331"/>
                  </a:lnTo>
                  <a:lnTo>
                    <a:pt x="219" y="331"/>
                  </a:lnTo>
                  <a:lnTo>
                    <a:pt x="219" y="331"/>
                  </a:lnTo>
                  <a:lnTo>
                    <a:pt x="219" y="334"/>
                  </a:lnTo>
                  <a:lnTo>
                    <a:pt x="211" y="334"/>
                  </a:lnTo>
                  <a:lnTo>
                    <a:pt x="209" y="334"/>
                  </a:lnTo>
                  <a:lnTo>
                    <a:pt x="209" y="334"/>
                  </a:lnTo>
                  <a:lnTo>
                    <a:pt x="209" y="334"/>
                  </a:lnTo>
                  <a:lnTo>
                    <a:pt x="206" y="334"/>
                  </a:lnTo>
                  <a:lnTo>
                    <a:pt x="206" y="334"/>
                  </a:lnTo>
                  <a:lnTo>
                    <a:pt x="204" y="334"/>
                  </a:lnTo>
                  <a:lnTo>
                    <a:pt x="201" y="334"/>
                  </a:lnTo>
                  <a:lnTo>
                    <a:pt x="201" y="336"/>
                  </a:lnTo>
                  <a:lnTo>
                    <a:pt x="198" y="336"/>
                  </a:lnTo>
                  <a:lnTo>
                    <a:pt x="198" y="339"/>
                  </a:lnTo>
                  <a:lnTo>
                    <a:pt x="198" y="339"/>
                  </a:lnTo>
                  <a:lnTo>
                    <a:pt x="196" y="336"/>
                  </a:lnTo>
                  <a:lnTo>
                    <a:pt x="196" y="339"/>
                  </a:lnTo>
                  <a:lnTo>
                    <a:pt x="193" y="341"/>
                  </a:lnTo>
                  <a:lnTo>
                    <a:pt x="196" y="341"/>
                  </a:lnTo>
                  <a:lnTo>
                    <a:pt x="196" y="341"/>
                  </a:lnTo>
                  <a:lnTo>
                    <a:pt x="201" y="341"/>
                  </a:lnTo>
                  <a:lnTo>
                    <a:pt x="204" y="341"/>
                  </a:lnTo>
                  <a:lnTo>
                    <a:pt x="211" y="344"/>
                  </a:lnTo>
                  <a:lnTo>
                    <a:pt x="214" y="344"/>
                  </a:lnTo>
                  <a:lnTo>
                    <a:pt x="219" y="344"/>
                  </a:lnTo>
                  <a:lnTo>
                    <a:pt x="219" y="344"/>
                  </a:lnTo>
                  <a:lnTo>
                    <a:pt x="216" y="344"/>
                  </a:lnTo>
                  <a:lnTo>
                    <a:pt x="209" y="346"/>
                  </a:lnTo>
                  <a:lnTo>
                    <a:pt x="204" y="344"/>
                  </a:lnTo>
                  <a:lnTo>
                    <a:pt x="198" y="344"/>
                  </a:lnTo>
                  <a:lnTo>
                    <a:pt x="193" y="344"/>
                  </a:lnTo>
                  <a:lnTo>
                    <a:pt x="193" y="344"/>
                  </a:lnTo>
                  <a:lnTo>
                    <a:pt x="191" y="344"/>
                  </a:lnTo>
                  <a:lnTo>
                    <a:pt x="191" y="344"/>
                  </a:lnTo>
                  <a:lnTo>
                    <a:pt x="191" y="346"/>
                  </a:lnTo>
                  <a:lnTo>
                    <a:pt x="191" y="349"/>
                  </a:lnTo>
                  <a:lnTo>
                    <a:pt x="193" y="349"/>
                  </a:lnTo>
                  <a:lnTo>
                    <a:pt x="196" y="351"/>
                  </a:lnTo>
                  <a:lnTo>
                    <a:pt x="196" y="351"/>
                  </a:lnTo>
                  <a:lnTo>
                    <a:pt x="198" y="351"/>
                  </a:lnTo>
                  <a:lnTo>
                    <a:pt x="196" y="351"/>
                  </a:lnTo>
                  <a:lnTo>
                    <a:pt x="196" y="351"/>
                  </a:lnTo>
                  <a:lnTo>
                    <a:pt x="191" y="351"/>
                  </a:lnTo>
                  <a:lnTo>
                    <a:pt x="191" y="354"/>
                  </a:lnTo>
                  <a:lnTo>
                    <a:pt x="193" y="356"/>
                  </a:lnTo>
                  <a:lnTo>
                    <a:pt x="193" y="356"/>
                  </a:lnTo>
                  <a:lnTo>
                    <a:pt x="196" y="359"/>
                  </a:lnTo>
                  <a:lnTo>
                    <a:pt x="198" y="359"/>
                  </a:lnTo>
                  <a:lnTo>
                    <a:pt x="201" y="359"/>
                  </a:lnTo>
                  <a:lnTo>
                    <a:pt x="209" y="359"/>
                  </a:lnTo>
                  <a:lnTo>
                    <a:pt x="214" y="359"/>
                  </a:lnTo>
                  <a:lnTo>
                    <a:pt x="216" y="359"/>
                  </a:lnTo>
                  <a:lnTo>
                    <a:pt x="216" y="356"/>
                  </a:lnTo>
                  <a:lnTo>
                    <a:pt x="216" y="356"/>
                  </a:lnTo>
                  <a:lnTo>
                    <a:pt x="216" y="356"/>
                  </a:lnTo>
                  <a:lnTo>
                    <a:pt x="216" y="356"/>
                  </a:lnTo>
                  <a:lnTo>
                    <a:pt x="219" y="356"/>
                  </a:lnTo>
                  <a:lnTo>
                    <a:pt x="221" y="356"/>
                  </a:lnTo>
                  <a:lnTo>
                    <a:pt x="221" y="359"/>
                  </a:lnTo>
                  <a:lnTo>
                    <a:pt x="226" y="359"/>
                  </a:lnTo>
                  <a:lnTo>
                    <a:pt x="229" y="356"/>
                  </a:lnTo>
                  <a:lnTo>
                    <a:pt x="229" y="356"/>
                  </a:lnTo>
                  <a:lnTo>
                    <a:pt x="229" y="356"/>
                  </a:lnTo>
                  <a:lnTo>
                    <a:pt x="229" y="354"/>
                  </a:lnTo>
                  <a:lnTo>
                    <a:pt x="232" y="351"/>
                  </a:lnTo>
                  <a:lnTo>
                    <a:pt x="232" y="354"/>
                  </a:lnTo>
                  <a:lnTo>
                    <a:pt x="229" y="356"/>
                  </a:lnTo>
                  <a:lnTo>
                    <a:pt x="229" y="356"/>
                  </a:lnTo>
                  <a:lnTo>
                    <a:pt x="234" y="356"/>
                  </a:lnTo>
                  <a:lnTo>
                    <a:pt x="232" y="359"/>
                  </a:lnTo>
                  <a:lnTo>
                    <a:pt x="224" y="359"/>
                  </a:lnTo>
                  <a:lnTo>
                    <a:pt x="224" y="362"/>
                  </a:lnTo>
                  <a:lnTo>
                    <a:pt x="224" y="362"/>
                  </a:lnTo>
                  <a:lnTo>
                    <a:pt x="224" y="362"/>
                  </a:lnTo>
                  <a:lnTo>
                    <a:pt x="224" y="362"/>
                  </a:lnTo>
                  <a:lnTo>
                    <a:pt x="224" y="359"/>
                  </a:lnTo>
                  <a:lnTo>
                    <a:pt x="221" y="359"/>
                  </a:lnTo>
                  <a:lnTo>
                    <a:pt x="219" y="359"/>
                  </a:lnTo>
                  <a:lnTo>
                    <a:pt x="216" y="359"/>
                  </a:lnTo>
                  <a:lnTo>
                    <a:pt x="214" y="359"/>
                  </a:lnTo>
                  <a:lnTo>
                    <a:pt x="211" y="359"/>
                  </a:lnTo>
                  <a:lnTo>
                    <a:pt x="206" y="359"/>
                  </a:lnTo>
                  <a:lnTo>
                    <a:pt x="198" y="359"/>
                  </a:lnTo>
                  <a:lnTo>
                    <a:pt x="196" y="362"/>
                  </a:lnTo>
                  <a:lnTo>
                    <a:pt x="193" y="362"/>
                  </a:lnTo>
                  <a:lnTo>
                    <a:pt x="193" y="359"/>
                  </a:lnTo>
                  <a:lnTo>
                    <a:pt x="191" y="362"/>
                  </a:lnTo>
                  <a:lnTo>
                    <a:pt x="191" y="362"/>
                  </a:lnTo>
                  <a:lnTo>
                    <a:pt x="191" y="364"/>
                  </a:lnTo>
                  <a:lnTo>
                    <a:pt x="191" y="367"/>
                  </a:lnTo>
                  <a:lnTo>
                    <a:pt x="193" y="369"/>
                  </a:lnTo>
                  <a:lnTo>
                    <a:pt x="196" y="369"/>
                  </a:lnTo>
                  <a:lnTo>
                    <a:pt x="198" y="369"/>
                  </a:lnTo>
                  <a:lnTo>
                    <a:pt x="201" y="367"/>
                  </a:lnTo>
                  <a:lnTo>
                    <a:pt x="201" y="367"/>
                  </a:lnTo>
                  <a:lnTo>
                    <a:pt x="201" y="369"/>
                  </a:lnTo>
                  <a:lnTo>
                    <a:pt x="193" y="372"/>
                  </a:lnTo>
                  <a:lnTo>
                    <a:pt x="193" y="372"/>
                  </a:lnTo>
                  <a:lnTo>
                    <a:pt x="193" y="377"/>
                  </a:lnTo>
                  <a:lnTo>
                    <a:pt x="196" y="377"/>
                  </a:lnTo>
                  <a:lnTo>
                    <a:pt x="198" y="379"/>
                  </a:lnTo>
                  <a:lnTo>
                    <a:pt x="201" y="379"/>
                  </a:lnTo>
                  <a:lnTo>
                    <a:pt x="201" y="379"/>
                  </a:lnTo>
                  <a:lnTo>
                    <a:pt x="201" y="379"/>
                  </a:lnTo>
                  <a:lnTo>
                    <a:pt x="198" y="382"/>
                  </a:lnTo>
                  <a:lnTo>
                    <a:pt x="196" y="382"/>
                  </a:lnTo>
                  <a:lnTo>
                    <a:pt x="196" y="379"/>
                  </a:lnTo>
                  <a:lnTo>
                    <a:pt x="193" y="379"/>
                  </a:lnTo>
                  <a:lnTo>
                    <a:pt x="193" y="382"/>
                  </a:lnTo>
                  <a:lnTo>
                    <a:pt x="193" y="382"/>
                  </a:lnTo>
                  <a:lnTo>
                    <a:pt x="193" y="384"/>
                  </a:lnTo>
                  <a:lnTo>
                    <a:pt x="193" y="384"/>
                  </a:lnTo>
                  <a:lnTo>
                    <a:pt x="191" y="387"/>
                  </a:lnTo>
                  <a:lnTo>
                    <a:pt x="191" y="390"/>
                  </a:lnTo>
                  <a:lnTo>
                    <a:pt x="193" y="390"/>
                  </a:lnTo>
                  <a:lnTo>
                    <a:pt x="193" y="390"/>
                  </a:lnTo>
                  <a:lnTo>
                    <a:pt x="193" y="390"/>
                  </a:lnTo>
                  <a:lnTo>
                    <a:pt x="193" y="387"/>
                  </a:lnTo>
                  <a:lnTo>
                    <a:pt x="196" y="387"/>
                  </a:lnTo>
                  <a:lnTo>
                    <a:pt x="198" y="387"/>
                  </a:lnTo>
                  <a:lnTo>
                    <a:pt x="198" y="384"/>
                  </a:lnTo>
                  <a:lnTo>
                    <a:pt x="201" y="382"/>
                  </a:lnTo>
                  <a:lnTo>
                    <a:pt x="204" y="382"/>
                  </a:lnTo>
                  <a:lnTo>
                    <a:pt x="204" y="382"/>
                  </a:lnTo>
                  <a:lnTo>
                    <a:pt x="206" y="379"/>
                  </a:lnTo>
                  <a:lnTo>
                    <a:pt x="206" y="377"/>
                  </a:lnTo>
                  <a:lnTo>
                    <a:pt x="209" y="377"/>
                  </a:lnTo>
                  <a:lnTo>
                    <a:pt x="209" y="374"/>
                  </a:lnTo>
                  <a:lnTo>
                    <a:pt x="214" y="374"/>
                  </a:lnTo>
                  <a:lnTo>
                    <a:pt x="219" y="372"/>
                  </a:lnTo>
                  <a:lnTo>
                    <a:pt x="224" y="372"/>
                  </a:lnTo>
                  <a:lnTo>
                    <a:pt x="221" y="372"/>
                  </a:lnTo>
                  <a:lnTo>
                    <a:pt x="219" y="372"/>
                  </a:lnTo>
                  <a:lnTo>
                    <a:pt x="219" y="374"/>
                  </a:lnTo>
                  <a:lnTo>
                    <a:pt x="216" y="374"/>
                  </a:lnTo>
                  <a:lnTo>
                    <a:pt x="216" y="379"/>
                  </a:lnTo>
                  <a:lnTo>
                    <a:pt x="216" y="377"/>
                  </a:lnTo>
                  <a:lnTo>
                    <a:pt x="216" y="374"/>
                  </a:lnTo>
                  <a:lnTo>
                    <a:pt x="216" y="374"/>
                  </a:lnTo>
                  <a:lnTo>
                    <a:pt x="214" y="374"/>
                  </a:lnTo>
                  <a:lnTo>
                    <a:pt x="209" y="377"/>
                  </a:lnTo>
                  <a:lnTo>
                    <a:pt x="209" y="379"/>
                  </a:lnTo>
                  <a:lnTo>
                    <a:pt x="209" y="379"/>
                  </a:lnTo>
                  <a:lnTo>
                    <a:pt x="209" y="379"/>
                  </a:lnTo>
                  <a:lnTo>
                    <a:pt x="206" y="382"/>
                  </a:lnTo>
                  <a:lnTo>
                    <a:pt x="204" y="384"/>
                  </a:lnTo>
                  <a:lnTo>
                    <a:pt x="201" y="384"/>
                  </a:lnTo>
                  <a:lnTo>
                    <a:pt x="204" y="387"/>
                  </a:lnTo>
                  <a:lnTo>
                    <a:pt x="204" y="387"/>
                  </a:lnTo>
                  <a:lnTo>
                    <a:pt x="206" y="387"/>
                  </a:lnTo>
                  <a:lnTo>
                    <a:pt x="209" y="387"/>
                  </a:lnTo>
                  <a:lnTo>
                    <a:pt x="211" y="384"/>
                  </a:lnTo>
                  <a:lnTo>
                    <a:pt x="211" y="387"/>
                  </a:lnTo>
                  <a:lnTo>
                    <a:pt x="206" y="387"/>
                  </a:lnTo>
                  <a:lnTo>
                    <a:pt x="204" y="387"/>
                  </a:lnTo>
                  <a:lnTo>
                    <a:pt x="204" y="390"/>
                  </a:lnTo>
                  <a:lnTo>
                    <a:pt x="198" y="390"/>
                  </a:lnTo>
                  <a:lnTo>
                    <a:pt x="198" y="387"/>
                  </a:lnTo>
                  <a:lnTo>
                    <a:pt x="198" y="387"/>
                  </a:lnTo>
                  <a:lnTo>
                    <a:pt x="196" y="390"/>
                  </a:lnTo>
                  <a:lnTo>
                    <a:pt x="196" y="390"/>
                  </a:lnTo>
                  <a:lnTo>
                    <a:pt x="193" y="392"/>
                  </a:lnTo>
                  <a:lnTo>
                    <a:pt x="193" y="395"/>
                  </a:lnTo>
                  <a:lnTo>
                    <a:pt x="191" y="397"/>
                  </a:lnTo>
                  <a:lnTo>
                    <a:pt x="193" y="400"/>
                  </a:lnTo>
                  <a:lnTo>
                    <a:pt x="196" y="400"/>
                  </a:lnTo>
                  <a:lnTo>
                    <a:pt x="198" y="400"/>
                  </a:lnTo>
                  <a:lnTo>
                    <a:pt x="198" y="397"/>
                  </a:lnTo>
                  <a:lnTo>
                    <a:pt x="201" y="397"/>
                  </a:lnTo>
                  <a:lnTo>
                    <a:pt x="201" y="397"/>
                  </a:lnTo>
                  <a:lnTo>
                    <a:pt x="204" y="395"/>
                  </a:lnTo>
                  <a:lnTo>
                    <a:pt x="206" y="395"/>
                  </a:lnTo>
                  <a:lnTo>
                    <a:pt x="209" y="392"/>
                  </a:lnTo>
                  <a:lnTo>
                    <a:pt x="211" y="392"/>
                  </a:lnTo>
                  <a:lnTo>
                    <a:pt x="214" y="392"/>
                  </a:lnTo>
                  <a:lnTo>
                    <a:pt x="214" y="392"/>
                  </a:lnTo>
                  <a:lnTo>
                    <a:pt x="211" y="392"/>
                  </a:lnTo>
                  <a:lnTo>
                    <a:pt x="209" y="395"/>
                  </a:lnTo>
                  <a:lnTo>
                    <a:pt x="206" y="395"/>
                  </a:lnTo>
                  <a:lnTo>
                    <a:pt x="206" y="397"/>
                  </a:lnTo>
                  <a:lnTo>
                    <a:pt x="206" y="397"/>
                  </a:lnTo>
                  <a:lnTo>
                    <a:pt x="206" y="400"/>
                  </a:lnTo>
                  <a:lnTo>
                    <a:pt x="206" y="400"/>
                  </a:lnTo>
                  <a:lnTo>
                    <a:pt x="204" y="400"/>
                  </a:lnTo>
                  <a:lnTo>
                    <a:pt x="204" y="402"/>
                  </a:lnTo>
                  <a:lnTo>
                    <a:pt x="206" y="402"/>
                  </a:lnTo>
                  <a:lnTo>
                    <a:pt x="209" y="405"/>
                  </a:lnTo>
                  <a:lnTo>
                    <a:pt x="211" y="402"/>
                  </a:lnTo>
                  <a:lnTo>
                    <a:pt x="211" y="402"/>
                  </a:lnTo>
                  <a:lnTo>
                    <a:pt x="209" y="405"/>
                  </a:lnTo>
                  <a:lnTo>
                    <a:pt x="209" y="405"/>
                  </a:lnTo>
                  <a:lnTo>
                    <a:pt x="209" y="405"/>
                  </a:lnTo>
                  <a:lnTo>
                    <a:pt x="204" y="405"/>
                  </a:lnTo>
                  <a:lnTo>
                    <a:pt x="198" y="402"/>
                  </a:lnTo>
                  <a:lnTo>
                    <a:pt x="198" y="405"/>
                  </a:lnTo>
                  <a:lnTo>
                    <a:pt x="198" y="407"/>
                  </a:lnTo>
                  <a:lnTo>
                    <a:pt x="198" y="410"/>
                  </a:lnTo>
                  <a:lnTo>
                    <a:pt x="198" y="410"/>
                  </a:lnTo>
                  <a:lnTo>
                    <a:pt x="201" y="412"/>
                  </a:lnTo>
                  <a:lnTo>
                    <a:pt x="206" y="415"/>
                  </a:lnTo>
                  <a:lnTo>
                    <a:pt x="206" y="415"/>
                  </a:lnTo>
                  <a:lnTo>
                    <a:pt x="211" y="418"/>
                  </a:lnTo>
                  <a:lnTo>
                    <a:pt x="214" y="418"/>
                  </a:lnTo>
                  <a:lnTo>
                    <a:pt x="216" y="418"/>
                  </a:lnTo>
                  <a:lnTo>
                    <a:pt x="216" y="418"/>
                  </a:lnTo>
                  <a:lnTo>
                    <a:pt x="216" y="420"/>
                  </a:lnTo>
                  <a:lnTo>
                    <a:pt x="216" y="420"/>
                  </a:lnTo>
                  <a:lnTo>
                    <a:pt x="216" y="420"/>
                  </a:lnTo>
                  <a:lnTo>
                    <a:pt x="214" y="423"/>
                  </a:lnTo>
                  <a:lnTo>
                    <a:pt x="214" y="423"/>
                  </a:lnTo>
                  <a:lnTo>
                    <a:pt x="216" y="423"/>
                  </a:lnTo>
                  <a:lnTo>
                    <a:pt x="219" y="423"/>
                  </a:lnTo>
                  <a:lnTo>
                    <a:pt x="219" y="420"/>
                  </a:lnTo>
                  <a:lnTo>
                    <a:pt x="219" y="420"/>
                  </a:lnTo>
                  <a:lnTo>
                    <a:pt x="219" y="420"/>
                  </a:lnTo>
                  <a:lnTo>
                    <a:pt x="221" y="420"/>
                  </a:lnTo>
                  <a:lnTo>
                    <a:pt x="219" y="423"/>
                  </a:lnTo>
                  <a:lnTo>
                    <a:pt x="219" y="423"/>
                  </a:lnTo>
                  <a:lnTo>
                    <a:pt x="219" y="423"/>
                  </a:lnTo>
                  <a:lnTo>
                    <a:pt x="221" y="423"/>
                  </a:lnTo>
                  <a:lnTo>
                    <a:pt x="224" y="423"/>
                  </a:lnTo>
                  <a:lnTo>
                    <a:pt x="229" y="423"/>
                  </a:lnTo>
                  <a:lnTo>
                    <a:pt x="237" y="423"/>
                  </a:lnTo>
                  <a:lnTo>
                    <a:pt x="239" y="420"/>
                  </a:lnTo>
                  <a:lnTo>
                    <a:pt x="242" y="420"/>
                  </a:lnTo>
                  <a:lnTo>
                    <a:pt x="244" y="420"/>
                  </a:lnTo>
                  <a:lnTo>
                    <a:pt x="247" y="418"/>
                  </a:lnTo>
                  <a:lnTo>
                    <a:pt x="252" y="412"/>
                  </a:lnTo>
                  <a:lnTo>
                    <a:pt x="257" y="410"/>
                  </a:lnTo>
                  <a:lnTo>
                    <a:pt x="257" y="410"/>
                  </a:lnTo>
                  <a:lnTo>
                    <a:pt x="257" y="407"/>
                  </a:lnTo>
                  <a:lnTo>
                    <a:pt x="260" y="407"/>
                  </a:lnTo>
                  <a:lnTo>
                    <a:pt x="260" y="407"/>
                  </a:lnTo>
                  <a:lnTo>
                    <a:pt x="260" y="405"/>
                  </a:lnTo>
                  <a:lnTo>
                    <a:pt x="262" y="405"/>
                  </a:lnTo>
                  <a:lnTo>
                    <a:pt x="265" y="405"/>
                  </a:lnTo>
                  <a:lnTo>
                    <a:pt x="265" y="405"/>
                  </a:lnTo>
                  <a:lnTo>
                    <a:pt x="265" y="402"/>
                  </a:lnTo>
                  <a:lnTo>
                    <a:pt x="265" y="402"/>
                  </a:lnTo>
                  <a:lnTo>
                    <a:pt x="265" y="400"/>
                  </a:lnTo>
                  <a:lnTo>
                    <a:pt x="265" y="400"/>
                  </a:lnTo>
                  <a:lnTo>
                    <a:pt x="267" y="402"/>
                  </a:lnTo>
                  <a:lnTo>
                    <a:pt x="267" y="405"/>
                  </a:lnTo>
                  <a:lnTo>
                    <a:pt x="270" y="405"/>
                  </a:lnTo>
                  <a:lnTo>
                    <a:pt x="272" y="402"/>
                  </a:lnTo>
                  <a:lnTo>
                    <a:pt x="275" y="402"/>
                  </a:lnTo>
                  <a:lnTo>
                    <a:pt x="275" y="402"/>
                  </a:lnTo>
                  <a:lnTo>
                    <a:pt x="275" y="402"/>
                  </a:lnTo>
                  <a:lnTo>
                    <a:pt x="277" y="397"/>
                  </a:lnTo>
                  <a:lnTo>
                    <a:pt x="277" y="395"/>
                  </a:lnTo>
                  <a:lnTo>
                    <a:pt x="277" y="395"/>
                  </a:lnTo>
                  <a:lnTo>
                    <a:pt x="277" y="395"/>
                  </a:lnTo>
                  <a:lnTo>
                    <a:pt x="277" y="392"/>
                  </a:lnTo>
                  <a:lnTo>
                    <a:pt x="280" y="392"/>
                  </a:lnTo>
                  <a:lnTo>
                    <a:pt x="280" y="390"/>
                  </a:lnTo>
                  <a:lnTo>
                    <a:pt x="280" y="390"/>
                  </a:lnTo>
                  <a:lnTo>
                    <a:pt x="280" y="387"/>
                  </a:lnTo>
                  <a:lnTo>
                    <a:pt x="280" y="390"/>
                  </a:lnTo>
                  <a:lnTo>
                    <a:pt x="280" y="390"/>
                  </a:lnTo>
                  <a:lnTo>
                    <a:pt x="280" y="395"/>
                  </a:lnTo>
                  <a:lnTo>
                    <a:pt x="280" y="395"/>
                  </a:lnTo>
                  <a:lnTo>
                    <a:pt x="283" y="397"/>
                  </a:lnTo>
                  <a:lnTo>
                    <a:pt x="285" y="400"/>
                  </a:lnTo>
                  <a:lnTo>
                    <a:pt x="285" y="400"/>
                  </a:lnTo>
                  <a:lnTo>
                    <a:pt x="288" y="400"/>
                  </a:lnTo>
                  <a:lnTo>
                    <a:pt x="288" y="400"/>
                  </a:lnTo>
                  <a:lnTo>
                    <a:pt x="290" y="400"/>
                  </a:lnTo>
                  <a:lnTo>
                    <a:pt x="293" y="400"/>
                  </a:lnTo>
                  <a:lnTo>
                    <a:pt x="293" y="402"/>
                  </a:lnTo>
                  <a:lnTo>
                    <a:pt x="293" y="402"/>
                  </a:lnTo>
                  <a:lnTo>
                    <a:pt x="295" y="405"/>
                  </a:lnTo>
                  <a:lnTo>
                    <a:pt x="295" y="405"/>
                  </a:lnTo>
                  <a:lnTo>
                    <a:pt x="298" y="405"/>
                  </a:lnTo>
                  <a:lnTo>
                    <a:pt x="298" y="402"/>
                  </a:lnTo>
                  <a:lnTo>
                    <a:pt x="298" y="400"/>
                  </a:lnTo>
                  <a:lnTo>
                    <a:pt x="300" y="397"/>
                  </a:lnTo>
                  <a:lnTo>
                    <a:pt x="298" y="395"/>
                  </a:lnTo>
                  <a:lnTo>
                    <a:pt x="298" y="392"/>
                  </a:lnTo>
                  <a:lnTo>
                    <a:pt x="298" y="390"/>
                  </a:lnTo>
                  <a:lnTo>
                    <a:pt x="300" y="390"/>
                  </a:lnTo>
                  <a:lnTo>
                    <a:pt x="300" y="387"/>
                  </a:lnTo>
                  <a:lnTo>
                    <a:pt x="303" y="384"/>
                  </a:lnTo>
                  <a:lnTo>
                    <a:pt x="303" y="384"/>
                  </a:lnTo>
                  <a:lnTo>
                    <a:pt x="303" y="384"/>
                  </a:lnTo>
                  <a:lnTo>
                    <a:pt x="305" y="384"/>
                  </a:lnTo>
                  <a:lnTo>
                    <a:pt x="308" y="382"/>
                  </a:lnTo>
                  <a:lnTo>
                    <a:pt x="311" y="382"/>
                  </a:lnTo>
                  <a:lnTo>
                    <a:pt x="311" y="379"/>
                  </a:lnTo>
                  <a:lnTo>
                    <a:pt x="311" y="377"/>
                  </a:lnTo>
                  <a:lnTo>
                    <a:pt x="311" y="377"/>
                  </a:lnTo>
                  <a:lnTo>
                    <a:pt x="311" y="374"/>
                  </a:lnTo>
                  <a:lnTo>
                    <a:pt x="313" y="372"/>
                  </a:lnTo>
                  <a:lnTo>
                    <a:pt x="311" y="372"/>
                  </a:lnTo>
                  <a:lnTo>
                    <a:pt x="311" y="367"/>
                  </a:lnTo>
                  <a:lnTo>
                    <a:pt x="308" y="364"/>
                  </a:lnTo>
                  <a:lnTo>
                    <a:pt x="308" y="362"/>
                  </a:lnTo>
                  <a:lnTo>
                    <a:pt x="308" y="362"/>
                  </a:lnTo>
                  <a:lnTo>
                    <a:pt x="311" y="362"/>
                  </a:lnTo>
                  <a:lnTo>
                    <a:pt x="313" y="362"/>
                  </a:lnTo>
                  <a:lnTo>
                    <a:pt x="313" y="359"/>
                  </a:lnTo>
                  <a:lnTo>
                    <a:pt x="313" y="359"/>
                  </a:lnTo>
                  <a:lnTo>
                    <a:pt x="316" y="359"/>
                  </a:lnTo>
                  <a:lnTo>
                    <a:pt x="316" y="356"/>
                  </a:lnTo>
                  <a:lnTo>
                    <a:pt x="316" y="356"/>
                  </a:lnTo>
                  <a:lnTo>
                    <a:pt x="316" y="354"/>
                  </a:lnTo>
                  <a:lnTo>
                    <a:pt x="316" y="351"/>
                  </a:lnTo>
                  <a:lnTo>
                    <a:pt x="313" y="351"/>
                  </a:lnTo>
                  <a:lnTo>
                    <a:pt x="311" y="349"/>
                  </a:lnTo>
                  <a:lnTo>
                    <a:pt x="308" y="349"/>
                  </a:lnTo>
                  <a:lnTo>
                    <a:pt x="305" y="346"/>
                  </a:lnTo>
                  <a:lnTo>
                    <a:pt x="305" y="341"/>
                  </a:lnTo>
                  <a:lnTo>
                    <a:pt x="308" y="339"/>
                  </a:lnTo>
                  <a:lnTo>
                    <a:pt x="308" y="336"/>
                  </a:lnTo>
                  <a:lnTo>
                    <a:pt x="308" y="336"/>
                  </a:lnTo>
                  <a:lnTo>
                    <a:pt x="305" y="328"/>
                  </a:lnTo>
                  <a:lnTo>
                    <a:pt x="305" y="328"/>
                  </a:lnTo>
                  <a:lnTo>
                    <a:pt x="305" y="326"/>
                  </a:lnTo>
                  <a:lnTo>
                    <a:pt x="305" y="323"/>
                  </a:lnTo>
                  <a:lnTo>
                    <a:pt x="305" y="321"/>
                  </a:lnTo>
                  <a:lnTo>
                    <a:pt x="305" y="321"/>
                  </a:lnTo>
                  <a:lnTo>
                    <a:pt x="305" y="321"/>
                  </a:lnTo>
                  <a:lnTo>
                    <a:pt x="305" y="318"/>
                  </a:lnTo>
                  <a:lnTo>
                    <a:pt x="305" y="318"/>
                  </a:lnTo>
                  <a:lnTo>
                    <a:pt x="303" y="316"/>
                  </a:lnTo>
                  <a:lnTo>
                    <a:pt x="305" y="311"/>
                  </a:lnTo>
                  <a:lnTo>
                    <a:pt x="305" y="308"/>
                  </a:lnTo>
                  <a:lnTo>
                    <a:pt x="308" y="306"/>
                  </a:lnTo>
                  <a:lnTo>
                    <a:pt x="311" y="303"/>
                  </a:lnTo>
                  <a:lnTo>
                    <a:pt x="313" y="301"/>
                  </a:lnTo>
                  <a:lnTo>
                    <a:pt x="313" y="301"/>
                  </a:lnTo>
                  <a:lnTo>
                    <a:pt x="316" y="301"/>
                  </a:lnTo>
                  <a:lnTo>
                    <a:pt x="318" y="298"/>
                  </a:lnTo>
                  <a:lnTo>
                    <a:pt x="321" y="298"/>
                  </a:lnTo>
                  <a:lnTo>
                    <a:pt x="323" y="298"/>
                  </a:lnTo>
                  <a:lnTo>
                    <a:pt x="328" y="301"/>
                  </a:lnTo>
                  <a:lnTo>
                    <a:pt x="334" y="301"/>
                  </a:lnTo>
                  <a:lnTo>
                    <a:pt x="334" y="301"/>
                  </a:lnTo>
                  <a:lnTo>
                    <a:pt x="334" y="298"/>
                  </a:lnTo>
                  <a:lnTo>
                    <a:pt x="336" y="298"/>
                  </a:lnTo>
                  <a:lnTo>
                    <a:pt x="336" y="295"/>
                  </a:lnTo>
                  <a:lnTo>
                    <a:pt x="336" y="293"/>
                  </a:lnTo>
                  <a:lnTo>
                    <a:pt x="334" y="290"/>
                  </a:lnTo>
                  <a:lnTo>
                    <a:pt x="331" y="290"/>
                  </a:lnTo>
                  <a:lnTo>
                    <a:pt x="328" y="288"/>
                  </a:lnTo>
                  <a:lnTo>
                    <a:pt x="331" y="285"/>
                  </a:lnTo>
                  <a:lnTo>
                    <a:pt x="334" y="280"/>
                  </a:lnTo>
                  <a:lnTo>
                    <a:pt x="339" y="278"/>
                  </a:lnTo>
                  <a:lnTo>
                    <a:pt x="339" y="275"/>
                  </a:lnTo>
                  <a:lnTo>
                    <a:pt x="341" y="275"/>
                  </a:lnTo>
                  <a:lnTo>
                    <a:pt x="341" y="267"/>
                  </a:lnTo>
                  <a:lnTo>
                    <a:pt x="341" y="265"/>
                  </a:lnTo>
                  <a:lnTo>
                    <a:pt x="341" y="265"/>
                  </a:lnTo>
                  <a:lnTo>
                    <a:pt x="341" y="262"/>
                  </a:lnTo>
                  <a:lnTo>
                    <a:pt x="341" y="262"/>
                  </a:lnTo>
                  <a:lnTo>
                    <a:pt x="341" y="257"/>
                  </a:lnTo>
                  <a:lnTo>
                    <a:pt x="346" y="257"/>
                  </a:lnTo>
                  <a:lnTo>
                    <a:pt x="349" y="257"/>
                  </a:lnTo>
                  <a:lnTo>
                    <a:pt x="349" y="257"/>
                  </a:lnTo>
                  <a:lnTo>
                    <a:pt x="354" y="255"/>
                  </a:lnTo>
                  <a:lnTo>
                    <a:pt x="354" y="255"/>
                  </a:lnTo>
                  <a:lnTo>
                    <a:pt x="354" y="250"/>
                  </a:lnTo>
                  <a:lnTo>
                    <a:pt x="356" y="250"/>
                  </a:lnTo>
                  <a:lnTo>
                    <a:pt x="359" y="245"/>
                  </a:lnTo>
                  <a:lnTo>
                    <a:pt x="364" y="242"/>
                  </a:lnTo>
                  <a:lnTo>
                    <a:pt x="367" y="239"/>
                  </a:lnTo>
                  <a:lnTo>
                    <a:pt x="367" y="239"/>
                  </a:lnTo>
                  <a:lnTo>
                    <a:pt x="369" y="237"/>
                  </a:lnTo>
                  <a:lnTo>
                    <a:pt x="367" y="234"/>
                  </a:lnTo>
                  <a:lnTo>
                    <a:pt x="367" y="234"/>
                  </a:lnTo>
                  <a:lnTo>
                    <a:pt x="364" y="232"/>
                  </a:lnTo>
                  <a:lnTo>
                    <a:pt x="364" y="232"/>
                  </a:lnTo>
                  <a:lnTo>
                    <a:pt x="367" y="229"/>
                  </a:lnTo>
                  <a:lnTo>
                    <a:pt x="369" y="229"/>
                  </a:lnTo>
                  <a:lnTo>
                    <a:pt x="369" y="229"/>
                  </a:lnTo>
                  <a:lnTo>
                    <a:pt x="369" y="229"/>
                  </a:lnTo>
                  <a:lnTo>
                    <a:pt x="372" y="224"/>
                  </a:lnTo>
                  <a:lnTo>
                    <a:pt x="379" y="222"/>
                  </a:lnTo>
                  <a:lnTo>
                    <a:pt x="379" y="219"/>
                  </a:lnTo>
                  <a:lnTo>
                    <a:pt x="384" y="219"/>
                  </a:lnTo>
                  <a:lnTo>
                    <a:pt x="390" y="222"/>
                  </a:lnTo>
                  <a:lnTo>
                    <a:pt x="392" y="219"/>
                  </a:lnTo>
                  <a:lnTo>
                    <a:pt x="392" y="219"/>
                  </a:lnTo>
                  <a:lnTo>
                    <a:pt x="392" y="217"/>
                  </a:lnTo>
                  <a:lnTo>
                    <a:pt x="392" y="214"/>
                  </a:lnTo>
                  <a:lnTo>
                    <a:pt x="392" y="211"/>
                  </a:lnTo>
                  <a:lnTo>
                    <a:pt x="392" y="211"/>
                  </a:lnTo>
                  <a:lnTo>
                    <a:pt x="395" y="211"/>
                  </a:lnTo>
                  <a:lnTo>
                    <a:pt x="395" y="209"/>
                  </a:lnTo>
                  <a:lnTo>
                    <a:pt x="402" y="211"/>
                  </a:lnTo>
                  <a:lnTo>
                    <a:pt x="402" y="211"/>
                  </a:lnTo>
                  <a:lnTo>
                    <a:pt x="405" y="211"/>
                  </a:lnTo>
                  <a:lnTo>
                    <a:pt x="407" y="211"/>
                  </a:lnTo>
                  <a:lnTo>
                    <a:pt x="415" y="214"/>
                  </a:lnTo>
                  <a:lnTo>
                    <a:pt x="418" y="214"/>
                  </a:lnTo>
                  <a:lnTo>
                    <a:pt x="420" y="214"/>
                  </a:lnTo>
                  <a:lnTo>
                    <a:pt x="420" y="214"/>
                  </a:lnTo>
                  <a:lnTo>
                    <a:pt x="423" y="211"/>
                  </a:lnTo>
                  <a:lnTo>
                    <a:pt x="418" y="211"/>
                  </a:lnTo>
                  <a:lnTo>
                    <a:pt x="420" y="209"/>
                  </a:lnTo>
                  <a:lnTo>
                    <a:pt x="423" y="209"/>
                  </a:lnTo>
                  <a:lnTo>
                    <a:pt x="423" y="206"/>
                  </a:lnTo>
                  <a:lnTo>
                    <a:pt x="423" y="204"/>
                  </a:lnTo>
                  <a:lnTo>
                    <a:pt x="423" y="204"/>
                  </a:lnTo>
                  <a:lnTo>
                    <a:pt x="423" y="204"/>
                  </a:lnTo>
                  <a:lnTo>
                    <a:pt x="420" y="201"/>
                  </a:lnTo>
                  <a:lnTo>
                    <a:pt x="425" y="201"/>
                  </a:lnTo>
                  <a:lnTo>
                    <a:pt x="428" y="201"/>
                  </a:lnTo>
                  <a:lnTo>
                    <a:pt x="428" y="201"/>
                  </a:lnTo>
                  <a:lnTo>
                    <a:pt x="430" y="201"/>
                  </a:lnTo>
                  <a:lnTo>
                    <a:pt x="433" y="201"/>
                  </a:lnTo>
                  <a:lnTo>
                    <a:pt x="435" y="201"/>
                  </a:lnTo>
                  <a:lnTo>
                    <a:pt x="435" y="201"/>
                  </a:lnTo>
                  <a:lnTo>
                    <a:pt x="433" y="199"/>
                  </a:lnTo>
                  <a:lnTo>
                    <a:pt x="433" y="199"/>
                  </a:lnTo>
                  <a:lnTo>
                    <a:pt x="435" y="196"/>
                  </a:lnTo>
                  <a:lnTo>
                    <a:pt x="435" y="196"/>
                  </a:lnTo>
                  <a:lnTo>
                    <a:pt x="441" y="196"/>
                  </a:lnTo>
                  <a:lnTo>
                    <a:pt x="441" y="196"/>
                  </a:lnTo>
                  <a:lnTo>
                    <a:pt x="441" y="196"/>
                  </a:lnTo>
                  <a:lnTo>
                    <a:pt x="446" y="199"/>
                  </a:lnTo>
                  <a:lnTo>
                    <a:pt x="448" y="201"/>
                  </a:lnTo>
                  <a:lnTo>
                    <a:pt x="448" y="201"/>
                  </a:lnTo>
                  <a:lnTo>
                    <a:pt x="453" y="204"/>
                  </a:lnTo>
                  <a:lnTo>
                    <a:pt x="453" y="206"/>
                  </a:lnTo>
                  <a:lnTo>
                    <a:pt x="453" y="206"/>
                  </a:lnTo>
                  <a:lnTo>
                    <a:pt x="456" y="206"/>
                  </a:lnTo>
                  <a:lnTo>
                    <a:pt x="461" y="206"/>
                  </a:lnTo>
                  <a:lnTo>
                    <a:pt x="464" y="209"/>
                  </a:lnTo>
                  <a:lnTo>
                    <a:pt x="466" y="209"/>
                  </a:lnTo>
                  <a:lnTo>
                    <a:pt x="469" y="209"/>
                  </a:lnTo>
                  <a:lnTo>
                    <a:pt x="469" y="209"/>
                  </a:lnTo>
                  <a:lnTo>
                    <a:pt x="474" y="206"/>
                  </a:lnTo>
                  <a:lnTo>
                    <a:pt x="474" y="206"/>
                  </a:lnTo>
                  <a:lnTo>
                    <a:pt x="476" y="206"/>
                  </a:lnTo>
                  <a:lnTo>
                    <a:pt x="476" y="206"/>
                  </a:lnTo>
                  <a:lnTo>
                    <a:pt x="479" y="206"/>
                  </a:lnTo>
                  <a:lnTo>
                    <a:pt x="481" y="206"/>
                  </a:lnTo>
                  <a:lnTo>
                    <a:pt x="484" y="209"/>
                  </a:lnTo>
                  <a:lnTo>
                    <a:pt x="489" y="209"/>
                  </a:lnTo>
                  <a:lnTo>
                    <a:pt x="489" y="209"/>
                  </a:lnTo>
                  <a:lnTo>
                    <a:pt x="492" y="209"/>
                  </a:lnTo>
                  <a:lnTo>
                    <a:pt x="494" y="209"/>
                  </a:lnTo>
                  <a:lnTo>
                    <a:pt x="494" y="206"/>
                  </a:lnTo>
                  <a:lnTo>
                    <a:pt x="497" y="206"/>
                  </a:lnTo>
                  <a:lnTo>
                    <a:pt x="497" y="204"/>
                  </a:lnTo>
                  <a:lnTo>
                    <a:pt x="499" y="204"/>
                  </a:lnTo>
                  <a:lnTo>
                    <a:pt x="499" y="204"/>
                  </a:lnTo>
                  <a:lnTo>
                    <a:pt x="502" y="204"/>
                  </a:lnTo>
                  <a:lnTo>
                    <a:pt x="502" y="201"/>
                  </a:lnTo>
                  <a:lnTo>
                    <a:pt x="502" y="201"/>
                  </a:lnTo>
                  <a:lnTo>
                    <a:pt x="502" y="196"/>
                  </a:lnTo>
                  <a:lnTo>
                    <a:pt x="502" y="196"/>
                  </a:lnTo>
                  <a:lnTo>
                    <a:pt x="504" y="194"/>
                  </a:lnTo>
                  <a:lnTo>
                    <a:pt x="504" y="191"/>
                  </a:lnTo>
                  <a:lnTo>
                    <a:pt x="504" y="189"/>
                  </a:lnTo>
                  <a:lnTo>
                    <a:pt x="504" y="189"/>
                  </a:lnTo>
                  <a:lnTo>
                    <a:pt x="507" y="189"/>
                  </a:lnTo>
                  <a:lnTo>
                    <a:pt x="509" y="186"/>
                  </a:lnTo>
                  <a:lnTo>
                    <a:pt x="512" y="183"/>
                  </a:lnTo>
                  <a:lnTo>
                    <a:pt x="512" y="183"/>
                  </a:lnTo>
                  <a:lnTo>
                    <a:pt x="514" y="183"/>
                  </a:lnTo>
                  <a:lnTo>
                    <a:pt x="517" y="183"/>
                  </a:lnTo>
                  <a:lnTo>
                    <a:pt x="520" y="183"/>
                  </a:lnTo>
                  <a:lnTo>
                    <a:pt x="520" y="183"/>
                  </a:lnTo>
                  <a:lnTo>
                    <a:pt x="522" y="183"/>
                  </a:lnTo>
                  <a:lnTo>
                    <a:pt x="522" y="183"/>
                  </a:lnTo>
                  <a:lnTo>
                    <a:pt x="527" y="181"/>
                  </a:lnTo>
                  <a:lnTo>
                    <a:pt x="530" y="181"/>
                  </a:lnTo>
                  <a:lnTo>
                    <a:pt x="530" y="181"/>
                  </a:lnTo>
                  <a:lnTo>
                    <a:pt x="532" y="183"/>
                  </a:lnTo>
                  <a:lnTo>
                    <a:pt x="537" y="186"/>
                  </a:lnTo>
                  <a:lnTo>
                    <a:pt x="540" y="186"/>
                  </a:lnTo>
                  <a:lnTo>
                    <a:pt x="545" y="189"/>
                  </a:lnTo>
                  <a:lnTo>
                    <a:pt x="550" y="189"/>
                  </a:lnTo>
                  <a:lnTo>
                    <a:pt x="553" y="194"/>
                  </a:lnTo>
                  <a:lnTo>
                    <a:pt x="553" y="194"/>
                  </a:lnTo>
                  <a:lnTo>
                    <a:pt x="553" y="194"/>
                  </a:lnTo>
                  <a:lnTo>
                    <a:pt x="550" y="196"/>
                  </a:lnTo>
                  <a:lnTo>
                    <a:pt x="548" y="199"/>
                  </a:lnTo>
                  <a:lnTo>
                    <a:pt x="548" y="199"/>
                  </a:lnTo>
                  <a:lnTo>
                    <a:pt x="548" y="201"/>
                  </a:lnTo>
                  <a:lnTo>
                    <a:pt x="550" y="201"/>
                  </a:lnTo>
                  <a:lnTo>
                    <a:pt x="553" y="201"/>
                  </a:lnTo>
                  <a:lnTo>
                    <a:pt x="553" y="201"/>
                  </a:lnTo>
                  <a:lnTo>
                    <a:pt x="553" y="199"/>
                  </a:lnTo>
                  <a:lnTo>
                    <a:pt x="555" y="196"/>
                  </a:lnTo>
                  <a:lnTo>
                    <a:pt x="555" y="196"/>
                  </a:lnTo>
                  <a:lnTo>
                    <a:pt x="560" y="194"/>
                  </a:lnTo>
                  <a:lnTo>
                    <a:pt x="563" y="194"/>
                  </a:lnTo>
                  <a:lnTo>
                    <a:pt x="565" y="194"/>
                  </a:lnTo>
                  <a:lnTo>
                    <a:pt x="565" y="194"/>
                  </a:lnTo>
                  <a:lnTo>
                    <a:pt x="565" y="191"/>
                  </a:lnTo>
                  <a:lnTo>
                    <a:pt x="565" y="191"/>
                  </a:lnTo>
                  <a:lnTo>
                    <a:pt x="565" y="191"/>
                  </a:lnTo>
                  <a:lnTo>
                    <a:pt x="565" y="189"/>
                  </a:lnTo>
                  <a:lnTo>
                    <a:pt x="565" y="189"/>
                  </a:lnTo>
                  <a:lnTo>
                    <a:pt x="565" y="189"/>
                  </a:lnTo>
                  <a:lnTo>
                    <a:pt x="568" y="191"/>
                  </a:lnTo>
                  <a:lnTo>
                    <a:pt x="573" y="191"/>
                  </a:lnTo>
                  <a:lnTo>
                    <a:pt x="576" y="191"/>
                  </a:lnTo>
                  <a:lnTo>
                    <a:pt x="576" y="191"/>
                  </a:lnTo>
                  <a:lnTo>
                    <a:pt x="576" y="191"/>
                  </a:lnTo>
                  <a:lnTo>
                    <a:pt x="576" y="191"/>
                  </a:lnTo>
                  <a:lnTo>
                    <a:pt x="576" y="189"/>
                  </a:lnTo>
                  <a:close/>
                  <a:moveTo>
                    <a:pt x="492" y="163"/>
                  </a:moveTo>
                  <a:lnTo>
                    <a:pt x="494" y="163"/>
                  </a:lnTo>
                  <a:lnTo>
                    <a:pt x="494" y="166"/>
                  </a:lnTo>
                  <a:lnTo>
                    <a:pt x="497" y="166"/>
                  </a:lnTo>
                  <a:lnTo>
                    <a:pt x="499" y="166"/>
                  </a:lnTo>
                  <a:lnTo>
                    <a:pt x="502" y="163"/>
                  </a:lnTo>
                  <a:lnTo>
                    <a:pt x="502" y="163"/>
                  </a:lnTo>
                  <a:lnTo>
                    <a:pt x="504" y="163"/>
                  </a:lnTo>
                  <a:lnTo>
                    <a:pt x="502" y="163"/>
                  </a:lnTo>
                  <a:lnTo>
                    <a:pt x="499" y="163"/>
                  </a:lnTo>
                  <a:lnTo>
                    <a:pt x="499" y="163"/>
                  </a:lnTo>
                  <a:lnTo>
                    <a:pt x="494" y="161"/>
                  </a:lnTo>
                  <a:lnTo>
                    <a:pt x="492" y="163"/>
                  </a:lnTo>
                  <a:lnTo>
                    <a:pt x="492" y="163"/>
                  </a:lnTo>
                  <a:lnTo>
                    <a:pt x="492" y="163"/>
                  </a:lnTo>
                  <a:close/>
                  <a:moveTo>
                    <a:pt x="12" y="161"/>
                  </a:moveTo>
                  <a:lnTo>
                    <a:pt x="7" y="163"/>
                  </a:lnTo>
                  <a:lnTo>
                    <a:pt x="2" y="166"/>
                  </a:lnTo>
                  <a:lnTo>
                    <a:pt x="0" y="166"/>
                  </a:lnTo>
                  <a:lnTo>
                    <a:pt x="0" y="168"/>
                  </a:lnTo>
                  <a:lnTo>
                    <a:pt x="2" y="166"/>
                  </a:lnTo>
                  <a:lnTo>
                    <a:pt x="7" y="166"/>
                  </a:lnTo>
                  <a:lnTo>
                    <a:pt x="12" y="163"/>
                  </a:lnTo>
                  <a:lnTo>
                    <a:pt x="15" y="163"/>
                  </a:lnTo>
                  <a:lnTo>
                    <a:pt x="18" y="161"/>
                  </a:lnTo>
                  <a:lnTo>
                    <a:pt x="18" y="161"/>
                  </a:lnTo>
                  <a:lnTo>
                    <a:pt x="12" y="161"/>
                  </a:lnTo>
                  <a:close/>
                  <a:moveTo>
                    <a:pt x="397" y="102"/>
                  </a:moveTo>
                  <a:lnTo>
                    <a:pt x="400" y="102"/>
                  </a:lnTo>
                  <a:lnTo>
                    <a:pt x="400" y="99"/>
                  </a:lnTo>
                  <a:lnTo>
                    <a:pt x="400" y="99"/>
                  </a:lnTo>
                  <a:lnTo>
                    <a:pt x="397" y="99"/>
                  </a:lnTo>
                  <a:lnTo>
                    <a:pt x="395" y="99"/>
                  </a:lnTo>
                  <a:lnTo>
                    <a:pt x="392" y="99"/>
                  </a:lnTo>
                  <a:lnTo>
                    <a:pt x="395" y="102"/>
                  </a:lnTo>
                  <a:lnTo>
                    <a:pt x="397" y="102"/>
                  </a:lnTo>
                  <a:close/>
                  <a:moveTo>
                    <a:pt x="435" y="51"/>
                  </a:moveTo>
                  <a:lnTo>
                    <a:pt x="438" y="51"/>
                  </a:lnTo>
                  <a:lnTo>
                    <a:pt x="441" y="51"/>
                  </a:lnTo>
                  <a:lnTo>
                    <a:pt x="443" y="51"/>
                  </a:lnTo>
                  <a:lnTo>
                    <a:pt x="443" y="49"/>
                  </a:lnTo>
                  <a:lnTo>
                    <a:pt x="446" y="49"/>
                  </a:lnTo>
                  <a:lnTo>
                    <a:pt x="448" y="49"/>
                  </a:lnTo>
                  <a:lnTo>
                    <a:pt x="451" y="49"/>
                  </a:lnTo>
                  <a:lnTo>
                    <a:pt x="453" y="49"/>
                  </a:lnTo>
                  <a:lnTo>
                    <a:pt x="453" y="49"/>
                  </a:lnTo>
                  <a:lnTo>
                    <a:pt x="456" y="46"/>
                  </a:lnTo>
                  <a:lnTo>
                    <a:pt x="456" y="46"/>
                  </a:lnTo>
                  <a:lnTo>
                    <a:pt x="458" y="44"/>
                  </a:lnTo>
                  <a:lnTo>
                    <a:pt x="466" y="44"/>
                  </a:lnTo>
                  <a:lnTo>
                    <a:pt x="464" y="41"/>
                  </a:lnTo>
                  <a:lnTo>
                    <a:pt x="458" y="41"/>
                  </a:lnTo>
                  <a:lnTo>
                    <a:pt x="453" y="41"/>
                  </a:lnTo>
                  <a:lnTo>
                    <a:pt x="451" y="41"/>
                  </a:lnTo>
                  <a:lnTo>
                    <a:pt x="446" y="41"/>
                  </a:lnTo>
                  <a:lnTo>
                    <a:pt x="443" y="38"/>
                  </a:lnTo>
                  <a:lnTo>
                    <a:pt x="443" y="38"/>
                  </a:lnTo>
                  <a:lnTo>
                    <a:pt x="446" y="36"/>
                  </a:lnTo>
                  <a:lnTo>
                    <a:pt x="448" y="36"/>
                  </a:lnTo>
                  <a:lnTo>
                    <a:pt x="446" y="36"/>
                  </a:lnTo>
                  <a:lnTo>
                    <a:pt x="443" y="36"/>
                  </a:lnTo>
                  <a:lnTo>
                    <a:pt x="441" y="36"/>
                  </a:lnTo>
                  <a:lnTo>
                    <a:pt x="438" y="36"/>
                  </a:lnTo>
                  <a:lnTo>
                    <a:pt x="435" y="36"/>
                  </a:lnTo>
                  <a:lnTo>
                    <a:pt x="433" y="36"/>
                  </a:lnTo>
                  <a:lnTo>
                    <a:pt x="430" y="33"/>
                  </a:lnTo>
                  <a:lnTo>
                    <a:pt x="428" y="31"/>
                  </a:lnTo>
                  <a:lnTo>
                    <a:pt x="425" y="31"/>
                  </a:lnTo>
                  <a:lnTo>
                    <a:pt x="423" y="28"/>
                  </a:lnTo>
                  <a:lnTo>
                    <a:pt x="420" y="28"/>
                  </a:lnTo>
                  <a:lnTo>
                    <a:pt x="415" y="31"/>
                  </a:lnTo>
                  <a:lnTo>
                    <a:pt x="407" y="31"/>
                  </a:lnTo>
                  <a:lnTo>
                    <a:pt x="405" y="31"/>
                  </a:lnTo>
                  <a:lnTo>
                    <a:pt x="407" y="33"/>
                  </a:lnTo>
                  <a:lnTo>
                    <a:pt x="410" y="33"/>
                  </a:lnTo>
                  <a:lnTo>
                    <a:pt x="410" y="33"/>
                  </a:lnTo>
                  <a:lnTo>
                    <a:pt x="413" y="36"/>
                  </a:lnTo>
                  <a:lnTo>
                    <a:pt x="413" y="36"/>
                  </a:lnTo>
                  <a:lnTo>
                    <a:pt x="418" y="38"/>
                  </a:lnTo>
                  <a:lnTo>
                    <a:pt x="418" y="38"/>
                  </a:lnTo>
                  <a:lnTo>
                    <a:pt x="425" y="41"/>
                  </a:lnTo>
                  <a:lnTo>
                    <a:pt x="425" y="41"/>
                  </a:lnTo>
                  <a:lnTo>
                    <a:pt x="423" y="41"/>
                  </a:lnTo>
                  <a:lnTo>
                    <a:pt x="420" y="44"/>
                  </a:lnTo>
                  <a:lnTo>
                    <a:pt x="420" y="44"/>
                  </a:lnTo>
                  <a:lnTo>
                    <a:pt x="420" y="46"/>
                  </a:lnTo>
                  <a:lnTo>
                    <a:pt x="415" y="46"/>
                  </a:lnTo>
                  <a:lnTo>
                    <a:pt x="415" y="49"/>
                  </a:lnTo>
                  <a:lnTo>
                    <a:pt x="418" y="49"/>
                  </a:lnTo>
                  <a:lnTo>
                    <a:pt x="428" y="49"/>
                  </a:lnTo>
                  <a:lnTo>
                    <a:pt x="430" y="49"/>
                  </a:lnTo>
                  <a:lnTo>
                    <a:pt x="433" y="46"/>
                  </a:lnTo>
                  <a:lnTo>
                    <a:pt x="435" y="46"/>
                  </a:lnTo>
                  <a:lnTo>
                    <a:pt x="435" y="46"/>
                  </a:lnTo>
                  <a:lnTo>
                    <a:pt x="438" y="46"/>
                  </a:lnTo>
                  <a:lnTo>
                    <a:pt x="438" y="46"/>
                  </a:lnTo>
                  <a:lnTo>
                    <a:pt x="441" y="46"/>
                  </a:lnTo>
                  <a:lnTo>
                    <a:pt x="438" y="49"/>
                  </a:lnTo>
                  <a:lnTo>
                    <a:pt x="435" y="49"/>
                  </a:lnTo>
                  <a:lnTo>
                    <a:pt x="438" y="49"/>
                  </a:lnTo>
                  <a:lnTo>
                    <a:pt x="435" y="51"/>
                  </a:lnTo>
                  <a:lnTo>
                    <a:pt x="435" y="51"/>
                  </a:lnTo>
                  <a:close/>
                  <a:moveTo>
                    <a:pt x="486" y="26"/>
                  </a:moveTo>
                  <a:lnTo>
                    <a:pt x="484" y="26"/>
                  </a:lnTo>
                  <a:lnTo>
                    <a:pt x="484" y="26"/>
                  </a:lnTo>
                  <a:lnTo>
                    <a:pt x="484" y="28"/>
                  </a:lnTo>
                  <a:lnTo>
                    <a:pt x="489" y="28"/>
                  </a:lnTo>
                  <a:lnTo>
                    <a:pt x="489" y="28"/>
                  </a:lnTo>
                  <a:lnTo>
                    <a:pt x="492" y="28"/>
                  </a:lnTo>
                  <a:lnTo>
                    <a:pt x="489" y="28"/>
                  </a:lnTo>
                  <a:lnTo>
                    <a:pt x="486" y="26"/>
                  </a:lnTo>
                  <a:close/>
                  <a:moveTo>
                    <a:pt x="285" y="28"/>
                  </a:moveTo>
                  <a:lnTo>
                    <a:pt x="285" y="28"/>
                  </a:lnTo>
                  <a:lnTo>
                    <a:pt x="288" y="31"/>
                  </a:lnTo>
                  <a:lnTo>
                    <a:pt x="290" y="31"/>
                  </a:lnTo>
                  <a:lnTo>
                    <a:pt x="293" y="31"/>
                  </a:lnTo>
                  <a:lnTo>
                    <a:pt x="295" y="33"/>
                  </a:lnTo>
                  <a:lnTo>
                    <a:pt x="298" y="33"/>
                  </a:lnTo>
                  <a:lnTo>
                    <a:pt x="300" y="36"/>
                  </a:lnTo>
                  <a:lnTo>
                    <a:pt x="300" y="36"/>
                  </a:lnTo>
                  <a:lnTo>
                    <a:pt x="300" y="33"/>
                  </a:lnTo>
                  <a:lnTo>
                    <a:pt x="298" y="33"/>
                  </a:lnTo>
                  <a:lnTo>
                    <a:pt x="298" y="33"/>
                  </a:lnTo>
                  <a:lnTo>
                    <a:pt x="298" y="31"/>
                  </a:lnTo>
                  <a:lnTo>
                    <a:pt x="295" y="31"/>
                  </a:lnTo>
                  <a:lnTo>
                    <a:pt x="293" y="31"/>
                  </a:lnTo>
                  <a:lnTo>
                    <a:pt x="290" y="31"/>
                  </a:lnTo>
                  <a:lnTo>
                    <a:pt x="290" y="28"/>
                  </a:lnTo>
                  <a:lnTo>
                    <a:pt x="288" y="28"/>
                  </a:lnTo>
                  <a:lnTo>
                    <a:pt x="288" y="28"/>
                  </a:lnTo>
                  <a:lnTo>
                    <a:pt x="288" y="28"/>
                  </a:lnTo>
                  <a:lnTo>
                    <a:pt x="288" y="26"/>
                  </a:lnTo>
                  <a:lnTo>
                    <a:pt x="288" y="26"/>
                  </a:lnTo>
                  <a:lnTo>
                    <a:pt x="285" y="26"/>
                  </a:lnTo>
                  <a:lnTo>
                    <a:pt x="283" y="23"/>
                  </a:lnTo>
                  <a:lnTo>
                    <a:pt x="283" y="26"/>
                  </a:lnTo>
                  <a:lnTo>
                    <a:pt x="283" y="26"/>
                  </a:lnTo>
                  <a:lnTo>
                    <a:pt x="285" y="28"/>
                  </a:lnTo>
                  <a:close/>
                  <a:moveTo>
                    <a:pt x="509" y="26"/>
                  </a:moveTo>
                  <a:lnTo>
                    <a:pt x="514" y="26"/>
                  </a:lnTo>
                  <a:lnTo>
                    <a:pt x="520" y="26"/>
                  </a:lnTo>
                  <a:lnTo>
                    <a:pt x="525" y="23"/>
                  </a:lnTo>
                  <a:lnTo>
                    <a:pt x="525" y="23"/>
                  </a:lnTo>
                  <a:lnTo>
                    <a:pt x="520" y="23"/>
                  </a:lnTo>
                  <a:lnTo>
                    <a:pt x="517" y="23"/>
                  </a:lnTo>
                  <a:lnTo>
                    <a:pt x="514" y="23"/>
                  </a:lnTo>
                  <a:lnTo>
                    <a:pt x="509" y="23"/>
                  </a:lnTo>
                  <a:lnTo>
                    <a:pt x="509" y="23"/>
                  </a:lnTo>
                  <a:lnTo>
                    <a:pt x="507" y="23"/>
                  </a:lnTo>
                  <a:lnTo>
                    <a:pt x="504" y="23"/>
                  </a:lnTo>
                  <a:lnTo>
                    <a:pt x="502" y="26"/>
                  </a:lnTo>
                  <a:lnTo>
                    <a:pt x="504" y="26"/>
                  </a:lnTo>
                  <a:lnTo>
                    <a:pt x="509" y="26"/>
                  </a:lnTo>
                  <a:close/>
                  <a:moveTo>
                    <a:pt x="285" y="13"/>
                  </a:moveTo>
                  <a:lnTo>
                    <a:pt x="285" y="13"/>
                  </a:lnTo>
                  <a:lnTo>
                    <a:pt x="283" y="13"/>
                  </a:lnTo>
                  <a:lnTo>
                    <a:pt x="283" y="13"/>
                  </a:lnTo>
                  <a:lnTo>
                    <a:pt x="283" y="16"/>
                  </a:lnTo>
                  <a:lnTo>
                    <a:pt x="285" y="16"/>
                  </a:lnTo>
                  <a:lnTo>
                    <a:pt x="285" y="16"/>
                  </a:lnTo>
                  <a:lnTo>
                    <a:pt x="285" y="18"/>
                  </a:lnTo>
                  <a:lnTo>
                    <a:pt x="288" y="18"/>
                  </a:lnTo>
                  <a:lnTo>
                    <a:pt x="288" y="18"/>
                  </a:lnTo>
                  <a:lnTo>
                    <a:pt x="290" y="21"/>
                  </a:lnTo>
                  <a:lnTo>
                    <a:pt x="290" y="21"/>
                  </a:lnTo>
                  <a:lnTo>
                    <a:pt x="293" y="21"/>
                  </a:lnTo>
                  <a:lnTo>
                    <a:pt x="295" y="21"/>
                  </a:lnTo>
                  <a:lnTo>
                    <a:pt x="295" y="18"/>
                  </a:lnTo>
                  <a:lnTo>
                    <a:pt x="295" y="18"/>
                  </a:lnTo>
                  <a:lnTo>
                    <a:pt x="300" y="18"/>
                  </a:lnTo>
                  <a:lnTo>
                    <a:pt x="300" y="18"/>
                  </a:lnTo>
                  <a:lnTo>
                    <a:pt x="300" y="18"/>
                  </a:lnTo>
                  <a:lnTo>
                    <a:pt x="298" y="21"/>
                  </a:lnTo>
                  <a:lnTo>
                    <a:pt x="298" y="21"/>
                  </a:lnTo>
                  <a:lnTo>
                    <a:pt x="298" y="21"/>
                  </a:lnTo>
                  <a:lnTo>
                    <a:pt x="300" y="23"/>
                  </a:lnTo>
                  <a:lnTo>
                    <a:pt x="300" y="23"/>
                  </a:lnTo>
                  <a:lnTo>
                    <a:pt x="300" y="23"/>
                  </a:lnTo>
                  <a:lnTo>
                    <a:pt x="303" y="23"/>
                  </a:lnTo>
                  <a:lnTo>
                    <a:pt x="305" y="23"/>
                  </a:lnTo>
                  <a:lnTo>
                    <a:pt x="305" y="23"/>
                  </a:lnTo>
                  <a:lnTo>
                    <a:pt x="303" y="23"/>
                  </a:lnTo>
                  <a:lnTo>
                    <a:pt x="303" y="23"/>
                  </a:lnTo>
                  <a:lnTo>
                    <a:pt x="293" y="23"/>
                  </a:lnTo>
                  <a:lnTo>
                    <a:pt x="293" y="23"/>
                  </a:lnTo>
                  <a:lnTo>
                    <a:pt x="293" y="23"/>
                  </a:lnTo>
                  <a:lnTo>
                    <a:pt x="295" y="26"/>
                  </a:lnTo>
                  <a:lnTo>
                    <a:pt x="298" y="26"/>
                  </a:lnTo>
                  <a:lnTo>
                    <a:pt x="295" y="26"/>
                  </a:lnTo>
                  <a:lnTo>
                    <a:pt x="295" y="26"/>
                  </a:lnTo>
                  <a:lnTo>
                    <a:pt x="298" y="28"/>
                  </a:lnTo>
                  <a:lnTo>
                    <a:pt x="298" y="28"/>
                  </a:lnTo>
                  <a:lnTo>
                    <a:pt x="300" y="28"/>
                  </a:lnTo>
                  <a:lnTo>
                    <a:pt x="300" y="28"/>
                  </a:lnTo>
                  <a:lnTo>
                    <a:pt x="303" y="28"/>
                  </a:lnTo>
                  <a:lnTo>
                    <a:pt x="305" y="31"/>
                  </a:lnTo>
                  <a:lnTo>
                    <a:pt x="308" y="33"/>
                  </a:lnTo>
                  <a:lnTo>
                    <a:pt x="311" y="33"/>
                  </a:lnTo>
                  <a:lnTo>
                    <a:pt x="311" y="33"/>
                  </a:lnTo>
                  <a:lnTo>
                    <a:pt x="311" y="33"/>
                  </a:lnTo>
                  <a:lnTo>
                    <a:pt x="316" y="36"/>
                  </a:lnTo>
                  <a:lnTo>
                    <a:pt x="321" y="36"/>
                  </a:lnTo>
                  <a:lnTo>
                    <a:pt x="323" y="36"/>
                  </a:lnTo>
                  <a:lnTo>
                    <a:pt x="326" y="33"/>
                  </a:lnTo>
                  <a:lnTo>
                    <a:pt x="328" y="33"/>
                  </a:lnTo>
                  <a:lnTo>
                    <a:pt x="331" y="33"/>
                  </a:lnTo>
                  <a:lnTo>
                    <a:pt x="331" y="33"/>
                  </a:lnTo>
                  <a:lnTo>
                    <a:pt x="334" y="33"/>
                  </a:lnTo>
                  <a:lnTo>
                    <a:pt x="334" y="31"/>
                  </a:lnTo>
                  <a:lnTo>
                    <a:pt x="331" y="31"/>
                  </a:lnTo>
                  <a:lnTo>
                    <a:pt x="331" y="31"/>
                  </a:lnTo>
                  <a:lnTo>
                    <a:pt x="331" y="28"/>
                  </a:lnTo>
                  <a:lnTo>
                    <a:pt x="331" y="28"/>
                  </a:lnTo>
                  <a:lnTo>
                    <a:pt x="331" y="28"/>
                  </a:lnTo>
                  <a:lnTo>
                    <a:pt x="334" y="28"/>
                  </a:lnTo>
                  <a:lnTo>
                    <a:pt x="334" y="28"/>
                  </a:lnTo>
                  <a:lnTo>
                    <a:pt x="334" y="28"/>
                  </a:lnTo>
                  <a:lnTo>
                    <a:pt x="336" y="28"/>
                  </a:lnTo>
                  <a:lnTo>
                    <a:pt x="336" y="28"/>
                  </a:lnTo>
                  <a:lnTo>
                    <a:pt x="336" y="28"/>
                  </a:lnTo>
                  <a:lnTo>
                    <a:pt x="339" y="28"/>
                  </a:lnTo>
                  <a:lnTo>
                    <a:pt x="339" y="28"/>
                  </a:lnTo>
                  <a:lnTo>
                    <a:pt x="341" y="28"/>
                  </a:lnTo>
                  <a:lnTo>
                    <a:pt x="341" y="26"/>
                  </a:lnTo>
                  <a:lnTo>
                    <a:pt x="344" y="26"/>
                  </a:lnTo>
                  <a:lnTo>
                    <a:pt x="344" y="28"/>
                  </a:lnTo>
                  <a:lnTo>
                    <a:pt x="344" y="28"/>
                  </a:lnTo>
                  <a:lnTo>
                    <a:pt x="341" y="28"/>
                  </a:lnTo>
                  <a:lnTo>
                    <a:pt x="341" y="28"/>
                  </a:lnTo>
                  <a:lnTo>
                    <a:pt x="341" y="31"/>
                  </a:lnTo>
                  <a:lnTo>
                    <a:pt x="344" y="31"/>
                  </a:lnTo>
                  <a:lnTo>
                    <a:pt x="344" y="31"/>
                  </a:lnTo>
                  <a:lnTo>
                    <a:pt x="346" y="31"/>
                  </a:lnTo>
                  <a:lnTo>
                    <a:pt x="351" y="31"/>
                  </a:lnTo>
                  <a:lnTo>
                    <a:pt x="354" y="31"/>
                  </a:lnTo>
                  <a:lnTo>
                    <a:pt x="356" y="28"/>
                  </a:lnTo>
                  <a:lnTo>
                    <a:pt x="356" y="28"/>
                  </a:lnTo>
                  <a:lnTo>
                    <a:pt x="362" y="28"/>
                  </a:lnTo>
                  <a:lnTo>
                    <a:pt x="359" y="28"/>
                  </a:lnTo>
                  <a:lnTo>
                    <a:pt x="356" y="31"/>
                  </a:lnTo>
                  <a:lnTo>
                    <a:pt x="359" y="31"/>
                  </a:lnTo>
                  <a:lnTo>
                    <a:pt x="362" y="33"/>
                  </a:lnTo>
                  <a:lnTo>
                    <a:pt x="362" y="33"/>
                  </a:lnTo>
                  <a:lnTo>
                    <a:pt x="364" y="33"/>
                  </a:lnTo>
                  <a:lnTo>
                    <a:pt x="367" y="33"/>
                  </a:lnTo>
                  <a:lnTo>
                    <a:pt x="364" y="33"/>
                  </a:lnTo>
                  <a:lnTo>
                    <a:pt x="362" y="33"/>
                  </a:lnTo>
                  <a:lnTo>
                    <a:pt x="354" y="33"/>
                  </a:lnTo>
                  <a:lnTo>
                    <a:pt x="349" y="33"/>
                  </a:lnTo>
                  <a:lnTo>
                    <a:pt x="349" y="33"/>
                  </a:lnTo>
                  <a:lnTo>
                    <a:pt x="346" y="33"/>
                  </a:lnTo>
                  <a:lnTo>
                    <a:pt x="346" y="36"/>
                  </a:lnTo>
                  <a:lnTo>
                    <a:pt x="346" y="36"/>
                  </a:lnTo>
                  <a:lnTo>
                    <a:pt x="346" y="36"/>
                  </a:lnTo>
                  <a:lnTo>
                    <a:pt x="344" y="36"/>
                  </a:lnTo>
                  <a:lnTo>
                    <a:pt x="339" y="36"/>
                  </a:lnTo>
                  <a:lnTo>
                    <a:pt x="328" y="38"/>
                  </a:lnTo>
                  <a:lnTo>
                    <a:pt x="328" y="38"/>
                  </a:lnTo>
                  <a:lnTo>
                    <a:pt x="326" y="38"/>
                  </a:lnTo>
                  <a:lnTo>
                    <a:pt x="326" y="38"/>
                  </a:lnTo>
                  <a:lnTo>
                    <a:pt x="323" y="38"/>
                  </a:lnTo>
                  <a:lnTo>
                    <a:pt x="323" y="38"/>
                  </a:lnTo>
                  <a:lnTo>
                    <a:pt x="321" y="38"/>
                  </a:lnTo>
                  <a:lnTo>
                    <a:pt x="321" y="38"/>
                  </a:lnTo>
                  <a:lnTo>
                    <a:pt x="321" y="41"/>
                  </a:lnTo>
                  <a:lnTo>
                    <a:pt x="323" y="41"/>
                  </a:lnTo>
                  <a:lnTo>
                    <a:pt x="323" y="41"/>
                  </a:lnTo>
                  <a:lnTo>
                    <a:pt x="326" y="44"/>
                  </a:lnTo>
                  <a:lnTo>
                    <a:pt x="326" y="44"/>
                  </a:lnTo>
                  <a:lnTo>
                    <a:pt x="334" y="44"/>
                  </a:lnTo>
                  <a:lnTo>
                    <a:pt x="336" y="44"/>
                  </a:lnTo>
                  <a:lnTo>
                    <a:pt x="341" y="44"/>
                  </a:lnTo>
                  <a:lnTo>
                    <a:pt x="344" y="41"/>
                  </a:lnTo>
                  <a:lnTo>
                    <a:pt x="346" y="41"/>
                  </a:lnTo>
                  <a:lnTo>
                    <a:pt x="349" y="41"/>
                  </a:lnTo>
                  <a:lnTo>
                    <a:pt x="351" y="41"/>
                  </a:lnTo>
                  <a:lnTo>
                    <a:pt x="359" y="41"/>
                  </a:lnTo>
                  <a:lnTo>
                    <a:pt x="362" y="41"/>
                  </a:lnTo>
                  <a:lnTo>
                    <a:pt x="364" y="41"/>
                  </a:lnTo>
                  <a:lnTo>
                    <a:pt x="364" y="41"/>
                  </a:lnTo>
                  <a:lnTo>
                    <a:pt x="364" y="44"/>
                  </a:lnTo>
                  <a:lnTo>
                    <a:pt x="359" y="44"/>
                  </a:lnTo>
                  <a:lnTo>
                    <a:pt x="354" y="44"/>
                  </a:lnTo>
                  <a:lnTo>
                    <a:pt x="339" y="44"/>
                  </a:lnTo>
                  <a:lnTo>
                    <a:pt x="336" y="46"/>
                  </a:lnTo>
                  <a:lnTo>
                    <a:pt x="334" y="46"/>
                  </a:lnTo>
                  <a:lnTo>
                    <a:pt x="334" y="46"/>
                  </a:lnTo>
                  <a:lnTo>
                    <a:pt x="331" y="46"/>
                  </a:lnTo>
                  <a:lnTo>
                    <a:pt x="326" y="46"/>
                  </a:lnTo>
                  <a:lnTo>
                    <a:pt x="326" y="46"/>
                  </a:lnTo>
                  <a:lnTo>
                    <a:pt x="326" y="46"/>
                  </a:lnTo>
                  <a:lnTo>
                    <a:pt x="326" y="49"/>
                  </a:lnTo>
                  <a:lnTo>
                    <a:pt x="326" y="49"/>
                  </a:lnTo>
                  <a:lnTo>
                    <a:pt x="328" y="51"/>
                  </a:lnTo>
                  <a:lnTo>
                    <a:pt x="328" y="51"/>
                  </a:lnTo>
                  <a:lnTo>
                    <a:pt x="331" y="51"/>
                  </a:lnTo>
                  <a:lnTo>
                    <a:pt x="334" y="54"/>
                  </a:lnTo>
                  <a:lnTo>
                    <a:pt x="336" y="54"/>
                  </a:lnTo>
                  <a:lnTo>
                    <a:pt x="341" y="54"/>
                  </a:lnTo>
                  <a:lnTo>
                    <a:pt x="346" y="59"/>
                  </a:lnTo>
                  <a:lnTo>
                    <a:pt x="354" y="59"/>
                  </a:lnTo>
                  <a:lnTo>
                    <a:pt x="354" y="61"/>
                  </a:lnTo>
                  <a:lnTo>
                    <a:pt x="356" y="61"/>
                  </a:lnTo>
                  <a:lnTo>
                    <a:pt x="356" y="61"/>
                  </a:lnTo>
                  <a:lnTo>
                    <a:pt x="359" y="64"/>
                  </a:lnTo>
                  <a:lnTo>
                    <a:pt x="362" y="64"/>
                  </a:lnTo>
                  <a:lnTo>
                    <a:pt x="364" y="64"/>
                  </a:lnTo>
                  <a:lnTo>
                    <a:pt x="367" y="61"/>
                  </a:lnTo>
                  <a:lnTo>
                    <a:pt x="367" y="61"/>
                  </a:lnTo>
                  <a:lnTo>
                    <a:pt x="367" y="59"/>
                  </a:lnTo>
                  <a:lnTo>
                    <a:pt x="367" y="59"/>
                  </a:lnTo>
                  <a:lnTo>
                    <a:pt x="367" y="59"/>
                  </a:lnTo>
                  <a:lnTo>
                    <a:pt x="369" y="56"/>
                  </a:lnTo>
                  <a:lnTo>
                    <a:pt x="369" y="56"/>
                  </a:lnTo>
                  <a:lnTo>
                    <a:pt x="367" y="56"/>
                  </a:lnTo>
                  <a:lnTo>
                    <a:pt x="369" y="54"/>
                  </a:lnTo>
                  <a:lnTo>
                    <a:pt x="372" y="51"/>
                  </a:lnTo>
                  <a:lnTo>
                    <a:pt x="374" y="49"/>
                  </a:lnTo>
                  <a:lnTo>
                    <a:pt x="377" y="49"/>
                  </a:lnTo>
                  <a:lnTo>
                    <a:pt x="379" y="49"/>
                  </a:lnTo>
                  <a:lnTo>
                    <a:pt x="382" y="46"/>
                  </a:lnTo>
                  <a:lnTo>
                    <a:pt x="382" y="46"/>
                  </a:lnTo>
                  <a:lnTo>
                    <a:pt x="382" y="44"/>
                  </a:lnTo>
                  <a:lnTo>
                    <a:pt x="382" y="44"/>
                  </a:lnTo>
                  <a:lnTo>
                    <a:pt x="382" y="41"/>
                  </a:lnTo>
                  <a:lnTo>
                    <a:pt x="382" y="38"/>
                  </a:lnTo>
                  <a:lnTo>
                    <a:pt x="382" y="38"/>
                  </a:lnTo>
                  <a:lnTo>
                    <a:pt x="384" y="38"/>
                  </a:lnTo>
                  <a:lnTo>
                    <a:pt x="387" y="38"/>
                  </a:lnTo>
                  <a:lnTo>
                    <a:pt x="387" y="38"/>
                  </a:lnTo>
                  <a:lnTo>
                    <a:pt x="390" y="38"/>
                  </a:lnTo>
                  <a:lnTo>
                    <a:pt x="390" y="36"/>
                  </a:lnTo>
                  <a:lnTo>
                    <a:pt x="390" y="36"/>
                  </a:lnTo>
                  <a:lnTo>
                    <a:pt x="390" y="36"/>
                  </a:lnTo>
                  <a:lnTo>
                    <a:pt x="390" y="33"/>
                  </a:lnTo>
                  <a:lnTo>
                    <a:pt x="392" y="33"/>
                  </a:lnTo>
                  <a:lnTo>
                    <a:pt x="395" y="31"/>
                  </a:lnTo>
                  <a:lnTo>
                    <a:pt x="397" y="31"/>
                  </a:lnTo>
                  <a:lnTo>
                    <a:pt x="397" y="28"/>
                  </a:lnTo>
                  <a:lnTo>
                    <a:pt x="397" y="28"/>
                  </a:lnTo>
                  <a:lnTo>
                    <a:pt x="400" y="28"/>
                  </a:lnTo>
                  <a:lnTo>
                    <a:pt x="407" y="28"/>
                  </a:lnTo>
                  <a:lnTo>
                    <a:pt x="410" y="28"/>
                  </a:lnTo>
                  <a:lnTo>
                    <a:pt x="415" y="28"/>
                  </a:lnTo>
                  <a:lnTo>
                    <a:pt x="418" y="28"/>
                  </a:lnTo>
                  <a:lnTo>
                    <a:pt x="420" y="26"/>
                  </a:lnTo>
                  <a:lnTo>
                    <a:pt x="420" y="26"/>
                  </a:lnTo>
                  <a:lnTo>
                    <a:pt x="418" y="26"/>
                  </a:lnTo>
                  <a:lnTo>
                    <a:pt x="415" y="26"/>
                  </a:lnTo>
                  <a:lnTo>
                    <a:pt x="410" y="23"/>
                  </a:lnTo>
                  <a:lnTo>
                    <a:pt x="407" y="23"/>
                  </a:lnTo>
                  <a:lnTo>
                    <a:pt x="410" y="21"/>
                  </a:lnTo>
                  <a:lnTo>
                    <a:pt x="410" y="21"/>
                  </a:lnTo>
                  <a:lnTo>
                    <a:pt x="407" y="21"/>
                  </a:lnTo>
                  <a:lnTo>
                    <a:pt x="402" y="21"/>
                  </a:lnTo>
                  <a:lnTo>
                    <a:pt x="402" y="21"/>
                  </a:lnTo>
                  <a:lnTo>
                    <a:pt x="402" y="21"/>
                  </a:lnTo>
                  <a:lnTo>
                    <a:pt x="400" y="21"/>
                  </a:lnTo>
                  <a:lnTo>
                    <a:pt x="397" y="21"/>
                  </a:lnTo>
                  <a:lnTo>
                    <a:pt x="395" y="21"/>
                  </a:lnTo>
                  <a:lnTo>
                    <a:pt x="390" y="21"/>
                  </a:lnTo>
                  <a:lnTo>
                    <a:pt x="387" y="21"/>
                  </a:lnTo>
                  <a:lnTo>
                    <a:pt x="387" y="18"/>
                  </a:lnTo>
                  <a:lnTo>
                    <a:pt x="384" y="18"/>
                  </a:lnTo>
                  <a:lnTo>
                    <a:pt x="384" y="18"/>
                  </a:lnTo>
                  <a:lnTo>
                    <a:pt x="384" y="18"/>
                  </a:lnTo>
                  <a:lnTo>
                    <a:pt x="384" y="18"/>
                  </a:lnTo>
                  <a:lnTo>
                    <a:pt x="384" y="18"/>
                  </a:lnTo>
                  <a:lnTo>
                    <a:pt x="387" y="16"/>
                  </a:lnTo>
                  <a:lnTo>
                    <a:pt x="384" y="16"/>
                  </a:lnTo>
                  <a:lnTo>
                    <a:pt x="384" y="16"/>
                  </a:lnTo>
                  <a:lnTo>
                    <a:pt x="384" y="16"/>
                  </a:lnTo>
                  <a:lnTo>
                    <a:pt x="382" y="13"/>
                  </a:lnTo>
                  <a:lnTo>
                    <a:pt x="379" y="13"/>
                  </a:lnTo>
                  <a:lnTo>
                    <a:pt x="379" y="13"/>
                  </a:lnTo>
                  <a:lnTo>
                    <a:pt x="379" y="13"/>
                  </a:lnTo>
                  <a:lnTo>
                    <a:pt x="374" y="16"/>
                  </a:lnTo>
                  <a:lnTo>
                    <a:pt x="372" y="16"/>
                  </a:lnTo>
                  <a:lnTo>
                    <a:pt x="372" y="16"/>
                  </a:lnTo>
                  <a:lnTo>
                    <a:pt x="372" y="16"/>
                  </a:lnTo>
                  <a:lnTo>
                    <a:pt x="372" y="13"/>
                  </a:lnTo>
                  <a:lnTo>
                    <a:pt x="372" y="13"/>
                  </a:lnTo>
                  <a:lnTo>
                    <a:pt x="374" y="13"/>
                  </a:lnTo>
                  <a:lnTo>
                    <a:pt x="374" y="10"/>
                  </a:lnTo>
                  <a:lnTo>
                    <a:pt x="372" y="10"/>
                  </a:lnTo>
                  <a:lnTo>
                    <a:pt x="372" y="10"/>
                  </a:lnTo>
                  <a:lnTo>
                    <a:pt x="369" y="8"/>
                  </a:lnTo>
                  <a:lnTo>
                    <a:pt x="364" y="8"/>
                  </a:lnTo>
                  <a:lnTo>
                    <a:pt x="362" y="8"/>
                  </a:lnTo>
                  <a:lnTo>
                    <a:pt x="362" y="8"/>
                  </a:lnTo>
                  <a:lnTo>
                    <a:pt x="362" y="8"/>
                  </a:lnTo>
                  <a:lnTo>
                    <a:pt x="359" y="8"/>
                  </a:lnTo>
                  <a:lnTo>
                    <a:pt x="359" y="8"/>
                  </a:lnTo>
                  <a:lnTo>
                    <a:pt x="356" y="8"/>
                  </a:lnTo>
                  <a:lnTo>
                    <a:pt x="354" y="5"/>
                  </a:lnTo>
                  <a:lnTo>
                    <a:pt x="351" y="5"/>
                  </a:lnTo>
                  <a:lnTo>
                    <a:pt x="351" y="8"/>
                  </a:lnTo>
                  <a:lnTo>
                    <a:pt x="351" y="8"/>
                  </a:lnTo>
                  <a:lnTo>
                    <a:pt x="351" y="8"/>
                  </a:lnTo>
                  <a:lnTo>
                    <a:pt x="349" y="10"/>
                  </a:lnTo>
                  <a:lnTo>
                    <a:pt x="349" y="10"/>
                  </a:lnTo>
                  <a:lnTo>
                    <a:pt x="346" y="10"/>
                  </a:lnTo>
                  <a:lnTo>
                    <a:pt x="346" y="13"/>
                  </a:lnTo>
                  <a:lnTo>
                    <a:pt x="349" y="13"/>
                  </a:lnTo>
                  <a:lnTo>
                    <a:pt x="349" y="16"/>
                  </a:lnTo>
                  <a:lnTo>
                    <a:pt x="351" y="18"/>
                  </a:lnTo>
                  <a:lnTo>
                    <a:pt x="354" y="21"/>
                  </a:lnTo>
                  <a:lnTo>
                    <a:pt x="354" y="23"/>
                  </a:lnTo>
                  <a:lnTo>
                    <a:pt x="354" y="23"/>
                  </a:lnTo>
                  <a:lnTo>
                    <a:pt x="349" y="21"/>
                  </a:lnTo>
                  <a:lnTo>
                    <a:pt x="346" y="21"/>
                  </a:lnTo>
                  <a:lnTo>
                    <a:pt x="346" y="18"/>
                  </a:lnTo>
                  <a:lnTo>
                    <a:pt x="344" y="16"/>
                  </a:lnTo>
                  <a:lnTo>
                    <a:pt x="341" y="13"/>
                  </a:lnTo>
                  <a:lnTo>
                    <a:pt x="339" y="13"/>
                  </a:lnTo>
                  <a:lnTo>
                    <a:pt x="336" y="10"/>
                  </a:lnTo>
                  <a:lnTo>
                    <a:pt x="331" y="10"/>
                  </a:lnTo>
                  <a:lnTo>
                    <a:pt x="328" y="10"/>
                  </a:lnTo>
                  <a:lnTo>
                    <a:pt x="326" y="13"/>
                  </a:lnTo>
                  <a:lnTo>
                    <a:pt x="326" y="13"/>
                  </a:lnTo>
                  <a:lnTo>
                    <a:pt x="326" y="13"/>
                  </a:lnTo>
                  <a:lnTo>
                    <a:pt x="326" y="16"/>
                  </a:lnTo>
                  <a:lnTo>
                    <a:pt x="326" y="16"/>
                  </a:lnTo>
                  <a:lnTo>
                    <a:pt x="326" y="16"/>
                  </a:lnTo>
                  <a:lnTo>
                    <a:pt x="326" y="18"/>
                  </a:lnTo>
                  <a:lnTo>
                    <a:pt x="323" y="18"/>
                  </a:lnTo>
                  <a:lnTo>
                    <a:pt x="323" y="16"/>
                  </a:lnTo>
                  <a:lnTo>
                    <a:pt x="321" y="16"/>
                  </a:lnTo>
                  <a:lnTo>
                    <a:pt x="321" y="16"/>
                  </a:lnTo>
                  <a:lnTo>
                    <a:pt x="318" y="16"/>
                  </a:lnTo>
                  <a:lnTo>
                    <a:pt x="318" y="16"/>
                  </a:lnTo>
                  <a:lnTo>
                    <a:pt x="316" y="13"/>
                  </a:lnTo>
                  <a:lnTo>
                    <a:pt x="316" y="13"/>
                  </a:lnTo>
                  <a:lnTo>
                    <a:pt x="305" y="13"/>
                  </a:lnTo>
                  <a:lnTo>
                    <a:pt x="313" y="13"/>
                  </a:lnTo>
                  <a:lnTo>
                    <a:pt x="321" y="10"/>
                  </a:lnTo>
                  <a:lnTo>
                    <a:pt x="323" y="10"/>
                  </a:lnTo>
                  <a:lnTo>
                    <a:pt x="323" y="10"/>
                  </a:lnTo>
                  <a:lnTo>
                    <a:pt x="323" y="10"/>
                  </a:lnTo>
                  <a:lnTo>
                    <a:pt x="323" y="10"/>
                  </a:lnTo>
                  <a:lnTo>
                    <a:pt x="321" y="8"/>
                  </a:lnTo>
                  <a:lnTo>
                    <a:pt x="313" y="10"/>
                  </a:lnTo>
                  <a:lnTo>
                    <a:pt x="308" y="10"/>
                  </a:lnTo>
                  <a:lnTo>
                    <a:pt x="308" y="10"/>
                  </a:lnTo>
                  <a:lnTo>
                    <a:pt x="303" y="10"/>
                  </a:lnTo>
                  <a:lnTo>
                    <a:pt x="303" y="10"/>
                  </a:lnTo>
                  <a:lnTo>
                    <a:pt x="303" y="10"/>
                  </a:lnTo>
                  <a:lnTo>
                    <a:pt x="303" y="10"/>
                  </a:lnTo>
                  <a:lnTo>
                    <a:pt x="303" y="10"/>
                  </a:lnTo>
                  <a:lnTo>
                    <a:pt x="300" y="10"/>
                  </a:lnTo>
                  <a:lnTo>
                    <a:pt x="295" y="10"/>
                  </a:lnTo>
                  <a:lnTo>
                    <a:pt x="290" y="10"/>
                  </a:lnTo>
                  <a:lnTo>
                    <a:pt x="290" y="10"/>
                  </a:lnTo>
                  <a:lnTo>
                    <a:pt x="290" y="10"/>
                  </a:lnTo>
                  <a:lnTo>
                    <a:pt x="288" y="10"/>
                  </a:lnTo>
                  <a:lnTo>
                    <a:pt x="288" y="10"/>
                  </a:lnTo>
                  <a:lnTo>
                    <a:pt x="285" y="10"/>
                  </a:lnTo>
                  <a:lnTo>
                    <a:pt x="285" y="10"/>
                  </a:lnTo>
                  <a:lnTo>
                    <a:pt x="283" y="10"/>
                  </a:lnTo>
                  <a:lnTo>
                    <a:pt x="283" y="10"/>
                  </a:lnTo>
                  <a:lnTo>
                    <a:pt x="283" y="10"/>
                  </a:lnTo>
                  <a:lnTo>
                    <a:pt x="285" y="13"/>
                  </a:lnTo>
                  <a:close/>
                  <a:moveTo>
                    <a:pt x="555" y="5"/>
                  </a:moveTo>
                  <a:lnTo>
                    <a:pt x="568" y="3"/>
                  </a:lnTo>
                  <a:lnTo>
                    <a:pt x="568" y="3"/>
                  </a:lnTo>
                  <a:lnTo>
                    <a:pt x="565" y="3"/>
                  </a:lnTo>
                  <a:lnTo>
                    <a:pt x="563" y="3"/>
                  </a:lnTo>
                  <a:lnTo>
                    <a:pt x="560" y="3"/>
                  </a:lnTo>
                  <a:lnTo>
                    <a:pt x="543" y="5"/>
                  </a:lnTo>
                  <a:lnTo>
                    <a:pt x="543" y="5"/>
                  </a:lnTo>
                  <a:lnTo>
                    <a:pt x="555" y="5"/>
                  </a:lnTo>
                  <a:close/>
                  <a:moveTo>
                    <a:pt x="382" y="3"/>
                  </a:moveTo>
                  <a:lnTo>
                    <a:pt x="379" y="3"/>
                  </a:lnTo>
                  <a:lnTo>
                    <a:pt x="377" y="0"/>
                  </a:lnTo>
                  <a:lnTo>
                    <a:pt x="377" y="3"/>
                  </a:lnTo>
                  <a:lnTo>
                    <a:pt x="377" y="3"/>
                  </a:lnTo>
                  <a:lnTo>
                    <a:pt x="379" y="3"/>
                  </a:lnTo>
                  <a:lnTo>
                    <a:pt x="382" y="3"/>
                  </a:lnTo>
                  <a:close/>
                  <a:moveTo>
                    <a:pt x="379" y="5"/>
                  </a:moveTo>
                  <a:lnTo>
                    <a:pt x="384" y="5"/>
                  </a:lnTo>
                  <a:lnTo>
                    <a:pt x="384" y="8"/>
                  </a:lnTo>
                  <a:lnTo>
                    <a:pt x="382" y="8"/>
                  </a:lnTo>
                  <a:lnTo>
                    <a:pt x="377" y="8"/>
                  </a:lnTo>
                  <a:lnTo>
                    <a:pt x="377" y="8"/>
                  </a:lnTo>
                  <a:lnTo>
                    <a:pt x="379" y="8"/>
                  </a:lnTo>
                  <a:lnTo>
                    <a:pt x="379" y="10"/>
                  </a:lnTo>
                  <a:lnTo>
                    <a:pt x="384" y="10"/>
                  </a:lnTo>
                  <a:lnTo>
                    <a:pt x="387" y="10"/>
                  </a:lnTo>
                  <a:lnTo>
                    <a:pt x="392" y="10"/>
                  </a:lnTo>
                  <a:lnTo>
                    <a:pt x="395" y="10"/>
                  </a:lnTo>
                  <a:lnTo>
                    <a:pt x="400" y="10"/>
                  </a:lnTo>
                  <a:lnTo>
                    <a:pt x="402" y="10"/>
                  </a:lnTo>
                  <a:lnTo>
                    <a:pt x="405" y="10"/>
                  </a:lnTo>
                  <a:lnTo>
                    <a:pt x="410" y="10"/>
                  </a:lnTo>
                  <a:lnTo>
                    <a:pt x="407" y="10"/>
                  </a:lnTo>
                  <a:lnTo>
                    <a:pt x="407" y="13"/>
                  </a:lnTo>
                  <a:lnTo>
                    <a:pt x="407" y="13"/>
                  </a:lnTo>
                  <a:lnTo>
                    <a:pt x="402" y="13"/>
                  </a:lnTo>
                  <a:lnTo>
                    <a:pt x="400" y="13"/>
                  </a:lnTo>
                  <a:lnTo>
                    <a:pt x="397" y="13"/>
                  </a:lnTo>
                  <a:lnTo>
                    <a:pt x="397" y="13"/>
                  </a:lnTo>
                  <a:lnTo>
                    <a:pt x="397" y="13"/>
                  </a:lnTo>
                  <a:lnTo>
                    <a:pt x="400" y="13"/>
                  </a:lnTo>
                  <a:lnTo>
                    <a:pt x="402" y="16"/>
                  </a:lnTo>
                  <a:lnTo>
                    <a:pt x="405" y="16"/>
                  </a:lnTo>
                  <a:lnTo>
                    <a:pt x="410" y="16"/>
                  </a:lnTo>
                  <a:lnTo>
                    <a:pt x="410" y="16"/>
                  </a:lnTo>
                  <a:lnTo>
                    <a:pt x="413" y="16"/>
                  </a:lnTo>
                  <a:lnTo>
                    <a:pt x="425" y="16"/>
                  </a:lnTo>
                  <a:lnTo>
                    <a:pt x="435" y="16"/>
                  </a:lnTo>
                  <a:lnTo>
                    <a:pt x="435" y="18"/>
                  </a:lnTo>
                  <a:lnTo>
                    <a:pt x="435" y="18"/>
                  </a:lnTo>
                  <a:lnTo>
                    <a:pt x="438" y="18"/>
                  </a:lnTo>
                  <a:lnTo>
                    <a:pt x="448" y="21"/>
                  </a:lnTo>
                  <a:lnTo>
                    <a:pt x="451" y="21"/>
                  </a:lnTo>
                  <a:lnTo>
                    <a:pt x="453" y="18"/>
                  </a:lnTo>
                  <a:lnTo>
                    <a:pt x="456" y="18"/>
                  </a:lnTo>
                  <a:lnTo>
                    <a:pt x="456" y="18"/>
                  </a:lnTo>
                  <a:lnTo>
                    <a:pt x="461" y="18"/>
                  </a:lnTo>
                  <a:lnTo>
                    <a:pt x="461" y="18"/>
                  </a:lnTo>
                  <a:lnTo>
                    <a:pt x="466" y="18"/>
                  </a:lnTo>
                  <a:lnTo>
                    <a:pt x="466" y="18"/>
                  </a:lnTo>
                  <a:lnTo>
                    <a:pt x="471" y="16"/>
                  </a:lnTo>
                  <a:lnTo>
                    <a:pt x="474" y="16"/>
                  </a:lnTo>
                  <a:lnTo>
                    <a:pt x="474" y="13"/>
                  </a:lnTo>
                  <a:lnTo>
                    <a:pt x="476" y="13"/>
                  </a:lnTo>
                  <a:lnTo>
                    <a:pt x="479" y="13"/>
                  </a:lnTo>
                  <a:lnTo>
                    <a:pt x="489" y="8"/>
                  </a:lnTo>
                  <a:lnTo>
                    <a:pt x="489" y="8"/>
                  </a:lnTo>
                  <a:lnTo>
                    <a:pt x="489" y="5"/>
                  </a:lnTo>
                  <a:lnTo>
                    <a:pt x="486" y="5"/>
                  </a:lnTo>
                  <a:lnTo>
                    <a:pt x="484" y="5"/>
                  </a:lnTo>
                  <a:lnTo>
                    <a:pt x="479" y="5"/>
                  </a:lnTo>
                  <a:lnTo>
                    <a:pt x="471" y="5"/>
                  </a:lnTo>
                  <a:lnTo>
                    <a:pt x="471" y="5"/>
                  </a:lnTo>
                  <a:lnTo>
                    <a:pt x="469" y="3"/>
                  </a:lnTo>
                  <a:lnTo>
                    <a:pt x="466" y="3"/>
                  </a:lnTo>
                  <a:lnTo>
                    <a:pt x="461" y="3"/>
                  </a:lnTo>
                  <a:lnTo>
                    <a:pt x="458" y="3"/>
                  </a:lnTo>
                  <a:lnTo>
                    <a:pt x="458" y="3"/>
                  </a:lnTo>
                  <a:lnTo>
                    <a:pt x="456" y="3"/>
                  </a:lnTo>
                  <a:lnTo>
                    <a:pt x="456" y="3"/>
                  </a:lnTo>
                  <a:lnTo>
                    <a:pt x="453" y="3"/>
                  </a:lnTo>
                  <a:lnTo>
                    <a:pt x="453" y="0"/>
                  </a:lnTo>
                  <a:lnTo>
                    <a:pt x="451" y="3"/>
                  </a:lnTo>
                  <a:lnTo>
                    <a:pt x="451" y="3"/>
                  </a:lnTo>
                  <a:lnTo>
                    <a:pt x="451" y="3"/>
                  </a:lnTo>
                  <a:lnTo>
                    <a:pt x="448" y="3"/>
                  </a:lnTo>
                  <a:lnTo>
                    <a:pt x="446" y="3"/>
                  </a:lnTo>
                  <a:lnTo>
                    <a:pt x="446" y="3"/>
                  </a:lnTo>
                  <a:lnTo>
                    <a:pt x="441" y="5"/>
                  </a:lnTo>
                  <a:lnTo>
                    <a:pt x="438" y="5"/>
                  </a:lnTo>
                  <a:lnTo>
                    <a:pt x="438" y="3"/>
                  </a:lnTo>
                  <a:lnTo>
                    <a:pt x="438" y="0"/>
                  </a:lnTo>
                  <a:lnTo>
                    <a:pt x="441" y="0"/>
                  </a:lnTo>
                  <a:lnTo>
                    <a:pt x="438" y="0"/>
                  </a:lnTo>
                  <a:lnTo>
                    <a:pt x="435" y="0"/>
                  </a:lnTo>
                  <a:lnTo>
                    <a:pt x="435" y="0"/>
                  </a:lnTo>
                  <a:lnTo>
                    <a:pt x="433" y="0"/>
                  </a:lnTo>
                  <a:lnTo>
                    <a:pt x="433" y="0"/>
                  </a:lnTo>
                  <a:lnTo>
                    <a:pt x="430" y="0"/>
                  </a:lnTo>
                  <a:lnTo>
                    <a:pt x="428" y="0"/>
                  </a:lnTo>
                  <a:lnTo>
                    <a:pt x="428" y="0"/>
                  </a:lnTo>
                  <a:lnTo>
                    <a:pt x="430" y="3"/>
                  </a:lnTo>
                  <a:lnTo>
                    <a:pt x="430" y="3"/>
                  </a:lnTo>
                  <a:lnTo>
                    <a:pt x="428" y="5"/>
                  </a:lnTo>
                  <a:lnTo>
                    <a:pt x="428" y="5"/>
                  </a:lnTo>
                  <a:lnTo>
                    <a:pt x="428" y="5"/>
                  </a:lnTo>
                  <a:lnTo>
                    <a:pt x="423" y="5"/>
                  </a:lnTo>
                  <a:lnTo>
                    <a:pt x="420" y="5"/>
                  </a:lnTo>
                  <a:lnTo>
                    <a:pt x="420" y="5"/>
                  </a:lnTo>
                  <a:lnTo>
                    <a:pt x="420" y="3"/>
                  </a:lnTo>
                  <a:lnTo>
                    <a:pt x="418" y="3"/>
                  </a:lnTo>
                  <a:lnTo>
                    <a:pt x="413" y="3"/>
                  </a:lnTo>
                  <a:lnTo>
                    <a:pt x="410" y="3"/>
                  </a:lnTo>
                  <a:lnTo>
                    <a:pt x="407" y="3"/>
                  </a:lnTo>
                  <a:lnTo>
                    <a:pt x="405" y="0"/>
                  </a:lnTo>
                  <a:lnTo>
                    <a:pt x="402" y="0"/>
                  </a:lnTo>
                  <a:lnTo>
                    <a:pt x="400" y="0"/>
                  </a:lnTo>
                  <a:lnTo>
                    <a:pt x="397" y="0"/>
                  </a:lnTo>
                  <a:lnTo>
                    <a:pt x="395" y="0"/>
                  </a:lnTo>
                  <a:lnTo>
                    <a:pt x="395" y="0"/>
                  </a:lnTo>
                  <a:lnTo>
                    <a:pt x="395" y="0"/>
                  </a:lnTo>
                  <a:lnTo>
                    <a:pt x="395" y="3"/>
                  </a:lnTo>
                  <a:lnTo>
                    <a:pt x="397" y="3"/>
                  </a:lnTo>
                  <a:lnTo>
                    <a:pt x="397" y="3"/>
                  </a:lnTo>
                  <a:lnTo>
                    <a:pt x="395" y="3"/>
                  </a:lnTo>
                  <a:lnTo>
                    <a:pt x="395" y="3"/>
                  </a:lnTo>
                  <a:lnTo>
                    <a:pt x="390" y="3"/>
                  </a:lnTo>
                  <a:lnTo>
                    <a:pt x="390" y="3"/>
                  </a:lnTo>
                  <a:lnTo>
                    <a:pt x="390" y="3"/>
                  </a:lnTo>
                  <a:lnTo>
                    <a:pt x="387" y="3"/>
                  </a:lnTo>
                  <a:lnTo>
                    <a:pt x="390" y="3"/>
                  </a:lnTo>
                  <a:lnTo>
                    <a:pt x="392" y="5"/>
                  </a:lnTo>
                  <a:lnTo>
                    <a:pt x="392" y="5"/>
                  </a:lnTo>
                  <a:lnTo>
                    <a:pt x="392" y="5"/>
                  </a:lnTo>
                  <a:lnTo>
                    <a:pt x="390" y="5"/>
                  </a:lnTo>
                  <a:lnTo>
                    <a:pt x="387" y="5"/>
                  </a:lnTo>
                  <a:lnTo>
                    <a:pt x="384" y="3"/>
                  </a:lnTo>
                  <a:lnTo>
                    <a:pt x="374" y="5"/>
                  </a:lnTo>
                  <a:lnTo>
                    <a:pt x="374" y="5"/>
                  </a:lnTo>
                  <a:lnTo>
                    <a:pt x="377" y="5"/>
                  </a:lnTo>
                  <a:lnTo>
                    <a:pt x="379" y="5"/>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236" name="Freeform 1855">
              <a:extLst>
                <a:ext uri="{FF2B5EF4-FFF2-40B4-BE49-F238E27FC236}">
                  <a16:creationId xmlns:a16="http://schemas.microsoft.com/office/drawing/2014/main" id="{3D13B6E0-1080-A14B-99E4-73BB53F9964B}"/>
                </a:ext>
              </a:extLst>
            </p:cNvPr>
            <p:cNvSpPr>
              <a:spLocks noEditPoints="1"/>
            </p:cNvSpPr>
            <p:nvPr/>
          </p:nvSpPr>
          <p:spPr bwMode="auto">
            <a:xfrm>
              <a:off x="10327700" y="3102670"/>
              <a:ext cx="29443" cy="173388"/>
            </a:xfrm>
            <a:custGeom>
              <a:avLst/>
              <a:gdLst>
                <a:gd name="T0" fmla="*/ 10 w 18"/>
                <a:gd name="T1" fmla="*/ 104 h 106"/>
                <a:gd name="T2" fmla="*/ 10 w 18"/>
                <a:gd name="T3" fmla="*/ 106 h 106"/>
                <a:gd name="T4" fmla="*/ 10 w 18"/>
                <a:gd name="T5" fmla="*/ 106 h 106"/>
                <a:gd name="T6" fmla="*/ 10 w 18"/>
                <a:gd name="T7" fmla="*/ 106 h 106"/>
                <a:gd name="T8" fmla="*/ 10 w 18"/>
                <a:gd name="T9" fmla="*/ 106 h 106"/>
                <a:gd name="T10" fmla="*/ 13 w 18"/>
                <a:gd name="T11" fmla="*/ 106 h 106"/>
                <a:gd name="T12" fmla="*/ 10 w 18"/>
                <a:gd name="T13" fmla="*/ 104 h 106"/>
                <a:gd name="T14" fmla="*/ 10 w 18"/>
                <a:gd name="T15" fmla="*/ 104 h 106"/>
                <a:gd name="T16" fmla="*/ 15 w 18"/>
                <a:gd name="T17" fmla="*/ 86 h 106"/>
                <a:gd name="T18" fmla="*/ 15 w 18"/>
                <a:gd name="T19" fmla="*/ 86 h 106"/>
                <a:gd name="T20" fmla="*/ 15 w 18"/>
                <a:gd name="T21" fmla="*/ 86 h 106"/>
                <a:gd name="T22" fmla="*/ 15 w 18"/>
                <a:gd name="T23" fmla="*/ 89 h 106"/>
                <a:gd name="T24" fmla="*/ 15 w 18"/>
                <a:gd name="T25" fmla="*/ 86 h 106"/>
                <a:gd name="T26" fmla="*/ 15 w 18"/>
                <a:gd name="T27" fmla="*/ 86 h 106"/>
                <a:gd name="T28" fmla="*/ 15 w 18"/>
                <a:gd name="T29" fmla="*/ 86 h 106"/>
                <a:gd name="T30" fmla="*/ 18 w 18"/>
                <a:gd name="T31" fmla="*/ 81 h 106"/>
                <a:gd name="T32" fmla="*/ 18 w 18"/>
                <a:gd name="T33" fmla="*/ 81 h 106"/>
                <a:gd name="T34" fmla="*/ 18 w 18"/>
                <a:gd name="T35" fmla="*/ 81 h 106"/>
                <a:gd name="T36" fmla="*/ 18 w 18"/>
                <a:gd name="T37" fmla="*/ 81 h 106"/>
                <a:gd name="T38" fmla="*/ 15 w 18"/>
                <a:gd name="T39" fmla="*/ 83 h 106"/>
                <a:gd name="T40" fmla="*/ 18 w 18"/>
                <a:gd name="T41" fmla="*/ 83 h 106"/>
                <a:gd name="T42" fmla="*/ 18 w 18"/>
                <a:gd name="T43" fmla="*/ 83 h 106"/>
                <a:gd name="T44" fmla="*/ 18 w 18"/>
                <a:gd name="T45" fmla="*/ 83 h 106"/>
                <a:gd name="T46" fmla="*/ 18 w 18"/>
                <a:gd name="T47" fmla="*/ 83 h 106"/>
                <a:gd name="T48" fmla="*/ 18 w 18"/>
                <a:gd name="T49" fmla="*/ 81 h 106"/>
                <a:gd name="T50" fmla="*/ 10 w 18"/>
                <a:gd name="T51" fmla="*/ 55 h 106"/>
                <a:gd name="T52" fmla="*/ 10 w 18"/>
                <a:gd name="T53" fmla="*/ 55 h 106"/>
                <a:gd name="T54" fmla="*/ 10 w 18"/>
                <a:gd name="T55" fmla="*/ 55 h 106"/>
                <a:gd name="T56" fmla="*/ 13 w 18"/>
                <a:gd name="T57" fmla="*/ 55 h 106"/>
                <a:gd name="T58" fmla="*/ 13 w 18"/>
                <a:gd name="T59" fmla="*/ 55 h 106"/>
                <a:gd name="T60" fmla="*/ 13 w 18"/>
                <a:gd name="T61" fmla="*/ 55 h 106"/>
                <a:gd name="T62" fmla="*/ 13 w 18"/>
                <a:gd name="T63" fmla="*/ 55 h 106"/>
                <a:gd name="T64" fmla="*/ 10 w 18"/>
                <a:gd name="T65" fmla="*/ 55 h 106"/>
                <a:gd name="T66" fmla="*/ 5 w 18"/>
                <a:gd name="T67" fmla="*/ 15 h 106"/>
                <a:gd name="T68" fmla="*/ 5 w 18"/>
                <a:gd name="T69" fmla="*/ 17 h 106"/>
                <a:gd name="T70" fmla="*/ 5 w 18"/>
                <a:gd name="T71" fmla="*/ 17 h 106"/>
                <a:gd name="T72" fmla="*/ 8 w 18"/>
                <a:gd name="T73" fmla="*/ 15 h 106"/>
                <a:gd name="T74" fmla="*/ 5 w 18"/>
                <a:gd name="T75" fmla="*/ 15 h 106"/>
                <a:gd name="T76" fmla="*/ 5 w 18"/>
                <a:gd name="T77" fmla="*/ 15 h 106"/>
                <a:gd name="T78" fmla="*/ 0 w 18"/>
                <a:gd name="T79" fmla="*/ 0 h 106"/>
                <a:gd name="T80" fmla="*/ 0 w 18"/>
                <a:gd name="T81" fmla="*/ 0 h 106"/>
                <a:gd name="T82" fmla="*/ 0 w 18"/>
                <a:gd name="T83" fmla="*/ 2 h 106"/>
                <a:gd name="T84" fmla="*/ 2 w 18"/>
                <a:gd name="T85" fmla="*/ 2 h 106"/>
                <a:gd name="T86" fmla="*/ 2 w 18"/>
                <a:gd name="T87" fmla="*/ 2 h 106"/>
                <a:gd name="T88" fmla="*/ 2 w 18"/>
                <a:gd name="T89" fmla="*/ 0 h 106"/>
                <a:gd name="T90" fmla="*/ 0 w 18"/>
                <a:gd name="T91"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 h="106">
                  <a:moveTo>
                    <a:pt x="10" y="104"/>
                  </a:moveTo>
                  <a:lnTo>
                    <a:pt x="10" y="106"/>
                  </a:lnTo>
                  <a:lnTo>
                    <a:pt x="10" y="106"/>
                  </a:lnTo>
                  <a:lnTo>
                    <a:pt x="10" y="106"/>
                  </a:lnTo>
                  <a:lnTo>
                    <a:pt x="10" y="106"/>
                  </a:lnTo>
                  <a:lnTo>
                    <a:pt x="13" y="106"/>
                  </a:lnTo>
                  <a:lnTo>
                    <a:pt x="10" y="104"/>
                  </a:lnTo>
                  <a:lnTo>
                    <a:pt x="10" y="104"/>
                  </a:lnTo>
                  <a:close/>
                  <a:moveTo>
                    <a:pt x="15" y="86"/>
                  </a:moveTo>
                  <a:lnTo>
                    <a:pt x="15" y="86"/>
                  </a:lnTo>
                  <a:lnTo>
                    <a:pt x="15" y="86"/>
                  </a:lnTo>
                  <a:lnTo>
                    <a:pt x="15" y="89"/>
                  </a:lnTo>
                  <a:lnTo>
                    <a:pt x="15" y="86"/>
                  </a:lnTo>
                  <a:lnTo>
                    <a:pt x="15" y="86"/>
                  </a:lnTo>
                  <a:lnTo>
                    <a:pt x="15" y="86"/>
                  </a:lnTo>
                  <a:close/>
                  <a:moveTo>
                    <a:pt x="18" y="81"/>
                  </a:moveTo>
                  <a:lnTo>
                    <a:pt x="18" y="81"/>
                  </a:lnTo>
                  <a:lnTo>
                    <a:pt x="18" y="81"/>
                  </a:lnTo>
                  <a:lnTo>
                    <a:pt x="18" y="81"/>
                  </a:lnTo>
                  <a:lnTo>
                    <a:pt x="15" y="83"/>
                  </a:lnTo>
                  <a:lnTo>
                    <a:pt x="18" y="83"/>
                  </a:lnTo>
                  <a:lnTo>
                    <a:pt x="18" y="83"/>
                  </a:lnTo>
                  <a:lnTo>
                    <a:pt x="18" y="83"/>
                  </a:lnTo>
                  <a:lnTo>
                    <a:pt x="18" y="83"/>
                  </a:lnTo>
                  <a:lnTo>
                    <a:pt x="18" y="81"/>
                  </a:lnTo>
                  <a:close/>
                  <a:moveTo>
                    <a:pt x="10" y="55"/>
                  </a:moveTo>
                  <a:lnTo>
                    <a:pt x="10" y="55"/>
                  </a:lnTo>
                  <a:lnTo>
                    <a:pt x="10" y="55"/>
                  </a:lnTo>
                  <a:lnTo>
                    <a:pt x="13" y="55"/>
                  </a:lnTo>
                  <a:lnTo>
                    <a:pt x="13" y="55"/>
                  </a:lnTo>
                  <a:lnTo>
                    <a:pt x="13" y="55"/>
                  </a:lnTo>
                  <a:lnTo>
                    <a:pt x="13" y="55"/>
                  </a:lnTo>
                  <a:lnTo>
                    <a:pt x="10" y="55"/>
                  </a:lnTo>
                  <a:close/>
                  <a:moveTo>
                    <a:pt x="5" y="15"/>
                  </a:moveTo>
                  <a:lnTo>
                    <a:pt x="5" y="17"/>
                  </a:lnTo>
                  <a:lnTo>
                    <a:pt x="5" y="17"/>
                  </a:lnTo>
                  <a:lnTo>
                    <a:pt x="8" y="15"/>
                  </a:lnTo>
                  <a:lnTo>
                    <a:pt x="5" y="15"/>
                  </a:lnTo>
                  <a:lnTo>
                    <a:pt x="5" y="15"/>
                  </a:lnTo>
                  <a:close/>
                  <a:moveTo>
                    <a:pt x="0" y="0"/>
                  </a:moveTo>
                  <a:lnTo>
                    <a:pt x="0" y="0"/>
                  </a:lnTo>
                  <a:lnTo>
                    <a:pt x="0" y="2"/>
                  </a:lnTo>
                  <a:lnTo>
                    <a:pt x="2" y="2"/>
                  </a:lnTo>
                  <a:lnTo>
                    <a:pt x="2" y="2"/>
                  </a:lnTo>
                  <a:lnTo>
                    <a:pt x="2" y="0"/>
                  </a:lnTo>
                  <a:lnTo>
                    <a:pt x="0"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237" name="Freeform 1856">
              <a:extLst>
                <a:ext uri="{FF2B5EF4-FFF2-40B4-BE49-F238E27FC236}">
                  <a16:creationId xmlns:a16="http://schemas.microsoft.com/office/drawing/2014/main" id="{2D5EA53F-C0D0-154C-B424-126B0F86D2D6}"/>
                </a:ext>
              </a:extLst>
            </p:cNvPr>
            <p:cNvSpPr>
              <a:spLocks noEditPoints="1"/>
            </p:cNvSpPr>
            <p:nvPr/>
          </p:nvSpPr>
          <p:spPr bwMode="auto">
            <a:xfrm>
              <a:off x="9406780" y="2206286"/>
              <a:ext cx="145581" cy="191382"/>
            </a:xfrm>
            <a:custGeom>
              <a:avLst/>
              <a:gdLst>
                <a:gd name="T0" fmla="*/ 15 w 89"/>
                <a:gd name="T1" fmla="*/ 74 h 117"/>
                <a:gd name="T2" fmla="*/ 89 w 89"/>
                <a:gd name="T3" fmla="*/ 16 h 117"/>
                <a:gd name="T4" fmla="*/ 84 w 89"/>
                <a:gd name="T5" fmla="*/ 11 h 117"/>
                <a:gd name="T6" fmla="*/ 76 w 89"/>
                <a:gd name="T7" fmla="*/ 6 h 117"/>
                <a:gd name="T8" fmla="*/ 71 w 89"/>
                <a:gd name="T9" fmla="*/ 0 h 117"/>
                <a:gd name="T10" fmla="*/ 66 w 89"/>
                <a:gd name="T11" fmla="*/ 0 h 117"/>
                <a:gd name="T12" fmla="*/ 68 w 89"/>
                <a:gd name="T13" fmla="*/ 11 h 117"/>
                <a:gd name="T14" fmla="*/ 68 w 89"/>
                <a:gd name="T15" fmla="*/ 13 h 117"/>
                <a:gd name="T16" fmla="*/ 63 w 89"/>
                <a:gd name="T17" fmla="*/ 13 h 117"/>
                <a:gd name="T18" fmla="*/ 61 w 89"/>
                <a:gd name="T19" fmla="*/ 18 h 117"/>
                <a:gd name="T20" fmla="*/ 56 w 89"/>
                <a:gd name="T21" fmla="*/ 21 h 117"/>
                <a:gd name="T22" fmla="*/ 46 w 89"/>
                <a:gd name="T23" fmla="*/ 23 h 117"/>
                <a:gd name="T24" fmla="*/ 51 w 89"/>
                <a:gd name="T25" fmla="*/ 28 h 117"/>
                <a:gd name="T26" fmla="*/ 53 w 89"/>
                <a:gd name="T27" fmla="*/ 34 h 117"/>
                <a:gd name="T28" fmla="*/ 48 w 89"/>
                <a:gd name="T29" fmla="*/ 34 h 117"/>
                <a:gd name="T30" fmla="*/ 35 w 89"/>
                <a:gd name="T31" fmla="*/ 34 h 117"/>
                <a:gd name="T32" fmla="*/ 30 w 89"/>
                <a:gd name="T33" fmla="*/ 28 h 117"/>
                <a:gd name="T34" fmla="*/ 25 w 89"/>
                <a:gd name="T35" fmla="*/ 28 h 117"/>
                <a:gd name="T36" fmla="*/ 23 w 89"/>
                <a:gd name="T37" fmla="*/ 31 h 117"/>
                <a:gd name="T38" fmla="*/ 23 w 89"/>
                <a:gd name="T39" fmla="*/ 36 h 117"/>
                <a:gd name="T40" fmla="*/ 20 w 89"/>
                <a:gd name="T41" fmla="*/ 44 h 117"/>
                <a:gd name="T42" fmla="*/ 15 w 89"/>
                <a:gd name="T43" fmla="*/ 49 h 117"/>
                <a:gd name="T44" fmla="*/ 12 w 89"/>
                <a:gd name="T45" fmla="*/ 51 h 117"/>
                <a:gd name="T46" fmla="*/ 7 w 89"/>
                <a:gd name="T47" fmla="*/ 56 h 117"/>
                <a:gd name="T48" fmla="*/ 2 w 89"/>
                <a:gd name="T49" fmla="*/ 59 h 117"/>
                <a:gd name="T50" fmla="*/ 0 w 89"/>
                <a:gd name="T51" fmla="*/ 67 h 117"/>
                <a:gd name="T52" fmla="*/ 10 w 89"/>
                <a:gd name="T53" fmla="*/ 74 h 117"/>
                <a:gd name="T54" fmla="*/ 17 w 89"/>
                <a:gd name="T55" fmla="*/ 74 h 117"/>
                <a:gd name="T56" fmla="*/ 25 w 89"/>
                <a:gd name="T57" fmla="*/ 82 h 117"/>
                <a:gd name="T58" fmla="*/ 33 w 89"/>
                <a:gd name="T59" fmla="*/ 95 h 117"/>
                <a:gd name="T60" fmla="*/ 28 w 89"/>
                <a:gd name="T61" fmla="*/ 97 h 117"/>
                <a:gd name="T62" fmla="*/ 25 w 89"/>
                <a:gd name="T63" fmla="*/ 107 h 117"/>
                <a:gd name="T64" fmla="*/ 35 w 89"/>
                <a:gd name="T65" fmla="*/ 110 h 117"/>
                <a:gd name="T66" fmla="*/ 35 w 89"/>
                <a:gd name="T67" fmla="*/ 112 h 117"/>
                <a:gd name="T68" fmla="*/ 43 w 89"/>
                <a:gd name="T69" fmla="*/ 117 h 117"/>
                <a:gd name="T70" fmla="*/ 51 w 89"/>
                <a:gd name="T71" fmla="*/ 112 h 117"/>
                <a:gd name="T72" fmla="*/ 58 w 89"/>
                <a:gd name="T73" fmla="*/ 112 h 117"/>
                <a:gd name="T74" fmla="*/ 66 w 89"/>
                <a:gd name="T75" fmla="*/ 115 h 117"/>
                <a:gd name="T76" fmla="*/ 66 w 89"/>
                <a:gd name="T77" fmla="*/ 105 h 117"/>
                <a:gd name="T78" fmla="*/ 76 w 89"/>
                <a:gd name="T79" fmla="*/ 102 h 117"/>
                <a:gd name="T80" fmla="*/ 86 w 89"/>
                <a:gd name="T81" fmla="*/ 102 h 117"/>
                <a:gd name="T82" fmla="*/ 89 w 89"/>
                <a:gd name="T83" fmla="*/ 97 h 117"/>
                <a:gd name="T84" fmla="*/ 79 w 89"/>
                <a:gd name="T85" fmla="*/ 89 h 117"/>
                <a:gd name="T86" fmla="*/ 63 w 89"/>
                <a:gd name="T87" fmla="*/ 82 h 117"/>
                <a:gd name="T88" fmla="*/ 63 w 89"/>
                <a:gd name="T89" fmla="*/ 77 h 117"/>
                <a:gd name="T90" fmla="*/ 66 w 89"/>
                <a:gd name="T91" fmla="*/ 64 h 117"/>
                <a:gd name="T92" fmla="*/ 76 w 89"/>
                <a:gd name="T93" fmla="*/ 62 h 117"/>
                <a:gd name="T94" fmla="*/ 81 w 89"/>
                <a:gd name="T95" fmla="*/ 51 h 117"/>
                <a:gd name="T96" fmla="*/ 84 w 89"/>
                <a:gd name="T97" fmla="*/ 39 h 117"/>
                <a:gd name="T98" fmla="*/ 81 w 89"/>
                <a:gd name="T99" fmla="*/ 26 h 117"/>
                <a:gd name="T100" fmla="*/ 84 w 89"/>
                <a:gd name="T101" fmla="*/ 18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9" h="117">
                  <a:moveTo>
                    <a:pt x="12" y="74"/>
                  </a:moveTo>
                  <a:lnTo>
                    <a:pt x="12" y="74"/>
                  </a:lnTo>
                  <a:lnTo>
                    <a:pt x="15" y="77"/>
                  </a:lnTo>
                  <a:lnTo>
                    <a:pt x="15" y="74"/>
                  </a:lnTo>
                  <a:lnTo>
                    <a:pt x="15" y="74"/>
                  </a:lnTo>
                  <a:lnTo>
                    <a:pt x="12" y="74"/>
                  </a:lnTo>
                  <a:close/>
                  <a:moveTo>
                    <a:pt x="86" y="16"/>
                  </a:moveTo>
                  <a:lnTo>
                    <a:pt x="86" y="16"/>
                  </a:lnTo>
                  <a:lnTo>
                    <a:pt x="89" y="16"/>
                  </a:lnTo>
                  <a:lnTo>
                    <a:pt x="89" y="16"/>
                  </a:lnTo>
                  <a:lnTo>
                    <a:pt x="89" y="16"/>
                  </a:lnTo>
                  <a:lnTo>
                    <a:pt x="89" y="13"/>
                  </a:lnTo>
                  <a:lnTo>
                    <a:pt x="86" y="13"/>
                  </a:lnTo>
                  <a:lnTo>
                    <a:pt x="84" y="11"/>
                  </a:lnTo>
                  <a:lnTo>
                    <a:pt x="84" y="11"/>
                  </a:lnTo>
                  <a:lnTo>
                    <a:pt x="84" y="11"/>
                  </a:lnTo>
                  <a:lnTo>
                    <a:pt x="81" y="8"/>
                  </a:lnTo>
                  <a:lnTo>
                    <a:pt x="79" y="8"/>
                  </a:lnTo>
                  <a:lnTo>
                    <a:pt x="79" y="8"/>
                  </a:lnTo>
                  <a:lnTo>
                    <a:pt x="76" y="6"/>
                  </a:lnTo>
                  <a:lnTo>
                    <a:pt x="74" y="3"/>
                  </a:lnTo>
                  <a:lnTo>
                    <a:pt x="74" y="3"/>
                  </a:lnTo>
                  <a:lnTo>
                    <a:pt x="71" y="3"/>
                  </a:lnTo>
                  <a:lnTo>
                    <a:pt x="71" y="0"/>
                  </a:lnTo>
                  <a:lnTo>
                    <a:pt x="71" y="0"/>
                  </a:lnTo>
                  <a:lnTo>
                    <a:pt x="68" y="0"/>
                  </a:lnTo>
                  <a:lnTo>
                    <a:pt x="68" y="0"/>
                  </a:lnTo>
                  <a:lnTo>
                    <a:pt x="68" y="0"/>
                  </a:lnTo>
                  <a:lnTo>
                    <a:pt x="66" y="0"/>
                  </a:lnTo>
                  <a:lnTo>
                    <a:pt x="66" y="0"/>
                  </a:lnTo>
                  <a:lnTo>
                    <a:pt x="66" y="3"/>
                  </a:lnTo>
                  <a:lnTo>
                    <a:pt x="66" y="6"/>
                  </a:lnTo>
                  <a:lnTo>
                    <a:pt x="68" y="6"/>
                  </a:lnTo>
                  <a:lnTo>
                    <a:pt x="68" y="8"/>
                  </a:lnTo>
                  <a:lnTo>
                    <a:pt x="68" y="11"/>
                  </a:lnTo>
                  <a:lnTo>
                    <a:pt x="68" y="13"/>
                  </a:lnTo>
                  <a:lnTo>
                    <a:pt x="68" y="13"/>
                  </a:lnTo>
                  <a:lnTo>
                    <a:pt x="68" y="13"/>
                  </a:lnTo>
                  <a:lnTo>
                    <a:pt x="68" y="13"/>
                  </a:lnTo>
                  <a:lnTo>
                    <a:pt x="68" y="13"/>
                  </a:lnTo>
                  <a:lnTo>
                    <a:pt x="66" y="13"/>
                  </a:lnTo>
                  <a:lnTo>
                    <a:pt x="66" y="13"/>
                  </a:lnTo>
                  <a:lnTo>
                    <a:pt x="63" y="13"/>
                  </a:lnTo>
                  <a:lnTo>
                    <a:pt x="63" y="13"/>
                  </a:lnTo>
                  <a:lnTo>
                    <a:pt x="63" y="13"/>
                  </a:lnTo>
                  <a:lnTo>
                    <a:pt x="63" y="16"/>
                  </a:lnTo>
                  <a:lnTo>
                    <a:pt x="63" y="16"/>
                  </a:lnTo>
                  <a:lnTo>
                    <a:pt x="63" y="18"/>
                  </a:lnTo>
                  <a:lnTo>
                    <a:pt x="63" y="18"/>
                  </a:lnTo>
                  <a:lnTo>
                    <a:pt x="61" y="18"/>
                  </a:lnTo>
                  <a:lnTo>
                    <a:pt x="61" y="21"/>
                  </a:lnTo>
                  <a:lnTo>
                    <a:pt x="61" y="21"/>
                  </a:lnTo>
                  <a:lnTo>
                    <a:pt x="58" y="21"/>
                  </a:lnTo>
                  <a:lnTo>
                    <a:pt x="58" y="21"/>
                  </a:lnTo>
                  <a:lnTo>
                    <a:pt x="56" y="21"/>
                  </a:lnTo>
                  <a:lnTo>
                    <a:pt x="51" y="21"/>
                  </a:lnTo>
                  <a:lnTo>
                    <a:pt x="48" y="21"/>
                  </a:lnTo>
                  <a:lnTo>
                    <a:pt x="46" y="21"/>
                  </a:lnTo>
                  <a:lnTo>
                    <a:pt x="46" y="23"/>
                  </a:lnTo>
                  <a:lnTo>
                    <a:pt x="46" y="23"/>
                  </a:lnTo>
                  <a:lnTo>
                    <a:pt x="46" y="23"/>
                  </a:lnTo>
                  <a:lnTo>
                    <a:pt x="46" y="26"/>
                  </a:lnTo>
                  <a:lnTo>
                    <a:pt x="48" y="26"/>
                  </a:lnTo>
                  <a:lnTo>
                    <a:pt x="48" y="28"/>
                  </a:lnTo>
                  <a:lnTo>
                    <a:pt x="51" y="28"/>
                  </a:lnTo>
                  <a:lnTo>
                    <a:pt x="53" y="31"/>
                  </a:lnTo>
                  <a:lnTo>
                    <a:pt x="53" y="31"/>
                  </a:lnTo>
                  <a:lnTo>
                    <a:pt x="53" y="31"/>
                  </a:lnTo>
                  <a:lnTo>
                    <a:pt x="53" y="34"/>
                  </a:lnTo>
                  <a:lnTo>
                    <a:pt x="53" y="34"/>
                  </a:lnTo>
                  <a:lnTo>
                    <a:pt x="53" y="36"/>
                  </a:lnTo>
                  <a:lnTo>
                    <a:pt x="53" y="36"/>
                  </a:lnTo>
                  <a:lnTo>
                    <a:pt x="51" y="36"/>
                  </a:lnTo>
                  <a:lnTo>
                    <a:pt x="51" y="34"/>
                  </a:lnTo>
                  <a:lnTo>
                    <a:pt x="48" y="34"/>
                  </a:lnTo>
                  <a:lnTo>
                    <a:pt x="46" y="34"/>
                  </a:lnTo>
                  <a:lnTo>
                    <a:pt x="43" y="34"/>
                  </a:lnTo>
                  <a:lnTo>
                    <a:pt x="40" y="34"/>
                  </a:lnTo>
                  <a:lnTo>
                    <a:pt x="40" y="34"/>
                  </a:lnTo>
                  <a:lnTo>
                    <a:pt x="35" y="34"/>
                  </a:lnTo>
                  <a:lnTo>
                    <a:pt x="35" y="34"/>
                  </a:lnTo>
                  <a:lnTo>
                    <a:pt x="33" y="31"/>
                  </a:lnTo>
                  <a:lnTo>
                    <a:pt x="33" y="31"/>
                  </a:lnTo>
                  <a:lnTo>
                    <a:pt x="30" y="31"/>
                  </a:lnTo>
                  <a:lnTo>
                    <a:pt x="30" y="28"/>
                  </a:lnTo>
                  <a:lnTo>
                    <a:pt x="28" y="28"/>
                  </a:lnTo>
                  <a:lnTo>
                    <a:pt x="28" y="28"/>
                  </a:lnTo>
                  <a:lnTo>
                    <a:pt x="25" y="26"/>
                  </a:lnTo>
                  <a:lnTo>
                    <a:pt x="25" y="28"/>
                  </a:lnTo>
                  <a:lnTo>
                    <a:pt x="25" y="28"/>
                  </a:lnTo>
                  <a:lnTo>
                    <a:pt x="25" y="28"/>
                  </a:lnTo>
                  <a:lnTo>
                    <a:pt x="23" y="28"/>
                  </a:lnTo>
                  <a:lnTo>
                    <a:pt x="23" y="28"/>
                  </a:lnTo>
                  <a:lnTo>
                    <a:pt x="23" y="31"/>
                  </a:lnTo>
                  <a:lnTo>
                    <a:pt x="23" y="31"/>
                  </a:lnTo>
                  <a:lnTo>
                    <a:pt x="23" y="34"/>
                  </a:lnTo>
                  <a:lnTo>
                    <a:pt x="23" y="36"/>
                  </a:lnTo>
                  <a:lnTo>
                    <a:pt x="23" y="36"/>
                  </a:lnTo>
                  <a:lnTo>
                    <a:pt x="23" y="36"/>
                  </a:lnTo>
                  <a:lnTo>
                    <a:pt x="23" y="36"/>
                  </a:lnTo>
                  <a:lnTo>
                    <a:pt x="23" y="39"/>
                  </a:lnTo>
                  <a:lnTo>
                    <a:pt x="23" y="41"/>
                  </a:lnTo>
                  <a:lnTo>
                    <a:pt x="20" y="44"/>
                  </a:lnTo>
                  <a:lnTo>
                    <a:pt x="20" y="44"/>
                  </a:lnTo>
                  <a:lnTo>
                    <a:pt x="20" y="44"/>
                  </a:lnTo>
                  <a:lnTo>
                    <a:pt x="20" y="46"/>
                  </a:lnTo>
                  <a:lnTo>
                    <a:pt x="17" y="46"/>
                  </a:lnTo>
                  <a:lnTo>
                    <a:pt x="15" y="46"/>
                  </a:lnTo>
                  <a:lnTo>
                    <a:pt x="15" y="46"/>
                  </a:lnTo>
                  <a:lnTo>
                    <a:pt x="15" y="49"/>
                  </a:lnTo>
                  <a:lnTo>
                    <a:pt x="15" y="49"/>
                  </a:lnTo>
                  <a:lnTo>
                    <a:pt x="15" y="49"/>
                  </a:lnTo>
                  <a:lnTo>
                    <a:pt x="15" y="49"/>
                  </a:lnTo>
                  <a:lnTo>
                    <a:pt x="12" y="49"/>
                  </a:lnTo>
                  <a:lnTo>
                    <a:pt x="12" y="51"/>
                  </a:lnTo>
                  <a:lnTo>
                    <a:pt x="10" y="51"/>
                  </a:lnTo>
                  <a:lnTo>
                    <a:pt x="7" y="54"/>
                  </a:lnTo>
                  <a:lnTo>
                    <a:pt x="7" y="54"/>
                  </a:lnTo>
                  <a:lnTo>
                    <a:pt x="7" y="54"/>
                  </a:lnTo>
                  <a:lnTo>
                    <a:pt x="7" y="56"/>
                  </a:lnTo>
                  <a:lnTo>
                    <a:pt x="7" y="56"/>
                  </a:lnTo>
                  <a:lnTo>
                    <a:pt x="5" y="56"/>
                  </a:lnTo>
                  <a:lnTo>
                    <a:pt x="5" y="56"/>
                  </a:lnTo>
                  <a:lnTo>
                    <a:pt x="2" y="59"/>
                  </a:lnTo>
                  <a:lnTo>
                    <a:pt x="2" y="59"/>
                  </a:lnTo>
                  <a:lnTo>
                    <a:pt x="0" y="62"/>
                  </a:lnTo>
                  <a:lnTo>
                    <a:pt x="0" y="64"/>
                  </a:lnTo>
                  <a:lnTo>
                    <a:pt x="0" y="67"/>
                  </a:lnTo>
                  <a:lnTo>
                    <a:pt x="0" y="64"/>
                  </a:lnTo>
                  <a:lnTo>
                    <a:pt x="0" y="67"/>
                  </a:lnTo>
                  <a:lnTo>
                    <a:pt x="2" y="69"/>
                  </a:lnTo>
                  <a:lnTo>
                    <a:pt x="5" y="69"/>
                  </a:lnTo>
                  <a:lnTo>
                    <a:pt x="7" y="72"/>
                  </a:lnTo>
                  <a:lnTo>
                    <a:pt x="10" y="74"/>
                  </a:lnTo>
                  <a:lnTo>
                    <a:pt x="10" y="74"/>
                  </a:lnTo>
                  <a:lnTo>
                    <a:pt x="10" y="72"/>
                  </a:lnTo>
                  <a:lnTo>
                    <a:pt x="10" y="72"/>
                  </a:lnTo>
                  <a:lnTo>
                    <a:pt x="10" y="69"/>
                  </a:lnTo>
                  <a:lnTo>
                    <a:pt x="12" y="72"/>
                  </a:lnTo>
                  <a:lnTo>
                    <a:pt x="17" y="74"/>
                  </a:lnTo>
                  <a:lnTo>
                    <a:pt x="20" y="74"/>
                  </a:lnTo>
                  <a:lnTo>
                    <a:pt x="23" y="77"/>
                  </a:lnTo>
                  <a:lnTo>
                    <a:pt x="25" y="77"/>
                  </a:lnTo>
                  <a:lnTo>
                    <a:pt x="25" y="79"/>
                  </a:lnTo>
                  <a:lnTo>
                    <a:pt x="25" y="82"/>
                  </a:lnTo>
                  <a:lnTo>
                    <a:pt x="25" y="89"/>
                  </a:lnTo>
                  <a:lnTo>
                    <a:pt x="28" y="92"/>
                  </a:lnTo>
                  <a:lnTo>
                    <a:pt x="30" y="95"/>
                  </a:lnTo>
                  <a:lnTo>
                    <a:pt x="33" y="95"/>
                  </a:lnTo>
                  <a:lnTo>
                    <a:pt x="33" y="95"/>
                  </a:lnTo>
                  <a:lnTo>
                    <a:pt x="35" y="95"/>
                  </a:lnTo>
                  <a:lnTo>
                    <a:pt x="35" y="95"/>
                  </a:lnTo>
                  <a:lnTo>
                    <a:pt x="33" y="95"/>
                  </a:lnTo>
                  <a:lnTo>
                    <a:pt x="30" y="95"/>
                  </a:lnTo>
                  <a:lnTo>
                    <a:pt x="28" y="97"/>
                  </a:lnTo>
                  <a:lnTo>
                    <a:pt x="28" y="100"/>
                  </a:lnTo>
                  <a:lnTo>
                    <a:pt x="25" y="102"/>
                  </a:lnTo>
                  <a:lnTo>
                    <a:pt x="28" y="105"/>
                  </a:lnTo>
                  <a:lnTo>
                    <a:pt x="28" y="105"/>
                  </a:lnTo>
                  <a:lnTo>
                    <a:pt x="25" y="107"/>
                  </a:lnTo>
                  <a:lnTo>
                    <a:pt x="28" y="107"/>
                  </a:lnTo>
                  <a:lnTo>
                    <a:pt x="28" y="107"/>
                  </a:lnTo>
                  <a:lnTo>
                    <a:pt x="30" y="110"/>
                  </a:lnTo>
                  <a:lnTo>
                    <a:pt x="33" y="107"/>
                  </a:lnTo>
                  <a:lnTo>
                    <a:pt x="35" y="110"/>
                  </a:lnTo>
                  <a:lnTo>
                    <a:pt x="35" y="110"/>
                  </a:lnTo>
                  <a:lnTo>
                    <a:pt x="35" y="110"/>
                  </a:lnTo>
                  <a:lnTo>
                    <a:pt x="33" y="112"/>
                  </a:lnTo>
                  <a:lnTo>
                    <a:pt x="33" y="112"/>
                  </a:lnTo>
                  <a:lnTo>
                    <a:pt x="35" y="112"/>
                  </a:lnTo>
                  <a:lnTo>
                    <a:pt x="38" y="115"/>
                  </a:lnTo>
                  <a:lnTo>
                    <a:pt x="40" y="117"/>
                  </a:lnTo>
                  <a:lnTo>
                    <a:pt x="40" y="117"/>
                  </a:lnTo>
                  <a:lnTo>
                    <a:pt x="43" y="117"/>
                  </a:lnTo>
                  <a:lnTo>
                    <a:pt x="43" y="117"/>
                  </a:lnTo>
                  <a:lnTo>
                    <a:pt x="46" y="115"/>
                  </a:lnTo>
                  <a:lnTo>
                    <a:pt x="46" y="112"/>
                  </a:lnTo>
                  <a:lnTo>
                    <a:pt x="46" y="112"/>
                  </a:lnTo>
                  <a:lnTo>
                    <a:pt x="46" y="110"/>
                  </a:lnTo>
                  <a:lnTo>
                    <a:pt x="51" y="112"/>
                  </a:lnTo>
                  <a:lnTo>
                    <a:pt x="53" y="112"/>
                  </a:lnTo>
                  <a:lnTo>
                    <a:pt x="56" y="117"/>
                  </a:lnTo>
                  <a:lnTo>
                    <a:pt x="56" y="115"/>
                  </a:lnTo>
                  <a:lnTo>
                    <a:pt x="56" y="115"/>
                  </a:lnTo>
                  <a:lnTo>
                    <a:pt x="58" y="112"/>
                  </a:lnTo>
                  <a:lnTo>
                    <a:pt x="63" y="115"/>
                  </a:lnTo>
                  <a:lnTo>
                    <a:pt x="63" y="115"/>
                  </a:lnTo>
                  <a:lnTo>
                    <a:pt x="63" y="115"/>
                  </a:lnTo>
                  <a:lnTo>
                    <a:pt x="66" y="115"/>
                  </a:lnTo>
                  <a:lnTo>
                    <a:pt x="66" y="115"/>
                  </a:lnTo>
                  <a:lnTo>
                    <a:pt x="63" y="112"/>
                  </a:lnTo>
                  <a:lnTo>
                    <a:pt x="66" y="110"/>
                  </a:lnTo>
                  <a:lnTo>
                    <a:pt x="66" y="107"/>
                  </a:lnTo>
                  <a:lnTo>
                    <a:pt x="66" y="107"/>
                  </a:lnTo>
                  <a:lnTo>
                    <a:pt x="66" y="105"/>
                  </a:lnTo>
                  <a:lnTo>
                    <a:pt x="68" y="105"/>
                  </a:lnTo>
                  <a:lnTo>
                    <a:pt x="68" y="105"/>
                  </a:lnTo>
                  <a:lnTo>
                    <a:pt x="71" y="102"/>
                  </a:lnTo>
                  <a:lnTo>
                    <a:pt x="76" y="105"/>
                  </a:lnTo>
                  <a:lnTo>
                    <a:pt x="76" y="102"/>
                  </a:lnTo>
                  <a:lnTo>
                    <a:pt x="79" y="102"/>
                  </a:lnTo>
                  <a:lnTo>
                    <a:pt x="81" y="102"/>
                  </a:lnTo>
                  <a:lnTo>
                    <a:pt x="84" y="105"/>
                  </a:lnTo>
                  <a:lnTo>
                    <a:pt x="86" y="102"/>
                  </a:lnTo>
                  <a:lnTo>
                    <a:pt x="86" y="102"/>
                  </a:lnTo>
                  <a:lnTo>
                    <a:pt x="86" y="102"/>
                  </a:lnTo>
                  <a:lnTo>
                    <a:pt x="89" y="102"/>
                  </a:lnTo>
                  <a:lnTo>
                    <a:pt x="89" y="100"/>
                  </a:lnTo>
                  <a:lnTo>
                    <a:pt x="89" y="97"/>
                  </a:lnTo>
                  <a:lnTo>
                    <a:pt x="89" y="97"/>
                  </a:lnTo>
                  <a:lnTo>
                    <a:pt x="86" y="95"/>
                  </a:lnTo>
                  <a:lnTo>
                    <a:pt x="84" y="95"/>
                  </a:lnTo>
                  <a:lnTo>
                    <a:pt x="84" y="92"/>
                  </a:lnTo>
                  <a:lnTo>
                    <a:pt x="81" y="92"/>
                  </a:lnTo>
                  <a:lnTo>
                    <a:pt x="79" y="89"/>
                  </a:lnTo>
                  <a:lnTo>
                    <a:pt x="74" y="84"/>
                  </a:lnTo>
                  <a:lnTo>
                    <a:pt x="71" y="84"/>
                  </a:lnTo>
                  <a:lnTo>
                    <a:pt x="68" y="84"/>
                  </a:lnTo>
                  <a:lnTo>
                    <a:pt x="66" y="84"/>
                  </a:lnTo>
                  <a:lnTo>
                    <a:pt x="63" y="82"/>
                  </a:lnTo>
                  <a:lnTo>
                    <a:pt x="63" y="82"/>
                  </a:lnTo>
                  <a:lnTo>
                    <a:pt x="63" y="79"/>
                  </a:lnTo>
                  <a:lnTo>
                    <a:pt x="63" y="79"/>
                  </a:lnTo>
                  <a:lnTo>
                    <a:pt x="66" y="79"/>
                  </a:lnTo>
                  <a:lnTo>
                    <a:pt x="63" y="77"/>
                  </a:lnTo>
                  <a:lnTo>
                    <a:pt x="63" y="74"/>
                  </a:lnTo>
                  <a:lnTo>
                    <a:pt x="61" y="72"/>
                  </a:lnTo>
                  <a:lnTo>
                    <a:pt x="61" y="69"/>
                  </a:lnTo>
                  <a:lnTo>
                    <a:pt x="66" y="67"/>
                  </a:lnTo>
                  <a:lnTo>
                    <a:pt x="66" y="64"/>
                  </a:lnTo>
                  <a:lnTo>
                    <a:pt x="68" y="67"/>
                  </a:lnTo>
                  <a:lnTo>
                    <a:pt x="71" y="67"/>
                  </a:lnTo>
                  <a:lnTo>
                    <a:pt x="74" y="64"/>
                  </a:lnTo>
                  <a:lnTo>
                    <a:pt x="76" y="64"/>
                  </a:lnTo>
                  <a:lnTo>
                    <a:pt x="76" y="62"/>
                  </a:lnTo>
                  <a:lnTo>
                    <a:pt x="76" y="59"/>
                  </a:lnTo>
                  <a:lnTo>
                    <a:pt x="79" y="59"/>
                  </a:lnTo>
                  <a:lnTo>
                    <a:pt x="79" y="56"/>
                  </a:lnTo>
                  <a:lnTo>
                    <a:pt x="81" y="56"/>
                  </a:lnTo>
                  <a:lnTo>
                    <a:pt x="81" y="51"/>
                  </a:lnTo>
                  <a:lnTo>
                    <a:pt x="84" y="51"/>
                  </a:lnTo>
                  <a:lnTo>
                    <a:pt x="89" y="46"/>
                  </a:lnTo>
                  <a:lnTo>
                    <a:pt x="89" y="46"/>
                  </a:lnTo>
                  <a:lnTo>
                    <a:pt x="86" y="41"/>
                  </a:lnTo>
                  <a:lnTo>
                    <a:pt x="84" y="39"/>
                  </a:lnTo>
                  <a:lnTo>
                    <a:pt x="84" y="36"/>
                  </a:lnTo>
                  <a:lnTo>
                    <a:pt x="81" y="34"/>
                  </a:lnTo>
                  <a:lnTo>
                    <a:pt x="79" y="31"/>
                  </a:lnTo>
                  <a:lnTo>
                    <a:pt x="79" y="28"/>
                  </a:lnTo>
                  <a:lnTo>
                    <a:pt x="81" y="26"/>
                  </a:lnTo>
                  <a:lnTo>
                    <a:pt x="81" y="23"/>
                  </a:lnTo>
                  <a:lnTo>
                    <a:pt x="81" y="23"/>
                  </a:lnTo>
                  <a:lnTo>
                    <a:pt x="81" y="21"/>
                  </a:lnTo>
                  <a:lnTo>
                    <a:pt x="84" y="21"/>
                  </a:lnTo>
                  <a:lnTo>
                    <a:pt x="84" y="18"/>
                  </a:lnTo>
                  <a:lnTo>
                    <a:pt x="84" y="18"/>
                  </a:lnTo>
                  <a:lnTo>
                    <a:pt x="86" y="16"/>
                  </a:lnTo>
                  <a:close/>
                </a:path>
              </a:pathLst>
            </a:custGeom>
            <a:solidFill>
              <a:srgbClr val="FFC000"/>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238" name="Freeform 1857">
              <a:extLst>
                <a:ext uri="{FF2B5EF4-FFF2-40B4-BE49-F238E27FC236}">
                  <a16:creationId xmlns:a16="http://schemas.microsoft.com/office/drawing/2014/main" id="{59B2FA2F-1547-9F44-BA8C-62DD8ECDFA8A}"/>
                </a:ext>
              </a:extLst>
            </p:cNvPr>
            <p:cNvSpPr>
              <a:spLocks/>
            </p:cNvSpPr>
            <p:nvPr/>
          </p:nvSpPr>
          <p:spPr bwMode="auto">
            <a:xfrm>
              <a:off x="10941101" y="4879080"/>
              <a:ext cx="0" cy="4908"/>
            </a:xfrm>
            <a:custGeom>
              <a:avLst/>
              <a:gdLst>
                <a:gd name="T0" fmla="*/ 0 h 3"/>
                <a:gd name="T1" fmla="*/ 0 h 3"/>
                <a:gd name="T2" fmla="*/ 0 h 3"/>
                <a:gd name="T3" fmla="*/ 0 h 3"/>
                <a:gd name="T4" fmla="*/ 0 h 3"/>
                <a:gd name="T5" fmla="*/ 0 h 3"/>
                <a:gd name="T6" fmla="*/ 0 h 3"/>
                <a:gd name="T7" fmla="*/ 0 h 3"/>
                <a:gd name="T8" fmla="*/ 0 h 3"/>
                <a:gd name="T9" fmla="*/ 0 h 3"/>
                <a:gd name="T10" fmla="*/ 3 h 3"/>
                <a:gd name="T11" fmla="*/ 3 h 3"/>
                <a:gd name="T12" fmla="*/ 3 h 3"/>
                <a:gd name="T13" fmla="*/ 3 h 3"/>
                <a:gd name="T14" fmla="*/ 3 h 3"/>
                <a:gd name="T15" fmla="*/ 3 h 3"/>
                <a:gd name="T16" fmla="*/ 3 h 3"/>
                <a:gd name="T17" fmla="*/ 3 h 3"/>
                <a:gd name="T18" fmla="*/ 3 h 3"/>
                <a:gd name="T19" fmla="*/ 3 h 3"/>
                <a:gd name="T20" fmla="*/ 3 h 3"/>
                <a:gd name="T21" fmla="*/ 3 h 3"/>
                <a:gd name="T22" fmla="*/ 3 h 3"/>
                <a:gd name="T23" fmla="*/ 0 h 3"/>
                <a:gd name="T24" fmla="*/ 0 h 3"/>
                <a:gd name="T25" fmla="*/ 0 h 3"/>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 ang="0">
                  <a:pos x="0" y="T22"/>
                </a:cxn>
                <a:cxn ang="0">
                  <a:pos x="0" y="T23"/>
                </a:cxn>
                <a:cxn ang="0">
                  <a:pos x="0" y="T24"/>
                </a:cxn>
                <a:cxn ang="0">
                  <a:pos x="0" y="T25"/>
                </a:cxn>
              </a:cxnLst>
              <a:rect l="0" t="0" r="r" b="b"/>
              <a:pathLst>
                <a:path h="3">
                  <a:moveTo>
                    <a:pt x="0" y="0"/>
                  </a:moveTo>
                  <a:lnTo>
                    <a:pt x="0" y="0"/>
                  </a:lnTo>
                  <a:lnTo>
                    <a:pt x="0" y="0"/>
                  </a:lnTo>
                  <a:lnTo>
                    <a:pt x="0" y="0"/>
                  </a:lnTo>
                  <a:lnTo>
                    <a:pt x="0" y="0"/>
                  </a:lnTo>
                  <a:lnTo>
                    <a:pt x="0" y="0"/>
                  </a:lnTo>
                  <a:lnTo>
                    <a:pt x="0" y="0"/>
                  </a:lnTo>
                  <a:lnTo>
                    <a:pt x="0" y="0"/>
                  </a:lnTo>
                  <a:lnTo>
                    <a:pt x="0" y="0"/>
                  </a:lnTo>
                  <a:lnTo>
                    <a:pt x="0" y="0"/>
                  </a:lnTo>
                  <a:lnTo>
                    <a:pt x="0" y="3"/>
                  </a:lnTo>
                  <a:lnTo>
                    <a:pt x="0" y="3"/>
                  </a:lnTo>
                  <a:lnTo>
                    <a:pt x="0" y="3"/>
                  </a:lnTo>
                  <a:lnTo>
                    <a:pt x="0" y="3"/>
                  </a:lnTo>
                  <a:lnTo>
                    <a:pt x="0" y="3"/>
                  </a:lnTo>
                  <a:lnTo>
                    <a:pt x="0" y="3"/>
                  </a:lnTo>
                  <a:lnTo>
                    <a:pt x="0" y="3"/>
                  </a:lnTo>
                  <a:lnTo>
                    <a:pt x="0" y="3"/>
                  </a:lnTo>
                  <a:lnTo>
                    <a:pt x="0" y="3"/>
                  </a:lnTo>
                  <a:lnTo>
                    <a:pt x="0" y="3"/>
                  </a:lnTo>
                  <a:lnTo>
                    <a:pt x="0" y="3"/>
                  </a:lnTo>
                  <a:lnTo>
                    <a:pt x="0" y="3"/>
                  </a:lnTo>
                  <a:lnTo>
                    <a:pt x="0" y="3"/>
                  </a:lnTo>
                  <a:lnTo>
                    <a:pt x="0" y="0"/>
                  </a:lnTo>
                  <a:lnTo>
                    <a:pt x="0" y="0"/>
                  </a:lnTo>
                  <a:lnTo>
                    <a:pt x="0"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239" name="Freeform 1858">
              <a:extLst>
                <a:ext uri="{FF2B5EF4-FFF2-40B4-BE49-F238E27FC236}">
                  <a16:creationId xmlns:a16="http://schemas.microsoft.com/office/drawing/2014/main" id="{4115B1F6-BA44-5F4F-A73E-48EC573A1E34}"/>
                </a:ext>
              </a:extLst>
            </p:cNvPr>
            <p:cNvSpPr>
              <a:spLocks noEditPoints="1"/>
            </p:cNvSpPr>
            <p:nvPr/>
          </p:nvSpPr>
          <p:spPr bwMode="auto">
            <a:xfrm>
              <a:off x="5695294" y="3284237"/>
              <a:ext cx="392577" cy="358227"/>
            </a:xfrm>
            <a:custGeom>
              <a:avLst/>
              <a:gdLst>
                <a:gd name="T0" fmla="*/ 92 w 240"/>
                <a:gd name="T1" fmla="*/ 214 h 219"/>
                <a:gd name="T2" fmla="*/ 235 w 240"/>
                <a:gd name="T3" fmla="*/ 36 h 219"/>
                <a:gd name="T4" fmla="*/ 230 w 240"/>
                <a:gd name="T5" fmla="*/ 28 h 219"/>
                <a:gd name="T6" fmla="*/ 215 w 240"/>
                <a:gd name="T7" fmla="*/ 6 h 219"/>
                <a:gd name="T8" fmla="*/ 199 w 240"/>
                <a:gd name="T9" fmla="*/ 16 h 219"/>
                <a:gd name="T10" fmla="*/ 179 w 240"/>
                <a:gd name="T11" fmla="*/ 13 h 219"/>
                <a:gd name="T12" fmla="*/ 148 w 240"/>
                <a:gd name="T13" fmla="*/ 16 h 219"/>
                <a:gd name="T14" fmla="*/ 118 w 240"/>
                <a:gd name="T15" fmla="*/ 18 h 219"/>
                <a:gd name="T16" fmla="*/ 95 w 240"/>
                <a:gd name="T17" fmla="*/ 18 h 219"/>
                <a:gd name="T18" fmla="*/ 85 w 240"/>
                <a:gd name="T19" fmla="*/ 21 h 219"/>
                <a:gd name="T20" fmla="*/ 74 w 240"/>
                <a:gd name="T21" fmla="*/ 6 h 219"/>
                <a:gd name="T22" fmla="*/ 57 w 240"/>
                <a:gd name="T23" fmla="*/ 0 h 219"/>
                <a:gd name="T24" fmla="*/ 39 w 240"/>
                <a:gd name="T25" fmla="*/ 6 h 219"/>
                <a:gd name="T26" fmla="*/ 28 w 240"/>
                <a:gd name="T27" fmla="*/ 23 h 219"/>
                <a:gd name="T28" fmla="*/ 21 w 240"/>
                <a:gd name="T29" fmla="*/ 41 h 219"/>
                <a:gd name="T30" fmla="*/ 21 w 240"/>
                <a:gd name="T31" fmla="*/ 49 h 219"/>
                <a:gd name="T32" fmla="*/ 21 w 240"/>
                <a:gd name="T33" fmla="*/ 62 h 219"/>
                <a:gd name="T34" fmla="*/ 23 w 240"/>
                <a:gd name="T35" fmla="*/ 72 h 219"/>
                <a:gd name="T36" fmla="*/ 21 w 240"/>
                <a:gd name="T37" fmla="*/ 79 h 219"/>
                <a:gd name="T38" fmla="*/ 21 w 240"/>
                <a:gd name="T39" fmla="*/ 90 h 219"/>
                <a:gd name="T40" fmla="*/ 13 w 240"/>
                <a:gd name="T41" fmla="*/ 97 h 219"/>
                <a:gd name="T42" fmla="*/ 8 w 240"/>
                <a:gd name="T43" fmla="*/ 110 h 219"/>
                <a:gd name="T44" fmla="*/ 0 w 240"/>
                <a:gd name="T45" fmla="*/ 125 h 219"/>
                <a:gd name="T46" fmla="*/ 3 w 240"/>
                <a:gd name="T47" fmla="*/ 143 h 219"/>
                <a:gd name="T48" fmla="*/ 3 w 240"/>
                <a:gd name="T49" fmla="*/ 153 h 219"/>
                <a:gd name="T50" fmla="*/ 3 w 240"/>
                <a:gd name="T51" fmla="*/ 163 h 219"/>
                <a:gd name="T52" fmla="*/ 13 w 240"/>
                <a:gd name="T53" fmla="*/ 171 h 219"/>
                <a:gd name="T54" fmla="*/ 18 w 240"/>
                <a:gd name="T55" fmla="*/ 168 h 219"/>
                <a:gd name="T56" fmla="*/ 44 w 240"/>
                <a:gd name="T57" fmla="*/ 179 h 219"/>
                <a:gd name="T58" fmla="*/ 54 w 240"/>
                <a:gd name="T59" fmla="*/ 189 h 219"/>
                <a:gd name="T60" fmla="*/ 57 w 240"/>
                <a:gd name="T61" fmla="*/ 189 h 219"/>
                <a:gd name="T62" fmla="*/ 54 w 240"/>
                <a:gd name="T63" fmla="*/ 194 h 219"/>
                <a:gd name="T64" fmla="*/ 54 w 240"/>
                <a:gd name="T65" fmla="*/ 196 h 219"/>
                <a:gd name="T66" fmla="*/ 54 w 240"/>
                <a:gd name="T67" fmla="*/ 199 h 219"/>
                <a:gd name="T68" fmla="*/ 67 w 240"/>
                <a:gd name="T69" fmla="*/ 217 h 219"/>
                <a:gd name="T70" fmla="*/ 72 w 240"/>
                <a:gd name="T71" fmla="*/ 214 h 219"/>
                <a:gd name="T72" fmla="*/ 77 w 240"/>
                <a:gd name="T73" fmla="*/ 217 h 219"/>
                <a:gd name="T74" fmla="*/ 82 w 240"/>
                <a:gd name="T75" fmla="*/ 217 h 219"/>
                <a:gd name="T76" fmla="*/ 82 w 240"/>
                <a:gd name="T77" fmla="*/ 209 h 219"/>
                <a:gd name="T78" fmla="*/ 87 w 240"/>
                <a:gd name="T79" fmla="*/ 217 h 219"/>
                <a:gd name="T80" fmla="*/ 92 w 240"/>
                <a:gd name="T81" fmla="*/ 212 h 219"/>
                <a:gd name="T82" fmla="*/ 100 w 240"/>
                <a:gd name="T83" fmla="*/ 212 h 219"/>
                <a:gd name="T84" fmla="*/ 113 w 240"/>
                <a:gd name="T85" fmla="*/ 204 h 219"/>
                <a:gd name="T86" fmla="*/ 118 w 240"/>
                <a:gd name="T87" fmla="*/ 209 h 219"/>
                <a:gd name="T88" fmla="*/ 125 w 240"/>
                <a:gd name="T89" fmla="*/ 191 h 219"/>
                <a:gd name="T90" fmla="*/ 136 w 240"/>
                <a:gd name="T91" fmla="*/ 174 h 219"/>
                <a:gd name="T92" fmla="*/ 143 w 240"/>
                <a:gd name="T93" fmla="*/ 163 h 219"/>
                <a:gd name="T94" fmla="*/ 151 w 240"/>
                <a:gd name="T95" fmla="*/ 158 h 219"/>
                <a:gd name="T96" fmla="*/ 158 w 240"/>
                <a:gd name="T97" fmla="*/ 156 h 219"/>
                <a:gd name="T98" fmla="*/ 169 w 240"/>
                <a:gd name="T99" fmla="*/ 163 h 219"/>
                <a:gd name="T100" fmla="*/ 174 w 240"/>
                <a:gd name="T101" fmla="*/ 168 h 219"/>
                <a:gd name="T102" fmla="*/ 179 w 240"/>
                <a:gd name="T103" fmla="*/ 161 h 219"/>
                <a:gd name="T104" fmla="*/ 184 w 240"/>
                <a:gd name="T105" fmla="*/ 151 h 219"/>
                <a:gd name="T106" fmla="*/ 192 w 240"/>
                <a:gd name="T107" fmla="*/ 135 h 219"/>
                <a:gd name="T108" fmla="*/ 202 w 240"/>
                <a:gd name="T109" fmla="*/ 120 h 219"/>
                <a:gd name="T110" fmla="*/ 204 w 240"/>
                <a:gd name="T111" fmla="*/ 105 h 219"/>
                <a:gd name="T112" fmla="*/ 212 w 240"/>
                <a:gd name="T113" fmla="*/ 92 h 219"/>
                <a:gd name="T114" fmla="*/ 220 w 240"/>
                <a:gd name="T115" fmla="*/ 74 h 219"/>
                <a:gd name="T116" fmla="*/ 232 w 240"/>
                <a:gd name="T117" fmla="*/ 59 h 219"/>
                <a:gd name="T118" fmla="*/ 240 w 240"/>
                <a:gd name="T119" fmla="*/ 49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0" h="219">
                  <a:moveTo>
                    <a:pt x="92" y="214"/>
                  </a:moveTo>
                  <a:lnTo>
                    <a:pt x="90" y="217"/>
                  </a:lnTo>
                  <a:lnTo>
                    <a:pt x="92" y="217"/>
                  </a:lnTo>
                  <a:lnTo>
                    <a:pt x="95" y="217"/>
                  </a:lnTo>
                  <a:lnTo>
                    <a:pt x="95" y="214"/>
                  </a:lnTo>
                  <a:lnTo>
                    <a:pt x="92" y="214"/>
                  </a:lnTo>
                  <a:lnTo>
                    <a:pt x="92" y="214"/>
                  </a:lnTo>
                  <a:close/>
                  <a:moveTo>
                    <a:pt x="240" y="41"/>
                  </a:moveTo>
                  <a:lnTo>
                    <a:pt x="240" y="39"/>
                  </a:lnTo>
                  <a:lnTo>
                    <a:pt x="240" y="39"/>
                  </a:lnTo>
                  <a:lnTo>
                    <a:pt x="237" y="36"/>
                  </a:lnTo>
                  <a:lnTo>
                    <a:pt x="235" y="36"/>
                  </a:lnTo>
                  <a:lnTo>
                    <a:pt x="232" y="36"/>
                  </a:lnTo>
                  <a:lnTo>
                    <a:pt x="232" y="34"/>
                  </a:lnTo>
                  <a:lnTo>
                    <a:pt x="232" y="34"/>
                  </a:lnTo>
                  <a:lnTo>
                    <a:pt x="232" y="34"/>
                  </a:lnTo>
                  <a:lnTo>
                    <a:pt x="232" y="31"/>
                  </a:lnTo>
                  <a:lnTo>
                    <a:pt x="230" y="28"/>
                  </a:lnTo>
                  <a:lnTo>
                    <a:pt x="230" y="18"/>
                  </a:lnTo>
                  <a:lnTo>
                    <a:pt x="227" y="16"/>
                  </a:lnTo>
                  <a:lnTo>
                    <a:pt x="222" y="11"/>
                  </a:lnTo>
                  <a:lnTo>
                    <a:pt x="220" y="6"/>
                  </a:lnTo>
                  <a:lnTo>
                    <a:pt x="217" y="6"/>
                  </a:lnTo>
                  <a:lnTo>
                    <a:pt x="215" y="6"/>
                  </a:lnTo>
                  <a:lnTo>
                    <a:pt x="212" y="8"/>
                  </a:lnTo>
                  <a:lnTo>
                    <a:pt x="209" y="8"/>
                  </a:lnTo>
                  <a:lnTo>
                    <a:pt x="204" y="11"/>
                  </a:lnTo>
                  <a:lnTo>
                    <a:pt x="202" y="13"/>
                  </a:lnTo>
                  <a:lnTo>
                    <a:pt x="202" y="13"/>
                  </a:lnTo>
                  <a:lnTo>
                    <a:pt x="199" y="16"/>
                  </a:lnTo>
                  <a:lnTo>
                    <a:pt x="197" y="18"/>
                  </a:lnTo>
                  <a:lnTo>
                    <a:pt x="194" y="18"/>
                  </a:lnTo>
                  <a:lnTo>
                    <a:pt x="189" y="18"/>
                  </a:lnTo>
                  <a:lnTo>
                    <a:pt x="186" y="16"/>
                  </a:lnTo>
                  <a:lnTo>
                    <a:pt x="181" y="13"/>
                  </a:lnTo>
                  <a:lnTo>
                    <a:pt x="179" y="13"/>
                  </a:lnTo>
                  <a:lnTo>
                    <a:pt x="176" y="13"/>
                  </a:lnTo>
                  <a:lnTo>
                    <a:pt x="166" y="13"/>
                  </a:lnTo>
                  <a:lnTo>
                    <a:pt x="158" y="13"/>
                  </a:lnTo>
                  <a:lnTo>
                    <a:pt x="153" y="13"/>
                  </a:lnTo>
                  <a:lnTo>
                    <a:pt x="151" y="16"/>
                  </a:lnTo>
                  <a:lnTo>
                    <a:pt x="148" y="16"/>
                  </a:lnTo>
                  <a:lnTo>
                    <a:pt x="146" y="18"/>
                  </a:lnTo>
                  <a:lnTo>
                    <a:pt x="141" y="26"/>
                  </a:lnTo>
                  <a:lnTo>
                    <a:pt x="133" y="26"/>
                  </a:lnTo>
                  <a:lnTo>
                    <a:pt x="128" y="23"/>
                  </a:lnTo>
                  <a:lnTo>
                    <a:pt x="123" y="23"/>
                  </a:lnTo>
                  <a:lnTo>
                    <a:pt x="118" y="18"/>
                  </a:lnTo>
                  <a:lnTo>
                    <a:pt x="110" y="13"/>
                  </a:lnTo>
                  <a:lnTo>
                    <a:pt x="107" y="13"/>
                  </a:lnTo>
                  <a:lnTo>
                    <a:pt x="105" y="13"/>
                  </a:lnTo>
                  <a:lnTo>
                    <a:pt x="105" y="13"/>
                  </a:lnTo>
                  <a:lnTo>
                    <a:pt x="95" y="18"/>
                  </a:lnTo>
                  <a:lnTo>
                    <a:pt x="95" y="18"/>
                  </a:lnTo>
                  <a:lnTo>
                    <a:pt x="92" y="18"/>
                  </a:lnTo>
                  <a:lnTo>
                    <a:pt x="90" y="21"/>
                  </a:lnTo>
                  <a:lnTo>
                    <a:pt x="90" y="21"/>
                  </a:lnTo>
                  <a:lnTo>
                    <a:pt x="87" y="21"/>
                  </a:lnTo>
                  <a:lnTo>
                    <a:pt x="87" y="21"/>
                  </a:lnTo>
                  <a:lnTo>
                    <a:pt x="85" y="21"/>
                  </a:lnTo>
                  <a:lnTo>
                    <a:pt x="85" y="18"/>
                  </a:lnTo>
                  <a:lnTo>
                    <a:pt x="79" y="13"/>
                  </a:lnTo>
                  <a:lnTo>
                    <a:pt x="79" y="11"/>
                  </a:lnTo>
                  <a:lnTo>
                    <a:pt x="79" y="11"/>
                  </a:lnTo>
                  <a:lnTo>
                    <a:pt x="77" y="8"/>
                  </a:lnTo>
                  <a:lnTo>
                    <a:pt x="74" y="6"/>
                  </a:lnTo>
                  <a:lnTo>
                    <a:pt x="74" y="6"/>
                  </a:lnTo>
                  <a:lnTo>
                    <a:pt x="72" y="6"/>
                  </a:lnTo>
                  <a:lnTo>
                    <a:pt x="64" y="3"/>
                  </a:lnTo>
                  <a:lnTo>
                    <a:pt x="59" y="0"/>
                  </a:lnTo>
                  <a:lnTo>
                    <a:pt x="57" y="0"/>
                  </a:lnTo>
                  <a:lnTo>
                    <a:pt x="57" y="0"/>
                  </a:lnTo>
                  <a:lnTo>
                    <a:pt x="54" y="3"/>
                  </a:lnTo>
                  <a:lnTo>
                    <a:pt x="51" y="3"/>
                  </a:lnTo>
                  <a:lnTo>
                    <a:pt x="46" y="3"/>
                  </a:lnTo>
                  <a:lnTo>
                    <a:pt x="44" y="3"/>
                  </a:lnTo>
                  <a:lnTo>
                    <a:pt x="41" y="3"/>
                  </a:lnTo>
                  <a:lnTo>
                    <a:pt x="39" y="6"/>
                  </a:lnTo>
                  <a:lnTo>
                    <a:pt x="36" y="6"/>
                  </a:lnTo>
                  <a:lnTo>
                    <a:pt x="34" y="8"/>
                  </a:lnTo>
                  <a:lnTo>
                    <a:pt x="31" y="11"/>
                  </a:lnTo>
                  <a:lnTo>
                    <a:pt x="31" y="11"/>
                  </a:lnTo>
                  <a:lnTo>
                    <a:pt x="31" y="18"/>
                  </a:lnTo>
                  <a:lnTo>
                    <a:pt x="28" y="23"/>
                  </a:lnTo>
                  <a:lnTo>
                    <a:pt x="26" y="26"/>
                  </a:lnTo>
                  <a:lnTo>
                    <a:pt x="23" y="28"/>
                  </a:lnTo>
                  <a:lnTo>
                    <a:pt x="21" y="31"/>
                  </a:lnTo>
                  <a:lnTo>
                    <a:pt x="21" y="34"/>
                  </a:lnTo>
                  <a:lnTo>
                    <a:pt x="21" y="39"/>
                  </a:lnTo>
                  <a:lnTo>
                    <a:pt x="21" y="41"/>
                  </a:lnTo>
                  <a:lnTo>
                    <a:pt x="21" y="44"/>
                  </a:lnTo>
                  <a:lnTo>
                    <a:pt x="21" y="46"/>
                  </a:lnTo>
                  <a:lnTo>
                    <a:pt x="21" y="46"/>
                  </a:lnTo>
                  <a:lnTo>
                    <a:pt x="21" y="46"/>
                  </a:lnTo>
                  <a:lnTo>
                    <a:pt x="21" y="49"/>
                  </a:lnTo>
                  <a:lnTo>
                    <a:pt x="21" y="49"/>
                  </a:lnTo>
                  <a:lnTo>
                    <a:pt x="21" y="49"/>
                  </a:lnTo>
                  <a:lnTo>
                    <a:pt x="21" y="51"/>
                  </a:lnTo>
                  <a:lnTo>
                    <a:pt x="18" y="51"/>
                  </a:lnTo>
                  <a:lnTo>
                    <a:pt x="18" y="54"/>
                  </a:lnTo>
                  <a:lnTo>
                    <a:pt x="18" y="56"/>
                  </a:lnTo>
                  <a:lnTo>
                    <a:pt x="21" y="62"/>
                  </a:lnTo>
                  <a:lnTo>
                    <a:pt x="21" y="62"/>
                  </a:lnTo>
                  <a:lnTo>
                    <a:pt x="21" y="64"/>
                  </a:lnTo>
                  <a:lnTo>
                    <a:pt x="23" y="64"/>
                  </a:lnTo>
                  <a:lnTo>
                    <a:pt x="23" y="67"/>
                  </a:lnTo>
                  <a:lnTo>
                    <a:pt x="23" y="69"/>
                  </a:lnTo>
                  <a:lnTo>
                    <a:pt x="23" y="72"/>
                  </a:lnTo>
                  <a:lnTo>
                    <a:pt x="23" y="74"/>
                  </a:lnTo>
                  <a:lnTo>
                    <a:pt x="23" y="74"/>
                  </a:lnTo>
                  <a:lnTo>
                    <a:pt x="23" y="79"/>
                  </a:lnTo>
                  <a:lnTo>
                    <a:pt x="23" y="79"/>
                  </a:lnTo>
                  <a:lnTo>
                    <a:pt x="23" y="79"/>
                  </a:lnTo>
                  <a:lnTo>
                    <a:pt x="21" y="79"/>
                  </a:lnTo>
                  <a:lnTo>
                    <a:pt x="21" y="79"/>
                  </a:lnTo>
                  <a:lnTo>
                    <a:pt x="21" y="82"/>
                  </a:lnTo>
                  <a:lnTo>
                    <a:pt x="18" y="82"/>
                  </a:lnTo>
                  <a:lnTo>
                    <a:pt x="18" y="82"/>
                  </a:lnTo>
                  <a:lnTo>
                    <a:pt x="21" y="84"/>
                  </a:lnTo>
                  <a:lnTo>
                    <a:pt x="21" y="90"/>
                  </a:lnTo>
                  <a:lnTo>
                    <a:pt x="18" y="92"/>
                  </a:lnTo>
                  <a:lnTo>
                    <a:pt x="18" y="92"/>
                  </a:lnTo>
                  <a:lnTo>
                    <a:pt x="16" y="92"/>
                  </a:lnTo>
                  <a:lnTo>
                    <a:pt x="16" y="92"/>
                  </a:lnTo>
                  <a:lnTo>
                    <a:pt x="13" y="95"/>
                  </a:lnTo>
                  <a:lnTo>
                    <a:pt x="13" y="97"/>
                  </a:lnTo>
                  <a:lnTo>
                    <a:pt x="13" y="100"/>
                  </a:lnTo>
                  <a:lnTo>
                    <a:pt x="11" y="100"/>
                  </a:lnTo>
                  <a:lnTo>
                    <a:pt x="11" y="102"/>
                  </a:lnTo>
                  <a:lnTo>
                    <a:pt x="11" y="105"/>
                  </a:lnTo>
                  <a:lnTo>
                    <a:pt x="11" y="107"/>
                  </a:lnTo>
                  <a:lnTo>
                    <a:pt x="8" y="110"/>
                  </a:lnTo>
                  <a:lnTo>
                    <a:pt x="6" y="110"/>
                  </a:lnTo>
                  <a:lnTo>
                    <a:pt x="3" y="110"/>
                  </a:lnTo>
                  <a:lnTo>
                    <a:pt x="3" y="118"/>
                  </a:lnTo>
                  <a:lnTo>
                    <a:pt x="3" y="120"/>
                  </a:lnTo>
                  <a:lnTo>
                    <a:pt x="3" y="125"/>
                  </a:lnTo>
                  <a:lnTo>
                    <a:pt x="0" y="125"/>
                  </a:lnTo>
                  <a:lnTo>
                    <a:pt x="3" y="128"/>
                  </a:lnTo>
                  <a:lnTo>
                    <a:pt x="0" y="133"/>
                  </a:lnTo>
                  <a:lnTo>
                    <a:pt x="0" y="138"/>
                  </a:lnTo>
                  <a:lnTo>
                    <a:pt x="0" y="138"/>
                  </a:lnTo>
                  <a:lnTo>
                    <a:pt x="3" y="140"/>
                  </a:lnTo>
                  <a:lnTo>
                    <a:pt x="3" y="143"/>
                  </a:lnTo>
                  <a:lnTo>
                    <a:pt x="3" y="146"/>
                  </a:lnTo>
                  <a:lnTo>
                    <a:pt x="3" y="146"/>
                  </a:lnTo>
                  <a:lnTo>
                    <a:pt x="3" y="148"/>
                  </a:lnTo>
                  <a:lnTo>
                    <a:pt x="3" y="148"/>
                  </a:lnTo>
                  <a:lnTo>
                    <a:pt x="3" y="148"/>
                  </a:lnTo>
                  <a:lnTo>
                    <a:pt x="3" y="153"/>
                  </a:lnTo>
                  <a:lnTo>
                    <a:pt x="3" y="156"/>
                  </a:lnTo>
                  <a:lnTo>
                    <a:pt x="3" y="156"/>
                  </a:lnTo>
                  <a:lnTo>
                    <a:pt x="3" y="158"/>
                  </a:lnTo>
                  <a:lnTo>
                    <a:pt x="3" y="161"/>
                  </a:lnTo>
                  <a:lnTo>
                    <a:pt x="3" y="163"/>
                  </a:lnTo>
                  <a:lnTo>
                    <a:pt x="3" y="163"/>
                  </a:lnTo>
                  <a:lnTo>
                    <a:pt x="3" y="166"/>
                  </a:lnTo>
                  <a:lnTo>
                    <a:pt x="3" y="166"/>
                  </a:lnTo>
                  <a:lnTo>
                    <a:pt x="0" y="171"/>
                  </a:lnTo>
                  <a:lnTo>
                    <a:pt x="0" y="171"/>
                  </a:lnTo>
                  <a:lnTo>
                    <a:pt x="3" y="171"/>
                  </a:lnTo>
                  <a:lnTo>
                    <a:pt x="13" y="171"/>
                  </a:lnTo>
                  <a:lnTo>
                    <a:pt x="16" y="168"/>
                  </a:lnTo>
                  <a:lnTo>
                    <a:pt x="18" y="168"/>
                  </a:lnTo>
                  <a:lnTo>
                    <a:pt x="21" y="166"/>
                  </a:lnTo>
                  <a:lnTo>
                    <a:pt x="23" y="166"/>
                  </a:lnTo>
                  <a:lnTo>
                    <a:pt x="18" y="168"/>
                  </a:lnTo>
                  <a:lnTo>
                    <a:pt x="18" y="168"/>
                  </a:lnTo>
                  <a:lnTo>
                    <a:pt x="16" y="171"/>
                  </a:lnTo>
                  <a:lnTo>
                    <a:pt x="18" y="171"/>
                  </a:lnTo>
                  <a:lnTo>
                    <a:pt x="31" y="171"/>
                  </a:lnTo>
                  <a:lnTo>
                    <a:pt x="36" y="171"/>
                  </a:lnTo>
                  <a:lnTo>
                    <a:pt x="41" y="176"/>
                  </a:lnTo>
                  <a:lnTo>
                    <a:pt x="44" y="179"/>
                  </a:lnTo>
                  <a:lnTo>
                    <a:pt x="49" y="184"/>
                  </a:lnTo>
                  <a:lnTo>
                    <a:pt x="49" y="186"/>
                  </a:lnTo>
                  <a:lnTo>
                    <a:pt x="49" y="186"/>
                  </a:lnTo>
                  <a:lnTo>
                    <a:pt x="49" y="189"/>
                  </a:lnTo>
                  <a:lnTo>
                    <a:pt x="51" y="189"/>
                  </a:lnTo>
                  <a:lnTo>
                    <a:pt x="54" y="189"/>
                  </a:lnTo>
                  <a:lnTo>
                    <a:pt x="54" y="186"/>
                  </a:lnTo>
                  <a:lnTo>
                    <a:pt x="54" y="186"/>
                  </a:lnTo>
                  <a:lnTo>
                    <a:pt x="54" y="189"/>
                  </a:lnTo>
                  <a:lnTo>
                    <a:pt x="54" y="189"/>
                  </a:lnTo>
                  <a:lnTo>
                    <a:pt x="57" y="189"/>
                  </a:lnTo>
                  <a:lnTo>
                    <a:pt x="57" y="189"/>
                  </a:lnTo>
                  <a:lnTo>
                    <a:pt x="57" y="189"/>
                  </a:lnTo>
                  <a:lnTo>
                    <a:pt x="54" y="189"/>
                  </a:lnTo>
                  <a:lnTo>
                    <a:pt x="51" y="189"/>
                  </a:lnTo>
                  <a:lnTo>
                    <a:pt x="51" y="191"/>
                  </a:lnTo>
                  <a:lnTo>
                    <a:pt x="51" y="191"/>
                  </a:lnTo>
                  <a:lnTo>
                    <a:pt x="54" y="194"/>
                  </a:lnTo>
                  <a:lnTo>
                    <a:pt x="59" y="191"/>
                  </a:lnTo>
                  <a:lnTo>
                    <a:pt x="59" y="194"/>
                  </a:lnTo>
                  <a:lnTo>
                    <a:pt x="57" y="194"/>
                  </a:lnTo>
                  <a:lnTo>
                    <a:pt x="57" y="194"/>
                  </a:lnTo>
                  <a:lnTo>
                    <a:pt x="54" y="194"/>
                  </a:lnTo>
                  <a:lnTo>
                    <a:pt x="54" y="196"/>
                  </a:lnTo>
                  <a:lnTo>
                    <a:pt x="54" y="199"/>
                  </a:lnTo>
                  <a:lnTo>
                    <a:pt x="57" y="199"/>
                  </a:lnTo>
                  <a:lnTo>
                    <a:pt x="57" y="199"/>
                  </a:lnTo>
                  <a:lnTo>
                    <a:pt x="57" y="199"/>
                  </a:lnTo>
                  <a:lnTo>
                    <a:pt x="57" y="199"/>
                  </a:lnTo>
                  <a:lnTo>
                    <a:pt x="54" y="199"/>
                  </a:lnTo>
                  <a:lnTo>
                    <a:pt x="57" y="204"/>
                  </a:lnTo>
                  <a:lnTo>
                    <a:pt x="57" y="207"/>
                  </a:lnTo>
                  <a:lnTo>
                    <a:pt x="59" y="209"/>
                  </a:lnTo>
                  <a:lnTo>
                    <a:pt x="59" y="212"/>
                  </a:lnTo>
                  <a:lnTo>
                    <a:pt x="64" y="214"/>
                  </a:lnTo>
                  <a:lnTo>
                    <a:pt x="67" y="217"/>
                  </a:lnTo>
                  <a:lnTo>
                    <a:pt x="67" y="217"/>
                  </a:lnTo>
                  <a:lnTo>
                    <a:pt x="69" y="219"/>
                  </a:lnTo>
                  <a:lnTo>
                    <a:pt x="72" y="219"/>
                  </a:lnTo>
                  <a:lnTo>
                    <a:pt x="72" y="219"/>
                  </a:lnTo>
                  <a:lnTo>
                    <a:pt x="72" y="217"/>
                  </a:lnTo>
                  <a:lnTo>
                    <a:pt x="72" y="214"/>
                  </a:lnTo>
                  <a:lnTo>
                    <a:pt x="72" y="217"/>
                  </a:lnTo>
                  <a:lnTo>
                    <a:pt x="72" y="217"/>
                  </a:lnTo>
                  <a:lnTo>
                    <a:pt x="72" y="219"/>
                  </a:lnTo>
                  <a:lnTo>
                    <a:pt x="74" y="219"/>
                  </a:lnTo>
                  <a:lnTo>
                    <a:pt x="77" y="217"/>
                  </a:lnTo>
                  <a:lnTo>
                    <a:pt x="77" y="217"/>
                  </a:lnTo>
                  <a:lnTo>
                    <a:pt x="79" y="217"/>
                  </a:lnTo>
                  <a:lnTo>
                    <a:pt x="79" y="214"/>
                  </a:lnTo>
                  <a:lnTo>
                    <a:pt x="79" y="214"/>
                  </a:lnTo>
                  <a:lnTo>
                    <a:pt x="79" y="217"/>
                  </a:lnTo>
                  <a:lnTo>
                    <a:pt x="79" y="217"/>
                  </a:lnTo>
                  <a:lnTo>
                    <a:pt x="82" y="217"/>
                  </a:lnTo>
                  <a:lnTo>
                    <a:pt x="82" y="217"/>
                  </a:lnTo>
                  <a:lnTo>
                    <a:pt x="85" y="217"/>
                  </a:lnTo>
                  <a:lnTo>
                    <a:pt x="85" y="214"/>
                  </a:lnTo>
                  <a:lnTo>
                    <a:pt x="85" y="212"/>
                  </a:lnTo>
                  <a:lnTo>
                    <a:pt x="85" y="209"/>
                  </a:lnTo>
                  <a:lnTo>
                    <a:pt x="82" y="209"/>
                  </a:lnTo>
                  <a:lnTo>
                    <a:pt x="85" y="209"/>
                  </a:lnTo>
                  <a:lnTo>
                    <a:pt x="85" y="212"/>
                  </a:lnTo>
                  <a:lnTo>
                    <a:pt x="85" y="214"/>
                  </a:lnTo>
                  <a:lnTo>
                    <a:pt x="85" y="214"/>
                  </a:lnTo>
                  <a:lnTo>
                    <a:pt x="87" y="217"/>
                  </a:lnTo>
                  <a:lnTo>
                    <a:pt x="87" y="217"/>
                  </a:lnTo>
                  <a:lnTo>
                    <a:pt x="90" y="214"/>
                  </a:lnTo>
                  <a:lnTo>
                    <a:pt x="90" y="212"/>
                  </a:lnTo>
                  <a:lnTo>
                    <a:pt x="90" y="209"/>
                  </a:lnTo>
                  <a:lnTo>
                    <a:pt x="90" y="209"/>
                  </a:lnTo>
                  <a:lnTo>
                    <a:pt x="90" y="209"/>
                  </a:lnTo>
                  <a:lnTo>
                    <a:pt x="92" y="212"/>
                  </a:lnTo>
                  <a:lnTo>
                    <a:pt x="92" y="212"/>
                  </a:lnTo>
                  <a:lnTo>
                    <a:pt x="97" y="212"/>
                  </a:lnTo>
                  <a:lnTo>
                    <a:pt x="97" y="212"/>
                  </a:lnTo>
                  <a:lnTo>
                    <a:pt x="97" y="212"/>
                  </a:lnTo>
                  <a:lnTo>
                    <a:pt x="97" y="209"/>
                  </a:lnTo>
                  <a:lnTo>
                    <a:pt x="100" y="212"/>
                  </a:lnTo>
                  <a:lnTo>
                    <a:pt x="100" y="214"/>
                  </a:lnTo>
                  <a:lnTo>
                    <a:pt x="105" y="214"/>
                  </a:lnTo>
                  <a:lnTo>
                    <a:pt x="107" y="212"/>
                  </a:lnTo>
                  <a:lnTo>
                    <a:pt x="113" y="212"/>
                  </a:lnTo>
                  <a:lnTo>
                    <a:pt x="115" y="209"/>
                  </a:lnTo>
                  <a:lnTo>
                    <a:pt x="113" y="204"/>
                  </a:lnTo>
                  <a:lnTo>
                    <a:pt x="113" y="204"/>
                  </a:lnTo>
                  <a:lnTo>
                    <a:pt x="115" y="207"/>
                  </a:lnTo>
                  <a:lnTo>
                    <a:pt x="115" y="207"/>
                  </a:lnTo>
                  <a:lnTo>
                    <a:pt x="115" y="209"/>
                  </a:lnTo>
                  <a:lnTo>
                    <a:pt x="118" y="209"/>
                  </a:lnTo>
                  <a:lnTo>
                    <a:pt x="118" y="209"/>
                  </a:lnTo>
                  <a:lnTo>
                    <a:pt x="118" y="209"/>
                  </a:lnTo>
                  <a:lnTo>
                    <a:pt x="120" y="207"/>
                  </a:lnTo>
                  <a:lnTo>
                    <a:pt x="120" y="204"/>
                  </a:lnTo>
                  <a:lnTo>
                    <a:pt x="123" y="201"/>
                  </a:lnTo>
                  <a:lnTo>
                    <a:pt x="123" y="199"/>
                  </a:lnTo>
                  <a:lnTo>
                    <a:pt x="125" y="191"/>
                  </a:lnTo>
                  <a:lnTo>
                    <a:pt x="125" y="189"/>
                  </a:lnTo>
                  <a:lnTo>
                    <a:pt x="125" y="184"/>
                  </a:lnTo>
                  <a:lnTo>
                    <a:pt x="128" y="181"/>
                  </a:lnTo>
                  <a:lnTo>
                    <a:pt x="128" y="179"/>
                  </a:lnTo>
                  <a:lnTo>
                    <a:pt x="133" y="176"/>
                  </a:lnTo>
                  <a:lnTo>
                    <a:pt x="136" y="174"/>
                  </a:lnTo>
                  <a:lnTo>
                    <a:pt x="136" y="171"/>
                  </a:lnTo>
                  <a:lnTo>
                    <a:pt x="138" y="171"/>
                  </a:lnTo>
                  <a:lnTo>
                    <a:pt x="138" y="168"/>
                  </a:lnTo>
                  <a:lnTo>
                    <a:pt x="141" y="168"/>
                  </a:lnTo>
                  <a:lnTo>
                    <a:pt x="143" y="166"/>
                  </a:lnTo>
                  <a:lnTo>
                    <a:pt x="143" y="163"/>
                  </a:lnTo>
                  <a:lnTo>
                    <a:pt x="143" y="161"/>
                  </a:lnTo>
                  <a:lnTo>
                    <a:pt x="146" y="161"/>
                  </a:lnTo>
                  <a:lnTo>
                    <a:pt x="148" y="158"/>
                  </a:lnTo>
                  <a:lnTo>
                    <a:pt x="151" y="158"/>
                  </a:lnTo>
                  <a:lnTo>
                    <a:pt x="151" y="158"/>
                  </a:lnTo>
                  <a:lnTo>
                    <a:pt x="151" y="158"/>
                  </a:lnTo>
                  <a:lnTo>
                    <a:pt x="151" y="158"/>
                  </a:lnTo>
                  <a:lnTo>
                    <a:pt x="153" y="161"/>
                  </a:lnTo>
                  <a:lnTo>
                    <a:pt x="156" y="161"/>
                  </a:lnTo>
                  <a:lnTo>
                    <a:pt x="158" y="161"/>
                  </a:lnTo>
                  <a:lnTo>
                    <a:pt x="158" y="158"/>
                  </a:lnTo>
                  <a:lnTo>
                    <a:pt x="158" y="156"/>
                  </a:lnTo>
                  <a:lnTo>
                    <a:pt x="158" y="156"/>
                  </a:lnTo>
                  <a:lnTo>
                    <a:pt x="161" y="156"/>
                  </a:lnTo>
                  <a:lnTo>
                    <a:pt x="164" y="158"/>
                  </a:lnTo>
                  <a:lnTo>
                    <a:pt x="166" y="161"/>
                  </a:lnTo>
                  <a:lnTo>
                    <a:pt x="166" y="163"/>
                  </a:lnTo>
                  <a:lnTo>
                    <a:pt x="169" y="163"/>
                  </a:lnTo>
                  <a:lnTo>
                    <a:pt x="169" y="163"/>
                  </a:lnTo>
                  <a:lnTo>
                    <a:pt x="169" y="168"/>
                  </a:lnTo>
                  <a:lnTo>
                    <a:pt x="171" y="168"/>
                  </a:lnTo>
                  <a:lnTo>
                    <a:pt x="171" y="171"/>
                  </a:lnTo>
                  <a:lnTo>
                    <a:pt x="174" y="168"/>
                  </a:lnTo>
                  <a:lnTo>
                    <a:pt x="174" y="168"/>
                  </a:lnTo>
                  <a:lnTo>
                    <a:pt x="176" y="168"/>
                  </a:lnTo>
                  <a:lnTo>
                    <a:pt x="176" y="166"/>
                  </a:lnTo>
                  <a:lnTo>
                    <a:pt x="179" y="166"/>
                  </a:lnTo>
                  <a:lnTo>
                    <a:pt x="179" y="163"/>
                  </a:lnTo>
                  <a:lnTo>
                    <a:pt x="179" y="161"/>
                  </a:lnTo>
                  <a:lnTo>
                    <a:pt x="179" y="161"/>
                  </a:lnTo>
                  <a:lnTo>
                    <a:pt x="181" y="158"/>
                  </a:lnTo>
                  <a:lnTo>
                    <a:pt x="184" y="156"/>
                  </a:lnTo>
                  <a:lnTo>
                    <a:pt x="184" y="153"/>
                  </a:lnTo>
                  <a:lnTo>
                    <a:pt x="184" y="153"/>
                  </a:lnTo>
                  <a:lnTo>
                    <a:pt x="184" y="153"/>
                  </a:lnTo>
                  <a:lnTo>
                    <a:pt x="184" y="151"/>
                  </a:lnTo>
                  <a:lnTo>
                    <a:pt x="184" y="148"/>
                  </a:lnTo>
                  <a:lnTo>
                    <a:pt x="184" y="148"/>
                  </a:lnTo>
                  <a:lnTo>
                    <a:pt x="189" y="143"/>
                  </a:lnTo>
                  <a:lnTo>
                    <a:pt x="189" y="143"/>
                  </a:lnTo>
                  <a:lnTo>
                    <a:pt x="189" y="140"/>
                  </a:lnTo>
                  <a:lnTo>
                    <a:pt x="192" y="135"/>
                  </a:lnTo>
                  <a:lnTo>
                    <a:pt x="192" y="130"/>
                  </a:lnTo>
                  <a:lnTo>
                    <a:pt x="192" y="128"/>
                  </a:lnTo>
                  <a:lnTo>
                    <a:pt x="194" y="125"/>
                  </a:lnTo>
                  <a:lnTo>
                    <a:pt x="197" y="120"/>
                  </a:lnTo>
                  <a:lnTo>
                    <a:pt x="199" y="120"/>
                  </a:lnTo>
                  <a:lnTo>
                    <a:pt x="202" y="120"/>
                  </a:lnTo>
                  <a:lnTo>
                    <a:pt x="202" y="118"/>
                  </a:lnTo>
                  <a:lnTo>
                    <a:pt x="204" y="115"/>
                  </a:lnTo>
                  <a:lnTo>
                    <a:pt x="204" y="115"/>
                  </a:lnTo>
                  <a:lnTo>
                    <a:pt x="204" y="112"/>
                  </a:lnTo>
                  <a:lnTo>
                    <a:pt x="204" y="107"/>
                  </a:lnTo>
                  <a:lnTo>
                    <a:pt x="204" y="105"/>
                  </a:lnTo>
                  <a:lnTo>
                    <a:pt x="207" y="102"/>
                  </a:lnTo>
                  <a:lnTo>
                    <a:pt x="209" y="100"/>
                  </a:lnTo>
                  <a:lnTo>
                    <a:pt x="212" y="100"/>
                  </a:lnTo>
                  <a:lnTo>
                    <a:pt x="212" y="100"/>
                  </a:lnTo>
                  <a:lnTo>
                    <a:pt x="212" y="97"/>
                  </a:lnTo>
                  <a:lnTo>
                    <a:pt x="212" y="92"/>
                  </a:lnTo>
                  <a:lnTo>
                    <a:pt x="212" y="90"/>
                  </a:lnTo>
                  <a:lnTo>
                    <a:pt x="212" y="90"/>
                  </a:lnTo>
                  <a:lnTo>
                    <a:pt x="215" y="87"/>
                  </a:lnTo>
                  <a:lnTo>
                    <a:pt x="217" y="84"/>
                  </a:lnTo>
                  <a:lnTo>
                    <a:pt x="217" y="79"/>
                  </a:lnTo>
                  <a:lnTo>
                    <a:pt x="220" y="74"/>
                  </a:lnTo>
                  <a:lnTo>
                    <a:pt x="222" y="69"/>
                  </a:lnTo>
                  <a:lnTo>
                    <a:pt x="225" y="64"/>
                  </a:lnTo>
                  <a:lnTo>
                    <a:pt x="227" y="62"/>
                  </a:lnTo>
                  <a:lnTo>
                    <a:pt x="230" y="62"/>
                  </a:lnTo>
                  <a:lnTo>
                    <a:pt x="230" y="62"/>
                  </a:lnTo>
                  <a:lnTo>
                    <a:pt x="232" y="59"/>
                  </a:lnTo>
                  <a:lnTo>
                    <a:pt x="235" y="56"/>
                  </a:lnTo>
                  <a:lnTo>
                    <a:pt x="237" y="56"/>
                  </a:lnTo>
                  <a:lnTo>
                    <a:pt x="240" y="54"/>
                  </a:lnTo>
                  <a:lnTo>
                    <a:pt x="240" y="54"/>
                  </a:lnTo>
                  <a:lnTo>
                    <a:pt x="240" y="54"/>
                  </a:lnTo>
                  <a:lnTo>
                    <a:pt x="240" y="49"/>
                  </a:lnTo>
                  <a:lnTo>
                    <a:pt x="240" y="46"/>
                  </a:lnTo>
                  <a:lnTo>
                    <a:pt x="240" y="44"/>
                  </a:lnTo>
                  <a:lnTo>
                    <a:pt x="240" y="41"/>
                  </a:lnTo>
                  <a:lnTo>
                    <a:pt x="240" y="41"/>
                  </a:lnTo>
                  <a:close/>
                </a:path>
              </a:pathLst>
            </a:custGeom>
            <a:solidFill>
              <a:srgbClr val="FFC000"/>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240" name="Freeform 1859">
              <a:extLst>
                <a:ext uri="{FF2B5EF4-FFF2-40B4-BE49-F238E27FC236}">
                  <a16:creationId xmlns:a16="http://schemas.microsoft.com/office/drawing/2014/main" id="{286EFC97-3DB5-1E4B-B02A-F4D3628FAA6D}"/>
                </a:ext>
              </a:extLst>
            </p:cNvPr>
            <p:cNvSpPr>
              <a:spLocks/>
            </p:cNvSpPr>
            <p:nvPr/>
          </p:nvSpPr>
          <p:spPr bwMode="auto">
            <a:xfrm>
              <a:off x="5616778" y="2927647"/>
              <a:ext cx="511986" cy="440014"/>
            </a:xfrm>
            <a:custGeom>
              <a:avLst/>
              <a:gdLst>
                <a:gd name="T0" fmla="*/ 306 w 313"/>
                <a:gd name="T1" fmla="*/ 61 h 269"/>
                <a:gd name="T2" fmla="*/ 298 w 313"/>
                <a:gd name="T3" fmla="*/ 45 h 269"/>
                <a:gd name="T4" fmla="*/ 293 w 313"/>
                <a:gd name="T5" fmla="*/ 12 h 269"/>
                <a:gd name="T6" fmla="*/ 280 w 313"/>
                <a:gd name="T7" fmla="*/ 20 h 269"/>
                <a:gd name="T8" fmla="*/ 265 w 313"/>
                <a:gd name="T9" fmla="*/ 7 h 269"/>
                <a:gd name="T10" fmla="*/ 224 w 313"/>
                <a:gd name="T11" fmla="*/ 7 h 269"/>
                <a:gd name="T12" fmla="*/ 184 w 313"/>
                <a:gd name="T13" fmla="*/ 35 h 269"/>
                <a:gd name="T14" fmla="*/ 145 w 313"/>
                <a:gd name="T15" fmla="*/ 61 h 269"/>
                <a:gd name="T16" fmla="*/ 127 w 313"/>
                <a:gd name="T17" fmla="*/ 79 h 269"/>
                <a:gd name="T18" fmla="*/ 112 w 313"/>
                <a:gd name="T19" fmla="*/ 94 h 269"/>
                <a:gd name="T20" fmla="*/ 87 w 313"/>
                <a:gd name="T21" fmla="*/ 99 h 269"/>
                <a:gd name="T22" fmla="*/ 82 w 313"/>
                <a:gd name="T23" fmla="*/ 117 h 269"/>
                <a:gd name="T24" fmla="*/ 82 w 313"/>
                <a:gd name="T25" fmla="*/ 142 h 269"/>
                <a:gd name="T26" fmla="*/ 82 w 313"/>
                <a:gd name="T27" fmla="*/ 157 h 269"/>
                <a:gd name="T28" fmla="*/ 76 w 313"/>
                <a:gd name="T29" fmla="*/ 173 h 269"/>
                <a:gd name="T30" fmla="*/ 74 w 313"/>
                <a:gd name="T31" fmla="*/ 178 h 269"/>
                <a:gd name="T32" fmla="*/ 66 w 313"/>
                <a:gd name="T33" fmla="*/ 185 h 269"/>
                <a:gd name="T34" fmla="*/ 56 w 313"/>
                <a:gd name="T35" fmla="*/ 183 h 269"/>
                <a:gd name="T36" fmla="*/ 38 w 313"/>
                <a:gd name="T37" fmla="*/ 185 h 269"/>
                <a:gd name="T38" fmla="*/ 20 w 313"/>
                <a:gd name="T39" fmla="*/ 190 h 269"/>
                <a:gd name="T40" fmla="*/ 5 w 313"/>
                <a:gd name="T41" fmla="*/ 193 h 269"/>
                <a:gd name="T42" fmla="*/ 0 w 313"/>
                <a:gd name="T43" fmla="*/ 196 h 269"/>
                <a:gd name="T44" fmla="*/ 3 w 313"/>
                <a:gd name="T45" fmla="*/ 206 h 269"/>
                <a:gd name="T46" fmla="*/ 5 w 313"/>
                <a:gd name="T47" fmla="*/ 213 h 269"/>
                <a:gd name="T48" fmla="*/ 10 w 313"/>
                <a:gd name="T49" fmla="*/ 224 h 269"/>
                <a:gd name="T50" fmla="*/ 15 w 313"/>
                <a:gd name="T51" fmla="*/ 226 h 269"/>
                <a:gd name="T52" fmla="*/ 18 w 313"/>
                <a:gd name="T53" fmla="*/ 229 h 269"/>
                <a:gd name="T54" fmla="*/ 15 w 313"/>
                <a:gd name="T55" fmla="*/ 231 h 269"/>
                <a:gd name="T56" fmla="*/ 15 w 313"/>
                <a:gd name="T57" fmla="*/ 239 h 269"/>
                <a:gd name="T58" fmla="*/ 28 w 313"/>
                <a:gd name="T59" fmla="*/ 246 h 269"/>
                <a:gd name="T60" fmla="*/ 36 w 313"/>
                <a:gd name="T61" fmla="*/ 246 h 269"/>
                <a:gd name="T62" fmla="*/ 38 w 313"/>
                <a:gd name="T63" fmla="*/ 246 h 269"/>
                <a:gd name="T64" fmla="*/ 41 w 313"/>
                <a:gd name="T65" fmla="*/ 252 h 269"/>
                <a:gd name="T66" fmla="*/ 38 w 313"/>
                <a:gd name="T67" fmla="*/ 254 h 269"/>
                <a:gd name="T68" fmla="*/ 43 w 313"/>
                <a:gd name="T69" fmla="*/ 264 h 269"/>
                <a:gd name="T70" fmla="*/ 46 w 313"/>
                <a:gd name="T71" fmla="*/ 257 h 269"/>
                <a:gd name="T72" fmla="*/ 51 w 313"/>
                <a:gd name="T73" fmla="*/ 254 h 269"/>
                <a:gd name="T74" fmla="*/ 59 w 313"/>
                <a:gd name="T75" fmla="*/ 259 h 269"/>
                <a:gd name="T76" fmla="*/ 66 w 313"/>
                <a:gd name="T77" fmla="*/ 264 h 269"/>
                <a:gd name="T78" fmla="*/ 69 w 313"/>
                <a:gd name="T79" fmla="*/ 267 h 269"/>
                <a:gd name="T80" fmla="*/ 69 w 313"/>
                <a:gd name="T81" fmla="*/ 264 h 269"/>
                <a:gd name="T82" fmla="*/ 69 w 313"/>
                <a:gd name="T83" fmla="*/ 252 h 269"/>
                <a:gd name="T84" fmla="*/ 76 w 313"/>
                <a:gd name="T85" fmla="*/ 241 h 269"/>
                <a:gd name="T86" fmla="*/ 82 w 313"/>
                <a:gd name="T87" fmla="*/ 226 h 269"/>
                <a:gd name="T88" fmla="*/ 92 w 313"/>
                <a:gd name="T89" fmla="*/ 221 h 269"/>
                <a:gd name="T90" fmla="*/ 105 w 313"/>
                <a:gd name="T91" fmla="*/ 218 h 269"/>
                <a:gd name="T92" fmla="*/ 120 w 313"/>
                <a:gd name="T93" fmla="*/ 224 h 269"/>
                <a:gd name="T94" fmla="*/ 127 w 313"/>
                <a:gd name="T95" fmla="*/ 229 h 269"/>
                <a:gd name="T96" fmla="*/ 133 w 313"/>
                <a:gd name="T97" fmla="*/ 239 h 269"/>
                <a:gd name="T98" fmla="*/ 138 w 313"/>
                <a:gd name="T99" fmla="*/ 239 h 269"/>
                <a:gd name="T100" fmla="*/ 153 w 313"/>
                <a:gd name="T101" fmla="*/ 231 h 269"/>
                <a:gd name="T102" fmla="*/ 166 w 313"/>
                <a:gd name="T103" fmla="*/ 236 h 269"/>
                <a:gd name="T104" fmla="*/ 189 w 313"/>
                <a:gd name="T105" fmla="*/ 244 h 269"/>
                <a:gd name="T106" fmla="*/ 201 w 313"/>
                <a:gd name="T107" fmla="*/ 231 h 269"/>
                <a:gd name="T108" fmla="*/ 227 w 313"/>
                <a:gd name="T109" fmla="*/ 231 h 269"/>
                <a:gd name="T110" fmla="*/ 242 w 313"/>
                <a:gd name="T111" fmla="*/ 236 h 269"/>
                <a:gd name="T112" fmla="*/ 250 w 313"/>
                <a:gd name="T113" fmla="*/ 231 h 269"/>
                <a:gd name="T114" fmla="*/ 263 w 313"/>
                <a:gd name="T115" fmla="*/ 224 h 269"/>
                <a:gd name="T116" fmla="*/ 265 w 313"/>
                <a:gd name="T117" fmla="*/ 208 h 269"/>
                <a:gd name="T118" fmla="*/ 280 w 313"/>
                <a:gd name="T119" fmla="*/ 183 h 269"/>
                <a:gd name="T120" fmla="*/ 306 w 313"/>
                <a:gd name="T121" fmla="*/ 150 h 269"/>
                <a:gd name="T122" fmla="*/ 308 w 313"/>
                <a:gd name="T123" fmla="*/ 107 h 269"/>
                <a:gd name="T124" fmla="*/ 311 w 313"/>
                <a:gd name="T125" fmla="*/ 81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13" h="269">
                  <a:moveTo>
                    <a:pt x="313" y="71"/>
                  </a:moveTo>
                  <a:lnTo>
                    <a:pt x="308" y="63"/>
                  </a:lnTo>
                  <a:lnTo>
                    <a:pt x="306" y="63"/>
                  </a:lnTo>
                  <a:lnTo>
                    <a:pt x="306" y="61"/>
                  </a:lnTo>
                  <a:lnTo>
                    <a:pt x="306" y="58"/>
                  </a:lnTo>
                  <a:lnTo>
                    <a:pt x="301" y="48"/>
                  </a:lnTo>
                  <a:lnTo>
                    <a:pt x="298" y="45"/>
                  </a:lnTo>
                  <a:lnTo>
                    <a:pt x="298" y="45"/>
                  </a:lnTo>
                  <a:lnTo>
                    <a:pt x="298" y="43"/>
                  </a:lnTo>
                  <a:lnTo>
                    <a:pt x="298" y="35"/>
                  </a:lnTo>
                  <a:lnTo>
                    <a:pt x="296" y="25"/>
                  </a:lnTo>
                  <a:lnTo>
                    <a:pt x="293" y="12"/>
                  </a:lnTo>
                  <a:lnTo>
                    <a:pt x="293" y="12"/>
                  </a:lnTo>
                  <a:lnTo>
                    <a:pt x="285" y="17"/>
                  </a:lnTo>
                  <a:lnTo>
                    <a:pt x="280" y="20"/>
                  </a:lnTo>
                  <a:lnTo>
                    <a:pt x="280" y="20"/>
                  </a:lnTo>
                  <a:lnTo>
                    <a:pt x="278" y="20"/>
                  </a:lnTo>
                  <a:lnTo>
                    <a:pt x="273" y="15"/>
                  </a:lnTo>
                  <a:lnTo>
                    <a:pt x="268" y="10"/>
                  </a:lnTo>
                  <a:lnTo>
                    <a:pt x="265" y="7"/>
                  </a:lnTo>
                  <a:lnTo>
                    <a:pt x="255" y="5"/>
                  </a:lnTo>
                  <a:lnTo>
                    <a:pt x="245" y="2"/>
                  </a:lnTo>
                  <a:lnTo>
                    <a:pt x="234" y="0"/>
                  </a:lnTo>
                  <a:lnTo>
                    <a:pt x="224" y="7"/>
                  </a:lnTo>
                  <a:lnTo>
                    <a:pt x="214" y="15"/>
                  </a:lnTo>
                  <a:lnTo>
                    <a:pt x="204" y="20"/>
                  </a:lnTo>
                  <a:lnTo>
                    <a:pt x="194" y="28"/>
                  </a:lnTo>
                  <a:lnTo>
                    <a:pt x="184" y="35"/>
                  </a:lnTo>
                  <a:lnTo>
                    <a:pt x="173" y="40"/>
                  </a:lnTo>
                  <a:lnTo>
                    <a:pt x="163" y="48"/>
                  </a:lnTo>
                  <a:lnTo>
                    <a:pt x="153" y="56"/>
                  </a:lnTo>
                  <a:lnTo>
                    <a:pt x="145" y="61"/>
                  </a:lnTo>
                  <a:lnTo>
                    <a:pt x="143" y="63"/>
                  </a:lnTo>
                  <a:lnTo>
                    <a:pt x="138" y="68"/>
                  </a:lnTo>
                  <a:lnTo>
                    <a:pt x="133" y="73"/>
                  </a:lnTo>
                  <a:lnTo>
                    <a:pt x="127" y="79"/>
                  </a:lnTo>
                  <a:lnTo>
                    <a:pt x="122" y="84"/>
                  </a:lnTo>
                  <a:lnTo>
                    <a:pt x="120" y="86"/>
                  </a:lnTo>
                  <a:lnTo>
                    <a:pt x="115" y="91"/>
                  </a:lnTo>
                  <a:lnTo>
                    <a:pt x="112" y="94"/>
                  </a:lnTo>
                  <a:lnTo>
                    <a:pt x="105" y="94"/>
                  </a:lnTo>
                  <a:lnTo>
                    <a:pt x="97" y="96"/>
                  </a:lnTo>
                  <a:lnTo>
                    <a:pt x="92" y="96"/>
                  </a:lnTo>
                  <a:lnTo>
                    <a:pt x="87" y="99"/>
                  </a:lnTo>
                  <a:lnTo>
                    <a:pt x="82" y="99"/>
                  </a:lnTo>
                  <a:lnTo>
                    <a:pt x="82" y="104"/>
                  </a:lnTo>
                  <a:lnTo>
                    <a:pt x="82" y="109"/>
                  </a:lnTo>
                  <a:lnTo>
                    <a:pt x="82" y="117"/>
                  </a:lnTo>
                  <a:lnTo>
                    <a:pt x="82" y="122"/>
                  </a:lnTo>
                  <a:lnTo>
                    <a:pt x="82" y="129"/>
                  </a:lnTo>
                  <a:lnTo>
                    <a:pt x="82" y="135"/>
                  </a:lnTo>
                  <a:lnTo>
                    <a:pt x="82" y="142"/>
                  </a:lnTo>
                  <a:lnTo>
                    <a:pt x="82" y="147"/>
                  </a:lnTo>
                  <a:lnTo>
                    <a:pt x="82" y="150"/>
                  </a:lnTo>
                  <a:lnTo>
                    <a:pt x="82" y="152"/>
                  </a:lnTo>
                  <a:lnTo>
                    <a:pt x="82" y="157"/>
                  </a:lnTo>
                  <a:lnTo>
                    <a:pt x="79" y="162"/>
                  </a:lnTo>
                  <a:lnTo>
                    <a:pt x="76" y="165"/>
                  </a:lnTo>
                  <a:lnTo>
                    <a:pt x="76" y="170"/>
                  </a:lnTo>
                  <a:lnTo>
                    <a:pt x="76" y="173"/>
                  </a:lnTo>
                  <a:lnTo>
                    <a:pt x="74" y="173"/>
                  </a:lnTo>
                  <a:lnTo>
                    <a:pt x="74" y="175"/>
                  </a:lnTo>
                  <a:lnTo>
                    <a:pt x="74" y="175"/>
                  </a:lnTo>
                  <a:lnTo>
                    <a:pt x="74" y="178"/>
                  </a:lnTo>
                  <a:lnTo>
                    <a:pt x="74" y="178"/>
                  </a:lnTo>
                  <a:lnTo>
                    <a:pt x="71" y="178"/>
                  </a:lnTo>
                  <a:lnTo>
                    <a:pt x="66" y="183"/>
                  </a:lnTo>
                  <a:lnTo>
                    <a:pt x="66" y="185"/>
                  </a:lnTo>
                  <a:lnTo>
                    <a:pt x="64" y="185"/>
                  </a:lnTo>
                  <a:lnTo>
                    <a:pt x="59" y="183"/>
                  </a:lnTo>
                  <a:lnTo>
                    <a:pt x="59" y="183"/>
                  </a:lnTo>
                  <a:lnTo>
                    <a:pt x="56" y="183"/>
                  </a:lnTo>
                  <a:lnTo>
                    <a:pt x="56" y="185"/>
                  </a:lnTo>
                  <a:lnTo>
                    <a:pt x="51" y="185"/>
                  </a:lnTo>
                  <a:lnTo>
                    <a:pt x="46" y="185"/>
                  </a:lnTo>
                  <a:lnTo>
                    <a:pt x="38" y="185"/>
                  </a:lnTo>
                  <a:lnTo>
                    <a:pt x="33" y="185"/>
                  </a:lnTo>
                  <a:lnTo>
                    <a:pt x="28" y="188"/>
                  </a:lnTo>
                  <a:lnTo>
                    <a:pt x="23" y="188"/>
                  </a:lnTo>
                  <a:lnTo>
                    <a:pt x="20" y="190"/>
                  </a:lnTo>
                  <a:lnTo>
                    <a:pt x="15" y="193"/>
                  </a:lnTo>
                  <a:lnTo>
                    <a:pt x="15" y="193"/>
                  </a:lnTo>
                  <a:lnTo>
                    <a:pt x="10" y="196"/>
                  </a:lnTo>
                  <a:lnTo>
                    <a:pt x="5" y="193"/>
                  </a:lnTo>
                  <a:lnTo>
                    <a:pt x="3" y="193"/>
                  </a:lnTo>
                  <a:lnTo>
                    <a:pt x="3" y="193"/>
                  </a:lnTo>
                  <a:lnTo>
                    <a:pt x="0" y="196"/>
                  </a:lnTo>
                  <a:lnTo>
                    <a:pt x="0" y="196"/>
                  </a:lnTo>
                  <a:lnTo>
                    <a:pt x="0" y="198"/>
                  </a:lnTo>
                  <a:lnTo>
                    <a:pt x="0" y="201"/>
                  </a:lnTo>
                  <a:lnTo>
                    <a:pt x="0" y="206"/>
                  </a:lnTo>
                  <a:lnTo>
                    <a:pt x="3" y="206"/>
                  </a:lnTo>
                  <a:lnTo>
                    <a:pt x="3" y="208"/>
                  </a:lnTo>
                  <a:lnTo>
                    <a:pt x="5" y="211"/>
                  </a:lnTo>
                  <a:lnTo>
                    <a:pt x="3" y="213"/>
                  </a:lnTo>
                  <a:lnTo>
                    <a:pt x="5" y="213"/>
                  </a:lnTo>
                  <a:lnTo>
                    <a:pt x="5" y="216"/>
                  </a:lnTo>
                  <a:lnTo>
                    <a:pt x="8" y="218"/>
                  </a:lnTo>
                  <a:lnTo>
                    <a:pt x="10" y="224"/>
                  </a:lnTo>
                  <a:lnTo>
                    <a:pt x="10" y="224"/>
                  </a:lnTo>
                  <a:lnTo>
                    <a:pt x="13" y="224"/>
                  </a:lnTo>
                  <a:lnTo>
                    <a:pt x="13" y="224"/>
                  </a:lnTo>
                  <a:lnTo>
                    <a:pt x="13" y="224"/>
                  </a:lnTo>
                  <a:lnTo>
                    <a:pt x="15" y="226"/>
                  </a:lnTo>
                  <a:lnTo>
                    <a:pt x="15" y="226"/>
                  </a:lnTo>
                  <a:lnTo>
                    <a:pt x="15" y="226"/>
                  </a:lnTo>
                  <a:lnTo>
                    <a:pt x="18" y="229"/>
                  </a:lnTo>
                  <a:lnTo>
                    <a:pt x="18" y="229"/>
                  </a:lnTo>
                  <a:lnTo>
                    <a:pt x="20" y="231"/>
                  </a:lnTo>
                  <a:lnTo>
                    <a:pt x="20" y="231"/>
                  </a:lnTo>
                  <a:lnTo>
                    <a:pt x="18" y="231"/>
                  </a:lnTo>
                  <a:lnTo>
                    <a:pt x="15" y="231"/>
                  </a:lnTo>
                  <a:lnTo>
                    <a:pt x="15" y="231"/>
                  </a:lnTo>
                  <a:lnTo>
                    <a:pt x="15" y="234"/>
                  </a:lnTo>
                  <a:lnTo>
                    <a:pt x="15" y="239"/>
                  </a:lnTo>
                  <a:lnTo>
                    <a:pt x="15" y="239"/>
                  </a:lnTo>
                  <a:lnTo>
                    <a:pt x="18" y="239"/>
                  </a:lnTo>
                  <a:lnTo>
                    <a:pt x="23" y="241"/>
                  </a:lnTo>
                  <a:lnTo>
                    <a:pt x="26" y="246"/>
                  </a:lnTo>
                  <a:lnTo>
                    <a:pt x="28" y="246"/>
                  </a:lnTo>
                  <a:lnTo>
                    <a:pt x="31" y="246"/>
                  </a:lnTo>
                  <a:lnTo>
                    <a:pt x="33" y="246"/>
                  </a:lnTo>
                  <a:lnTo>
                    <a:pt x="33" y="246"/>
                  </a:lnTo>
                  <a:lnTo>
                    <a:pt x="36" y="246"/>
                  </a:lnTo>
                  <a:lnTo>
                    <a:pt x="36" y="244"/>
                  </a:lnTo>
                  <a:lnTo>
                    <a:pt x="38" y="246"/>
                  </a:lnTo>
                  <a:lnTo>
                    <a:pt x="38" y="246"/>
                  </a:lnTo>
                  <a:lnTo>
                    <a:pt x="38" y="246"/>
                  </a:lnTo>
                  <a:lnTo>
                    <a:pt x="41" y="249"/>
                  </a:lnTo>
                  <a:lnTo>
                    <a:pt x="41" y="252"/>
                  </a:lnTo>
                  <a:lnTo>
                    <a:pt x="41" y="252"/>
                  </a:lnTo>
                  <a:lnTo>
                    <a:pt x="41" y="252"/>
                  </a:lnTo>
                  <a:lnTo>
                    <a:pt x="38" y="252"/>
                  </a:lnTo>
                  <a:lnTo>
                    <a:pt x="38" y="254"/>
                  </a:lnTo>
                  <a:lnTo>
                    <a:pt x="38" y="254"/>
                  </a:lnTo>
                  <a:lnTo>
                    <a:pt x="38" y="254"/>
                  </a:lnTo>
                  <a:lnTo>
                    <a:pt x="38" y="254"/>
                  </a:lnTo>
                  <a:lnTo>
                    <a:pt x="41" y="259"/>
                  </a:lnTo>
                  <a:lnTo>
                    <a:pt x="43" y="262"/>
                  </a:lnTo>
                  <a:lnTo>
                    <a:pt x="43" y="264"/>
                  </a:lnTo>
                  <a:lnTo>
                    <a:pt x="43" y="262"/>
                  </a:lnTo>
                  <a:lnTo>
                    <a:pt x="43" y="257"/>
                  </a:lnTo>
                  <a:lnTo>
                    <a:pt x="43" y="257"/>
                  </a:lnTo>
                  <a:lnTo>
                    <a:pt x="46" y="257"/>
                  </a:lnTo>
                  <a:lnTo>
                    <a:pt x="48" y="254"/>
                  </a:lnTo>
                  <a:lnTo>
                    <a:pt x="48" y="254"/>
                  </a:lnTo>
                  <a:lnTo>
                    <a:pt x="51" y="254"/>
                  </a:lnTo>
                  <a:lnTo>
                    <a:pt x="51" y="254"/>
                  </a:lnTo>
                  <a:lnTo>
                    <a:pt x="54" y="252"/>
                  </a:lnTo>
                  <a:lnTo>
                    <a:pt x="54" y="254"/>
                  </a:lnTo>
                  <a:lnTo>
                    <a:pt x="54" y="254"/>
                  </a:lnTo>
                  <a:lnTo>
                    <a:pt x="59" y="259"/>
                  </a:lnTo>
                  <a:lnTo>
                    <a:pt x="61" y="262"/>
                  </a:lnTo>
                  <a:lnTo>
                    <a:pt x="61" y="264"/>
                  </a:lnTo>
                  <a:lnTo>
                    <a:pt x="64" y="264"/>
                  </a:lnTo>
                  <a:lnTo>
                    <a:pt x="66" y="264"/>
                  </a:lnTo>
                  <a:lnTo>
                    <a:pt x="66" y="267"/>
                  </a:lnTo>
                  <a:lnTo>
                    <a:pt x="69" y="269"/>
                  </a:lnTo>
                  <a:lnTo>
                    <a:pt x="69" y="267"/>
                  </a:lnTo>
                  <a:lnTo>
                    <a:pt x="69" y="267"/>
                  </a:lnTo>
                  <a:lnTo>
                    <a:pt x="69" y="267"/>
                  </a:lnTo>
                  <a:lnTo>
                    <a:pt x="69" y="264"/>
                  </a:lnTo>
                  <a:lnTo>
                    <a:pt x="69" y="264"/>
                  </a:lnTo>
                  <a:lnTo>
                    <a:pt x="69" y="264"/>
                  </a:lnTo>
                  <a:lnTo>
                    <a:pt x="69" y="262"/>
                  </a:lnTo>
                  <a:lnTo>
                    <a:pt x="69" y="259"/>
                  </a:lnTo>
                  <a:lnTo>
                    <a:pt x="69" y="257"/>
                  </a:lnTo>
                  <a:lnTo>
                    <a:pt x="69" y="252"/>
                  </a:lnTo>
                  <a:lnTo>
                    <a:pt x="69" y="249"/>
                  </a:lnTo>
                  <a:lnTo>
                    <a:pt x="71" y="246"/>
                  </a:lnTo>
                  <a:lnTo>
                    <a:pt x="74" y="244"/>
                  </a:lnTo>
                  <a:lnTo>
                    <a:pt x="76" y="241"/>
                  </a:lnTo>
                  <a:lnTo>
                    <a:pt x="79" y="236"/>
                  </a:lnTo>
                  <a:lnTo>
                    <a:pt x="79" y="229"/>
                  </a:lnTo>
                  <a:lnTo>
                    <a:pt x="79" y="229"/>
                  </a:lnTo>
                  <a:lnTo>
                    <a:pt x="82" y="226"/>
                  </a:lnTo>
                  <a:lnTo>
                    <a:pt x="84" y="224"/>
                  </a:lnTo>
                  <a:lnTo>
                    <a:pt x="87" y="224"/>
                  </a:lnTo>
                  <a:lnTo>
                    <a:pt x="89" y="221"/>
                  </a:lnTo>
                  <a:lnTo>
                    <a:pt x="92" y="221"/>
                  </a:lnTo>
                  <a:lnTo>
                    <a:pt x="94" y="221"/>
                  </a:lnTo>
                  <a:lnTo>
                    <a:pt x="99" y="221"/>
                  </a:lnTo>
                  <a:lnTo>
                    <a:pt x="102" y="221"/>
                  </a:lnTo>
                  <a:lnTo>
                    <a:pt x="105" y="218"/>
                  </a:lnTo>
                  <a:lnTo>
                    <a:pt x="105" y="218"/>
                  </a:lnTo>
                  <a:lnTo>
                    <a:pt x="107" y="218"/>
                  </a:lnTo>
                  <a:lnTo>
                    <a:pt x="112" y="221"/>
                  </a:lnTo>
                  <a:lnTo>
                    <a:pt x="120" y="224"/>
                  </a:lnTo>
                  <a:lnTo>
                    <a:pt x="122" y="224"/>
                  </a:lnTo>
                  <a:lnTo>
                    <a:pt x="122" y="224"/>
                  </a:lnTo>
                  <a:lnTo>
                    <a:pt x="125" y="226"/>
                  </a:lnTo>
                  <a:lnTo>
                    <a:pt x="127" y="229"/>
                  </a:lnTo>
                  <a:lnTo>
                    <a:pt x="127" y="229"/>
                  </a:lnTo>
                  <a:lnTo>
                    <a:pt x="127" y="231"/>
                  </a:lnTo>
                  <a:lnTo>
                    <a:pt x="133" y="236"/>
                  </a:lnTo>
                  <a:lnTo>
                    <a:pt x="133" y="239"/>
                  </a:lnTo>
                  <a:lnTo>
                    <a:pt x="135" y="239"/>
                  </a:lnTo>
                  <a:lnTo>
                    <a:pt x="135" y="239"/>
                  </a:lnTo>
                  <a:lnTo>
                    <a:pt x="138" y="239"/>
                  </a:lnTo>
                  <a:lnTo>
                    <a:pt x="138" y="239"/>
                  </a:lnTo>
                  <a:lnTo>
                    <a:pt x="140" y="236"/>
                  </a:lnTo>
                  <a:lnTo>
                    <a:pt x="143" y="236"/>
                  </a:lnTo>
                  <a:lnTo>
                    <a:pt x="143" y="236"/>
                  </a:lnTo>
                  <a:lnTo>
                    <a:pt x="153" y="231"/>
                  </a:lnTo>
                  <a:lnTo>
                    <a:pt x="153" y="231"/>
                  </a:lnTo>
                  <a:lnTo>
                    <a:pt x="155" y="231"/>
                  </a:lnTo>
                  <a:lnTo>
                    <a:pt x="158" y="231"/>
                  </a:lnTo>
                  <a:lnTo>
                    <a:pt x="166" y="236"/>
                  </a:lnTo>
                  <a:lnTo>
                    <a:pt x="171" y="241"/>
                  </a:lnTo>
                  <a:lnTo>
                    <a:pt x="176" y="241"/>
                  </a:lnTo>
                  <a:lnTo>
                    <a:pt x="181" y="244"/>
                  </a:lnTo>
                  <a:lnTo>
                    <a:pt x="189" y="244"/>
                  </a:lnTo>
                  <a:lnTo>
                    <a:pt x="194" y="236"/>
                  </a:lnTo>
                  <a:lnTo>
                    <a:pt x="196" y="234"/>
                  </a:lnTo>
                  <a:lnTo>
                    <a:pt x="199" y="234"/>
                  </a:lnTo>
                  <a:lnTo>
                    <a:pt x="201" y="231"/>
                  </a:lnTo>
                  <a:lnTo>
                    <a:pt x="206" y="231"/>
                  </a:lnTo>
                  <a:lnTo>
                    <a:pt x="214" y="231"/>
                  </a:lnTo>
                  <a:lnTo>
                    <a:pt x="224" y="231"/>
                  </a:lnTo>
                  <a:lnTo>
                    <a:pt x="227" y="231"/>
                  </a:lnTo>
                  <a:lnTo>
                    <a:pt x="229" y="231"/>
                  </a:lnTo>
                  <a:lnTo>
                    <a:pt x="234" y="234"/>
                  </a:lnTo>
                  <a:lnTo>
                    <a:pt x="237" y="236"/>
                  </a:lnTo>
                  <a:lnTo>
                    <a:pt x="242" y="236"/>
                  </a:lnTo>
                  <a:lnTo>
                    <a:pt x="245" y="236"/>
                  </a:lnTo>
                  <a:lnTo>
                    <a:pt x="247" y="234"/>
                  </a:lnTo>
                  <a:lnTo>
                    <a:pt x="250" y="231"/>
                  </a:lnTo>
                  <a:lnTo>
                    <a:pt x="250" y="231"/>
                  </a:lnTo>
                  <a:lnTo>
                    <a:pt x="252" y="229"/>
                  </a:lnTo>
                  <a:lnTo>
                    <a:pt x="257" y="226"/>
                  </a:lnTo>
                  <a:lnTo>
                    <a:pt x="260" y="226"/>
                  </a:lnTo>
                  <a:lnTo>
                    <a:pt x="263" y="224"/>
                  </a:lnTo>
                  <a:lnTo>
                    <a:pt x="265" y="224"/>
                  </a:lnTo>
                  <a:lnTo>
                    <a:pt x="268" y="224"/>
                  </a:lnTo>
                  <a:lnTo>
                    <a:pt x="265" y="213"/>
                  </a:lnTo>
                  <a:lnTo>
                    <a:pt x="265" y="208"/>
                  </a:lnTo>
                  <a:lnTo>
                    <a:pt x="265" y="206"/>
                  </a:lnTo>
                  <a:lnTo>
                    <a:pt x="268" y="201"/>
                  </a:lnTo>
                  <a:lnTo>
                    <a:pt x="273" y="193"/>
                  </a:lnTo>
                  <a:lnTo>
                    <a:pt x="280" y="183"/>
                  </a:lnTo>
                  <a:lnTo>
                    <a:pt x="283" y="175"/>
                  </a:lnTo>
                  <a:lnTo>
                    <a:pt x="291" y="168"/>
                  </a:lnTo>
                  <a:lnTo>
                    <a:pt x="301" y="157"/>
                  </a:lnTo>
                  <a:lnTo>
                    <a:pt x="306" y="150"/>
                  </a:lnTo>
                  <a:lnTo>
                    <a:pt x="306" y="140"/>
                  </a:lnTo>
                  <a:lnTo>
                    <a:pt x="306" y="127"/>
                  </a:lnTo>
                  <a:lnTo>
                    <a:pt x="306" y="117"/>
                  </a:lnTo>
                  <a:lnTo>
                    <a:pt x="308" y="107"/>
                  </a:lnTo>
                  <a:lnTo>
                    <a:pt x="308" y="99"/>
                  </a:lnTo>
                  <a:lnTo>
                    <a:pt x="308" y="91"/>
                  </a:lnTo>
                  <a:lnTo>
                    <a:pt x="308" y="81"/>
                  </a:lnTo>
                  <a:lnTo>
                    <a:pt x="311" y="81"/>
                  </a:lnTo>
                  <a:lnTo>
                    <a:pt x="313" y="73"/>
                  </a:lnTo>
                  <a:lnTo>
                    <a:pt x="313" y="71"/>
                  </a:lnTo>
                  <a:lnTo>
                    <a:pt x="313" y="71"/>
                  </a:lnTo>
                  <a:close/>
                </a:path>
              </a:pathLst>
            </a:custGeom>
            <a:solidFill>
              <a:srgbClr val="FFC000"/>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241" name="Freeform 1860">
              <a:extLst>
                <a:ext uri="{FF2B5EF4-FFF2-40B4-BE49-F238E27FC236}">
                  <a16:creationId xmlns:a16="http://schemas.microsoft.com/office/drawing/2014/main" id="{DA5B743E-7EE6-024F-8172-C98F726756ED}"/>
                </a:ext>
              </a:extLst>
            </p:cNvPr>
            <p:cNvSpPr>
              <a:spLocks/>
            </p:cNvSpPr>
            <p:nvPr/>
          </p:nvSpPr>
          <p:spPr bwMode="auto">
            <a:xfrm>
              <a:off x="2749331" y="3243343"/>
              <a:ext cx="153759" cy="158667"/>
            </a:xfrm>
            <a:custGeom>
              <a:avLst/>
              <a:gdLst>
                <a:gd name="T0" fmla="*/ 86 w 94"/>
                <a:gd name="T1" fmla="*/ 3 h 97"/>
                <a:gd name="T2" fmla="*/ 84 w 94"/>
                <a:gd name="T3" fmla="*/ 3 h 97"/>
                <a:gd name="T4" fmla="*/ 76 w 94"/>
                <a:gd name="T5" fmla="*/ 5 h 97"/>
                <a:gd name="T6" fmla="*/ 76 w 94"/>
                <a:gd name="T7" fmla="*/ 8 h 97"/>
                <a:gd name="T8" fmla="*/ 74 w 94"/>
                <a:gd name="T9" fmla="*/ 5 h 97"/>
                <a:gd name="T10" fmla="*/ 71 w 94"/>
                <a:gd name="T11" fmla="*/ 8 h 97"/>
                <a:gd name="T12" fmla="*/ 68 w 94"/>
                <a:gd name="T13" fmla="*/ 8 h 97"/>
                <a:gd name="T14" fmla="*/ 63 w 94"/>
                <a:gd name="T15" fmla="*/ 8 h 97"/>
                <a:gd name="T16" fmla="*/ 58 w 94"/>
                <a:gd name="T17" fmla="*/ 5 h 97"/>
                <a:gd name="T18" fmla="*/ 56 w 94"/>
                <a:gd name="T19" fmla="*/ 10 h 97"/>
                <a:gd name="T20" fmla="*/ 53 w 94"/>
                <a:gd name="T21" fmla="*/ 10 h 97"/>
                <a:gd name="T22" fmla="*/ 53 w 94"/>
                <a:gd name="T23" fmla="*/ 15 h 97"/>
                <a:gd name="T24" fmla="*/ 48 w 94"/>
                <a:gd name="T25" fmla="*/ 18 h 97"/>
                <a:gd name="T26" fmla="*/ 43 w 94"/>
                <a:gd name="T27" fmla="*/ 23 h 97"/>
                <a:gd name="T28" fmla="*/ 40 w 94"/>
                <a:gd name="T29" fmla="*/ 25 h 97"/>
                <a:gd name="T30" fmla="*/ 35 w 94"/>
                <a:gd name="T31" fmla="*/ 23 h 97"/>
                <a:gd name="T32" fmla="*/ 33 w 94"/>
                <a:gd name="T33" fmla="*/ 23 h 97"/>
                <a:gd name="T34" fmla="*/ 28 w 94"/>
                <a:gd name="T35" fmla="*/ 28 h 97"/>
                <a:gd name="T36" fmla="*/ 20 w 94"/>
                <a:gd name="T37" fmla="*/ 28 h 97"/>
                <a:gd name="T38" fmla="*/ 20 w 94"/>
                <a:gd name="T39" fmla="*/ 36 h 97"/>
                <a:gd name="T40" fmla="*/ 17 w 94"/>
                <a:gd name="T41" fmla="*/ 38 h 97"/>
                <a:gd name="T42" fmla="*/ 15 w 94"/>
                <a:gd name="T43" fmla="*/ 41 h 97"/>
                <a:gd name="T44" fmla="*/ 12 w 94"/>
                <a:gd name="T45" fmla="*/ 46 h 97"/>
                <a:gd name="T46" fmla="*/ 7 w 94"/>
                <a:gd name="T47" fmla="*/ 46 h 97"/>
                <a:gd name="T48" fmla="*/ 5 w 94"/>
                <a:gd name="T49" fmla="*/ 46 h 97"/>
                <a:gd name="T50" fmla="*/ 0 w 94"/>
                <a:gd name="T51" fmla="*/ 46 h 97"/>
                <a:gd name="T52" fmla="*/ 10 w 94"/>
                <a:gd name="T53" fmla="*/ 56 h 97"/>
                <a:gd name="T54" fmla="*/ 17 w 94"/>
                <a:gd name="T55" fmla="*/ 64 h 97"/>
                <a:gd name="T56" fmla="*/ 30 w 94"/>
                <a:gd name="T57" fmla="*/ 84 h 97"/>
                <a:gd name="T58" fmla="*/ 35 w 94"/>
                <a:gd name="T59" fmla="*/ 89 h 97"/>
                <a:gd name="T60" fmla="*/ 35 w 94"/>
                <a:gd name="T61" fmla="*/ 89 h 97"/>
                <a:gd name="T62" fmla="*/ 38 w 94"/>
                <a:gd name="T63" fmla="*/ 87 h 97"/>
                <a:gd name="T64" fmla="*/ 46 w 94"/>
                <a:gd name="T65" fmla="*/ 89 h 97"/>
                <a:gd name="T66" fmla="*/ 56 w 94"/>
                <a:gd name="T67" fmla="*/ 89 h 97"/>
                <a:gd name="T68" fmla="*/ 61 w 94"/>
                <a:gd name="T69" fmla="*/ 92 h 97"/>
                <a:gd name="T70" fmla="*/ 66 w 94"/>
                <a:gd name="T71" fmla="*/ 94 h 97"/>
                <a:gd name="T72" fmla="*/ 66 w 94"/>
                <a:gd name="T73" fmla="*/ 97 h 97"/>
                <a:gd name="T74" fmla="*/ 74 w 94"/>
                <a:gd name="T75" fmla="*/ 97 h 97"/>
                <a:gd name="T76" fmla="*/ 76 w 94"/>
                <a:gd name="T77" fmla="*/ 92 h 97"/>
                <a:gd name="T78" fmla="*/ 74 w 94"/>
                <a:gd name="T79" fmla="*/ 84 h 97"/>
                <a:gd name="T80" fmla="*/ 74 w 94"/>
                <a:gd name="T81" fmla="*/ 79 h 97"/>
                <a:gd name="T82" fmla="*/ 79 w 94"/>
                <a:gd name="T83" fmla="*/ 74 h 97"/>
                <a:gd name="T84" fmla="*/ 76 w 94"/>
                <a:gd name="T85" fmla="*/ 71 h 97"/>
                <a:gd name="T86" fmla="*/ 76 w 94"/>
                <a:gd name="T87" fmla="*/ 71 h 97"/>
                <a:gd name="T88" fmla="*/ 76 w 94"/>
                <a:gd name="T89" fmla="*/ 66 h 97"/>
                <a:gd name="T90" fmla="*/ 79 w 94"/>
                <a:gd name="T91" fmla="*/ 64 h 97"/>
                <a:gd name="T92" fmla="*/ 79 w 94"/>
                <a:gd name="T93" fmla="*/ 59 h 97"/>
                <a:gd name="T94" fmla="*/ 79 w 94"/>
                <a:gd name="T95" fmla="*/ 56 h 97"/>
                <a:gd name="T96" fmla="*/ 81 w 94"/>
                <a:gd name="T97" fmla="*/ 53 h 97"/>
                <a:gd name="T98" fmla="*/ 79 w 94"/>
                <a:gd name="T99" fmla="*/ 59 h 97"/>
                <a:gd name="T100" fmla="*/ 81 w 94"/>
                <a:gd name="T101" fmla="*/ 59 h 97"/>
                <a:gd name="T102" fmla="*/ 84 w 94"/>
                <a:gd name="T103" fmla="*/ 46 h 97"/>
                <a:gd name="T104" fmla="*/ 86 w 94"/>
                <a:gd name="T105" fmla="*/ 23 h 97"/>
                <a:gd name="T106" fmla="*/ 91 w 94"/>
                <a:gd name="T107" fmla="*/ 18 h 97"/>
                <a:gd name="T108" fmla="*/ 91 w 94"/>
                <a:gd name="T109" fmla="*/ 5 h 97"/>
                <a:gd name="T110" fmla="*/ 89 w 94"/>
                <a:gd name="T111" fmla="*/ 3 h 97"/>
                <a:gd name="T112" fmla="*/ 91 w 94"/>
                <a:gd name="T113" fmla="*/ 5 h 97"/>
                <a:gd name="T114" fmla="*/ 94 w 94"/>
                <a:gd name="T115"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4" h="97">
                  <a:moveTo>
                    <a:pt x="89" y="0"/>
                  </a:moveTo>
                  <a:lnTo>
                    <a:pt x="86" y="0"/>
                  </a:lnTo>
                  <a:lnTo>
                    <a:pt x="86" y="3"/>
                  </a:lnTo>
                  <a:lnTo>
                    <a:pt x="84" y="3"/>
                  </a:lnTo>
                  <a:lnTo>
                    <a:pt x="84" y="3"/>
                  </a:lnTo>
                  <a:lnTo>
                    <a:pt x="84" y="3"/>
                  </a:lnTo>
                  <a:lnTo>
                    <a:pt x="81" y="5"/>
                  </a:lnTo>
                  <a:lnTo>
                    <a:pt x="79" y="5"/>
                  </a:lnTo>
                  <a:lnTo>
                    <a:pt x="76" y="5"/>
                  </a:lnTo>
                  <a:lnTo>
                    <a:pt x="76" y="5"/>
                  </a:lnTo>
                  <a:lnTo>
                    <a:pt x="76" y="5"/>
                  </a:lnTo>
                  <a:lnTo>
                    <a:pt x="76" y="8"/>
                  </a:lnTo>
                  <a:lnTo>
                    <a:pt x="74" y="8"/>
                  </a:lnTo>
                  <a:lnTo>
                    <a:pt x="74" y="8"/>
                  </a:lnTo>
                  <a:lnTo>
                    <a:pt x="74" y="5"/>
                  </a:lnTo>
                  <a:lnTo>
                    <a:pt x="71" y="5"/>
                  </a:lnTo>
                  <a:lnTo>
                    <a:pt x="71" y="8"/>
                  </a:lnTo>
                  <a:lnTo>
                    <a:pt x="71" y="8"/>
                  </a:lnTo>
                  <a:lnTo>
                    <a:pt x="71" y="8"/>
                  </a:lnTo>
                  <a:lnTo>
                    <a:pt x="68" y="8"/>
                  </a:lnTo>
                  <a:lnTo>
                    <a:pt x="68" y="8"/>
                  </a:lnTo>
                  <a:lnTo>
                    <a:pt x="66" y="8"/>
                  </a:lnTo>
                  <a:lnTo>
                    <a:pt x="63" y="8"/>
                  </a:lnTo>
                  <a:lnTo>
                    <a:pt x="63" y="8"/>
                  </a:lnTo>
                  <a:lnTo>
                    <a:pt x="61" y="5"/>
                  </a:lnTo>
                  <a:lnTo>
                    <a:pt x="61" y="5"/>
                  </a:lnTo>
                  <a:lnTo>
                    <a:pt x="58" y="5"/>
                  </a:lnTo>
                  <a:lnTo>
                    <a:pt x="56" y="8"/>
                  </a:lnTo>
                  <a:lnTo>
                    <a:pt x="56" y="8"/>
                  </a:lnTo>
                  <a:lnTo>
                    <a:pt x="56" y="10"/>
                  </a:lnTo>
                  <a:lnTo>
                    <a:pt x="56" y="10"/>
                  </a:lnTo>
                  <a:lnTo>
                    <a:pt x="56" y="10"/>
                  </a:lnTo>
                  <a:lnTo>
                    <a:pt x="53" y="10"/>
                  </a:lnTo>
                  <a:lnTo>
                    <a:pt x="53" y="13"/>
                  </a:lnTo>
                  <a:lnTo>
                    <a:pt x="53" y="15"/>
                  </a:lnTo>
                  <a:lnTo>
                    <a:pt x="53" y="15"/>
                  </a:lnTo>
                  <a:lnTo>
                    <a:pt x="53" y="15"/>
                  </a:lnTo>
                  <a:lnTo>
                    <a:pt x="51" y="15"/>
                  </a:lnTo>
                  <a:lnTo>
                    <a:pt x="48" y="18"/>
                  </a:lnTo>
                  <a:lnTo>
                    <a:pt x="46" y="20"/>
                  </a:lnTo>
                  <a:lnTo>
                    <a:pt x="43" y="23"/>
                  </a:lnTo>
                  <a:lnTo>
                    <a:pt x="43" y="23"/>
                  </a:lnTo>
                  <a:lnTo>
                    <a:pt x="40" y="25"/>
                  </a:lnTo>
                  <a:lnTo>
                    <a:pt x="40" y="25"/>
                  </a:lnTo>
                  <a:lnTo>
                    <a:pt x="40" y="25"/>
                  </a:lnTo>
                  <a:lnTo>
                    <a:pt x="40" y="25"/>
                  </a:lnTo>
                  <a:lnTo>
                    <a:pt x="40" y="25"/>
                  </a:lnTo>
                  <a:lnTo>
                    <a:pt x="35" y="23"/>
                  </a:lnTo>
                  <a:lnTo>
                    <a:pt x="35" y="23"/>
                  </a:lnTo>
                  <a:lnTo>
                    <a:pt x="33" y="23"/>
                  </a:lnTo>
                  <a:lnTo>
                    <a:pt x="33" y="23"/>
                  </a:lnTo>
                  <a:lnTo>
                    <a:pt x="30" y="25"/>
                  </a:lnTo>
                  <a:lnTo>
                    <a:pt x="28" y="28"/>
                  </a:lnTo>
                  <a:lnTo>
                    <a:pt x="28" y="28"/>
                  </a:lnTo>
                  <a:lnTo>
                    <a:pt x="23" y="28"/>
                  </a:lnTo>
                  <a:lnTo>
                    <a:pt x="20" y="28"/>
                  </a:lnTo>
                  <a:lnTo>
                    <a:pt x="20" y="28"/>
                  </a:lnTo>
                  <a:lnTo>
                    <a:pt x="20" y="31"/>
                  </a:lnTo>
                  <a:lnTo>
                    <a:pt x="20" y="31"/>
                  </a:lnTo>
                  <a:lnTo>
                    <a:pt x="20" y="36"/>
                  </a:lnTo>
                  <a:lnTo>
                    <a:pt x="20" y="38"/>
                  </a:lnTo>
                  <a:lnTo>
                    <a:pt x="20" y="38"/>
                  </a:lnTo>
                  <a:lnTo>
                    <a:pt x="17" y="38"/>
                  </a:lnTo>
                  <a:lnTo>
                    <a:pt x="17" y="41"/>
                  </a:lnTo>
                  <a:lnTo>
                    <a:pt x="15" y="41"/>
                  </a:lnTo>
                  <a:lnTo>
                    <a:pt x="15" y="41"/>
                  </a:lnTo>
                  <a:lnTo>
                    <a:pt x="15" y="43"/>
                  </a:lnTo>
                  <a:lnTo>
                    <a:pt x="15" y="43"/>
                  </a:lnTo>
                  <a:lnTo>
                    <a:pt x="12" y="46"/>
                  </a:lnTo>
                  <a:lnTo>
                    <a:pt x="12" y="46"/>
                  </a:lnTo>
                  <a:lnTo>
                    <a:pt x="7" y="46"/>
                  </a:lnTo>
                  <a:lnTo>
                    <a:pt x="7" y="46"/>
                  </a:lnTo>
                  <a:lnTo>
                    <a:pt x="5" y="48"/>
                  </a:lnTo>
                  <a:lnTo>
                    <a:pt x="5" y="48"/>
                  </a:lnTo>
                  <a:lnTo>
                    <a:pt x="5" y="46"/>
                  </a:lnTo>
                  <a:lnTo>
                    <a:pt x="2" y="46"/>
                  </a:lnTo>
                  <a:lnTo>
                    <a:pt x="2" y="46"/>
                  </a:lnTo>
                  <a:lnTo>
                    <a:pt x="0" y="46"/>
                  </a:lnTo>
                  <a:lnTo>
                    <a:pt x="0" y="48"/>
                  </a:lnTo>
                  <a:lnTo>
                    <a:pt x="5" y="51"/>
                  </a:lnTo>
                  <a:lnTo>
                    <a:pt x="10" y="56"/>
                  </a:lnTo>
                  <a:lnTo>
                    <a:pt x="10" y="59"/>
                  </a:lnTo>
                  <a:lnTo>
                    <a:pt x="15" y="64"/>
                  </a:lnTo>
                  <a:lnTo>
                    <a:pt x="17" y="64"/>
                  </a:lnTo>
                  <a:lnTo>
                    <a:pt x="17" y="69"/>
                  </a:lnTo>
                  <a:lnTo>
                    <a:pt x="23" y="74"/>
                  </a:lnTo>
                  <a:lnTo>
                    <a:pt x="30" y="84"/>
                  </a:lnTo>
                  <a:lnTo>
                    <a:pt x="33" y="87"/>
                  </a:lnTo>
                  <a:lnTo>
                    <a:pt x="35" y="89"/>
                  </a:lnTo>
                  <a:lnTo>
                    <a:pt x="35" y="89"/>
                  </a:lnTo>
                  <a:lnTo>
                    <a:pt x="35" y="89"/>
                  </a:lnTo>
                  <a:lnTo>
                    <a:pt x="35" y="89"/>
                  </a:lnTo>
                  <a:lnTo>
                    <a:pt x="35" y="89"/>
                  </a:lnTo>
                  <a:lnTo>
                    <a:pt x="38" y="87"/>
                  </a:lnTo>
                  <a:lnTo>
                    <a:pt x="38" y="87"/>
                  </a:lnTo>
                  <a:lnTo>
                    <a:pt x="38" y="87"/>
                  </a:lnTo>
                  <a:lnTo>
                    <a:pt x="38" y="87"/>
                  </a:lnTo>
                  <a:lnTo>
                    <a:pt x="43" y="89"/>
                  </a:lnTo>
                  <a:lnTo>
                    <a:pt x="46" y="89"/>
                  </a:lnTo>
                  <a:lnTo>
                    <a:pt x="51" y="92"/>
                  </a:lnTo>
                  <a:lnTo>
                    <a:pt x="53" y="92"/>
                  </a:lnTo>
                  <a:lnTo>
                    <a:pt x="56" y="89"/>
                  </a:lnTo>
                  <a:lnTo>
                    <a:pt x="56" y="89"/>
                  </a:lnTo>
                  <a:lnTo>
                    <a:pt x="61" y="92"/>
                  </a:lnTo>
                  <a:lnTo>
                    <a:pt x="61" y="92"/>
                  </a:lnTo>
                  <a:lnTo>
                    <a:pt x="63" y="92"/>
                  </a:lnTo>
                  <a:lnTo>
                    <a:pt x="63" y="94"/>
                  </a:lnTo>
                  <a:lnTo>
                    <a:pt x="66" y="94"/>
                  </a:lnTo>
                  <a:lnTo>
                    <a:pt x="66" y="97"/>
                  </a:lnTo>
                  <a:lnTo>
                    <a:pt x="66" y="97"/>
                  </a:lnTo>
                  <a:lnTo>
                    <a:pt x="66" y="97"/>
                  </a:lnTo>
                  <a:lnTo>
                    <a:pt x="71" y="97"/>
                  </a:lnTo>
                  <a:lnTo>
                    <a:pt x="74" y="97"/>
                  </a:lnTo>
                  <a:lnTo>
                    <a:pt x="74" y="97"/>
                  </a:lnTo>
                  <a:lnTo>
                    <a:pt x="76" y="94"/>
                  </a:lnTo>
                  <a:lnTo>
                    <a:pt x="76" y="94"/>
                  </a:lnTo>
                  <a:lnTo>
                    <a:pt x="76" y="92"/>
                  </a:lnTo>
                  <a:lnTo>
                    <a:pt x="74" y="92"/>
                  </a:lnTo>
                  <a:lnTo>
                    <a:pt x="74" y="89"/>
                  </a:lnTo>
                  <a:lnTo>
                    <a:pt x="74" y="84"/>
                  </a:lnTo>
                  <a:lnTo>
                    <a:pt x="74" y="84"/>
                  </a:lnTo>
                  <a:lnTo>
                    <a:pt x="74" y="81"/>
                  </a:lnTo>
                  <a:lnTo>
                    <a:pt x="74" y="79"/>
                  </a:lnTo>
                  <a:lnTo>
                    <a:pt x="76" y="79"/>
                  </a:lnTo>
                  <a:lnTo>
                    <a:pt x="79" y="76"/>
                  </a:lnTo>
                  <a:lnTo>
                    <a:pt x="79" y="74"/>
                  </a:lnTo>
                  <a:lnTo>
                    <a:pt x="76" y="71"/>
                  </a:lnTo>
                  <a:lnTo>
                    <a:pt x="76" y="71"/>
                  </a:lnTo>
                  <a:lnTo>
                    <a:pt x="76" y="71"/>
                  </a:lnTo>
                  <a:lnTo>
                    <a:pt x="74" y="71"/>
                  </a:lnTo>
                  <a:lnTo>
                    <a:pt x="74" y="71"/>
                  </a:lnTo>
                  <a:lnTo>
                    <a:pt x="76" y="71"/>
                  </a:lnTo>
                  <a:lnTo>
                    <a:pt x="76" y="69"/>
                  </a:lnTo>
                  <a:lnTo>
                    <a:pt x="76" y="66"/>
                  </a:lnTo>
                  <a:lnTo>
                    <a:pt x="76" y="66"/>
                  </a:lnTo>
                  <a:lnTo>
                    <a:pt x="76" y="69"/>
                  </a:lnTo>
                  <a:lnTo>
                    <a:pt x="79" y="69"/>
                  </a:lnTo>
                  <a:lnTo>
                    <a:pt x="79" y="64"/>
                  </a:lnTo>
                  <a:lnTo>
                    <a:pt x="79" y="61"/>
                  </a:lnTo>
                  <a:lnTo>
                    <a:pt x="79" y="61"/>
                  </a:lnTo>
                  <a:lnTo>
                    <a:pt x="79" y="59"/>
                  </a:lnTo>
                  <a:lnTo>
                    <a:pt x="76" y="56"/>
                  </a:lnTo>
                  <a:lnTo>
                    <a:pt x="79" y="56"/>
                  </a:lnTo>
                  <a:lnTo>
                    <a:pt x="79" y="56"/>
                  </a:lnTo>
                  <a:lnTo>
                    <a:pt x="81" y="53"/>
                  </a:lnTo>
                  <a:lnTo>
                    <a:pt x="81" y="53"/>
                  </a:lnTo>
                  <a:lnTo>
                    <a:pt x="81" y="53"/>
                  </a:lnTo>
                  <a:lnTo>
                    <a:pt x="81" y="56"/>
                  </a:lnTo>
                  <a:lnTo>
                    <a:pt x="79" y="56"/>
                  </a:lnTo>
                  <a:lnTo>
                    <a:pt x="79" y="59"/>
                  </a:lnTo>
                  <a:lnTo>
                    <a:pt x="81" y="59"/>
                  </a:lnTo>
                  <a:lnTo>
                    <a:pt x="81" y="59"/>
                  </a:lnTo>
                  <a:lnTo>
                    <a:pt x="81" y="59"/>
                  </a:lnTo>
                  <a:lnTo>
                    <a:pt x="81" y="56"/>
                  </a:lnTo>
                  <a:lnTo>
                    <a:pt x="81" y="56"/>
                  </a:lnTo>
                  <a:lnTo>
                    <a:pt x="84" y="46"/>
                  </a:lnTo>
                  <a:lnTo>
                    <a:pt x="84" y="38"/>
                  </a:lnTo>
                  <a:lnTo>
                    <a:pt x="86" y="28"/>
                  </a:lnTo>
                  <a:lnTo>
                    <a:pt x="86" y="23"/>
                  </a:lnTo>
                  <a:lnTo>
                    <a:pt x="89" y="23"/>
                  </a:lnTo>
                  <a:lnTo>
                    <a:pt x="91" y="20"/>
                  </a:lnTo>
                  <a:lnTo>
                    <a:pt x="91" y="18"/>
                  </a:lnTo>
                  <a:lnTo>
                    <a:pt x="91" y="15"/>
                  </a:lnTo>
                  <a:lnTo>
                    <a:pt x="91" y="5"/>
                  </a:lnTo>
                  <a:lnTo>
                    <a:pt x="91" y="5"/>
                  </a:lnTo>
                  <a:lnTo>
                    <a:pt x="89" y="5"/>
                  </a:lnTo>
                  <a:lnTo>
                    <a:pt x="89" y="5"/>
                  </a:lnTo>
                  <a:lnTo>
                    <a:pt x="89" y="3"/>
                  </a:lnTo>
                  <a:lnTo>
                    <a:pt x="91" y="3"/>
                  </a:lnTo>
                  <a:lnTo>
                    <a:pt x="91" y="3"/>
                  </a:lnTo>
                  <a:lnTo>
                    <a:pt x="91" y="5"/>
                  </a:lnTo>
                  <a:lnTo>
                    <a:pt x="91" y="5"/>
                  </a:lnTo>
                  <a:lnTo>
                    <a:pt x="94" y="3"/>
                  </a:lnTo>
                  <a:lnTo>
                    <a:pt x="94" y="0"/>
                  </a:lnTo>
                  <a:lnTo>
                    <a:pt x="94" y="0"/>
                  </a:lnTo>
                  <a:lnTo>
                    <a:pt x="89" y="0"/>
                  </a:lnTo>
                  <a:close/>
                </a:path>
              </a:pathLst>
            </a:custGeom>
            <a:solidFill>
              <a:srgbClr val="FFC000"/>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242" name="Freeform 1861">
              <a:extLst>
                <a:ext uri="{FF2B5EF4-FFF2-40B4-BE49-F238E27FC236}">
                  <a16:creationId xmlns:a16="http://schemas.microsoft.com/office/drawing/2014/main" id="{1A3B3D5E-291A-744D-BE66-B8F24483DB0D}"/>
                </a:ext>
              </a:extLst>
            </p:cNvPr>
            <p:cNvSpPr>
              <a:spLocks noEditPoints="1"/>
            </p:cNvSpPr>
            <p:nvPr/>
          </p:nvSpPr>
          <p:spPr bwMode="auto">
            <a:xfrm>
              <a:off x="10785706" y="4512675"/>
              <a:ext cx="246997" cy="129224"/>
            </a:xfrm>
            <a:custGeom>
              <a:avLst/>
              <a:gdLst>
                <a:gd name="T0" fmla="*/ 130 w 151"/>
                <a:gd name="T1" fmla="*/ 79 h 79"/>
                <a:gd name="T2" fmla="*/ 133 w 151"/>
                <a:gd name="T3" fmla="*/ 79 h 79"/>
                <a:gd name="T4" fmla="*/ 133 w 151"/>
                <a:gd name="T5" fmla="*/ 79 h 79"/>
                <a:gd name="T6" fmla="*/ 133 w 151"/>
                <a:gd name="T7" fmla="*/ 76 h 79"/>
                <a:gd name="T8" fmla="*/ 148 w 151"/>
                <a:gd name="T9" fmla="*/ 51 h 79"/>
                <a:gd name="T10" fmla="*/ 148 w 151"/>
                <a:gd name="T11" fmla="*/ 51 h 79"/>
                <a:gd name="T12" fmla="*/ 148 w 151"/>
                <a:gd name="T13" fmla="*/ 51 h 79"/>
                <a:gd name="T14" fmla="*/ 145 w 151"/>
                <a:gd name="T15" fmla="*/ 54 h 79"/>
                <a:gd name="T16" fmla="*/ 145 w 151"/>
                <a:gd name="T17" fmla="*/ 56 h 79"/>
                <a:gd name="T18" fmla="*/ 148 w 151"/>
                <a:gd name="T19" fmla="*/ 56 h 79"/>
                <a:gd name="T20" fmla="*/ 151 w 151"/>
                <a:gd name="T21" fmla="*/ 51 h 79"/>
                <a:gd name="T22" fmla="*/ 138 w 151"/>
                <a:gd name="T23" fmla="*/ 41 h 79"/>
                <a:gd name="T24" fmla="*/ 138 w 151"/>
                <a:gd name="T25" fmla="*/ 36 h 79"/>
                <a:gd name="T26" fmla="*/ 133 w 151"/>
                <a:gd name="T27" fmla="*/ 36 h 79"/>
                <a:gd name="T28" fmla="*/ 135 w 151"/>
                <a:gd name="T29" fmla="*/ 36 h 79"/>
                <a:gd name="T30" fmla="*/ 133 w 151"/>
                <a:gd name="T31" fmla="*/ 41 h 79"/>
                <a:gd name="T32" fmla="*/ 133 w 151"/>
                <a:gd name="T33" fmla="*/ 41 h 79"/>
                <a:gd name="T34" fmla="*/ 135 w 151"/>
                <a:gd name="T35" fmla="*/ 43 h 79"/>
                <a:gd name="T36" fmla="*/ 138 w 151"/>
                <a:gd name="T37" fmla="*/ 46 h 79"/>
                <a:gd name="T38" fmla="*/ 140 w 151"/>
                <a:gd name="T39" fmla="*/ 43 h 79"/>
                <a:gd name="T40" fmla="*/ 138 w 151"/>
                <a:gd name="T41" fmla="*/ 41 h 79"/>
                <a:gd name="T42" fmla="*/ 125 w 151"/>
                <a:gd name="T43" fmla="*/ 31 h 79"/>
                <a:gd name="T44" fmla="*/ 125 w 151"/>
                <a:gd name="T45" fmla="*/ 33 h 79"/>
                <a:gd name="T46" fmla="*/ 125 w 151"/>
                <a:gd name="T47" fmla="*/ 36 h 79"/>
                <a:gd name="T48" fmla="*/ 125 w 151"/>
                <a:gd name="T49" fmla="*/ 33 h 79"/>
                <a:gd name="T50" fmla="*/ 125 w 151"/>
                <a:gd name="T51" fmla="*/ 31 h 79"/>
                <a:gd name="T52" fmla="*/ 128 w 151"/>
                <a:gd name="T53" fmla="*/ 31 h 79"/>
                <a:gd name="T54" fmla="*/ 125 w 151"/>
                <a:gd name="T55" fmla="*/ 28 h 79"/>
                <a:gd name="T56" fmla="*/ 120 w 151"/>
                <a:gd name="T57" fmla="*/ 64 h 79"/>
                <a:gd name="T58" fmla="*/ 117 w 151"/>
                <a:gd name="T59" fmla="*/ 61 h 79"/>
                <a:gd name="T60" fmla="*/ 110 w 151"/>
                <a:gd name="T61" fmla="*/ 54 h 79"/>
                <a:gd name="T62" fmla="*/ 107 w 151"/>
                <a:gd name="T63" fmla="*/ 51 h 79"/>
                <a:gd name="T64" fmla="*/ 105 w 151"/>
                <a:gd name="T65" fmla="*/ 48 h 79"/>
                <a:gd name="T66" fmla="*/ 102 w 151"/>
                <a:gd name="T67" fmla="*/ 46 h 79"/>
                <a:gd name="T68" fmla="*/ 100 w 151"/>
                <a:gd name="T69" fmla="*/ 43 h 79"/>
                <a:gd name="T70" fmla="*/ 100 w 151"/>
                <a:gd name="T71" fmla="*/ 41 h 79"/>
                <a:gd name="T72" fmla="*/ 97 w 151"/>
                <a:gd name="T73" fmla="*/ 38 h 79"/>
                <a:gd name="T74" fmla="*/ 95 w 151"/>
                <a:gd name="T75" fmla="*/ 36 h 79"/>
                <a:gd name="T76" fmla="*/ 87 w 151"/>
                <a:gd name="T77" fmla="*/ 28 h 79"/>
                <a:gd name="T78" fmla="*/ 82 w 151"/>
                <a:gd name="T79" fmla="*/ 26 h 79"/>
                <a:gd name="T80" fmla="*/ 77 w 151"/>
                <a:gd name="T81" fmla="*/ 23 h 79"/>
                <a:gd name="T82" fmla="*/ 77 w 151"/>
                <a:gd name="T83" fmla="*/ 26 h 79"/>
                <a:gd name="T84" fmla="*/ 79 w 151"/>
                <a:gd name="T85" fmla="*/ 26 h 79"/>
                <a:gd name="T86" fmla="*/ 79 w 151"/>
                <a:gd name="T87" fmla="*/ 28 h 79"/>
                <a:gd name="T88" fmla="*/ 79 w 151"/>
                <a:gd name="T89" fmla="*/ 33 h 79"/>
                <a:gd name="T90" fmla="*/ 82 w 151"/>
                <a:gd name="T91" fmla="*/ 38 h 79"/>
                <a:gd name="T92" fmla="*/ 84 w 151"/>
                <a:gd name="T93" fmla="*/ 41 h 79"/>
                <a:gd name="T94" fmla="*/ 89 w 151"/>
                <a:gd name="T95" fmla="*/ 48 h 79"/>
                <a:gd name="T96" fmla="*/ 95 w 151"/>
                <a:gd name="T97" fmla="*/ 54 h 79"/>
                <a:gd name="T98" fmla="*/ 97 w 151"/>
                <a:gd name="T99" fmla="*/ 56 h 79"/>
                <a:gd name="T100" fmla="*/ 102 w 151"/>
                <a:gd name="T101" fmla="*/ 59 h 79"/>
                <a:gd name="T102" fmla="*/ 105 w 151"/>
                <a:gd name="T103" fmla="*/ 64 h 79"/>
                <a:gd name="T104" fmla="*/ 110 w 151"/>
                <a:gd name="T105" fmla="*/ 64 h 79"/>
                <a:gd name="T106" fmla="*/ 110 w 151"/>
                <a:gd name="T107" fmla="*/ 66 h 79"/>
                <a:gd name="T108" fmla="*/ 112 w 151"/>
                <a:gd name="T109" fmla="*/ 69 h 79"/>
                <a:gd name="T110" fmla="*/ 115 w 151"/>
                <a:gd name="T111" fmla="*/ 71 h 79"/>
                <a:gd name="T112" fmla="*/ 115 w 151"/>
                <a:gd name="T113" fmla="*/ 71 h 79"/>
                <a:gd name="T114" fmla="*/ 120 w 151"/>
                <a:gd name="T115" fmla="*/ 74 h 79"/>
                <a:gd name="T116" fmla="*/ 123 w 151"/>
                <a:gd name="T117" fmla="*/ 71 h 79"/>
                <a:gd name="T118" fmla="*/ 125 w 151"/>
                <a:gd name="T119" fmla="*/ 66 h 79"/>
                <a:gd name="T120" fmla="*/ 0 w 151"/>
                <a:gd name="T121" fmla="*/ 5 h 79"/>
                <a:gd name="T122" fmla="*/ 3 w 151"/>
                <a:gd name="T123" fmla="*/ 3 h 79"/>
                <a:gd name="T124" fmla="*/ 0 w 151"/>
                <a:gd name="T125"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1" h="79">
                  <a:moveTo>
                    <a:pt x="133" y="76"/>
                  </a:moveTo>
                  <a:lnTo>
                    <a:pt x="130" y="79"/>
                  </a:lnTo>
                  <a:lnTo>
                    <a:pt x="130" y="79"/>
                  </a:lnTo>
                  <a:lnTo>
                    <a:pt x="133" y="79"/>
                  </a:lnTo>
                  <a:lnTo>
                    <a:pt x="133" y="79"/>
                  </a:lnTo>
                  <a:lnTo>
                    <a:pt x="133" y="79"/>
                  </a:lnTo>
                  <a:lnTo>
                    <a:pt x="133" y="79"/>
                  </a:lnTo>
                  <a:lnTo>
                    <a:pt x="133" y="76"/>
                  </a:lnTo>
                  <a:close/>
                  <a:moveTo>
                    <a:pt x="151" y="54"/>
                  </a:moveTo>
                  <a:lnTo>
                    <a:pt x="148" y="51"/>
                  </a:lnTo>
                  <a:lnTo>
                    <a:pt x="148" y="51"/>
                  </a:lnTo>
                  <a:lnTo>
                    <a:pt x="148" y="51"/>
                  </a:lnTo>
                  <a:lnTo>
                    <a:pt x="148" y="51"/>
                  </a:lnTo>
                  <a:lnTo>
                    <a:pt x="148" y="51"/>
                  </a:lnTo>
                  <a:lnTo>
                    <a:pt x="145" y="51"/>
                  </a:lnTo>
                  <a:lnTo>
                    <a:pt x="145" y="54"/>
                  </a:lnTo>
                  <a:lnTo>
                    <a:pt x="145" y="56"/>
                  </a:lnTo>
                  <a:lnTo>
                    <a:pt x="145" y="56"/>
                  </a:lnTo>
                  <a:lnTo>
                    <a:pt x="148" y="56"/>
                  </a:lnTo>
                  <a:lnTo>
                    <a:pt x="148" y="56"/>
                  </a:lnTo>
                  <a:lnTo>
                    <a:pt x="151" y="56"/>
                  </a:lnTo>
                  <a:lnTo>
                    <a:pt x="151" y="51"/>
                  </a:lnTo>
                  <a:lnTo>
                    <a:pt x="151" y="54"/>
                  </a:lnTo>
                  <a:close/>
                  <a:moveTo>
                    <a:pt x="138" y="41"/>
                  </a:moveTo>
                  <a:lnTo>
                    <a:pt x="138" y="36"/>
                  </a:lnTo>
                  <a:lnTo>
                    <a:pt x="138" y="36"/>
                  </a:lnTo>
                  <a:lnTo>
                    <a:pt x="138" y="36"/>
                  </a:lnTo>
                  <a:lnTo>
                    <a:pt x="133" y="36"/>
                  </a:lnTo>
                  <a:lnTo>
                    <a:pt x="133" y="36"/>
                  </a:lnTo>
                  <a:lnTo>
                    <a:pt x="135" y="36"/>
                  </a:lnTo>
                  <a:lnTo>
                    <a:pt x="135" y="38"/>
                  </a:lnTo>
                  <a:lnTo>
                    <a:pt x="133" y="41"/>
                  </a:lnTo>
                  <a:lnTo>
                    <a:pt x="133" y="41"/>
                  </a:lnTo>
                  <a:lnTo>
                    <a:pt x="133" y="41"/>
                  </a:lnTo>
                  <a:lnTo>
                    <a:pt x="133" y="43"/>
                  </a:lnTo>
                  <a:lnTo>
                    <a:pt x="135" y="43"/>
                  </a:lnTo>
                  <a:lnTo>
                    <a:pt x="138" y="46"/>
                  </a:lnTo>
                  <a:lnTo>
                    <a:pt x="138" y="46"/>
                  </a:lnTo>
                  <a:lnTo>
                    <a:pt x="140" y="43"/>
                  </a:lnTo>
                  <a:lnTo>
                    <a:pt x="140" y="43"/>
                  </a:lnTo>
                  <a:lnTo>
                    <a:pt x="138" y="41"/>
                  </a:lnTo>
                  <a:lnTo>
                    <a:pt x="138" y="41"/>
                  </a:lnTo>
                  <a:close/>
                  <a:moveTo>
                    <a:pt x="125" y="28"/>
                  </a:moveTo>
                  <a:lnTo>
                    <a:pt x="125" y="31"/>
                  </a:lnTo>
                  <a:lnTo>
                    <a:pt x="125" y="33"/>
                  </a:lnTo>
                  <a:lnTo>
                    <a:pt x="125" y="33"/>
                  </a:lnTo>
                  <a:lnTo>
                    <a:pt x="123" y="36"/>
                  </a:lnTo>
                  <a:lnTo>
                    <a:pt x="125" y="36"/>
                  </a:lnTo>
                  <a:lnTo>
                    <a:pt x="125" y="36"/>
                  </a:lnTo>
                  <a:lnTo>
                    <a:pt x="125" y="33"/>
                  </a:lnTo>
                  <a:lnTo>
                    <a:pt x="125" y="33"/>
                  </a:lnTo>
                  <a:lnTo>
                    <a:pt x="125" y="31"/>
                  </a:lnTo>
                  <a:lnTo>
                    <a:pt x="128" y="31"/>
                  </a:lnTo>
                  <a:lnTo>
                    <a:pt x="128" y="31"/>
                  </a:lnTo>
                  <a:lnTo>
                    <a:pt x="128" y="28"/>
                  </a:lnTo>
                  <a:lnTo>
                    <a:pt x="125" y="28"/>
                  </a:lnTo>
                  <a:close/>
                  <a:moveTo>
                    <a:pt x="123" y="66"/>
                  </a:moveTo>
                  <a:lnTo>
                    <a:pt x="120" y="64"/>
                  </a:lnTo>
                  <a:lnTo>
                    <a:pt x="117" y="61"/>
                  </a:lnTo>
                  <a:lnTo>
                    <a:pt x="117" y="61"/>
                  </a:lnTo>
                  <a:lnTo>
                    <a:pt x="115" y="56"/>
                  </a:lnTo>
                  <a:lnTo>
                    <a:pt x="110" y="54"/>
                  </a:lnTo>
                  <a:lnTo>
                    <a:pt x="107" y="51"/>
                  </a:lnTo>
                  <a:lnTo>
                    <a:pt x="107" y="51"/>
                  </a:lnTo>
                  <a:lnTo>
                    <a:pt x="107" y="51"/>
                  </a:lnTo>
                  <a:lnTo>
                    <a:pt x="105" y="48"/>
                  </a:lnTo>
                  <a:lnTo>
                    <a:pt x="105" y="48"/>
                  </a:lnTo>
                  <a:lnTo>
                    <a:pt x="102" y="46"/>
                  </a:lnTo>
                  <a:lnTo>
                    <a:pt x="100" y="43"/>
                  </a:lnTo>
                  <a:lnTo>
                    <a:pt x="100" y="43"/>
                  </a:lnTo>
                  <a:lnTo>
                    <a:pt x="100" y="41"/>
                  </a:lnTo>
                  <a:lnTo>
                    <a:pt x="100" y="41"/>
                  </a:lnTo>
                  <a:lnTo>
                    <a:pt x="100" y="41"/>
                  </a:lnTo>
                  <a:lnTo>
                    <a:pt x="97" y="38"/>
                  </a:lnTo>
                  <a:lnTo>
                    <a:pt x="97" y="36"/>
                  </a:lnTo>
                  <a:lnTo>
                    <a:pt x="95" y="36"/>
                  </a:lnTo>
                  <a:lnTo>
                    <a:pt x="92" y="36"/>
                  </a:lnTo>
                  <a:lnTo>
                    <a:pt x="87" y="28"/>
                  </a:lnTo>
                  <a:lnTo>
                    <a:pt x="84" y="26"/>
                  </a:lnTo>
                  <a:lnTo>
                    <a:pt x="82" y="26"/>
                  </a:lnTo>
                  <a:lnTo>
                    <a:pt x="79" y="26"/>
                  </a:lnTo>
                  <a:lnTo>
                    <a:pt x="77" y="23"/>
                  </a:lnTo>
                  <a:lnTo>
                    <a:pt x="77" y="23"/>
                  </a:lnTo>
                  <a:lnTo>
                    <a:pt x="77" y="26"/>
                  </a:lnTo>
                  <a:lnTo>
                    <a:pt x="77" y="26"/>
                  </a:lnTo>
                  <a:lnTo>
                    <a:pt x="79" y="26"/>
                  </a:lnTo>
                  <a:lnTo>
                    <a:pt x="79" y="28"/>
                  </a:lnTo>
                  <a:lnTo>
                    <a:pt x="79" y="28"/>
                  </a:lnTo>
                  <a:lnTo>
                    <a:pt x="79" y="31"/>
                  </a:lnTo>
                  <a:lnTo>
                    <a:pt x="79" y="33"/>
                  </a:lnTo>
                  <a:lnTo>
                    <a:pt x="82" y="36"/>
                  </a:lnTo>
                  <a:lnTo>
                    <a:pt x="82" y="38"/>
                  </a:lnTo>
                  <a:lnTo>
                    <a:pt x="84" y="41"/>
                  </a:lnTo>
                  <a:lnTo>
                    <a:pt x="84" y="41"/>
                  </a:lnTo>
                  <a:lnTo>
                    <a:pt x="87" y="46"/>
                  </a:lnTo>
                  <a:lnTo>
                    <a:pt x="89" y="48"/>
                  </a:lnTo>
                  <a:lnTo>
                    <a:pt x="89" y="48"/>
                  </a:lnTo>
                  <a:lnTo>
                    <a:pt x="95" y="54"/>
                  </a:lnTo>
                  <a:lnTo>
                    <a:pt x="95" y="56"/>
                  </a:lnTo>
                  <a:lnTo>
                    <a:pt x="97" y="56"/>
                  </a:lnTo>
                  <a:lnTo>
                    <a:pt x="100" y="59"/>
                  </a:lnTo>
                  <a:lnTo>
                    <a:pt x="102" y="59"/>
                  </a:lnTo>
                  <a:lnTo>
                    <a:pt x="105" y="61"/>
                  </a:lnTo>
                  <a:lnTo>
                    <a:pt x="105" y="64"/>
                  </a:lnTo>
                  <a:lnTo>
                    <a:pt x="107" y="64"/>
                  </a:lnTo>
                  <a:lnTo>
                    <a:pt x="110" y="64"/>
                  </a:lnTo>
                  <a:lnTo>
                    <a:pt x="110" y="66"/>
                  </a:lnTo>
                  <a:lnTo>
                    <a:pt x="110" y="66"/>
                  </a:lnTo>
                  <a:lnTo>
                    <a:pt x="110" y="69"/>
                  </a:lnTo>
                  <a:lnTo>
                    <a:pt x="112" y="69"/>
                  </a:lnTo>
                  <a:lnTo>
                    <a:pt x="112" y="71"/>
                  </a:lnTo>
                  <a:lnTo>
                    <a:pt x="115" y="71"/>
                  </a:lnTo>
                  <a:lnTo>
                    <a:pt x="115" y="71"/>
                  </a:lnTo>
                  <a:lnTo>
                    <a:pt x="115" y="71"/>
                  </a:lnTo>
                  <a:lnTo>
                    <a:pt x="120" y="74"/>
                  </a:lnTo>
                  <a:lnTo>
                    <a:pt x="120" y="74"/>
                  </a:lnTo>
                  <a:lnTo>
                    <a:pt x="123" y="74"/>
                  </a:lnTo>
                  <a:lnTo>
                    <a:pt x="123" y="71"/>
                  </a:lnTo>
                  <a:lnTo>
                    <a:pt x="125" y="71"/>
                  </a:lnTo>
                  <a:lnTo>
                    <a:pt x="125" y="66"/>
                  </a:lnTo>
                  <a:lnTo>
                    <a:pt x="123" y="66"/>
                  </a:lnTo>
                  <a:close/>
                  <a:moveTo>
                    <a:pt x="0" y="5"/>
                  </a:moveTo>
                  <a:lnTo>
                    <a:pt x="0" y="3"/>
                  </a:lnTo>
                  <a:lnTo>
                    <a:pt x="3" y="3"/>
                  </a:lnTo>
                  <a:lnTo>
                    <a:pt x="3" y="0"/>
                  </a:lnTo>
                  <a:lnTo>
                    <a:pt x="0" y="0"/>
                  </a:lnTo>
                  <a:lnTo>
                    <a:pt x="0" y="5"/>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243" name="Freeform 1862">
              <a:extLst>
                <a:ext uri="{FF2B5EF4-FFF2-40B4-BE49-F238E27FC236}">
                  <a16:creationId xmlns:a16="http://schemas.microsoft.com/office/drawing/2014/main" id="{6120FE73-66AA-D647-974B-1A2E4BFB7F82}"/>
                </a:ext>
              </a:extLst>
            </p:cNvPr>
            <p:cNvSpPr>
              <a:spLocks noEditPoints="1"/>
            </p:cNvSpPr>
            <p:nvPr/>
          </p:nvSpPr>
          <p:spPr bwMode="auto">
            <a:xfrm>
              <a:off x="5754180" y="1820252"/>
              <a:ext cx="107959" cy="103052"/>
            </a:xfrm>
            <a:custGeom>
              <a:avLst/>
              <a:gdLst>
                <a:gd name="T0" fmla="*/ 36 w 66"/>
                <a:gd name="T1" fmla="*/ 5 h 63"/>
                <a:gd name="T2" fmla="*/ 43 w 66"/>
                <a:gd name="T3" fmla="*/ 5 h 63"/>
                <a:gd name="T4" fmla="*/ 41 w 66"/>
                <a:gd name="T5" fmla="*/ 5 h 63"/>
                <a:gd name="T6" fmla="*/ 54 w 66"/>
                <a:gd name="T7" fmla="*/ 2 h 63"/>
                <a:gd name="T8" fmla="*/ 51 w 66"/>
                <a:gd name="T9" fmla="*/ 5 h 63"/>
                <a:gd name="T10" fmla="*/ 59 w 66"/>
                <a:gd name="T11" fmla="*/ 0 h 63"/>
                <a:gd name="T12" fmla="*/ 10 w 66"/>
                <a:gd name="T13" fmla="*/ 48 h 63"/>
                <a:gd name="T14" fmla="*/ 0 w 66"/>
                <a:gd name="T15" fmla="*/ 48 h 63"/>
                <a:gd name="T16" fmla="*/ 0 w 66"/>
                <a:gd name="T17" fmla="*/ 53 h 63"/>
                <a:gd name="T18" fmla="*/ 5 w 66"/>
                <a:gd name="T19" fmla="*/ 51 h 63"/>
                <a:gd name="T20" fmla="*/ 10 w 66"/>
                <a:gd name="T21" fmla="*/ 53 h 63"/>
                <a:gd name="T22" fmla="*/ 15 w 66"/>
                <a:gd name="T23" fmla="*/ 48 h 63"/>
                <a:gd name="T24" fmla="*/ 31 w 66"/>
                <a:gd name="T25" fmla="*/ 7 h 63"/>
                <a:gd name="T26" fmla="*/ 64 w 66"/>
                <a:gd name="T27" fmla="*/ 7 h 63"/>
                <a:gd name="T28" fmla="*/ 56 w 66"/>
                <a:gd name="T29" fmla="*/ 5 h 63"/>
                <a:gd name="T30" fmla="*/ 38 w 66"/>
                <a:gd name="T31" fmla="*/ 7 h 63"/>
                <a:gd name="T32" fmla="*/ 28 w 66"/>
                <a:gd name="T33" fmla="*/ 15 h 63"/>
                <a:gd name="T34" fmla="*/ 23 w 66"/>
                <a:gd name="T35" fmla="*/ 18 h 63"/>
                <a:gd name="T36" fmla="*/ 15 w 66"/>
                <a:gd name="T37" fmla="*/ 35 h 63"/>
                <a:gd name="T38" fmla="*/ 10 w 66"/>
                <a:gd name="T39" fmla="*/ 38 h 63"/>
                <a:gd name="T40" fmla="*/ 15 w 66"/>
                <a:gd name="T41" fmla="*/ 43 h 63"/>
                <a:gd name="T42" fmla="*/ 15 w 66"/>
                <a:gd name="T43" fmla="*/ 46 h 63"/>
                <a:gd name="T44" fmla="*/ 10 w 66"/>
                <a:gd name="T45" fmla="*/ 46 h 63"/>
                <a:gd name="T46" fmla="*/ 3 w 66"/>
                <a:gd name="T47" fmla="*/ 46 h 63"/>
                <a:gd name="T48" fmla="*/ 8 w 66"/>
                <a:gd name="T49" fmla="*/ 48 h 63"/>
                <a:gd name="T50" fmla="*/ 15 w 66"/>
                <a:gd name="T51" fmla="*/ 51 h 63"/>
                <a:gd name="T52" fmla="*/ 18 w 66"/>
                <a:gd name="T53" fmla="*/ 48 h 63"/>
                <a:gd name="T54" fmla="*/ 23 w 66"/>
                <a:gd name="T55" fmla="*/ 48 h 63"/>
                <a:gd name="T56" fmla="*/ 26 w 66"/>
                <a:gd name="T57" fmla="*/ 48 h 63"/>
                <a:gd name="T58" fmla="*/ 28 w 66"/>
                <a:gd name="T59" fmla="*/ 48 h 63"/>
                <a:gd name="T60" fmla="*/ 31 w 66"/>
                <a:gd name="T61" fmla="*/ 51 h 63"/>
                <a:gd name="T62" fmla="*/ 36 w 66"/>
                <a:gd name="T63" fmla="*/ 51 h 63"/>
                <a:gd name="T64" fmla="*/ 41 w 66"/>
                <a:gd name="T65" fmla="*/ 53 h 63"/>
                <a:gd name="T66" fmla="*/ 41 w 66"/>
                <a:gd name="T67" fmla="*/ 58 h 63"/>
                <a:gd name="T68" fmla="*/ 38 w 66"/>
                <a:gd name="T69" fmla="*/ 61 h 63"/>
                <a:gd name="T70" fmla="*/ 41 w 66"/>
                <a:gd name="T71" fmla="*/ 63 h 63"/>
                <a:gd name="T72" fmla="*/ 46 w 66"/>
                <a:gd name="T73" fmla="*/ 61 h 63"/>
                <a:gd name="T74" fmla="*/ 43 w 66"/>
                <a:gd name="T75" fmla="*/ 58 h 63"/>
                <a:gd name="T76" fmla="*/ 43 w 66"/>
                <a:gd name="T77" fmla="*/ 56 h 63"/>
                <a:gd name="T78" fmla="*/ 46 w 66"/>
                <a:gd name="T79" fmla="*/ 53 h 63"/>
                <a:gd name="T80" fmla="*/ 49 w 66"/>
                <a:gd name="T81" fmla="*/ 48 h 63"/>
                <a:gd name="T82" fmla="*/ 46 w 66"/>
                <a:gd name="T83" fmla="*/ 46 h 63"/>
                <a:gd name="T84" fmla="*/ 46 w 66"/>
                <a:gd name="T85" fmla="*/ 41 h 63"/>
                <a:gd name="T86" fmla="*/ 49 w 66"/>
                <a:gd name="T87" fmla="*/ 38 h 63"/>
                <a:gd name="T88" fmla="*/ 54 w 66"/>
                <a:gd name="T89" fmla="*/ 38 h 63"/>
                <a:gd name="T90" fmla="*/ 59 w 66"/>
                <a:gd name="T91" fmla="*/ 35 h 63"/>
                <a:gd name="T92" fmla="*/ 59 w 66"/>
                <a:gd name="T93" fmla="*/ 33 h 63"/>
                <a:gd name="T94" fmla="*/ 64 w 66"/>
                <a:gd name="T95" fmla="*/ 30 h 63"/>
                <a:gd name="T96" fmla="*/ 64 w 66"/>
                <a:gd name="T97" fmla="*/ 28 h 63"/>
                <a:gd name="T98" fmla="*/ 59 w 66"/>
                <a:gd name="T99" fmla="*/ 25 h 63"/>
                <a:gd name="T100" fmla="*/ 59 w 66"/>
                <a:gd name="T101" fmla="*/ 23 h 63"/>
                <a:gd name="T102" fmla="*/ 64 w 66"/>
                <a:gd name="T103" fmla="*/ 23 h 63"/>
                <a:gd name="T104" fmla="*/ 66 w 66"/>
                <a:gd name="T105" fmla="*/ 15 h 63"/>
                <a:gd name="T106" fmla="*/ 64 w 66"/>
                <a:gd name="T107" fmla="*/ 7 h 63"/>
                <a:gd name="T108" fmla="*/ 13 w 66"/>
                <a:gd name="T109" fmla="*/ 43 h 63"/>
                <a:gd name="T110" fmla="*/ 5 w 66"/>
                <a:gd name="T111" fmla="*/ 41 h 63"/>
                <a:gd name="T112" fmla="*/ 26 w 66"/>
                <a:gd name="T113" fmla="*/ 15 h 63"/>
                <a:gd name="T114" fmla="*/ 26 w 66"/>
                <a:gd name="T115" fmla="*/ 1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6" h="63">
                  <a:moveTo>
                    <a:pt x="36" y="5"/>
                  </a:moveTo>
                  <a:lnTo>
                    <a:pt x="41" y="5"/>
                  </a:lnTo>
                  <a:lnTo>
                    <a:pt x="38" y="5"/>
                  </a:lnTo>
                  <a:lnTo>
                    <a:pt x="36" y="5"/>
                  </a:lnTo>
                  <a:lnTo>
                    <a:pt x="33" y="5"/>
                  </a:lnTo>
                  <a:lnTo>
                    <a:pt x="33" y="5"/>
                  </a:lnTo>
                  <a:lnTo>
                    <a:pt x="36" y="5"/>
                  </a:lnTo>
                  <a:close/>
                  <a:moveTo>
                    <a:pt x="43" y="5"/>
                  </a:moveTo>
                  <a:lnTo>
                    <a:pt x="46" y="5"/>
                  </a:lnTo>
                  <a:lnTo>
                    <a:pt x="46" y="5"/>
                  </a:lnTo>
                  <a:lnTo>
                    <a:pt x="46" y="5"/>
                  </a:lnTo>
                  <a:lnTo>
                    <a:pt x="41" y="5"/>
                  </a:lnTo>
                  <a:lnTo>
                    <a:pt x="41" y="5"/>
                  </a:lnTo>
                  <a:lnTo>
                    <a:pt x="41" y="5"/>
                  </a:lnTo>
                  <a:lnTo>
                    <a:pt x="43" y="5"/>
                  </a:lnTo>
                  <a:close/>
                  <a:moveTo>
                    <a:pt x="54" y="2"/>
                  </a:moveTo>
                  <a:lnTo>
                    <a:pt x="51" y="2"/>
                  </a:lnTo>
                  <a:lnTo>
                    <a:pt x="49" y="2"/>
                  </a:lnTo>
                  <a:lnTo>
                    <a:pt x="49" y="2"/>
                  </a:lnTo>
                  <a:lnTo>
                    <a:pt x="51" y="5"/>
                  </a:lnTo>
                  <a:lnTo>
                    <a:pt x="54" y="2"/>
                  </a:lnTo>
                  <a:close/>
                  <a:moveTo>
                    <a:pt x="61" y="0"/>
                  </a:moveTo>
                  <a:lnTo>
                    <a:pt x="59" y="0"/>
                  </a:lnTo>
                  <a:lnTo>
                    <a:pt x="59" y="0"/>
                  </a:lnTo>
                  <a:lnTo>
                    <a:pt x="59" y="2"/>
                  </a:lnTo>
                  <a:lnTo>
                    <a:pt x="59" y="2"/>
                  </a:lnTo>
                  <a:lnTo>
                    <a:pt x="61" y="0"/>
                  </a:lnTo>
                  <a:close/>
                  <a:moveTo>
                    <a:pt x="10" y="48"/>
                  </a:moveTo>
                  <a:lnTo>
                    <a:pt x="8" y="51"/>
                  </a:lnTo>
                  <a:lnTo>
                    <a:pt x="5" y="51"/>
                  </a:lnTo>
                  <a:lnTo>
                    <a:pt x="3" y="48"/>
                  </a:lnTo>
                  <a:lnTo>
                    <a:pt x="0" y="48"/>
                  </a:lnTo>
                  <a:lnTo>
                    <a:pt x="0" y="48"/>
                  </a:lnTo>
                  <a:lnTo>
                    <a:pt x="0" y="51"/>
                  </a:lnTo>
                  <a:lnTo>
                    <a:pt x="0" y="51"/>
                  </a:lnTo>
                  <a:lnTo>
                    <a:pt x="0" y="53"/>
                  </a:lnTo>
                  <a:lnTo>
                    <a:pt x="3" y="53"/>
                  </a:lnTo>
                  <a:lnTo>
                    <a:pt x="3" y="51"/>
                  </a:lnTo>
                  <a:lnTo>
                    <a:pt x="3" y="51"/>
                  </a:lnTo>
                  <a:lnTo>
                    <a:pt x="5" y="51"/>
                  </a:lnTo>
                  <a:lnTo>
                    <a:pt x="8" y="53"/>
                  </a:lnTo>
                  <a:lnTo>
                    <a:pt x="8" y="53"/>
                  </a:lnTo>
                  <a:lnTo>
                    <a:pt x="8" y="53"/>
                  </a:lnTo>
                  <a:lnTo>
                    <a:pt x="10" y="53"/>
                  </a:lnTo>
                  <a:lnTo>
                    <a:pt x="10" y="53"/>
                  </a:lnTo>
                  <a:lnTo>
                    <a:pt x="13" y="51"/>
                  </a:lnTo>
                  <a:lnTo>
                    <a:pt x="15" y="51"/>
                  </a:lnTo>
                  <a:lnTo>
                    <a:pt x="15" y="48"/>
                  </a:lnTo>
                  <a:lnTo>
                    <a:pt x="13" y="51"/>
                  </a:lnTo>
                  <a:lnTo>
                    <a:pt x="10" y="48"/>
                  </a:lnTo>
                  <a:close/>
                  <a:moveTo>
                    <a:pt x="31" y="7"/>
                  </a:moveTo>
                  <a:lnTo>
                    <a:pt x="31" y="7"/>
                  </a:lnTo>
                  <a:lnTo>
                    <a:pt x="28" y="7"/>
                  </a:lnTo>
                  <a:lnTo>
                    <a:pt x="28" y="10"/>
                  </a:lnTo>
                  <a:lnTo>
                    <a:pt x="31" y="7"/>
                  </a:lnTo>
                  <a:close/>
                  <a:moveTo>
                    <a:pt x="64" y="7"/>
                  </a:moveTo>
                  <a:lnTo>
                    <a:pt x="64" y="7"/>
                  </a:lnTo>
                  <a:lnTo>
                    <a:pt x="61" y="5"/>
                  </a:lnTo>
                  <a:lnTo>
                    <a:pt x="61" y="5"/>
                  </a:lnTo>
                  <a:lnTo>
                    <a:pt x="56" y="5"/>
                  </a:lnTo>
                  <a:lnTo>
                    <a:pt x="54" y="5"/>
                  </a:lnTo>
                  <a:lnTo>
                    <a:pt x="49" y="5"/>
                  </a:lnTo>
                  <a:lnTo>
                    <a:pt x="43" y="5"/>
                  </a:lnTo>
                  <a:lnTo>
                    <a:pt x="38" y="7"/>
                  </a:lnTo>
                  <a:lnTo>
                    <a:pt x="38" y="10"/>
                  </a:lnTo>
                  <a:lnTo>
                    <a:pt x="36" y="13"/>
                  </a:lnTo>
                  <a:lnTo>
                    <a:pt x="31" y="15"/>
                  </a:lnTo>
                  <a:lnTo>
                    <a:pt x="28" y="15"/>
                  </a:lnTo>
                  <a:lnTo>
                    <a:pt x="26" y="15"/>
                  </a:lnTo>
                  <a:lnTo>
                    <a:pt x="26" y="15"/>
                  </a:lnTo>
                  <a:lnTo>
                    <a:pt x="26" y="18"/>
                  </a:lnTo>
                  <a:lnTo>
                    <a:pt x="23" y="18"/>
                  </a:lnTo>
                  <a:lnTo>
                    <a:pt x="21" y="25"/>
                  </a:lnTo>
                  <a:lnTo>
                    <a:pt x="21" y="28"/>
                  </a:lnTo>
                  <a:lnTo>
                    <a:pt x="18" y="30"/>
                  </a:lnTo>
                  <a:lnTo>
                    <a:pt x="15" y="35"/>
                  </a:lnTo>
                  <a:lnTo>
                    <a:pt x="13" y="35"/>
                  </a:lnTo>
                  <a:lnTo>
                    <a:pt x="13" y="35"/>
                  </a:lnTo>
                  <a:lnTo>
                    <a:pt x="13" y="38"/>
                  </a:lnTo>
                  <a:lnTo>
                    <a:pt x="10" y="38"/>
                  </a:lnTo>
                  <a:lnTo>
                    <a:pt x="10" y="41"/>
                  </a:lnTo>
                  <a:lnTo>
                    <a:pt x="13" y="43"/>
                  </a:lnTo>
                  <a:lnTo>
                    <a:pt x="13" y="43"/>
                  </a:lnTo>
                  <a:lnTo>
                    <a:pt x="15" y="43"/>
                  </a:lnTo>
                  <a:lnTo>
                    <a:pt x="10" y="46"/>
                  </a:lnTo>
                  <a:lnTo>
                    <a:pt x="13" y="46"/>
                  </a:lnTo>
                  <a:lnTo>
                    <a:pt x="15" y="46"/>
                  </a:lnTo>
                  <a:lnTo>
                    <a:pt x="15" y="46"/>
                  </a:lnTo>
                  <a:lnTo>
                    <a:pt x="15" y="48"/>
                  </a:lnTo>
                  <a:lnTo>
                    <a:pt x="15" y="48"/>
                  </a:lnTo>
                  <a:lnTo>
                    <a:pt x="13" y="48"/>
                  </a:lnTo>
                  <a:lnTo>
                    <a:pt x="10" y="46"/>
                  </a:lnTo>
                  <a:lnTo>
                    <a:pt x="8" y="46"/>
                  </a:lnTo>
                  <a:lnTo>
                    <a:pt x="3" y="46"/>
                  </a:lnTo>
                  <a:lnTo>
                    <a:pt x="3" y="46"/>
                  </a:lnTo>
                  <a:lnTo>
                    <a:pt x="3" y="46"/>
                  </a:lnTo>
                  <a:lnTo>
                    <a:pt x="3" y="48"/>
                  </a:lnTo>
                  <a:lnTo>
                    <a:pt x="3" y="48"/>
                  </a:lnTo>
                  <a:lnTo>
                    <a:pt x="5" y="48"/>
                  </a:lnTo>
                  <a:lnTo>
                    <a:pt x="8" y="48"/>
                  </a:lnTo>
                  <a:lnTo>
                    <a:pt x="10" y="48"/>
                  </a:lnTo>
                  <a:lnTo>
                    <a:pt x="13" y="48"/>
                  </a:lnTo>
                  <a:lnTo>
                    <a:pt x="15" y="48"/>
                  </a:lnTo>
                  <a:lnTo>
                    <a:pt x="15" y="51"/>
                  </a:lnTo>
                  <a:lnTo>
                    <a:pt x="18" y="51"/>
                  </a:lnTo>
                  <a:lnTo>
                    <a:pt x="18" y="51"/>
                  </a:lnTo>
                  <a:lnTo>
                    <a:pt x="18" y="48"/>
                  </a:lnTo>
                  <a:lnTo>
                    <a:pt x="18" y="48"/>
                  </a:lnTo>
                  <a:lnTo>
                    <a:pt x="21" y="48"/>
                  </a:lnTo>
                  <a:lnTo>
                    <a:pt x="21" y="48"/>
                  </a:lnTo>
                  <a:lnTo>
                    <a:pt x="21" y="48"/>
                  </a:lnTo>
                  <a:lnTo>
                    <a:pt x="23" y="48"/>
                  </a:lnTo>
                  <a:lnTo>
                    <a:pt x="23" y="46"/>
                  </a:lnTo>
                  <a:lnTo>
                    <a:pt x="26" y="48"/>
                  </a:lnTo>
                  <a:lnTo>
                    <a:pt x="26" y="48"/>
                  </a:lnTo>
                  <a:lnTo>
                    <a:pt x="26" y="48"/>
                  </a:lnTo>
                  <a:lnTo>
                    <a:pt x="26" y="48"/>
                  </a:lnTo>
                  <a:lnTo>
                    <a:pt x="26" y="48"/>
                  </a:lnTo>
                  <a:lnTo>
                    <a:pt x="28" y="48"/>
                  </a:lnTo>
                  <a:lnTo>
                    <a:pt x="28" y="48"/>
                  </a:lnTo>
                  <a:lnTo>
                    <a:pt x="28" y="48"/>
                  </a:lnTo>
                  <a:lnTo>
                    <a:pt x="28" y="48"/>
                  </a:lnTo>
                  <a:lnTo>
                    <a:pt x="31" y="48"/>
                  </a:lnTo>
                  <a:lnTo>
                    <a:pt x="31" y="51"/>
                  </a:lnTo>
                  <a:lnTo>
                    <a:pt x="31" y="51"/>
                  </a:lnTo>
                  <a:lnTo>
                    <a:pt x="33" y="51"/>
                  </a:lnTo>
                  <a:lnTo>
                    <a:pt x="36" y="51"/>
                  </a:lnTo>
                  <a:lnTo>
                    <a:pt x="36" y="51"/>
                  </a:lnTo>
                  <a:lnTo>
                    <a:pt x="36" y="51"/>
                  </a:lnTo>
                  <a:lnTo>
                    <a:pt x="38" y="53"/>
                  </a:lnTo>
                  <a:lnTo>
                    <a:pt x="38" y="53"/>
                  </a:lnTo>
                  <a:lnTo>
                    <a:pt x="41" y="53"/>
                  </a:lnTo>
                  <a:lnTo>
                    <a:pt x="41" y="53"/>
                  </a:lnTo>
                  <a:lnTo>
                    <a:pt x="43" y="56"/>
                  </a:lnTo>
                  <a:lnTo>
                    <a:pt x="43" y="56"/>
                  </a:lnTo>
                  <a:lnTo>
                    <a:pt x="41" y="58"/>
                  </a:lnTo>
                  <a:lnTo>
                    <a:pt x="41" y="58"/>
                  </a:lnTo>
                  <a:lnTo>
                    <a:pt x="41" y="58"/>
                  </a:lnTo>
                  <a:lnTo>
                    <a:pt x="41" y="58"/>
                  </a:lnTo>
                  <a:lnTo>
                    <a:pt x="38" y="61"/>
                  </a:lnTo>
                  <a:lnTo>
                    <a:pt x="38" y="61"/>
                  </a:lnTo>
                  <a:lnTo>
                    <a:pt x="38" y="61"/>
                  </a:lnTo>
                  <a:lnTo>
                    <a:pt x="41" y="63"/>
                  </a:lnTo>
                  <a:lnTo>
                    <a:pt x="41" y="63"/>
                  </a:lnTo>
                  <a:lnTo>
                    <a:pt x="41" y="63"/>
                  </a:lnTo>
                  <a:lnTo>
                    <a:pt x="41" y="63"/>
                  </a:lnTo>
                  <a:lnTo>
                    <a:pt x="46" y="63"/>
                  </a:lnTo>
                  <a:lnTo>
                    <a:pt x="46" y="61"/>
                  </a:lnTo>
                  <a:lnTo>
                    <a:pt x="46" y="58"/>
                  </a:lnTo>
                  <a:lnTo>
                    <a:pt x="43" y="58"/>
                  </a:lnTo>
                  <a:lnTo>
                    <a:pt x="43" y="58"/>
                  </a:lnTo>
                  <a:lnTo>
                    <a:pt x="43" y="58"/>
                  </a:lnTo>
                  <a:lnTo>
                    <a:pt x="43" y="56"/>
                  </a:lnTo>
                  <a:lnTo>
                    <a:pt x="43" y="56"/>
                  </a:lnTo>
                  <a:lnTo>
                    <a:pt x="43" y="56"/>
                  </a:lnTo>
                  <a:lnTo>
                    <a:pt x="43" y="56"/>
                  </a:lnTo>
                  <a:lnTo>
                    <a:pt x="49" y="53"/>
                  </a:lnTo>
                  <a:lnTo>
                    <a:pt x="49" y="53"/>
                  </a:lnTo>
                  <a:lnTo>
                    <a:pt x="49" y="53"/>
                  </a:lnTo>
                  <a:lnTo>
                    <a:pt x="46" y="53"/>
                  </a:lnTo>
                  <a:lnTo>
                    <a:pt x="46" y="53"/>
                  </a:lnTo>
                  <a:lnTo>
                    <a:pt x="46" y="53"/>
                  </a:lnTo>
                  <a:lnTo>
                    <a:pt x="49" y="51"/>
                  </a:lnTo>
                  <a:lnTo>
                    <a:pt x="49" y="48"/>
                  </a:lnTo>
                  <a:lnTo>
                    <a:pt x="49" y="48"/>
                  </a:lnTo>
                  <a:lnTo>
                    <a:pt x="49" y="46"/>
                  </a:lnTo>
                  <a:lnTo>
                    <a:pt x="49" y="46"/>
                  </a:lnTo>
                  <a:lnTo>
                    <a:pt x="46" y="46"/>
                  </a:lnTo>
                  <a:lnTo>
                    <a:pt x="46" y="43"/>
                  </a:lnTo>
                  <a:lnTo>
                    <a:pt x="46" y="43"/>
                  </a:lnTo>
                  <a:lnTo>
                    <a:pt x="46" y="41"/>
                  </a:lnTo>
                  <a:lnTo>
                    <a:pt x="46" y="41"/>
                  </a:lnTo>
                  <a:lnTo>
                    <a:pt x="46" y="41"/>
                  </a:lnTo>
                  <a:lnTo>
                    <a:pt x="49" y="38"/>
                  </a:lnTo>
                  <a:lnTo>
                    <a:pt x="49" y="38"/>
                  </a:lnTo>
                  <a:lnTo>
                    <a:pt x="49" y="38"/>
                  </a:lnTo>
                  <a:lnTo>
                    <a:pt x="51" y="38"/>
                  </a:lnTo>
                  <a:lnTo>
                    <a:pt x="51" y="41"/>
                  </a:lnTo>
                  <a:lnTo>
                    <a:pt x="51" y="41"/>
                  </a:lnTo>
                  <a:lnTo>
                    <a:pt x="54" y="38"/>
                  </a:lnTo>
                  <a:lnTo>
                    <a:pt x="54" y="38"/>
                  </a:lnTo>
                  <a:lnTo>
                    <a:pt x="59" y="38"/>
                  </a:lnTo>
                  <a:lnTo>
                    <a:pt x="59" y="38"/>
                  </a:lnTo>
                  <a:lnTo>
                    <a:pt x="59" y="35"/>
                  </a:lnTo>
                  <a:lnTo>
                    <a:pt x="59" y="35"/>
                  </a:lnTo>
                  <a:lnTo>
                    <a:pt x="59" y="35"/>
                  </a:lnTo>
                  <a:lnTo>
                    <a:pt x="59" y="35"/>
                  </a:lnTo>
                  <a:lnTo>
                    <a:pt x="59" y="33"/>
                  </a:lnTo>
                  <a:lnTo>
                    <a:pt x="59" y="33"/>
                  </a:lnTo>
                  <a:lnTo>
                    <a:pt x="59" y="33"/>
                  </a:lnTo>
                  <a:lnTo>
                    <a:pt x="61" y="33"/>
                  </a:lnTo>
                  <a:lnTo>
                    <a:pt x="64" y="30"/>
                  </a:lnTo>
                  <a:lnTo>
                    <a:pt x="64" y="30"/>
                  </a:lnTo>
                  <a:lnTo>
                    <a:pt x="64" y="28"/>
                  </a:lnTo>
                  <a:lnTo>
                    <a:pt x="64" y="28"/>
                  </a:lnTo>
                  <a:lnTo>
                    <a:pt x="64" y="28"/>
                  </a:lnTo>
                  <a:lnTo>
                    <a:pt x="64" y="25"/>
                  </a:lnTo>
                  <a:lnTo>
                    <a:pt x="61" y="25"/>
                  </a:lnTo>
                  <a:lnTo>
                    <a:pt x="61" y="25"/>
                  </a:lnTo>
                  <a:lnTo>
                    <a:pt x="59" y="25"/>
                  </a:lnTo>
                  <a:lnTo>
                    <a:pt x="59" y="25"/>
                  </a:lnTo>
                  <a:lnTo>
                    <a:pt x="59" y="25"/>
                  </a:lnTo>
                  <a:lnTo>
                    <a:pt x="59" y="23"/>
                  </a:lnTo>
                  <a:lnTo>
                    <a:pt x="59" y="23"/>
                  </a:lnTo>
                  <a:lnTo>
                    <a:pt x="59" y="23"/>
                  </a:lnTo>
                  <a:lnTo>
                    <a:pt x="59" y="23"/>
                  </a:lnTo>
                  <a:lnTo>
                    <a:pt x="59" y="23"/>
                  </a:lnTo>
                  <a:lnTo>
                    <a:pt x="64" y="23"/>
                  </a:lnTo>
                  <a:lnTo>
                    <a:pt x="64" y="23"/>
                  </a:lnTo>
                  <a:lnTo>
                    <a:pt x="64" y="20"/>
                  </a:lnTo>
                  <a:lnTo>
                    <a:pt x="66" y="18"/>
                  </a:lnTo>
                  <a:lnTo>
                    <a:pt x="66" y="15"/>
                  </a:lnTo>
                  <a:lnTo>
                    <a:pt x="66" y="15"/>
                  </a:lnTo>
                  <a:lnTo>
                    <a:pt x="66" y="10"/>
                  </a:lnTo>
                  <a:lnTo>
                    <a:pt x="66" y="7"/>
                  </a:lnTo>
                  <a:lnTo>
                    <a:pt x="64" y="7"/>
                  </a:lnTo>
                  <a:close/>
                  <a:moveTo>
                    <a:pt x="8" y="43"/>
                  </a:moveTo>
                  <a:lnTo>
                    <a:pt x="10" y="43"/>
                  </a:lnTo>
                  <a:lnTo>
                    <a:pt x="13" y="43"/>
                  </a:lnTo>
                  <a:lnTo>
                    <a:pt x="13" y="43"/>
                  </a:lnTo>
                  <a:lnTo>
                    <a:pt x="13" y="43"/>
                  </a:lnTo>
                  <a:lnTo>
                    <a:pt x="10" y="41"/>
                  </a:lnTo>
                  <a:lnTo>
                    <a:pt x="8" y="41"/>
                  </a:lnTo>
                  <a:lnTo>
                    <a:pt x="5" y="41"/>
                  </a:lnTo>
                  <a:lnTo>
                    <a:pt x="5" y="43"/>
                  </a:lnTo>
                  <a:lnTo>
                    <a:pt x="8" y="43"/>
                  </a:lnTo>
                  <a:lnTo>
                    <a:pt x="8" y="43"/>
                  </a:lnTo>
                  <a:close/>
                  <a:moveTo>
                    <a:pt x="26" y="15"/>
                  </a:moveTo>
                  <a:lnTo>
                    <a:pt x="28" y="13"/>
                  </a:lnTo>
                  <a:lnTo>
                    <a:pt x="28" y="10"/>
                  </a:lnTo>
                  <a:lnTo>
                    <a:pt x="26" y="13"/>
                  </a:lnTo>
                  <a:lnTo>
                    <a:pt x="26" y="13"/>
                  </a:lnTo>
                  <a:lnTo>
                    <a:pt x="26" y="13"/>
                  </a:lnTo>
                  <a:lnTo>
                    <a:pt x="26" y="15"/>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244" name="Freeform 1863">
              <a:extLst>
                <a:ext uri="{FF2B5EF4-FFF2-40B4-BE49-F238E27FC236}">
                  <a16:creationId xmlns:a16="http://schemas.microsoft.com/office/drawing/2014/main" id="{27052688-80CD-3548-B97F-2DFF36FF8D9B}"/>
                </a:ext>
              </a:extLst>
            </p:cNvPr>
            <p:cNvSpPr>
              <a:spLocks/>
            </p:cNvSpPr>
            <p:nvPr/>
          </p:nvSpPr>
          <p:spPr bwMode="auto">
            <a:xfrm>
              <a:off x="8155442" y="2672472"/>
              <a:ext cx="274804" cy="150488"/>
            </a:xfrm>
            <a:custGeom>
              <a:avLst/>
              <a:gdLst>
                <a:gd name="T0" fmla="*/ 163 w 168"/>
                <a:gd name="T1" fmla="*/ 74 h 92"/>
                <a:gd name="T2" fmla="*/ 163 w 168"/>
                <a:gd name="T3" fmla="*/ 59 h 92"/>
                <a:gd name="T4" fmla="*/ 161 w 168"/>
                <a:gd name="T5" fmla="*/ 56 h 92"/>
                <a:gd name="T6" fmla="*/ 153 w 168"/>
                <a:gd name="T7" fmla="*/ 59 h 92"/>
                <a:gd name="T8" fmla="*/ 143 w 168"/>
                <a:gd name="T9" fmla="*/ 56 h 92"/>
                <a:gd name="T10" fmla="*/ 135 w 168"/>
                <a:gd name="T11" fmla="*/ 54 h 92"/>
                <a:gd name="T12" fmla="*/ 130 w 168"/>
                <a:gd name="T13" fmla="*/ 51 h 92"/>
                <a:gd name="T14" fmla="*/ 128 w 168"/>
                <a:gd name="T15" fmla="*/ 54 h 92"/>
                <a:gd name="T16" fmla="*/ 122 w 168"/>
                <a:gd name="T17" fmla="*/ 51 h 92"/>
                <a:gd name="T18" fmla="*/ 120 w 168"/>
                <a:gd name="T19" fmla="*/ 56 h 92"/>
                <a:gd name="T20" fmla="*/ 112 w 168"/>
                <a:gd name="T21" fmla="*/ 49 h 92"/>
                <a:gd name="T22" fmla="*/ 102 w 168"/>
                <a:gd name="T23" fmla="*/ 46 h 92"/>
                <a:gd name="T24" fmla="*/ 99 w 168"/>
                <a:gd name="T25" fmla="*/ 41 h 92"/>
                <a:gd name="T26" fmla="*/ 94 w 168"/>
                <a:gd name="T27" fmla="*/ 41 h 92"/>
                <a:gd name="T28" fmla="*/ 87 w 168"/>
                <a:gd name="T29" fmla="*/ 36 h 92"/>
                <a:gd name="T30" fmla="*/ 82 w 168"/>
                <a:gd name="T31" fmla="*/ 31 h 92"/>
                <a:gd name="T32" fmla="*/ 74 w 168"/>
                <a:gd name="T33" fmla="*/ 26 h 92"/>
                <a:gd name="T34" fmla="*/ 66 w 168"/>
                <a:gd name="T35" fmla="*/ 23 h 92"/>
                <a:gd name="T36" fmla="*/ 56 w 168"/>
                <a:gd name="T37" fmla="*/ 18 h 92"/>
                <a:gd name="T38" fmla="*/ 38 w 168"/>
                <a:gd name="T39" fmla="*/ 8 h 92"/>
                <a:gd name="T40" fmla="*/ 33 w 168"/>
                <a:gd name="T41" fmla="*/ 0 h 92"/>
                <a:gd name="T42" fmla="*/ 20 w 168"/>
                <a:gd name="T43" fmla="*/ 6 h 92"/>
                <a:gd name="T44" fmla="*/ 15 w 168"/>
                <a:gd name="T45" fmla="*/ 6 h 92"/>
                <a:gd name="T46" fmla="*/ 10 w 168"/>
                <a:gd name="T47" fmla="*/ 6 h 92"/>
                <a:gd name="T48" fmla="*/ 5 w 168"/>
                <a:gd name="T49" fmla="*/ 16 h 92"/>
                <a:gd name="T50" fmla="*/ 3 w 168"/>
                <a:gd name="T51" fmla="*/ 26 h 92"/>
                <a:gd name="T52" fmla="*/ 0 w 168"/>
                <a:gd name="T53" fmla="*/ 34 h 92"/>
                <a:gd name="T54" fmla="*/ 8 w 168"/>
                <a:gd name="T55" fmla="*/ 39 h 92"/>
                <a:gd name="T56" fmla="*/ 10 w 168"/>
                <a:gd name="T57" fmla="*/ 39 h 92"/>
                <a:gd name="T58" fmla="*/ 15 w 168"/>
                <a:gd name="T59" fmla="*/ 41 h 92"/>
                <a:gd name="T60" fmla="*/ 26 w 168"/>
                <a:gd name="T61" fmla="*/ 46 h 92"/>
                <a:gd name="T62" fmla="*/ 36 w 168"/>
                <a:gd name="T63" fmla="*/ 54 h 92"/>
                <a:gd name="T64" fmla="*/ 41 w 168"/>
                <a:gd name="T65" fmla="*/ 56 h 92"/>
                <a:gd name="T66" fmla="*/ 49 w 168"/>
                <a:gd name="T67" fmla="*/ 59 h 92"/>
                <a:gd name="T68" fmla="*/ 59 w 168"/>
                <a:gd name="T69" fmla="*/ 64 h 92"/>
                <a:gd name="T70" fmla="*/ 69 w 168"/>
                <a:gd name="T71" fmla="*/ 67 h 92"/>
                <a:gd name="T72" fmla="*/ 71 w 168"/>
                <a:gd name="T73" fmla="*/ 67 h 92"/>
                <a:gd name="T74" fmla="*/ 82 w 168"/>
                <a:gd name="T75" fmla="*/ 67 h 92"/>
                <a:gd name="T76" fmla="*/ 94 w 168"/>
                <a:gd name="T77" fmla="*/ 69 h 92"/>
                <a:gd name="T78" fmla="*/ 97 w 168"/>
                <a:gd name="T79" fmla="*/ 74 h 92"/>
                <a:gd name="T80" fmla="*/ 107 w 168"/>
                <a:gd name="T81" fmla="*/ 79 h 92"/>
                <a:gd name="T82" fmla="*/ 110 w 168"/>
                <a:gd name="T83" fmla="*/ 82 h 92"/>
                <a:gd name="T84" fmla="*/ 117 w 168"/>
                <a:gd name="T85" fmla="*/ 79 h 92"/>
                <a:gd name="T86" fmla="*/ 120 w 168"/>
                <a:gd name="T87" fmla="*/ 84 h 92"/>
                <a:gd name="T88" fmla="*/ 128 w 168"/>
                <a:gd name="T89" fmla="*/ 84 h 92"/>
                <a:gd name="T90" fmla="*/ 138 w 168"/>
                <a:gd name="T91" fmla="*/ 87 h 92"/>
                <a:gd name="T92" fmla="*/ 145 w 168"/>
                <a:gd name="T93" fmla="*/ 87 h 92"/>
                <a:gd name="T94" fmla="*/ 153 w 168"/>
                <a:gd name="T95" fmla="*/ 89 h 92"/>
                <a:gd name="T96" fmla="*/ 163 w 168"/>
                <a:gd name="T97" fmla="*/ 89 h 92"/>
                <a:gd name="T98" fmla="*/ 166 w 168"/>
                <a:gd name="T99" fmla="*/ 87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68" h="92">
                  <a:moveTo>
                    <a:pt x="166" y="82"/>
                  </a:moveTo>
                  <a:lnTo>
                    <a:pt x="166" y="79"/>
                  </a:lnTo>
                  <a:lnTo>
                    <a:pt x="163" y="74"/>
                  </a:lnTo>
                  <a:lnTo>
                    <a:pt x="163" y="74"/>
                  </a:lnTo>
                  <a:lnTo>
                    <a:pt x="161" y="67"/>
                  </a:lnTo>
                  <a:lnTo>
                    <a:pt x="163" y="64"/>
                  </a:lnTo>
                  <a:lnTo>
                    <a:pt x="163" y="61"/>
                  </a:lnTo>
                  <a:lnTo>
                    <a:pt x="163" y="59"/>
                  </a:lnTo>
                  <a:lnTo>
                    <a:pt x="163" y="59"/>
                  </a:lnTo>
                  <a:lnTo>
                    <a:pt x="163" y="56"/>
                  </a:lnTo>
                  <a:lnTo>
                    <a:pt x="161" y="56"/>
                  </a:lnTo>
                  <a:lnTo>
                    <a:pt x="161" y="56"/>
                  </a:lnTo>
                  <a:lnTo>
                    <a:pt x="158" y="56"/>
                  </a:lnTo>
                  <a:lnTo>
                    <a:pt x="156" y="56"/>
                  </a:lnTo>
                  <a:lnTo>
                    <a:pt x="153" y="59"/>
                  </a:lnTo>
                  <a:lnTo>
                    <a:pt x="153" y="59"/>
                  </a:lnTo>
                  <a:lnTo>
                    <a:pt x="150" y="59"/>
                  </a:lnTo>
                  <a:lnTo>
                    <a:pt x="150" y="59"/>
                  </a:lnTo>
                  <a:lnTo>
                    <a:pt x="145" y="59"/>
                  </a:lnTo>
                  <a:lnTo>
                    <a:pt x="143" y="56"/>
                  </a:lnTo>
                  <a:lnTo>
                    <a:pt x="140" y="56"/>
                  </a:lnTo>
                  <a:lnTo>
                    <a:pt x="138" y="54"/>
                  </a:lnTo>
                  <a:lnTo>
                    <a:pt x="138" y="54"/>
                  </a:lnTo>
                  <a:lnTo>
                    <a:pt x="135" y="54"/>
                  </a:lnTo>
                  <a:lnTo>
                    <a:pt x="133" y="51"/>
                  </a:lnTo>
                  <a:lnTo>
                    <a:pt x="133" y="51"/>
                  </a:lnTo>
                  <a:lnTo>
                    <a:pt x="133" y="51"/>
                  </a:lnTo>
                  <a:lnTo>
                    <a:pt x="130" y="51"/>
                  </a:lnTo>
                  <a:lnTo>
                    <a:pt x="130" y="54"/>
                  </a:lnTo>
                  <a:lnTo>
                    <a:pt x="130" y="56"/>
                  </a:lnTo>
                  <a:lnTo>
                    <a:pt x="128" y="56"/>
                  </a:lnTo>
                  <a:lnTo>
                    <a:pt x="128" y="54"/>
                  </a:lnTo>
                  <a:lnTo>
                    <a:pt x="125" y="54"/>
                  </a:lnTo>
                  <a:lnTo>
                    <a:pt x="122" y="51"/>
                  </a:lnTo>
                  <a:lnTo>
                    <a:pt x="122" y="51"/>
                  </a:lnTo>
                  <a:lnTo>
                    <a:pt x="122" y="51"/>
                  </a:lnTo>
                  <a:lnTo>
                    <a:pt x="122" y="54"/>
                  </a:lnTo>
                  <a:lnTo>
                    <a:pt x="122" y="56"/>
                  </a:lnTo>
                  <a:lnTo>
                    <a:pt x="120" y="56"/>
                  </a:lnTo>
                  <a:lnTo>
                    <a:pt x="120" y="56"/>
                  </a:lnTo>
                  <a:lnTo>
                    <a:pt x="120" y="54"/>
                  </a:lnTo>
                  <a:lnTo>
                    <a:pt x="117" y="51"/>
                  </a:lnTo>
                  <a:lnTo>
                    <a:pt x="115" y="49"/>
                  </a:lnTo>
                  <a:lnTo>
                    <a:pt x="112" y="49"/>
                  </a:lnTo>
                  <a:lnTo>
                    <a:pt x="107" y="49"/>
                  </a:lnTo>
                  <a:lnTo>
                    <a:pt x="105" y="46"/>
                  </a:lnTo>
                  <a:lnTo>
                    <a:pt x="102" y="46"/>
                  </a:lnTo>
                  <a:lnTo>
                    <a:pt x="102" y="46"/>
                  </a:lnTo>
                  <a:lnTo>
                    <a:pt x="102" y="44"/>
                  </a:lnTo>
                  <a:lnTo>
                    <a:pt x="102" y="41"/>
                  </a:lnTo>
                  <a:lnTo>
                    <a:pt x="102" y="41"/>
                  </a:lnTo>
                  <a:lnTo>
                    <a:pt x="99" y="41"/>
                  </a:lnTo>
                  <a:lnTo>
                    <a:pt x="99" y="41"/>
                  </a:lnTo>
                  <a:lnTo>
                    <a:pt x="97" y="41"/>
                  </a:lnTo>
                  <a:lnTo>
                    <a:pt x="94" y="41"/>
                  </a:lnTo>
                  <a:lnTo>
                    <a:pt x="94" y="41"/>
                  </a:lnTo>
                  <a:lnTo>
                    <a:pt x="92" y="41"/>
                  </a:lnTo>
                  <a:lnTo>
                    <a:pt x="92" y="39"/>
                  </a:lnTo>
                  <a:lnTo>
                    <a:pt x="92" y="39"/>
                  </a:lnTo>
                  <a:lnTo>
                    <a:pt x="87" y="36"/>
                  </a:lnTo>
                  <a:lnTo>
                    <a:pt x="87" y="36"/>
                  </a:lnTo>
                  <a:lnTo>
                    <a:pt x="84" y="34"/>
                  </a:lnTo>
                  <a:lnTo>
                    <a:pt x="82" y="34"/>
                  </a:lnTo>
                  <a:lnTo>
                    <a:pt x="82" y="31"/>
                  </a:lnTo>
                  <a:lnTo>
                    <a:pt x="79" y="28"/>
                  </a:lnTo>
                  <a:lnTo>
                    <a:pt x="79" y="26"/>
                  </a:lnTo>
                  <a:lnTo>
                    <a:pt x="77" y="26"/>
                  </a:lnTo>
                  <a:lnTo>
                    <a:pt x="74" y="26"/>
                  </a:lnTo>
                  <a:lnTo>
                    <a:pt x="71" y="26"/>
                  </a:lnTo>
                  <a:lnTo>
                    <a:pt x="69" y="26"/>
                  </a:lnTo>
                  <a:lnTo>
                    <a:pt x="69" y="26"/>
                  </a:lnTo>
                  <a:lnTo>
                    <a:pt x="66" y="23"/>
                  </a:lnTo>
                  <a:lnTo>
                    <a:pt x="64" y="21"/>
                  </a:lnTo>
                  <a:lnTo>
                    <a:pt x="61" y="18"/>
                  </a:lnTo>
                  <a:lnTo>
                    <a:pt x="59" y="18"/>
                  </a:lnTo>
                  <a:lnTo>
                    <a:pt x="56" y="18"/>
                  </a:lnTo>
                  <a:lnTo>
                    <a:pt x="51" y="16"/>
                  </a:lnTo>
                  <a:lnTo>
                    <a:pt x="49" y="13"/>
                  </a:lnTo>
                  <a:lnTo>
                    <a:pt x="43" y="11"/>
                  </a:lnTo>
                  <a:lnTo>
                    <a:pt x="38" y="8"/>
                  </a:lnTo>
                  <a:lnTo>
                    <a:pt x="36" y="6"/>
                  </a:lnTo>
                  <a:lnTo>
                    <a:pt x="36" y="6"/>
                  </a:lnTo>
                  <a:lnTo>
                    <a:pt x="36" y="3"/>
                  </a:lnTo>
                  <a:lnTo>
                    <a:pt x="33" y="0"/>
                  </a:lnTo>
                  <a:lnTo>
                    <a:pt x="31" y="0"/>
                  </a:lnTo>
                  <a:lnTo>
                    <a:pt x="26" y="0"/>
                  </a:lnTo>
                  <a:lnTo>
                    <a:pt x="20" y="0"/>
                  </a:lnTo>
                  <a:lnTo>
                    <a:pt x="20" y="6"/>
                  </a:lnTo>
                  <a:lnTo>
                    <a:pt x="18" y="8"/>
                  </a:lnTo>
                  <a:lnTo>
                    <a:pt x="18" y="8"/>
                  </a:lnTo>
                  <a:lnTo>
                    <a:pt x="15" y="6"/>
                  </a:lnTo>
                  <a:lnTo>
                    <a:pt x="15" y="6"/>
                  </a:lnTo>
                  <a:lnTo>
                    <a:pt x="13" y="6"/>
                  </a:lnTo>
                  <a:lnTo>
                    <a:pt x="13" y="6"/>
                  </a:lnTo>
                  <a:lnTo>
                    <a:pt x="10" y="6"/>
                  </a:lnTo>
                  <a:lnTo>
                    <a:pt x="10" y="6"/>
                  </a:lnTo>
                  <a:lnTo>
                    <a:pt x="8" y="8"/>
                  </a:lnTo>
                  <a:lnTo>
                    <a:pt x="8" y="11"/>
                  </a:lnTo>
                  <a:lnTo>
                    <a:pt x="8" y="11"/>
                  </a:lnTo>
                  <a:lnTo>
                    <a:pt x="5" y="16"/>
                  </a:lnTo>
                  <a:lnTo>
                    <a:pt x="3" y="18"/>
                  </a:lnTo>
                  <a:lnTo>
                    <a:pt x="3" y="21"/>
                  </a:lnTo>
                  <a:lnTo>
                    <a:pt x="3" y="23"/>
                  </a:lnTo>
                  <a:lnTo>
                    <a:pt x="3" y="26"/>
                  </a:lnTo>
                  <a:lnTo>
                    <a:pt x="3" y="28"/>
                  </a:lnTo>
                  <a:lnTo>
                    <a:pt x="3" y="28"/>
                  </a:lnTo>
                  <a:lnTo>
                    <a:pt x="3" y="31"/>
                  </a:lnTo>
                  <a:lnTo>
                    <a:pt x="0" y="34"/>
                  </a:lnTo>
                  <a:lnTo>
                    <a:pt x="3" y="36"/>
                  </a:lnTo>
                  <a:lnTo>
                    <a:pt x="3" y="36"/>
                  </a:lnTo>
                  <a:lnTo>
                    <a:pt x="5" y="39"/>
                  </a:lnTo>
                  <a:lnTo>
                    <a:pt x="8" y="39"/>
                  </a:lnTo>
                  <a:lnTo>
                    <a:pt x="10" y="41"/>
                  </a:lnTo>
                  <a:lnTo>
                    <a:pt x="10" y="41"/>
                  </a:lnTo>
                  <a:lnTo>
                    <a:pt x="10" y="39"/>
                  </a:lnTo>
                  <a:lnTo>
                    <a:pt x="10" y="39"/>
                  </a:lnTo>
                  <a:lnTo>
                    <a:pt x="13" y="39"/>
                  </a:lnTo>
                  <a:lnTo>
                    <a:pt x="15" y="41"/>
                  </a:lnTo>
                  <a:lnTo>
                    <a:pt x="15" y="41"/>
                  </a:lnTo>
                  <a:lnTo>
                    <a:pt x="15" y="41"/>
                  </a:lnTo>
                  <a:lnTo>
                    <a:pt x="20" y="44"/>
                  </a:lnTo>
                  <a:lnTo>
                    <a:pt x="23" y="44"/>
                  </a:lnTo>
                  <a:lnTo>
                    <a:pt x="26" y="46"/>
                  </a:lnTo>
                  <a:lnTo>
                    <a:pt x="26" y="46"/>
                  </a:lnTo>
                  <a:lnTo>
                    <a:pt x="26" y="49"/>
                  </a:lnTo>
                  <a:lnTo>
                    <a:pt x="28" y="49"/>
                  </a:lnTo>
                  <a:lnTo>
                    <a:pt x="33" y="51"/>
                  </a:lnTo>
                  <a:lnTo>
                    <a:pt x="36" y="54"/>
                  </a:lnTo>
                  <a:lnTo>
                    <a:pt x="38" y="56"/>
                  </a:lnTo>
                  <a:lnTo>
                    <a:pt x="41" y="56"/>
                  </a:lnTo>
                  <a:lnTo>
                    <a:pt x="41" y="56"/>
                  </a:lnTo>
                  <a:lnTo>
                    <a:pt x="41" y="56"/>
                  </a:lnTo>
                  <a:lnTo>
                    <a:pt x="43" y="56"/>
                  </a:lnTo>
                  <a:lnTo>
                    <a:pt x="43" y="56"/>
                  </a:lnTo>
                  <a:lnTo>
                    <a:pt x="46" y="56"/>
                  </a:lnTo>
                  <a:lnTo>
                    <a:pt x="49" y="59"/>
                  </a:lnTo>
                  <a:lnTo>
                    <a:pt x="54" y="61"/>
                  </a:lnTo>
                  <a:lnTo>
                    <a:pt x="56" y="61"/>
                  </a:lnTo>
                  <a:lnTo>
                    <a:pt x="56" y="61"/>
                  </a:lnTo>
                  <a:lnTo>
                    <a:pt x="59" y="64"/>
                  </a:lnTo>
                  <a:lnTo>
                    <a:pt x="59" y="64"/>
                  </a:lnTo>
                  <a:lnTo>
                    <a:pt x="64" y="67"/>
                  </a:lnTo>
                  <a:lnTo>
                    <a:pt x="66" y="67"/>
                  </a:lnTo>
                  <a:lnTo>
                    <a:pt x="69" y="67"/>
                  </a:lnTo>
                  <a:lnTo>
                    <a:pt x="69" y="69"/>
                  </a:lnTo>
                  <a:lnTo>
                    <a:pt x="71" y="67"/>
                  </a:lnTo>
                  <a:lnTo>
                    <a:pt x="71" y="67"/>
                  </a:lnTo>
                  <a:lnTo>
                    <a:pt x="71" y="67"/>
                  </a:lnTo>
                  <a:lnTo>
                    <a:pt x="74" y="67"/>
                  </a:lnTo>
                  <a:lnTo>
                    <a:pt x="79" y="67"/>
                  </a:lnTo>
                  <a:lnTo>
                    <a:pt x="82" y="69"/>
                  </a:lnTo>
                  <a:lnTo>
                    <a:pt x="82" y="67"/>
                  </a:lnTo>
                  <a:lnTo>
                    <a:pt x="84" y="67"/>
                  </a:lnTo>
                  <a:lnTo>
                    <a:pt x="84" y="67"/>
                  </a:lnTo>
                  <a:lnTo>
                    <a:pt x="89" y="67"/>
                  </a:lnTo>
                  <a:lnTo>
                    <a:pt x="94" y="69"/>
                  </a:lnTo>
                  <a:lnTo>
                    <a:pt x="97" y="69"/>
                  </a:lnTo>
                  <a:lnTo>
                    <a:pt x="97" y="72"/>
                  </a:lnTo>
                  <a:lnTo>
                    <a:pt x="97" y="72"/>
                  </a:lnTo>
                  <a:lnTo>
                    <a:pt x="97" y="74"/>
                  </a:lnTo>
                  <a:lnTo>
                    <a:pt x="99" y="77"/>
                  </a:lnTo>
                  <a:lnTo>
                    <a:pt x="105" y="79"/>
                  </a:lnTo>
                  <a:lnTo>
                    <a:pt x="105" y="79"/>
                  </a:lnTo>
                  <a:lnTo>
                    <a:pt x="107" y="79"/>
                  </a:lnTo>
                  <a:lnTo>
                    <a:pt x="107" y="79"/>
                  </a:lnTo>
                  <a:lnTo>
                    <a:pt x="107" y="79"/>
                  </a:lnTo>
                  <a:lnTo>
                    <a:pt x="110" y="82"/>
                  </a:lnTo>
                  <a:lnTo>
                    <a:pt x="110" y="82"/>
                  </a:lnTo>
                  <a:lnTo>
                    <a:pt x="110" y="82"/>
                  </a:lnTo>
                  <a:lnTo>
                    <a:pt x="112" y="82"/>
                  </a:lnTo>
                  <a:lnTo>
                    <a:pt x="115" y="82"/>
                  </a:lnTo>
                  <a:lnTo>
                    <a:pt x="117" y="79"/>
                  </a:lnTo>
                  <a:lnTo>
                    <a:pt x="117" y="79"/>
                  </a:lnTo>
                  <a:lnTo>
                    <a:pt x="120" y="82"/>
                  </a:lnTo>
                  <a:lnTo>
                    <a:pt x="120" y="84"/>
                  </a:lnTo>
                  <a:lnTo>
                    <a:pt x="120" y="84"/>
                  </a:lnTo>
                  <a:lnTo>
                    <a:pt x="122" y="84"/>
                  </a:lnTo>
                  <a:lnTo>
                    <a:pt x="122" y="87"/>
                  </a:lnTo>
                  <a:lnTo>
                    <a:pt x="125" y="84"/>
                  </a:lnTo>
                  <a:lnTo>
                    <a:pt x="128" y="84"/>
                  </a:lnTo>
                  <a:lnTo>
                    <a:pt x="130" y="87"/>
                  </a:lnTo>
                  <a:lnTo>
                    <a:pt x="133" y="87"/>
                  </a:lnTo>
                  <a:lnTo>
                    <a:pt x="133" y="87"/>
                  </a:lnTo>
                  <a:lnTo>
                    <a:pt x="138" y="87"/>
                  </a:lnTo>
                  <a:lnTo>
                    <a:pt x="140" y="89"/>
                  </a:lnTo>
                  <a:lnTo>
                    <a:pt x="140" y="89"/>
                  </a:lnTo>
                  <a:lnTo>
                    <a:pt x="145" y="87"/>
                  </a:lnTo>
                  <a:lnTo>
                    <a:pt x="145" y="87"/>
                  </a:lnTo>
                  <a:lnTo>
                    <a:pt x="148" y="89"/>
                  </a:lnTo>
                  <a:lnTo>
                    <a:pt x="148" y="89"/>
                  </a:lnTo>
                  <a:lnTo>
                    <a:pt x="150" y="92"/>
                  </a:lnTo>
                  <a:lnTo>
                    <a:pt x="153" y="89"/>
                  </a:lnTo>
                  <a:lnTo>
                    <a:pt x="156" y="89"/>
                  </a:lnTo>
                  <a:lnTo>
                    <a:pt x="158" y="89"/>
                  </a:lnTo>
                  <a:lnTo>
                    <a:pt x="161" y="89"/>
                  </a:lnTo>
                  <a:lnTo>
                    <a:pt x="163" y="89"/>
                  </a:lnTo>
                  <a:lnTo>
                    <a:pt x="166" y="89"/>
                  </a:lnTo>
                  <a:lnTo>
                    <a:pt x="166" y="89"/>
                  </a:lnTo>
                  <a:lnTo>
                    <a:pt x="166" y="89"/>
                  </a:lnTo>
                  <a:lnTo>
                    <a:pt x="166" y="87"/>
                  </a:lnTo>
                  <a:lnTo>
                    <a:pt x="168" y="82"/>
                  </a:lnTo>
                  <a:lnTo>
                    <a:pt x="166" y="82"/>
                  </a:lnTo>
                  <a:close/>
                </a:path>
              </a:pathLst>
            </a:custGeom>
            <a:solidFill>
              <a:srgbClr val="FFC000"/>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245" name="Freeform 1864">
              <a:extLst>
                <a:ext uri="{FF2B5EF4-FFF2-40B4-BE49-F238E27FC236}">
                  <a16:creationId xmlns:a16="http://schemas.microsoft.com/office/drawing/2014/main" id="{1A7FCAE9-DC9E-764E-966E-8755F7E6E1BB}"/>
                </a:ext>
              </a:extLst>
            </p:cNvPr>
            <p:cNvSpPr>
              <a:spLocks/>
            </p:cNvSpPr>
            <p:nvPr/>
          </p:nvSpPr>
          <p:spPr bwMode="auto">
            <a:xfrm>
              <a:off x="11098132" y="3817487"/>
              <a:ext cx="0" cy="4908"/>
            </a:xfrm>
            <a:custGeom>
              <a:avLst/>
              <a:gdLst>
                <a:gd name="T0" fmla="*/ 0 h 3"/>
                <a:gd name="T1" fmla="*/ 0 h 3"/>
                <a:gd name="T2" fmla="*/ 0 h 3"/>
                <a:gd name="T3" fmla="*/ 3 h 3"/>
                <a:gd name="T4" fmla="*/ 3 h 3"/>
                <a:gd name="T5" fmla="*/ 3 h 3"/>
                <a:gd name="T6" fmla="*/ 3 h 3"/>
                <a:gd name="T7" fmla="*/ 0 h 3"/>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3">
                  <a:moveTo>
                    <a:pt x="0" y="0"/>
                  </a:moveTo>
                  <a:lnTo>
                    <a:pt x="0" y="0"/>
                  </a:lnTo>
                  <a:lnTo>
                    <a:pt x="0" y="0"/>
                  </a:lnTo>
                  <a:lnTo>
                    <a:pt x="0" y="3"/>
                  </a:lnTo>
                  <a:lnTo>
                    <a:pt x="0" y="3"/>
                  </a:lnTo>
                  <a:lnTo>
                    <a:pt x="0" y="3"/>
                  </a:lnTo>
                  <a:lnTo>
                    <a:pt x="0" y="3"/>
                  </a:lnTo>
                  <a:lnTo>
                    <a:pt x="0"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246" name="Freeform 1865">
              <a:extLst>
                <a:ext uri="{FF2B5EF4-FFF2-40B4-BE49-F238E27FC236}">
                  <a16:creationId xmlns:a16="http://schemas.microsoft.com/office/drawing/2014/main" id="{E27DB95A-5DFF-BB40-BFF1-4F5616656243}"/>
                </a:ext>
              </a:extLst>
            </p:cNvPr>
            <p:cNvSpPr>
              <a:spLocks/>
            </p:cNvSpPr>
            <p:nvPr/>
          </p:nvSpPr>
          <p:spPr bwMode="auto">
            <a:xfrm>
              <a:off x="5991362" y="4434159"/>
              <a:ext cx="443285" cy="440014"/>
            </a:xfrm>
            <a:custGeom>
              <a:avLst/>
              <a:gdLst>
                <a:gd name="T0" fmla="*/ 260 w 271"/>
                <a:gd name="T1" fmla="*/ 10 h 269"/>
                <a:gd name="T2" fmla="*/ 240 w 271"/>
                <a:gd name="T3" fmla="*/ 12 h 269"/>
                <a:gd name="T4" fmla="*/ 217 w 271"/>
                <a:gd name="T5" fmla="*/ 18 h 269"/>
                <a:gd name="T6" fmla="*/ 194 w 271"/>
                <a:gd name="T7" fmla="*/ 23 h 269"/>
                <a:gd name="T8" fmla="*/ 184 w 271"/>
                <a:gd name="T9" fmla="*/ 23 h 269"/>
                <a:gd name="T10" fmla="*/ 174 w 271"/>
                <a:gd name="T11" fmla="*/ 20 h 269"/>
                <a:gd name="T12" fmla="*/ 153 w 271"/>
                <a:gd name="T13" fmla="*/ 18 h 269"/>
                <a:gd name="T14" fmla="*/ 143 w 271"/>
                <a:gd name="T15" fmla="*/ 18 h 269"/>
                <a:gd name="T16" fmla="*/ 135 w 271"/>
                <a:gd name="T17" fmla="*/ 10 h 269"/>
                <a:gd name="T18" fmla="*/ 123 w 271"/>
                <a:gd name="T19" fmla="*/ 7 h 269"/>
                <a:gd name="T20" fmla="*/ 90 w 271"/>
                <a:gd name="T21" fmla="*/ 7 h 269"/>
                <a:gd name="T22" fmla="*/ 54 w 271"/>
                <a:gd name="T23" fmla="*/ 7 h 269"/>
                <a:gd name="T24" fmla="*/ 46 w 271"/>
                <a:gd name="T25" fmla="*/ 7 h 269"/>
                <a:gd name="T26" fmla="*/ 39 w 271"/>
                <a:gd name="T27" fmla="*/ 2 h 269"/>
                <a:gd name="T28" fmla="*/ 31 w 271"/>
                <a:gd name="T29" fmla="*/ 0 h 269"/>
                <a:gd name="T30" fmla="*/ 23 w 271"/>
                <a:gd name="T31" fmla="*/ 2 h 269"/>
                <a:gd name="T32" fmla="*/ 13 w 271"/>
                <a:gd name="T33" fmla="*/ 5 h 269"/>
                <a:gd name="T34" fmla="*/ 5 w 271"/>
                <a:gd name="T35" fmla="*/ 5 h 269"/>
                <a:gd name="T36" fmla="*/ 3 w 271"/>
                <a:gd name="T37" fmla="*/ 23 h 269"/>
                <a:gd name="T38" fmla="*/ 13 w 271"/>
                <a:gd name="T39" fmla="*/ 38 h 269"/>
                <a:gd name="T40" fmla="*/ 31 w 271"/>
                <a:gd name="T41" fmla="*/ 79 h 269"/>
                <a:gd name="T42" fmla="*/ 46 w 271"/>
                <a:gd name="T43" fmla="*/ 107 h 269"/>
                <a:gd name="T44" fmla="*/ 56 w 271"/>
                <a:gd name="T45" fmla="*/ 132 h 269"/>
                <a:gd name="T46" fmla="*/ 54 w 271"/>
                <a:gd name="T47" fmla="*/ 135 h 269"/>
                <a:gd name="T48" fmla="*/ 56 w 271"/>
                <a:gd name="T49" fmla="*/ 150 h 269"/>
                <a:gd name="T50" fmla="*/ 62 w 271"/>
                <a:gd name="T51" fmla="*/ 175 h 269"/>
                <a:gd name="T52" fmla="*/ 62 w 271"/>
                <a:gd name="T53" fmla="*/ 193 h 269"/>
                <a:gd name="T54" fmla="*/ 67 w 271"/>
                <a:gd name="T55" fmla="*/ 214 h 269"/>
                <a:gd name="T56" fmla="*/ 67 w 271"/>
                <a:gd name="T57" fmla="*/ 221 h 269"/>
                <a:gd name="T58" fmla="*/ 79 w 271"/>
                <a:gd name="T59" fmla="*/ 249 h 269"/>
                <a:gd name="T60" fmla="*/ 92 w 271"/>
                <a:gd name="T61" fmla="*/ 264 h 269"/>
                <a:gd name="T62" fmla="*/ 97 w 271"/>
                <a:gd name="T63" fmla="*/ 259 h 269"/>
                <a:gd name="T64" fmla="*/ 100 w 271"/>
                <a:gd name="T65" fmla="*/ 254 h 269"/>
                <a:gd name="T66" fmla="*/ 105 w 271"/>
                <a:gd name="T67" fmla="*/ 249 h 269"/>
                <a:gd name="T68" fmla="*/ 107 w 271"/>
                <a:gd name="T69" fmla="*/ 254 h 269"/>
                <a:gd name="T70" fmla="*/ 110 w 271"/>
                <a:gd name="T71" fmla="*/ 259 h 269"/>
                <a:gd name="T72" fmla="*/ 113 w 271"/>
                <a:gd name="T73" fmla="*/ 264 h 269"/>
                <a:gd name="T74" fmla="*/ 120 w 271"/>
                <a:gd name="T75" fmla="*/ 267 h 269"/>
                <a:gd name="T76" fmla="*/ 133 w 271"/>
                <a:gd name="T77" fmla="*/ 269 h 269"/>
                <a:gd name="T78" fmla="*/ 146 w 271"/>
                <a:gd name="T79" fmla="*/ 269 h 269"/>
                <a:gd name="T80" fmla="*/ 151 w 271"/>
                <a:gd name="T81" fmla="*/ 264 h 269"/>
                <a:gd name="T82" fmla="*/ 158 w 271"/>
                <a:gd name="T83" fmla="*/ 259 h 269"/>
                <a:gd name="T84" fmla="*/ 161 w 271"/>
                <a:gd name="T85" fmla="*/ 236 h 269"/>
                <a:gd name="T86" fmla="*/ 164 w 271"/>
                <a:gd name="T87" fmla="*/ 196 h 269"/>
                <a:gd name="T88" fmla="*/ 164 w 271"/>
                <a:gd name="T89" fmla="*/ 170 h 269"/>
                <a:gd name="T90" fmla="*/ 164 w 271"/>
                <a:gd name="T91" fmla="*/ 145 h 269"/>
                <a:gd name="T92" fmla="*/ 164 w 271"/>
                <a:gd name="T93" fmla="*/ 119 h 269"/>
                <a:gd name="T94" fmla="*/ 184 w 271"/>
                <a:gd name="T95" fmla="*/ 109 h 269"/>
                <a:gd name="T96" fmla="*/ 184 w 271"/>
                <a:gd name="T97" fmla="*/ 71 h 269"/>
                <a:gd name="T98" fmla="*/ 184 w 271"/>
                <a:gd name="T99" fmla="*/ 33 h 269"/>
                <a:gd name="T100" fmla="*/ 204 w 271"/>
                <a:gd name="T101" fmla="*/ 28 h 269"/>
                <a:gd name="T102" fmla="*/ 230 w 271"/>
                <a:gd name="T103" fmla="*/ 23 h 269"/>
                <a:gd name="T104" fmla="*/ 235 w 271"/>
                <a:gd name="T105" fmla="*/ 30 h 269"/>
                <a:gd name="T106" fmla="*/ 237 w 271"/>
                <a:gd name="T107" fmla="*/ 33 h 269"/>
                <a:gd name="T108" fmla="*/ 248 w 271"/>
                <a:gd name="T109" fmla="*/ 23 h 269"/>
                <a:gd name="T110" fmla="*/ 253 w 271"/>
                <a:gd name="T111" fmla="*/ 23 h 269"/>
                <a:gd name="T112" fmla="*/ 268 w 271"/>
                <a:gd name="T113" fmla="*/ 18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71" h="269">
                  <a:moveTo>
                    <a:pt x="265" y="12"/>
                  </a:moveTo>
                  <a:lnTo>
                    <a:pt x="265" y="12"/>
                  </a:lnTo>
                  <a:lnTo>
                    <a:pt x="263" y="12"/>
                  </a:lnTo>
                  <a:lnTo>
                    <a:pt x="260" y="10"/>
                  </a:lnTo>
                  <a:lnTo>
                    <a:pt x="250" y="10"/>
                  </a:lnTo>
                  <a:lnTo>
                    <a:pt x="250" y="10"/>
                  </a:lnTo>
                  <a:lnTo>
                    <a:pt x="245" y="10"/>
                  </a:lnTo>
                  <a:lnTo>
                    <a:pt x="240" y="12"/>
                  </a:lnTo>
                  <a:lnTo>
                    <a:pt x="237" y="12"/>
                  </a:lnTo>
                  <a:lnTo>
                    <a:pt x="232" y="15"/>
                  </a:lnTo>
                  <a:lnTo>
                    <a:pt x="227" y="15"/>
                  </a:lnTo>
                  <a:lnTo>
                    <a:pt x="217" y="18"/>
                  </a:lnTo>
                  <a:lnTo>
                    <a:pt x="212" y="18"/>
                  </a:lnTo>
                  <a:lnTo>
                    <a:pt x="204" y="20"/>
                  </a:lnTo>
                  <a:lnTo>
                    <a:pt x="199" y="20"/>
                  </a:lnTo>
                  <a:lnTo>
                    <a:pt x="194" y="23"/>
                  </a:lnTo>
                  <a:lnTo>
                    <a:pt x="192" y="23"/>
                  </a:lnTo>
                  <a:lnTo>
                    <a:pt x="192" y="20"/>
                  </a:lnTo>
                  <a:lnTo>
                    <a:pt x="186" y="20"/>
                  </a:lnTo>
                  <a:lnTo>
                    <a:pt x="184" y="23"/>
                  </a:lnTo>
                  <a:lnTo>
                    <a:pt x="179" y="23"/>
                  </a:lnTo>
                  <a:lnTo>
                    <a:pt x="179" y="23"/>
                  </a:lnTo>
                  <a:lnTo>
                    <a:pt x="176" y="20"/>
                  </a:lnTo>
                  <a:lnTo>
                    <a:pt x="174" y="20"/>
                  </a:lnTo>
                  <a:lnTo>
                    <a:pt x="169" y="20"/>
                  </a:lnTo>
                  <a:lnTo>
                    <a:pt x="164" y="20"/>
                  </a:lnTo>
                  <a:lnTo>
                    <a:pt x="158" y="20"/>
                  </a:lnTo>
                  <a:lnTo>
                    <a:pt x="153" y="18"/>
                  </a:lnTo>
                  <a:lnTo>
                    <a:pt x="148" y="18"/>
                  </a:lnTo>
                  <a:lnTo>
                    <a:pt x="148" y="18"/>
                  </a:lnTo>
                  <a:lnTo>
                    <a:pt x="146" y="18"/>
                  </a:lnTo>
                  <a:lnTo>
                    <a:pt x="143" y="18"/>
                  </a:lnTo>
                  <a:lnTo>
                    <a:pt x="141" y="15"/>
                  </a:lnTo>
                  <a:lnTo>
                    <a:pt x="138" y="12"/>
                  </a:lnTo>
                  <a:lnTo>
                    <a:pt x="135" y="10"/>
                  </a:lnTo>
                  <a:lnTo>
                    <a:pt x="135" y="10"/>
                  </a:lnTo>
                  <a:lnTo>
                    <a:pt x="135" y="7"/>
                  </a:lnTo>
                  <a:lnTo>
                    <a:pt x="133" y="7"/>
                  </a:lnTo>
                  <a:lnTo>
                    <a:pt x="128" y="7"/>
                  </a:lnTo>
                  <a:lnTo>
                    <a:pt x="123" y="7"/>
                  </a:lnTo>
                  <a:lnTo>
                    <a:pt x="120" y="7"/>
                  </a:lnTo>
                  <a:lnTo>
                    <a:pt x="113" y="7"/>
                  </a:lnTo>
                  <a:lnTo>
                    <a:pt x="105" y="7"/>
                  </a:lnTo>
                  <a:lnTo>
                    <a:pt x="90" y="7"/>
                  </a:lnTo>
                  <a:lnTo>
                    <a:pt x="82" y="7"/>
                  </a:lnTo>
                  <a:lnTo>
                    <a:pt x="74" y="7"/>
                  </a:lnTo>
                  <a:lnTo>
                    <a:pt x="59" y="7"/>
                  </a:lnTo>
                  <a:lnTo>
                    <a:pt x="54" y="7"/>
                  </a:lnTo>
                  <a:lnTo>
                    <a:pt x="51" y="7"/>
                  </a:lnTo>
                  <a:lnTo>
                    <a:pt x="46" y="7"/>
                  </a:lnTo>
                  <a:lnTo>
                    <a:pt x="46" y="7"/>
                  </a:lnTo>
                  <a:lnTo>
                    <a:pt x="46" y="7"/>
                  </a:lnTo>
                  <a:lnTo>
                    <a:pt x="44" y="7"/>
                  </a:lnTo>
                  <a:lnTo>
                    <a:pt x="41" y="5"/>
                  </a:lnTo>
                  <a:lnTo>
                    <a:pt x="41" y="5"/>
                  </a:lnTo>
                  <a:lnTo>
                    <a:pt x="39" y="2"/>
                  </a:lnTo>
                  <a:lnTo>
                    <a:pt x="36" y="0"/>
                  </a:lnTo>
                  <a:lnTo>
                    <a:pt x="34" y="0"/>
                  </a:lnTo>
                  <a:lnTo>
                    <a:pt x="31" y="0"/>
                  </a:lnTo>
                  <a:lnTo>
                    <a:pt x="31" y="0"/>
                  </a:lnTo>
                  <a:lnTo>
                    <a:pt x="28" y="0"/>
                  </a:lnTo>
                  <a:lnTo>
                    <a:pt x="26" y="0"/>
                  </a:lnTo>
                  <a:lnTo>
                    <a:pt x="23" y="0"/>
                  </a:lnTo>
                  <a:lnTo>
                    <a:pt x="23" y="2"/>
                  </a:lnTo>
                  <a:lnTo>
                    <a:pt x="21" y="2"/>
                  </a:lnTo>
                  <a:lnTo>
                    <a:pt x="18" y="5"/>
                  </a:lnTo>
                  <a:lnTo>
                    <a:pt x="13" y="5"/>
                  </a:lnTo>
                  <a:lnTo>
                    <a:pt x="13" y="5"/>
                  </a:lnTo>
                  <a:lnTo>
                    <a:pt x="11" y="5"/>
                  </a:lnTo>
                  <a:lnTo>
                    <a:pt x="8" y="2"/>
                  </a:lnTo>
                  <a:lnTo>
                    <a:pt x="8" y="2"/>
                  </a:lnTo>
                  <a:lnTo>
                    <a:pt x="5" y="5"/>
                  </a:lnTo>
                  <a:lnTo>
                    <a:pt x="3" y="5"/>
                  </a:lnTo>
                  <a:lnTo>
                    <a:pt x="0" y="10"/>
                  </a:lnTo>
                  <a:lnTo>
                    <a:pt x="0" y="18"/>
                  </a:lnTo>
                  <a:lnTo>
                    <a:pt x="3" y="23"/>
                  </a:lnTo>
                  <a:lnTo>
                    <a:pt x="5" y="28"/>
                  </a:lnTo>
                  <a:lnTo>
                    <a:pt x="8" y="33"/>
                  </a:lnTo>
                  <a:lnTo>
                    <a:pt x="8" y="35"/>
                  </a:lnTo>
                  <a:lnTo>
                    <a:pt x="13" y="38"/>
                  </a:lnTo>
                  <a:lnTo>
                    <a:pt x="16" y="43"/>
                  </a:lnTo>
                  <a:lnTo>
                    <a:pt x="28" y="68"/>
                  </a:lnTo>
                  <a:lnTo>
                    <a:pt x="31" y="71"/>
                  </a:lnTo>
                  <a:lnTo>
                    <a:pt x="31" y="79"/>
                  </a:lnTo>
                  <a:lnTo>
                    <a:pt x="36" y="89"/>
                  </a:lnTo>
                  <a:lnTo>
                    <a:pt x="44" y="102"/>
                  </a:lnTo>
                  <a:lnTo>
                    <a:pt x="44" y="104"/>
                  </a:lnTo>
                  <a:lnTo>
                    <a:pt x="46" y="107"/>
                  </a:lnTo>
                  <a:lnTo>
                    <a:pt x="51" y="117"/>
                  </a:lnTo>
                  <a:lnTo>
                    <a:pt x="54" y="122"/>
                  </a:lnTo>
                  <a:lnTo>
                    <a:pt x="56" y="130"/>
                  </a:lnTo>
                  <a:lnTo>
                    <a:pt x="56" y="132"/>
                  </a:lnTo>
                  <a:lnTo>
                    <a:pt x="56" y="135"/>
                  </a:lnTo>
                  <a:lnTo>
                    <a:pt x="54" y="135"/>
                  </a:lnTo>
                  <a:lnTo>
                    <a:pt x="54" y="132"/>
                  </a:lnTo>
                  <a:lnTo>
                    <a:pt x="54" y="135"/>
                  </a:lnTo>
                  <a:lnTo>
                    <a:pt x="54" y="137"/>
                  </a:lnTo>
                  <a:lnTo>
                    <a:pt x="54" y="142"/>
                  </a:lnTo>
                  <a:lnTo>
                    <a:pt x="54" y="147"/>
                  </a:lnTo>
                  <a:lnTo>
                    <a:pt x="56" y="150"/>
                  </a:lnTo>
                  <a:lnTo>
                    <a:pt x="56" y="160"/>
                  </a:lnTo>
                  <a:lnTo>
                    <a:pt x="56" y="163"/>
                  </a:lnTo>
                  <a:lnTo>
                    <a:pt x="59" y="170"/>
                  </a:lnTo>
                  <a:lnTo>
                    <a:pt x="62" y="175"/>
                  </a:lnTo>
                  <a:lnTo>
                    <a:pt x="62" y="183"/>
                  </a:lnTo>
                  <a:lnTo>
                    <a:pt x="62" y="186"/>
                  </a:lnTo>
                  <a:lnTo>
                    <a:pt x="62" y="188"/>
                  </a:lnTo>
                  <a:lnTo>
                    <a:pt x="62" y="193"/>
                  </a:lnTo>
                  <a:lnTo>
                    <a:pt x="62" y="198"/>
                  </a:lnTo>
                  <a:lnTo>
                    <a:pt x="64" y="203"/>
                  </a:lnTo>
                  <a:lnTo>
                    <a:pt x="64" y="211"/>
                  </a:lnTo>
                  <a:lnTo>
                    <a:pt x="67" y="214"/>
                  </a:lnTo>
                  <a:lnTo>
                    <a:pt x="67" y="216"/>
                  </a:lnTo>
                  <a:lnTo>
                    <a:pt x="69" y="219"/>
                  </a:lnTo>
                  <a:lnTo>
                    <a:pt x="67" y="219"/>
                  </a:lnTo>
                  <a:lnTo>
                    <a:pt x="67" y="221"/>
                  </a:lnTo>
                  <a:lnTo>
                    <a:pt x="69" y="226"/>
                  </a:lnTo>
                  <a:lnTo>
                    <a:pt x="69" y="234"/>
                  </a:lnTo>
                  <a:lnTo>
                    <a:pt x="72" y="236"/>
                  </a:lnTo>
                  <a:lnTo>
                    <a:pt x="79" y="249"/>
                  </a:lnTo>
                  <a:lnTo>
                    <a:pt x="82" y="252"/>
                  </a:lnTo>
                  <a:lnTo>
                    <a:pt x="84" y="254"/>
                  </a:lnTo>
                  <a:lnTo>
                    <a:pt x="90" y="262"/>
                  </a:lnTo>
                  <a:lnTo>
                    <a:pt x="92" y="264"/>
                  </a:lnTo>
                  <a:lnTo>
                    <a:pt x="92" y="262"/>
                  </a:lnTo>
                  <a:lnTo>
                    <a:pt x="97" y="259"/>
                  </a:lnTo>
                  <a:lnTo>
                    <a:pt x="97" y="259"/>
                  </a:lnTo>
                  <a:lnTo>
                    <a:pt x="97" y="259"/>
                  </a:lnTo>
                  <a:lnTo>
                    <a:pt x="100" y="259"/>
                  </a:lnTo>
                  <a:lnTo>
                    <a:pt x="100" y="259"/>
                  </a:lnTo>
                  <a:lnTo>
                    <a:pt x="100" y="257"/>
                  </a:lnTo>
                  <a:lnTo>
                    <a:pt x="100" y="254"/>
                  </a:lnTo>
                  <a:lnTo>
                    <a:pt x="100" y="254"/>
                  </a:lnTo>
                  <a:lnTo>
                    <a:pt x="100" y="252"/>
                  </a:lnTo>
                  <a:lnTo>
                    <a:pt x="102" y="252"/>
                  </a:lnTo>
                  <a:lnTo>
                    <a:pt x="105" y="249"/>
                  </a:lnTo>
                  <a:lnTo>
                    <a:pt x="107" y="252"/>
                  </a:lnTo>
                  <a:lnTo>
                    <a:pt x="107" y="252"/>
                  </a:lnTo>
                  <a:lnTo>
                    <a:pt x="107" y="254"/>
                  </a:lnTo>
                  <a:lnTo>
                    <a:pt x="107" y="254"/>
                  </a:lnTo>
                  <a:lnTo>
                    <a:pt x="110" y="254"/>
                  </a:lnTo>
                  <a:lnTo>
                    <a:pt x="110" y="254"/>
                  </a:lnTo>
                  <a:lnTo>
                    <a:pt x="110" y="257"/>
                  </a:lnTo>
                  <a:lnTo>
                    <a:pt x="110" y="259"/>
                  </a:lnTo>
                  <a:lnTo>
                    <a:pt x="110" y="259"/>
                  </a:lnTo>
                  <a:lnTo>
                    <a:pt x="110" y="262"/>
                  </a:lnTo>
                  <a:lnTo>
                    <a:pt x="110" y="262"/>
                  </a:lnTo>
                  <a:lnTo>
                    <a:pt x="113" y="264"/>
                  </a:lnTo>
                  <a:lnTo>
                    <a:pt x="113" y="264"/>
                  </a:lnTo>
                  <a:lnTo>
                    <a:pt x="115" y="267"/>
                  </a:lnTo>
                  <a:lnTo>
                    <a:pt x="118" y="267"/>
                  </a:lnTo>
                  <a:lnTo>
                    <a:pt x="120" y="267"/>
                  </a:lnTo>
                  <a:lnTo>
                    <a:pt x="123" y="267"/>
                  </a:lnTo>
                  <a:lnTo>
                    <a:pt x="125" y="269"/>
                  </a:lnTo>
                  <a:lnTo>
                    <a:pt x="128" y="269"/>
                  </a:lnTo>
                  <a:lnTo>
                    <a:pt x="133" y="269"/>
                  </a:lnTo>
                  <a:lnTo>
                    <a:pt x="138" y="269"/>
                  </a:lnTo>
                  <a:lnTo>
                    <a:pt x="143" y="269"/>
                  </a:lnTo>
                  <a:lnTo>
                    <a:pt x="146" y="269"/>
                  </a:lnTo>
                  <a:lnTo>
                    <a:pt x="146" y="269"/>
                  </a:lnTo>
                  <a:lnTo>
                    <a:pt x="148" y="269"/>
                  </a:lnTo>
                  <a:lnTo>
                    <a:pt x="148" y="267"/>
                  </a:lnTo>
                  <a:lnTo>
                    <a:pt x="148" y="267"/>
                  </a:lnTo>
                  <a:lnTo>
                    <a:pt x="151" y="264"/>
                  </a:lnTo>
                  <a:lnTo>
                    <a:pt x="151" y="264"/>
                  </a:lnTo>
                  <a:lnTo>
                    <a:pt x="153" y="262"/>
                  </a:lnTo>
                  <a:lnTo>
                    <a:pt x="156" y="262"/>
                  </a:lnTo>
                  <a:lnTo>
                    <a:pt x="158" y="259"/>
                  </a:lnTo>
                  <a:lnTo>
                    <a:pt x="161" y="259"/>
                  </a:lnTo>
                  <a:lnTo>
                    <a:pt x="161" y="257"/>
                  </a:lnTo>
                  <a:lnTo>
                    <a:pt x="161" y="247"/>
                  </a:lnTo>
                  <a:lnTo>
                    <a:pt x="161" y="236"/>
                  </a:lnTo>
                  <a:lnTo>
                    <a:pt x="161" y="226"/>
                  </a:lnTo>
                  <a:lnTo>
                    <a:pt x="161" y="216"/>
                  </a:lnTo>
                  <a:lnTo>
                    <a:pt x="161" y="206"/>
                  </a:lnTo>
                  <a:lnTo>
                    <a:pt x="164" y="196"/>
                  </a:lnTo>
                  <a:lnTo>
                    <a:pt x="164" y="186"/>
                  </a:lnTo>
                  <a:lnTo>
                    <a:pt x="164" y="175"/>
                  </a:lnTo>
                  <a:lnTo>
                    <a:pt x="164" y="175"/>
                  </a:lnTo>
                  <a:lnTo>
                    <a:pt x="164" y="170"/>
                  </a:lnTo>
                  <a:lnTo>
                    <a:pt x="164" y="165"/>
                  </a:lnTo>
                  <a:lnTo>
                    <a:pt x="164" y="158"/>
                  </a:lnTo>
                  <a:lnTo>
                    <a:pt x="164" y="150"/>
                  </a:lnTo>
                  <a:lnTo>
                    <a:pt x="164" y="145"/>
                  </a:lnTo>
                  <a:lnTo>
                    <a:pt x="164" y="137"/>
                  </a:lnTo>
                  <a:lnTo>
                    <a:pt x="164" y="132"/>
                  </a:lnTo>
                  <a:lnTo>
                    <a:pt x="164" y="124"/>
                  </a:lnTo>
                  <a:lnTo>
                    <a:pt x="164" y="119"/>
                  </a:lnTo>
                  <a:lnTo>
                    <a:pt x="164" y="112"/>
                  </a:lnTo>
                  <a:lnTo>
                    <a:pt x="184" y="112"/>
                  </a:lnTo>
                  <a:lnTo>
                    <a:pt x="184" y="112"/>
                  </a:lnTo>
                  <a:lnTo>
                    <a:pt x="184" y="109"/>
                  </a:lnTo>
                  <a:lnTo>
                    <a:pt x="184" y="99"/>
                  </a:lnTo>
                  <a:lnTo>
                    <a:pt x="184" y="89"/>
                  </a:lnTo>
                  <a:lnTo>
                    <a:pt x="184" y="81"/>
                  </a:lnTo>
                  <a:lnTo>
                    <a:pt x="184" y="71"/>
                  </a:lnTo>
                  <a:lnTo>
                    <a:pt x="184" y="61"/>
                  </a:lnTo>
                  <a:lnTo>
                    <a:pt x="184" y="53"/>
                  </a:lnTo>
                  <a:lnTo>
                    <a:pt x="184" y="43"/>
                  </a:lnTo>
                  <a:lnTo>
                    <a:pt x="184" y="33"/>
                  </a:lnTo>
                  <a:lnTo>
                    <a:pt x="184" y="30"/>
                  </a:lnTo>
                  <a:lnTo>
                    <a:pt x="189" y="28"/>
                  </a:lnTo>
                  <a:lnTo>
                    <a:pt x="197" y="28"/>
                  </a:lnTo>
                  <a:lnTo>
                    <a:pt x="204" y="28"/>
                  </a:lnTo>
                  <a:lnTo>
                    <a:pt x="214" y="25"/>
                  </a:lnTo>
                  <a:lnTo>
                    <a:pt x="220" y="23"/>
                  </a:lnTo>
                  <a:lnTo>
                    <a:pt x="227" y="23"/>
                  </a:lnTo>
                  <a:lnTo>
                    <a:pt x="230" y="23"/>
                  </a:lnTo>
                  <a:lnTo>
                    <a:pt x="230" y="23"/>
                  </a:lnTo>
                  <a:lnTo>
                    <a:pt x="230" y="23"/>
                  </a:lnTo>
                  <a:lnTo>
                    <a:pt x="235" y="28"/>
                  </a:lnTo>
                  <a:lnTo>
                    <a:pt x="235" y="30"/>
                  </a:lnTo>
                  <a:lnTo>
                    <a:pt x="235" y="33"/>
                  </a:lnTo>
                  <a:lnTo>
                    <a:pt x="237" y="33"/>
                  </a:lnTo>
                  <a:lnTo>
                    <a:pt x="237" y="33"/>
                  </a:lnTo>
                  <a:lnTo>
                    <a:pt x="237" y="33"/>
                  </a:lnTo>
                  <a:lnTo>
                    <a:pt x="243" y="28"/>
                  </a:lnTo>
                  <a:lnTo>
                    <a:pt x="243" y="28"/>
                  </a:lnTo>
                  <a:lnTo>
                    <a:pt x="245" y="25"/>
                  </a:lnTo>
                  <a:lnTo>
                    <a:pt x="248" y="23"/>
                  </a:lnTo>
                  <a:lnTo>
                    <a:pt x="250" y="23"/>
                  </a:lnTo>
                  <a:lnTo>
                    <a:pt x="253" y="23"/>
                  </a:lnTo>
                  <a:lnTo>
                    <a:pt x="253" y="23"/>
                  </a:lnTo>
                  <a:lnTo>
                    <a:pt x="253" y="23"/>
                  </a:lnTo>
                  <a:lnTo>
                    <a:pt x="255" y="23"/>
                  </a:lnTo>
                  <a:lnTo>
                    <a:pt x="260" y="20"/>
                  </a:lnTo>
                  <a:lnTo>
                    <a:pt x="263" y="18"/>
                  </a:lnTo>
                  <a:lnTo>
                    <a:pt x="268" y="18"/>
                  </a:lnTo>
                  <a:lnTo>
                    <a:pt x="271" y="18"/>
                  </a:lnTo>
                  <a:lnTo>
                    <a:pt x="265" y="1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247" name="Freeform 1866">
              <a:extLst>
                <a:ext uri="{FF2B5EF4-FFF2-40B4-BE49-F238E27FC236}">
                  <a16:creationId xmlns:a16="http://schemas.microsoft.com/office/drawing/2014/main" id="{43CE5AA7-3E2E-9D4B-B325-9984BEDB8762}"/>
                </a:ext>
              </a:extLst>
            </p:cNvPr>
            <p:cNvSpPr>
              <a:spLocks noEditPoints="1"/>
            </p:cNvSpPr>
            <p:nvPr/>
          </p:nvSpPr>
          <p:spPr bwMode="auto">
            <a:xfrm>
              <a:off x="8585640" y="2739536"/>
              <a:ext cx="286254" cy="695189"/>
            </a:xfrm>
            <a:custGeom>
              <a:avLst/>
              <a:gdLst>
                <a:gd name="T0" fmla="*/ 145 w 175"/>
                <a:gd name="T1" fmla="*/ 400 h 425"/>
                <a:gd name="T2" fmla="*/ 145 w 175"/>
                <a:gd name="T3" fmla="*/ 389 h 425"/>
                <a:gd name="T4" fmla="*/ 147 w 175"/>
                <a:gd name="T5" fmla="*/ 382 h 425"/>
                <a:gd name="T6" fmla="*/ 150 w 175"/>
                <a:gd name="T7" fmla="*/ 377 h 425"/>
                <a:gd name="T8" fmla="*/ 140 w 175"/>
                <a:gd name="T9" fmla="*/ 372 h 425"/>
                <a:gd name="T10" fmla="*/ 140 w 175"/>
                <a:gd name="T11" fmla="*/ 367 h 425"/>
                <a:gd name="T12" fmla="*/ 142 w 175"/>
                <a:gd name="T13" fmla="*/ 351 h 425"/>
                <a:gd name="T14" fmla="*/ 66 w 175"/>
                <a:gd name="T15" fmla="*/ 290 h 425"/>
                <a:gd name="T16" fmla="*/ 119 w 175"/>
                <a:gd name="T17" fmla="*/ 275 h 425"/>
                <a:gd name="T18" fmla="*/ 38 w 175"/>
                <a:gd name="T19" fmla="*/ 222 h 425"/>
                <a:gd name="T20" fmla="*/ 35 w 175"/>
                <a:gd name="T21" fmla="*/ 209 h 425"/>
                <a:gd name="T22" fmla="*/ 20 w 175"/>
                <a:gd name="T23" fmla="*/ 194 h 425"/>
                <a:gd name="T24" fmla="*/ 155 w 175"/>
                <a:gd name="T25" fmla="*/ 160 h 425"/>
                <a:gd name="T26" fmla="*/ 137 w 175"/>
                <a:gd name="T27" fmla="*/ 148 h 425"/>
                <a:gd name="T28" fmla="*/ 137 w 175"/>
                <a:gd name="T29" fmla="*/ 125 h 425"/>
                <a:gd name="T30" fmla="*/ 119 w 175"/>
                <a:gd name="T31" fmla="*/ 107 h 425"/>
                <a:gd name="T32" fmla="*/ 102 w 175"/>
                <a:gd name="T33" fmla="*/ 104 h 425"/>
                <a:gd name="T34" fmla="*/ 96 w 175"/>
                <a:gd name="T35" fmla="*/ 84 h 425"/>
                <a:gd name="T36" fmla="*/ 107 w 175"/>
                <a:gd name="T37" fmla="*/ 69 h 425"/>
                <a:gd name="T38" fmla="*/ 112 w 175"/>
                <a:gd name="T39" fmla="*/ 48 h 425"/>
                <a:gd name="T40" fmla="*/ 99 w 175"/>
                <a:gd name="T41" fmla="*/ 23 h 425"/>
                <a:gd name="T42" fmla="*/ 84 w 175"/>
                <a:gd name="T43" fmla="*/ 5 h 425"/>
                <a:gd name="T44" fmla="*/ 79 w 175"/>
                <a:gd name="T45" fmla="*/ 13 h 425"/>
                <a:gd name="T46" fmla="*/ 73 w 175"/>
                <a:gd name="T47" fmla="*/ 33 h 425"/>
                <a:gd name="T48" fmla="*/ 43 w 175"/>
                <a:gd name="T49" fmla="*/ 43 h 425"/>
                <a:gd name="T50" fmla="*/ 40 w 175"/>
                <a:gd name="T51" fmla="*/ 66 h 425"/>
                <a:gd name="T52" fmla="*/ 35 w 175"/>
                <a:gd name="T53" fmla="*/ 89 h 425"/>
                <a:gd name="T54" fmla="*/ 17 w 175"/>
                <a:gd name="T55" fmla="*/ 104 h 425"/>
                <a:gd name="T56" fmla="*/ 15 w 175"/>
                <a:gd name="T57" fmla="*/ 125 h 425"/>
                <a:gd name="T58" fmla="*/ 15 w 175"/>
                <a:gd name="T59" fmla="*/ 150 h 425"/>
                <a:gd name="T60" fmla="*/ 10 w 175"/>
                <a:gd name="T61" fmla="*/ 166 h 425"/>
                <a:gd name="T62" fmla="*/ 5 w 175"/>
                <a:gd name="T63" fmla="*/ 173 h 425"/>
                <a:gd name="T64" fmla="*/ 15 w 175"/>
                <a:gd name="T65" fmla="*/ 191 h 425"/>
                <a:gd name="T66" fmla="*/ 25 w 175"/>
                <a:gd name="T67" fmla="*/ 196 h 425"/>
                <a:gd name="T68" fmla="*/ 38 w 175"/>
                <a:gd name="T69" fmla="*/ 206 h 425"/>
                <a:gd name="T70" fmla="*/ 40 w 175"/>
                <a:gd name="T71" fmla="*/ 219 h 425"/>
                <a:gd name="T72" fmla="*/ 53 w 175"/>
                <a:gd name="T73" fmla="*/ 237 h 425"/>
                <a:gd name="T74" fmla="*/ 56 w 175"/>
                <a:gd name="T75" fmla="*/ 285 h 425"/>
                <a:gd name="T76" fmla="*/ 63 w 175"/>
                <a:gd name="T77" fmla="*/ 288 h 425"/>
                <a:gd name="T78" fmla="*/ 76 w 175"/>
                <a:gd name="T79" fmla="*/ 283 h 425"/>
                <a:gd name="T80" fmla="*/ 91 w 175"/>
                <a:gd name="T81" fmla="*/ 277 h 425"/>
                <a:gd name="T82" fmla="*/ 104 w 175"/>
                <a:gd name="T83" fmla="*/ 270 h 425"/>
                <a:gd name="T84" fmla="*/ 114 w 175"/>
                <a:gd name="T85" fmla="*/ 270 h 425"/>
                <a:gd name="T86" fmla="*/ 127 w 175"/>
                <a:gd name="T87" fmla="*/ 300 h 425"/>
                <a:gd name="T88" fmla="*/ 140 w 175"/>
                <a:gd name="T89" fmla="*/ 339 h 425"/>
                <a:gd name="T90" fmla="*/ 153 w 175"/>
                <a:gd name="T91" fmla="*/ 369 h 425"/>
                <a:gd name="T92" fmla="*/ 155 w 175"/>
                <a:gd name="T93" fmla="*/ 382 h 425"/>
                <a:gd name="T94" fmla="*/ 153 w 175"/>
                <a:gd name="T95" fmla="*/ 415 h 425"/>
                <a:gd name="T96" fmla="*/ 160 w 175"/>
                <a:gd name="T97" fmla="*/ 402 h 425"/>
                <a:gd name="T98" fmla="*/ 165 w 175"/>
                <a:gd name="T99" fmla="*/ 364 h 425"/>
                <a:gd name="T100" fmla="*/ 155 w 175"/>
                <a:gd name="T101" fmla="*/ 333 h 425"/>
                <a:gd name="T102" fmla="*/ 140 w 175"/>
                <a:gd name="T103" fmla="*/ 300 h 425"/>
                <a:gd name="T104" fmla="*/ 142 w 175"/>
                <a:gd name="T105" fmla="*/ 277 h 425"/>
                <a:gd name="T106" fmla="*/ 119 w 175"/>
                <a:gd name="T107" fmla="*/ 244 h 425"/>
                <a:gd name="T108" fmla="*/ 114 w 175"/>
                <a:gd name="T109" fmla="*/ 229 h 425"/>
                <a:gd name="T110" fmla="*/ 119 w 175"/>
                <a:gd name="T111" fmla="*/ 201 h 425"/>
                <a:gd name="T112" fmla="*/ 140 w 175"/>
                <a:gd name="T113" fmla="*/ 194 h 425"/>
                <a:gd name="T114" fmla="*/ 150 w 175"/>
                <a:gd name="T115" fmla="*/ 188 h 425"/>
                <a:gd name="T116" fmla="*/ 168 w 175"/>
                <a:gd name="T117" fmla="*/ 176 h 425"/>
                <a:gd name="T118" fmla="*/ 175 w 175"/>
                <a:gd name="T119" fmla="*/ 158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5" h="425">
                  <a:moveTo>
                    <a:pt x="145" y="423"/>
                  </a:moveTo>
                  <a:lnTo>
                    <a:pt x="145" y="425"/>
                  </a:lnTo>
                  <a:lnTo>
                    <a:pt x="145" y="425"/>
                  </a:lnTo>
                  <a:lnTo>
                    <a:pt x="145" y="423"/>
                  </a:lnTo>
                  <a:lnTo>
                    <a:pt x="147" y="423"/>
                  </a:lnTo>
                  <a:lnTo>
                    <a:pt x="147" y="423"/>
                  </a:lnTo>
                  <a:lnTo>
                    <a:pt x="147" y="420"/>
                  </a:lnTo>
                  <a:lnTo>
                    <a:pt x="147" y="420"/>
                  </a:lnTo>
                  <a:lnTo>
                    <a:pt x="145" y="423"/>
                  </a:lnTo>
                  <a:close/>
                  <a:moveTo>
                    <a:pt x="145" y="405"/>
                  </a:moveTo>
                  <a:lnTo>
                    <a:pt x="147" y="405"/>
                  </a:lnTo>
                  <a:lnTo>
                    <a:pt x="147" y="405"/>
                  </a:lnTo>
                  <a:lnTo>
                    <a:pt x="147" y="405"/>
                  </a:lnTo>
                  <a:lnTo>
                    <a:pt x="145" y="400"/>
                  </a:lnTo>
                  <a:lnTo>
                    <a:pt x="145" y="400"/>
                  </a:lnTo>
                  <a:lnTo>
                    <a:pt x="142" y="400"/>
                  </a:lnTo>
                  <a:lnTo>
                    <a:pt x="142" y="402"/>
                  </a:lnTo>
                  <a:lnTo>
                    <a:pt x="145" y="402"/>
                  </a:lnTo>
                  <a:lnTo>
                    <a:pt x="145" y="402"/>
                  </a:lnTo>
                  <a:lnTo>
                    <a:pt x="145" y="405"/>
                  </a:lnTo>
                  <a:close/>
                  <a:moveTo>
                    <a:pt x="150" y="400"/>
                  </a:moveTo>
                  <a:lnTo>
                    <a:pt x="153" y="400"/>
                  </a:lnTo>
                  <a:lnTo>
                    <a:pt x="150" y="397"/>
                  </a:lnTo>
                  <a:lnTo>
                    <a:pt x="150" y="400"/>
                  </a:lnTo>
                  <a:lnTo>
                    <a:pt x="150" y="400"/>
                  </a:lnTo>
                  <a:lnTo>
                    <a:pt x="150" y="400"/>
                  </a:lnTo>
                  <a:close/>
                  <a:moveTo>
                    <a:pt x="142" y="389"/>
                  </a:moveTo>
                  <a:lnTo>
                    <a:pt x="145" y="389"/>
                  </a:lnTo>
                  <a:lnTo>
                    <a:pt x="145" y="389"/>
                  </a:lnTo>
                  <a:lnTo>
                    <a:pt x="145" y="389"/>
                  </a:lnTo>
                  <a:lnTo>
                    <a:pt x="145" y="387"/>
                  </a:lnTo>
                  <a:lnTo>
                    <a:pt x="145" y="387"/>
                  </a:lnTo>
                  <a:lnTo>
                    <a:pt x="145" y="382"/>
                  </a:lnTo>
                  <a:lnTo>
                    <a:pt x="145" y="382"/>
                  </a:lnTo>
                  <a:lnTo>
                    <a:pt x="145" y="382"/>
                  </a:lnTo>
                  <a:lnTo>
                    <a:pt x="145" y="384"/>
                  </a:lnTo>
                  <a:lnTo>
                    <a:pt x="145" y="387"/>
                  </a:lnTo>
                  <a:lnTo>
                    <a:pt x="142" y="389"/>
                  </a:lnTo>
                  <a:close/>
                  <a:moveTo>
                    <a:pt x="150" y="382"/>
                  </a:moveTo>
                  <a:lnTo>
                    <a:pt x="150" y="382"/>
                  </a:lnTo>
                  <a:lnTo>
                    <a:pt x="147" y="382"/>
                  </a:lnTo>
                  <a:lnTo>
                    <a:pt x="147" y="382"/>
                  </a:lnTo>
                  <a:lnTo>
                    <a:pt x="147" y="384"/>
                  </a:lnTo>
                  <a:lnTo>
                    <a:pt x="147" y="387"/>
                  </a:lnTo>
                  <a:lnTo>
                    <a:pt x="150" y="387"/>
                  </a:lnTo>
                  <a:lnTo>
                    <a:pt x="150" y="387"/>
                  </a:lnTo>
                  <a:lnTo>
                    <a:pt x="150" y="382"/>
                  </a:lnTo>
                  <a:close/>
                  <a:moveTo>
                    <a:pt x="140" y="382"/>
                  </a:moveTo>
                  <a:lnTo>
                    <a:pt x="140" y="382"/>
                  </a:lnTo>
                  <a:lnTo>
                    <a:pt x="140" y="379"/>
                  </a:lnTo>
                  <a:lnTo>
                    <a:pt x="140" y="384"/>
                  </a:lnTo>
                  <a:lnTo>
                    <a:pt x="142" y="384"/>
                  </a:lnTo>
                  <a:lnTo>
                    <a:pt x="140" y="384"/>
                  </a:lnTo>
                  <a:lnTo>
                    <a:pt x="140" y="382"/>
                  </a:lnTo>
                  <a:close/>
                  <a:moveTo>
                    <a:pt x="150" y="379"/>
                  </a:moveTo>
                  <a:lnTo>
                    <a:pt x="150" y="377"/>
                  </a:lnTo>
                  <a:lnTo>
                    <a:pt x="150" y="377"/>
                  </a:lnTo>
                  <a:lnTo>
                    <a:pt x="147" y="374"/>
                  </a:lnTo>
                  <a:lnTo>
                    <a:pt x="147" y="374"/>
                  </a:lnTo>
                  <a:lnTo>
                    <a:pt x="147" y="379"/>
                  </a:lnTo>
                  <a:lnTo>
                    <a:pt x="150" y="379"/>
                  </a:lnTo>
                  <a:lnTo>
                    <a:pt x="150" y="379"/>
                  </a:lnTo>
                  <a:close/>
                  <a:moveTo>
                    <a:pt x="140" y="372"/>
                  </a:moveTo>
                  <a:lnTo>
                    <a:pt x="140" y="372"/>
                  </a:lnTo>
                  <a:lnTo>
                    <a:pt x="140" y="369"/>
                  </a:lnTo>
                  <a:lnTo>
                    <a:pt x="140" y="369"/>
                  </a:lnTo>
                  <a:lnTo>
                    <a:pt x="140" y="369"/>
                  </a:lnTo>
                  <a:lnTo>
                    <a:pt x="140" y="369"/>
                  </a:lnTo>
                  <a:lnTo>
                    <a:pt x="140" y="372"/>
                  </a:lnTo>
                  <a:lnTo>
                    <a:pt x="140" y="372"/>
                  </a:lnTo>
                  <a:lnTo>
                    <a:pt x="140" y="374"/>
                  </a:lnTo>
                  <a:lnTo>
                    <a:pt x="142" y="374"/>
                  </a:lnTo>
                  <a:lnTo>
                    <a:pt x="142" y="374"/>
                  </a:lnTo>
                  <a:lnTo>
                    <a:pt x="140" y="372"/>
                  </a:lnTo>
                  <a:lnTo>
                    <a:pt x="140" y="372"/>
                  </a:lnTo>
                  <a:close/>
                  <a:moveTo>
                    <a:pt x="140" y="367"/>
                  </a:moveTo>
                  <a:lnTo>
                    <a:pt x="140" y="367"/>
                  </a:lnTo>
                  <a:lnTo>
                    <a:pt x="140" y="367"/>
                  </a:lnTo>
                  <a:lnTo>
                    <a:pt x="137" y="367"/>
                  </a:lnTo>
                  <a:lnTo>
                    <a:pt x="137" y="369"/>
                  </a:lnTo>
                  <a:lnTo>
                    <a:pt x="137" y="369"/>
                  </a:lnTo>
                  <a:lnTo>
                    <a:pt x="137" y="369"/>
                  </a:lnTo>
                  <a:lnTo>
                    <a:pt x="140" y="369"/>
                  </a:lnTo>
                  <a:lnTo>
                    <a:pt x="140" y="367"/>
                  </a:lnTo>
                  <a:close/>
                  <a:moveTo>
                    <a:pt x="145" y="369"/>
                  </a:moveTo>
                  <a:lnTo>
                    <a:pt x="145" y="369"/>
                  </a:lnTo>
                  <a:lnTo>
                    <a:pt x="147" y="367"/>
                  </a:lnTo>
                  <a:lnTo>
                    <a:pt x="147" y="364"/>
                  </a:lnTo>
                  <a:lnTo>
                    <a:pt x="147" y="364"/>
                  </a:lnTo>
                  <a:lnTo>
                    <a:pt x="145" y="364"/>
                  </a:lnTo>
                  <a:lnTo>
                    <a:pt x="145" y="361"/>
                  </a:lnTo>
                  <a:lnTo>
                    <a:pt x="145" y="361"/>
                  </a:lnTo>
                  <a:lnTo>
                    <a:pt x="145" y="361"/>
                  </a:lnTo>
                  <a:lnTo>
                    <a:pt x="145" y="364"/>
                  </a:lnTo>
                  <a:lnTo>
                    <a:pt x="145" y="369"/>
                  </a:lnTo>
                  <a:lnTo>
                    <a:pt x="145" y="369"/>
                  </a:lnTo>
                  <a:close/>
                  <a:moveTo>
                    <a:pt x="142" y="351"/>
                  </a:moveTo>
                  <a:lnTo>
                    <a:pt x="142" y="351"/>
                  </a:lnTo>
                  <a:lnTo>
                    <a:pt x="142" y="349"/>
                  </a:lnTo>
                  <a:lnTo>
                    <a:pt x="142" y="349"/>
                  </a:lnTo>
                  <a:lnTo>
                    <a:pt x="142" y="349"/>
                  </a:lnTo>
                  <a:lnTo>
                    <a:pt x="142" y="351"/>
                  </a:lnTo>
                  <a:lnTo>
                    <a:pt x="142" y="354"/>
                  </a:lnTo>
                  <a:lnTo>
                    <a:pt x="142" y="356"/>
                  </a:lnTo>
                  <a:lnTo>
                    <a:pt x="142" y="351"/>
                  </a:lnTo>
                  <a:close/>
                  <a:moveTo>
                    <a:pt x="66" y="290"/>
                  </a:moveTo>
                  <a:lnTo>
                    <a:pt x="66" y="290"/>
                  </a:lnTo>
                  <a:lnTo>
                    <a:pt x="66" y="290"/>
                  </a:lnTo>
                  <a:lnTo>
                    <a:pt x="66" y="290"/>
                  </a:lnTo>
                  <a:lnTo>
                    <a:pt x="68" y="288"/>
                  </a:lnTo>
                  <a:lnTo>
                    <a:pt x="68" y="288"/>
                  </a:lnTo>
                  <a:lnTo>
                    <a:pt x="66" y="290"/>
                  </a:lnTo>
                  <a:close/>
                  <a:moveTo>
                    <a:pt x="61" y="283"/>
                  </a:moveTo>
                  <a:lnTo>
                    <a:pt x="61" y="285"/>
                  </a:lnTo>
                  <a:lnTo>
                    <a:pt x="58" y="285"/>
                  </a:lnTo>
                  <a:lnTo>
                    <a:pt x="58" y="290"/>
                  </a:lnTo>
                  <a:lnTo>
                    <a:pt x="61" y="288"/>
                  </a:lnTo>
                  <a:lnTo>
                    <a:pt x="61" y="285"/>
                  </a:lnTo>
                  <a:lnTo>
                    <a:pt x="63" y="283"/>
                  </a:lnTo>
                  <a:lnTo>
                    <a:pt x="63" y="280"/>
                  </a:lnTo>
                  <a:lnTo>
                    <a:pt x="61" y="283"/>
                  </a:lnTo>
                  <a:close/>
                  <a:moveTo>
                    <a:pt x="122" y="275"/>
                  </a:moveTo>
                  <a:lnTo>
                    <a:pt x="119" y="275"/>
                  </a:lnTo>
                  <a:lnTo>
                    <a:pt x="119" y="275"/>
                  </a:lnTo>
                  <a:lnTo>
                    <a:pt x="119" y="275"/>
                  </a:lnTo>
                  <a:lnTo>
                    <a:pt x="119" y="275"/>
                  </a:lnTo>
                  <a:lnTo>
                    <a:pt x="119" y="277"/>
                  </a:lnTo>
                  <a:lnTo>
                    <a:pt x="119" y="280"/>
                  </a:lnTo>
                  <a:lnTo>
                    <a:pt x="122" y="280"/>
                  </a:lnTo>
                  <a:lnTo>
                    <a:pt x="122" y="277"/>
                  </a:lnTo>
                  <a:lnTo>
                    <a:pt x="122" y="275"/>
                  </a:lnTo>
                  <a:lnTo>
                    <a:pt x="122" y="275"/>
                  </a:lnTo>
                  <a:close/>
                  <a:moveTo>
                    <a:pt x="35" y="219"/>
                  </a:moveTo>
                  <a:lnTo>
                    <a:pt x="33" y="222"/>
                  </a:lnTo>
                  <a:lnTo>
                    <a:pt x="35" y="224"/>
                  </a:lnTo>
                  <a:lnTo>
                    <a:pt x="38" y="224"/>
                  </a:lnTo>
                  <a:lnTo>
                    <a:pt x="38" y="224"/>
                  </a:lnTo>
                  <a:lnTo>
                    <a:pt x="38" y="224"/>
                  </a:lnTo>
                  <a:lnTo>
                    <a:pt x="38" y="222"/>
                  </a:lnTo>
                  <a:lnTo>
                    <a:pt x="38" y="222"/>
                  </a:lnTo>
                  <a:lnTo>
                    <a:pt x="35" y="219"/>
                  </a:lnTo>
                  <a:close/>
                  <a:moveTo>
                    <a:pt x="38" y="209"/>
                  </a:moveTo>
                  <a:lnTo>
                    <a:pt x="38" y="211"/>
                  </a:lnTo>
                  <a:lnTo>
                    <a:pt x="40" y="209"/>
                  </a:lnTo>
                  <a:lnTo>
                    <a:pt x="40" y="209"/>
                  </a:lnTo>
                  <a:lnTo>
                    <a:pt x="40" y="209"/>
                  </a:lnTo>
                  <a:lnTo>
                    <a:pt x="40" y="209"/>
                  </a:lnTo>
                  <a:lnTo>
                    <a:pt x="38" y="206"/>
                  </a:lnTo>
                  <a:lnTo>
                    <a:pt x="38" y="206"/>
                  </a:lnTo>
                  <a:lnTo>
                    <a:pt x="35" y="204"/>
                  </a:lnTo>
                  <a:lnTo>
                    <a:pt x="35" y="206"/>
                  </a:lnTo>
                  <a:lnTo>
                    <a:pt x="35" y="206"/>
                  </a:lnTo>
                  <a:lnTo>
                    <a:pt x="35" y="206"/>
                  </a:lnTo>
                  <a:lnTo>
                    <a:pt x="35" y="209"/>
                  </a:lnTo>
                  <a:lnTo>
                    <a:pt x="38" y="209"/>
                  </a:lnTo>
                  <a:close/>
                  <a:moveTo>
                    <a:pt x="28" y="196"/>
                  </a:moveTo>
                  <a:lnTo>
                    <a:pt x="28" y="199"/>
                  </a:lnTo>
                  <a:lnTo>
                    <a:pt x="30" y="199"/>
                  </a:lnTo>
                  <a:lnTo>
                    <a:pt x="30" y="201"/>
                  </a:lnTo>
                  <a:lnTo>
                    <a:pt x="30" y="196"/>
                  </a:lnTo>
                  <a:lnTo>
                    <a:pt x="28" y="196"/>
                  </a:lnTo>
                  <a:close/>
                  <a:moveTo>
                    <a:pt x="20" y="194"/>
                  </a:moveTo>
                  <a:lnTo>
                    <a:pt x="17" y="194"/>
                  </a:lnTo>
                  <a:lnTo>
                    <a:pt x="17" y="194"/>
                  </a:lnTo>
                  <a:lnTo>
                    <a:pt x="20" y="199"/>
                  </a:lnTo>
                  <a:lnTo>
                    <a:pt x="20" y="199"/>
                  </a:lnTo>
                  <a:lnTo>
                    <a:pt x="20" y="196"/>
                  </a:lnTo>
                  <a:lnTo>
                    <a:pt x="20" y="194"/>
                  </a:lnTo>
                  <a:close/>
                  <a:moveTo>
                    <a:pt x="175" y="155"/>
                  </a:moveTo>
                  <a:lnTo>
                    <a:pt x="175" y="155"/>
                  </a:lnTo>
                  <a:lnTo>
                    <a:pt x="175" y="155"/>
                  </a:lnTo>
                  <a:lnTo>
                    <a:pt x="175" y="155"/>
                  </a:lnTo>
                  <a:lnTo>
                    <a:pt x="173" y="155"/>
                  </a:lnTo>
                  <a:lnTo>
                    <a:pt x="170" y="158"/>
                  </a:lnTo>
                  <a:lnTo>
                    <a:pt x="168" y="160"/>
                  </a:lnTo>
                  <a:lnTo>
                    <a:pt x="165" y="160"/>
                  </a:lnTo>
                  <a:lnTo>
                    <a:pt x="165" y="160"/>
                  </a:lnTo>
                  <a:lnTo>
                    <a:pt x="163" y="160"/>
                  </a:lnTo>
                  <a:lnTo>
                    <a:pt x="160" y="160"/>
                  </a:lnTo>
                  <a:lnTo>
                    <a:pt x="158" y="160"/>
                  </a:lnTo>
                  <a:lnTo>
                    <a:pt x="158" y="160"/>
                  </a:lnTo>
                  <a:lnTo>
                    <a:pt x="155" y="160"/>
                  </a:lnTo>
                  <a:lnTo>
                    <a:pt x="155" y="160"/>
                  </a:lnTo>
                  <a:lnTo>
                    <a:pt x="155" y="158"/>
                  </a:lnTo>
                  <a:lnTo>
                    <a:pt x="155" y="158"/>
                  </a:lnTo>
                  <a:lnTo>
                    <a:pt x="155" y="155"/>
                  </a:lnTo>
                  <a:lnTo>
                    <a:pt x="153" y="155"/>
                  </a:lnTo>
                  <a:lnTo>
                    <a:pt x="153" y="155"/>
                  </a:lnTo>
                  <a:lnTo>
                    <a:pt x="153" y="153"/>
                  </a:lnTo>
                  <a:lnTo>
                    <a:pt x="153" y="150"/>
                  </a:lnTo>
                  <a:lnTo>
                    <a:pt x="153" y="150"/>
                  </a:lnTo>
                  <a:lnTo>
                    <a:pt x="150" y="148"/>
                  </a:lnTo>
                  <a:lnTo>
                    <a:pt x="150" y="148"/>
                  </a:lnTo>
                  <a:lnTo>
                    <a:pt x="145" y="148"/>
                  </a:lnTo>
                  <a:lnTo>
                    <a:pt x="140" y="148"/>
                  </a:lnTo>
                  <a:lnTo>
                    <a:pt x="137" y="148"/>
                  </a:lnTo>
                  <a:lnTo>
                    <a:pt x="137" y="148"/>
                  </a:lnTo>
                  <a:lnTo>
                    <a:pt x="137" y="145"/>
                  </a:lnTo>
                  <a:lnTo>
                    <a:pt x="135" y="145"/>
                  </a:lnTo>
                  <a:lnTo>
                    <a:pt x="135" y="145"/>
                  </a:lnTo>
                  <a:lnTo>
                    <a:pt x="135" y="143"/>
                  </a:lnTo>
                  <a:lnTo>
                    <a:pt x="137" y="140"/>
                  </a:lnTo>
                  <a:lnTo>
                    <a:pt x="137" y="138"/>
                  </a:lnTo>
                  <a:lnTo>
                    <a:pt x="137" y="135"/>
                  </a:lnTo>
                  <a:lnTo>
                    <a:pt x="137" y="132"/>
                  </a:lnTo>
                  <a:lnTo>
                    <a:pt x="137" y="130"/>
                  </a:lnTo>
                  <a:lnTo>
                    <a:pt x="140" y="127"/>
                  </a:lnTo>
                  <a:lnTo>
                    <a:pt x="140" y="127"/>
                  </a:lnTo>
                  <a:lnTo>
                    <a:pt x="140" y="127"/>
                  </a:lnTo>
                  <a:lnTo>
                    <a:pt x="137" y="125"/>
                  </a:lnTo>
                  <a:lnTo>
                    <a:pt x="137" y="125"/>
                  </a:lnTo>
                  <a:lnTo>
                    <a:pt x="135" y="125"/>
                  </a:lnTo>
                  <a:lnTo>
                    <a:pt x="135" y="125"/>
                  </a:lnTo>
                  <a:lnTo>
                    <a:pt x="130" y="125"/>
                  </a:lnTo>
                  <a:lnTo>
                    <a:pt x="127" y="122"/>
                  </a:lnTo>
                  <a:lnTo>
                    <a:pt x="127" y="120"/>
                  </a:lnTo>
                  <a:lnTo>
                    <a:pt x="127" y="117"/>
                  </a:lnTo>
                  <a:lnTo>
                    <a:pt x="124" y="117"/>
                  </a:lnTo>
                  <a:lnTo>
                    <a:pt x="124" y="115"/>
                  </a:lnTo>
                  <a:lnTo>
                    <a:pt x="124" y="115"/>
                  </a:lnTo>
                  <a:lnTo>
                    <a:pt x="124" y="112"/>
                  </a:lnTo>
                  <a:lnTo>
                    <a:pt x="122" y="110"/>
                  </a:lnTo>
                  <a:lnTo>
                    <a:pt x="122" y="110"/>
                  </a:lnTo>
                  <a:lnTo>
                    <a:pt x="119" y="107"/>
                  </a:lnTo>
                  <a:lnTo>
                    <a:pt x="119" y="107"/>
                  </a:lnTo>
                  <a:lnTo>
                    <a:pt x="119" y="104"/>
                  </a:lnTo>
                  <a:lnTo>
                    <a:pt x="122" y="102"/>
                  </a:lnTo>
                  <a:lnTo>
                    <a:pt x="122" y="102"/>
                  </a:lnTo>
                  <a:lnTo>
                    <a:pt x="122" y="102"/>
                  </a:lnTo>
                  <a:lnTo>
                    <a:pt x="122" y="102"/>
                  </a:lnTo>
                  <a:lnTo>
                    <a:pt x="117" y="102"/>
                  </a:lnTo>
                  <a:lnTo>
                    <a:pt x="117" y="102"/>
                  </a:lnTo>
                  <a:lnTo>
                    <a:pt x="117" y="102"/>
                  </a:lnTo>
                  <a:lnTo>
                    <a:pt x="114" y="102"/>
                  </a:lnTo>
                  <a:lnTo>
                    <a:pt x="109" y="102"/>
                  </a:lnTo>
                  <a:lnTo>
                    <a:pt x="107" y="102"/>
                  </a:lnTo>
                  <a:lnTo>
                    <a:pt x="104" y="104"/>
                  </a:lnTo>
                  <a:lnTo>
                    <a:pt x="102" y="104"/>
                  </a:lnTo>
                  <a:lnTo>
                    <a:pt x="102" y="107"/>
                  </a:lnTo>
                  <a:lnTo>
                    <a:pt x="99" y="107"/>
                  </a:lnTo>
                  <a:lnTo>
                    <a:pt x="99" y="107"/>
                  </a:lnTo>
                  <a:lnTo>
                    <a:pt x="99" y="104"/>
                  </a:lnTo>
                  <a:lnTo>
                    <a:pt x="99" y="102"/>
                  </a:lnTo>
                  <a:lnTo>
                    <a:pt x="99" y="99"/>
                  </a:lnTo>
                  <a:lnTo>
                    <a:pt x="99" y="97"/>
                  </a:lnTo>
                  <a:lnTo>
                    <a:pt x="99" y="94"/>
                  </a:lnTo>
                  <a:lnTo>
                    <a:pt x="96" y="94"/>
                  </a:lnTo>
                  <a:lnTo>
                    <a:pt x="96" y="94"/>
                  </a:lnTo>
                  <a:lnTo>
                    <a:pt x="96" y="92"/>
                  </a:lnTo>
                  <a:lnTo>
                    <a:pt x="94" y="89"/>
                  </a:lnTo>
                  <a:lnTo>
                    <a:pt x="96" y="87"/>
                  </a:lnTo>
                  <a:lnTo>
                    <a:pt x="96" y="84"/>
                  </a:lnTo>
                  <a:lnTo>
                    <a:pt x="99" y="84"/>
                  </a:lnTo>
                  <a:lnTo>
                    <a:pt x="99" y="84"/>
                  </a:lnTo>
                  <a:lnTo>
                    <a:pt x="96" y="82"/>
                  </a:lnTo>
                  <a:lnTo>
                    <a:pt x="96" y="82"/>
                  </a:lnTo>
                  <a:lnTo>
                    <a:pt x="99" y="76"/>
                  </a:lnTo>
                  <a:lnTo>
                    <a:pt x="99" y="76"/>
                  </a:lnTo>
                  <a:lnTo>
                    <a:pt x="102" y="76"/>
                  </a:lnTo>
                  <a:lnTo>
                    <a:pt x="102" y="76"/>
                  </a:lnTo>
                  <a:lnTo>
                    <a:pt x="102" y="74"/>
                  </a:lnTo>
                  <a:lnTo>
                    <a:pt x="102" y="74"/>
                  </a:lnTo>
                  <a:lnTo>
                    <a:pt x="104" y="71"/>
                  </a:lnTo>
                  <a:lnTo>
                    <a:pt x="104" y="69"/>
                  </a:lnTo>
                  <a:lnTo>
                    <a:pt x="104" y="69"/>
                  </a:lnTo>
                  <a:lnTo>
                    <a:pt x="107" y="69"/>
                  </a:lnTo>
                  <a:lnTo>
                    <a:pt x="107" y="69"/>
                  </a:lnTo>
                  <a:lnTo>
                    <a:pt x="109" y="66"/>
                  </a:lnTo>
                  <a:lnTo>
                    <a:pt x="109" y="64"/>
                  </a:lnTo>
                  <a:lnTo>
                    <a:pt x="112" y="61"/>
                  </a:lnTo>
                  <a:lnTo>
                    <a:pt x="112" y="61"/>
                  </a:lnTo>
                  <a:lnTo>
                    <a:pt x="112" y="61"/>
                  </a:lnTo>
                  <a:lnTo>
                    <a:pt x="112" y="61"/>
                  </a:lnTo>
                  <a:lnTo>
                    <a:pt x="112" y="59"/>
                  </a:lnTo>
                  <a:lnTo>
                    <a:pt x="109" y="56"/>
                  </a:lnTo>
                  <a:lnTo>
                    <a:pt x="109" y="56"/>
                  </a:lnTo>
                  <a:lnTo>
                    <a:pt x="112" y="56"/>
                  </a:lnTo>
                  <a:lnTo>
                    <a:pt x="112" y="54"/>
                  </a:lnTo>
                  <a:lnTo>
                    <a:pt x="112" y="51"/>
                  </a:lnTo>
                  <a:lnTo>
                    <a:pt x="112" y="48"/>
                  </a:lnTo>
                  <a:lnTo>
                    <a:pt x="112" y="46"/>
                  </a:lnTo>
                  <a:lnTo>
                    <a:pt x="109" y="43"/>
                  </a:lnTo>
                  <a:lnTo>
                    <a:pt x="109" y="41"/>
                  </a:lnTo>
                  <a:lnTo>
                    <a:pt x="109" y="38"/>
                  </a:lnTo>
                  <a:lnTo>
                    <a:pt x="109" y="36"/>
                  </a:lnTo>
                  <a:lnTo>
                    <a:pt x="107" y="31"/>
                  </a:lnTo>
                  <a:lnTo>
                    <a:pt x="107" y="31"/>
                  </a:lnTo>
                  <a:lnTo>
                    <a:pt x="107" y="26"/>
                  </a:lnTo>
                  <a:lnTo>
                    <a:pt x="104" y="23"/>
                  </a:lnTo>
                  <a:lnTo>
                    <a:pt x="104" y="23"/>
                  </a:lnTo>
                  <a:lnTo>
                    <a:pt x="102" y="20"/>
                  </a:lnTo>
                  <a:lnTo>
                    <a:pt x="102" y="20"/>
                  </a:lnTo>
                  <a:lnTo>
                    <a:pt x="99" y="20"/>
                  </a:lnTo>
                  <a:lnTo>
                    <a:pt x="99" y="23"/>
                  </a:lnTo>
                  <a:lnTo>
                    <a:pt x="99" y="23"/>
                  </a:lnTo>
                  <a:lnTo>
                    <a:pt x="99" y="23"/>
                  </a:lnTo>
                  <a:lnTo>
                    <a:pt x="96" y="23"/>
                  </a:lnTo>
                  <a:lnTo>
                    <a:pt x="96" y="20"/>
                  </a:lnTo>
                  <a:lnTo>
                    <a:pt x="94" y="13"/>
                  </a:lnTo>
                  <a:lnTo>
                    <a:pt x="91" y="13"/>
                  </a:lnTo>
                  <a:lnTo>
                    <a:pt x="91" y="10"/>
                  </a:lnTo>
                  <a:lnTo>
                    <a:pt x="91" y="8"/>
                  </a:lnTo>
                  <a:lnTo>
                    <a:pt x="89" y="8"/>
                  </a:lnTo>
                  <a:lnTo>
                    <a:pt x="86" y="5"/>
                  </a:lnTo>
                  <a:lnTo>
                    <a:pt x="86" y="5"/>
                  </a:lnTo>
                  <a:lnTo>
                    <a:pt x="86" y="5"/>
                  </a:lnTo>
                  <a:lnTo>
                    <a:pt x="84" y="5"/>
                  </a:lnTo>
                  <a:lnTo>
                    <a:pt x="84" y="5"/>
                  </a:lnTo>
                  <a:lnTo>
                    <a:pt x="84" y="3"/>
                  </a:lnTo>
                  <a:lnTo>
                    <a:pt x="81" y="3"/>
                  </a:lnTo>
                  <a:lnTo>
                    <a:pt x="81" y="3"/>
                  </a:lnTo>
                  <a:lnTo>
                    <a:pt x="81" y="0"/>
                  </a:lnTo>
                  <a:lnTo>
                    <a:pt x="79" y="0"/>
                  </a:lnTo>
                  <a:lnTo>
                    <a:pt x="79" y="3"/>
                  </a:lnTo>
                  <a:lnTo>
                    <a:pt x="79" y="3"/>
                  </a:lnTo>
                  <a:lnTo>
                    <a:pt x="79" y="5"/>
                  </a:lnTo>
                  <a:lnTo>
                    <a:pt x="76" y="8"/>
                  </a:lnTo>
                  <a:lnTo>
                    <a:pt x="76" y="8"/>
                  </a:lnTo>
                  <a:lnTo>
                    <a:pt x="76" y="10"/>
                  </a:lnTo>
                  <a:lnTo>
                    <a:pt x="76" y="10"/>
                  </a:lnTo>
                  <a:lnTo>
                    <a:pt x="76" y="13"/>
                  </a:lnTo>
                  <a:lnTo>
                    <a:pt x="79" y="13"/>
                  </a:lnTo>
                  <a:lnTo>
                    <a:pt x="79" y="15"/>
                  </a:lnTo>
                  <a:lnTo>
                    <a:pt x="76" y="15"/>
                  </a:lnTo>
                  <a:lnTo>
                    <a:pt x="76" y="15"/>
                  </a:lnTo>
                  <a:lnTo>
                    <a:pt x="73" y="15"/>
                  </a:lnTo>
                  <a:lnTo>
                    <a:pt x="73" y="18"/>
                  </a:lnTo>
                  <a:lnTo>
                    <a:pt x="71" y="20"/>
                  </a:lnTo>
                  <a:lnTo>
                    <a:pt x="71" y="20"/>
                  </a:lnTo>
                  <a:lnTo>
                    <a:pt x="71" y="23"/>
                  </a:lnTo>
                  <a:lnTo>
                    <a:pt x="71" y="23"/>
                  </a:lnTo>
                  <a:lnTo>
                    <a:pt x="71" y="26"/>
                  </a:lnTo>
                  <a:lnTo>
                    <a:pt x="76" y="31"/>
                  </a:lnTo>
                  <a:lnTo>
                    <a:pt x="76" y="33"/>
                  </a:lnTo>
                  <a:lnTo>
                    <a:pt x="76" y="33"/>
                  </a:lnTo>
                  <a:lnTo>
                    <a:pt x="73" y="33"/>
                  </a:lnTo>
                  <a:lnTo>
                    <a:pt x="71" y="31"/>
                  </a:lnTo>
                  <a:lnTo>
                    <a:pt x="71" y="28"/>
                  </a:lnTo>
                  <a:lnTo>
                    <a:pt x="68" y="28"/>
                  </a:lnTo>
                  <a:lnTo>
                    <a:pt x="68" y="28"/>
                  </a:lnTo>
                  <a:lnTo>
                    <a:pt x="61" y="28"/>
                  </a:lnTo>
                  <a:lnTo>
                    <a:pt x="58" y="31"/>
                  </a:lnTo>
                  <a:lnTo>
                    <a:pt x="56" y="31"/>
                  </a:lnTo>
                  <a:lnTo>
                    <a:pt x="56" y="33"/>
                  </a:lnTo>
                  <a:lnTo>
                    <a:pt x="53" y="36"/>
                  </a:lnTo>
                  <a:lnTo>
                    <a:pt x="53" y="36"/>
                  </a:lnTo>
                  <a:lnTo>
                    <a:pt x="51" y="36"/>
                  </a:lnTo>
                  <a:lnTo>
                    <a:pt x="45" y="41"/>
                  </a:lnTo>
                  <a:lnTo>
                    <a:pt x="43" y="43"/>
                  </a:lnTo>
                  <a:lnTo>
                    <a:pt x="43" y="43"/>
                  </a:lnTo>
                  <a:lnTo>
                    <a:pt x="40" y="46"/>
                  </a:lnTo>
                  <a:lnTo>
                    <a:pt x="40" y="46"/>
                  </a:lnTo>
                  <a:lnTo>
                    <a:pt x="40" y="48"/>
                  </a:lnTo>
                  <a:lnTo>
                    <a:pt x="40" y="51"/>
                  </a:lnTo>
                  <a:lnTo>
                    <a:pt x="40" y="54"/>
                  </a:lnTo>
                  <a:lnTo>
                    <a:pt x="43" y="56"/>
                  </a:lnTo>
                  <a:lnTo>
                    <a:pt x="43" y="56"/>
                  </a:lnTo>
                  <a:lnTo>
                    <a:pt x="43" y="59"/>
                  </a:lnTo>
                  <a:lnTo>
                    <a:pt x="43" y="59"/>
                  </a:lnTo>
                  <a:lnTo>
                    <a:pt x="40" y="59"/>
                  </a:lnTo>
                  <a:lnTo>
                    <a:pt x="40" y="61"/>
                  </a:lnTo>
                  <a:lnTo>
                    <a:pt x="40" y="64"/>
                  </a:lnTo>
                  <a:lnTo>
                    <a:pt x="40" y="66"/>
                  </a:lnTo>
                  <a:lnTo>
                    <a:pt x="40" y="66"/>
                  </a:lnTo>
                  <a:lnTo>
                    <a:pt x="38" y="69"/>
                  </a:lnTo>
                  <a:lnTo>
                    <a:pt x="35" y="71"/>
                  </a:lnTo>
                  <a:lnTo>
                    <a:pt x="35" y="71"/>
                  </a:lnTo>
                  <a:lnTo>
                    <a:pt x="35" y="74"/>
                  </a:lnTo>
                  <a:lnTo>
                    <a:pt x="35" y="76"/>
                  </a:lnTo>
                  <a:lnTo>
                    <a:pt x="35" y="76"/>
                  </a:lnTo>
                  <a:lnTo>
                    <a:pt x="35" y="76"/>
                  </a:lnTo>
                  <a:lnTo>
                    <a:pt x="35" y="76"/>
                  </a:lnTo>
                  <a:lnTo>
                    <a:pt x="38" y="79"/>
                  </a:lnTo>
                  <a:lnTo>
                    <a:pt x="38" y="79"/>
                  </a:lnTo>
                  <a:lnTo>
                    <a:pt x="38" y="79"/>
                  </a:lnTo>
                  <a:lnTo>
                    <a:pt x="38" y="82"/>
                  </a:lnTo>
                  <a:lnTo>
                    <a:pt x="38" y="87"/>
                  </a:lnTo>
                  <a:lnTo>
                    <a:pt x="35" y="89"/>
                  </a:lnTo>
                  <a:lnTo>
                    <a:pt x="35" y="92"/>
                  </a:lnTo>
                  <a:lnTo>
                    <a:pt x="33" y="94"/>
                  </a:lnTo>
                  <a:lnTo>
                    <a:pt x="33" y="97"/>
                  </a:lnTo>
                  <a:lnTo>
                    <a:pt x="33" y="102"/>
                  </a:lnTo>
                  <a:lnTo>
                    <a:pt x="33" y="104"/>
                  </a:lnTo>
                  <a:lnTo>
                    <a:pt x="30" y="107"/>
                  </a:lnTo>
                  <a:lnTo>
                    <a:pt x="30" y="107"/>
                  </a:lnTo>
                  <a:lnTo>
                    <a:pt x="28" y="107"/>
                  </a:lnTo>
                  <a:lnTo>
                    <a:pt x="25" y="104"/>
                  </a:lnTo>
                  <a:lnTo>
                    <a:pt x="23" y="104"/>
                  </a:lnTo>
                  <a:lnTo>
                    <a:pt x="23" y="104"/>
                  </a:lnTo>
                  <a:lnTo>
                    <a:pt x="20" y="104"/>
                  </a:lnTo>
                  <a:lnTo>
                    <a:pt x="20" y="104"/>
                  </a:lnTo>
                  <a:lnTo>
                    <a:pt x="17" y="104"/>
                  </a:lnTo>
                  <a:lnTo>
                    <a:pt x="17" y="104"/>
                  </a:lnTo>
                  <a:lnTo>
                    <a:pt x="15" y="102"/>
                  </a:lnTo>
                  <a:lnTo>
                    <a:pt x="15" y="102"/>
                  </a:lnTo>
                  <a:lnTo>
                    <a:pt x="15" y="104"/>
                  </a:lnTo>
                  <a:lnTo>
                    <a:pt x="17" y="110"/>
                  </a:lnTo>
                  <a:lnTo>
                    <a:pt x="17" y="112"/>
                  </a:lnTo>
                  <a:lnTo>
                    <a:pt x="17" y="115"/>
                  </a:lnTo>
                  <a:lnTo>
                    <a:pt x="17" y="120"/>
                  </a:lnTo>
                  <a:lnTo>
                    <a:pt x="17" y="125"/>
                  </a:lnTo>
                  <a:lnTo>
                    <a:pt x="17" y="125"/>
                  </a:lnTo>
                  <a:lnTo>
                    <a:pt x="17" y="125"/>
                  </a:lnTo>
                  <a:lnTo>
                    <a:pt x="17" y="127"/>
                  </a:lnTo>
                  <a:lnTo>
                    <a:pt x="15" y="125"/>
                  </a:lnTo>
                  <a:lnTo>
                    <a:pt x="15" y="125"/>
                  </a:lnTo>
                  <a:lnTo>
                    <a:pt x="15" y="127"/>
                  </a:lnTo>
                  <a:lnTo>
                    <a:pt x="15" y="130"/>
                  </a:lnTo>
                  <a:lnTo>
                    <a:pt x="15" y="130"/>
                  </a:lnTo>
                  <a:lnTo>
                    <a:pt x="15" y="132"/>
                  </a:lnTo>
                  <a:lnTo>
                    <a:pt x="15" y="135"/>
                  </a:lnTo>
                  <a:lnTo>
                    <a:pt x="15" y="138"/>
                  </a:lnTo>
                  <a:lnTo>
                    <a:pt x="17" y="140"/>
                  </a:lnTo>
                  <a:lnTo>
                    <a:pt x="17" y="143"/>
                  </a:lnTo>
                  <a:lnTo>
                    <a:pt x="17" y="145"/>
                  </a:lnTo>
                  <a:lnTo>
                    <a:pt x="17" y="145"/>
                  </a:lnTo>
                  <a:lnTo>
                    <a:pt x="15" y="145"/>
                  </a:lnTo>
                  <a:lnTo>
                    <a:pt x="15" y="145"/>
                  </a:lnTo>
                  <a:lnTo>
                    <a:pt x="15" y="145"/>
                  </a:lnTo>
                  <a:lnTo>
                    <a:pt x="15" y="150"/>
                  </a:lnTo>
                  <a:lnTo>
                    <a:pt x="12" y="150"/>
                  </a:lnTo>
                  <a:lnTo>
                    <a:pt x="12" y="150"/>
                  </a:lnTo>
                  <a:lnTo>
                    <a:pt x="10" y="148"/>
                  </a:lnTo>
                  <a:lnTo>
                    <a:pt x="10" y="145"/>
                  </a:lnTo>
                  <a:lnTo>
                    <a:pt x="7" y="145"/>
                  </a:lnTo>
                  <a:lnTo>
                    <a:pt x="7" y="148"/>
                  </a:lnTo>
                  <a:lnTo>
                    <a:pt x="7" y="148"/>
                  </a:lnTo>
                  <a:lnTo>
                    <a:pt x="7" y="150"/>
                  </a:lnTo>
                  <a:lnTo>
                    <a:pt x="7" y="150"/>
                  </a:lnTo>
                  <a:lnTo>
                    <a:pt x="7" y="150"/>
                  </a:lnTo>
                  <a:lnTo>
                    <a:pt x="7" y="158"/>
                  </a:lnTo>
                  <a:lnTo>
                    <a:pt x="7" y="160"/>
                  </a:lnTo>
                  <a:lnTo>
                    <a:pt x="10" y="163"/>
                  </a:lnTo>
                  <a:lnTo>
                    <a:pt x="10" y="166"/>
                  </a:lnTo>
                  <a:lnTo>
                    <a:pt x="10" y="166"/>
                  </a:lnTo>
                  <a:lnTo>
                    <a:pt x="7" y="166"/>
                  </a:lnTo>
                  <a:lnTo>
                    <a:pt x="7" y="166"/>
                  </a:lnTo>
                  <a:lnTo>
                    <a:pt x="7" y="163"/>
                  </a:lnTo>
                  <a:lnTo>
                    <a:pt x="5" y="163"/>
                  </a:lnTo>
                  <a:lnTo>
                    <a:pt x="2" y="163"/>
                  </a:lnTo>
                  <a:lnTo>
                    <a:pt x="2" y="163"/>
                  </a:lnTo>
                  <a:lnTo>
                    <a:pt x="0" y="163"/>
                  </a:lnTo>
                  <a:lnTo>
                    <a:pt x="0" y="166"/>
                  </a:lnTo>
                  <a:lnTo>
                    <a:pt x="2" y="168"/>
                  </a:lnTo>
                  <a:lnTo>
                    <a:pt x="2" y="171"/>
                  </a:lnTo>
                  <a:lnTo>
                    <a:pt x="2" y="171"/>
                  </a:lnTo>
                  <a:lnTo>
                    <a:pt x="2" y="171"/>
                  </a:lnTo>
                  <a:lnTo>
                    <a:pt x="5" y="173"/>
                  </a:lnTo>
                  <a:lnTo>
                    <a:pt x="5" y="176"/>
                  </a:lnTo>
                  <a:lnTo>
                    <a:pt x="5" y="176"/>
                  </a:lnTo>
                  <a:lnTo>
                    <a:pt x="7" y="178"/>
                  </a:lnTo>
                  <a:lnTo>
                    <a:pt x="12" y="183"/>
                  </a:lnTo>
                  <a:lnTo>
                    <a:pt x="15" y="188"/>
                  </a:lnTo>
                  <a:lnTo>
                    <a:pt x="15" y="183"/>
                  </a:lnTo>
                  <a:lnTo>
                    <a:pt x="12" y="181"/>
                  </a:lnTo>
                  <a:lnTo>
                    <a:pt x="12" y="181"/>
                  </a:lnTo>
                  <a:lnTo>
                    <a:pt x="15" y="183"/>
                  </a:lnTo>
                  <a:lnTo>
                    <a:pt x="15" y="186"/>
                  </a:lnTo>
                  <a:lnTo>
                    <a:pt x="17" y="186"/>
                  </a:lnTo>
                  <a:lnTo>
                    <a:pt x="17" y="188"/>
                  </a:lnTo>
                  <a:lnTo>
                    <a:pt x="17" y="188"/>
                  </a:lnTo>
                  <a:lnTo>
                    <a:pt x="15" y="191"/>
                  </a:lnTo>
                  <a:lnTo>
                    <a:pt x="17" y="191"/>
                  </a:lnTo>
                  <a:lnTo>
                    <a:pt x="17" y="191"/>
                  </a:lnTo>
                  <a:lnTo>
                    <a:pt x="20" y="188"/>
                  </a:lnTo>
                  <a:lnTo>
                    <a:pt x="20" y="186"/>
                  </a:lnTo>
                  <a:lnTo>
                    <a:pt x="20" y="186"/>
                  </a:lnTo>
                  <a:lnTo>
                    <a:pt x="20" y="186"/>
                  </a:lnTo>
                  <a:lnTo>
                    <a:pt x="20" y="191"/>
                  </a:lnTo>
                  <a:lnTo>
                    <a:pt x="20" y="191"/>
                  </a:lnTo>
                  <a:lnTo>
                    <a:pt x="23" y="191"/>
                  </a:lnTo>
                  <a:lnTo>
                    <a:pt x="20" y="191"/>
                  </a:lnTo>
                  <a:lnTo>
                    <a:pt x="20" y="194"/>
                  </a:lnTo>
                  <a:lnTo>
                    <a:pt x="23" y="199"/>
                  </a:lnTo>
                  <a:lnTo>
                    <a:pt x="25" y="199"/>
                  </a:lnTo>
                  <a:lnTo>
                    <a:pt x="25" y="196"/>
                  </a:lnTo>
                  <a:lnTo>
                    <a:pt x="23" y="194"/>
                  </a:lnTo>
                  <a:lnTo>
                    <a:pt x="25" y="194"/>
                  </a:lnTo>
                  <a:lnTo>
                    <a:pt x="28" y="194"/>
                  </a:lnTo>
                  <a:lnTo>
                    <a:pt x="28" y="194"/>
                  </a:lnTo>
                  <a:lnTo>
                    <a:pt x="28" y="194"/>
                  </a:lnTo>
                  <a:lnTo>
                    <a:pt x="33" y="196"/>
                  </a:lnTo>
                  <a:lnTo>
                    <a:pt x="35" y="196"/>
                  </a:lnTo>
                  <a:lnTo>
                    <a:pt x="33" y="199"/>
                  </a:lnTo>
                  <a:lnTo>
                    <a:pt x="33" y="199"/>
                  </a:lnTo>
                  <a:lnTo>
                    <a:pt x="35" y="201"/>
                  </a:lnTo>
                  <a:lnTo>
                    <a:pt x="35" y="201"/>
                  </a:lnTo>
                  <a:lnTo>
                    <a:pt x="35" y="204"/>
                  </a:lnTo>
                  <a:lnTo>
                    <a:pt x="35" y="204"/>
                  </a:lnTo>
                  <a:lnTo>
                    <a:pt x="38" y="206"/>
                  </a:lnTo>
                  <a:lnTo>
                    <a:pt x="40" y="206"/>
                  </a:lnTo>
                  <a:lnTo>
                    <a:pt x="40" y="206"/>
                  </a:lnTo>
                  <a:lnTo>
                    <a:pt x="40" y="206"/>
                  </a:lnTo>
                  <a:lnTo>
                    <a:pt x="40" y="209"/>
                  </a:lnTo>
                  <a:lnTo>
                    <a:pt x="40" y="211"/>
                  </a:lnTo>
                  <a:lnTo>
                    <a:pt x="38" y="211"/>
                  </a:lnTo>
                  <a:lnTo>
                    <a:pt x="38" y="211"/>
                  </a:lnTo>
                  <a:lnTo>
                    <a:pt x="33" y="209"/>
                  </a:lnTo>
                  <a:lnTo>
                    <a:pt x="33" y="209"/>
                  </a:lnTo>
                  <a:lnTo>
                    <a:pt x="33" y="209"/>
                  </a:lnTo>
                  <a:lnTo>
                    <a:pt x="35" y="214"/>
                  </a:lnTo>
                  <a:lnTo>
                    <a:pt x="38" y="216"/>
                  </a:lnTo>
                  <a:lnTo>
                    <a:pt x="38" y="219"/>
                  </a:lnTo>
                  <a:lnTo>
                    <a:pt x="40" y="219"/>
                  </a:lnTo>
                  <a:lnTo>
                    <a:pt x="43" y="219"/>
                  </a:lnTo>
                  <a:lnTo>
                    <a:pt x="43" y="216"/>
                  </a:lnTo>
                  <a:lnTo>
                    <a:pt x="40" y="214"/>
                  </a:lnTo>
                  <a:lnTo>
                    <a:pt x="43" y="214"/>
                  </a:lnTo>
                  <a:lnTo>
                    <a:pt x="43" y="211"/>
                  </a:lnTo>
                  <a:lnTo>
                    <a:pt x="43" y="211"/>
                  </a:lnTo>
                  <a:lnTo>
                    <a:pt x="43" y="214"/>
                  </a:lnTo>
                  <a:lnTo>
                    <a:pt x="45" y="219"/>
                  </a:lnTo>
                  <a:lnTo>
                    <a:pt x="45" y="222"/>
                  </a:lnTo>
                  <a:lnTo>
                    <a:pt x="48" y="224"/>
                  </a:lnTo>
                  <a:lnTo>
                    <a:pt x="48" y="224"/>
                  </a:lnTo>
                  <a:lnTo>
                    <a:pt x="48" y="227"/>
                  </a:lnTo>
                  <a:lnTo>
                    <a:pt x="51" y="229"/>
                  </a:lnTo>
                  <a:lnTo>
                    <a:pt x="53" y="237"/>
                  </a:lnTo>
                  <a:lnTo>
                    <a:pt x="56" y="244"/>
                  </a:lnTo>
                  <a:lnTo>
                    <a:pt x="58" y="247"/>
                  </a:lnTo>
                  <a:lnTo>
                    <a:pt x="58" y="250"/>
                  </a:lnTo>
                  <a:lnTo>
                    <a:pt x="58" y="255"/>
                  </a:lnTo>
                  <a:lnTo>
                    <a:pt x="58" y="260"/>
                  </a:lnTo>
                  <a:lnTo>
                    <a:pt x="58" y="260"/>
                  </a:lnTo>
                  <a:lnTo>
                    <a:pt x="58" y="265"/>
                  </a:lnTo>
                  <a:lnTo>
                    <a:pt x="56" y="265"/>
                  </a:lnTo>
                  <a:lnTo>
                    <a:pt x="56" y="270"/>
                  </a:lnTo>
                  <a:lnTo>
                    <a:pt x="56" y="272"/>
                  </a:lnTo>
                  <a:lnTo>
                    <a:pt x="56" y="275"/>
                  </a:lnTo>
                  <a:lnTo>
                    <a:pt x="56" y="283"/>
                  </a:lnTo>
                  <a:lnTo>
                    <a:pt x="56" y="285"/>
                  </a:lnTo>
                  <a:lnTo>
                    <a:pt x="56" y="285"/>
                  </a:lnTo>
                  <a:lnTo>
                    <a:pt x="58" y="283"/>
                  </a:lnTo>
                  <a:lnTo>
                    <a:pt x="61" y="283"/>
                  </a:lnTo>
                  <a:lnTo>
                    <a:pt x="61" y="280"/>
                  </a:lnTo>
                  <a:lnTo>
                    <a:pt x="63" y="277"/>
                  </a:lnTo>
                  <a:lnTo>
                    <a:pt x="63" y="277"/>
                  </a:lnTo>
                  <a:lnTo>
                    <a:pt x="63" y="275"/>
                  </a:lnTo>
                  <a:lnTo>
                    <a:pt x="63" y="275"/>
                  </a:lnTo>
                  <a:lnTo>
                    <a:pt x="63" y="275"/>
                  </a:lnTo>
                  <a:lnTo>
                    <a:pt x="63" y="277"/>
                  </a:lnTo>
                  <a:lnTo>
                    <a:pt x="63" y="280"/>
                  </a:lnTo>
                  <a:lnTo>
                    <a:pt x="63" y="283"/>
                  </a:lnTo>
                  <a:lnTo>
                    <a:pt x="63" y="285"/>
                  </a:lnTo>
                  <a:lnTo>
                    <a:pt x="63" y="285"/>
                  </a:lnTo>
                  <a:lnTo>
                    <a:pt x="63" y="288"/>
                  </a:lnTo>
                  <a:lnTo>
                    <a:pt x="66" y="285"/>
                  </a:lnTo>
                  <a:lnTo>
                    <a:pt x="68" y="285"/>
                  </a:lnTo>
                  <a:lnTo>
                    <a:pt x="68" y="283"/>
                  </a:lnTo>
                  <a:lnTo>
                    <a:pt x="68" y="283"/>
                  </a:lnTo>
                  <a:lnTo>
                    <a:pt x="68" y="283"/>
                  </a:lnTo>
                  <a:lnTo>
                    <a:pt x="68" y="283"/>
                  </a:lnTo>
                  <a:lnTo>
                    <a:pt x="68" y="285"/>
                  </a:lnTo>
                  <a:lnTo>
                    <a:pt x="68" y="285"/>
                  </a:lnTo>
                  <a:lnTo>
                    <a:pt x="71" y="290"/>
                  </a:lnTo>
                  <a:lnTo>
                    <a:pt x="73" y="290"/>
                  </a:lnTo>
                  <a:lnTo>
                    <a:pt x="73" y="290"/>
                  </a:lnTo>
                  <a:lnTo>
                    <a:pt x="76" y="288"/>
                  </a:lnTo>
                  <a:lnTo>
                    <a:pt x="76" y="285"/>
                  </a:lnTo>
                  <a:lnTo>
                    <a:pt x="76" y="283"/>
                  </a:lnTo>
                  <a:lnTo>
                    <a:pt x="79" y="285"/>
                  </a:lnTo>
                  <a:lnTo>
                    <a:pt x="76" y="288"/>
                  </a:lnTo>
                  <a:lnTo>
                    <a:pt x="76" y="290"/>
                  </a:lnTo>
                  <a:lnTo>
                    <a:pt x="79" y="293"/>
                  </a:lnTo>
                  <a:lnTo>
                    <a:pt x="79" y="293"/>
                  </a:lnTo>
                  <a:lnTo>
                    <a:pt x="81" y="290"/>
                  </a:lnTo>
                  <a:lnTo>
                    <a:pt x="84" y="285"/>
                  </a:lnTo>
                  <a:lnTo>
                    <a:pt x="84" y="285"/>
                  </a:lnTo>
                  <a:lnTo>
                    <a:pt x="86" y="283"/>
                  </a:lnTo>
                  <a:lnTo>
                    <a:pt x="89" y="280"/>
                  </a:lnTo>
                  <a:lnTo>
                    <a:pt x="91" y="280"/>
                  </a:lnTo>
                  <a:lnTo>
                    <a:pt x="91" y="277"/>
                  </a:lnTo>
                  <a:lnTo>
                    <a:pt x="91" y="277"/>
                  </a:lnTo>
                  <a:lnTo>
                    <a:pt x="91" y="277"/>
                  </a:lnTo>
                  <a:lnTo>
                    <a:pt x="96" y="277"/>
                  </a:lnTo>
                  <a:lnTo>
                    <a:pt x="96" y="275"/>
                  </a:lnTo>
                  <a:lnTo>
                    <a:pt x="94" y="272"/>
                  </a:lnTo>
                  <a:lnTo>
                    <a:pt x="94" y="272"/>
                  </a:lnTo>
                  <a:lnTo>
                    <a:pt x="91" y="267"/>
                  </a:lnTo>
                  <a:lnTo>
                    <a:pt x="94" y="267"/>
                  </a:lnTo>
                  <a:lnTo>
                    <a:pt x="94" y="267"/>
                  </a:lnTo>
                  <a:lnTo>
                    <a:pt x="94" y="270"/>
                  </a:lnTo>
                  <a:lnTo>
                    <a:pt x="94" y="272"/>
                  </a:lnTo>
                  <a:lnTo>
                    <a:pt x="96" y="275"/>
                  </a:lnTo>
                  <a:lnTo>
                    <a:pt x="96" y="275"/>
                  </a:lnTo>
                  <a:lnTo>
                    <a:pt x="99" y="275"/>
                  </a:lnTo>
                  <a:lnTo>
                    <a:pt x="102" y="272"/>
                  </a:lnTo>
                  <a:lnTo>
                    <a:pt x="104" y="270"/>
                  </a:lnTo>
                  <a:lnTo>
                    <a:pt x="104" y="267"/>
                  </a:lnTo>
                  <a:lnTo>
                    <a:pt x="104" y="265"/>
                  </a:lnTo>
                  <a:lnTo>
                    <a:pt x="107" y="262"/>
                  </a:lnTo>
                  <a:lnTo>
                    <a:pt x="104" y="257"/>
                  </a:lnTo>
                  <a:lnTo>
                    <a:pt x="104" y="257"/>
                  </a:lnTo>
                  <a:lnTo>
                    <a:pt x="104" y="255"/>
                  </a:lnTo>
                  <a:lnTo>
                    <a:pt x="104" y="255"/>
                  </a:lnTo>
                  <a:lnTo>
                    <a:pt x="107" y="255"/>
                  </a:lnTo>
                  <a:lnTo>
                    <a:pt x="109" y="257"/>
                  </a:lnTo>
                  <a:lnTo>
                    <a:pt x="109" y="260"/>
                  </a:lnTo>
                  <a:lnTo>
                    <a:pt x="112" y="260"/>
                  </a:lnTo>
                  <a:lnTo>
                    <a:pt x="112" y="262"/>
                  </a:lnTo>
                  <a:lnTo>
                    <a:pt x="112" y="265"/>
                  </a:lnTo>
                  <a:lnTo>
                    <a:pt x="114" y="270"/>
                  </a:lnTo>
                  <a:lnTo>
                    <a:pt x="114" y="270"/>
                  </a:lnTo>
                  <a:lnTo>
                    <a:pt x="117" y="275"/>
                  </a:lnTo>
                  <a:lnTo>
                    <a:pt x="119" y="272"/>
                  </a:lnTo>
                  <a:lnTo>
                    <a:pt x="122" y="272"/>
                  </a:lnTo>
                  <a:lnTo>
                    <a:pt x="122" y="272"/>
                  </a:lnTo>
                  <a:lnTo>
                    <a:pt x="124" y="272"/>
                  </a:lnTo>
                  <a:lnTo>
                    <a:pt x="122" y="275"/>
                  </a:lnTo>
                  <a:lnTo>
                    <a:pt x="122" y="275"/>
                  </a:lnTo>
                  <a:lnTo>
                    <a:pt x="122" y="280"/>
                  </a:lnTo>
                  <a:lnTo>
                    <a:pt x="122" y="283"/>
                  </a:lnTo>
                  <a:lnTo>
                    <a:pt x="122" y="285"/>
                  </a:lnTo>
                  <a:lnTo>
                    <a:pt x="124" y="288"/>
                  </a:lnTo>
                  <a:lnTo>
                    <a:pt x="127" y="298"/>
                  </a:lnTo>
                  <a:lnTo>
                    <a:pt x="127" y="300"/>
                  </a:lnTo>
                  <a:lnTo>
                    <a:pt x="127" y="303"/>
                  </a:lnTo>
                  <a:lnTo>
                    <a:pt x="130" y="311"/>
                  </a:lnTo>
                  <a:lnTo>
                    <a:pt x="130" y="313"/>
                  </a:lnTo>
                  <a:lnTo>
                    <a:pt x="132" y="313"/>
                  </a:lnTo>
                  <a:lnTo>
                    <a:pt x="135" y="316"/>
                  </a:lnTo>
                  <a:lnTo>
                    <a:pt x="132" y="316"/>
                  </a:lnTo>
                  <a:lnTo>
                    <a:pt x="132" y="316"/>
                  </a:lnTo>
                  <a:lnTo>
                    <a:pt x="135" y="321"/>
                  </a:lnTo>
                  <a:lnTo>
                    <a:pt x="135" y="323"/>
                  </a:lnTo>
                  <a:lnTo>
                    <a:pt x="137" y="328"/>
                  </a:lnTo>
                  <a:lnTo>
                    <a:pt x="137" y="331"/>
                  </a:lnTo>
                  <a:lnTo>
                    <a:pt x="137" y="333"/>
                  </a:lnTo>
                  <a:lnTo>
                    <a:pt x="137" y="339"/>
                  </a:lnTo>
                  <a:lnTo>
                    <a:pt x="140" y="339"/>
                  </a:lnTo>
                  <a:lnTo>
                    <a:pt x="140" y="331"/>
                  </a:lnTo>
                  <a:lnTo>
                    <a:pt x="140" y="333"/>
                  </a:lnTo>
                  <a:lnTo>
                    <a:pt x="140" y="333"/>
                  </a:lnTo>
                  <a:lnTo>
                    <a:pt x="140" y="336"/>
                  </a:lnTo>
                  <a:lnTo>
                    <a:pt x="145" y="344"/>
                  </a:lnTo>
                  <a:lnTo>
                    <a:pt x="145" y="346"/>
                  </a:lnTo>
                  <a:lnTo>
                    <a:pt x="147" y="351"/>
                  </a:lnTo>
                  <a:lnTo>
                    <a:pt x="150" y="354"/>
                  </a:lnTo>
                  <a:lnTo>
                    <a:pt x="150" y="356"/>
                  </a:lnTo>
                  <a:lnTo>
                    <a:pt x="150" y="359"/>
                  </a:lnTo>
                  <a:lnTo>
                    <a:pt x="150" y="361"/>
                  </a:lnTo>
                  <a:lnTo>
                    <a:pt x="150" y="364"/>
                  </a:lnTo>
                  <a:lnTo>
                    <a:pt x="150" y="367"/>
                  </a:lnTo>
                  <a:lnTo>
                    <a:pt x="153" y="369"/>
                  </a:lnTo>
                  <a:lnTo>
                    <a:pt x="150" y="369"/>
                  </a:lnTo>
                  <a:lnTo>
                    <a:pt x="150" y="372"/>
                  </a:lnTo>
                  <a:lnTo>
                    <a:pt x="150" y="372"/>
                  </a:lnTo>
                  <a:lnTo>
                    <a:pt x="153" y="372"/>
                  </a:lnTo>
                  <a:lnTo>
                    <a:pt x="153" y="374"/>
                  </a:lnTo>
                  <a:lnTo>
                    <a:pt x="153" y="374"/>
                  </a:lnTo>
                  <a:lnTo>
                    <a:pt x="153" y="377"/>
                  </a:lnTo>
                  <a:lnTo>
                    <a:pt x="153" y="379"/>
                  </a:lnTo>
                  <a:lnTo>
                    <a:pt x="153" y="379"/>
                  </a:lnTo>
                  <a:lnTo>
                    <a:pt x="153" y="382"/>
                  </a:lnTo>
                  <a:lnTo>
                    <a:pt x="153" y="382"/>
                  </a:lnTo>
                  <a:lnTo>
                    <a:pt x="153" y="382"/>
                  </a:lnTo>
                  <a:lnTo>
                    <a:pt x="155" y="382"/>
                  </a:lnTo>
                  <a:lnTo>
                    <a:pt x="155" y="382"/>
                  </a:lnTo>
                  <a:lnTo>
                    <a:pt x="158" y="382"/>
                  </a:lnTo>
                  <a:lnTo>
                    <a:pt x="155" y="384"/>
                  </a:lnTo>
                  <a:lnTo>
                    <a:pt x="155" y="387"/>
                  </a:lnTo>
                  <a:lnTo>
                    <a:pt x="155" y="387"/>
                  </a:lnTo>
                  <a:lnTo>
                    <a:pt x="155" y="389"/>
                  </a:lnTo>
                  <a:lnTo>
                    <a:pt x="155" y="392"/>
                  </a:lnTo>
                  <a:lnTo>
                    <a:pt x="155" y="395"/>
                  </a:lnTo>
                  <a:lnTo>
                    <a:pt x="155" y="397"/>
                  </a:lnTo>
                  <a:lnTo>
                    <a:pt x="155" y="400"/>
                  </a:lnTo>
                  <a:lnTo>
                    <a:pt x="153" y="402"/>
                  </a:lnTo>
                  <a:lnTo>
                    <a:pt x="153" y="405"/>
                  </a:lnTo>
                  <a:lnTo>
                    <a:pt x="150" y="405"/>
                  </a:lnTo>
                  <a:lnTo>
                    <a:pt x="150" y="407"/>
                  </a:lnTo>
                  <a:lnTo>
                    <a:pt x="153" y="415"/>
                  </a:lnTo>
                  <a:lnTo>
                    <a:pt x="153" y="417"/>
                  </a:lnTo>
                  <a:lnTo>
                    <a:pt x="153" y="420"/>
                  </a:lnTo>
                  <a:lnTo>
                    <a:pt x="153" y="420"/>
                  </a:lnTo>
                  <a:lnTo>
                    <a:pt x="155" y="417"/>
                  </a:lnTo>
                  <a:lnTo>
                    <a:pt x="155" y="417"/>
                  </a:lnTo>
                  <a:lnTo>
                    <a:pt x="155" y="415"/>
                  </a:lnTo>
                  <a:lnTo>
                    <a:pt x="158" y="415"/>
                  </a:lnTo>
                  <a:lnTo>
                    <a:pt x="158" y="412"/>
                  </a:lnTo>
                  <a:lnTo>
                    <a:pt x="158" y="410"/>
                  </a:lnTo>
                  <a:lnTo>
                    <a:pt x="155" y="407"/>
                  </a:lnTo>
                  <a:lnTo>
                    <a:pt x="155" y="407"/>
                  </a:lnTo>
                  <a:lnTo>
                    <a:pt x="158" y="405"/>
                  </a:lnTo>
                  <a:lnTo>
                    <a:pt x="158" y="405"/>
                  </a:lnTo>
                  <a:lnTo>
                    <a:pt x="160" y="402"/>
                  </a:lnTo>
                  <a:lnTo>
                    <a:pt x="165" y="397"/>
                  </a:lnTo>
                  <a:lnTo>
                    <a:pt x="168" y="389"/>
                  </a:lnTo>
                  <a:lnTo>
                    <a:pt x="168" y="387"/>
                  </a:lnTo>
                  <a:lnTo>
                    <a:pt x="168" y="384"/>
                  </a:lnTo>
                  <a:lnTo>
                    <a:pt x="170" y="384"/>
                  </a:lnTo>
                  <a:lnTo>
                    <a:pt x="170" y="384"/>
                  </a:lnTo>
                  <a:lnTo>
                    <a:pt x="170" y="382"/>
                  </a:lnTo>
                  <a:lnTo>
                    <a:pt x="170" y="382"/>
                  </a:lnTo>
                  <a:lnTo>
                    <a:pt x="170" y="374"/>
                  </a:lnTo>
                  <a:lnTo>
                    <a:pt x="168" y="372"/>
                  </a:lnTo>
                  <a:lnTo>
                    <a:pt x="168" y="369"/>
                  </a:lnTo>
                  <a:lnTo>
                    <a:pt x="165" y="367"/>
                  </a:lnTo>
                  <a:lnTo>
                    <a:pt x="165" y="367"/>
                  </a:lnTo>
                  <a:lnTo>
                    <a:pt x="165" y="364"/>
                  </a:lnTo>
                  <a:lnTo>
                    <a:pt x="165" y="364"/>
                  </a:lnTo>
                  <a:lnTo>
                    <a:pt x="163" y="361"/>
                  </a:lnTo>
                  <a:lnTo>
                    <a:pt x="163" y="359"/>
                  </a:lnTo>
                  <a:lnTo>
                    <a:pt x="160" y="356"/>
                  </a:lnTo>
                  <a:lnTo>
                    <a:pt x="160" y="354"/>
                  </a:lnTo>
                  <a:lnTo>
                    <a:pt x="160" y="354"/>
                  </a:lnTo>
                  <a:lnTo>
                    <a:pt x="158" y="351"/>
                  </a:lnTo>
                  <a:lnTo>
                    <a:pt x="160" y="349"/>
                  </a:lnTo>
                  <a:lnTo>
                    <a:pt x="160" y="349"/>
                  </a:lnTo>
                  <a:lnTo>
                    <a:pt x="160" y="344"/>
                  </a:lnTo>
                  <a:lnTo>
                    <a:pt x="158" y="341"/>
                  </a:lnTo>
                  <a:lnTo>
                    <a:pt x="158" y="339"/>
                  </a:lnTo>
                  <a:lnTo>
                    <a:pt x="158" y="336"/>
                  </a:lnTo>
                  <a:lnTo>
                    <a:pt x="155" y="333"/>
                  </a:lnTo>
                  <a:lnTo>
                    <a:pt x="153" y="331"/>
                  </a:lnTo>
                  <a:lnTo>
                    <a:pt x="150" y="326"/>
                  </a:lnTo>
                  <a:lnTo>
                    <a:pt x="145" y="323"/>
                  </a:lnTo>
                  <a:lnTo>
                    <a:pt x="145" y="321"/>
                  </a:lnTo>
                  <a:lnTo>
                    <a:pt x="142" y="318"/>
                  </a:lnTo>
                  <a:lnTo>
                    <a:pt x="140" y="316"/>
                  </a:lnTo>
                  <a:lnTo>
                    <a:pt x="137" y="313"/>
                  </a:lnTo>
                  <a:lnTo>
                    <a:pt x="137" y="308"/>
                  </a:lnTo>
                  <a:lnTo>
                    <a:pt x="135" y="305"/>
                  </a:lnTo>
                  <a:lnTo>
                    <a:pt x="135" y="303"/>
                  </a:lnTo>
                  <a:lnTo>
                    <a:pt x="137" y="303"/>
                  </a:lnTo>
                  <a:lnTo>
                    <a:pt x="137" y="303"/>
                  </a:lnTo>
                  <a:lnTo>
                    <a:pt x="140" y="303"/>
                  </a:lnTo>
                  <a:lnTo>
                    <a:pt x="140" y="300"/>
                  </a:lnTo>
                  <a:lnTo>
                    <a:pt x="142" y="300"/>
                  </a:lnTo>
                  <a:lnTo>
                    <a:pt x="142" y="300"/>
                  </a:lnTo>
                  <a:lnTo>
                    <a:pt x="142" y="300"/>
                  </a:lnTo>
                  <a:lnTo>
                    <a:pt x="142" y="295"/>
                  </a:lnTo>
                  <a:lnTo>
                    <a:pt x="142" y="290"/>
                  </a:lnTo>
                  <a:lnTo>
                    <a:pt x="142" y="288"/>
                  </a:lnTo>
                  <a:lnTo>
                    <a:pt x="142" y="285"/>
                  </a:lnTo>
                  <a:lnTo>
                    <a:pt x="145" y="283"/>
                  </a:lnTo>
                  <a:lnTo>
                    <a:pt x="147" y="280"/>
                  </a:lnTo>
                  <a:lnTo>
                    <a:pt x="147" y="280"/>
                  </a:lnTo>
                  <a:lnTo>
                    <a:pt x="147" y="277"/>
                  </a:lnTo>
                  <a:lnTo>
                    <a:pt x="147" y="277"/>
                  </a:lnTo>
                  <a:lnTo>
                    <a:pt x="145" y="275"/>
                  </a:lnTo>
                  <a:lnTo>
                    <a:pt x="142" y="277"/>
                  </a:lnTo>
                  <a:lnTo>
                    <a:pt x="142" y="277"/>
                  </a:lnTo>
                  <a:lnTo>
                    <a:pt x="140" y="275"/>
                  </a:lnTo>
                  <a:lnTo>
                    <a:pt x="140" y="272"/>
                  </a:lnTo>
                  <a:lnTo>
                    <a:pt x="140" y="270"/>
                  </a:lnTo>
                  <a:lnTo>
                    <a:pt x="137" y="270"/>
                  </a:lnTo>
                  <a:lnTo>
                    <a:pt x="137" y="265"/>
                  </a:lnTo>
                  <a:lnTo>
                    <a:pt x="137" y="262"/>
                  </a:lnTo>
                  <a:lnTo>
                    <a:pt x="132" y="260"/>
                  </a:lnTo>
                  <a:lnTo>
                    <a:pt x="130" y="257"/>
                  </a:lnTo>
                  <a:lnTo>
                    <a:pt x="127" y="255"/>
                  </a:lnTo>
                  <a:lnTo>
                    <a:pt x="124" y="250"/>
                  </a:lnTo>
                  <a:lnTo>
                    <a:pt x="122" y="247"/>
                  </a:lnTo>
                  <a:lnTo>
                    <a:pt x="119" y="244"/>
                  </a:lnTo>
                  <a:lnTo>
                    <a:pt x="119" y="244"/>
                  </a:lnTo>
                  <a:lnTo>
                    <a:pt x="119" y="244"/>
                  </a:lnTo>
                  <a:lnTo>
                    <a:pt x="119" y="242"/>
                  </a:lnTo>
                  <a:lnTo>
                    <a:pt x="119" y="239"/>
                  </a:lnTo>
                  <a:lnTo>
                    <a:pt x="117" y="237"/>
                  </a:lnTo>
                  <a:lnTo>
                    <a:pt x="117" y="234"/>
                  </a:lnTo>
                  <a:lnTo>
                    <a:pt x="117" y="234"/>
                  </a:lnTo>
                  <a:lnTo>
                    <a:pt x="117" y="234"/>
                  </a:lnTo>
                  <a:lnTo>
                    <a:pt x="114" y="234"/>
                  </a:lnTo>
                  <a:lnTo>
                    <a:pt x="112" y="232"/>
                  </a:lnTo>
                  <a:lnTo>
                    <a:pt x="112" y="229"/>
                  </a:lnTo>
                  <a:lnTo>
                    <a:pt x="112" y="229"/>
                  </a:lnTo>
                  <a:lnTo>
                    <a:pt x="112" y="229"/>
                  </a:lnTo>
                  <a:lnTo>
                    <a:pt x="114" y="229"/>
                  </a:lnTo>
                  <a:lnTo>
                    <a:pt x="114" y="229"/>
                  </a:lnTo>
                  <a:lnTo>
                    <a:pt x="114" y="229"/>
                  </a:lnTo>
                  <a:lnTo>
                    <a:pt x="117" y="227"/>
                  </a:lnTo>
                  <a:lnTo>
                    <a:pt x="117" y="227"/>
                  </a:lnTo>
                  <a:lnTo>
                    <a:pt x="117" y="227"/>
                  </a:lnTo>
                  <a:lnTo>
                    <a:pt x="119" y="227"/>
                  </a:lnTo>
                  <a:lnTo>
                    <a:pt x="117" y="219"/>
                  </a:lnTo>
                  <a:lnTo>
                    <a:pt x="117" y="216"/>
                  </a:lnTo>
                  <a:lnTo>
                    <a:pt x="117" y="214"/>
                  </a:lnTo>
                  <a:lnTo>
                    <a:pt x="117" y="211"/>
                  </a:lnTo>
                  <a:lnTo>
                    <a:pt x="117" y="206"/>
                  </a:lnTo>
                  <a:lnTo>
                    <a:pt x="119" y="204"/>
                  </a:lnTo>
                  <a:lnTo>
                    <a:pt x="119" y="204"/>
                  </a:lnTo>
                  <a:lnTo>
                    <a:pt x="119" y="201"/>
                  </a:lnTo>
                  <a:lnTo>
                    <a:pt x="119" y="201"/>
                  </a:lnTo>
                  <a:lnTo>
                    <a:pt x="122" y="201"/>
                  </a:lnTo>
                  <a:lnTo>
                    <a:pt x="124" y="201"/>
                  </a:lnTo>
                  <a:lnTo>
                    <a:pt x="124" y="201"/>
                  </a:lnTo>
                  <a:lnTo>
                    <a:pt x="127" y="201"/>
                  </a:lnTo>
                  <a:lnTo>
                    <a:pt x="130" y="201"/>
                  </a:lnTo>
                  <a:lnTo>
                    <a:pt x="130" y="201"/>
                  </a:lnTo>
                  <a:lnTo>
                    <a:pt x="135" y="201"/>
                  </a:lnTo>
                  <a:lnTo>
                    <a:pt x="135" y="199"/>
                  </a:lnTo>
                  <a:lnTo>
                    <a:pt x="137" y="201"/>
                  </a:lnTo>
                  <a:lnTo>
                    <a:pt x="137" y="199"/>
                  </a:lnTo>
                  <a:lnTo>
                    <a:pt x="137" y="199"/>
                  </a:lnTo>
                  <a:lnTo>
                    <a:pt x="140" y="199"/>
                  </a:lnTo>
                  <a:lnTo>
                    <a:pt x="140" y="194"/>
                  </a:lnTo>
                  <a:lnTo>
                    <a:pt x="140" y="194"/>
                  </a:lnTo>
                  <a:lnTo>
                    <a:pt x="140" y="194"/>
                  </a:lnTo>
                  <a:lnTo>
                    <a:pt x="140" y="191"/>
                  </a:lnTo>
                  <a:lnTo>
                    <a:pt x="142" y="191"/>
                  </a:lnTo>
                  <a:lnTo>
                    <a:pt x="145" y="194"/>
                  </a:lnTo>
                  <a:lnTo>
                    <a:pt x="145" y="194"/>
                  </a:lnTo>
                  <a:lnTo>
                    <a:pt x="147" y="194"/>
                  </a:lnTo>
                  <a:lnTo>
                    <a:pt x="147" y="191"/>
                  </a:lnTo>
                  <a:lnTo>
                    <a:pt x="147" y="191"/>
                  </a:lnTo>
                  <a:lnTo>
                    <a:pt x="147" y="191"/>
                  </a:lnTo>
                  <a:lnTo>
                    <a:pt x="147" y="188"/>
                  </a:lnTo>
                  <a:lnTo>
                    <a:pt x="147" y="186"/>
                  </a:lnTo>
                  <a:lnTo>
                    <a:pt x="147" y="186"/>
                  </a:lnTo>
                  <a:lnTo>
                    <a:pt x="147" y="186"/>
                  </a:lnTo>
                  <a:lnTo>
                    <a:pt x="150" y="188"/>
                  </a:lnTo>
                  <a:lnTo>
                    <a:pt x="153" y="188"/>
                  </a:lnTo>
                  <a:lnTo>
                    <a:pt x="153" y="186"/>
                  </a:lnTo>
                  <a:lnTo>
                    <a:pt x="155" y="186"/>
                  </a:lnTo>
                  <a:lnTo>
                    <a:pt x="155" y="186"/>
                  </a:lnTo>
                  <a:lnTo>
                    <a:pt x="155" y="186"/>
                  </a:lnTo>
                  <a:lnTo>
                    <a:pt x="158" y="186"/>
                  </a:lnTo>
                  <a:lnTo>
                    <a:pt x="160" y="188"/>
                  </a:lnTo>
                  <a:lnTo>
                    <a:pt x="160" y="186"/>
                  </a:lnTo>
                  <a:lnTo>
                    <a:pt x="160" y="181"/>
                  </a:lnTo>
                  <a:lnTo>
                    <a:pt x="160" y="178"/>
                  </a:lnTo>
                  <a:lnTo>
                    <a:pt x="163" y="176"/>
                  </a:lnTo>
                  <a:lnTo>
                    <a:pt x="165" y="176"/>
                  </a:lnTo>
                  <a:lnTo>
                    <a:pt x="165" y="176"/>
                  </a:lnTo>
                  <a:lnTo>
                    <a:pt x="168" y="176"/>
                  </a:lnTo>
                  <a:lnTo>
                    <a:pt x="168" y="176"/>
                  </a:lnTo>
                  <a:lnTo>
                    <a:pt x="168" y="176"/>
                  </a:lnTo>
                  <a:lnTo>
                    <a:pt x="168" y="176"/>
                  </a:lnTo>
                  <a:lnTo>
                    <a:pt x="165" y="173"/>
                  </a:lnTo>
                  <a:lnTo>
                    <a:pt x="165" y="173"/>
                  </a:lnTo>
                  <a:lnTo>
                    <a:pt x="165" y="171"/>
                  </a:lnTo>
                  <a:lnTo>
                    <a:pt x="168" y="171"/>
                  </a:lnTo>
                  <a:lnTo>
                    <a:pt x="168" y="168"/>
                  </a:lnTo>
                  <a:lnTo>
                    <a:pt x="168" y="166"/>
                  </a:lnTo>
                  <a:lnTo>
                    <a:pt x="170" y="166"/>
                  </a:lnTo>
                  <a:lnTo>
                    <a:pt x="170" y="166"/>
                  </a:lnTo>
                  <a:lnTo>
                    <a:pt x="173" y="163"/>
                  </a:lnTo>
                  <a:lnTo>
                    <a:pt x="175" y="160"/>
                  </a:lnTo>
                  <a:lnTo>
                    <a:pt x="175" y="158"/>
                  </a:lnTo>
                  <a:lnTo>
                    <a:pt x="175" y="158"/>
                  </a:lnTo>
                  <a:lnTo>
                    <a:pt x="175" y="155"/>
                  </a:lnTo>
                  <a:close/>
                </a:path>
              </a:pathLst>
            </a:custGeom>
            <a:solidFill>
              <a:srgbClr val="FFC000"/>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248" name="Freeform 1867">
              <a:extLst>
                <a:ext uri="{FF2B5EF4-FFF2-40B4-BE49-F238E27FC236}">
                  <a16:creationId xmlns:a16="http://schemas.microsoft.com/office/drawing/2014/main" id="{458A5C2C-2596-2043-B8F8-3E3396A2A3C2}"/>
                </a:ext>
              </a:extLst>
            </p:cNvPr>
            <p:cNvSpPr>
              <a:spLocks noEditPoints="1"/>
            </p:cNvSpPr>
            <p:nvPr/>
          </p:nvSpPr>
          <p:spPr bwMode="auto">
            <a:xfrm>
              <a:off x="6596584" y="4188799"/>
              <a:ext cx="345141" cy="611765"/>
            </a:xfrm>
            <a:custGeom>
              <a:avLst/>
              <a:gdLst>
                <a:gd name="T0" fmla="*/ 206 w 211"/>
                <a:gd name="T1" fmla="*/ 91 h 374"/>
                <a:gd name="T2" fmla="*/ 206 w 211"/>
                <a:gd name="T3" fmla="*/ 73 h 374"/>
                <a:gd name="T4" fmla="*/ 206 w 211"/>
                <a:gd name="T5" fmla="*/ 58 h 374"/>
                <a:gd name="T6" fmla="*/ 206 w 211"/>
                <a:gd name="T7" fmla="*/ 48 h 374"/>
                <a:gd name="T8" fmla="*/ 206 w 211"/>
                <a:gd name="T9" fmla="*/ 23 h 374"/>
                <a:gd name="T10" fmla="*/ 209 w 211"/>
                <a:gd name="T11" fmla="*/ 10 h 374"/>
                <a:gd name="T12" fmla="*/ 196 w 211"/>
                <a:gd name="T13" fmla="*/ 10 h 374"/>
                <a:gd name="T14" fmla="*/ 173 w 211"/>
                <a:gd name="T15" fmla="*/ 17 h 374"/>
                <a:gd name="T16" fmla="*/ 153 w 211"/>
                <a:gd name="T17" fmla="*/ 23 h 374"/>
                <a:gd name="T18" fmla="*/ 135 w 211"/>
                <a:gd name="T19" fmla="*/ 25 h 374"/>
                <a:gd name="T20" fmla="*/ 117 w 211"/>
                <a:gd name="T21" fmla="*/ 25 h 374"/>
                <a:gd name="T22" fmla="*/ 104 w 211"/>
                <a:gd name="T23" fmla="*/ 25 h 374"/>
                <a:gd name="T24" fmla="*/ 87 w 211"/>
                <a:gd name="T25" fmla="*/ 33 h 374"/>
                <a:gd name="T26" fmla="*/ 87 w 211"/>
                <a:gd name="T27" fmla="*/ 56 h 374"/>
                <a:gd name="T28" fmla="*/ 97 w 211"/>
                <a:gd name="T29" fmla="*/ 73 h 374"/>
                <a:gd name="T30" fmla="*/ 112 w 211"/>
                <a:gd name="T31" fmla="*/ 104 h 374"/>
                <a:gd name="T32" fmla="*/ 102 w 211"/>
                <a:gd name="T33" fmla="*/ 129 h 374"/>
                <a:gd name="T34" fmla="*/ 99 w 211"/>
                <a:gd name="T35" fmla="*/ 145 h 374"/>
                <a:gd name="T36" fmla="*/ 94 w 211"/>
                <a:gd name="T37" fmla="*/ 150 h 374"/>
                <a:gd name="T38" fmla="*/ 81 w 211"/>
                <a:gd name="T39" fmla="*/ 132 h 374"/>
                <a:gd name="T40" fmla="*/ 79 w 211"/>
                <a:gd name="T41" fmla="*/ 122 h 374"/>
                <a:gd name="T42" fmla="*/ 87 w 211"/>
                <a:gd name="T43" fmla="*/ 101 h 374"/>
                <a:gd name="T44" fmla="*/ 74 w 211"/>
                <a:gd name="T45" fmla="*/ 91 h 374"/>
                <a:gd name="T46" fmla="*/ 59 w 211"/>
                <a:gd name="T47" fmla="*/ 81 h 374"/>
                <a:gd name="T48" fmla="*/ 31 w 211"/>
                <a:gd name="T49" fmla="*/ 91 h 374"/>
                <a:gd name="T50" fmla="*/ 5 w 211"/>
                <a:gd name="T51" fmla="*/ 101 h 374"/>
                <a:gd name="T52" fmla="*/ 2 w 211"/>
                <a:gd name="T53" fmla="*/ 119 h 374"/>
                <a:gd name="T54" fmla="*/ 23 w 211"/>
                <a:gd name="T55" fmla="*/ 129 h 374"/>
                <a:gd name="T56" fmla="*/ 51 w 211"/>
                <a:gd name="T57" fmla="*/ 142 h 374"/>
                <a:gd name="T58" fmla="*/ 51 w 211"/>
                <a:gd name="T59" fmla="*/ 173 h 374"/>
                <a:gd name="T60" fmla="*/ 51 w 211"/>
                <a:gd name="T61" fmla="*/ 188 h 374"/>
                <a:gd name="T62" fmla="*/ 48 w 211"/>
                <a:gd name="T63" fmla="*/ 198 h 374"/>
                <a:gd name="T64" fmla="*/ 51 w 211"/>
                <a:gd name="T65" fmla="*/ 216 h 374"/>
                <a:gd name="T66" fmla="*/ 41 w 211"/>
                <a:gd name="T67" fmla="*/ 236 h 374"/>
                <a:gd name="T68" fmla="*/ 28 w 211"/>
                <a:gd name="T69" fmla="*/ 259 h 374"/>
                <a:gd name="T70" fmla="*/ 18 w 211"/>
                <a:gd name="T71" fmla="*/ 282 h 374"/>
                <a:gd name="T72" fmla="*/ 23 w 211"/>
                <a:gd name="T73" fmla="*/ 302 h 374"/>
                <a:gd name="T74" fmla="*/ 28 w 211"/>
                <a:gd name="T75" fmla="*/ 328 h 374"/>
                <a:gd name="T76" fmla="*/ 25 w 211"/>
                <a:gd name="T77" fmla="*/ 353 h 374"/>
                <a:gd name="T78" fmla="*/ 28 w 211"/>
                <a:gd name="T79" fmla="*/ 374 h 374"/>
                <a:gd name="T80" fmla="*/ 46 w 211"/>
                <a:gd name="T81" fmla="*/ 358 h 374"/>
                <a:gd name="T82" fmla="*/ 38 w 211"/>
                <a:gd name="T83" fmla="*/ 356 h 374"/>
                <a:gd name="T84" fmla="*/ 64 w 211"/>
                <a:gd name="T85" fmla="*/ 333 h 374"/>
                <a:gd name="T86" fmla="*/ 97 w 211"/>
                <a:gd name="T87" fmla="*/ 302 h 374"/>
                <a:gd name="T88" fmla="*/ 99 w 211"/>
                <a:gd name="T89" fmla="*/ 280 h 374"/>
                <a:gd name="T90" fmla="*/ 97 w 211"/>
                <a:gd name="T91" fmla="*/ 267 h 374"/>
                <a:gd name="T92" fmla="*/ 94 w 211"/>
                <a:gd name="T93" fmla="*/ 254 h 374"/>
                <a:gd name="T94" fmla="*/ 87 w 211"/>
                <a:gd name="T95" fmla="*/ 218 h 374"/>
                <a:gd name="T96" fmla="*/ 89 w 211"/>
                <a:gd name="T97" fmla="*/ 213 h 374"/>
                <a:gd name="T98" fmla="*/ 117 w 211"/>
                <a:gd name="T99" fmla="*/ 188 h 374"/>
                <a:gd name="T100" fmla="*/ 130 w 211"/>
                <a:gd name="T101" fmla="*/ 173 h 374"/>
                <a:gd name="T102" fmla="*/ 155 w 211"/>
                <a:gd name="T103" fmla="*/ 155 h 374"/>
                <a:gd name="T104" fmla="*/ 171 w 211"/>
                <a:gd name="T105" fmla="*/ 150 h 374"/>
                <a:gd name="T106" fmla="*/ 191 w 211"/>
                <a:gd name="T107" fmla="*/ 132 h 374"/>
                <a:gd name="T108" fmla="*/ 206 w 211"/>
                <a:gd name="T109" fmla="*/ 109 h 374"/>
                <a:gd name="T110" fmla="*/ 211 w 211"/>
                <a:gd name="T111" fmla="*/ 99 h 374"/>
                <a:gd name="T112" fmla="*/ 89 w 211"/>
                <a:gd name="T113" fmla="*/ 35 h 374"/>
                <a:gd name="T114" fmla="*/ 89 w 211"/>
                <a:gd name="T115" fmla="*/ 38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1" h="374">
                  <a:moveTo>
                    <a:pt x="211" y="96"/>
                  </a:moveTo>
                  <a:lnTo>
                    <a:pt x="211" y="94"/>
                  </a:lnTo>
                  <a:lnTo>
                    <a:pt x="211" y="94"/>
                  </a:lnTo>
                  <a:lnTo>
                    <a:pt x="211" y="91"/>
                  </a:lnTo>
                  <a:lnTo>
                    <a:pt x="209" y="91"/>
                  </a:lnTo>
                  <a:lnTo>
                    <a:pt x="209" y="91"/>
                  </a:lnTo>
                  <a:lnTo>
                    <a:pt x="206" y="94"/>
                  </a:lnTo>
                  <a:lnTo>
                    <a:pt x="206" y="91"/>
                  </a:lnTo>
                  <a:lnTo>
                    <a:pt x="206" y="91"/>
                  </a:lnTo>
                  <a:lnTo>
                    <a:pt x="209" y="89"/>
                  </a:lnTo>
                  <a:lnTo>
                    <a:pt x="209" y="86"/>
                  </a:lnTo>
                  <a:lnTo>
                    <a:pt x="209" y="86"/>
                  </a:lnTo>
                  <a:lnTo>
                    <a:pt x="206" y="86"/>
                  </a:lnTo>
                  <a:lnTo>
                    <a:pt x="206" y="84"/>
                  </a:lnTo>
                  <a:lnTo>
                    <a:pt x="206" y="79"/>
                  </a:lnTo>
                  <a:lnTo>
                    <a:pt x="206" y="73"/>
                  </a:lnTo>
                  <a:lnTo>
                    <a:pt x="206" y="71"/>
                  </a:lnTo>
                  <a:lnTo>
                    <a:pt x="206" y="68"/>
                  </a:lnTo>
                  <a:lnTo>
                    <a:pt x="206" y="66"/>
                  </a:lnTo>
                  <a:lnTo>
                    <a:pt x="206" y="66"/>
                  </a:lnTo>
                  <a:lnTo>
                    <a:pt x="206" y="63"/>
                  </a:lnTo>
                  <a:lnTo>
                    <a:pt x="206" y="61"/>
                  </a:lnTo>
                  <a:lnTo>
                    <a:pt x="206" y="61"/>
                  </a:lnTo>
                  <a:lnTo>
                    <a:pt x="206" y="58"/>
                  </a:lnTo>
                  <a:lnTo>
                    <a:pt x="204" y="58"/>
                  </a:lnTo>
                  <a:lnTo>
                    <a:pt x="204" y="58"/>
                  </a:lnTo>
                  <a:lnTo>
                    <a:pt x="204" y="56"/>
                  </a:lnTo>
                  <a:lnTo>
                    <a:pt x="206" y="56"/>
                  </a:lnTo>
                  <a:lnTo>
                    <a:pt x="206" y="53"/>
                  </a:lnTo>
                  <a:lnTo>
                    <a:pt x="206" y="51"/>
                  </a:lnTo>
                  <a:lnTo>
                    <a:pt x="206" y="48"/>
                  </a:lnTo>
                  <a:lnTo>
                    <a:pt x="206" y="48"/>
                  </a:lnTo>
                  <a:lnTo>
                    <a:pt x="206" y="45"/>
                  </a:lnTo>
                  <a:lnTo>
                    <a:pt x="206" y="43"/>
                  </a:lnTo>
                  <a:lnTo>
                    <a:pt x="206" y="38"/>
                  </a:lnTo>
                  <a:lnTo>
                    <a:pt x="206" y="35"/>
                  </a:lnTo>
                  <a:lnTo>
                    <a:pt x="206" y="35"/>
                  </a:lnTo>
                  <a:lnTo>
                    <a:pt x="206" y="33"/>
                  </a:lnTo>
                  <a:lnTo>
                    <a:pt x="204" y="28"/>
                  </a:lnTo>
                  <a:lnTo>
                    <a:pt x="206" y="23"/>
                  </a:lnTo>
                  <a:lnTo>
                    <a:pt x="204" y="20"/>
                  </a:lnTo>
                  <a:lnTo>
                    <a:pt x="204" y="20"/>
                  </a:lnTo>
                  <a:lnTo>
                    <a:pt x="206" y="17"/>
                  </a:lnTo>
                  <a:lnTo>
                    <a:pt x="209" y="15"/>
                  </a:lnTo>
                  <a:lnTo>
                    <a:pt x="206" y="12"/>
                  </a:lnTo>
                  <a:lnTo>
                    <a:pt x="206" y="12"/>
                  </a:lnTo>
                  <a:lnTo>
                    <a:pt x="206" y="12"/>
                  </a:lnTo>
                  <a:lnTo>
                    <a:pt x="209" y="10"/>
                  </a:lnTo>
                  <a:lnTo>
                    <a:pt x="206" y="7"/>
                  </a:lnTo>
                  <a:lnTo>
                    <a:pt x="209" y="7"/>
                  </a:lnTo>
                  <a:lnTo>
                    <a:pt x="209" y="5"/>
                  </a:lnTo>
                  <a:lnTo>
                    <a:pt x="206" y="2"/>
                  </a:lnTo>
                  <a:lnTo>
                    <a:pt x="206" y="0"/>
                  </a:lnTo>
                  <a:lnTo>
                    <a:pt x="204" y="2"/>
                  </a:lnTo>
                  <a:lnTo>
                    <a:pt x="201" y="5"/>
                  </a:lnTo>
                  <a:lnTo>
                    <a:pt x="196" y="10"/>
                  </a:lnTo>
                  <a:lnTo>
                    <a:pt x="194" y="10"/>
                  </a:lnTo>
                  <a:lnTo>
                    <a:pt x="191" y="12"/>
                  </a:lnTo>
                  <a:lnTo>
                    <a:pt x="189" y="12"/>
                  </a:lnTo>
                  <a:lnTo>
                    <a:pt x="186" y="15"/>
                  </a:lnTo>
                  <a:lnTo>
                    <a:pt x="183" y="15"/>
                  </a:lnTo>
                  <a:lnTo>
                    <a:pt x="181" y="17"/>
                  </a:lnTo>
                  <a:lnTo>
                    <a:pt x="176" y="17"/>
                  </a:lnTo>
                  <a:lnTo>
                    <a:pt x="173" y="17"/>
                  </a:lnTo>
                  <a:lnTo>
                    <a:pt x="168" y="20"/>
                  </a:lnTo>
                  <a:lnTo>
                    <a:pt x="166" y="23"/>
                  </a:lnTo>
                  <a:lnTo>
                    <a:pt x="163" y="20"/>
                  </a:lnTo>
                  <a:lnTo>
                    <a:pt x="160" y="20"/>
                  </a:lnTo>
                  <a:lnTo>
                    <a:pt x="158" y="20"/>
                  </a:lnTo>
                  <a:lnTo>
                    <a:pt x="155" y="20"/>
                  </a:lnTo>
                  <a:lnTo>
                    <a:pt x="155" y="20"/>
                  </a:lnTo>
                  <a:lnTo>
                    <a:pt x="153" y="23"/>
                  </a:lnTo>
                  <a:lnTo>
                    <a:pt x="153" y="25"/>
                  </a:lnTo>
                  <a:lnTo>
                    <a:pt x="150" y="25"/>
                  </a:lnTo>
                  <a:lnTo>
                    <a:pt x="148" y="28"/>
                  </a:lnTo>
                  <a:lnTo>
                    <a:pt x="143" y="30"/>
                  </a:lnTo>
                  <a:lnTo>
                    <a:pt x="140" y="28"/>
                  </a:lnTo>
                  <a:lnTo>
                    <a:pt x="138" y="28"/>
                  </a:lnTo>
                  <a:lnTo>
                    <a:pt x="138" y="28"/>
                  </a:lnTo>
                  <a:lnTo>
                    <a:pt x="135" y="25"/>
                  </a:lnTo>
                  <a:lnTo>
                    <a:pt x="135" y="25"/>
                  </a:lnTo>
                  <a:lnTo>
                    <a:pt x="132" y="28"/>
                  </a:lnTo>
                  <a:lnTo>
                    <a:pt x="130" y="28"/>
                  </a:lnTo>
                  <a:lnTo>
                    <a:pt x="127" y="30"/>
                  </a:lnTo>
                  <a:lnTo>
                    <a:pt x="122" y="30"/>
                  </a:lnTo>
                  <a:lnTo>
                    <a:pt x="120" y="28"/>
                  </a:lnTo>
                  <a:lnTo>
                    <a:pt x="120" y="28"/>
                  </a:lnTo>
                  <a:lnTo>
                    <a:pt x="117" y="25"/>
                  </a:lnTo>
                  <a:lnTo>
                    <a:pt x="115" y="23"/>
                  </a:lnTo>
                  <a:lnTo>
                    <a:pt x="112" y="23"/>
                  </a:lnTo>
                  <a:lnTo>
                    <a:pt x="110" y="25"/>
                  </a:lnTo>
                  <a:lnTo>
                    <a:pt x="110" y="25"/>
                  </a:lnTo>
                  <a:lnTo>
                    <a:pt x="107" y="28"/>
                  </a:lnTo>
                  <a:lnTo>
                    <a:pt x="107" y="28"/>
                  </a:lnTo>
                  <a:lnTo>
                    <a:pt x="104" y="28"/>
                  </a:lnTo>
                  <a:lnTo>
                    <a:pt x="104" y="25"/>
                  </a:lnTo>
                  <a:lnTo>
                    <a:pt x="99" y="25"/>
                  </a:lnTo>
                  <a:lnTo>
                    <a:pt x="97" y="25"/>
                  </a:lnTo>
                  <a:lnTo>
                    <a:pt x="94" y="25"/>
                  </a:lnTo>
                  <a:lnTo>
                    <a:pt x="89" y="25"/>
                  </a:lnTo>
                  <a:lnTo>
                    <a:pt x="89" y="28"/>
                  </a:lnTo>
                  <a:lnTo>
                    <a:pt x="89" y="28"/>
                  </a:lnTo>
                  <a:lnTo>
                    <a:pt x="87" y="33"/>
                  </a:lnTo>
                  <a:lnTo>
                    <a:pt x="87" y="33"/>
                  </a:lnTo>
                  <a:lnTo>
                    <a:pt x="87" y="35"/>
                  </a:lnTo>
                  <a:lnTo>
                    <a:pt x="84" y="38"/>
                  </a:lnTo>
                  <a:lnTo>
                    <a:pt x="84" y="40"/>
                  </a:lnTo>
                  <a:lnTo>
                    <a:pt x="84" y="40"/>
                  </a:lnTo>
                  <a:lnTo>
                    <a:pt x="84" y="45"/>
                  </a:lnTo>
                  <a:lnTo>
                    <a:pt x="87" y="48"/>
                  </a:lnTo>
                  <a:lnTo>
                    <a:pt x="87" y="51"/>
                  </a:lnTo>
                  <a:lnTo>
                    <a:pt x="87" y="56"/>
                  </a:lnTo>
                  <a:lnTo>
                    <a:pt x="87" y="61"/>
                  </a:lnTo>
                  <a:lnTo>
                    <a:pt x="87" y="63"/>
                  </a:lnTo>
                  <a:lnTo>
                    <a:pt x="87" y="66"/>
                  </a:lnTo>
                  <a:lnTo>
                    <a:pt x="87" y="68"/>
                  </a:lnTo>
                  <a:lnTo>
                    <a:pt x="89" y="68"/>
                  </a:lnTo>
                  <a:lnTo>
                    <a:pt x="92" y="71"/>
                  </a:lnTo>
                  <a:lnTo>
                    <a:pt x="94" y="71"/>
                  </a:lnTo>
                  <a:lnTo>
                    <a:pt x="97" y="73"/>
                  </a:lnTo>
                  <a:lnTo>
                    <a:pt x="99" y="79"/>
                  </a:lnTo>
                  <a:lnTo>
                    <a:pt x="102" y="84"/>
                  </a:lnTo>
                  <a:lnTo>
                    <a:pt x="104" y="86"/>
                  </a:lnTo>
                  <a:lnTo>
                    <a:pt x="110" y="91"/>
                  </a:lnTo>
                  <a:lnTo>
                    <a:pt x="112" y="96"/>
                  </a:lnTo>
                  <a:lnTo>
                    <a:pt x="112" y="101"/>
                  </a:lnTo>
                  <a:lnTo>
                    <a:pt x="112" y="101"/>
                  </a:lnTo>
                  <a:lnTo>
                    <a:pt x="112" y="104"/>
                  </a:lnTo>
                  <a:lnTo>
                    <a:pt x="110" y="109"/>
                  </a:lnTo>
                  <a:lnTo>
                    <a:pt x="112" y="114"/>
                  </a:lnTo>
                  <a:lnTo>
                    <a:pt x="110" y="119"/>
                  </a:lnTo>
                  <a:lnTo>
                    <a:pt x="110" y="127"/>
                  </a:lnTo>
                  <a:lnTo>
                    <a:pt x="110" y="127"/>
                  </a:lnTo>
                  <a:lnTo>
                    <a:pt x="107" y="129"/>
                  </a:lnTo>
                  <a:lnTo>
                    <a:pt x="107" y="129"/>
                  </a:lnTo>
                  <a:lnTo>
                    <a:pt x="102" y="129"/>
                  </a:lnTo>
                  <a:lnTo>
                    <a:pt x="99" y="132"/>
                  </a:lnTo>
                  <a:lnTo>
                    <a:pt x="99" y="132"/>
                  </a:lnTo>
                  <a:lnTo>
                    <a:pt x="99" y="135"/>
                  </a:lnTo>
                  <a:lnTo>
                    <a:pt x="97" y="137"/>
                  </a:lnTo>
                  <a:lnTo>
                    <a:pt x="97" y="140"/>
                  </a:lnTo>
                  <a:lnTo>
                    <a:pt x="97" y="140"/>
                  </a:lnTo>
                  <a:lnTo>
                    <a:pt x="99" y="142"/>
                  </a:lnTo>
                  <a:lnTo>
                    <a:pt x="99" y="145"/>
                  </a:lnTo>
                  <a:lnTo>
                    <a:pt x="99" y="152"/>
                  </a:lnTo>
                  <a:lnTo>
                    <a:pt x="99" y="152"/>
                  </a:lnTo>
                  <a:lnTo>
                    <a:pt x="97" y="152"/>
                  </a:lnTo>
                  <a:lnTo>
                    <a:pt x="97" y="152"/>
                  </a:lnTo>
                  <a:lnTo>
                    <a:pt x="94" y="152"/>
                  </a:lnTo>
                  <a:lnTo>
                    <a:pt x="94" y="152"/>
                  </a:lnTo>
                  <a:lnTo>
                    <a:pt x="94" y="150"/>
                  </a:lnTo>
                  <a:lnTo>
                    <a:pt x="94" y="150"/>
                  </a:lnTo>
                  <a:lnTo>
                    <a:pt x="97" y="147"/>
                  </a:lnTo>
                  <a:lnTo>
                    <a:pt x="94" y="145"/>
                  </a:lnTo>
                  <a:lnTo>
                    <a:pt x="94" y="145"/>
                  </a:lnTo>
                  <a:lnTo>
                    <a:pt x="92" y="145"/>
                  </a:lnTo>
                  <a:lnTo>
                    <a:pt x="89" y="140"/>
                  </a:lnTo>
                  <a:lnTo>
                    <a:pt x="87" y="137"/>
                  </a:lnTo>
                  <a:lnTo>
                    <a:pt x="84" y="135"/>
                  </a:lnTo>
                  <a:lnTo>
                    <a:pt x="81" y="132"/>
                  </a:lnTo>
                  <a:lnTo>
                    <a:pt x="81" y="132"/>
                  </a:lnTo>
                  <a:lnTo>
                    <a:pt x="81" y="132"/>
                  </a:lnTo>
                  <a:lnTo>
                    <a:pt x="81" y="129"/>
                  </a:lnTo>
                  <a:lnTo>
                    <a:pt x="81" y="129"/>
                  </a:lnTo>
                  <a:lnTo>
                    <a:pt x="81" y="127"/>
                  </a:lnTo>
                  <a:lnTo>
                    <a:pt x="79" y="124"/>
                  </a:lnTo>
                  <a:lnTo>
                    <a:pt x="79" y="124"/>
                  </a:lnTo>
                  <a:lnTo>
                    <a:pt x="79" y="122"/>
                  </a:lnTo>
                  <a:lnTo>
                    <a:pt x="79" y="122"/>
                  </a:lnTo>
                  <a:lnTo>
                    <a:pt x="81" y="119"/>
                  </a:lnTo>
                  <a:lnTo>
                    <a:pt x="81" y="117"/>
                  </a:lnTo>
                  <a:lnTo>
                    <a:pt x="84" y="114"/>
                  </a:lnTo>
                  <a:lnTo>
                    <a:pt x="84" y="112"/>
                  </a:lnTo>
                  <a:lnTo>
                    <a:pt x="87" y="107"/>
                  </a:lnTo>
                  <a:lnTo>
                    <a:pt x="87" y="104"/>
                  </a:lnTo>
                  <a:lnTo>
                    <a:pt x="87" y="101"/>
                  </a:lnTo>
                  <a:lnTo>
                    <a:pt x="87" y="99"/>
                  </a:lnTo>
                  <a:lnTo>
                    <a:pt x="84" y="94"/>
                  </a:lnTo>
                  <a:lnTo>
                    <a:pt x="81" y="91"/>
                  </a:lnTo>
                  <a:lnTo>
                    <a:pt x="81" y="91"/>
                  </a:lnTo>
                  <a:lnTo>
                    <a:pt x="79" y="91"/>
                  </a:lnTo>
                  <a:lnTo>
                    <a:pt x="76" y="91"/>
                  </a:lnTo>
                  <a:lnTo>
                    <a:pt x="76" y="91"/>
                  </a:lnTo>
                  <a:lnTo>
                    <a:pt x="74" y="91"/>
                  </a:lnTo>
                  <a:lnTo>
                    <a:pt x="71" y="94"/>
                  </a:lnTo>
                  <a:lnTo>
                    <a:pt x="69" y="94"/>
                  </a:lnTo>
                  <a:lnTo>
                    <a:pt x="69" y="94"/>
                  </a:lnTo>
                  <a:lnTo>
                    <a:pt x="69" y="94"/>
                  </a:lnTo>
                  <a:lnTo>
                    <a:pt x="66" y="91"/>
                  </a:lnTo>
                  <a:lnTo>
                    <a:pt x="64" y="89"/>
                  </a:lnTo>
                  <a:lnTo>
                    <a:pt x="61" y="81"/>
                  </a:lnTo>
                  <a:lnTo>
                    <a:pt x="59" y="81"/>
                  </a:lnTo>
                  <a:lnTo>
                    <a:pt x="56" y="84"/>
                  </a:lnTo>
                  <a:lnTo>
                    <a:pt x="53" y="84"/>
                  </a:lnTo>
                  <a:lnTo>
                    <a:pt x="46" y="86"/>
                  </a:lnTo>
                  <a:lnTo>
                    <a:pt x="41" y="89"/>
                  </a:lnTo>
                  <a:lnTo>
                    <a:pt x="38" y="89"/>
                  </a:lnTo>
                  <a:lnTo>
                    <a:pt x="36" y="89"/>
                  </a:lnTo>
                  <a:lnTo>
                    <a:pt x="36" y="91"/>
                  </a:lnTo>
                  <a:lnTo>
                    <a:pt x="31" y="91"/>
                  </a:lnTo>
                  <a:lnTo>
                    <a:pt x="28" y="94"/>
                  </a:lnTo>
                  <a:lnTo>
                    <a:pt x="25" y="94"/>
                  </a:lnTo>
                  <a:lnTo>
                    <a:pt x="23" y="96"/>
                  </a:lnTo>
                  <a:lnTo>
                    <a:pt x="18" y="96"/>
                  </a:lnTo>
                  <a:lnTo>
                    <a:pt x="13" y="99"/>
                  </a:lnTo>
                  <a:lnTo>
                    <a:pt x="8" y="99"/>
                  </a:lnTo>
                  <a:lnTo>
                    <a:pt x="5" y="101"/>
                  </a:lnTo>
                  <a:lnTo>
                    <a:pt x="5" y="101"/>
                  </a:lnTo>
                  <a:lnTo>
                    <a:pt x="0" y="104"/>
                  </a:lnTo>
                  <a:lnTo>
                    <a:pt x="0" y="104"/>
                  </a:lnTo>
                  <a:lnTo>
                    <a:pt x="0" y="107"/>
                  </a:lnTo>
                  <a:lnTo>
                    <a:pt x="0" y="109"/>
                  </a:lnTo>
                  <a:lnTo>
                    <a:pt x="0" y="112"/>
                  </a:lnTo>
                  <a:lnTo>
                    <a:pt x="2" y="112"/>
                  </a:lnTo>
                  <a:lnTo>
                    <a:pt x="2" y="114"/>
                  </a:lnTo>
                  <a:lnTo>
                    <a:pt x="2" y="119"/>
                  </a:lnTo>
                  <a:lnTo>
                    <a:pt x="2" y="122"/>
                  </a:lnTo>
                  <a:lnTo>
                    <a:pt x="2" y="127"/>
                  </a:lnTo>
                  <a:lnTo>
                    <a:pt x="2" y="127"/>
                  </a:lnTo>
                  <a:lnTo>
                    <a:pt x="8" y="127"/>
                  </a:lnTo>
                  <a:lnTo>
                    <a:pt x="13" y="127"/>
                  </a:lnTo>
                  <a:lnTo>
                    <a:pt x="20" y="127"/>
                  </a:lnTo>
                  <a:lnTo>
                    <a:pt x="23" y="129"/>
                  </a:lnTo>
                  <a:lnTo>
                    <a:pt x="23" y="129"/>
                  </a:lnTo>
                  <a:lnTo>
                    <a:pt x="28" y="132"/>
                  </a:lnTo>
                  <a:lnTo>
                    <a:pt x="33" y="137"/>
                  </a:lnTo>
                  <a:lnTo>
                    <a:pt x="38" y="137"/>
                  </a:lnTo>
                  <a:lnTo>
                    <a:pt x="43" y="137"/>
                  </a:lnTo>
                  <a:lnTo>
                    <a:pt x="46" y="140"/>
                  </a:lnTo>
                  <a:lnTo>
                    <a:pt x="48" y="142"/>
                  </a:lnTo>
                  <a:lnTo>
                    <a:pt x="51" y="142"/>
                  </a:lnTo>
                  <a:lnTo>
                    <a:pt x="51" y="142"/>
                  </a:lnTo>
                  <a:lnTo>
                    <a:pt x="53" y="142"/>
                  </a:lnTo>
                  <a:lnTo>
                    <a:pt x="53" y="145"/>
                  </a:lnTo>
                  <a:lnTo>
                    <a:pt x="51" y="147"/>
                  </a:lnTo>
                  <a:lnTo>
                    <a:pt x="51" y="150"/>
                  </a:lnTo>
                  <a:lnTo>
                    <a:pt x="53" y="155"/>
                  </a:lnTo>
                  <a:lnTo>
                    <a:pt x="53" y="160"/>
                  </a:lnTo>
                  <a:lnTo>
                    <a:pt x="51" y="168"/>
                  </a:lnTo>
                  <a:lnTo>
                    <a:pt x="51" y="173"/>
                  </a:lnTo>
                  <a:lnTo>
                    <a:pt x="51" y="175"/>
                  </a:lnTo>
                  <a:lnTo>
                    <a:pt x="53" y="178"/>
                  </a:lnTo>
                  <a:lnTo>
                    <a:pt x="53" y="180"/>
                  </a:lnTo>
                  <a:lnTo>
                    <a:pt x="53" y="180"/>
                  </a:lnTo>
                  <a:lnTo>
                    <a:pt x="51" y="183"/>
                  </a:lnTo>
                  <a:lnTo>
                    <a:pt x="51" y="185"/>
                  </a:lnTo>
                  <a:lnTo>
                    <a:pt x="51" y="188"/>
                  </a:lnTo>
                  <a:lnTo>
                    <a:pt x="51" y="188"/>
                  </a:lnTo>
                  <a:lnTo>
                    <a:pt x="48" y="190"/>
                  </a:lnTo>
                  <a:lnTo>
                    <a:pt x="46" y="190"/>
                  </a:lnTo>
                  <a:lnTo>
                    <a:pt x="46" y="190"/>
                  </a:lnTo>
                  <a:lnTo>
                    <a:pt x="46" y="193"/>
                  </a:lnTo>
                  <a:lnTo>
                    <a:pt x="46" y="196"/>
                  </a:lnTo>
                  <a:lnTo>
                    <a:pt x="48" y="196"/>
                  </a:lnTo>
                  <a:lnTo>
                    <a:pt x="48" y="196"/>
                  </a:lnTo>
                  <a:lnTo>
                    <a:pt x="48" y="198"/>
                  </a:lnTo>
                  <a:lnTo>
                    <a:pt x="48" y="198"/>
                  </a:lnTo>
                  <a:lnTo>
                    <a:pt x="48" y="201"/>
                  </a:lnTo>
                  <a:lnTo>
                    <a:pt x="48" y="203"/>
                  </a:lnTo>
                  <a:lnTo>
                    <a:pt x="48" y="208"/>
                  </a:lnTo>
                  <a:lnTo>
                    <a:pt x="48" y="211"/>
                  </a:lnTo>
                  <a:lnTo>
                    <a:pt x="51" y="213"/>
                  </a:lnTo>
                  <a:lnTo>
                    <a:pt x="51" y="213"/>
                  </a:lnTo>
                  <a:lnTo>
                    <a:pt x="51" y="216"/>
                  </a:lnTo>
                  <a:lnTo>
                    <a:pt x="51" y="216"/>
                  </a:lnTo>
                  <a:lnTo>
                    <a:pt x="48" y="224"/>
                  </a:lnTo>
                  <a:lnTo>
                    <a:pt x="46" y="226"/>
                  </a:lnTo>
                  <a:lnTo>
                    <a:pt x="46" y="229"/>
                  </a:lnTo>
                  <a:lnTo>
                    <a:pt x="41" y="231"/>
                  </a:lnTo>
                  <a:lnTo>
                    <a:pt x="41" y="231"/>
                  </a:lnTo>
                  <a:lnTo>
                    <a:pt x="41" y="234"/>
                  </a:lnTo>
                  <a:lnTo>
                    <a:pt x="41" y="236"/>
                  </a:lnTo>
                  <a:lnTo>
                    <a:pt x="41" y="239"/>
                  </a:lnTo>
                  <a:lnTo>
                    <a:pt x="38" y="244"/>
                  </a:lnTo>
                  <a:lnTo>
                    <a:pt x="38" y="246"/>
                  </a:lnTo>
                  <a:lnTo>
                    <a:pt x="38" y="246"/>
                  </a:lnTo>
                  <a:lnTo>
                    <a:pt x="38" y="249"/>
                  </a:lnTo>
                  <a:lnTo>
                    <a:pt x="36" y="252"/>
                  </a:lnTo>
                  <a:lnTo>
                    <a:pt x="31" y="257"/>
                  </a:lnTo>
                  <a:lnTo>
                    <a:pt x="28" y="259"/>
                  </a:lnTo>
                  <a:lnTo>
                    <a:pt x="25" y="262"/>
                  </a:lnTo>
                  <a:lnTo>
                    <a:pt x="23" y="267"/>
                  </a:lnTo>
                  <a:lnTo>
                    <a:pt x="18" y="269"/>
                  </a:lnTo>
                  <a:lnTo>
                    <a:pt x="15" y="272"/>
                  </a:lnTo>
                  <a:lnTo>
                    <a:pt x="15" y="274"/>
                  </a:lnTo>
                  <a:lnTo>
                    <a:pt x="15" y="274"/>
                  </a:lnTo>
                  <a:lnTo>
                    <a:pt x="18" y="277"/>
                  </a:lnTo>
                  <a:lnTo>
                    <a:pt x="18" y="282"/>
                  </a:lnTo>
                  <a:lnTo>
                    <a:pt x="18" y="287"/>
                  </a:lnTo>
                  <a:lnTo>
                    <a:pt x="20" y="292"/>
                  </a:lnTo>
                  <a:lnTo>
                    <a:pt x="20" y="295"/>
                  </a:lnTo>
                  <a:lnTo>
                    <a:pt x="20" y="297"/>
                  </a:lnTo>
                  <a:lnTo>
                    <a:pt x="20" y="297"/>
                  </a:lnTo>
                  <a:lnTo>
                    <a:pt x="23" y="300"/>
                  </a:lnTo>
                  <a:lnTo>
                    <a:pt x="23" y="302"/>
                  </a:lnTo>
                  <a:lnTo>
                    <a:pt x="23" y="302"/>
                  </a:lnTo>
                  <a:lnTo>
                    <a:pt x="25" y="305"/>
                  </a:lnTo>
                  <a:lnTo>
                    <a:pt x="25" y="310"/>
                  </a:lnTo>
                  <a:lnTo>
                    <a:pt x="25" y="313"/>
                  </a:lnTo>
                  <a:lnTo>
                    <a:pt x="28" y="315"/>
                  </a:lnTo>
                  <a:lnTo>
                    <a:pt x="28" y="318"/>
                  </a:lnTo>
                  <a:lnTo>
                    <a:pt x="28" y="318"/>
                  </a:lnTo>
                  <a:lnTo>
                    <a:pt x="28" y="323"/>
                  </a:lnTo>
                  <a:lnTo>
                    <a:pt x="28" y="328"/>
                  </a:lnTo>
                  <a:lnTo>
                    <a:pt x="28" y="333"/>
                  </a:lnTo>
                  <a:lnTo>
                    <a:pt x="28" y="338"/>
                  </a:lnTo>
                  <a:lnTo>
                    <a:pt x="28" y="338"/>
                  </a:lnTo>
                  <a:lnTo>
                    <a:pt x="28" y="346"/>
                  </a:lnTo>
                  <a:lnTo>
                    <a:pt x="25" y="348"/>
                  </a:lnTo>
                  <a:lnTo>
                    <a:pt x="25" y="351"/>
                  </a:lnTo>
                  <a:lnTo>
                    <a:pt x="25" y="353"/>
                  </a:lnTo>
                  <a:lnTo>
                    <a:pt x="25" y="353"/>
                  </a:lnTo>
                  <a:lnTo>
                    <a:pt x="28" y="353"/>
                  </a:lnTo>
                  <a:lnTo>
                    <a:pt x="28" y="356"/>
                  </a:lnTo>
                  <a:lnTo>
                    <a:pt x="28" y="358"/>
                  </a:lnTo>
                  <a:lnTo>
                    <a:pt x="28" y="361"/>
                  </a:lnTo>
                  <a:lnTo>
                    <a:pt x="28" y="361"/>
                  </a:lnTo>
                  <a:lnTo>
                    <a:pt x="28" y="364"/>
                  </a:lnTo>
                  <a:lnTo>
                    <a:pt x="28" y="366"/>
                  </a:lnTo>
                  <a:lnTo>
                    <a:pt x="28" y="374"/>
                  </a:lnTo>
                  <a:lnTo>
                    <a:pt x="31" y="374"/>
                  </a:lnTo>
                  <a:lnTo>
                    <a:pt x="33" y="374"/>
                  </a:lnTo>
                  <a:lnTo>
                    <a:pt x="36" y="374"/>
                  </a:lnTo>
                  <a:lnTo>
                    <a:pt x="38" y="374"/>
                  </a:lnTo>
                  <a:lnTo>
                    <a:pt x="41" y="374"/>
                  </a:lnTo>
                  <a:lnTo>
                    <a:pt x="43" y="374"/>
                  </a:lnTo>
                  <a:lnTo>
                    <a:pt x="43" y="374"/>
                  </a:lnTo>
                  <a:lnTo>
                    <a:pt x="46" y="358"/>
                  </a:lnTo>
                  <a:lnTo>
                    <a:pt x="46" y="356"/>
                  </a:lnTo>
                  <a:lnTo>
                    <a:pt x="46" y="356"/>
                  </a:lnTo>
                  <a:lnTo>
                    <a:pt x="43" y="356"/>
                  </a:lnTo>
                  <a:lnTo>
                    <a:pt x="43" y="361"/>
                  </a:lnTo>
                  <a:lnTo>
                    <a:pt x="43" y="358"/>
                  </a:lnTo>
                  <a:lnTo>
                    <a:pt x="41" y="358"/>
                  </a:lnTo>
                  <a:lnTo>
                    <a:pt x="41" y="358"/>
                  </a:lnTo>
                  <a:lnTo>
                    <a:pt x="38" y="356"/>
                  </a:lnTo>
                  <a:lnTo>
                    <a:pt x="38" y="353"/>
                  </a:lnTo>
                  <a:lnTo>
                    <a:pt x="41" y="351"/>
                  </a:lnTo>
                  <a:lnTo>
                    <a:pt x="41" y="351"/>
                  </a:lnTo>
                  <a:lnTo>
                    <a:pt x="43" y="346"/>
                  </a:lnTo>
                  <a:lnTo>
                    <a:pt x="46" y="343"/>
                  </a:lnTo>
                  <a:lnTo>
                    <a:pt x="53" y="338"/>
                  </a:lnTo>
                  <a:lnTo>
                    <a:pt x="59" y="336"/>
                  </a:lnTo>
                  <a:lnTo>
                    <a:pt x="64" y="333"/>
                  </a:lnTo>
                  <a:lnTo>
                    <a:pt x="79" y="328"/>
                  </a:lnTo>
                  <a:lnTo>
                    <a:pt x="87" y="323"/>
                  </a:lnTo>
                  <a:lnTo>
                    <a:pt x="89" y="320"/>
                  </a:lnTo>
                  <a:lnTo>
                    <a:pt x="92" y="318"/>
                  </a:lnTo>
                  <a:lnTo>
                    <a:pt x="97" y="313"/>
                  </a:lnTo>
                  <a:lnTo>
                    <a:pt x="97" y="310"/>
                  </a:lnTo>
                  <a:lnTo>
                    <a:pt x="99" y="305"/>
                  </a:lnTo>
                  <a:lnTo>
                    <a:pt x="97" y="302"/>
                  </a:lnTo>
                  <a:lnTo>
                    <a:pt x="97" y="302"/>
                  </a:lnTo>
                  <a:lnTo>
                    <a:pt x="97" y="305"/>
                  </a:lnTo>
                  <a:lnTo>
                    <a:pt x="94" y="305"/>
                  </a:lnTo>
                  <a:lnTo>
                    <a:pt x="94" y="305"/>
                  </a:lnTo>
                  <a:lnTo>
                    <a:pt x="94" y="302"/>
                  </a:lnTo>
                  <a:lnTo>
                    <a:pt x="97" y="290"/>
                  </a:lnTo>
                  <a:lnTo>
                    <a:pt x="99" y="285"/>
                  </a:lnTo>
                  <a:lnTo>
                    <a:pt x="99" y="280"/>
                  </a:lnTo>
                  <a:lnTo>
                    <a:pt x="99" y="277"/>
                  </a:lnTo>
                  <a:lnTo>
                    <a:pt x="99" y="272"/>
                  </a:lnTo>
                  <a:lnTo>
                    <a:pt x="99" y="269"/>
                  </a:lnTo>
                  <a:lnTo>
                    <a:pt x="99" y="269"/>
                  </a:lnTo>
                  <a:lnTo>
                    <a:pt x="99" y="267"/>
                  </a:lnTo>
                  <a:lnTo>
                    <a:pt x="99" y="267"/>
                  </a:lnTo>
                  <a:lnTo>
                    <a:pt x="99" y="264"/>
                  </a:lnTo>
                  <a:lnTo>
                    <a:pt x="97" y="267"/>
                  </a:lnTo>
                  <a:lnTo>
                    <a:pt x="97" y="269"/>
                  </a:lnTo>
                  <a:lnTo>
                    <a:pt x="97" y="272"/>
                  </a:lnTo>
                  <a:lnTo>
                    <a:pt x="97" y="274"/>
                  </a:lnTo>
                  <a:lnTo>
                    <a:pt x="94" y="272"/>
                  </a:lnTo>
                  <a:lnTo>
                    <a:pt x="94" y="269"/>
                  </a:lnTo>
                  <a:lnTo>
                    <a:pt x="97" y="264"/>
                  </a:lnTo>
                  <a:lnTo>
                    <a:pt x="94" y="257"/>
                  </a:lnTo>
                  <a:lnTo>
                    <a:pt x="94" y="254"/>
                  </a:lnTo>
                  <a:lnTo>
                    <a:pt x="92" y="249"/>
                  </a:lnTo>
                  <a:lnTo>
                    <a:pt x="92" y="244"/>
                  </a:lnTo>
                  <a:lnTo>
                    <a:pt x="89" y="236"/>
                  </a:lnTo>
                  <a:lnTo>
                    <a:pt x="89" y="234"/>
                  </a:lnTo>
                  <a:lnTo>
                    <a:pt x="87" y="231"/>
                  </a:lnTo>
                  <a:lnTo>
                    <a:pt x="84" y="229"/>
                  </a:lnTo>
                  <a:lnTo>
                    <a:pt x="84" y="226"/>
                  </a:lnTo>
                  <a:lnTo>
                    <a:pt x="87" y="218"/>
                  </a:lnTo>
                  <a:lnTo>
                    <a:pt x="87" y="216"/>
                  </a:lnTo>
                  <a:lnTo>
                    <a:pt x="87" y="213"/>
                  </a:lnTo>
                  <a:lnTo>
                    <a:pt x="87" y="213"/>
                  </a:lnTo>
                  <a:lnTo>
                    <a:pt x="84" y="211"/>
                  </a:lnTo>
                  <a:lnTo>
                    <a:pt x="87" y="211"/>
                  </a:lnTo>
                  <a:lnTo>
                    <a:pt x="89" y="213"/>
                  </a:lnTo>
                  <a:lnTo>
                    <a:pt x="89" y="213"/>
                  </a:lnTo>
                  <a:lnTo>
                    <a:pt x="89" y="213"/>
                  </a:lnTo>
                  <a:lnTo>
                    <a:pt x="99" y="206"/>
                  </a:lnTo>
                  <a:lnTo>
                    <a:pt x="104" y="198"/>
                  </a:lnTo>
                  <a:lnTo>
                    <a:pt x="110" y="196"/>
                  </a:lnTo>
                  <a:lnTo>
                    <a:pt x="112" y="193"/>
                  </a:lnTo>
                  <a:lnTo>
                    <a:pt x="115" y="190"/>
                  </a:lnTo>
                  <a:lnTo>
                    <a:pt x="115" y="193"/>
                  </a:lnTo>
                  <a:lnTo>
                    <a:pt x="117" y="190"/>
                  </a:lnTo>
                  <a:lnTo>
                    <a:pt x="117" y="188"/>
                  </a:lnTo>
                  <a:lnTo>
                    <a:pt x="117" y="190"/>
                  </a:lnTo>
                  <a:lnTo>
                    <a:pt x="120" y="190"/>
                  </a:lnTo>
                  <a:lnTo>
                    <a:pt x="120" y="188"/>
                  </a:lnTo>
                  <a:lnTo>
                    <a:pt x="122" y="185"/>
                  </a:lnTo>
                  <a:lnTo>
                    <a:pt x="122" y="183"/>
                  </a:lnTo>
                  <a:lnTo>
                    <a:pt x="127" y="178"/>
                  </a:lnTo>
                  <a:lnTo>
                    <a:pt x="130" y="175"/>
                  </a:lnTo>
                  <a:lnTo>
                    <a:pt x="130" y="173"/>
                  </a:lnTo>
                  <a:lnTo>
                    <a:pt x="130" y="173"/>
                  </a:lnTo>
                  <a:lnTo>
                    <a:pt x="132" y="170"/>
                  </a:lnTo>
                  <a:lnTo>
                    <a:pt x="132" y="170"/>
                  </a:lnTo>
                  <a:lnTo>
                    <a:pt x="138" y="165"/>
                  </a:lnTo>
                  <a:lnTo>
                    <a:pt x="143" y="162"/>
                  </a:lnTo>
                  <a:lnTo>
                    <a:pt x="150" y="157"/>
                  </a:lnTo>
                  <a:lnTo>
                    <a:pt x="153" y="157"/>
                  </a:lnTo>
                  <a:lnTo>
                    <a:pt x="155" y="155"/>
                  </a:lnTo>
                  <a:lnTo>
                    <a:pt x="155" y="155"/>
                  </a:lnTo>
                  <a:lnTo>
                    <a:pt x="160" y="152"/>
                  </a:lnTo>
                  <a:lnTo>
                    <a:pt x="166" y="152"/>
                  </a:lnTo>
                  <a:lnTo>
                    <a:pt x="166" y="150"/>
                  </a:lnTo>
                  <a:lnTo>
                    <a:pt x="168" y="150"/>
                  </a:lnTo>
                  <a:lnTo>
                    <a:pt x="168" y="150"/>
                  </a:lnTo>
                  <a:lnTo>
                    <a:pt x="171" y="150"/>
                  </a:lnTo>
                  <a:lnTo>
                    <a:pt x="171" y="150"/>
                  </a:lnTo>
                  <a:lnTo>
                    <a:pt x="173" y="150"/>
                  </a:lnTo>
                  <a:lnTo>
                    <a:pt x="176" y="145"/>
                  </a:lnTo>
                  <a:lnTo>
                    <a:pt x="178" y="145"/>
                  </a:lnTo>
                  <a:lnTo>
                    <a:pt x="186" y="140"/>
                  </a:lnTo>
                  <a:lnTo>
                    <a:pt x="189" y="137"/>
                  </a:lnTo>
                  <a:lnTo>
                    <a:pt x="191" y="137"/>
                  </a:lnTo>
                  <a:lnTo>
                    <a:pt x="189" y="135"/>
                  </a:lnTo>
                  <a:lnTo>
                    <a:pt x="191" y="132"/>
                  </a:lnTo>
                  <a:lnTo>
                    <a:pt x="194" y="132"/>
                  </a:lnTo>
                  <a:lnTo>
                    <a:pt x="196" y="127"/>
                  </a:lnTo>
                  <a:lnTo>
                    <a:pt x="196" y="127"/>
                  </a:lnTo>
                  <a:lnTo>
                    <a:pt x="196" y="127"/>
                  </a:lnTo>
                  <a:lnTo>
                    <a:pt x="199" y="124"/>
                  </a:lnTo>
                  <a:lnTo>
                    <a:pt x="199" y="122"/>
                  </a:lnTo>
                  <a:lnTo>
                    <a:pt x="204" y="114"/>
                  </a:lnTo>
                  <a:lnTo>
                    <a:pt x="206" y="109"/>
                  </a:lnTo>
                  <a:lnTo>
                    <a:pt x="206" y="109"/>
                  </a:lnTo>
                  <a:lnTo>
                    <a:pt x="206" y="107"/>
                  </a:lnTo>
                  <a:lnTo>
                    <a:pt x="206" y="107"/>
                  </a:lnTo>
                  <a:lnTo>
                    <a:pt x="209" y="107"/>
                  </a:lnTo>
                  <a:lnTo>
                    <a:pt x="209" y="104"/>
                  </a:lnTo>
                  <a:lnTo>
                    <a:pt x="209" y="101"/>
                  </a:lnTo>
                  <a:lnTo>
                    <a:pt x="209" y="101"/>
                  </a:lnTo>
                  <a:lnTo>
                    <a:pt x="211" y="99"/>
                  </a:lnTo>
                  <a:lnTo>
                    <a:pt x="211" y="96"/>
                  </a:lnTo>
                  <a:lnTo>
                    <a:pt x="211" y="96"/>
                  </a:lnTo>
                  <a:close/>
                  <a:moveTo>
                    <a:pt x="89" y="38"/>
                  </a:moveTo>
                  <a:lnTo>
                    <a:pt x="89" y="38"/>
                  </a:lnTo>
                  <a:lnTo>
                    <a:pt x="87" y="35"/>
                  </a:lnTo>
                  <a:lnTo>
                    <a:pt x="87" y="35"/>
                  </a:lnTo>
                  <a:lnTo>
                    <a:pt x="89" y="35"/>
                  </a:lnTo>
                  <a:lnTo>
                    <a:pt x="89" y="35"/>
                  </a:lnTo>
                  <a:lnTo>
                    <a:pt x="89" y="35"/>
                  </a:lnTo>
                  <a:lnTo>
                    <a:pt x="89" y="38"/>
                  </a:lnTo>
                  <a:close/>
                  <a:moveTo>
                    <a:pt x="92" y="38"/>
                  </a:moveTo>
                  <a:lnTo>
                    <a:pt x="92" y="38"/>
                  </a:lnTo>
                  <a:lnTo>
                    <a:pt x="92" y="38"/>
                  </a:lnTo>
                  <a:lnTo>
                    <a:pt x="89" y="38"/>
                  </a:lnTo>
                  <a:lnTo>
                    <a:pt x="89" y="38"/>
                  </a:lnTo>
                  <a:lnTo>
                    <a:pt x="89" y="38"/>
                  </a:lnTo>
                  <a:lnTo>
                    <a:pt x="89" y="35"/>
                  </a:lnTo>
                  <a:lnTo>
                    <a:pt x="92" y="35"/>
                  </a:lnTo>
                  <a:lnTo>
                    <a:pt x="92" y="35"/>
                  </a:lnTo>
                  <a:lnTo>
                    <a:pt x="92" y="35"/>
                  </a:lnTo>
                  <a:lnTo>
                    <a:pt x="92" y="38"/>
                  </a:lnTo>
                  <a:close/>
                </a:path>
              </a:pathLst>
            </a:custGeom>
            <a:solidFill>
              <a:srgbClr val="FFC000"/>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249" name="Freeform 1868">
              <a:extLst>
                <a:ext uri="{FF2B5EF4-FFF2-40B4-BE49-F238E27FC236}">
                  <a16:creationId xmlns:a16="http://schemas.microsoft.com/office/drawing/2014/main" id="{83F15D9B-C240-754E-9B41-0FDD393504FB}"/>
                </a:ext>
              </a:extLst>
            </p:cNvPr>
            <p:cNvSpPr>
              <a:spLocks/>
            </p:cNvSpPr>
            <p:nvPr/>
          </p:nvSpPr>
          <p:spPr bwMode="auto">
            <a:xfrm>
              <a:off x="5199665" y="2464733"/>
              <a:ext cx="392577" cy="307518"/>
            </a:xfrm>
            <a:custGeom>
              <a:avLst/>
              <a:gdLst>
                <a:gd name="T0" fmla="*/ 237 w 240"/>
                <a:gd name="T1" fmla="*/ 77 h 188"/>
                <a:gd name="T2" fmla="*/ 232 w 240"/>
                <a:gd name="T3" fmla="*/ 71 h 188"/>
                <a:gd name="T4" fmla="*/ 230 w 240"/>
                <a:gd name="T5" fmla="*/ 54 h 188"/>
                <a:gd name="T6" fmla="*/ 230 w 240"/>
                <a:gd name="T7" fmla="*/ 46 h 188"/>
                <a:gd name="T8" fmla="*/ 230 w 240"/>
                <a:gd name="T9" fmla="*/ 33 h 188"/>
                <a:gd name="T10" fmla="*/ 227 w 240"/>
                <a:gd name="T11" fmla="*/ 31 h 188"/>
                <a:gd name="T12" fmla="*/ 222 w 240"/>
                <a:gd name="T13" fmla="*/ 23 h 188"/>
                <a:gd name="T14" fmla="*/ 212 w 240"/>
                <a:gd name="T15" fmla="*/ 21 h 188"/>
                <a:gd name="T16" fmla="*/ 207 w 240"/>
                <a:gd name="T17" fmla="*/ 15 h 188"/>
                <a:gd name="T18" fmla="*/ 204 w 240"/>
                <a:gd name="T19" fmla="*/ 15 h 188"/>
                <a:gd name="T20" fmla="*/ 194 w 240"/>
                <a:gd name="T21" fmla="*/ 15 h 188"/>
                <a:gd name="T22" fmla="*/ 176 w 240"/>
                <a:gd name="T23" fmla="*/ 18 h 188"/>
                <a:gd name="T24" fmla="*/ 163 w 240"/>
                <a:gd name="T25" fmla="*/ 5 h 188"/>
                <a:gd name="T26" fmla="*/ 158 w 240"/>
                <a:gd name="T27" fmla="*/ 3 h 188"/>
                <a:gd name="T28" fmla="*/ 151 w 240"/>
                <a:gd name="T29" fmla="*/ 5 h 188"/>
                <a:gd name="T30" fmla="*/ 125 w 240"/>
                <a:gd name="T31" fmla="*/ 49 h 188"/>
                <a:gd name="T32" fmla="*/ 97 w 240"/>
                <a:gd name="T33" fmla="*/ 64 h 188"/>
                <a:gd name="T34" fmla="*/ 82 w 240"/>
                <a:gd name="T35" fmla="*/ 84 h 188"/>
                <a:gd name="T36" fmla="*/ 69 w 240"/>
                <a:gd name="T37" fmla="*/ 112 h 188"/>
                <a:gd name="T38" fmla="*/ 72 w 240"/>
                <a:gd name="T39" fmla="*/ 122 h 188"/>
                <a:gd name="T40" fmla="*/ 72 w 240"/>
                <a:gd name="T41" fmla="*/ 138 h 188"/>
                <a:gd name="T42" fmla="*/ 56 w 240"/>
                <a:gd name="T43" fmla="*/ 158 h 188"/>
                <a:gd name="T44" fmla="*/ 36 w 240"/>
                <a:gd name="T45" fmla="*/ 173 h 188"/>
                <a:gd name="T46" fmla="*/ 8 w 240"/>
                <a:gd name="T47" fmla="*/ 181 h 188"/>
                <a:gd name="T48" fmla="*/ 87 w 240"/>
                <a:gd name="T49" fmla="*/ 188 h 188"/>
                <a:gd name="T50" fmla="*/ 89 w 240"/>
                <a:gd name="T51" fmla="*/ 173 h 188"/>
                <a:gd name="T52" fmla="*/ 89 w 240"/>
                <a:gd name="T53" fmla="*/ 166 h 188"/>
                <a:gd name="T54" fmla="*/ 97 w 240"/>
                <a:gd name="T55" fmla="*/ 158 h 188"/>
                <a:gd name="T56" fmla="*/ 110 w 240"/>
                <a:gd name="T57" fmla="*/ 150 h 188"/>
                <a:gd name="T58" fmla="*/ 117 w 240"/>
                <a:gd name="T59" fmla="*/ 145 h 188"/>
                <a:gd name="T60" fmla="*/ 125 w 240"/>
                <a:gd name="T61" fmla="*/ 145 h 188"/>
                <a:gd name="T62" fmla="*/ 133 w 240"/>
                <a:gd name="T63" fmla="*/ 145 h 188"/>
                <a:gd name="T64" fmla="*/ 133 w 240"/>
                <a:gd name="T65" fmla="*/ 140 h 188"/>
                <a:gd name="T66" fmla="*/ 138 w 240"/>
                <a:gd name="T67" fmla="*/ 140 h 188"/>
                <a:gd name="T68" fmla="*/ 151 w 240"/>
                <a:gd name="T69" fmla="*/ 138 h 188"/>
                <a:gd name="T70" fmla="*/ 161 w 240"/>
                <a:gd name="T71" fmla="*/ 127 h 188"/>
                <a:gd name="T72" fmla="*/ 171 w 240"/>
                <a:gd name="T73" fmla="*/ 122 h 188"/>
                <a:gd name="T74" fmla="*/ 186 w 240"/>
                <a:gd name="T75" fmla="*/ 115 h 188"/>
                <a:gd name="T76" fmla="*/ 189 w 240"/>
                <a:gd name="T77" fmla="*/ 112 h 188"/>
                <a:gd name="T78" fmla="*/ 186 w 240"/>
                <a:gd name="T79" fmla="*/ 110 h 188"/>
                <a:gd name="T80" fmla="*/ 186 w 240"/>
                <a:gd name="T81" fmla="*/ 105 h 188"/>
                <a:gd name="T82" fmla="*/ 186 w 240"/>
                <a:gd name="T83" fmla="*/ 99 h 188"/>
                <a:gd name="T84" fmla="*/ 191 w 240"/>
                <a:gd name="T85" fmla="*/ 97 h 188"/>
                <a:gd name="T86" fmla="*/ 204 w 240"/>
                <a:gd name="T87" fmla="*/ 92 h 188"/>
                <a:gd name="T88" fmla="*/ 209 w 240"/>
                <a:gd name="T89" fmla="*/ 89 h 188"/>
                <a:gd name="T90" fmla="*/ 219 w 240"/>
                <a:gd name="T91" fmla="*/ 87 h 188"/>
                <a:gd name="T92" fmla="*/ 235 w 240"/>
                <a:gd name="T93" fmla="*/ 89 h 188"/>
                <a:gd name="T94" fmla="*/ 237 w 240"/>
                <a:gd name="T95" fmla="*/ 82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40" h="188">
                  <a:moveTo>
                    <a:pt x="237" y="82"/>
                  </a:moveTo>
                  <a:lnTo>
                    <a:pt x="240" y="79"/>
                  </a:lnTo>
                  <a:lnTo>
                    <a:pt x="240" y="77"/>
                  </a:lnTo>
                  <a:lnTo>
                    <a:pt x="237" y="77"/>
                  </a:lnTo>
                  <a:lnTo>
                    <a:pt x="235" y="74"/>
                  </a:lnTo>
                  <a:lnTo>
                    <a:pt x="235" y="74"/>
                  </a:lnTo>
                  <a:lnTo>
                    <a:pt x="232" y="71"/>
                  </a:lnTo>
                  <a:lnTo>
                    <a:pt x="232" y="71"/>
                  </a:lnTo>
                  <a:lnTo>
                    <a:pt x="232" y="66"/>
                  </a:lnTo>
                  <a:lnTo>
                    <a:pt x="230" y="64"/>
                  </a:lnTo>
                  <a:lnTo>
                    <a:pt x="230" y="61"/>
                  </a:lnTo>
                  <a:lnTo>
                    <a:pt x="230" y="54"/>
                  </a:lnTo>
                  <a:lnTo>
                    <a:pt x="230" y="51"/>
                  </a:lnTo>
                  <a:lnTo>
                    <a:pt x="230" y="49"/>
                  </a:lnTo>
                  <a:lnTo>
                    <a:pt x="230" y="49"/>
                  </a:lnTo>
                  <a:lnTo>
                    <a:pt x="230" y="46"/>
                  </a:lnTo>
                  <a:lnTo>
                    <a:pt x="230" y="41"/>
                  </a:lnTo>
                  <a:lnTo>
                    <a:pt x="227" y="36"/>
                  </a:lnTo>
                  <a:lnTo>
                    <a:pt x="230" y="36"/>
                  </a:lnTo>
                  <a:lnTo>
                    <a:pt x="230" y="33"/>
                  </a:lnTo>
                  <a:lnTo>
                    <a:pt x="230" y="33"/>
                  </a:lnTo>
                  <a:lnTo>
                    <a:pt x="227" y="33"/>
                  </a:lnTo>
                  <a:lnTo>
                    <a:pt x="227" y="31"/>
                  </a:lnTo>
                  <a:lnTo>
                    <a:pt x="227" y="31"/>
                  </a:lnTo>
                  <a:lnTo>
                    <a:pt x="227" y="28"/>
                  </a:lnTo>
                  <a:lnTo>
                    <a:pt x="227" y="28"/>
                  </a:lnTo>
                  <a:lnTo>
                    <a:pt x="227" y="26"/>
                  </a:lnTo>
                  <a:lnTo>
                    <a:pt x="222" y="23"/>
                  </a:lnTo>
                  <a:lnTo>
                    <a:pt x="222" y="21"/>
                  </a:lnTo>
                  <a:lnTo>
                    <a:pt x="219" y="21"/>
                  </a:lnTo>
                  <a:lnTo>
                    <a:pt x="217" y="18"/>
                  </a:lnTo>
                  <a:lnTo>
                    <a:pt x="212" y="21"/>
                  </a:lnTo>
                  <a:lnTo>
                    <a:pt x="212" y="18"/>
                  </a:lnTo>
                  <a:lnTo>
                    <a:pt x="209" y="18"/>
                  </a:lnTo>
                  <a:lnTo>
                    <a:pt x="209" y="18"/>
                  </a:lnTo>
                  <a:lnTo>
                    <a:pt x="207" y="15"/>
                  </a:lnTo>
                  <a:lnTo>
                    <a:pt x="207" y="15"/>
                  </a:lnTo>
                  <a:lnTo>
                    <a:pt x="207" y="13"/>
                  </a:lnTo>
                  <a:lnTo>
                    <a:pt x="207" y="13"/>
                  </a:lnTo>
                  <a:lnTo>
                    <a:pt x="204" y="15"/>
                  </a:lnTo>
                  <a:lnTo>
                    <a:pt x="202" y="15"/>
                  </a:lnTo>
                  <a:lnTo>
                    <a:pt x="199" y="18"/>
                  </a:lnTo>
                  <a:lnTo>
                    <a:pt x="194" y="15"/>
                  </a:lnTo>
                  <a:lnTo>
                    <a:pt x="194" y="15"/>
                  </a:lnTo>
                  <a:lnTo>
                    <a:pt x="191" y="15"/>
                  </a:lnTo>
                  <a:lnTo>
                    <a:pt x="186" y="15"/>
                  </a:lnTo>
                  <a:lnTo>
                    <a:pt x="181" y="18"/>
                  </a:lnTo>
                  <a:lnTo>
                    <a:pt x="176" y="18"/>
                  </a:lnTo>
                  <a:lnTo>
                    <a:pt x="171" y="15"/>
                  </a:lnTo>
                  <a:lnTo>
                    <a:pt x="166" y="10"/>
                  </a:lnTo>
                  <a:lnTo>
                    <a:pt x="163" y="8"/>
                  </a:lnTo>
                  <a:lnTo>
                    <a:pt x="163" y="5"/>
                  </a:lnTo>
                  <a:lnTo>
                    <a:pt x="163" y="3"/>
                  </a:lnTo>
                  <a:lnTo>
                    <a:pt x="163" y="0"/>
                  </a:lnTo>
                  <a:lnTo>
                    <a:pt x="161" y="0"/>
                  </a:lnTo>
                  <a:lnTo>
                    <a:pt x="158" y="3"/>
                  </a:lnTo>
                  <a:lnTo>
                    <a:pt x="158" y="3"/>
                  </a:lnTo>
                  <a:lnTo>
                    <a:pt x="156" y="3"/>
                  </a:lnTo>
                  <a:lnTo>
                    <a:pt x="151" y="3"/>
                  </a:lnTo>
                  <a:lnTo>
                    <a:pt x="151" y="5"/>
                  </a:lnTo>
                  <a:lnTo>
                    <a:pt x="143" y="28"/>
                  </a:lnTo>
                  <a:lnTo>
                    <a:pt x="133" y="41"/>
                  </a:lnTo>
                  <a:lnTo>
                    <a:pt x="130" y="46"/>
                  </a:lnTo>
                  <a:lnTo>
                    <a:pt x="125" y="49"/>
                  </a:lnTo>
                  <a:lnTo>
                    <a:pt x="117" y="54"/>
                  </a:lnTo>
                  <a:lnTo>
                    <a:pt x="102" y="59"/>
                  </a:lnTo>
                  <a:lnTo>
                    <a:pt x="100" y="61"/>
                  </a:lnTo>
                  <a:lnTo>
                    <a:pt x="97" y="64"/>
                  </a:lnTo>
                  <a:lnTo>
                    <a:pt x="92" y="69"/>
                  </a:lnTo>
                  <a:lnTo>
                    <a:pt x="84" y="77"/>
                  </a:lnTo>
                  <a:lnTo>
                    <a:pt x="84" y="79"/>
                  </a:lnTo>
                  <a:lnTo>
                    <a:pt x="82" y="84"/>
                  </a:lnTo>
                  <a:lnTo>
                    <a:pt x="82" y="89"/>
                  </a:lnTo>
                  <a:lnTo>
                    <a:pt x="74" y="97"/>
                  </a:lnTo>
                  <a:lnTo>
                    <a:pt x="72" y="105"/>
                  </a:lnTo>
                  <a:lnTo>
                    <a:pt x="69" y="112"/>
                  </a:lnTo>
                  <a:lnTo>
                    <a:pt x="69" y="117"/>
                  </a:lnTo>
                  <a:lnTo>
                    <a:pt x="69" y="120"/>
                  </a:lnTo>
                  <a:lnTo>
                    <a:pt x="69" y="120"/>
                  </a:lnTo>
                  <a:lnTo>
                    <a:pt x="72" y="122"/>
                  </a:lnTo>
                  <a:lnTo>
                    <a:pt x="74" y="125"/>
                  </a:lnTo>
                  <a:lnTo>
                    <a:pt x="74" y="127"/>
                  </a:lnTo>
                  <a:lnTo>
                    <a:pt x="72" y="133"/>
                  </a:lnTo>
                  <a:lnTo>
                    <a:pt x="72" y="138"/>
                  </a:lnTo>
                  <a:lnTo>
                    <a:pt x="69" y="140"/>
                  </a:lnTo>
                  <a:lnTo>
                    <a:pt x="64" y="143"/>
                  </a:lnTo>
                  <a:lnTo>
                    <a:pt x="61" y="150"/>
                  </a:lnTo>
                  <a:lnTo>
                    <a:pt x="56" y="158"/>
                  </a:lnTo>
                  <a:lnTo>
                    <a:pt x="51" y="161"/>
                  </a:lnTo>
                  <a:lnTo>
                    <a:pt x="43" y="166"/>
                  </a:lnTo>
                  <a:lnTo>
                    <a:pt x="38" y="168"/>
                  </a:lnTo>
                  <a:lnTo>
                    <a:pt x="36" y="173"/>
                  </a:lnTo>
                  <a:lnTo>
                    <a:pt x="33" y="173"/>
                  </a:lnTo>
                  <a:lnTo>
                    <a:pt x="26" y="178"/>
                  </a:lnTo>
                  <a:lnTo>
                    <a:pt x="15" y="181"/>
                  </a:lnTo>
                  <a:lnTo>
                    <a:pt x="8" y="181"/>
                  </a:lnTo>
                  <a:lnTo>
                    <a:pt x="5" y="183"/>
                  </a:lnTo>
                  <a:lnTo>
                    <a:pt x="3" y="186"/>
                  </a:lnTo>
                  <a:lnTo>
                    <a:pt x="0" y="188"/>
                  </a:lnTo>
                  <a:lnTo>
                    <a:pt x="87" y="188"/>
                  </a:lnTo>
                  <a:lnTo>
                    <a:pt x="89" y="188"/>
                  </a:lnTo>
                  <a:lnTo>
                    <a:pt x="89" y="183"/>
                  </a:lnTo>
                  <a:lnTo>
                    <a:pt x="89" y="178"/>
                  </a:lnTo>
                  <a:lnTo>
                    <a:pt x="89" y="173"/>
                  </a:lnTo>
                  <a:lnTo>
                    <a:pt x="89" y="171"/>
                  </a:lnTo>
                  <a:lnTo>
                    <a:pt x="89" y="166"/>
                  </a:lnTo>
                  <a:lnTo>
                    <a:pt x="89" y="166"/>
                  </a:lnTo>
                  <a:lnTo>
                    <a:pt x="89" y="166"/>
                  </a:lnTo>
                  <a:lnTo>
                    <a:pt x="92" y="163"/>
                  </a:lnTo>
                  <a:lnTo>
                    <a:pt x="94" y="161"/>
                  </a:lnTo>
                  <a:lnTo>
                    <a:pt x="97" y="161"/>
                  </a:lnTo>
                  <a:lnTo>
                    <a:pt x="97" y="158"/>
                  </a:lnTo>
                  <a:lnTo>
                    <a:pt x="102" y="155"/>
                  </a:lnTo>
                  <a:lnTo>
                    <a:pt x="105" y="155"/>
                  </a:lnTo>
                  <a:lnTo>
                    <a:pt x="110" y="150"/>
                  </a:lnTo>
                  <a:lnTo>
                    <a:pt x="110" y="150"/>
                  </a:lnTo>
                  <a:lnTo>
                    <a:pt x="112" y="150"/>
                  </a:lnTo>
                  <a:lnTo>
                    <a:pt x="115" y="148"/>
                  </a:lnTo>
                  <a:lnTo>
                    <a:pt x="117" y="148"/>
                  </a:lnTo>
                  <a:lnTo>
                    <a:pt x="117" y="145"/>
                  </a:lnTo>
                  <a:lnTo>
                    <a:pt x="120" y="145"/>
                  </a:lnTo>
                  <a:lnTo>
                    <a:pt x="120" y="145"/>
                  </a:lnTo>
                  <a:lnTo>
                    <a:pt x="123" y="145"/>
                  </a:lnTo>
                  <a:lnTo>
                    <a:pt x="125" y="145"/>
                  </a:lnTo>
                  <a:lnTo>
                    <a:pt x="128" y="145"/>
                  </a:lnTo>
                  <a:lnTo>
                    <a:pt x="130" y="145"/>
                  </a:lnTo>
                  <a:lnTo>
                    <a:pt x="130" y="145"/>
                  </a:lnTo>
                  <a:lnTo>
                    <a:pt x="133" y="145"/>
                  </a:lnTo>
                  <a:lnTo>
                    <a:pt x="133" y="143"/>
                  </a:lnTo>
                  <a:lnTo>
                    <a:pt x="133" y="143"/>
                  </a:lnTo>
                  <a:lnTo>
                    <a:pt x="133" y="140"/>
                  </a:lnTo>
                  <a:lnTo>
                    <a:pt x="133" y="140"/>
                  </a:lnTo>
                  <a:lnTo>
                    <a:pt x="133" y="140"/>
                  </a:lnTo>
                  <a:lnTo>
                    <a:pt x="135" y="140"/>
                  </a:lnTo>
                  <a:lnTo>
                    <a:pt x="135" y="140"/>
                  </a:lnTo>
                  <a:lnTo>
                    <a:pt x="138" y="140"/>
                  </a:lnTo>
                  <a:lnTo>
                    <a:pt x="140" y="140"/>
                  </a:lnTo>
                  <a:lnTo>
                    <a:pt x="143" y="140"/>
                  </a:lnTo>
                  <a:lnTo>
                    <a:pt x="148" y="138"/>
                  </a:lnTo>
                  <a:lnTo>
                    <a:pt x="151" y="138"/>
                  </a:lnTo>
                  <a:lnTo>
                    <a:pt x="153" y="138"/>
                  </a:lnTo>
                  <a:lnTo>
                    <a:pt x="156" y="135"/>
                  </a:lnTo>
                  <a:lnTo>
                    <a:pt x="158" y="133"/>
                  </a:lnTo>
                  <a:lnTo>
                    <a:pt x="161" y="127"/>
                  </a:lnTo>
                  <a:lnTo>
                    <a:pt x="163" y="125"/>
                  </a:lnTo>
                  <a:lnTo>
                    <a:pt x="166" y="122"/>
                  </a:lnTo>
                  <a:lnTo>
                    <a:pt x="171" y="122"/>
                  </a:lnTo>
                  <a:lnTo>
                    <a:pt x="171" y="122"/>
                  </a:lnTo>
                  <a:lnTo>
                    <a:pt x="176" y="120"/>
                  </a:lnTo>
                  <a:lnTo>
                    <a:pt x="179" y="117"/>
                  </a:lnTo>
                  <a:lnTo>
                    <a:pt x="184" y="115"/>
                  </a:lnTo>
                  <a:lnTo>
                    <a:pt x="186" y="115"/>
                  </a:lnTo>
                  <a:lnTo>
                    <a:pt x="189" y="115"/>
                  </a:lnTo>
                  <a:lnTo>
                    <a:pt x="189" y="115"/>
                  </a:lnTo>
                  <a:lnTo>
                    <a:pt x="189" y="112"/>
                  </a:lnTo>
                  <a:lnTo>
                    <a:pt x="189" y="112"/>
                  </a:lnTo>
                  <a:lnTo>
                    <a:pt x="189" y="110"/>
                  </a:lnTo>
                  <a:lnTo>
                    <a:pt x="189" y="110"/>
                  </a:lnTo>
                  <a:lnTo>
                    <a:pt x="186" y="110"/>
                  </a:lnTo>
                  <a:lnTo>
                    <a:pt x="186" y="110"/>
                  </a:lnTo>
                  <a:lnTo>
                    <a:pt x="186" y="110"/>
                  </a:lnTo>
                  <a:lnTo>
                    <a:pt x="186" y="107"/>
                  </a:lnTo>
                  <a:lnTo>
                    <a:pt x="186" y="107"/>
                  </a:lnTo>
                  <a:lnTo>
                    <a:pt x="186" y="105"/>
                  </a:lnTo>
                  <a:lnTo>
                    <a:pt x="186" y="102"/>
                  </a:lnTo>
                  <a:lnTo>
                    <a:pt x="186" y="102"/>
                  </a:lnTo>
                  <a:lnTo>
                    <a:pt x="186" y="99"/>
                  </a:lnTo>
                  <a:lnTo>
                    <a:pt x="186" y="99"/>
                  </a:lnTo>
                  <a:lnTo>
                    <a:pt x="186" y="97"/>
                  </a:lnTo>
                  <a:lnTo>
                    <a:pt x="189" y="97"/>
                  </a:lnTo>
                  <a:lnTo>
                    <a:pt x="189" y="97"/>
                  </a:lnTo>
                  <a:lnTo>
                    <a:pt x="191" y="97"/>
                  </a:lnTo>
                  <a:lnTo>
                    <a:pt x="194" y="97"/>
                  </a:lnTo>
                  <a:lnTo>
                    <a:pt x="202" y="94"/>
                  </a:lnTo>
                  <a:lnTo>
                    <a:pt x="202" y="94"/>
                  </a:lnTo>
                  <a:lnTo>
                    <a:pt x="204" y="92"/>
                  </a:lnTo>
                  <a:lnTo>
                    <a:pt x="204" y="89"/>
                  </a:lnTo>
                  <a:lnTo>
                    <a:pt x="204" y="89"/>
                  </a:lnTo>
                  <a:lnTo>
                    <a:pt x="204" y="89"/>
                  </a:lnTo>
                  <a:lnTo>
                    <a:pt x="209" y="89"/>
                  </a:lnTo>
                  <a:lnTo>
                    <a:pt x="212" y="87"/>
                  </a:lnTo>
                  <a:lnTo>
                    <a:pt x="214" y="87"/>
                  </a:lnTo>
                  <a:lnTo>
                    <a:pt x="217" y="87"/>
                  </a:lnTo>
                  <a:lnTo>
                    <a:pt x="219" y="87"/>
                  </a:lnTo>
                  <a:lnTo>
                    <a:pt x="224" y="87"/>
                  </a:lnTo>
                  <a:lnTo>
                    <a:pt x="230" y="89"/>
                  </a:lnTo>
                  <a:lnTo>
                    <a:pt x="232" y="89"/>
                  </a:lnTo>
                  <a:lnTo>
                    <a:pt x="235" y="89"/>
                  </a:lnTo>
                  <a:lnTo>
                    <a:pt x="237" y="87"/>
                  </a:lnTo>
                  <a:lnTo>
                    <a:pt x="237" y="87"/>
                  </a:lnTo>
                  <a:lnTo>
                    <a:pt x="237" y="84"/>
                  </a:lnTo>
                  <a:lnTo>
                    <a:pt x="237" y="82"/>
                  </a:lnTo>
                  <a:lnTo>
                    <a:pt x="237" y="8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250" name="Freeform 1869">
              <a:extLst>
                <a:ext uri="{FF2B5EF4-FFF2-40B4-BE49-F238E27FC236}">
                  <a16:creationId xmlns:a16="http://schemas.microsoft.com/office/drawing/2014/main" id="{A275191D-056C-DC4A-8097-DE1F5B7825B5}"/>
                </a:ext>
              </a:extLst>
            </p:cNvPr>
            <p:cNvSpPr>
              <a:spLocks/>
            </p:cNvSpPr>
            <p:nvPr/>
          </p:nvSpPr>
          <p:spPr bwMode="auto">
            <a:xfrm>
              <a:off x="3590100" y="3176278"/>
              <a:ext cx="4908" cy="4908"/>
            </a:xfrm>
            <a:custGeom>
              <a:avLst/>
              <a:gdLst>
                <a:gd name="T0" fmla="*/ 3 w 3"/>
                <a:gd name="T1" fmla="*/ 0 h 3"/>
                <a:gd name="T2" fmla="*/ 3 w 3"/>
                <a:gd name="T3" fmla="*/ 0 h 3"/>
                <a:gd name="T4" fmla="*/ 0 w 3"/>
                <a:gd name="T5" fmla="*/ 0 h 3"/>
                <a:gd name="T6" fmla="*/ 0 w 3"/>
                <a:gd name="T7" fmla="*/ 3 h 3"/>
                <a:gd name="T8" fmla="*/ 3 w 3"/>
                <a:gd name="T9" fmla="*/ 3 h 3"/>
                <a:gd name="T10" fmla="*/ 3 w 3"/>
                <a:gd name="T11" fmla="*/ 3 h 3"/>
                <a:gd name="T12" fmla="*/ 3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3" y="0"/>
                  </a:moveTo>
                  <a:lnTo>
                    <a:pt x="3" y="0"/>
                  </a:lnTo>
                  <a:lnTo>
                    <a:pt x="0" y="0"/>
                  </a:lnTo>
                  <a:lnTo>
                    <a:pt x="0" y="3"/>
                  </a:lnTo>
                  <a:lnTo>
                    <a:pt x="3" y="3"/>
                  </a:lnTo>
                  <a:lnTo>
                    <a:pt x="3" y="3"/>
                  </a:lnTo>
                  <a:lnTo>
                    <a:pt x="3"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251" name="Freeform 1870">
              <a:extLst>
                <a:ext uri="{FF2B5EF4-FFF2-40B4-BE49-F238E27FC236}">
                  <a16:creationId xmlns:a16="http://schemas.microsoft.com/office/drawing/2014/main" id="{8A14990E-93CC-AD4C-AC13-CAEFDCB3F789}"/>
                </a:ext>
              </a:extLst>
            </p:cNvPr>
            <p:cNvSpPr>
              <a:spLocks/>
            </p:cNvSpPr>
            <p:nvPr/>
          </p:nvSpPr>
          <p:spPr bwMode="auto">
            <a:xfrm>
              <a:off x="6192558" y="2186657"/>
              <a:ext cx="57251" cy="62158"/>
            </a:xfrm>
            <a:custGeom>
              <a:avLst/>
              <a:gdLst>
                <a:gd name="T0" fmla="*/ 33 w 35"/>
                <a:gd name="T1" fmla="*/ 12 h 38"/>
                <a:gd name="T2" fmla="*/ 28 w 35"/>
                <a:gd name="T3" fmla="*/ 10 h 38"/>
                <a:gd name="T4" fmla="*/ 23 w 35"/>
                <a:gd name="T5" fmla="*/ 10 h 38"/>
                <a:gd name="T6" fmla="*/ 20 w 35"/>
                <a:gd name="T7" fmla="*/ 7 h 38"/>
                <a:gd name="T8" fmla="*/ 18 w 35"/>
                <a:gd name="T9" fmla="*/ 5 h 38"/>
                <a:gd name="T10" fmla="*/ 12 w 35"/>
                <a:gd name="T11" fmla="*/ 2 h 38"/>
                <a:gd name="T12" fmla="*/ 12 w 35"/>
                <a:gd name="T13" fmla="*/ 0 h 38"/>
                <a:gd name="T14" fmla="*/ 12 w 35"/>
                <a:gd name="T15" fmla="*/ 0 h 38"/>
                <a:gd name="T16" fmla="*/ 10 w 35"/>
                <a:gd name="T17" fmla="*/ 0 h 38"/>
                <a:gd name="T18" fmla="*/ 10 w 35"/>
                <a:gd name="T19" fmla="*/ 0 h 38"/>
                <a:gd name="T20" fmla="*/ 7 w 35"/>
                <a:gd name="T21" fmla="*/ 2 h 38"/>
                <a:gd name="T22" fmla="*/ 10 w 35"/>
                <a:gd name="T23" fmla="*/ 5 h 38"/>
                <a:gd name="T24" fmla="*/ 10 w 35"/>
                <a:gd name="T25" fmla="*/ 5 h 38"/>
                <a:gd name="T26" fmla="*/ 7 w 35"/>
                <a:gd name="T27" fmla="*/ 5 h 38"/>
                <a:gd name="T28" fmla="*/ 5 w 35"/>
                <a:gd name="T29" fmla="*/ 5 h 38"/>
                <a:gd name="T30" fmla="*/ 2 w 35"/>
                <a:gd name="T31" fmla="*/ 7 h 38"/>
                <a:gd name="T32" fmla="*/ 2 w 35"/>
                <a:gd name="T33" fmla="*/ 10 h 38"/>
                <a:gd name="T34" fmla="*/ 0 w 35"/>
                <a:gd name="T35" fmla="*/ 12 h 38"/>
                <a:gd name="T36" fmla="*/ 0 w 35"/>
                <a:gd name="T37" fmla="*/ 12 h 38"/>
                <a:gd name="T38" fmla="*/ 0 w 35"/>
                <a:gd name="T39" fmla="*/ 18 h 38"/>
                <a:gd name="T40" fmla="*/ 2 w 35"/>
                <a:gd name="T41" fmla="*/ 20 h 38"/>
                <a:gd name="T42" fmla="*/ 0 w 35"/>
                <a:gd name="T43" fmla="*/ 23 h 38"/>
                <a:gd name="T44" fmla="*/ 0 w 35"/>
                <a:gd name="T45" fmla="*/ 23 h 38"/>
                <a:gd name="T46" fmla="*/ 0 w 35"/>
                <a:gd name="T47" fmla="*/ 23 h 38"/>
                <a:gd name="T48" fmla="*/ 2 w 35"/>
                <a:gd name="T49" fmla="*/ 25 h 38"/>
                <a:gd name="T50" fmla="*/ 5 w 35"/>
                <a:gd name="T51" fmla="*/ 25 h 38"/>
                <a:gd name="T52" fmla="*/ 2 w 35"/>
                <a:gd name="T53" fmla="*/ 25 h 38"/>
                <a:gd name="T54" fmla="*/ 7 w 35"/>
                <a:gd name="T55" fmla="*/ 28 h 38"/>
                <a:gd name="T56" fmla="*/ 15 w 35"/>
                <a:gd name="T57" fmla="*/ 35 h 38"/>
                <a:gd name="T58" fmla="*/ 18 w 35"/>
                <a:gd name="T59" fmla="*/ 35 h 38"/>
                <a:gd name="T60" fmla="*/ 18 w 35"/>
                <a:gd name="T61" fmla="*/ 33 h 38"/>
                <a:gd name="T62" fmla="*/ 18 w 35"/>
                <a:gd name="T63" fmla="*/ 30 h 38"/>
                <a:gd name="T64" fmla="*/ 18 w 35"/>
                <a:gd name="T65" fmla="*/ 28 h 38"/>
                <a:gd name="T66" fmla="*/ 18 w 35"/>
                <a:gd name="T67" fmla="*/ 25 h 38"/>
                <a:gd name="T68" fmla="*/ 20 w 35"/>
                <a:gd name="T69" fmla="*/ 23 h 38"/>
                <a:gd name="T70" fmla="*/ 23 w 35"/>
                <a:gd name="T71" fmla="*/ 20 h 38"/>
                <a:gd name="T72" fmla="*/ 23 w 35"/>
                <a:gd name="T73" fmla="*/ 20 h 38"/>
                <a:gd name="T74" fmla="*/ 25 w 35"/>
                <a:gd name="T75" fmla="*/ 23 h 38"/>
                <a:gd name="T76" fmla="*/ 25 w 35"/>
                <a:gd name="T77" fmla="*/ 23 h 38"/>
                <a:gd name="T78" fmla="*/ 30 w 35"/>
                <a:gd name="T79" fmla="*/ 23 h 38"/>
                <a:gd name="T80" fmla="*/ 30 w 35"/>
                <a:gd name="T81" fmla="*/ 23 h 38"/>
                <a:gd name="T82" fmla="*/ 30 w 35"/>
                <a:gd name="T83" fmla="*/ 20 h 38"/>
                <a:gd name="T84" fmla="*/ 30 w 35"/>
                <a:gd name="T85" fmla="*/ 18 h 38"/>
                <a:gd name="T86" fmla="*/ 33 w 35"/>
                <a:gd name="T87" fmla="*/ 18 h 38"/>
                <a:gd name="T88" fmla="*/ 35 w 35"/>
                <a:gd name="T89" fmla="*/ 15 h 38"/>
                <a:gd name="T90" fmla="*/ 35 w 35"/>
                <a:gd name="T91" fmla="*/ 15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5" h="38">
                  <a:moveTo>
                    <a:pt x="35" y="15"/>
                  </a:moveTo>
                  <a:lnTo>
                    <a:pt x="33" y="12"/>
                  </a:lnTo>
                  <a:lnTo>
                    <a:pt x="30" y="12"/>
                  </a:lnTo>
                  <a:lnTo>
                    <a:pt x="28" y="10"/>
                  </a:lnTo>
                  <a:lnTo>
                    <a:pt x="25" y="10"/>
                  </a:lnTo>
                  <a:lnTo>
                    <a:pt x="23" y="10"/>
                  </a:lnTo>
                  <a:lnTo>
                    <a:pt x="23" y="7"/>
                  </a:lnTo>
                  <a:lnTo>
                    <a:pt x="20" y="7"/>
                  </a:lnTo>
                  <a:lnTo>
                    <a:pt x="20" y="7"/>
                  </a:lnTo>
                  <a:lnTo>
                    <a:pt x="18" y="5"/>
                  </a:lnTo>
                  <a:lnTo>
                    <a:pt x="15" y="2"/>
                  </a:lnTo>
                  <a:lnTo>
                    <a:pt x="12" y="2"/>
                  </a:lnTo>
                  <a:lnTo>
                    <a:pt x="12" y="2"/>
                  </a:lnTo>
                  <a:lnTo>
                    <a:pt x="12" y="0"/>
                  </a:lnTo>
                  <a:lnTo>
                    <a:pt x="12" y="0"/>
                  </a:lnTo>
                  <a:lnTo>
                    <a:pt x="12" y="0"/>
                  </a:lnTo>
                  <a:lnTo>
                    <a:pt x="12" y="0"/>
                  </a:lnTo>
                  <a:lnTo>
                    <a:pt x="10" y="0"/>
                  </a:lnTo>
                  <a:lnTo>
                    <a:pt x="10" y="0"/>
                  </a:lnTo>
                  <a:lnTo>
                    <a:pt x="10" y="0"/>
                  </a:lnTo>
                  <a:lnTo>
                    <a:pt x="7" y="0"/>
                  </a:lnTo>
                  <a:lnTo>
                    <a:pt x="7" y="2"/>
                  </a:lnTo>
                  <a:lnTo>
                    <a:pt x="10" y="2"/>
                  </a:lnTo>
                  <a:lnTo>
                    <a:pt x="10" y="5"/>
                  </a:lnTo>
                  <a:lnTo>
                    <a:pt x="10" y="5"/>
                  </a:lnTo>
                  <a:lnTo>
                    <a:pt x="10" y="5"/>
                  </a:lnTo>
                  <a:lnTo>
                    <a:pt x="7" y="5"/>
                  </a:lnTo>
                  <a:lnTo>
                    <a:pt x="7" y="5"/>
                  </a:lnTo>
                  <a:lnTo>
                    <a:pt x="7" y="5"/>
                  </a:lnTo>
                  <a:lnTo>
                    <a:pt x="5" y="5"/>
                  </a:lnTo>
                  <a:lnTo>
                    <a:pt x="5" y="7"/>
                  </a:lnTo>
                  <a:lnTo>
                    <a:pt x="2" y="7"/>
                  </a:lnTo>
                  <a:lnTo>
                    <a:pt x="2" y="10"/>
                  </a:lnTo>
                  <a:lnTo>
                    <a:pt x="2" y="10"/>
                  </a:lnTo>
                  <a:lnTo>
                    <a:pt x="2" y="12"/>
                  </a:lnTo>
                  <a:lnTo>
                    <a:pt x="0" y="12"/>
                  </a:lnTo>
                  <a:lnTo>
                    <a:pt x="0" y="12"/>
                  </a:lnTo>
                  <a:lnTo>
                    <a:pt x="0" y="12"/>
                  </a:lnTo>
                  <a:lnTo>
                    <a:pt x="0" y="15"/>
                  </a:lnTo>
                  <a:lnTo>
                    <a:pt x="0" y="18"/>
                  </a:lnTo>
                  <a:lnTo>
                    <a:pt x="2" y="20"/>
                  </a:lnTo>
                  <a:lnTo>
                    <a:pt x="2" y="20"/>
                  </a:lnTo>
                  <a:lnTo>
                    <a:pt x="2" y="20"/>
                  </a:lnTo>
                  <a:lnTo>
                    <a:pt x="0" y="23"/>
                  </a:lnTo>
                  <a:lnTo>
                    <a:pt x="0" y="23"/>
                  </a:lnTo>
                  <a:lnTo>
                    <a:pt x="0" y="23"/>
                  </a:lnTo>
                  <a:lnTo>
                    <a:pt x="0" y="23"/>
                  </a:lnTo>
                  <a:lnTo>
                    <a:pt x="0" y="23"/>
                  </a:lnTo>
                  <a:lnTo>
                    <a:pt x="2" y="25"/>
                  </a:lnTo>
                  <a:lnTo>
                    <a:pt x="2" y="25"/>
                  </a:lnTo>
                  <a:lnTo>
                    <a:pt x="2" y="25"/>
                  </a:lnTo>
                  <a:lnTo>
                    <a:pt x="5" y="25"/>
                  </a:lnTo>
                  <a:lnTo>
                    <a:pt x="5" y="25"/>
                  </a:lnTo>
                  <a:lnTo>
                    <a:pt x="2" y="25"/>
                  </a:lnTo>
                  <a:lnTo>
                    <a:pt x="5" y="25"/>
                  </a:lnTo>
                  <a:lnTo>
                    <a:pt x="7" y="28"/>
                  </a:lnTo>
                  <a:lnTo>
                    <a:pt x="12" y="33"/>
                  </a:lnTo>
                  <a:lnTo>
                    <a:pt x="15" y="35"/>
                  </a:lnTo>
                  <a:lnTo>
                    <a:pt x="18" y="38"/>
                  </a:lnTo>
                  <a:lnTo>
                    <a:pt x="18" y="35"/>
                  </a:lnTo>
                  <a:lnTo>
                    <a:pt x="18" y="35"/>
                  </a:lnTo>
                  <a:lnTo>
                    <a:pt x="18" y="33"/>
                  </a:lnTo>
                  <a:lnTo>
                    <a:pt x="18" y="33"/>
                  </a:lnTo>
                  <a:lnTo>
                    <a:pt x="18" y="30"/>
                  </a:lnTo>
                  <a:lnTo>
                    <a:pt x="15" y="30"/>
                  </a:lnTo>
                  <a:lnTo>
                    <a:pt x="18" y="28"/>
                  </a:lnTo>
                  <a:lnTo>
                    <a:pt x="18" y="28"/>
                  </a:lnTo>
                  <a:lnTo>
                    <a:pt x="18" y="25"/>
                  </a:lnTo>
                  <a:lnTo>
                    <a:pt x="20" y="23"/>
                  </a:lnTo>
                  <a:lnTo>
                    <a:pt x="20" y="23"/>
                  </a:lnTo>
                  <a:lnTo>
                    <a:pt x="23" y="20"/>
                  </a:lnTo>
                  <a:lnTo>
                    <a:pt x="23" y="20"/>
                  </a:lnTo>
                  <a:lnTo>
                    <a:pt x="23" y="20"/>
                  </a:lnTo>
                  <a:lnTo>
                    <a:pt x="23" y="20"/>
                  </a:lnTo>
                  <a:lnTo>
                    <a:pt x="23" y="23"/>
                  </a:lnTo>
                  <a:lnTo>
                    <a:pt x="25" y="23"/>
                  </a:lnTo>
                  <a:lnTo>
                    <a:pt x="25" y="23"/>
                  </a:lnTo>
                  <a:lnTo>
                    <a:pt x="25" y="23"/>
                  </a:lnTo>
                  <a:lnTo>
                    <a:pt x="28" y="23"/>
                  </a:lnTo>
                  <a:lnTo>
                    <a:pt x="30" y="23"/>
                  </a:lnTo>
                  <a:lnTo>
                    <a:pt x="30" y="23"/>
                  </a:lnTo>
                  <a:lnTo>
                    <a:pt x="30" y="23"/>
                  </a:lnTo>
                  <a:lnTo>
                    <a:pt x="30" y="20"/>
                  </a:lnTo>
                  <a:lnTo>
                    <a:pt x="30" y="20"/>
                  </a:lnTo>
                  <a:lnTo>
                    <a:pt x="28" y="18"/>
                  </a:lnTo>
                  <a:lnTo>
                    <a:pt x="30" y="18"/>
                  </a:lnTo>
                  <a:lnTo>
                    <a:pt x="30" y="18"/>
                  </a:lnTo>
                  <a:lnTo>
                    <a:pt x="33" y="18"/>
                  </a:lnTo>
                  <a:lnTo>
                    <a:pt x="33" y="18"/>
                  </a:lnTo>
                  <a:lnTo>
                    <a:pt x="35" y="15"/>
                  </a:lnTo>
                  <a:lnTo>
                    <a:pt x="35" y="15"/>
                  </a:lnTo>
                  <a:lnTo>
                    <a:pt x="35" y="15"/>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252" name="Freeform 1871">
              <a:extLst>
                <a:ext uri="{FF2B5EF4-FFF2-40B4-BE49-F238E27FC236}">
                  <a16:creationId xmlns:a16="http://schemas.microsoft.com/office/drawing/2014/main" id="{48C6C647-42D7-9544-AF01-B5EE39A90CDE}"/>
                </a:ext>
              </a:extLst>
            </p:cNvPr>
            <p:cNvSpPr>
              <a:spLocks/>
            </p:cNvSpPr>
            <p:nvPr/>
          </p:nvSpPr>
          <p:spPr bwMode="auto">
            <a:xfrm>
              <a:off x="8176706" y="1874232"/>
              <a:ext cx="971628" cy="382762"/>
            </a:xfrm>
            <a:custGeom>
              <a:avLst/>
              <a:gdLst>
                <a:gd name="T0" fmla="*/ 573 w 594"/>
                <a:gd name="T1" fmla="*/ 104 h 234"/>
                <a:gd name="T2" fmla="*/ 558 w 594"/>
                <a:gd name="T3" fmla="*/ 94 h 234"/>
                <a:gd name="T4" fmla="*/ 538 w 594"/>
                <a:gd name="T5" fmla="*/ 99 h 234"/>
                <a:gd name="T6" fmla="*/ 515 w 594"/>
                <a:gd name="T7" fmla="*/ 94 h 234"/>
                <a:gd name="T8" fmla="*/ 499 w 594"/>
                <a:gd name="T9" fmla="*/ 81 h 234"/>
                <a:gd name="T10" fmla="*/ 494 w 594"/>
                <a:gd name="T11" fmla="*/ 48 h 234"/>
                <a:gd name="T12" fmla="*/ 464 w 594"/>
                <a:gd name="T13" fmla="*/ 43 h 234"/>
                <a:gd name="T14" fmla="*/ 438 w 594"/>
                <a:gd name="T15" fmla="*/ 48 h 234"/>
                <a:gd name="T16" fmla="*/ 418 w 594"/>
                <a:gd name="T17" fmla="*/ 61 h 234"/>
                <a:gd name="T18" fmla="*/ 392 w 594"/>
                <a:gd name="T19" fmla="*/ 63 h 234"/>
                <a:gd name="T20" fmla="*/ 354 w 594"/>
                <a:gd name="T21" fmla="*/ 56 h 234"/>
                <a:gd name="T22" fmla="*/ 331 w 594"/>
                <a:gd name="T23" fmla="*/ 46 h 234"/>
                <a:gd name="T24" fmla="*/ 301 w 594"/>
                <a:gd name="T25" fmla="*/ 38 h 234"/>
                <a:gd name="T26" fmla="*/ 275 w 594"/>
                <a:gd name="T27" fmla="*/ 41 h 234"/>
                <a:gd name="T28" fmla="*/ 255 w 594"/>
                <a:gd name="T29" fmla="*/ 41 h 234"/>
                <a:gd name="T30" fmla="*/ 237 w 594"/>
                <a:gd name="T31" fmla="*/ 30 h 234"/>
                <a:gd name="T32" fmla="*/ 222 w 594"/>
                <a:gd name="T33" fmla="*/ 15 h 234"/>
                <a:gd name="T34" fmla="*/ 188 w 594"/>
                <a:gd name="T35" fmla="*/ 8 h 234"/>
                <a:gd name="T36" fmla="*/ 160 w 594"/>
                <a:gd name="T37" fmla="*/ 0 h 234"/>
                <a:gd name="T38" fmla="*/ 153 w 594"/>
                <a:gd name="T39" fmla="*/ 15 h 234"/>
                <a:gd name="T40" fmla="*/ 160 w 594"/>
                <a:gd name="T41" fmla="*/ 28 h 234"/>
                <a:gd name="T42" fmla="*/ 171 w 594"/>
                <a:gd name="T43" fmla="*/ 43 h 234"/>
                <a:gd name="T44" fmla="*/ 160 w 594"/>
                <a:gd name="T45" fmla="*/ 53 h 234"/>
                <a:gd name="T46" fmla="*/ 143 w 594"/>
                <a:gd name="T47" fmla="*/ 48 h 234"/>
                <a:gd name="T48" fmla="*/ 127 w 594"/>
                <a:gd name="T49" fmla="*/ 48 h 234"/>
                <a:gd name="T50" fmla="*/ 112 w 594"/>
                <a:gd name="T51" fmla="*/ 46 h 234"/>
                <a:gd name="T52" fmla="*/ 94 w 594"/>
                <a:gd name="T53" fmla="*/ 33 h 234"/>
                <a:gd name="T54" fmla="*/ 74 w 594"/>
                <a:gd name="T55" fmla="*/ 30 h 234"/>
                <a:gd name="T56" fmla="*/ 61 w 594"/>
                <a:gd name="T57" fmla="*/ 30 h 234"/>
                <a:gd name="T58" fmla="*/ 48 w 594"/>
                <a:gd name="T59" fmla="*/ 35 h 234"/>
                <a:gd name="T60" fmla="*/ 33 w 594"/>
                <a:gd name="T61" fmla="*/ 43 h 234"/>
                <a:gd name="T62" fmla="*/ 23 w 594"/>
                <a:gd name="T63" fmla="*/ 53 h 234"/>
                <a:gd name="T64" fmla="*/ 15 w 594"/>
                <a:gd name="T65" fmla="*/ 58 h 234"/>
                <a:gd name="T66" fmla="*/ 2 w 594"/>
                <a:gd name="T67" fmla="*/ 63 h 234"/>
                <a:gd name="T68" fmla="*/ 0 w 594"/>
                <a:gd name="T69" fmla="*/ 71 h 234"/>
                <a:gd name="T70" fmla="*/ 10 w 594"/>
                <a:gd name="T71" fmla="*/ 79 h 234"/>
                <a:gd name="T72" fmla="*/ 33 w 594"/>
                <a:gd name="T73" fmla="*/ 91 h 234"/>
                <a:gd name="T74" fmla="*/ 51 w 594"/>
                <a:gd name="T75" fmla="*/ 94 h 234"/>
                <a:gd name="T76" fmla="*/ 64 w 594"/>
                <a:gd name="T77" fmla="*/ 107 h 234"/>
                <a:gd name="T78" fmla="*/ 79 w 594"/>
                <a:gd name="T79" fmla="*/ 127 h 234"/>
                <a:gd name="T80" fmla="*/ 81 w 594"/>
                <a:gd name="T81" fmla="*/ 145 h 234"/>
                <a:gd name="T82" fmla="*/ 99 w 594"/>
                <a:gd name="T83" fmla="*/ 155 h 234"/>
                <a:gd name="T84" fmla="*/ 137 w 594"/>
                <a:gd name="T85" fmla="*/ 160 h 234"/>
                <a:gd name="T86" fmla="*/ 178 w 594"/>
                <a:gd name="T87" fmla="*/ 175 h 234"/>
                <a:gd name="T88" fmla="*/ 196 w 594"/>
                <a:gd name="T89" fmla="*/ 198 h 234"/>
                <a:gd name="T90" fmla="*/ 252 w 594"/>
                <a:gd name="T91" fmla="*/ 211 h 234"/>
                <a:gd name="T92" fmla="*/ 308 w 594"/>
                <a:gd name="T93" fmla="*/ 214 h 234"/>
                <a:gd name="T94" fmla="*/ 362 w 594"/>
                <a:gd name="T95" fmla="*/ 229 h 234"/>
                <a:gd name="T96" fmla="*/ 390 w 594"/>
                <a:gd name="T97" fmla="*/ 226 h 234"/>
                <a:gd name="T98" fmla="*/ 428 w 594"/>
                <a:gd name="T99" fmla="*/ 216 h 234"/>
                <a:gd name="T100" fmla="*/ 461 w 594"/>
                <a:gd name="T101" fmla="*/ 209 h 234"/>
                <a:gd name="T102" fmla="*/ 471 w 594"/>
                <a:gd name="T103" fmla="*/ 196 h 234"/>
                <a:gd name="T104" fmla="*/ 482 w 594"/>
                <a:gd name="T105" fmla="*/ 183 h 234"/>
                <a:gd name="T106" fmla="*/ 466 w 594"/>
                <a:gd name="T107" fmla="*/ 163 h 234"/>
                <a:gd name="T108" fmla="*/ 494 w 594"/>
                <a:gd name="T109" fmla="*/ 163 h 234"/>
                <a:gd name="T110" fmla="*/ 510 w 594"/>
                <a:gd name="T111" fmla="*/ 155 h 234"/>
                <a:gd name="T112" fmla="*/ 530 w 594"/>
                <a:gd name="T113" fmla="*/ 147 h 234"/>
                <a:gd name="T114" fmla="*/ 538 w 594"/>
                <a:gd name="T115" fmla="*/ 132 h 234"/>
                <a:gd name="T116" fmla="*/ 550 w 594"/>
                <a:gd name="T117" fmla="*/ 125 h 234"/>
                <a:gd name="T118" fmla="*/ 566 w 594"/>
                <a:gd name="T119" fmla="*/ 119 h 234"/>
                <a:gd name="T120" fmla="*/ 589 w 594"/>
                <a:gd name="T121" fmla="*/ 122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94" h="234">
                  <a:moveTo>
                    <a:pt x="594" y="119"/>
                  </a:moveTo>
                  <a:lnTo>
                    <a:pt x="591" y="117"/>
                  </a:lnTo>
                  <a:lnTo>
                    <a:pt x="591" y="117"/>
                  </a:lnTo>
                  <a:lnTo>
                    <a:pt x="589" y="114"/>
                  </a:lnTo>
                  <a:lnTo>
                    <a:pt x="589" y="114"/>
                  </a:lnTo>
                  <a:lnTo>
                    <a:pt x="586" y="112"/>
                  </a:lnTo>
                  <a:lnTo>
                    <a:pt x="586" y="112"/>
                  </a:lnTo>
                  <a:lnTo>
                    <a:pt x="583" y="109"/>
                  </a:lnTo>
                  <a:lnTo>
                    <a:pt x="581" y="109"/>
                  </a:lnTo>
                  <a:lnTo>
                    <a:pt x="578" y="107"/>
                  </a:lnTo>
                  <a:lnTo>
                    <a:pt x="576" y="104"/>
                  </a:lnTo>
                  <a:lnTo>
                    <a:pt x="573" y="104"/>
                  </a:lnTo>
                  <a:lnTo>
                    <a:pt x="573" y="104"/>
                  </a:lnTo>
                  <a:lnTo>
                    <a:pt x="573" y="102"/>
                  </a:lnTo>
                  <a:lnTo>
                    <a:pt x="571" y="102"/>
                  </a:lnTo>
                  <a:lnTo>
                    <a:pt x="571" y="102"/>
                  </a:lnTo>
                  <a:lnTo>
                    <a:pt x="568" y="102"/>
                  </a:lnTo>
                  <a:lnTo>
                    <a:pt x="568" y="99"/>
                  </a:lnTo>
                  <a:lnTo>
                    <a:pt x="566" y="99"/>
                  </a:lnTo>
                  <a:lnTo>
                    <a:pt x="566" y="99"/>
                  </a:lnTo>
                  <a:lnTo>
                    <a:pt x="563" y="97"/>
                  </a:lnTo>
                  <a:lnTo>
                    <a:pt x="563" y="97"/>
                  </a:lnTo>
                  <a:lnTo>
                    <a:pt x="561" y="97"/>
                  </a:lnTo>
                  <a:lnTo>
                    <a:pt x="558" y="94"/>
                  </a:lnTo>
                  <a:lnTo>
                    <a:pt x="553" y="91"/>
                  </a:lnTo>
                  <a:lnTo>
                    <a:pt x="553" y="91"/>
                  </a:lnTo>
                  <a:lnTo>
                    <a:pt x="548" y="91"/>
                  </a:lnTo>
                  <a:lnTo>
                    <a:pt x="545" y="91"/>
                  </a:lnTo>
                  <a:lnTo>
                    <a:pt x="543" y="91"/>
                  </a:lnTo>
                  <a:lnTo>
                    <a:pt x="543" y="91"/>
                  </a:lnTo>
                  <a:lnTo>
                    <a:pt x="540" y="91"/>
                  </a:lnTo>
                  <a:lnTo>
                    <a:pt x="540" y="91"/>
                  </a:lnTo>
                  <a:lnTo>
                    <a:pt x="538" y="94"/>
                  </a:lnTo>
                  <a:lnTo>
                    <a:pt x="538" y="94"/>
                  </a:lnTo>
                  <a:lnTo>
                    <a:pt x="538" y="97"/>
                  </a:lnTo>
                  <a:lnTo>
                    <a:pt x="538" y="99"/>
                  </a:lnTo>
                  <a:lnTo>
                    <a:pt x="535" y="99"/>
                  </a:lnTo>
                  <a:lnTo>
                    <a:pt x="535" y="99"/>
                  </a:lnTo>
                  <a:lnTo>
                    <a:pt x="532" y="97"/>
                  </a:lnTo>
                  <a:lnTo>
                    <a:pt x="530" y="94"/>
                  </a:lnTo>
                  <a:lnTo>
                    <a:pt x="527" y="94"/>
                  </a:lnTo>
                  <a:lnTo>
                    <a:pt x="525" y="94"/>
                  </a:lnTo>
                  <a:lnTo>
                    <a:pt x="522" y="94"/>
                  </a:lnTo>
                  <a:lnTo>
                    <a:pt x="522" y="94"/>
                  </a:lnTo>
                  <a:lnTo>
                    <a:pt x="520" y="94"/>
                  </a:lnTo>
                  <a:lnTo>
                    <a:pt x="517" y="94"/>
                  </a:lnTo>
                  <a:lnTo>
                    <a:pt x="515" y="94"/>
                  </a:lnTo>
                  <a:lnTo>
                    <a:pt x="515" y="94"/>
                  </a:lnTo>
                  <a:lnTo>
                    <a:pt x="512" y="97"/>
                  </a:lnTo>
                  <a:lnTo>
                    <a:pt x="512" y="97"/>
                  </a:lnTo>
                  <a:lnTo>
                    <a:pt x="510" y="97"/>
                  </a:lnTo>
                  <a:lnTo>
                    <a:pt x="507" y="97"/>
                  </a:lnTo>
                  <a:lnTo>
                    <a:pt x="504" y="97"/>
                  </a:lnTo>
                  <a:lnTo>
                    <a:pt x="502" y="94"/>
                  </a:lnTo>
                  <a:lnTo>
                    <a:pt x="502" y="91"/>
                  </a:lnTo>
                  <a:lnTo>
                    <a:pt x="497" y="89"/>
                  </a:lnTo>
                  <a:lnTo>
                    <a:pt x="499" y="86"/>
                  </a:lnTo>
                  <a:lnTo>
                    <a:pt x="502" y="86"/>
                  </a:lnTo>
                  <a:lnTo>
                    <a:pt x="499" y="84"/>
                  </a:lnTo>
                  <a:lnTo>
                    <a:pt x="499" y="81"/>
                  </a:lnTo>
                  <a:lnTo>
                    <a:pt x="497" y="79"/>
                  </a:lnTo>
                  <a:lnTo>
                    <a:pt x="499" y="76"/>
                  </a:lnTo>
                  <a:lnTo>
                    <a:pt x="499" y="74"/>
                  </a:lnTo>
                  <a:lnTo>
                    <a:pt x="499" y="71"/>
                  </a:lnTo>
                  <a:lnTo>
                    <a:pt x="499" y="71"/>
                  </a:lnTo>
                  <a:lnTo>
                    <a:pt x="499" y="69"/>
                  </a:lnTo>
                  <a:lnTo>
                    <a:pt x="497" y="66"/>
                  </a:lnTo>
                  <a:lnTo>
                    <a:pt x="497" y="58"/>
                  </a:lnTo>
                  <a:lnTo>
                    <a:pt x="497" y="53"/>
                  </a:lnTo>
                  <a:lnTo>
                    <a:pt x="497" y="51"/>
                  </a:lnTo>
                  <a:lnTo>
                    <a:pt x="497" y="48"/>
                  </a:lnTo>
                  <a:lnTo>
                    <a:pt x="494" y="48"/>
                  </a:lnTo>
                  <a:lnTo>
                    <a:pt x="489" y="48"/>
                  </a:lnTo>
                  <a:lnTo>
                    <a:pt x="487" y="46"/>
                  </a:lnTo>
                  <a:lnTo>
                    <a:pt x="487" y="46"/>
                  </a:lnTo>
                  <a:lnTo>
                    <a:pt x="482" y="48"/>
                  </a:lnTo>
                  <a:lnTo>
                    <a:pt x="482" y="48"/>
                  </a:lnTo>
                  <a:lnTo>
                    <a:pt x="479" y="48"/>
                  </a:lnTo>
                  <a:lnTo>
                    <a:pt x="476" y="48"/>
                  </a:lnTo>
                  <a:lnTo>
                    <a:pt x="474" y="48"/>
                  </a:lnTo>
                  <a:lnTo>
                    <a:pt x="474" y="48"/>
                  </a:lnTo>
                  <a:lnTo>
                    <a:pt x="471" y="48"/>
                  </a:lnTo>
                  <a:lnTo>
                    <a:pt x="466" y="46"/>
                  </a:lnTo>
                  <a:lnTo>
                    <a:pt x="464" y="43"/>
                  </a:lnTo>
                  <a:lnTo>
                    <a:pt x="461" y="43"/>
                  </a:lnTo>
                  <a:lnTo>
                    <a:pt x="459" y="41"/>
                  </a:lnTo>
                  <a:lnTo>
                    <a:pt x="456" y="41"/>
                  </a:lnTo>
                  <a:lnTo>
                    <a:pt x="456" y="41"/>
                  </a:lnTo>
                  <a:lnTo>
                    <a:pt x="451" y="41"/>
                  </a:lnTo>
                  <a:lnTo>
                    <a:pt x="451" y="41"/>
                  </a:lnTo>
                  <a:lnTo>
                    <a:pt x="448" y="41"/>
                  </a:lnTo>
                  <a:lnTo>
                    <a:pt x="446" y="43"/>
                  </a:lnTo>
                  <a:lnTo>
                    <a:pt x="446" y="43"/>
                  </a:lnTo>
                  <a:lnTo>
                    <a:pt x="443" y="46"/>
                  </a:lnTo>
                  <a:lnTo>
                    <a:pt x="441" y="46"/>
                  </a:lnTo>
                  <a:lnTo>
                    <a:pt x="438" y="48"/>
                  </a:lnTo>
                  <a:lnTo>
                    <a:pt x="438" y="48"/>
                  </a:lnTo>
                  <a:lnTo>
                    <a:pt x="436" y="51"/>
                  </a:lnTo>
                  <a:lnTo>
                    <a:pt x="436" y="53"/>
                  </a:lnTo>
                  <a:lnTo>
                    <a:pt x="436" y="56"/>
                  </a:lnTo>
                  <a:lnTo>
                    <a:pt x="436" y="56"/>
                  </a:lnTo>
                  <a:lnTo>
                    <a:pt x="433" y="56"/>
                  </a:lnTo>
                  <a:lnTo>
                    <a:pt x="431" y="58"/>
                  </a:lnTo>
                  <a:lnTo>
                    <a:pt x="428" y="56"/>
                  </a:lnTo>
                  <a:lnTo>
                    <a:pt x="425" y="58"/>
                  </a:lnTo>
                  <a:lnTo>
                    <a:pt x="423" y="58"/>
                  </a:lnTo>
                  <a:lnTo>
                    <a:pt x="420" y="58"/>
                  </a:lnTo>
                  <a:lnTo>
                    <a:pt x="418" y="61"/>
                  </a:lnTo>
                  <a:lnTo>
                    <a:pt x="415" y="61"/>
                  </a:lnTo>
                  <a:lnTo>
                    <a:pt x="413" y="61"/>
                  </a:lnTo>
                  <a:lnTo>
                    <a:pt x="413" y="61"/>
                  </a:lnTo>
                  <a:lnTo>
                    <a:pt x="410" y="61"/>
                  </a:lnTo>
                  <a:lnTo>
                    <a:pt x="410" y="61"/>
                  </a:lnTo>
                  <a:lnTo>
                    <a:pt x="408" y="61"/>
                  </a:lnTo>
                  <a:lnTo>
                    <a:pt x="403" y="66"/>
                  </a:lnTo>
                  <a:lnTo>
                    <a:pt x="400" y="66"/>
                  </a:lnTo>
                  <a:lnTo>
                    <a:pt x="400" y="66"/>
                  </a:lnTo>
                  <a:lnTo>
                    <a:pt x="397" y="63"/>
                  </a:lnTo>
                  <a:lnTo>
                    <a:pt x="395" y="63"/>
                  </a:lnTo>
                  <a:lnTo>
                    <a:pt x="392" y="63"/>
                  </a:lnTo>
                  <a:lnTo>
                    <a:pt x="392" y="66"/>
                  </a:lnTo>
                  <a:lnTo>
                    <a:pt x="387" y="63"/>
                  </a:lnTo>
                  <a:lnTo>
                    <a:pt x="382" y="63"/>
                  </a:lnTo>
                  <a:lnTo>
                    <a:pt x="380" y="63"/>
                  </a:lnTo>
                  <a:lnTo>
                    <a:pt x="377" y="61"/>
                  </a:lnTo>
                  <a:lnTo>
                    <a:pt x="372" y="61"/>
                  </a:lnTo>
                  <a:lnTo>
                    <a:pt x="367" y="61"/>
                  </a:lnTo>
                  <a:lnTo>
                    <a:pt x="364" y="61"/>
                  </a:lnTo>
                  <a:lnTo>
                    <a:pt x="362" y="61"/>
                  </a:lnTo>
                  <a:lnTo>
                    <a:pt x="359" y="61"/>
                  </a:lnTo>
                  <a:lnTo>
                    <a:pt x="357" y="61"/>
                  </a:lnTo>
                  <a:lnTo>
                    <a:pt x="354" y="56"/>
                  </a:lnTo>
                  <a:lnTo>
                    <a:pt x="352" y="56"/>
                  </a:lnTo>
                  <a:lnTo>
                    <a:pt x="349" y="56"/>
                  </a:lnTo>
                  <a:lnTo>
                    <a:pt x="349" y="53"/>
                  </a:lnTo>
                  <a:lnTo>
                    <a:pt x="346" y="53"/>
                  </a:lnTo>
                  <a:lnTo>
                    <a:pt x="346" y="53"/>
                  </a:lnTo>
                  <a:lnTo>
                    <a:pt x="346" y="53"/>
                  </a:lnTo>
                  <a:lnTo>
                    <a:pt x="344" y="51"/>
                  </a:lnTo>
                  <a:lnTo>
                    <a:pt x="344" y="48"/>
                  </a:lnTo>
                  <a:lnTo>
                    <a:pt x="344" y="48"/>
                  </a:lnTo>
                  <a:lnTo>
                    <a:pt x="341" y="48"/>
                  </a:lnTo>
                  <a:lnTo>
                    <a:pt x="336" y="46"/>
                  </a:lnTo>
                  <a:lnTo>
                    <a:pt x="331" y="46"/>
                  </a:lnTo>
                  <a:lnTo>
                    <a:pt x="331" y="46"/>
                  </a:lnTo>
                  <a:lnTo>
                    <a:pt x="329" y="46"/>
                  </a:lnTo>
                  <a:lnTo>
                    <a:pt x="326" y="46"/>
                  </a:lnTo>
                  <a:lnTo>
                    <a:pt x="323" y="43"/>
                  </a:lnTo>
                  <a:lnTo>
                    <a:pt x="321" y="41"/>
                  </a:lnTo>
                  <a:lnTo>
                    <a:pt x="318" y="41"/>
                  </a:lnTo>
                  <a:lnTo>
                    <a:pt x="316" y="38"/>
                  </a:lnTo>
                  <a:lnTo>
                    <a:pt x="311" y="41"/>
                  </a:lnTo>
                  <a:lnTo>
                    <a:pt x="308" y="41"/>
                  </a:lnTo>
                  <a:lnTo>
                    <a:pt x="306" y="38"/>
                  </a:lnTo>
                  <a:lnTo>
                    <a:pt x="303" y="38"/>
                  </a:lnTo>
                  <a:lnTo>
                    <a:pt x="301" y="38"/>
                  </a:lnTo>
                  <a:lnTo>
                    <a:pt x="298" y="38"/>
                  </a:lnTo>
                  <a:lnTo>
                    <a:pt x="295" y="38"/>
                  </a:lnTo>
                  <a:lnTo>
                    <a:pt x="293" y="35"/>
                  </a:lnTo>
                  <a:lnTo>
                    <a:pt x="290" y="35"/>
                  </a:lnTo>
                  <a:lnTo>
                    <a:pt x="290" y="38"/>
                  </a:lnTo>
                  <a:lnTo>
                    <a:pt x="288" y="38"/>
                  </a:lnTo>
                  <a:lnTo>
                    <a:pt x="285" y="38"/>
                  </a:lnTo>
                  <a:lnTo>
                    <a:pt x="283" y="38"/>
                  </a:lnTo>
                  <a:lnTo>
                    <a:pt x="280" y="41"/>
                  </a:lnTo>
                  <a:lnTo>
                    <a:pt x="278" y="41"/>
                  </a:lnTo>
                  <a:lnTo>
                    <a:pt x="278" y="41"/>
                  </a:lnTo>
                  <a:lnTo>
                    <a:pt x="275" y="41"/>
                  </a:lnTo>
                  <a:lnTo>
                    <a:pt x="275" y="43"/>
                  </a:lnTo>
                  <a:lnTo>
                    <a:pt x="273" y="43"/>
                  </a:lnTo>
                  <a:lnTo>
                    <a:pt x="270" y="43"/>
                  </a:lnTo>
                  <a:lnTo>
                    <a:pt x="270" y="43"/>
                  </a:lnTo>
                  <a:lnTo>
                    <a:pt x="267" y="43"/>
                  </a:lnTo>
                  <a:lnTo>
                    <a:pt x="267" y="43"/>
                  </a:lnTo>
                  <a:lnTo>
                    <a:pt x="265" y="43"/>
                  </a:lnTo>
                  <a:lnTo>
                    <a:pt x="262" y="43"/>
                  </a:lnTo>
                  <a:lnTo>
                    <a:pt x="262" y="43"/>
                  </a:lnTo>
                  <a:lnTo>
                    <a:pt x="260" y="43"/>
                  </a:lnTo>
                  <a:lnTo>
                    <a:pt x="257" y="41"/>
                  </a:lnTo>
                  <a:lnTo>
                    <a:pt x="255" y="41"/>
                  </a:lnTo>
                  <a:lnTo>
                    <a:pt x="255" y="41"/>
                  </a:lnTo>
                  <a:lnTo>
                    <a:pt x="250" y="38"/>
                  </a:lnTo>
                  <a:lnTo>
                    <a:pt x="247" y="38"/>
                  </a:lnTo>
                  <a:lnTo>
                    <a:pt x="247" y="38"/>
                  </a:lnTo>
                  <a:lnTo>
                    <a:pt x="242" y="35"/>
                  </a:lnTo>
                  <a:lnTo>
                    <a:pt x="242" y="35"/>
                  </a:lnTo>
                  <a:lnTo>
                    <a:pt x="239" y="35"/>
                  </a:lnTo>
                  <a:lnTo>
                    <a:pt x="239" y="35"/>
                  </a:lnTo>
                  <a:lnTo>
                    <a:pt x="237" y="33"/>
                  </a:lnTo>
                  <a:lnTo>
                    <a:pt x="237" y="33"/>
                  </a:lnTo>
                  <a:lnTo>
                    <a:pt x="237" y="33"/>
                  </a:lnTo>
                  <a:lnTo>
                    <a:pt x="237" y="30"/>
                  </a:lnTo>
                  <a:lnTo>
                    <a:pt x="234" y="30"/>
                  </a:lnTo>
                  <a:lnTo>
                    <a:pt x="234" y="30"/>
                  </a:lnTo>
                  <a:lnTo>
                    <a:pt x="234" y="28"/>
                  </a:lnTo>
                  <a:lnTo>
                    <a:pt x="232" y="28"/>
                  </a:lnTo>
                  <a:lnTo>
                    <a:pt x="232" y="25"/>
                  </a:lnTo>
                  <a:lnTo>
                    <a:pt x="229" y="23"/>
                  </a:lnTo>
                  <a:lnTo>
                    <a:pt x="229" y="23"/>
                  </a:lnTo>
                  <a:lnTo>
                    <a:pt x="227" y="20"/>
                  </a:lnTo>
                  <a:lnTo>
                    <a:pt x="227" y="18"/>
                  </a:lnTo>
                  <a:lnTo>
                    <a:pt x="227" y="18"/>
                  </a:lnTo>
                  <a:lnTo>
                    <a:pt x="224" y="18"/>
                  </a:lnTo>
                  <a:lnTo>
                    <a:pt x="222" y="15"/>
                  </a:lnTo>
                  <a:lnTo>
                    <a:pt x="219" y="15"/>
                  </a:lnTo>
                  <a:lnTo>
                    <a:pt x="214" y="15"/>
                  </a:lnTo>
                  <a:lnTo>
                    <a:pt x="214" y="15"/>
                  </a:lnTo>
                  <a:lnTo>
                    <a:pt x="211" y="15"/>
                  </a:lnTo>
                  <a:lnTo>
                    <a:pt x="209" y="15"/>
                  </a:lnTo>
                  <a:lnTo>
                    <a:pt x="209" y="13"/>
                  </a:lnTo>
                  <a:lnTo>
                    <a:pt x="206" y="13"/>
                  </a:lnTo>
                  <a:lnTo>
                    <a:pt x="201" y="13"/>
                  </a:lnTo>
                  <a:lnTo>
                    <a:pt x="199" y="10"/>
                  </a:lnTo>
                  <a:lnTo>
                    <a:pt x="194" y="10"/>
                  </a:lnTo>
                  <a:lnTo>
                    <a:pt x="194" y="8"/>
                  </a:lnTo>
                  <a:lnTo>
                    <a:pt x="188" y="8"/>
                  </a:lnTo>
                  <a:lnTo>
                    <a:pt x="186" y="8"/>
                  </a:lnTo>
                  <a:lnTo>
                    <a:pt x="183" y="8"/>
                  </a:lnTo>
                  <a:lnTo>
                    <a:pt x="181" y="8"/>
                  </a:lnTo>
                  <a:lnTo>
                    <a:pt x="178" y="5"/>
                  </a:lnTo>
                  <a:lnTo>
                    <a:pt x="176" y="5"/>
                  </a:lnTo>
                  <a:lnTo>
                    <a:pt x="176" y="5"/>
                  </a:lnTo>
                  <a:lnTo>
                    <a:pt x="173" y="5"/>
                  </a:lnTo>
                  <a:lnTo>
                    <a:pt x="168" y="2"/>
                  </a:lnTo>
                  <a:lnTo>
                    <a:pt x="165" y="2"/>
                  </a:lnTo>
                  <a:lnTo>
                    <a:pt x="165" y="2"/>
                  </a:lnTo>
                  <a:lnTo>
                    <a:pt x="163" y="0"/>
                  </a:lnTo>
                  <a:lnTo>
                    <a:pt x="160" y="0"/>
                  </a:lnTo>
                  <a:lnTo>
                    <a:pt x="160" y="2"/>
                  </a:lnTo>
                  <a:lnTo>
                    <a:pt x="160" y="2"/>
                  </a:lnTo>
                  <a:lnTo>
                    <a:pt x="160" y="5"/>
                  </a:lnTo>
                  <a:lnTo>
                    <a:pt x="160" y="8"/>
                  </a:lnTo>
                  <a:lnTo>
                    <a:pt x="155" y="10"/>
                  </a:lnTo>
                  <a:lnTo>
                    <a:pt x="155" y="10"/>
                  </a:lnTo>
                  <a:lnTo>
                    <a:pt x="155" y="10"/>
                  </a:lnTo>
                  <a:lnTo>
                    <a:pt x="155" y="13"/>
                  </a:lnTo>
                  <a:lnTo>
                    <a:pt x="155" y="13"/>
                  </a:lnTo>
                  <a:lnTo>
                    <a:pt x="155" y="15"/>
                  </a:lnTo>
                  <a:lnTo>
                    <a:pt x="155" y="15"/>
                  </a:lnTo>
                  <a:lnTo>
                    <a:pt x="153" y="15"/>
                  </a:lnTo>
                  <a:lnTo>
                    <a:pt x="153" y="15"/>
                  </a:lnTo>
                  <a:lnTo>
                    <a:pt x="153" y="18"/>
                  </a:lnTo>
                  <a:lnTo>
                    <a:pt x="153" y="18"/>
                  </a:lnTo>
                  <a:lnTo>
                    <a:pt x="155" y="20"/>
                  </a:lnTo>
                  <a:lnTo>
                    <a:pt x="155" y="20"/>
                  </a:lnTo>
                  <a:lnTo>
                    <a:pt x="155" y="20"/>
                  </a:lnTo>
                  <a:lnTo>
                    <a:pt x="155" y="23"/>
                  </a:lnTo>
                  <a:lnTo>
                    <a:pt x="155" y="25"/>
                  </a:lnTo>
                  <a:lnTo>
                    <a:pt x="155" y="25"/>
                  </a:lnTo>
                  <a:lnTo>
                    <a:pt x="158" y="28"/>
                  </a:lnTo>
                  <a:lnTo>
                    <a:pt x="158" y="28"/>
                  </a:lnTo>
                  <a:lnTo>
                    <a:pt x="160" y="28"/>
                  </a:lnTo>
                  <a:lnTo>
                    <a:pt x="160" y="30"/>
                  </a:lnTo>
                  <a:lnTo>
                    <a:pt x="160" y="30"/>
                  </a:lnTo>
                  <a:lnTo>
                    <a:pt x="163" y="33"/>
                  </a:lnTo>
                  <a:lnTo>
                    <a:pt x="163" y="33"/>
                  </a:lnTo>
                  <a:lnTo>
                    <a:pt x="165" y="33"/>
                  </a:lnTo>
                  <a:lnTo>
                    <a:pt x="168" y="35"/>
                  </a:lnTo>
                  <a:lnTo>
                    <a:pt x="168" y="35"/>
                  </a:lnTo>
                  <a:lnTo>
                    <a:pt x="168" y="35"/>
                  </a:lnTo>
                  <a:lnTo>
                    <a:pt x="171" y="38"/>
                  </a:lnTo>
                  <a:lnTo>
                    <a:pt x="171" y="41"/>
                  </a:lnTo>
                  <a:lnTo>
                    <a:pt x="171" y="41"/>
                  </a:lnTo>
                  <a:lnTo>
                    <a:pt x="171" y="43"/>
                  </a:lnTo>
                  <a:lnTo>
                    <a:pt x="171" y="43"/>
                  </a:lnTo>
                  <a:lnTo>
                    <a:pt x="171" y="46"/>
                  </a:lnTo>
                  <a:lnTo>
                    <a:pt x="168" y="46"/>
                  </a:lnTo>
                  <a:lnTo>
                    <a:pt x="168" y="46"/>
                  </a:lnTo>
                  <a:lnTo>
                    <a:pt x="168" y="48"/>
                  </a:lnTo>
                  <a:lnTo>
                    <a:pt x="165" y="48"/>
                  </a:lnTo>
                  <a:lnTo>
                    <a:pt x="165" y="48"/>
                  </a:lnTo>
                  <a:lnTo>
                    <a:pt x="163" y="48"/>
                  </a:lnTo>
                  <a:lnTo>
                    <a:pt x="163" y="48"/>
                  </a:lnTo>
                  <a:lnTo>
                    <a:pt x="163" y="51"/>
                  </a:lnTo>
                  <a:lnTo>
                    <a:pt x="160" y="51"/>
                  </a:lnTo>
                  <a:lnTo>
                    <a:pt x="160" y="53"/>
                  </a:lnTo>
                  <a:lnTo>
                    <a:pt x="158" y="53"/>
                  </a:lnTo>
                  <a:lnTo>
                    <a:pt x="155" y="51"/>
                  </a:lnTo>
                  <a:lnTo>
                    <a:pt x="155" y="51"/>
                  </a:lnTo>
                  <a:lnTo>
                    <a:pt x="155" y="51"/>
                  </a:lnTo>
                  <a:lnTo>
                    <a:pt x="153" y="48"/>
                  </a:lnTo>
                  <a:lnTo>
                    <a:pt x="148" y="48"/>
                  </a:lnTo>
                  <a:lnTo>
                    <a:pt x="148" y="48"/>
                  </a:lnTo>
                  <a:lnTo>
                    <a:pt x="145" y="48"/>
                  </a:lnTo>
                  <a:lnTo>
                    <a:pt x="145" y="48"/>
                  </a:lnTo>
                  <a:lnTo>
                    <a:pt x="143" y="48"/>
                  </a:lnTo>
                  <a:lnTo>
                    <a:pt x="143" y="48"/>
                  </a:lnTo>
                  <a:lnTo>
                    <a:pt x="143" y="48"/>
                  </a:lnTo>
                  <a:lnTo>
                    <a:pt x="140" y="48"/>
                  </a:lnTo>
                  <a:lnTo>
                    <a:pt x="137" y="48"/>
                  </a:lnTo>
                  <a:lnTo>
                    <a:pt x="137" y="46"/>
                  </a:lnTo>
                  <a:lnTo>
                    <a:pt x="135" y="46"/>
                  </a:lnTo>
                  <a:lnTo>
                    <a:pt x="135" y="46"/>
                  </a:lnTo>
                  <a:lnTo>
                    <a:pt x="135" y="48"/>
                  </a:lnTo>
                  <a:lnTo>
                    <a:pt x="132" y="48"/>
                  </a:lnTo>
                  <a:lnTo>
                    <a:pt x="132" y="46"/>
                  </a:lnTo>
                  <a:lnTo>
                    <a:pt x="132" y="46"/>
                  </a:lnTo>
                  <a:lnTo>
                    <a:pt x="130" y="46"/>
                  </a:lnTo>
                  <a:lnTo>
                    <a:pt x="130" y="48"/>
                  </a:lnTo>
                  <a:lnTo>
                    <a:pt x="127" y="48"/>
                  </a:lnTo>
                  <a:lnTo>
                    <a:pt x="127" y="48"/>
                  </a:lnTo>
                  <a:lnTo>
                    <a:pt x="125" y="48"/>
                  </a:lnTo>
                  <a:lnTo>
                    <a:pt x="125" y="48"/>
                  </a:lnTo>
                  <a:lnTo>
                    <a:pt x="122" y="48"/>
                  </a:lnTo>
                  <a:lnTo>
                    <a:pt x="120" y="48"/>
                  </a:lnTo>
                  <a:lnTo>
                    <a:pt x="120" y="48"/>
                  </a:lnTo>
                  <a:lnTo>
                    <a:pt x="117" y="48"/>
                  </a:lnTo>
                  <a:lnTo>
                    <a:pt x="117" y="46"/>
                  </a:lnTo>
                  <a:lnTo>
                    <a:pt x="115" y="46"/>
                  </a:lnTo>
                  <a:lnTo>
                    <a:pt x="112" y="46"/>
                  </a:lnTo>
                  <a:lnTo>
                    <a:pt x="112" y="46"/>
                  </a:lnTo>
                  <a:lnTo>
                    <a:pt x="112" y="46"/>
                  </a:lnTo>
                  <a:lnTo>
                    <a:pt x="109" y="46"/>
                  </a:lnTo>
                  <a:lnTo>
                    <a:pt x="109" y="46"/>
                  </a:lnTo>
                  <a:lnTo>
                    <a:pt x="107" y="43"/>
                  </a:lnTo>
                  <a:lnTo>
                    <a:pt x="104" y="43"/>
                  </a:lnTo>
                  <a:lnTo>
                    <a:pt x="104" y="43"/>
                  </a:lnTo>
                  <a:lnTo>
                    <a:pt x="104" y="41"/>
                  </a:lnTo>
                  <a:lnTo>
                    <a:pt x="102" y="41"/>
                  </a:lnTo>
                  <a:lnTo>
                    <a:pt x="102" y="38"/>
                  </a:lnTo>
                  <a:lnTo>
                    <a:pt x="99" y="35"/>
                  </a:lnTo>
                  <a:lnTo>
                    <a:pt x="97" y="35"/>
                  </a:lnTo>
                  <a:lnTo>
                    <a:pt x="94" y="33"/>
                  </a:lnTo>
                  <a:lnTo>
                    <a:pt x="94" y="33"/>
                  </a:lnTo>
                  <a:lnTo>
                    <a:pt x="89" y="33"/>
                  </a:lnTo>
                  <a:lnTo>
                    <a:pt x="86" y="33"/>
                  </a:lnTo>
                  <a:lnTo>
                    <a:pt x="86" y="33"/>
                  </a:lnTo>
                  <a:lnTo>
                    <a:pt x="84" y="33"/>
                  </a:lnTo>
                  <a:lnTo>
                    <a:pt x="81" y="33"/>
                  </a:lnTo>
                  <a:lnTo>
                    <a:pt x="81" y="33"/>
                  </a:lnTo>
                  <a:lnTo>
                    <a:pt x="79" y="33"/>
                  </a:lnTo>
                  <a:lnTo>
                    <a:pt x="76" y="33"/>
                  </a:lnTo>
                  <a:lnTo>
                    <a:pt x="76" y="33"/>
                  </a:lnTo>
                  <a:lnTo>
                    <a:pt x="74" y="30"/>
                  </a:lnTo>
                  <a:lnTo>
                    <a:pt x="74" y="30"/>
                  </a:lnTo>
                  <a:lnTo>
                    <a:pt x="74" y="30"/>
                  </a:lnTo>
                  <a:lnTo>
                    <a:pt x="71" y="30"/>
                  </a:lnTo>
                  <a:lnTo>
                    <a:pt x="71" y="30"/>
                  </a:lnTo>
                  <a:lnTo>
                    <a:pt x="71" y="30"/>
                  </a:lnTo>
                  <a:lnTo>
                    <a:pt x="69" y="30"/>
                  </a:lnTo>
                  <a:lnTo>
                    <a:pt x="69" y="30"/>
                  </a:lnTo>
                  <a:lnTo>
                    <a:pt x="66" y="30"/>
                  </a:lnTo>
                  <a:lnTo>
                    <a:pt x="66" y="30"/>
                  </a:lnTo>
                  <a:lnTo>
                    <a:pt x="64" y="28"/>
                  </a:lnTo>
                  <a:lnTo>
                    <a:pt x="61" y="28"/>
                  </a:lnTo>
                  <a:lnTo>
                    <a:pt x="61" y="28"/>
                  </a:lnTo>
                  <a:lnTo>
                    <a:pt x="61" y="28"/>
                  </a:lnTo>
                  <a:lnTo>
                    <a:pt x="61" y="30"/>
                  </a:lnTo>
                  <a:lnTo>
                    <a:pt x="61" y="30"/>
                  </a:lnTo>
                  <a:lnTo>
                    <a:pt x="58" y="30"/>
                  </a:lnTo>
                  <a:lnTo>
                    <a:pt x="56" y="30"/>
                  </a:lnTo>
                  <a:lnTo>
                    <a:pt x="53" y="30"/>
                  </a:lnTo>
                  <a:lnTo>
                    <a:pt x="53" y="33"/>
                  </a:lnTo>
                  <a:lnTo>
                    <a:pt x="51" y="33"/>
                  </a:lnTo>
                  <a:lnTo>
                    <a:pt x="51" y="33"/>
                  </a:lnTo>
                  <a:lnTo>
                    <a:pt x="51" y="33"/>
                  </a:lnTo>
                  <a:lnTo>
                    <a:pt x="48" y="35"/>
                  </a:lnTo>
                  <a:lnTo>
                    <a:pt x="48" y="35"/>
                  </a:lnTo>
                  <a:lnTo>
                    <a:pt x="48" y="35"/>
                  </a:lnTo>
                  <a:lnTo>
                    <a:pt x="48" y="35"/>
                  </a:lnTo>
                  <a:lnTo>
                    <a:pt x="46" y="35"/>
                  </a:lnTo>
                  <a:lnTo>
                    <a:pt x="43" y="38"/>
                  </a:lnTo>
                  <a:lnTo>
                    <a:pt x="43" y="38"/>
                  </a:lnTo>
                  <a:lnTo>
                    <a:pt x="41" y="38"/>
                  </a:lnTo>
                  <a:lnTo>
                    <a:pt x="41" y="41"/>
                  </a:lnTo>
                  <a:lnTo>
                    <a:pt x="41" y="41"/>
                  </a:lnTo>
                  <a:lnTo>
                    <a:pt x="41" y="41"/>
                  </a:lnTo>
                  <a:lnTo>
                    <a:pt x="38" y="41"/>
                  </a:lnTo>
                  <a:lnTo>
                    <a:pt x="36" y="41"/>
                  </a:lnTo>
                  <a:lnTo>
                    <a:pt x="33" y="43"/>
                  </a:lnTo>
                  <a:lnTo>
                    <a:pt x="33" y="43"/>
                  </a:lnTo>
                  <a:lnTo>
                    <a:pt x="33" y="43"/>
                  </a:lnTo>
                  <a:lnTo>
                    <a:pt x="30" y="43"/>
                  </a:lnTo>
                  <a:lnTo>
                    <a:pt x="30" y="46"/>
                  </a:lnTo>
                  <a:lnTo>
                    <a:pt x="28" y="46"/>
                  </a:lnTo>
                  <a:lnTo>
                    <a:pt x="30" y="46"/>
                  </a:lnTo>
                  <a:lnTo>
                    <a:pt x="28" y="48"/>
                  </a:lnTo>
                  <a:lnTo>
                    <a:pt x="25" y="48"/>
                  </a:lnTo>
                  <a:lnTo>
                    <a:pt x="25" y="48"/>
                  </a:lnTo>
                  <a:lnTo>
                    <a:pt x="25" y="51"/>
                  </a:lnTo>
                  <a:lnTo>
                    <a:pt x="25" y="53"/>
                  </a:lnTo>
                  <a:lnTo>
                    <a:pt x="25" y="53"/>
                  </a:lnTo>
                  <a:lnTo>
                    <a:pt x="25" y="53"/>
                  </a:lnTo>
                  <a:lnTo>
                    <a:pt x="23" y="53"/>
                  </a:lnTo>
                  <a:lnTo>
                    <a:pt x="23" y="56"/>
                  </a:lnTo>
                  <a:lnTo>
                    <a:pt x="20" y="56"/>
                  </a:lnTo>
                  <a:lnTo>
                    <a:pt x="20" y="56"/>
                  </a:lnTo>
                  <a:lnTo>
                    <a:pt x="20" y="56"/>
                  </a:lnTo>
                  <a:lnTo>
                    <a:pt x="20" y="56"/>
                  </a:lnTo>
                  <a:lnTo>
                    <a:pt x="18" y="58"/>
                  </a:lnTo>
                  <a:lnTo>
                    <a:pt x="18" y="58"/>
                  </a:lnTo>
                  <a:lnTo>
                    <a:pt x="15" y="58"/>
                  </a:lnTo>
                  <a:lnTo>
                    <a:pt x="15" y="58"/>
                  </a:lnTo>
                  <a:lnTo>
                    <a:pt x="15" y="56"/>
                  </a:lnTo>
                  <a:lnTo>
                    <a:pt x="15" y="56"/>
                  </a:lnTo>
                  <a:lnTo>
                    <a:pt x="15" y="58"/>
                  </a:lnTo>
                  <a:lnTo>
                    <a:pt x="15" y="58"/>
                  </a:lnTo>
                  <a:lnTo>
                    <a:pt x="13" y="58"/>
                  </a:lnTo>
                  <a:lnTo>
                    <a:pt x="13" y="58"/>
                  </a:lnTo>
                  <a:lnTo>
                    <a:pt x="10" y="58"/>
                  </a:lnTo>
                  <a:lnTo>
                    <a:pt x="10" y="58"/>
                  </a:lnTo>
                  <a:lnTo>
                    <a:pt x="7" y="58"/>
                  </a:lnTo>
                  <a:lnTo>
                    <a:pt x="7" y="58"/>
                  </a:lnTo>
                  <a:lnTo>
                    <a:pt x="5" y="58"/>
                  </a:lnTo>
                  <a:lnTo>
                    <a:pt x="2" y="58"/>
                  </a:lnTo>
                  <a:lnTo>
                    <a:pt x="2" y="61"/>
                  </a:lnTo>
                  <a:lnTo>
                    <a:pt x="2" y="61"/>
                  </a:lnTo>
                  <a:lnTo>
                    <a:pt x="2" y="63"/>
                  </a:lnTo>
                  <a:lnTo>
                    <a:pt x="2" y="63"/>
                  </a:lnTo>
                  <a:lnTo>
                    <a:pt x="2" y="63"/>
                  </a:lnTo>
                  <a:lnTo>
                    <a:pt x="2" y="66"/>
                  </a:lnTo>
                  <a:lnTo>
                    <a:pt x="0" y="66"/>
                  </a:lnTo>
                  <a:lnTo>
                    <a:pt x="0" y="66"/>
                  </a:lnTo>
                  <a:lnTo>
                    <a:pt x="0" y="66"/>
                  </a:lnTo>
                  <a:lnTo>
                    <a:pt x="0" y="66"/>
                  </a:lnTo>
                  <a:lnTo>
                    <a:pt x="0" y="69"/>
                  </a:lnTo>
                  <a:lnTo>
                    <a:pt x="2" y="69"/>
                  </a:lnTo>
                  <a:lnTo>
                    <a:pt x="2" y="69"/>
                  </a:lnTo>
                  <a:lnTo>
                    <a:pt x="0" y="71"/>
                  </a:lnTo>
                  <a:lnTo>
                    <a:pt x="0" y="71"/>
                  </a:lnTo>
                  <a:lnTo>
                    <a:pt x="0" y="71"/>
                  </a:lnTo>
                  <a:lnTo>
                    <a:pt x="2" y="71"/>
                  </a:lnTo>
                  <a:lnTo>
                    <a:pt x="2" y="74"/>
                  </a:lnTo>
                  <a:lnTo>
                    <a:pt x="5" y="74"/>
                  </a:lnTo>
                  <a:lnTo>
                    <a:pt x="7" y="74"/>
                  </a:lnTo>
                  <a:lnTo>
                    <a:pt x="7" y="76"/>
                  </a:lnTo>
                  <a:lnTo>
                    <a:pt x="7" y="76"/>
                  </a:lnTo>
                  <a:lnTo>
                    <a:pt x="7" y="76"/>
                  </a:lnTo>
                  <a:lnTo>
                    <a:pt x="7" y="76"/>
                  </a:lnTo>
                  <a:lnTo>
                    <a:pt x="7" y="79"/>
                  </a:lnTo>
                  <a:lnTo>
                    <a:pt x="7" y="79"/>
                  </a:lnTo>
                  <a:lnTo>
                    <a:pt x="10" y="79"/>
                  </a:lnTo>
                  <a:lnTo>
                    <a:pt x="10" y="79"/>
                  </a:lnTo>
                  <a:lnTo>
                    <a:pt x="15" y="81"/>
                  </a:lnTo>
                  <a:lnTo>
                    <a:pt x="18" y="81"/>
                  </a:lnTo>
                  <a:lnTo>
                    <a:pt x="18" y="81"/>
                  </a:lnTo>
                  <a:lnTo>
                    <a:pt x="20" y="84"/>
                  </a:lnTo>
                  <a:lnTo>
                    <a:pt x="20" y="86"/>
                  </a:lnTo>
                  <a:lnTo>
                    <a:pt x="23" y="86"/>
                  </a:lnTo>
                  <a:lnTo>
                    <a:pt x="28" y="89"/>
                  </a:lnTo>
                  <a:lnTo>
                    <a:pt x="28" y="89"/>
                  </a:lnTo>
                  <a:lnTo>
                    <a:pt x="30" y="89"/>
                  </a:lnTo>
                  <a:lnTo>
                    <a:pt x="30" y="91"/>
                  </a:lnTo>
                  <a:lnTo>
                    <a:pt x="33" y="91"/>
                  </a:lnTo>
                  <a:lnTo>
                    <a:pt x="33" y="91"/>
                  </a:lnTo>
                  <a:lnTo>
                    <a:pt x="36" y="91"/>
                  </a:lnTo>
                  <a:lnTo>
                    <a:pt x="38" y="91"/>
                  </a:lnTo>
                  <a:lnTo>
                    <a:pt x="41" y="91"/>
                  </a:lnTo>
                  <a:lnTo>
                    <a:pt x="43" y="94"/>
                  </a:lnTo>
                  <a:lnTo>
                    <a:pt x="43" y="94"/>
                  </a:lnTo>
                  <a:lnTo>
                    <a:pt x="46" y="94"/>
                  </a:lnTo>
                  <a:lnTo>
                    <a:pt x="46" y="94"/>
                  </a:lnTo>
                  <a:lnTo>
                    <a:pt x="46" y="94"/>
                  </a:lnTo>
                  <a:lnTo>
                    <a:pt x="48" y="94"/>
                  </a:lnTo>
                  <a:lnTo>
                    <a:pt x="48" y="94"/>
                  </a:lnTo>
                  <a:lnTo>
                    <a:pt x="51" y="94"/>
                  </a:lnTo>
                  <a:lnTo>
                    <a:pt x="51" y="94"/>
                  </a:lnTo>
                  <a:lnTo>
                    <a:pt x="51" y="94"/>
                  </a:lnTo>
                  <a:lnTo>
                    <a:pt x="53" y="97"/>
                  </a:lnTo>
                  <a:lnTo>
                    <a:pt x="53" y="97"/>
                  </a:lnTo>
                  <a:lnTo>
                    <a:pt x="56" y="99"/>
                  </a:lnTo>
                  <a:lnTo>
                    <a:pt x="56" y="99"/>
                  </a:lnTo>
                  <a:lnTo>
                    <a:pt x="58" y="99"/>
                  </a:lnTo>
                  <a:lnTo>
                    <a:pt x="58" y="102"/>
                  </a:lnTo>
                  <a:lnTo>
                    <a:pt x="61" y="102"/>
                  </a:lnTo>
                  <a:lnTo>
                    <a:pt x="61" y="104"/>
                  </a:lnTo>
                  <a:lnTo>
                    <a:pt x="64" y="107"/>
                  </a:lnTo>
                  <a:lnTo>
                    <a:pt x="64" y="107"/>
                  </a:lnTo>
                  <a:lnTo>
                    <a:pt x="66" y="109"/>
                  </a:lnTo>
                  <a:lnTo>
                    <a:pt x="69" y="112"/>
                  </a:lnTo>
                  <a:lnTo>
                    <a:pt x="69" y="112"/>
                  </a:lnTo>
                  <a:lnTo>
                    <a:pt x="71" y="114"/>
                  </a:lnTo>
                  <a:lnTo>
                    <a:pt x="74" y="114"/>
                  </a:lnTo>
                  <a:lnTo>
                    <a:pt x="74" y="117"/>
                  </a:lnTo>
                  <a:lnTo>
                    <a:pt x="76" y="119"/>
                  </a:lnTo>
                  <a:lnTo>
                    <a:pt x="79" y="119"/>
                  </a:lnTo>
                  <a:lnTo>
                    <a:pt x="79" y="122"/>
                  </a:lnTo>
                  <a:lnTo>
                    <a:pt x="79" y="122"/>
                  </a:lnTo>
                  <a:lnTo>
                    <a:pt x="79" y="125"/>
                  </a:lnTo>
                  <a:lnTo>
                    <a:pt x="79" y="127"/>
                  </a:lnTo>
                  <a:lnTo>
                    <a:pt x="79" y="127"/>
                  </a:lnTo>
                  <a:lnTo>
                    <a:pt x="79" y="130"/>
                  </a:lnTo>
                  <a:lnTo>
                    <a:pt x="81" y="132"/>
                  </a:lnTo>
                  <a:lnTo>
                    <a:pt x="84" y="132"/>
                  </a:lnTo>
                  <a:lnTo>
                    <a:pt x="84" y="135"/>
                  </a:lnTo>
                  <a:lnTo>
                    <a:pt x="84" y="135"/>
                  </a:lnTo>
                  <a:lnTo>
                    <a:pt x="81" y="137"/>
                  </a:lnTo>
                  <a:lnTo>
                    <a:pt x="81" y="137"/>
                  </a:lnTo>
                  <a:lnTo>
                    <a:pt x="81" y="137"/>
                  </a:lnTo>
                  <a:lnTo>
                    <a:pt x="81" y="142"/>
                  </a:lnTo>
                  <a:lnTo>
                    <a:pt x="81" y="145"/>
                  </a:lnTo>
                  <a:lnTo>
                    <a:pt x="81" y="145"/>
                  </a:lnTo>
                  <a:lnTo>
                    <a:pt x="84" y="147"/>
                  </a:lnTo>
                  <a:lnTo>
                    <a:pt x="84" y="147"/>
                  </a:lnTo>
                  <a:lnTo>
                    <a:pt x="84" y="150"/>
                  </a:lnTo>
                  <a:lnTo>
                    <a:pt x="86" y="153"/>
                  </a:lnTo>
                  <a:lnTo>
                    <a:pt x="89" y="153"/>
                  </a:lnTo>
                  <a:lnTo>
                    <a:pt x="89" y="153"/>
                  </a:lnTo>
                  <a:lnTo>
                    <a:pt x="89" y="153"/>
                  </a:lnTo>
                  <a:lnTo>
                    <a:pt x="92" y="153"/>
                  </a:lnTo>
                  <a:lnTo>
                    <a:pt x="94" y="153"/>
                  </a:lnTo>
                  <a:lnTo>
                    <a:pt x="94" y="155"/>
                  </a:lnTo>
                  <a:lnTo>
                    <a:pt x="97" y="155"/>
                  </a:lnTo>
                  <a:lnTo>
                    <a:pt x="99" y="155"/>
                  </a:lnTo>
                  <a:lnTo>
                    <a:pt x="102" y="155"/>
                  </a:lnTo>
                  <a:lnTo>
                    <a:pt x="102" y="155"/>
                  </a:lnTo>
                  <a:lnTo>
                    <a:pt x="104" y="155"/>
                  </a:lnTo>
                  <a:lnTo>
                    <a:pt x="107" y="155"/>
                  </a:lnTo>
                  <a:lnTo>
                    <a:pt x="109" y="155"/>
                  </a:lnTo>
                  <a:lnTo>
                    <a:pt x="112" y="158"/>
                  </a:lnTo>
                  <a:lnTo>
                    <a:pt x="117" y="158"/>
                  </a:lnTo>
                  <a:lnTo>
                    <a:pt x="120" y="158"/>
                  </a:lnTo>
                  <a:lnTo>
                    <a:pt x="125" y="158"/>
                  </a:lnTo>
                  <a:lnTo>
                    <a:pt x="127" y="158"/>
                  </a:lnTo>
                  <a:lnTo>
                    <a:pt x="135" y="160"/>
                  </a:lnTo>
                  <a:lnTo>
                    <a:pt x="137" y="160"/>
                  </a:lnTo>
                  <a:lnTo>
                    <a:pt x="140" y="160"/>
                  </a:lnTo>
                  <a:lnTo>
                    <a:pt x="143" y="163"/>
                  </a:lnTo>
                  <a:lnTo>
                    <a:pt x="148" y="165"/>
                  </a:lnTo>
                  <a:lnTo>
                    <a:pt x="148" y="165"/>
                  </a:lnTo>
                  <a:lnTo>
                    <a:pt x="153" y="168"/>
                  </a:lnTo>
                  <a:lnTo>
                    <a:pt x="158" y="170"/>
                  </a:lnTo>
                  <a:lnTo>
                    <a:pt x="160" y="170"/>
                  </a:lnTo>
                  <a:lnTo>
                    <a:pt x="165" y="173"/>
                  </a:lnTo>
                  <a:lnTo>
                    <a:pt x="168" y="175"/>
                  </a:lnTo>
                  <a:lnTo>
                    <a:pt x="173" y="175"/>
                  </a:lnTo>
                  <a:lnTo>
                    <a:pt x="178" y="175"/>
                  </a:lnTo>
                  <a:lnTo>
                    <a:pt x="178" y="175"/>
                  </a:lnTo>
                  <a:lnTo>
                    <a:pt x="178" y="178"/>
                  </a:lnTo>
                  <a:lnTo>
                    <a:pt x="178" y="178"/>
                  </a:lnTo>
                  <a:lnTo>
                    <a:pt x="178" y="181"/>
                  </a:lnTo>
                  <a:lnTo>
                    <a:pt x="181" y="181"/>
                  </a:lnTo>
                  <a:lnTo>
                    <a:pt x="183" y="181"/>
                  </a:lnTo>
                  <a:lnTo>
                    <a:pt x="183" y="183"/>
                  </a:lnTo>
                  <a:lnTo>
                    <a:pt x="186" y="183"/>
                  </a:lnTo>
                  <a:lnTo>
                    <a:pt x="186" y="186"/>
                  </a:lnTo>
                  <a:lnTo>
                    <a:pt x="188" y="188"/>
                  </a:lnTo>
                  <a:lnTo>
                    <a:pt x="194" y="196"/>
                  </a:lnTo>
                  <a:lnTo>
                    <a:pt x="196" y="198"/>
                  </a:lnTo>
                  <a:lnTo>
                    <a:pt x="196" y="198"/>
                  </a:lnTo>
                  <a:lnTo>
                    <a:pt x="201" y="201"/>
                  </a:lnTo>
                  <a:lnTo>
                    <a:pt x="204" y="203"/>
                  </a:lnTo>
                  <a:lnTo>
                    <a:pt x="206" y="206"/>
                  </a:lnTo>
                  <a:lnTo>
                    <a:pt x="209" y="206"/>
                  </a:lnTo>
                  <a:lnTo>
                    <a:pt x="209" y="209"/>
                  </a:lnTo>
                  <a:lnTo>
                    <a:pt x="209" y="209"/>
                  </a:lnTo>
                  <a:lnTo>
                    <a:pt x="214" y="209"/>
                  </a:lnTo>
                  <a:lnTo>
                    <a:pt x="219" y="209"/>
                  </a:lnTo>
                  <a:lnTo>
                    <a:pt x="224" y="209"/>
                  </a:lnTo>
                  <a:lnTo>
                    <a:pt x="234" y="209"/>
                  </a:lnTo>
                  <a:lnTo>
                    <a:pt x="244" y="211"/>
                  </a:lnTo>
                  <a:lnTo>
                    <a:pt x="252" y="211"/>
                  </a:lnTo>
                  <a:lnTo>
                    <a:pt x="257" y="211"/>
                  </a:lnTo>
                  <a:lnTo>
                    <a:pt x="267" y="214"/>
                  </a:lnTo>
                  <a:lnTo>
                    <a:pt x="273" y="211"/>
                  </a:lnTo>
                  <a:lnTo>
                    <a:pt x="275" y="211"/>
                  </a:lnTo>
                  <a:lnTo>
                    <a:pt x="278" y="211"/>
                  </a:lnTo>
                  <a:lnTo>
                    <a:pt x="285" y="211"/>
                  </a:lnTo>
                  <a:lnTo>
                    <a:pt x="290" y="211"/>
                  </a:lnTo>
                  <a:lnTo>
                    <a:pt x="298" y="214"/>
                  </a:lnTo>
                  <a:lnTo>
                    <a:pt x="301" y="214"/>
                  </a:lnTo>
                  <a:lnTo>
                    <a:pt x="306" y="214"/>
                  </a:lnTo>
                  <a:lnTo>
                    <a:pt x="306" y="214"/>
                  </a:lnTo>
                  <a:lnTo>
                    <a:pt x="308" y="214"/>
                  </a:lnTo>
                  <a:lnTo>
                    <a:pt x="311" y="214"/>
                  </a:lnTo>
                  <a:lnTo>
                    <a:pt x="313" y="219"/>
                  </a:lnTo>
                  <a:lnTo>
                    <a:pt x="316" y="221"/>
                  </a:lnTo>
                  <a:lnTo>
                    <a:pt x="321" y="221"/>
                  </a:lnTo>
                  <a:lnTo>
                    <a:pt x="329" y="224"/>
                  </a:lnTo>
                  <a:lnTo>
                    <a:pt x="334" y="224"/>
                  </a:lnTo>
                  <a:lnTo>
                    <a:pt x="339" y="224"/>
                  </a:lnTo>
                  <a:lnTo>
                    <a:pt x="344" y="226"/>
                  </a:lnTo>
                  <a:lnTo>
                    <a:pt x="346" y="229"/>
                  </a:lnTo>
                  <a:lnTo>
                    <a:pt x="354" y="231"/>
                  </a:lnTo>
                  <a:lnTo>
                    <a:pt x="357" y="229"/>
                  </a:lnTo>
                  <a:lnTo>
                    <a:pt x="362" y="229"/>
                  </a:lnTo>
                  <a:lnTo>
                    <a:pt x="367" y="229"/>
                  </a:lnTo>
                  <a:lnTo>
                    <a:pt x="369" y="231"/>
                  </a:lnTo>
                  <a:lnTo>
                    <a:pt x="374" y="234"/>
                  </a:lnTo>
                  <a:lnTo>
                    <a:pt x="374" y="234"/>
                  </a:lnTo>
                  <a:lnTo>
                    <a:pt x="377" y="234"/>
                  </a:lnTo>
                  <a:lnTo>
                    <a:pt x="380" y="234"/>
                  </a:lnTo>
                  <a:lnTo>
                    <a:pt x="380" y="231"/>
                  </a:lnTo>
                  <a:lnTo>
                    <a:pt x="380" y="231"/>
                  </a:lnTo>
                  <a:lnTo>
                    <a:pt x="382" y="231"/>
                  </a:lnTo>
                  <a:lnTo>
                    <a:pt x="385" y="229"/>
                  </a:lnTo>
                  <a:lnTo>
                    <a:pt x="385" y="229"/>
                  </a:lnTo>
                  <a:lnTo>
                    <a:pt x="390" y="226"/>
                  </a:lnTo>
                  <a:lnTo>
                    <a:pt x="397" y="221"/>
                  </a:lnTo>
                  <a:lnTo>
                    <a:pt x="400" y="221"/>
                  </a:lnTo>
                  <a:lnTo>
                    <a:pt x="400" y="221"/>
                  </a:lnTo>
                  <a:lnTo>
                    <a:pt x="403" y="219"/>
                  </a:lnTo>
                  <a:lnTo>
                    <a:pt x="405" y="219"/>
                  </a:lnTo>
                  <a:lnTo>
                    <a:pt x="405" y="219"/>
                  </a:lnTo>
                  <a:lnTo>
                    <a:pt x="410" y="219"/>
                  </a:lnTo>
                  <a:lnTo>
                    <a:pt x="413" y="219"/>
                  </a:lnTo>
                  <a:lnTo>
                    <a:pt x="420" y="216"/>
                  </a:lnTo>
                  <a:lnTo>
                    <a:pt x="423" y="216"/>
                  </a:lnTo>
                  <a:lnTo>
                    <a:pt x="425" y="216"/>
                  </a:lnTo>
                  <a:lnTo>
                    <a:pt x="428" y="216"/>
                  </a:lnTo>
                  <a:lnTo>
                    <a:pt x="431" y="216"/>
                  </a:lnTo>
                  <a:lnTo>
                    <a:pt x="436" y="216"/>
                  </a:lnTo>
                  <a:lnTo>
                    <a:pt x="438" y="216"/>
                  </a:lnTo>
                  <a:lnTo>
                    <a:pt x="441" y="216"/>
                  </a:lnTo>
                  <a:lnTo>
                    <a:pt x="446" y="216"/>
                  </a:lnTo>
                  <a:lnTo>
                    <a:pt x="448" y="216"/>
                  </a:lnTo>
                  <a:lnTo>
                    <a:pt x="451" y="216"/>
                  </a:lnTo>
                  <a:lnTo>
                    <a:pt x="453" y="214"/>
                  </a:lnTo>
                  <a:lnTo>
                    <a:pt x="456" y="214"/>
                  </a:lnTo>
                  <a:lnTo>
                    <a:pt x="456" y="211"/>
                  </a:lnTo>
                  <a:lnTo>
                    <a:pt x="461" y="211"/>
                  </a:lnTo>
                  <a:lnTo>
                    <a:pt x="461" y="209"/>
                  </a:lnTo>
                  <a:lnTo>
                    <a:pt x="464" y="209"/>
                  </a:lnTo>
                  <a:lnTo>
                    <a:pt x="466" y="209"/>
                  </a:lnTo>
                  <a:lnTo>
                    <a:pt x="466" y="206"/>
                  </a:lnTo>
                  <a:lnTo>
                    <a:pt x="466" y="206"/>
                  </a:lnTo>
                  <a:lnTo>
                    <a:pt x="466" y="206"/>
                  </a:lnTo>
                  <a:lnTo>
                    <a:pt x="466" y="203"/>
                  </a:lnTo>
                  <a:lnTo>
                    <a:pt x="469" y="201"/>
                  </a:lnTo>
                  <a:lnTo>
                    <a:pt x="469" y="201"/>
                  </a:lnTo>
                  <a:lnTo>
                    <a:pt x="469" y="198"/>
                  </a:lnTo>
                  <a:lnTo>
                    <a:pt x="469" y="198"/>
                  </a:lnTo>
                  <a:lnTo>
                    <a:pt x="471" y="196"/>
                  </a:lnTo>
                  <a:lnTo>
                    <a:pt x="471" y="196"/>
                  </a:lnTo>
                  <a:lnTo>
                    <a:pt x="474" y="196"/>
                  </a:lnTo>
                  <a:lnTo>
                    <a:pt x="476" y="193"/>
                  </a:lnTo>
                  <a:lnTo>
                    <a:pt x="479" y="193"/>
                  </a:lnTo>
                  <a:lnTo>
                    <a:pt x="479" y="193"/>
                  </a:lnTo>
                  <a:lnTo>
                    <a:pt x="479" y="191"/>
                  </a:lnTo>
                  <a:lnTo>
                    <a:pt x="482" y="191"/>
                  </a:lnTo>
                  <a:lnTo>
                    <a:pt x="482" y="188"/>
                  </a:lnTo>
                  <a:lnTo>
                    <a:pt x="484" y="188"/>
                  </a:lnTo>
                  <a:lnTo>
                    <a:pt x="484" y="188"/>
                  </a:lnTo>
                  <a:lnTo>
                    <a:pt x="484" y="186"/>
                  </a:lnTo>
                  <a:lnTo>
                    <a:pt x="482" y="186"/>
                  </a:lnTo>
                  <a:lnTo>
                    <a:pt x="482" y="183"/>
                  </a:lnTo>
                  <a:lnTo>
                    <a:pt x="479" y="183"/>
                  </a:lnTo>
                  <a:lnTo>
                    <a:pt x="476" y="181"/>
                  </a:lnTo>
                  <a:lnTo>
                    <a:pt x="474" y="178"/>
                  </a:lnTo>
                  <a:lnTo>
                    <a:pt x="471" y="178"/>
                  </a:lnTo>
                  <a:lnTo>
                    <a:pt x="469" y="175"/>
                  </a:lnTo>
                  <a:lnTo>
                    <a:pt x="469" y="173"/>
                  </a:lnTo>
                  <a:lnTo>
                    <a:pt x="466" y="173"/>
                  </a:lnTo>
                  <a:lnTo>
                    <a:pt x="466" y="173"/>
                  </a:lnTo>
                  <a:lnTo>
                    <a:pt x="466" y="170"/>
                  </a:lnTo>
                  <a:lnTo>
                    <a:pt x="466" y="168"/>
                  </a:lnTo>
                  <a:lnTo>
                    <a:pt x="466" y="165"/>
                  </a:lnTo>
                  <a:lnTo>
                    <a:pt x="466" y="163"/>
                  </a:lnTo>
                  <a:lnTo>
                    <a:pt x="466" y="160"/>
                  </a:lnTo>
                  <a:lnTo>
                    <a:pt x="466" y="160"/>
                  </a:lnTo>
                  <a:lnTo>
                    <a:pt x="469" y="155"/>
                  </a:lnTo>
                  <a:lnTo>
                    <a:pt x="471" y="155"/>
                  </a:lnTo>
                  <a:lnTo>
                    <a:pt x="471" y="155"/>
                  </a:lnTo>
                  <a:lnTo>
                    <a:pt x="476" y="155"/>
                  </a:lnTo>
                  <a:lnTo>
                    <a:pt x="476" y="155"/>
                  </a:lnTo>
                  <a:lnTo>
                    <a:pt x="479" y="158"/>
                  </a:lnTo>
                  <a:lnTo>
                    <a:pt x="482" y="160"/>
                  </a:lnTo>
                  <a:lnTo>
                    <a:pt x="484" y="163"/>
                  </a:lnTo>
                  <a:lnTo>
                    <a:pt x="492" y="163"/>
                  </a:lnTo>
                  <a:lnTo>
                    <a:pt x="494" y="163"/>
                  </a:lnTo>
                  <a:lnTo>
                    <a:pt x="497" y="163"/>
                  </a:lnTo>
                  <a:lnTo>
                    <a:pt x="499" y="165"/>
                  </a:lnTo>
                  <a:lnTo>
                    <a:pt x="499" y="165"/>
                  </a:lnTo>
                  <a:lnTo>
                    <a:pt x="502" y="165"/>
                  </a:lnTo>
                  <a:lnTo>
                    <a:pt x="504" y="165"/>
                  </a:lnTo>
                  <a:lnTo>
                    <a:pt x="504" y="163"/>
                  </a:lnTo>
                  <a:lnTo>
                    <a:pt x="507" y="163"/>
                  </a:lnTo>
                  <a:lnTo>
                    <a:pt x="507" y="160"/>
                  </a:lnTo>
                  <a:lnTo>
                    <a:pt x="507" y="160"/>
                  </a:lnTo>
                  <a:lnTo>
                    <a:pt x="510" y="160"/>
                  </a:lnTo>
                  <a:lnTo>
                    <a:pt x="510" y="155"/>
                  </a:lnTo>
                  <a:lnTo>
                    <a:pt x="510" y="155"/>
                  </a:lnTo>
                  <a:lnTo>
                    <a:pt x="512" y="153"/>
                  </a:lnTo>
                  <a:lnTo>
                    <a:pt x="512" y="153"/>
                  </a:lnTo>
                  <a:lnTo>
                    <a:pt x="512" y="150"/>
                  </a:lnTo>
                  <a:lnTo>
                    <a:pt x="512" y="150"/>
                  </a:lnTo>
                  <a:lnTo>
                    <a:pt x="512" y="150"/>
                  </a:lnTo>
                  <a:lnTo>
                    <a:pt x="515" y="147"/>
                  </a:lnTo>
                  <a:lnTo>
                    <a:pt x="515" y="147"/>
                  </a:lnTo>
                  <a:lnTo>
                    <a:pt x="520" y="150"/>
                  </a:lnTo>
                  <a:lnTo>
                    <a:pt x="522" y="150"/>
                  </a:lnTo>
                  <a:lnTo>
                    <a:pt x="525" y="147"/>
                  </a:lnTo>
                  <a:lnTo>
                    <a:pt x="527" y="147"/>
                  </a:lnTo>
                  <a:lnTo>
                    <a:pt x="530" y="147"/>
                  </a:lnTo>
                  <a:lnTo>
                    <a:pt x="532" y="147"/>
                  </a:lnTo>
                  <a:lnTo>
                    <a:pt x="532" y="145"/>
                  </a:lnTo>
                  <a:lnTo>
                    <a:pt x="535" y="142"/>
                  </a:lnTo>
                  <a:lnTo>
                    <a:pt x="535" y="142"/>
                  </a:lnTo>
                  <a:lnTo>
                    <a:pt x="538" y="142"/>
                  </a:lnTo>
                  <a:lnTo>
                    <a:pt x="538" y="140"/>
                  </a:lnTo>
                  <a:lnTo>
                    <a:pt x="538" y="140"/>
                  </a:lnTo>
                  <a:lnTo>
                    <a:pt x="538" y="140"/>
                  </a:lnTo>
                  <a:lnTo>
                    <a:pt x="538" y="137"/>
                  </a:lnTo>
                  <a:lnTo>
                    <a:pt x="538" y="137"/>
                  </a:lnTo>
                  <a:lnTo>
                    <a:pt x="538" y="132"/>
                  </a:lnTo>
                  <a:lnTo>
                    <a:pt x="538" y="132"/>
                  </a:lnTo>
                  <a:lnTo>
                    <a:pt x="538" y="130"/>
                  </a:lnTo>
                  <a:lnTo>
                    <a:pt x="538" y="130"/>
                  </a:lnTo>
                  <a:lnTo>
                    <a:pt x="540" y="127"/>
                  </a:lnTo>
                  <a:lnTo>
                    <a:pt x="540" y="127"/>
                  </a:lnTo>
                  <a:lnTo>
                    <a:pt x="540" y="127"/>
                  </a:lnTo>
                  <a:lnTo>
                    <a:pt x="543" y="127"/>
                  </a:lnTo>
                  <a:lnTo>
                    <a:pt x="545" y="127"/>
                  </a:lnTo>
                  <a:lnTo>
                    <a:pt x="548" y="127"/>
                  </a:lnTo>
                  <a:lnTo>
                    <a:pt x="550" y="127"/>
                  </a:lnTo>
                  <a:lnTo>
                    <a:pt x="550" y="127"/>
                  </a:lnTo>
                  <a:lnTo>
                    <a:pt x="550" y="127"/>
                  </a:lnTo>
                  <a:lnTo>
                    <a:pt x="550" y="125"/>
                  </a:lnTo>
                  <a:lnTo>
                    <a:pt x="550" y="125"/>
                  </a:lnTo>
                  <a:lnTo>
                    <a:pt x="550" y="122"/>
                  </a:lnTo>
                  <a:lnTo>
                    <a:pt x="550" y="122"/>
                  </a:lnTo>
                  <a:lnTo>
                    <a:pt x="553" y="122"/>
                  </a:lnTo>
                  <a:lnTo>
                    <a:pt x="553" y="122"/>
                  </a:lnTo>
                  <a:lnTo>
                    <a:pt x="555" y="125"/>
                  </a:lnTo>
                  <a:lnTo>
                    <a:pt x="555" y="125"/>
                  </a:lnTo>
                  <a:lnTo>
                    <a:pt x="558" y="125"/>
                  </a:lnTo>
                  <a:lnTo>
                    <a:pt x="558" y="122"/>
                  </a:lnTo>
                  <a:lnTo>
                    <a:pt x="561" y="119"/>
                  </a:lnTo>
                  <a:lnTo>
                    <a:pt x="563" y="119"/>
                  </a:lnTo>
                  <a:lnTo>
                    <a:pt x="566" y="119"/>
                  </a:lnTo>
                  <a:lnTo>
                    <a:pt x="566" y="119"/>
                  </a:lnTo>
                  <a:lnTo>
                    <a:pt x="571" y="119"/>
                  </a:lnTo>
                  <a:lnTo>
                    <a:pt x="571" y="119"/>
                  </a:lnTo>
                  <a:lnTo>
                    <a:pt x="573" y="119"/>
                  </a:lnTo>
                  <a:lnTo>
                    <a:pt x="573" y="119"/>
                  </a:lnTo>
                  <a:lnTo>
                    <a:pt x="573" y="119"/>
                  </a:lnTo>
                  <a:lnTo>
                    <a:pt x="576" y="119"/>
                  </a:lnTo>
                  <a:lnTo>
                    <a:pt x="578" y="119"/>
                  </a:lnTo>
                  <a:lnTo>
                    <a:pt x="581" y="122"/>
                  </a:lnTo>
                  <a:lnTo>
                    <a:pt x="583" y="122"/>
                  </a:lnTo>
                  <a:lnTo>
                    <a:pt x="586" y="122"/>
                  </a:lnTo>
                  <a:lnTo>
                    <a:pt x="589" y="122"/>
                  </a:lnTo>
                  <a:lnTo>
                    <a:pt x="591" y="122"/>
                  </a:lnTo>
                  <a:lnTo>
                    <a:pt x="591" y="122"/>
                  </a:lnTo>
                  <a:lnTo>
                    <a:pt x="594" y="119"/>
                  </a:lnTo>
                  <a:lnTo>
                    <a:pt x="594" y="119"/>
                  </a:lnTo>
                  <a:close/>
                </a:path>
              </a:pathLst>
            </a:custGeom>
            <a:solidFill>
              <a:schemeClr val="bg2">
                <a:lumMod val="60000"/>
                <a:lumOff val="40000"/>
              </a:schemeClr>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253" name="Freeform 1872">
              <a:extLst>
                <a:ext uri="{FF2B5EF4-FFF2-40B4-BE49-F238E27FC236}">
                  <a16:creationId xmlns:a16="http://schemas.microsoft.com/office/drawing/2014/main" id="{D7D0A185-A0D1-C940-AC0B-0330CAC478DF}"/>
                </a:ext>
              </a:extLst>
            </p:cNvPr>
            <p:cNvSpPr>
              <a:spLocks/>
            </p:cNvSpPr>
            <p:nvPr/>
          </p:nvSpPr>
          <p:spPr bwMode="auto">
            <a:xfrm>
              <a:off x="5862139" y="2178479"/>
              <a:ext cx="0" cy="3271"/>
            </a:xfrm>
            <a:custGeom>
              <a:avLst/>
              <a:gdLst>
                <a:gd name="T0" fmla="*/ 0 h 2"/>
                <a:gd name="T1" fmla="*/ 0 h 2"/>
                <a:gd name="T2" fmla="*/ 0 h 2"/>
                <a:gd name="T3" fmla="*/ 0 h 2"/>
                <a:gd name="T4" fmla="*/ 2 h 2"/>
                <a:gd name="T5" fmla="*/ 0 h 2"/>
                <a:gd name="T6" fmla="*/ 0 h 2"/>
              </a:gdLst>
              <a:ahLst/>
              <a:cxnLst>
                <a:cxn ang="0">
                  <a:pos x="0" y="T0"/>
                </a:cxn>
                <a:cxn ang="0">
                  <a:pos x="0" y="T1"/>
                </a:cxn>
                <a:cxn ang="0">
                  <a:pos x="0" y="T2"/>
                </a:cxn>
                <a:cxn ang="0">
                  <a:pos x="0" y="T3"/>
                </a:cxn>
                <a:cxn ang="0">
                  <a:pos x="0" y="T4"/>
                </a:cxn>
                <a:cxn ang="0">
                  <a:pos x="0" y="T5"/>
                </a:cxn>
                <a:cxn ang="0">
                  <a:pos x="0" y="T6"/>
                </a:cxn>
              </a:cxnLst>
              <a:rect l="0" t="0" r="r" b="b"/>
              <a:pathLst>
                <a:path h="2">
                  <a:moveTo>
                    <a:pt x="0" y="0"/>
                  </a:moveTo>
                  <a:lnTo>
                    <a:pt x="0" y="0"/>
                  </a:lnTo>
                  <a:lnTo>
                    <a:pt x="0" y="0"/>
                  </a:lnTo>
                  <a:lnTo>
                    <a:pt x="0" y="0"/>
                  </a:lnTo>
                  <a:lnTo>
                    <a:pt x="0" y="2"/>
                  </a:lnTo>
                  <a:lnTo>
                    <a:pt x="0" y="0"/>
                  </a:lnTo>
                  <a:lnTo>
                    <a:pt x="0"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254" name="Freeform 1873">
              <a:extLst>
                <a:ext uri="{FF2B5EF4-FFF2-40B4-BE49-F238E27FC236}">
                  <a16:creationId xmlns:a16="http://schemas.microsoft.com/office/drawing/2014/main" id="{28E4CDD2-DB9B-9049-B540-CEDC47D28EBA}"/>
                </a:ext>
              </a:extLst>
            </p:cNvPr>
            <p:cNvSpPr>
              <a:spLocks/>
            </p:cNvSpPr>
            <p:nvPr/>
          </p:nvSpPr>
          <p:spPr bwMode="auto">
            <a:xfrm>
              <a:off x="6421561" y="2006726"/>
              <a:ext cx="107959" cy="107959"/>
            </a:xfrm>
            <a:custGeom>
              <a:avLst/>
              <a:gdLst>
                <a:gd name="T0" fmla="*/ 61 w 66"/>
                <a:gd name="T1" fmla="*/ 38 h 66"/>
                <a:gd name="T2" fmla="*/ 59 w 66"/>
                <a:gd name="T3" fmla="*/ 36 h 66"/>
                <a:gd name="T4" fmla="*/ 53 w 66"/>
                <a:gd name="T5" fmla="*/ 33 h 66"/>
                <a:gd name="T6" fmla="*/ 53 w 66"/>
                <a:gd name="T7" fmla="*/ 28 h 66"/>
                <a:gd name="T8" fmla="*/ 53 w 66"/>
                <a:gd name="T9" fmla="*/ 26 h 66"/>
                <a:gd name="T10" fmla="*/ 51 w 66"/>
                <a:gd name="T11" fmla="*/ 26 h 66"/>
                <a:gd name="T12" fmla="*/ 46 w 66"/>
                <a:gd name="T13" fmla="*/ 23 h 66"/>
                <a:gd name="T14" fmla="*/ 46 w 66"/>
                <a:gd name="T15" fmla="*/ 18 h 66"/>
                <a:gd name="T16" fmla="*/ 46 w 66"/>
                <a:gd name="T17" fmla="*/ 16 h 66"/>
                <a:gd name="T18" fmla="*/ 43 w 66"/>
                <a:gd name="T19" fmla="*/ 10 h 66"/>
                <a:gd name="T20" fmla="*/ 41 w 66"/>
                <a:gd name="T21" fmla="*/ 10 h 66"/>
                <a:gd name="T22" fmla="*/ 36 w 66"/>
                <a:gd name="T23" fmla="*/ 5 h 66"/>
                <a:gd name="T24" fmla="*/ 33 w 66"/>
                <a:gd name="T25" fmla="*/ 8 h 66"/>
                <a:gd name="T26" fmla="*/ 30 w 66"/>
                <a:gd name="T27" fmla="*/ 5 h 66"/>
                <a:gd name="T28" fmla="*/ 30 w 66"/>
                <a:gd name="T29" fmla="*/ 5 h 66"/>
                <a:gd name="T30" fmla="*/ 25 w 66"/>
                <a:gd name="T31" fmla="*/ 3 h 66"/>
                <a:gd name="T32" fmla="*/ 23 w 66"/>
                <a:gd name="T33" fmla="*/ 3 h 66"/>
                <a:gd name="T34" fmla="*/ 15 w 66"/>
                <a:gd name="T35" fmla="*/ 0 h 66"/>
                <a:gd name="T36" fmla="*/ 15 w 66"/>
                <a:gd name="T37" fmla="*/ 0 h 66"/>
                <a:gd name="T38" fmla="*/ 10 w 66"/>
                <a:gd name="T39" fmla="*/ 3 h 66"/>
                <a:gd name="T40" fmla="*/ 2 w 66"/>
                <a:gd name="T41" fmla="*/ 0 h 66"/>
                <a:gd name="T42" fmla="*/ 2 w 66"/>
                <a:gd name="T43" fmla="*/ 3 h 66"/>
                <a:gd name="T44" fmla="*/ 8 w 66"/>
                <a:gd name="T45" fmla="*/ 5 h 66"/>
                <a:gd name="T46" fmla="*/ 10 w 66"/>
                <a:gd name="T47" fmla="*/ 10 h 66"/>
                <a:gd name="T48" fmla="*/ 13 w 66"/>
                <a:gd name="T49" fmla="*/ 16 h 66"/>
                <a:gd name="T50" fmla="*/ 15 w 66"/>
                <a:gd name="T51" fmla="*/ 21 h 66"/>
                <a:gd name="T52" fmla="*/ 20 w 66"/>
                <a:gd name="T53" fmla="*/ 26 h 66"/>
                <a:gd name="T54" fmla="*/ 23 w 66"/>
                <a:gd name="T55" fmla="*/ 28 h 66"/>
                <a:gd name="T56" fmla="*/ 30 w 66"/>
                <a:gd name="T57" fmla="*/ 36 h 66"/>
                <a:gd name="T58" fmla="*/ 30 w 66"/>
                <a:gd name="T59" fmla="*/ 44 h 66"/>
                <a:gd name="T60" fmla="*/ 30 w 66"/>
                <a:gd name="T61" fmla="*/ 51 h 66"/>
                <a:gd name="T62" fmla="*/ 30 w 66"/>
                <a:gd name="T63" fmla="*/ 59 h 66"/>
                <a:gd name="T64" fmla="*/ 33 w 66"/>
                <a:gd name="T65" fmla="*/ 61 h 66"/>
                <a:gd name="T66" fmla="*/ 30 w 66"/>
                <a:gd name="T67" fmla="*/ 64 h 66"/>
                <a:gd name="T68" fmla="*/ 33 w 66"/>
                <a:gd name="T69" fmla="*/ 66 h 66"/>
                <a:gd name="T70" fmla="*/ 38 w 66"/>
                <a:gd name="T71" fmla="*/ 66 h 66"/>
                <a:gd name="T72" fmla="*/ 38 w 66"/>
                <a:gd name="T73" fmla="*/ 64 h 66"/>
                <a:gd name="T74" fmla="*/ 38 w 66"/>
                <a:gd name="T75" fmla="*/ 61 h 66"/>
                <a:gd name="T76" fmla="*/ 41 w 66"/>
                <a:gd name="T77" fmla="*/ 56 h 66"/>
                <a:gd name="T78" fmla="*/ 46 w 66"/>
                <a:gd name="T79" fmla="*/ 51 h 66"/>
                <a:gd name="T80" fmla="*/ 43 w 66"/>
                <a:gd name="T81" fmla="*/ 46 h 66"/>
                <a:gd name="T82" fmla="*/ 46 w 66"/>
                <a:gd name="T83" fmla="*/ 44 h 66"/>
                <a:gd name="T84" fmla="*/ 48 w 66"/>
                <a:gd name="T85" fmla="*/ 44 h 66"/>
                <a:gd name="T86" fmla="*/ 51 w 66"/>
                <a:gd name="T87" fmla="*/ 46 h 66"/>
                <a:gd name="T88" fmla="*/ 53 w 66"/>
                <a:gd name="T89" fmla="*/ 44 h 66"/>
                <a:gd name="T90" fmla="*/ 53 w 66"/>
                <a:gd name="T91" fmla="*/ 44 h 66"/>
                <a:gd name="T92" fmla="*/ 59 w 66"/>
                <a:gd name="T93" fmla="*/ 46 h 66"/>
                <a:gd name="T94" fmla="*/ 61 w 66"/>
                <a:gd name="T95" fmla="*/ 46 h 66"/>
                <a:gd name="T96" fmla="*/ 66 w 66"/>
                <a:gd name="T97" fmla="*/ 4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6" h="66">
                  <a:moveTo>
                    <a:pt x="61" y="44"/>
                  </a:moveTo>
                  <a:lnTo>
                    <a:pt x="61" y="41"/>
                  </a:lnTo>
                  <a:lnTo>
                    <a:pt x="61" y="38"/>
                  </a:lnTo>
                  <a:lnTo>
                    <a:pt x="61" y="36"/>
                  </a:lnTo>
                  <a:lnTo>
                    <a:pt x="61" y="36"/>
                  </a:lnTo>
                  <a:lnTo>
                    <a:pt x="59" y="36"/>
                  </a:lnTo>
                  <a:lnTo>
                    <a:pt x="56" y="33"/>
                  </a:lnTo>
                  <a:lnTo>
                    <a:pt x="53" y="33"/>
                  </a:lnTo>
                  <a:lnTo>
                    <a:pt x="53" y="33"/>
                  </a:lnTo>
                  <a:lnTo>
                    <a:pt x="53" y="31"/>
                  </a:lnTo>
                  <a:lnTo>
                    <a:pt x="53" y="31"/>
                  </a:lnTo>
                  <a:lnTo>
                    <a:pt x="53" y="28"/>
                  </a:lnTo>
                  <a:lnTo>
                    <a:pt x="53" y="28"/>
                  </a:lnTo>
                  <a:lnTo>
                    <a:pt x="53" y="26"/>
                  </a:lnTo>
                  <a:lnTo>
                    <a:pt x="53" y="26"/>
                  </a:lnTo>
                  <a:lnTo>
                    <a:pt x="53" y="26"/>
                  </a:lnTo>
                  <a:lnTo>
                    <a:pt x="51" y="26"/>
                  </a:lnTo>
                  <a:lnTo>
                    <a:pt x="51" y="26"/>
                  </a:lnTo>
                  <a:lnTo>
                    <a:pt x="48" y="23"/>
                  </a:lnTo>
                  <a:lnTo>
                    <a:pt x="46" y="23"/>
                  </a:lnTo>
                  <a:lnTo>
                    <a:pt x="46" y="23"/>
                  </a:lnTo>
                  <a:lnTo>
                    <a:pt x="46" y="21"/>
                  </a:lnTo>
                  <a:lnTo>
                    <a:pt x="46" y="21"/>
                  </a:lnTo>
                  <a:lnTo>
                    <a:pt x="46" y="18"/>
                  </a:lnTo>
                  <a:lnTo>
                    <a:pt x="46" y="18"/>
                  </a:lnTo>
                  <a:lnTo>
                    <a:pt x="46" y="16"/>
                  </a:lnTo>
                  <a:lnTo>
                    <a:pt x="46" y="16"/>
                  </a:lnTo>
                  <a:lnTo>
                    <a:pt x="46" y="13"/>
                  </a:lnTo>
                  <a:lnTo>
                    <a:pt x="46" y="10"/>
                  </a:lnTo>
                  <a:lnTo>
                    <a:pt x="43" y="10"/>
                  </a:lnTo>
                  <a:lnTo>
                    <a:pt x="43" y="10"/>
                  </a:lnTo>
                  <a:lnTo>
                    <a:pt x="43" y="10"/>
                  </a:lnTo>
                  <a:lnTo>
                    <a:pt x="41" y="10"/>
                  </a:lnTo>
                  <a:lnTo>
                    <a:pt x="41" y="10"/>
                  </a:lnTo>
                  <a:lnTo>
                    <a:pt x="38" y="8"/>
                  </a:lnTo>
                  <a:lnTo>
                    <a:pt x="36" y="5"/>
                  </a:lnTo>
                  <a:lnTo>
                    <a:pt x="33" y="5"/>
                  </a:lnTo>
                  <a:lnTo>
                    <a:pt x="33" y="8"/>
                  </a:lnTo>
                  <a:lnTo>
                    <a:pt x="33" y="8"/>
                  </a:lnTo>
                  <a:lnTo>
                    <a:pt x="33" y="5"/>
                  </a:lnTo>
                  <a:lnTo>
                    <a:pt x="30" y="5"/>
                  </a:lnTo>
                  <a:lnTo>
                    <a:pt x="30" y="5"/>
                  </a:lnTo>
                  <a:lnTo>
                    <a:pt x="30" y="5"/>
                  </a:lnTo>
                  <a:lnTo>
                    <a:pt x="30" y="5"/>
                  </a:lnTo>
                  <a:lnTo>
                    <a:pt x="30" y="5"/>
                  </a:lnTo>
                  <a:lnTo>
                    <a:pt x="28" y="5"/>
                  </a:lnTo>
                  <a:lnTo>
                    <a:pt x="25" y="5"/>
                  </a:lnTo>
                  <a:lnTo>
                    <a:pt x="25" y="3"/>
                  </a:lnTo>
                  <a:lnTo>
                    <a:pt x="25" y="3"/>
                  </a:lnTo>
                  <a:lnTo>
                    <a:pt x="23" y="3"/>
                  </a:lnTo>
                  <a:lnTo>
                    <a:pt x="23" y="3"/>
                  </a:lnTo>
                  <a:lnTo>
                    <a:pt x="20" y="0"/>
                  </a:lnTo>
                  <a:lnTo>
                    <a:pt x="18" y="0"/>
                  </a:lnTo>
                  <a:lnTo>
                    <a:pt x="15" y="0"/>
                  </a:lnTo>
                  <a:lnTo>
                    <a:pt x="15" y="0"/>
                  </a:lnTo>
                  <a:lnTo>
                    <a:pt x="15" y="0"/>
                  </a:lnTo>
                  <a:lnTo>
                    <a:pt x="15" y="0"/>
                  </a:lnTo>
                  <a:lnTo>
                    <a:pt x="13" y="0"/>
                  </a:lnTo>
                  <a:lnTo>
                    <a:pt x="13" y="0"/>
                  </a:lnTo>
                  <a:lnTo>
                    <a:pt x="10" y="3"/>
                  </a:lnTo>
                  <a:lnTo>
                    <a:pt x="8" y="3"/>
                  </a:lnTo>
                  <a:lnTo>
                    <a:pt x="5" y="3"/>
                  </a:lnTo>
                  <a:lnTo>
                    <a:pt x="2" y="0"/>
                  </a:lnTo>
                  <a:lnTo>
                    <a:pt x="0" y="3"/>
                  </a:lnTo>
                  <a:lnTo>
                    <a:pt x="0" y="3"/>
                  </a:lnTo>
                  <a:lnTo>
                    <a:pt x="2" y="3"/>
                  </a:lnTo>
                  <a:lnTo>
                    <a:pt x="2" y="5"/>
                  </a:lnTo>
                  <a:lnTo>
                    <a:pt x="5" y="5"/>
                  </a:lnTo>
                  <a:lnTo>
                    <a:pt x="8" y="5"/>
                  </a:lnTo>
                  <a:lnTo>
                    <a:pt x="8" y="8"/>
                  </a:lnTo>
                  <a:lnTo>
                    <a:pt x="8" y="8"/>
                  </a:lnTo>
                  <a:lnTo>
                    <a:pt x="10" y="10"/>
                  </a:lnTo>
                  <a:lnTo>
                    <a:pt x="10" y="13"/>
                  </a:lnTo>
                  <a:lnTo>
                    <a:pt x="13" y="16"/>
                  </a:lnTo>
                  <a:lnTo>
                    <a:pt x="13" y="16"/>
                  </a:lnTo>
                  <a:lnTo>
                    <a:pt x="13" y="18"/>
                  </a:lnTo>
                  <a:lnTo>
                    <a:pt x="15" y="21"/>
                  </a:lnTo>
                  <a:lnTo>
                    <a:pt x="15" y="21"/>
                  </a:lnTo>
                  <a:lnTo>
                    <a:pt x="18" y="21"/>
                  </a:lnTo>
                  <a:lnTo>
                    <a:pt x="20" y="26"/>
                  </a:lnTo>
                  <a:lnTo>
                    <a:pt x="20" y="26"/>
                  </a:lnTo>
                  <a:lnTo>
                    <a:pt x="23" y="28"/>
                  </a:lnTo>
                  <a:lnTo>
                    <a:pt x="23" y="28"/>
                  </a:lnTo>
                  <a:lnTo>
                    <a:pt x="23" y="28"/>
                  </a:lnTo>
                  <a:lnTo>
                    <a:pt x="25" y="31"/>
                  </a:lnTo>
                  <a:lnTo>
                    <a:pt x="28" y="33"/>
                  </a:lnTo>
                  <a:lnTo>
                    <a:pt x="30" y="36"/>
                  </a:lnTo>
                  <a:lnTo>
                    <a:pt x="30" y="38"/>
                  </a:lnTo>
                  <a:lnTo>
                    <a:pt x="30" y="41"/>
                  </a:lnTo>
                  <a:lnTo>
                    <a:pt x="30" y="44"/>
                  </a:lnTo>
                  <a:lnTo>
                    <a:pt x="33" y="44"/>
                  </a:lnTo>
                  <a:lnTo>
                    <a:pt x="30" y="46"/>
                  </a:lnTo>
                  <a:lnTo>
                    <a:pt x="30" y="51"/>
                  </a:lnTo>
                  <a:lnTo>
                    <a:pt x="30" y="54"/>
                  </a:lnTo>
                  <a:lnTo>
                    <a:pt x="30" y="56"/>
                  </a:lnTo>
                  <a:lnTo>
                    <a:pt x="30" y="59"/>
                  </a:lnTo>
                  <a:lnTo>
                    <a:pt x="30" y="59"/>
                  </a:lnTo>
                  <a:lnTo>
                    <a:pt x="30" y="61"/>
                  </a:lnTo>
                  <a:lnTo>
                    <a:pt x="33" y="61"/>
                  </a:lnTo>
                  <a:lnTo>
                    <a:pt x="30" y="61"/>
                  </a:lnTo>
                  <a:lnTo>
                    <a:pt x="30" y="64"/>
                  </a:lnTo>
                  <a:lnTo>
                    <a:pt x="30" y="64"/>
                  </a:lnTo>
                  <a:lnTo>
                    <a:pt x="30" y="64"/>
                  </a:lnTo>
                  <a:lnTo>
                    <a:pt x="33" y="64"/>
                  </a:lnTo>
                  <a:lnTo>
                    <a:pt x="33" y="66"/>
                  </a:lnTo>
                  <a:lnTo>
                    <a:pt x="33" y="66"/>
                  </a:lnTo>
                  <a:lnTo>
                    <a:pt x="36" y="66"/>
                  </a:lnTo>
                  <a:lnTo>
                    <a:pt x="38" y="66"/>
                  </a:lnTo>
                  <a:lnTo>
                    <a:pt x="38" y="64"/>
                  </a:lnTo>
                  <a:lnTo>
                    <a:pt x="38" y="64"/>
                  </a:lnTo>
                  <a:lnTo>
                    <a:pt x="38" y="64"/>
                  </a:lnTo>
                  <a:lnTo>
                    <a:pt x="38" y="64"/>
                  </a:lnTo>
                  <a:lnTo>
                    <a:pt x="38" y="61"/>
                  </a:lnTo>
                  <a:lnTo>
                    <a:pt x="38" y="61"/>
                  </a:lnTo>
                  <a:lnTo>
                    <a:pt x="41" y="59"/>
                  </a:lnTo>
                  <a:lnTo>
                    <a:pt x="41" y="59"/>
                  </a:lnTo>
                  <a:lnTo>
                    <a:pt x="41" y="56"/>
                  </a:lnTo>
                  <a:lnTo>
                    <a:pt x="43" y="54"/>
                  </a:lnTo>
                  <a:lnTo>
                    <a:pt x="46" y="54"/>
                  </a:lnTo>
                  <a:lnTo>
                    <a:pt x="46" y="51"/>
                  </a:lnTo>
                  <a:lnTo>
                    <a:pt x="46" y="51"/>
                  </a:lnTo>
                  <a:lnTo>
                    <a:pt x="46" y="49"/>
                  </a:lnTo>
                  <a:lnTo>
                    <a:pt x="43" y="46"/>
                  </a:lnTo>
                  <a:lnTo>
                    <a:pt x="43" y="46"/>
                  </a:lnTo>
                  <a:lnTo>
                    <a:pt x="46" y="44"/>
                  </a:lnTo>
                  <a:lnTo>
                    <a:pt x="46" y="44"/>
                  </a:lnTo>
                  <a:lnTo>
                    <a:pt x="48" y="44"/>
                  </a:lnTo>
                  <a:lnTo>
                    <a:pt x="48" y="44"/>
                  </a:lnTo>
                  <a:lnTo>
                    <a:pt x="48" y="44"/>
                  </a:lnTo>
                  <a:lnTo>
                    <a:pt x="48" y="46"/>
                  </a:lnTo>
                  <a:lnTo>
                    <a:pt x="48" y="46"/>
                  </a:lnTo>
                  <a:lnTo>
                    <a:pt x="51" y="46"/>
                  </a:lnTo>
                  <a:lnTo>
                    <a:pt x="51" y="44"/>
                  </a:lnTo>
                  <a:lnTo>
                    <a:pt x="51" y="44"/>
                  </a:lnTo>
                  <a:lnTo>
                    <a:pt x="53" y="44"/>
                  </a:lnTo>
                  <a:lnTo>
                    <a:pt x="53" y="44"/>
                  </a:lnTo>
                  <a:lnTo>
                    <a:pt x="53" y="44"/>
                  </a:lnTo>
                  <a:lnTo>
                    <a:pt x="53" y="44"/>
                  </a:lnTo>
                  <a:lnTo>
                    <a:pt x="56" y="46"/>
                  </a:lnTo>
                  <a:lnTo>
                    <a:pt x="56" y="46"/>
                  </a:lnTo>
                  <a:lnTo>
                    <a:pt x="59" y="46"/>
                  </a:lnTo>
                  <a:lnTo>
                    <a:pt x="59" y="44"/>
                  </a:lnTo>
                  <a:lnTo>
                    <a:pt x="59" y="44"/>
                  </a:lnTo>
                  <a:lnTo>
                    <a:pt x="61" y="46"/>
                  </a:lnTo>
                  <a:lnTo>
                    <a:pt x="61" y="46"/>
                  </a:lnTo>
                  <a:lnTo>
                    <a:pt x="64" y="46"/>
                  </a:lnTo>
                  <a:lnTo>
                    <a:pt x="66" y="46"/>
                  </a:lnTo>
                  <a:lnTo>
                    <a:pt x="66" y="46"/>
                  </a:lnTo>
                  <a:lnTo>
                    <a:pt x="61" y="44"/>
                  </a:lnTo>
                  <a:close/>
                </a:path>
              </a:pathLst>
            </a:custGeom>
            <a:solidFill>
              <a:schemeClr val="bg2">
                <a:lumMod val="60000"/>
                <a:lumOff val="40000"/>
              </a:schemeClr>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255" name="Freeform 1874">
              <a:extLst>
                <a:ext uri="{FF2B5EF4-FFF2-40B4-BE49-F238E27FC236}">
                  <a16:creationId xmlns:a16="http://schemas.microsoft.com/office/drawing/2014/main" id="{F974E2B5-B406-A149-9469-7A1B1FD2BCF1}"/>
                </a:ext>
              </a:extLst>
            </p:cNvPr>
            <p:cNvSpPr>
              <a:spLocks noEditPoints="1"/>
            </p:cNvSpPr>
            <p:nvPr/>
          </p:nvSpPr>
          <p:spPr bwMode="auto">
            <a:xfrm>
              <a:off x="10131412" y="3442903"/>
              <a:ext cx="829319" cy="161938"/>
            </a:xfrm>
            <a:custGeom>
              <a:avLst/>
              <a:gdLst>
                <a:gd name="T0" fmla="*/ 507 w 507"/>
                <a:gd name="T1" fmla="*/ 97 h 99"/>
                <a:gd name="T2" fmla="*/ 507 w 507"/>
                <a:gd name="T3" fmla="*/ 97 h 99"/>
                <a:gd name="T4" fmla="*/ 505 w 507"/>
                <a:gd name="T5" fmla="*/ 99 h 99"/>
                <a:gd name="T6" fmla="*/ 505 w 507"/>
                <a:gd name="T7" fmla="*/ 99 h 99"/>
                <a:gd name="T8" fmla="*/ 507 w 507"/>
                <a:gd name="T9" fmla="*/ 99 h 99"/>
                <a:gd name="T10" fmla="*/ 507 w 507"/>
                <a:gd name="T11" fmla="*/ 97 h 99"/>
                <a:gd name="T12" fmla="*/ 410 w 507"/>
                <a:gd name="T13" fmla="*/ 61 h 99"/>
                <a:gd name="T14" fmla="*/ 408 w 507"/>
                <a:gd name="T15" fmla="*/ 61 h 99"/>
                <a:gd name="T16" fmla="*/ 408 w 507"/>
                <a:gd name="T17" fmla="*/ 61 h 99"/>
                <a:gd name="T18" fmla="*/ 408 w 507"/>
                <a:gd name="T19" fmla="*/ 61 h 99"/>
                <a:gd name="T20" fmla="*/ 408 w 507"/>
                <a:gd name="T21" fmla="*/ 64 h 99"/>
                <a:gd name="T22" fmla="*/ 408 w 507"/>
                <a:gd name="T23" fmla="*/ 64 h 99"/>
                <a:gd name="T24" fmla="*/ 410 w 507"/>
                <a:gd name="T25" fmla="*/ 64 h 99"/>
                <a:gd name="T26" fmla="*/ 410 w 507"/>
                <a:gd name="T27" fmla="*/ 64 h 99"/>
                <a:gd name="T28" fmla="*/ 410 w 507"/>
                <a:gd name="T29" fmla="*/ 64 h 99"/>
                <a:gd name="T30" fmla="*/ 410 w 507"/>
                <a:gd name="T31" fmla="*/ 61 h 99"/>
                <a:gd name="T32" fmla="*/ 410 w 507"/>
                <a:gd name="T33" fmla="*/ 61 h 99"/>
                <a:gd name="T34" fmla="*/ 275 w 507"/>
                <a:gd name="T35" fmla="*/ 51 h 99"/>
                <a:gd name="T36" fmla="*/ 275 w 507"/>
                <a:gd name="T37" fmla="*/ 51 h 99"/>
                <a:gd name="T38" fmla="*/ 275 w 507"/>
                <a:gd name="T39" fmla="*/ 51 h 99"/>
                <a:gd name="T40" fmla="*/ 275 w 507"/>
                <a:gd name="T41" fmla="*/ 51 h 99"/>
                <a:gd name="T42" fmla="*/ 275 w 507"/>
                <a:gd name="T43" fmla="*/ 51 h 99"/>
                <a:gd name="T44" fmla="*/ 275 w 507"/>
                <a:gd name="T45" fmla="*/ 51 h 99"/>
                <a:gd name="T46" fmla="*/ 275 w 507"/>
                <a:gd name="T47" fmla="*/ 51 h 99"/>
                <a:gd name="T48" fmla="*/ 275 w 507"/>
                <a:gd name="T49" fmla="*/ 54 h 99"/>
                <a:gd name="T50" fmla="*/ 275 w 507"/>
                <a:gd name="T51" fmla="*/ 54 h 99"/>
                <a:gd name="T52" fmla="*/ 275 w 507"/>
                <a:gd name="T53" fmla="*/ 51 h 99"/>
                <a:gd name="T54" fmla="*/ 275 w 507"/>
                <a:gd name="T55" fmla="*/ 51 h 99"/>
                <a:gd name="T56" fmla="*/ 275 w 507"/>
                <a:gd name="T57" fmla="*/ 51 h 99"/>
                <a:gd name="T58" fmla="*/ 275 w 507"/>
                <a:gd name="T59" fmla="*/ 51 h 99"/>
                <a:gd name="T60" fmla="*/ 280 w 507"/>
                <a:gd name="T61" fmla="*/ 49 h 99"/>
                <a:gd name="T62" fmla="*/ 280 w 507"/>
                <a:gd name="T63" fmla="*/ 49 h 99"/>
                <a:gd name="T64" fmla="*/ 280 w 507"/>
                <a:gd name="T65" fmla="*/ 49 h 99"/>
                <a:gd name="T66" fmla="*/ 280 w 507"/>
                <a:gd name="T67" fmla="*/ 51 h 99"/>
                <a:gd name="T68" fmla="*/ 280 w 507"/>
                <a:gd name="T69" fmla="*/ 51 h 99"/>
                <a:gd name="T70" fmla="*/ 280 w 507"/>
                <a:gd name="T71" fmla="*/ 51 h 99"/>
                <a:gd name="T72" fmla="*/ 280 w 507"/>
                <a:gd name="T73" fmla="*/ 49 h 99"/>
                <a:gd name="T74" fmla="*/ 280 w 507"/>
                <a:gd name="T75" fmla="*/ 49 h 99"/>
                <a:gd name="T76" fmla="*/ 280 w 507"/>
                <a:gd name="T77" fmla="*/ 49 h 99"/>
                <a:gd name="T78" fmla="*/ 3 w 507"/>
                <a:gd name="T79" fmla="*/ 0 h 99"/>
                <a:gd name="T80" fmla="*/ 0 w 507"/>
                <a:gd name="T81" fmla="*/ 3 h 99"/>
                <a:gd name="T82" fmla="*/ 0 w 507"/>
                <a:gd name="T83" fmla="*/ 3 h 99"/>
                <a:gd name="T84" fmla="*/ 0 w 507"/>
                <a:gd name="T85" fmla="*/ 5 h 99"/>
                <a:gd name="T86" fmla="*/ 0 w 507"/>
                <a:gd name="T87" fmla="*/ 5 h 99"/>
                <a:gd name="T88" fmla="*/ 3 w 507"/>
                <a:gd name="T89" fmla="*/ 3 h 99"/>
                <a:gd name="T90" fmla="*/ 3 w 507"/>
                <a:gd name="T91" fmla="*/ 3 h 99"/>
                <a:gd name="T92" fmla="*/ 3 w 507"/>
                <a:gd name="T93" fmla="*/ 3 h 99"/>
                <a:gd name="T94" fmla="*/ 3 w 507"/>
                <a:gd name="T95" fmla="*/ 0 h 99"/>
                <a:gd name="T96" fmla="*/ 3 w 507"/>
                <a:gd name="T97"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07" h="99">
                  <a:moveTo>
                    <a:pt x="507" y="97"/>
                  </a:moveTo>
                  <a:lnTo>
                    <a:pt x="507" y="97"/>
                  </a:lnTo>
                  <a:lnTo>
                    <a:pt x="505" y="99"/>
                  </a:lnTo>
                  <a:lnTo>
                    <a:pt x="505" y="99"/>
                  </a:lnTo>
                  <a:lnTo>
                    <a:pt x="507" y="99"/>
                  </a:lnTo>
                  <a:lnTo>
                    <a:pt x="507" y="97"/>
                  </a:lnTo>
                  <a:close/>
                  <a:moveTo>
                    <a:pt x="410" y="61"/>
                  </a:moveTo>
                  <a:lnTo>
                    <a:pt x="408" y="61"/>
                  </a:lnTo>
                  <a:lnTo>
                    <a:pt x="408" y="61"/>
                  </a:lnTo>
                  <a:lnTo>
                    <a:pt x="408" y="61"/>
                  </a:lnTo>
                  <a:lnTo>
                    <a:pt x="408" y="64"/>
                  </a:lnTo>
                  <a:lnTo>
                    <a:pt x="408" y="64"/>
                  </a:lnTo>
                  <a:lnTo>
                    <a:pt x="410" y="64"/>
                  </a:lnTo>
                  <a:lnTo>
                    <a:pt x="410" y="64"/>
                  </a:lnTo>
                  <a:lnTo>
                    <a:pt x="410" y="64"/>
                  </a:lnTo>
                  <a:lnTo>
                    <a:pt x="410" y="61"/>
                  </a:lnTo>
                  <a:lnTo>
                    <a:pt x="410" y="61"/>
                  </a:lnTo>
                  <a:close/>
                  <a:moveTo>
                    <a:pt x="275" y="51"/>
                  </a:moveTo>
                  <a:lnTo>
                    <a:pt x="275" y="51"/>
                  </a:lnTo>
                  <a:lnTo>
                    <a:pt x="275" y="51"/>
                  </a:lnTo>
                  <a:lnTo>
                    <a:pt x="275" y="51"/>
                  </a:lnTo>
                  <a:lnTo>
                    <a:pt x="275" y="51"/>
                  </a:lnTo>
                  <a:lnTo>
                    <a:pt x="275" y="51"/>
                  </a:lnTo>
                  <a:lnTo>
                    <a:pt x="275" y="51"/>
                  </a:lnTo>
                  <a:lnTo>
                    <a:pt x="275" y="54"/>
                  </a:lnTo>
                  <a:lnTo>
                    <a:pt x="275" y="54"/>
                  </a:lnTo>
                  <a:lnTo>
                    <a:pt x="275" y="51"/>
                  </a:lnTo>
                  <a:lnTo>
                    <a:pt x="275" y="51"/>
                  </a:lnTo>
                  <a:lnTo>
                    <a:pt x="275" y="51"/>
                  </a:lnTo>
                  <a:lnTo>
                    <a:pt x="275" y="51"/>
                  </a:lnTo>
                  <a:close/>
                  <a:moveTo>
                    <a:pt x="280" y="49"/>
                  </a:moveTo>
                  <a:lnTo>
                    <a:pt x="280" y="49"/>
                  </a:lnTo>
                  <a:lnTo>
                    <a:pt x="280" y="49"/>
                  </a:lnTo>
                  <a:lnTo>
                    <a:pt x="280" y="51"/>
                  </a:lnTo>
                  <a:lnTo>
                    <a:pt x="280" y="51"/>
                  </a:lnTo>
                  <a:lnTo>
                    <a:pt x="280" y="51"/>
                  </a:lnTo>
                  <a:lnTo>
                    <a:pt x="280" y="49"/>
                  </a:lnTo>
                  <a:lnTo>
                    <a:pt x="280" y="49"/>
                  </a:lnTo>
                  <a:lnTo>
                    <a:pt x="280" y="49"/>
                  </a:lnTo>
                  <a:close/>
                  <a:moveTo>
                    <a:pt x="3" y="0"/>
                  </a:moveTo>
                  <a:lnTo>
                    <a:pt x="0" y="3"/>
                  </a:lnTo>
                  <a:lnTo>
                    <a:pt x="0" y="3"/>
                  </a:lnTo>
                  <a:lnTo>
                    <a:pt x="0" y="5"/>
                  </a:lnTo>
                  <a:lnTo>
                    <a:pt x="0" y="5"/>
                  </a:lnTo>
                  <a:lnTo>
                    <a:pt x="3" y="3"/>
                  </a:lnTo>
                  <a:lnTo>
                    <a:pt x="3" y="3"/>
                  </a:lnTo>
                  <a:lnTo>
                    <a:pt x="3" y="3"/>
                  </a:lnTo>
                  <a:lnTo>
                    <a:pt x="3" y="0"/>
                  </a:lnTo>
                  <a:lnTo>
                    <a:pt x="3"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256" name="Freeform 1875">
              <a:extLst>
                <a:ext uri="{FF2B5EF4-FFF2-40B4-BE49-F238E27FC236}">
                  <a16:creationId xmlns:a16="http://schemas.microsoft.com/office/drawing/2014/main" id="{0A9AD150-D6C5-CD49-955F-C5E6BE5A8E20}"/>
                </a:ext>
              </a:extLst>
            </p:cNvPr>
            <p:cNvSpPr>
              <a:spLocks noEditPoints="1"/>
            </p:cNvSpPr>
            <p:nvPr/>
          </p:nvSpPr>
          <p:spPr bwMode="auto">
            <a:xfrm>
              <a:off x="1872576" y="2585777"/>
              <a:ext cx="947092" cy="673923"/>
            </a:xfrm>
            <a:custGeom>
              <a:avLst/>
              <a:gdLst>
                <a:gd name="T0" fmla="*/ 574 w 579"/>
                <a:gd name="T1" fmla="*/ 275 h 412"/>
                <a:gd name="T2" fmla="*/ 579 w 579"/>
                <a:gd name="T3" fmla="*/ 262 h 412"/>
                <a:gd name="T4" fmla="*/ 138 w 579"/>
                <a:gd name="T5" fmla="*/ 193 h 412"/>
                <a:gd name="T6" fmla="*/ 125 w 579"/>
                <a:gd name="T7" fmla="*/ 173 h 412"/>
                <a:gd name="T8" fmla="*/ 95 w 579"/>
                <a:gd name="T9" fmla="*/ 186 h 412"/>
                <a:gd name="T10" fmla="*/ 51 w 579"/>
                <a:gd name="T11" fmla="*/ 104 h 412"/>
                <a:gd name="T12" fmla="*/ 118 w 579"/>
                <a:gd name="T13" fmla="*/ 79 h 412"/>
                <a:gd name="T14" fmla="*/ 100 w 579"/>
                <a:gd name="T15" fmla="*/ 81 h 412"/>
                <a:gd name="T16" fmla="*/ 576 w 579"/>
                <a:gd name="T17" fmla="*/ 260 h 412"/>
                <a:gd name="T18" fmla="*/ 569 w 579"/>
                <a:gd name="T19" fmla="*/ 257 h 412"/>
                <a:gd name="T20" fmla="*/ 510 w 579"/>
                <a:gd name="T21" fmla="*/ 262 h 412"/>
                <a:gd name="T22" fmla="*/ 477 w 579"/>
                <a:gd name="T23" fmla="*/ 313 h 412"/>
                <a:gd name="T24" fmla="*/ 467 w 579"/>
                <a:gd name="T25" fmla="*/ 321 h 412"/>
                <a:gd name="T26" fmla="*/ 429 w 579"/>
                <a:gd name="T27" fmla="*/ 328 h 412"/>
                <a:gd name="T28" fmla="*/ 390 w 579"/>
                <a:gd name="T29" fmla="*/ 316 h 412"/>
                <a:gd name="T30" fmla="*/ 370 w 579"/>
                <a:gd name="T31" fmla="*/ 265 h 412"/>
                <a:gd name="T32" fmla="*/ 370 w 579"/>
                <a:gd name="T33" fmla="*/ 257 h 412"/>
                <a:gd name="T34" fmla="*/ 373 w 579"/>
                <a:gd name="T35" fmla="*/ 204 h 412"/>
                <a:gd name="T36" fmla="*/ 375 w 579"/>
                <a:gd name="T37" fmla="*/ 150 h 412"/>
                <a:gd name="T38" fmla="*/ 355 w 579"/>
                <a:gd name="T39" fmla="*/ 127 h 412"/>
                <a:gd name="T40" fmla="*/ 347 w 579"/>
                <a:gd name="T41" fmla="*/ 97 h 412"/>
                <a:gd name="T42" fmla="*/ 332 w 579"/>
                <a:gd name="T43" fmla="*/ 66 h 412"/>
                <a:gd name="T44" fmla="*/ 301 w 579"/>
                <a:gd name="T45" fmla="*/ 79 h 412"/>
                <a:gd name="T46" fmla="*/ 273 w 579"/>
                <a:gd name="T47" fmla="*/ 61 h 412"/>
                <a:gd name="T48" fmla="*/ 248 w 579"/>
                <a:gd name="T49" fmla="*/ 20 h 412"/>
                <a:gd name="T50" fmla="*/ 179 w 579"/>
                <a:gd name="T51" fmla="*/ 31 h 412"/>
                <a:gd name="T52" fmla="*/ 87 w 579"/>
                <a:gd name="T53" fmla="*/ 3 h 412"/>
                <a:gd name="T54" fmla="*/ 54 w 579"/>
                <a:gd name="T55" fmla="*/ 23 h 412"/>
                <a:gd name="T56" fmla="*/ 59 w 579"/>
                <a:gd name="T57" fmla="*/ 64 h 412"/>
                <a:gd name="T58" fmla="*/ 74 w 579"/>
                <a:gd name="T59" fmla="*/ 109 h 412"/>
                <a:gd name="T60" fmla="*/ 57 w 579"/>
                <a:gd name="T61" fmla="*/ 112 h 412"/>
                <a:gd name="T62" fmla="*/ 82 w 579"/>
                <a:gd name="T63" fmla="*/ 135 h 412"/>
                <a:gd name="T64" fmla="*/ 100 w 579"/>
                <a:gd name="T65" fmla="*/ 168 h 412"/>
                <a:gd name="T66" fmla="*/ 123 w 579"/>
                <a:gd name="T67" fmla="*/ 206 h 412"/>
                <a:gd name="T68" fmla="*/ 138 w 579"/>
                <a:gd name="T69" fmla="*/ 204 h 412"/>
                <a:gd name="T70" fmla="*/ 123 w 579"/>
                <a:gd name="T71" fmla="*/ 193 h 412"/>
                <a:gd name="T72" fmla="*/ 118 w 579"/>
                <a:gd name="T73" fmla="*/ 142 h 412"/>
                <a:gd name="T74" fmla="*/ 110 w 579"/>
                <a:gd name="T75" fmla="*/ 127 h 412"/>
                <a:gd name="T76" fmla="*/ 100 w 579"/>
                <a:gd name="T77" fmla="*/ 89 h 412"/>
                <a:gd name="T78" fmla="*/ 82 w 579"/>
                <a:gd name="T79" fmla="*/ 59 h 412"/>
                <a:gd name="T80" fmla="*/ 95 w 579"/>
                <a:gd name="T81" fmla="*/ 23 h 412"/>
                <a:gd name="T82" fmla="*/ 120 w 579"/>
                <a:gd name="T83" fmla="*/ 38 h 412"/>
                <a:gd name="T84" fmla="*/ 120 w 579"/>
                <a:gd name="T85" fmla="*/ 74 h 412"/>
                <a:gd name="T86" fmla="*/ 133 w 579"/>
                <a:gd name="T87" fmla="*/ 107 h 412"/>
                <a:gd name="T88" fmla="*/ 151 w 579"/>
                <a:gd name="T89" fmla="*/ 130 h 412"/>
                <a:gd name="T90" fmla="*/ 156 w 579"/>
                <a:gd name="T91" fmla="*/ 153 h 412"/>
                <a:gd name="T92" fmla="*/ 164 w 579"/>
                <a:gd name="T93" fmla="*/ 163 h 412"/>
                <a:gd name="T94" fmla="*/ 176 w 579"/>
                <a:gd name="T95" fmla="*/ 183 h 412"/>
                <a:gd name="T96" fmla="*/ 199 w 579"/>
                <a:gd name="T97" fmla="*/ 216 h 412"/>
                <a:gd name="T98" fmla="*/ 209 w 579"/>
                <a:gd name="T99" fmla="*/ 270 h 412"/>
                <a:gd name="T100" fmla="*/ 207 w 579"/>
                <a:gd name="T101" fmla="*/ 295 h 412"/>
                <a:gd name="T102" fmla="*/ 265 w 579"/>
                <a:gd name="T103" fmla="*/ 336 h 412"/>
                <a:gd name="T104" fmla="*/ 322 w 579"/>
                <a:gd name="T105" fmla="*/ 366 h 412"/>
                <a:gd name="T106" fmla="*/ 403 w 579"/>
                <a:gd name="T107" fmla="*/ 374 h 412"/>
                <a:gd name="T108" fmla="*/ 418 w 579"/>
                <a:gd name="T109" fmla="*/ 379 h 412"/>
                <a:gd name="T110" fmla="*/ 436 w 579"/>
                <a:gd name="T111" fmla="*/ 394 h 412"/>
                <a:gd name="T112" fmla="*/ 452 w 579"/>
                <a:gd name="T113" fmla="*/ 397 h 412"/>
                <a:gd name="T114" fmla="*/ 490 w 579"/>
                <a:gd name="T115" fmla="*/ 371 h 412"/>
                <a:gd name="T116" fmla="*/ 482 w 579"/>
                <a:gd name="T117" fmla="*/ 346 h 412"/>
                <a:gd name="T118" fmla="*/ 533 w 579"/>
                <a:gd name="T119" fmla="*/ 328 h 412"/>
                <a:gd name="T120" fmla="*/ 548 w 579"/>
                <a:gd name="T121" fmla="*/ 328 h 412"/>
                <a:gd name="T122" fmla="*/ 559 w 579"/>
                <a:gd name="T123" fmla="*/ 300 h 412"/>
                <a:gd name="T124" fmla="*/ 566 w 579"/>
                <a:gd name="T125" fmla="*/ 277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79" h="412">
                  <a:moveTo>
                    <a:pt x="472" y="318"/>
                  </a:moveTo>
                  <a:lnTo>
                    <a:pt x="474" y="318"/>
                  </a:lnTo>
                  <a:lnTo>
                    <a:pt x="477" y="318"/>
                  </a:lnTo>
                  <a:lnTo>
                    <a:pt x="474" y="316"/>
                  </a:lnTo>
                  <a:lnTo>
                    <a:pt x="474" y="316"/>
                  </a:lnTo>
                  <a:lnTo>
                    <a:pt x="469" y="318"/>
                  </a:lnTo>
                  <a:lnTo>
                    <a:pt x="469" y="318"/>
                  </a:lnTo>
                  <a:lnTo>
                    <a:pt x="472" y="318"/>
                  </a:lnTo>
                  <a:close/>
                  <a:moveTo>
                    <a:pt x="92" y="316"/>
                  </a:moveTo>
                  <a:lnTo>
                    <a:pt x="90" y="316"/>
                  </a:lnTo>
                  <a:lnTo>
                    <a:pt x="90" y="316"/>
                  </a:lnTo>
                  <a:lnTo>
                    <a:pt x="92" y="318"/>
                  </a:lnTo>
                  <a:lnTo>
                    <a:pt x="92" y="318"/>
                  </a:lnTo>
                  <a:lnTo>
                    <a:pt x="92" y="316"/>
                  </a:lnTo>
                  <a:lnTo>
                    <a:pt x="92" y="316"/>
                  </a:lnTo>
                  <a:close/>
                  <a:moveTo>
                    <a:pt x="574" y="275"/>
                  </a:moveTo>
                  <a:lnTo>
                    <a:pt x="574" y="277"/>
                  </a:lnTo>
                  <a:lnTo>
                    <a:pt x="571" y="277"/>
                  </a:lnTo>
                  <a:lnTo>
                    <a:pt x="571" y="280"/>
                  </a:lnTo>
                  <a:lnTo>
                    <a:pt x="571" y="282"/>
                  </a:lnTo>
                  <a:lnTo>
                    <a:pt x="571" y="282"/>
                  </a:lnTo>
                  <a:lnTo>
                    <a:pt x="574" y="277"/>
                  </a:lnTo>
                  <a:lnTo>
                    <a:pt x="576" y="277"/>
                  </a:lnTo>
                  <a:lnTo>
                    <a:pt x="576" y="275"/>
                  </a:lnTo>
                  <a:lnTo>
                    <a:pt x="574" y="275"/>
                  </a:lnTo>
                  <a:close/>
                  <a:moveTo>
                    <a:pt x="579" y="260"/>
                  </a:moveTo>
                  <a:lnTo>
                    <a:pt x="579" y="260"/>
                  </a:lnTo>
                  <a:lnTo>
                    <a:pt x="579" y="260"/>
                  </a:lnTo>
                  <a:lnTo>
                    <a:pt x="579" y="260"/>
                  </a:lnTo>
                  <a:lnTo>
                    <a:pt x="579" y="260"/>
                  </a:lnTo>
                  <a:lnTo>
                    <a:pt x="579" y="262"/>
                  </a:lnTo>
                  <a:lnTo>
                    <a:pt x="579" y="262"/>
                  </a:lnTo>
                  <a:lnTo>
                    <a:pt x="579" y="260"/>
                  </a:lnTo>
                  <a:close/>
                  <a:moveTo>
                    <a:pt x="192" y="252"/>
                  </a:moveTo>
                  <a:lnTo>
                    <a:pt x="189" y="249"/>
                  </a:lnTo>
                  <a:lnTo>
                    <a:pt x="189" y="249"/>
                  </a:lnTo>
                  <a:lnTo>
                    <a:pt x="189" y="252"/>
                  </a:lnTo>
                  <a:lnTo>
                    <a:pt x="189" y="254"/>
                  </a:lnTo>
                  <a:lnTo>
                    <a:pt x="189" y="254"/>
                  </a:lnTo>
                  <a:lnTo>
                    <a:pt x="192" y="252"/>
                  </a:lnTo>
                  <a:lnTo>
                    <a:pt x="192" y="252"/>
                  </a:lnTo>
                  <a:lnTo>
                    <a:pt x="192" y="252"/>
                  </a:lnTo>
                  <a:close/>
                  <a:moveTo>
                    <a:pt x="136" y="191"/>
                  </a:moveTo>
                  <a:lnTo>
                    <a:pt x="136" y="193"/>
                  </a:lnTo>
                  <a:lnTo>
                    <a:pt x="138" y="193"/>
                  </a:lnTo>
                  <a:lnTo>
                    <a:pt x="138" y="193"/>
                  </a:lnTo>
                  <a:lnTo>
                    <a:pt x="138" y="193"/>
                  </a:lnTo>
                  <a:lnTo>
                    <a:pt x="138" y="193"/>
                  </a:lnTo>
                  <a:lnTo>
                    <a:pt x="136" y="191"/>
                  </a:lnTo>
                  <a:lnTo>
                    <a:pt x="136" y="191"/>
                  </a:lnTo>
                  <a:close/>
                  <a:moveTo>
                    <a:pt x="97" y="186"/>
                  </a:moveTo>
                  <a:lnTo>
                    <a:pt x="97" y="186"/>
                  </a:lnTo>
                  <a:lnTo>
                    <a:pt x="100" y="191"/>
                  </a:lnTo>
                  <a:lnTo>
                    <a:pt x="102" y="188"/>
                  </a:lnTo>
                  <a:lnTo>
                    <a:pt x="100" y="186"/>
                  </a:lnTo>
                  <a:lnTo>
                    <a:pt x="97" y="186"/>
                  </a:lnTo>
                  <a:close/>
                  <a:moveTo>
                    <a:pt x="125" y="173"/>
                  </a:moveTo>
                  <a:lnTo>
                    <a:pt x="125" y="173"/>
                  </a:lnTo>
                  <a:lnTo>
                    <a:pt x="125" y="176"/>
                  </a:lnTo>
                  <a:lnTo>
                    <a:pt x="125" y="178"/>
                  </a:lnTo>
                  <a:lnTo>
                    <a:pt x="128" y="178"/>
                  </a:lnTo>
                  <a:lnTo>
                    <a:pt x="128" y="176"/>
                  </a:lnTo>
                  <a:lnTo>
                    <a:pt x="125" y="173"/>
                  </a:lnTo>
                  <a:lnTo>
                    <a:pt x="125" y="173"/>
                  </a:lnTo>
                  <a:lnTo>
                    <a:pt x="125" y="173"/>
                  </a:lnTo>
                  <a:close/>
                  <a:moveTo>
                    <a:pt x="95" y="183"/>
                  </a:moveTo>
                  <a:lnTo>
                    <a:pt x="95" y="181"/>
                  </a:lnTo>
                  <a:lnTo>
                    <a:pt x="95" y="181"/>
                  </a:lnTo>
                  <a:lnTo>
                    <a:pt x="95" y="178"/>
                  </a:lnTo>
                  <a:lnTo>
                    <a:pt x="95" y="178"/>
                  </a:lnTo>
                  <a:lnTo>
                    <a:pt x="97" y="170"/>
                  </a:lnTo>
                  <a:lnTo>
                    <a:pt x="97" y="168"/>
                  </a:lnTo>
                  <a:lnTo>
                    <a:pt x="95" y="176"/>
                  </a:lnTo>
                  <a:lnTo>
                    <a:pt x="92" y="181"/>
                  </a:lnTo>
                  <a:lnTo>
                    <a:pt x="92" y="181"/>
                  </a:lnTo>
                  <a:lnTo>
                    <a:pt x="95" y="181"/>
                  </a:lnTo>
                  <a:lnTo>
                    <a:pt x="95" y="183"/>
                  </a:lnTo>
                  <a:lnTo>
                    <a:pt x="95" y="186"/>
                  </a:lnTo>
                  <a:lnTo>
                    <a:pt x="95" y="186"/>
                  </a:lnTo>
                  <a:lnTo>
                    <a:pt x="95" y="186"/>
                  </a:lnTo>
                  <a:lnTo>
                    <a:pt x="95" y="183"/>
                  </a:lnTo>
                  <a:close/>
                  <a:moveTo>
                    <a:pt x="120" y="150"/>
                  </a:moveTo>
                  <a:lnTo>
                    <a:pt x="120" y="153"/>
                  </a:lnTo>
                  <a:lnTo>
                    <a:pt x="118" y="155"/>
                  </a:lnTo>
                  <a:lnTo>
                    <a:pt x="120" y="155"/>
                  </a:lnTo>
                  <a:lnTo>
                    <a:pt x="120" y="153"/>
                  </a:lnTo>
                  <a:lnTo>
                    <a:pt x="123" y="153"/>
                  </a:lnTo>
                  <a:lnTo>
                    <a:pt x="123" y="153"/>
                  </a:lnTo>
                  <a:lnTo>
                    <a:pt x="123" y="153"/>
                  </a:lnTo>
                  <a:lnTo>
                    <a:pt x="123" y="150"/>
                  </a:lnTo>
                  <a:lnTo>
                    <a:pt x="120" y="150"/>
                  </a:lnTo>
                  <a:close/>
                  <a:moveTo>
                    <a:pt x="57" y="99"/>
                  </a:moveTo>
                  <a:lnTo>
                    <a:pt x="57" y="99"/>
                  </a:lnTo>
                  <a:lnTo>
                    <a:pt x="57" y="99"/>
                  </a:lnTo>
                  <a:lnTo>
                    <a:pt x="54" y="102"/>
                  </a:lnTo>
                  <a:lnTo>
                    <a:pt x="51" y="104"/>
                  </a:lnTo>
                  <a:lnTo>
                    <a:pt x="54" y="107"/>
                  </a:lnTo>
                  <a:lnTo>
                    <a:pt x="57" y="104"/>
                  </a:lnTo>
                  <a:lnTo>
                    <a:pt x="57" y="102"/>
                  </a:lnTo>
                  <a:lnTo>
                    <a:pt x="57" y="99"/>
                  </a:lnTo>
                  <a:close/>
                  <a:moveTo>
                    <a:pt x="3" y="81"/>
                  </a:moveTo>
                  <a:lnTo>
                    <a:pt x="3" y="79"/>
                  </a:lnTo>
                  <a:lnTo>
                    <a:pt x="0" y="79"/>
                  </a:lnTo>
                  <a:lnTo>
                    <a:pt x="0" y="81"/>
                  </a:lnTo>
                  <a:lnTo>
                    <a:pt x="0" y="81"/>
                  </a:lnTo>
                  <a:lnTo>
                    <a:pt x="0" y="87"/>
                  </a:lnTo>
                  <a:lnTo>
                    <a:pt x="3" y="87"/>
                  </a:lnTo>
                  <a:lnTo>
                    <a:pt x="3" y="84"/>
                  </a:lnTo>
                  <a:lnTo>
                    <a:pt x="3" y="81"/>
                  </a:lnTo>
                  <a:lnTo>
                    <a:pt x="3" y="81"/>
                  </a:lnTo>
                  <a:close/>
                  <a:moveTo>
                    <a:pt x="120" y="79"/>
                  </a:moveTo>
                  <a:lnTo>
                    <a:pt x="118" y="79"/>
                  </a:lnTo>
                  <a:lnTo>
                    <a:pt x="115" y="81"/>
                  </a:lnTo>
                  <a:lnTo>
                    <a:pt x="113" y="87"/>
                  </a:lnTo>
                  <a:lnTo>
                    <a:pt x="113" y="87"/>
                  </a:lnTo>
                  <a:lnTo>
                    <a:pt x="115" y="89"/>
                  </a:lnTo>
                  <a:lnTo>
                    <a:pt x="118" y="89"/>
                  </a:lnTo>
                  <a:lnTo>
                    <a:pt x="120" y="84"/>
                  </a:lnTo>
                  <a:lnTo>
                    <a:pt x="120" y="81"/>
                  </a:lnTo>
                  <a:lnTo>
                    <a:pt x="120" y="79"/>
                  </a:lnTo>
                  <a:lnTo>
                    <a:pt x="120" y="79"/>
                  </a:lnTo>
                  <a:close/>
                  <a:moveTo>
                    <a:pt x="100" y="74"/>
                  </a:moveTo>
                  <a:lnTo>
                    <a:pt x="97" y="71"/>
                  </a:lnTo>
                  <a:lnTo>
                    <a:pt x="97" y="71"/>
                  </a:lnTo>
                  <a:lnTo>
                    <a:pt x="97" y="74"/>
                  </a:lnTo>
                  <a:lnTo>
                    <a:pt x="95" y="74"/>
                  </a:lnTo>
                  <a:lnTo>
                    <a:pt x="97" y="76"/>
                  </a:lnTo>
                  <a:lnTo>
                    <a:pt x="100" y="81"/>
                  </a:lnTo>
                  <a:lnTo>
                    <a:pt x="102" y="84"/>
                  </a:lnTo>
                  <a:lnTo>
                    <a:pt x="102" y="84"/>
                  </a:lnTo>
                  <a:lnTo>
                    <a:pt x="102" y="81"/>
                  </a:lnTo>
                  <a:lnTo>
                    <a:pt x="102" y="76"/>
                  </a:lnTo>
                  <a:lnTo>
                    <a:pt x="100" y="76"/>
                  </a:lnTo>
                  <a:lnTo>
                    <a:pt x="100" y="74"/>
                  </a:lnTo>
                  <a:lnTo>
                    <a:pt x="100" y="74"/>
                  </a:lnTo>
                  <a:close/>
                  <a:moveTo>
                    <a:pt x="92" y="20"/>
                  </a:moveTo>
                  <a:lnTo>
                    <a:pt x="92" y="23"/>
                  </a:lnTo>
                  <a:lnTo>
                    <a:pt x="92" y="23"/>
                  </a:lnTo>
                  <a:lnTo>
                    <a:pt x="92" y="23"/>
                  </a:lnTo>
                  <a:lnTo>
                    <a:pt x="92" y="23"/>
                  </a:lnTo>
                  <a:lnTo>
                    <a:pt x="92" y="23"/>
                  </a:lnTo>
                  <a:lnTo>
                    <a:pt x="92" y="20"/>
                  </a:lnTo>
                  <a:lnTo>
                    <a:pt x="92" y="20"/>
                  </a:lnTo>
                  <a:close/>
                  <a:moveTo>
                    <a:pt x="576" y="260"/>
                  </a:moveTo>
                  <a:lnTo>
                    <a:pt x="579" y="257"/>
                  </a:lnTo>
                  <a:lnTo>
                    <a:pt x="576" y="254"/>
                  </a:lnTo>
                  <a:lnTo>
                    <a:pt x="574" y="252"/>
                  </a:lnTo>
                  <a:lnTo>
                    <a:pt x="571" y="252"/>
                  </a:lnTo>
                  <a:lnTo>
                    <a:pt x="571" y="252"/>
                  </a:lnTo>
                  <a:lnTo>
                    <a:pt x="569" y="252"/>
                  </a:lnTo>
                  <a:lnTo>
                    <a:pt x="569" y="252"/>
                  </a:lnTo>
                  <a:lnTo>
                    <a:pt x="566" y="254"/>
                  </a:lnTo>
                  <a:lnTo>
                    <a:pt x="569" y="254"/>
                  </a:lnTo>
                  <a:lnTo>
                    <a:pt x="569" y="254"/>
                  </a:lnTo>
                  <a:lnTo>
                    <a:pt x="571" y="254"/>
                  </a:lnTo>
                  <a:lnTo>
                    <a:pt x="571" y="254"/>
                  </a:lnTo>
                  <a:lnTo>
                    <a:pt x="571" y="254"/>
                  </a:lnTo>
                  <a:lnTo>
                    <a:pt x="571" y="254"/>
                  </a:lnTo>
                  <a:lnTo>
                    <a:pt x="571" y="254"/>
                  </a:lnTo>
                  <a:lnTo>
                    <a:pt x="569" y="257"/>
                  </a:lnTo>
                  <a:lnTo>
                    <a:pt x="566" y="254"/>
                  </a:lnTo>
                  <a:lnTo>
                    <a:pt x="561" y="254"/>
                  </a:lnTo>
                  <a:lnTo>
                    <a:pt x="559" y="254"/>
                  </a:lnTo>
                  <a:lnTo>
                    <a:pt x="556" y="252"/>
                  </a:lnTo>
                  <a:lnTo>
                    <a:pt x="553" y="252"/>
                  </a:lnTo>
                  <a:lnTo>
                    <a:pt x="551" y="252"/>
                  </a:lnTo>
                  <a:lnTo>
                    <a:pt x="551" y="252"/>
                  </a:lnTo>
                  <a:lnTo>
                    <a:pt x="551" y="252"/>
                  </a:lnTo>
                  <a:lnTo>
                    <a:pt x="551" y="252"/>
                  </a:lnTo>
                  <a:lnTo>
                    <a:pt x="546" y="252"/>
                  </a:lnTo>
                  <a:lnTo>
                    <a:pt x="543" y="254"/>
                  </a:lnTo>
                  <a:lnTo>
                    <a:pt x="541" y="257"/>
                  </a:lnTo>
                  <a:lnTo>
                    <a:pt x="538" y="257"/>
                  </a:lnTo>
                  <a:lnTo>
                    <a:pt x="518" y="260"/>
                  </a:lnTo>
                  <a:lnTo>
                    <a:pt x="518" y="260"/>
                  </a:lnTo>
                  <a:lnTo>
                    <a:pt x="510" y="262"/>
                  </a:lnTo>
                  <a:lnTo>
                    <a:pt x="508" y="265"/>
                  </a:lnTo>
                  <a:lnTo>
                    <a:pt x="505" y="272"/>
                  </a:lnTo>
                  <a:lnTo>
                    <a:pt x="505" y="272"/>
                  </a:lnTo>
                  <a:lnTo>
                    <a:pt x="502" y="275"/>
                  </a:lnTo>
                  <a:lnTo>
                    <a:pt x="502" y="280"/>
                  </a:lnTo>
                  <a:lnTo>
                    <a:pt x="502" y="282"/>
                  </a:lnTo>
                  <a:lnTo>
                    <a:pt x="500" y="288"/>
                  </a:lnTo>
                  <a:lnTo>
                    <a:pt x="500" y="290"/>
                  </a:lnTo>
                  <a:lnTo>
                    <a:pt x="500" y="290"/>
                  </a:lnTo>
                  <a:lnTo>
                    <a:pt x="497" y="293"/>
                  </a:lnTo>
                  <a:lnTo>
                    <a:pt x="495" y="295"/>
                  </a:lnTo>
                  <a:lnTo>
                    <a:pt x="495" y="303"/>
                  </a:lnTo>
                  <a:lnTo>
                    <a:pt x="490" y="308"/>
                  </a:lnTo>
                  <a:lnTo>
                    <a:pt x="487" y="310"/>
                  </a:lnTo>
                  <a:lnTo>
                    <a:pt x="485" y="310"/>
                  </a:lnTo>
                  <a:lnTo>
                    <a:pt x="477" y="313"/>
                  </a:lnTo>
                  <a:lnTo>
                    <a:pt x="477" y="316"/>
                  </a:lnTo>
                  <a:lnTo>
                    <a:pt x="477" y="316"/>
                  </a:lnTo>
                  <a:lnTo>
                    <a:pt x="477" y="316"/>
                  </a:lnTo>
                  <a:lnTo>
                    <a:pt x="480" y="313"/>
                  </a:lnTo>
                  <a:lnTo>
                    <a:pt x="480" y="313"/>
                  </a:lnTo>
                  <a:lnTo>
                    <a:pt x="480" y="316"/>
                  </a:lnTo>
                  <a:lnTo>
                    <a:pt x="480" y="316"/>
                  </a:lnTo>
                  <a:lnTo>
                    <a:pt x="480" y="316"/>
                  </a:lnTo>
                  <a:lnTo>
                    <a:pt x="480" y="318"/>
                  </a:lnTo>
                  <a:lnTo>
                    <a:pt x="480" y="321"/>
                  </a:lnTo>
                  <a:lnTo>
                    <a:pt x="477" y="321"/>
                  </a:lnTo>
                  <a:lnTo>
                    <a:pt x="474" y="323"/>
                  </a:lnTo>
                  <a:lnTo>
                    <a:pt x="474" y="323"/>
                  </a:lnTo>
                  <a:lnTo>
                    <a:pt x="469" y="323"/>
                  </a:lnTo>
                  <a:lnTo>
                    <a:pt x="467" y="323"/>
                  </a:lnTo>
                  <a:lnTo>
                    <a:pt x="467" y="321"/>
                  </a:lnTo>
                  <a:lnTo>
                    <a:pt x="469" y="321"/>
                  </a:lnTo>
                  <a:lnTo>
                    <a:pt x="469" y="321"/>
                  </a:lnTo>
                  <a:lnTo>
                    <a:pt x="467" y="318"/>
                  </a:lnTo>
                  <a:lnTo>
                    <a:pt x="464" y="318"/>
                  </a:lnTo>
                  <a:lnTo>
                    <a:pt x="462" y="318"/>
                  </a:lnTo>
                  <a:lnTo>
                    <a:pt x="457" y="318"/>
                  </a:lnTo>
                  <a:lnTo>
                    <a:pt x="457" y="318"/>
                  </a:lnTo>
                  <a:lnTo>
                    <a:pt x="452" y="321"/>
                  </a:lnTo>
                  <a:lnTo>
                    <a:pt x="452" y="321"/>
                  </a:lnTo>
                  <a:lnTo>
                    <a:pt x="452" y="323"/>
                  </a:lnTo>
                  <a:lnTo>
                    <a:pt x="449" y="323"/>
                  </a:lnTo>
                  <a:lnTo>
                    <a:pt x="444" y="326"/>
                  </a:lnTo>
                  <a:lnTo>
                    <a:pt x="441" y="323"/>
                  </a:lnTo>
                  <a:lnTo>
                    <a:pt x="434" y="323"/>
                  </a:lnTo>
                  <a:lnTo>
                    <a:pt x="431" y="326"/>
                  </a:lnTo>
                  <a:lnTo>
                    <a:pt x="429" y="328"/>
                  </a:lnTo>
                  <a:lnTo>
                    <a:pt x="421" y="331"/>
                  </a:lnTo>
                  <a:lnTo>
                    <a:pt x="418" y="331"/>
                  </a:lnTo>
                  <a:lnTo>
                    <a:pt x="416" y="331"/>
                  </a:lnTo>
                  <a:lnTo>
                    <a:pt x="413" y="331"/>
                  </a:lnTo>
                  <a:lnTo>
                    <a:pt x="413" y="326"/>
                  </a:lnTo>
                  <a:lnTo>
                    <a:pt x="411" y="323"/>
                  </a:lnTo>
                  <a:lnTo>
                    <a:pt x="406" y="321"/>
                  </a:lnTo>
                  <a:lnTo>
                    <a:pt x="403" y="318"/>
                  </a:lnTo>
                  <a:lnTo>
                    <a:pt x="395" y="318"/>
                  </a:lnTo>
                  <a:lnTo>
                    <a:pt x="393" y="316"/>
                  </a:lnTo>
                  <a:lnTo>
                    <a:pt x="393" y="316"/>
                  </a:lnTo>
                  <a:lnTo>
                    <a:pt x="395" y="318"/>
                  </a:lnTo>
                  <a:lnTo>
                    <a:pt x="395" y="318"/>
                  </a:lnTo>
                  <a:lnTo>
                    <a:pt x="395" y="318"/>
                  </a:lnTo>
                  <a:lnTo>
                    <a:pt x="390" y="318"/>
                  </a:lnTo>
                  <a:lnTo>
                    <a:pt x="390" y="316"/>
                  </a:lnTo>
                  <a:lnTo>
                    <a:pt x="390" y="316"/>
                  </a:lnTo>
                  <a:lnTo>
                    <a:pt x="390" y="316"/>
                  </a:lnTo>
                  <a:lnTo>
                    <a:pt x="393" y="316"/>
                  </a:lnTo>
                  <a:lnTo>
                    <a:pt x="390" y="313"/>
                  </a:lnTo>
                  <a:lnTo>
                    <a:pt x="388" y="310"/>
                  </a:lnTo>
                  <a:lnTo>
                    <a:pt x="388" y="308"/>
                  </a:lnTo>
                  <a:lnTo>
                    <a:pt x="388" y="308"/>
                  </a:lnTo>
                  <a:lnTo>
                    <a:pt x="383" y="303"/>
                  </a:lnTo>
                  <a:lnTo>
                    <a:pt x="383" y="300"/>
                  </a:lnTo>
                  <a:lnTo>
                    <a:pt x="383" y="298"/>
                  </a:lnTo>
                  <a:lnTo>
                    <a:pt x="383" y="293"/>
                  </a:lnTo>
                  <a:lnTo>
                    <a:pt x="378" y="285"/>
                  </a:lnTo>
                  <a:lnTo>
                    <a:pt x="373" y="275"/>
                  </a:lnTo>
                  <a:lnTo>
                    <a:pt x="370" y="272"/>
                  </a:lnTo>
                  <a:lnTo>
                    <a:pt x="373" y="270"/>
                  </a:lnTo>
                  <a:lnTo>
                    <a:pt x="370" y="265"/>
                  </a:lnTo>
                  <a:lnTo>
                    <a:pt x="367" y="257"/>
                  </a:lnTo>
                  <a:lnTo>
                    <a:pt x="367" y="257"/>
                  </a:lnTo>
                  <a:lnTo>
                    <a:pt x="367" y="254"/>
                  </a:lnTo>
                  <a:lnTo>
                    <a:pt x="367" y="254"/>
                  </a:lnTo>
                  <a:lnTo>
                    <a:pt x="365" y="254"/>
                  </a:lnTo>
                  <a:lnTo>
                    <a:pt x="365" y="252"/>
                  </a:lnTo>
                  <a:lnTo>
                    <a:pt x="365" y="242"/>
                  </a:lnTo>
                  <a:lnTo>
                    <a:pt x="367" y="249"/>
                  </a:lnTo>
                  <a:lnTo>
                    <a:pt x="370" y="252"/>
                  </a:lnTo>
                  <a:lnTo>
                    <a:pt x="370" y="252"/>
                  </a:lnTo>
                  <a:lnTo>
                    <a:pt x="370" y="254"/>
                  </a:lnTo>
                  <a:lnTo>
                    <a:pt x="370" y="254"/>
                  </a:lnTo>
                  <a:lnTo>
                    <a:pt x="367" y="257"/>
                  </a:lnTo>
                  <a:lnTo>
                    <a:pt x="370" y="260"/>
                  </a:lnTo>
                  <a:lnTo>
                    <a:pt x="370" y="257"/>
                  </a:lnTo>
                  <a:lnTo>
                    <a:pt x="370" y="257"/>
                  </a:lnTo>
                  <a:lnTo>
                    <a:pt x="373" y="254"/>
                  </a:lnTo>
                  <a:lnTo>
                    <a:pt x="370" y="252"/>
                  </a:lnTo>
                  <a:lnTo>
                    <a:pt x="370" y="249"/>
                  </a:lnTo>
                  <a:lnTo>
                    <a:pt x="367" y="247"/>
                  </a:lnTo>
                  <a:lnTo>
                    <a:pt x="365" y="242"/>
                  </a:lnTo>
                  <a:lnTo>
                    <a:pt x="365" y="237"/>
                  </a:lnTo>
                  <a:lnTo>
                    <a:pt x="365" y="232"/>
                  </a:lnTo>
                  <a:lnTo>
                    <a:pt x="365" y="232"/>
                  </a:lnTo>
                  <a:lnTo>
                    <a:pt x="365" y="229"/>
                  </a:lnTo>
                  <a:lnTo>
                    <a:pt x="367" y="226"/>
                  </a:lnTo>
                  <a:lnTo>
                    <a:pt x="367" y="224"/>
                  </a:lnTo>
                  <a:lnTo>
                    <a:pt x="367" y="221"/>
                  </a:lnTo>
                  <a:lnTo>
                    <a:pt x="370" y="214"/>
                  </a:lnTo>
                  <a:lnTo>
                    <a:pt x="373" y="204"/>
                  </a:lnTo>
                  <a:lnTo>
                    <a:pt x="373" y="204"/>
                  </a:lnTo>
                  <a:lnTo>
                    <a:pt x="373" y="204"/>
                  </a:lnTo>
                  <a:lnTo>
                    <a:pt x="373" y="198"/>
                  </a:lnTo>
                  <a:lnTo>
                    <a:pt x="375" y="188"/>
                  </a:lnTo>
                  <a:lnTo>
                    <a:pt x="383" y="176"/>
                  </a:lnTo>
                  <a:lnTo>
                    <a:pt x="385" y="170"/>
                  </a:lnTo>
                  <a:lnTo>
                    <a:pt x="390" y="163"/>
                  </a:lnTo>
                  <a:lnTo>
                    <a:pt x="393" y="158"/>
                  </a:lnTo>
                  <a:lnTo>
                    <a:pt x="393" y="153"/>
                  </a:lnTo>
                  <a:lnTo>
                    <a:pt x="390" y="153"/>
                  </a:lnTo>
                  <a:lnTo>
                    <a:pt x="390" y="155"/>
                  </a:lnTo>
                  <a:lnTo>
                    <a:pt x="390" y="155"/>
                  </a:lnTo>
                  <a:lnTo>
                    <a:pt x="390" y="155"/>
                  </a:lnTo>
                  <a:lnTo>
                    <a:pt x="388" y="155"/>
                  </a:lnTo>
                  <a:lnTo>
                    <a:pt x="388" y="155"/>
                  </a:lnTo>
                  <a:lnTo>
                    <a:pt x="385" y="153"/>
                  </a:lnTo>
                  <a:lnTo>
                    <a:pt x="383" y="153"/>
                  </a:lnTo>
                  <a:lnTo>
                    <a:pt x="375" y="150"/>
                  </a:lnTo>
                  <a:lnTo>
                    <a:pt x="373" y="150"/>
                  </a:lnTo>
                  <a:lnTo>
                    <a:pt x="370" y="148"/>
                  </a:lnTo>
                  <a:lnTo>
                    <a:pt x="370" y="148"/>
                  </a:lnTo>
                  <a:lnTo>
                    <a:pt x="367" y="148"/>
                  </a:lnTo>
                  <a:lnTo>
                    <a:pt x="365" y="145"/>
                  </a:lnTo>
                  <a:lnTo>
                    <a:pt x="365" y="145"/>
                  </a:lnTo>
                  <a:lnTo>
                    <a:pt x="362" y="142"/>
                  </a:lnTo>
                  <a:lnTo>
                    <a:pt x="360" y="142"/>
                  </a:lnTo>
                  <a:lnTo>
                    <a:pt x="357" y="142"/>
                  </a:lnTo>
                  <a:lnTo>
                    <a:pt x="357" y="140"/>
                  </a:lnTo>
                  <a:lnTo>
                    <a:pt x="357" y="140"/>
                  </a:lnTo>
                  <a:lnTo>
                    <a:pt x="357" y="135"/>
                  </a:lnTo>
                  <a:lnTo>
                    <a:pt x="357" y="132"/>
                  </a:lnTo>
                  <a:lnTo>
                    <a:pt x="355" y="130"/>
                  </a:lnTo>
                  <a:lnTo>
                    <a:pt x="355" y="127"/>
                  </a:lnTo>
                  <a:lnTo>
                    <a:pt x="355" y="127"/>
                  </a:lnTo>
                  <a:lnTo>
                    <a:pt x="355" y="127"/>
                  </a:lnTo>
                  <a:lnTo>
                    <a:pt x="355" y="125"/>
                  </a:lnTo>
                  <a:lnTo>
                    <a:pt x="355" y="125"/>
                  </a:lnTo>
                  <a:lnTo>
                    <a:pt x="355" y="122"/>
                  </a:lnTo>
                  <a:lnTo>
                    <a:pt x="355" y="122"/>
                  </a:lnTo>
                  <a:lnTo>
                    <a:pt x="357" y="120"/>
                  </a:lnTo>
                  <a:lnTo>
                    <a:pt x="357" y="120"/>
                  </a:lnTo>
                  <a:lnTo>
                    <a:pt x="357" y="117"/>
                  </a:lnTo>
                  <a:lnTo>
                    <a:pt x="355" y="114"/>
                  </a:lnTo>
                  <a:lnTo>
                    <a:pt x="352" y="112"/>
                  </a:lnTo>
                  <a:lnTo>
                    <a:pt x="352" y="109"/>
                  </a:lnTo>
                  <a:lnTo>
                    <a:pt x="350" y="107"/>
                  </a:lnTo>
                  <a:lnTo>
                    <a:pt x="350" y="102"/>
                  </a:lnTo>
                  <a:lnTo>
                    <a:pt x="347" y="102"/>
                  </a:lnTo>
                  <a:lnTo>
                    <a:pt x="347" y="99"/>
                  </a:lnTo>
                  <a:lnTo>
                    <a:pt x="347" y="97"/>
                  </a:lnTo>
                  <a:lnTo>
                    <a:pt x="347" y="97"/>
                  </a:lnTo>
                  <a:lnTo>
                    <a:pt x="347" y="97"/>
                  </a:lnTo>
                  <a:lnTo>
                    <a:pt x="344" y="94"/>
                  </a:lnTo>
                  <a:lnTo>
                    <a:pt x="344" y="89"/>
                  </a:lnTo>
                  <a:lnTo>
                    <a:pt x="344" y="84"/>
                  </a:lnTo>
                  <a:lnTo>
                    <a:pt x="344" y="81"/>
                  </a:lnTo>
                  <a:lnTo>
                    <a:pt x="342" y="79"/>
                  </a:lnTo>
                  <a:lnTo>
                    <a:pt x="339" y="76"/>
                  </a:lnTo>
                  <a:lnTo>
                    <a:pt x="339" y="76"/>
                  </a:lnTo>
                  <a:lnTo>
                    <a:pt x="339" y="74"/>
                  </a:lnTo>
                  <a:lnTo>
                    <a:pt x="339" y="74"/>
                  </a:lnTo>
                  <a:lnTo>
                    <a:pt x="334" y="69"/>
                  </a:lnTo>
                  <a:lnTo>
                    <a:pt x="334" y="66"/>
                  </a:lnTo>
                  <a:lnTo>
                    <a:pt x="334" y="66"/>
                  </a:lnTo>
                  <a:lnTo>
                    <a:pt x="332" y="66"/>
                  </a:lnTo>
                  <a:lnTo>
                    <a:pt x="332" y="66"/>
                  </a:lnTo>
                  <a:lnTo>
                    <a:pt x="332" y="66"/>
                  </a:lnTo>
                  <a:lnTo>
                    <a:pt x="332" y="66"/>
                  </a:lnTo>
                  <a:lnTo>
                    <a:pt x="329" y="66"/>
                  </a:lnTo>
                  <a:lnTo>
                    <a:pt x="327" y="66"/>
                  </a:lnTo>
                  <a:lnTo>
                    <a:pt x="322" y="66"/>
                  </a:lnTo>
                  <a:lnTo>
                    <a:pt x="319" y="66"/>
                  </a:lnTo>
                  <a:lnTo>
                    <a:pt x="319" y="64"/>
                  </a:lnTo>
                  <a:lnTo>
                    <a:pt x="316" y="64"/>
                  </a:lnTo>
                  <a:lnTo>
                    <a:pt x="314" y="66"/>
                  </a:lnTo>
                  <a:lnTo>
                    <a:pt x="314" y="66"/>
                  </a:lnTo>
                  <a:lnTo>
                    <a:pt x="311" y="66"/>
                  </a:lnTo>
                  <a:lnTo>
                    <a:pt x="306" y="69"/>
                  </a:lnTo>
                  <a:lnTo>
                    <a:pt x="304" y="74"/>
                  </a:lnTo>
                  <a:lnTo>
                    <a:pt x="301" y="76"/>
                  </a:lnTo>
                  <a:lnTo>
                    <a:pt x="301" y="79"/>
                  </a:lnTo>
                  <a:lnTo>
                    <a:pt x="301" y="79"/>
                  </a:lnTo>
                  <a:lnTo>
                    <a:pt x="301" y="79"/>
                  </a:lnTo>
                  <a:lnTo>
                    <a:pt x="299" y="81"/>
                  </a:lnTo>
                  <a:lnTo>
                    <a:pt x="296" y="84"/>
                  </a:lnTo>
                  <a:lnTo>
                    <a:pt x="294" y="84"/>
                  </a:lnTo>
                  <a:lnTo>
                    <a:pt x="294" y="84"/>
                  </a:lnTo>
                  <a:lnTo>
                    <a:pt x="291" y="81"/>
                  </a:lnTo>
                  <a:lnTo>
                    <a:pt x="286" y="79"/>
                  </a:lnTo>
                  <a:lnTo>
                    <a:pt x="283" y="76"/>
                  </a:lnTo>
                  <a:lnTo>
                    <a:pt x="281" y="76"/>
                  </a:lnTo>
                  <a:lnTo>
                    <a:pt x="278" y="76"/>
                  </a:lnTo>
                  <a:lnTo>
                    <a:pt x="278" y="74"/>
                  </a:lnTo>
                  <a:lnTo>
                    <a:pt x="276" y="71"/>
                  </a:lnTo>
                  <a:lnTo>
                    <a:pt x="276" y="71"/>
                  </a:lnTo>
                  <a:lnTo>
                    <a:pt x="273" y="69"/>
                  </a:lnTo>
                  <a:lnTo>
                    <a:pt x="273" y="64"/>
                  </a:lnTo>
                  <a:lnTo>
                    <a:pt x="273" y="61"/>
                  </a:lnTo>
                  <a:lnTo>
                    <a:pt x="273" y="59"/>
                  </a:lnTo>
                  <a:lnTo>
                    <a:pt x="273" y="51"/>
                  </a:lnTo>
                  <a:lnTo>
                    <a:pt x="271" y="48"/>
                  </a:lnTo>
                  <a:lnTo>
                    <a:pt x="271" y="46"/>
                  </a:lnTo>
                  <a:lnTo>
                    <a:pt x="271" y="46"/>
                  </a:lnTo>
                  <a:lnTo>
                    <a:pt x="265" y="43"/>
                  </a:lnTo>
                  <a:lnTo>
                    <a:pt x="263" y="38"/>
                  </a:lnTo>
                  <a:lnTo>
                    <a:pt x="260" y="33"/>
                  </a:lnTo>
                  <a:lnTo>
                    <a:pt x="258" y="31"/>
                  </a:lnTo>
                  <a:lnTo>
                    <a:pt x="255" y="28"/>
                  </a:lnTo>
                  <a:lnTo>
                    <a:pt x="253" y="25"/>
                  </a:lnTo>
                  <a:lnTo>
                    <a:pt x="253" y="23"/>
                  </a:lnTo>
                  <a:lnTo>
                    <a:pt x="253" y="20"/>
                  </a:lnTo>
                  <a:lnTo>
                    <a:pt x="253" y="20"/>
                  </a:lnTo>
                  <a:lnTo>
                    <a:pt x="250" y="20"/>
                  </a:lnTo>
                  <a:lnTo>
                    <a:pt x="248" y="20"/>
                  </a:lnTo>
                  <a:lnTo>
                    <a:pt x="243" y="20"/>
                  </a:lnTo>
                  <a:lnTo>
                    <a:pt x="240" y="20"/>
                  </a:lnTo>
                  <a:lnTo>
                    <a:pt x="235" y="20"/>
                  </a:lnTo>
                  <a:lnTo>
                    <a:pt x="230" y="20"/>
                  </a:lnTo>
                  <a:lnTo>
                    <a:pt x="227" y="20"/>
                  </a:lnTo>
                  <a:lnTo>
                    <a:pt x="222" y="20"/>
                  </a:lnTo>
                  <a:lnTo>
                    <a:pt x="217" y="20"/>
                  </a:lnTo>
                  <a:lnTo>
                    <a:pt x="217" y="23"/>
                  </a:lnTo>
                  <a:lnTo>
                    <a:pt x="217" y="25"/>
                  </a:lnTo>
                  <a:lnTo>
                    <a:pt x="215" y="28"/>
                  </a:lnTo>
                  <a:lnTo>
                    <a:pt x="215" y="31"/>
                  </a:lnTo>
                  <a:lnTo>
                    <a:pt x="207" y="31"/>
                  </a:lnTo>
                  <a:lnTo>
                    <a:pt x="199" y="31"/>
                  </a:lnTo>
                  <a:lnTo>
                    <a:pt x="194" y="31"/>
                  </a:lnTo>
                  <a:lnTo>
                    <a:pt x="186" y="31"/>
                  </a:lnTo>
                  <a:lnTo>
                    <a:pt x="179" y="31"/>
                  </a:lnTo>
                  <a:lnTo>
                    <a:pt x="174" y="31"/>
                  </a:lnTo>
                  <a:lnTo>
                    <a:pt x="166" y="31"/>
                  </a:lnTo>
                  <a:lnTo>
                    <a:pt x="158" y="31"/>
                  </a:lnTo>
                  <a:lnTo>
                    <a:pt x="151" y="28"/>
                  </a:lnTo>
                  <a:lnTo>
                    <a:pt x="143" y="25"/>
                  </a:lnTo>
                  <a:lnTo>
                    <a:pt x="136" y="20"/>
                  </a:lnTo>
                  <a:lnTo>
                    <a:pt x="128" y="18"/>
                  </a:lnTo>
                  <a:lnTo>
                    <a:pt x="120" y="15"/>
                  </a:lnTo>
                  <a:lnTo>
                    <a:pt x="113" y="13"/>
                  </a:lnTo>
                  <a:lnTo>
                    <a:pt x="105" y="8"/>
                  </a:lnTo>
                  <a:lnTo>
                    <a:pt x="97" y="5"/>
                  </a:lnTo>
                  <a:lnTo>
                    <a:pt x="97" y="3"/>
                  </a:lnTo>
                  <a:lnTo>
                    <a:pt x="100" y="0"/>
                  </a:lnTo>
                  <a:lnTo>
                    <a:pt x="100" y="0"/>
                  </a:lnTo>
                  <a:lnTo>
                    <a:pt x="92" y="0"/>
                  </a:lnTo>
                  <a:lnTo>
                    <a:pt x="87" y="3"/>
                  </a:lnTo>
                  <a:lnTo>
                    <a:pt x="82" y="3"/>
                  </a:lnTo>
                  <a:lnTo>
                    <a:pt x="77" y="3"/>
                  </a:lnTo>
                  <a:lnTo>
                    <a:pt x="69" y="3"/>
                  </a:lnTo>
                  <a:lnTo>
                    <a:pt x="64" y="3"/>
                  </a:lnTo>
                  <a:lnTo>
                    <a:pt x="59" y="3"/>
                  </a:lnTo>
                  <a:lnTo>
                    <a:pt x="54" y="5"/>
                  </a:lnTo>
                  <a:lnTo>
                    <a:pt x="54" y="8"/>
                  </a:lnTo>
                  <a:lnTo>
                    <a:pt x="54" y="10"/>
                  </a:lnTo>
                  <a:lnTo>
                    <a:pt x="54" y="13"/>
                  </a:lnTo>
                  <a:lnTo>
                    <a:pt x="54" y="15"/>
                  </a:lnTo>
                  <a:lnTo>
                    <a:pt x="57" y="20"/>
                  </a:lnTo>
                  <a:lnTo>
                    <a:pt x="57" y="23"/>
                  </a:lnTo>
                  <a:lnTo>
                    <a:pt x="57" y="23"/>
                  </a:lnTo>
                  <a:lnTo>
                    <a:pt x="54" y="23"/>
                  </a:lnTo>
                  <a:lnTo>
                    <a:pt x="54" y="23"/>
                  </a:lnTo>
                  <a:lnTo>
                    <a:pt x="54" y="23"/>
                  </a:lnTo>
                  <a:lnTo>
                    <a:pt x="54" y="25"/>
                  </a:lnTo>
                  <a:lnTo>
                    <a:pt x="54" y="28"/>
                  </a:lnTo>
                  <a:lnTo>
                    <a:pt x="57" y="31"/>
                  </a:lnTo>
                  <a:lnTo>
                    <a:pt x="57" y="33"/>
                  </a:lnTo>
                  <a:lnTo>
                    <a:pt x="57" y="36"/>
                  </a:lnTo>
                  <a:lnTo>
                    <a:pt x="57" y="38"/>
                  </a:lnTo>
                  <a:lnTo>
                    <a:pt x="57" y="41"/>
                  </a:lnTo>
                  <a:lnTo>
                    <a:pt x="59" y="43"/>
                  </a:lnTo>
                  <a:lnTo>
                    <a:pt x="59" y="46"/>
                  </a:lnTo>
                  <a:lnTo>
                    <a:pt x="57" y="48"/>
                  </a:lnTo>
                  <a:lnTo>
                    <a:pt x="57" y="51"/>
                  </a:lnTo>
                  <a:lnTo>
                    <a:pt x="59" y="53"/>
                  </a:lnTo>
                  <a:lnTo>
                    <a:pt x="59" y="53"/>
                  </a:lnTo>
                  <a:lnTo>
                    <a:pt x="59" y="59"/>
                  </a:lnTo>
                  <a:lnTo>
                    <a:pt x="57" y="64"/>
                  </a:lnTo>
                  <a:lnTo>
                    <a:pt x="59" y="64"/>
                  </a:lnTo>
                  <a:lnTo>
                    <a:pt x="59" y="66"/>
                  </a:lnTo>
                  <a:lnTo>
                    <a:pt x="59" y="69"/>
                  </a:lnTo>
                  <a:lnTo>
                    <a:pt x="64" y="71"/>
                  </a:lnTo>
                  <a:lnTo>
                    <a:pt x="67" y="74"/>
                  </a:lnTo>
                  <a:lnTo>
                    <a:pt x="69" y="76"/>
                  </a:lnTo>
                  <a:lnTo>
                    <a:pt x="69" y="76"/>
                  </a:lnTo>
                  <a:lnTo>
                    <a:pt x="69" y="79"/>
                  </a:lnTo>
                  <a:lnTo>
                    <a:pt x="72" y="81"/>
                  </a:lnTo>
                  <a:lnTo>
                    <a:pt x="77" y="89"/>
                  </a:lnTo>
                  <a:lnTo>
                    <a:pt x="79" y="94"/>
                  </a:lnTo>
                  <a:lnTo>
                    <a:pt x="79" y="97"/>
                  </a:lnTo>
                  <a:lnTo>
                    <a:pt x="77" y="102"/>
                  </a:lnTo>
                  <a:lnTo>
                    <a:pt x="74" y="107"/>
                  </a:lnTo>
                  <a:lnTo>
                    <a:pt x="72" y="109"/>
                  </a:lnTo>
                  <a:lnTo>
                    <a:pt x="72" y="109"/>
                  </a:lnTo>
                  <a:lnTo>
                    <a:pt x="74" y="109"/>
                  </a:lnTo>
                  <a:lnTo>
                    <a:pt x="74" y="109"/>
                  </a:lnTo>
                  <a:lnTo>
                    <a:pt x="74" y="112"/>
                  </a:lnTo>
                  <a:lnTo>
                    <a:pt x="74" y="112"/>
                  </a:lnTo>
                  <a:lnTo>
                    <a:pt x="74" y="114"/>
                  </a:lnTo>
                  <a:lnTo>
                    <a:pt x="72" y="114"/>
                  </a:lnTo>
                  <a:lnTo>
                    <a:pt x="72" y="114"/>
                  </a:lnTo>
                  <a:lnTo>
                    <a:pt x="69" y="112"/>
                  </a:lnTo>
                  <a:lnTo>
                    <a:pt x="72" y="109"/>
                  </a:lnTo>
                  <a:lnTo>
                    <a:pt x="72" y="109"/>
                  </a:lnTo>
                  <a:lnTo>
                    <a:pt x="69" y="109"/>
                  </a:lnTo>
                  <a:lnTo>
                    <a:pt x="67" y="112"/>
                  </a:lnTo>
                  <a:lnTo>
                    <a:pt x="64" y="112"/>
                  </a:lnTo>
                  <a:lnTo>
                    <a:pt x="62" y="112"/>
                  </a:lnTo>
                  <a:lnTo>
                    <a:pt x="57" y="109"/>
                  </a:lnTo>
                  <a:lnTo>
                    <a:pt x="57" y="112"/>
                  </a:lnTo>
                  <a:lnTo>
                    <a:pt x="57" y="112"/>
                  </a:lnTo>
                  <a:lnTo>
                    <a:pt x="59" y="114"/>
                  </a:lnTo>
                  <a:lnTo>
                    <a:pt x="62" y="117"/>
                  </a:lnTo>
                  <a:lnTo>
                    <a:pt x="64" y="120"/>
                  </a:lnTo>
                  <a:lnTo>
                    <a:pt x="64" y="122"/>
                  </a:lnTo>
                  <a:lnTo>
                    <a:pt x="64" y="122"/>
                  </a:lnTo>
                  <a:lnTo>
                    <a:pt x="64" y="125"/>
                  </a:lnTo>
                  <a:lnTo>
                    <a:pt x="67" y="127"/>
                  </a:lnTo>
                  <a:lnTo>
                    <a:pt x="69" y="127"/>
                  </a:lnTo>
                  <a:lnTo>
                    <a:pt x="69" y="127"/>
                  </a:lnTo>
                  <a:lnTo>
                    <a:pt x="72" y="130"/>
                  </a:lnTo>
                  <a:lnTo>
                    <a:pt x="72" y="130"/>
                  </a:lnTo>
                  <a:lnTo>
                    <a:pt x="74" y="130"/>
                  </a:lnTo>
                  <a:lnTo>
                    <a:pt x="74" y="132"/>
                  </a:lnTo>
                  <a:lnTo>
                    <a:pt x="77" y="135"/>
                  </a:lnTo>
                  <a:lnTo>
                    <a:pt x="77" y="135"/>
                  </a:lnTo>
                  <a:lnTo>
                    <a:pt x="82" y="135"/>
                  </a:lnTo>
                  <a:lnTo>
                    <a:pt x="85" y="135"/>
                  </a:lnTo>
                  <a:lnTo>
                    <a:pt x="87" y="132"/>
                  </a:lnTo>
                  <a:lnTo>
                    <a:pt x="87" y="130"/>
                  </a:lnTo>
                  <a:lnTo>
                    <a:pt x="87" y="135"/>
                  </a:lnTo>
                  <a:lnTo>
                    <a:pt x="87" y="135"/>
                  </a:lnTo>
                  <a:lnTo>
                    <a:pt x="87" y="140"/>
                  </a:lnTo>
                  <a:lnTo>
                    <a:pt x="92" y="145"/>
                  </a:lnTo>
                  <a:lnTo>
                    <a:pt x="95" y="145"/>
                  </a:lnTo>
                  <a:lnTo>
                    <a:pt x="97" y="148"/>
                  </a:lnTo>
                  <a:lnTo>
                    <a:pt x="100" y="155"/>
                  </a:lnTo>
                  <a:lnTo>
                    <a:pt x="100" y="158"/>
                  </a:lnTo>
                  <a:lnTo>
                    <a:pt x="100" y="160"/>
                  </a:lnTo>
                  <a:lnTo>
                    <a:pt x="100" y="163"/>
                  </a:lnTo>
                  <a:lnTo>
                    <a:pt x="100" y="163"/>
                  </a:lnTo>
                  <a:lnTo>
                    <a:pt x="100" y="163"/>
                  </a:lnTo>
                  <a:lnTo>
                    <a:pt x="100" y="168"/>
                  </a:lnTo>
                  <a:lnTo>
                    <a:pt x="97" y="173"/>
                  </a:lnTo>
                  <a:lnTo>
                    <a:pt x="97" y="176"/>
                  </a:lnTo>
                  <a:lnTo>
                    <a:pt x="97" y="178"/>
                  </a:lnTo>
                  <a:lnTo>
                    <a:pt x="100" y="183"/>
                  </a:lnTo>
                  <a:lnTo>
                    <a:pt x="100" y="183"/>
                  </a:lnTo>
                  <a:lnTo>
                    <a:pt x="100" y="186"/>
                  </a:lnTo>
                  <a:lnTo>
                    <a:pt x="100" y="186"/>
                  </a:lnTo>
                  <a:lnTo>
                    <a:pt x="102" y="186"/>
                  </a:lnTo>
                  <a:lnTo>
                    <a:pt x="102" y="186"/>
                  </a:lnTo>
                  <a:lnTo>
                    <a:pt x="105" y="188"/>
                  </a:lnTo>
                  <a:lnTo>
                    <a:pt x="107" y="191"/>
                  </a:lnTo>
                  <a:lnTo>
                    <a:pt x="113" y="196"/>
                  </a:lnTo>
                  <a:lnTo>
                    <a:pt x="115" y="198"/>
                  </a:lnTo>
                  <a:lnTo>
                    <a:pt x="118" y="201"/>
                  </a:lnTo>
                  <a:lnTo>
                    <a:pt x="120" y="204"/>
                  </a:lnTo>
                  <a:lnTo>
                    <a:pt x="123" y="206"/>
                  </a:lnTo>
                  <a:lnTo>
                    <a:pt x="125" y="209"/>
                  </a:lnTo>
                  <a:lnTo>
                    <a:pt x="125" y="211"/>
                  </a:lnTo>
                  <a:lnTo>
                    <a:pt x="125" y="214"/>
                  </a:lnTo>
                  <a:lnTo>
                    <a:pt x="125" y="221"/>
                  </a:lnTo>
                  <a:lnTo>
                    <a:pt x="128" y="224"/>
                  </a:lnTo>
                  <a:lnTo>
                    <a:pt x="130" y="224"/>
                  </a:lnTo>
                  <a:lnTo>
                    <a:pt x="130" y="221"/>
                  </a:lnTo>
                  <a:lnTo>
                    <a:pt x="133" y="221"/>
                  </a:lnTo>
                  <a:lnTo>
                    <a:pt x="136" y="219"/>
                  </a:lnTo>
                  <a:lnTo>
                    <a:pt x="138" y="216"/>
                  </a:lnTo>
                  <a:lnTo>
                    <a:pt x="141" y="216"/>
                  </a:lnTo>
                  <a:lnTo>
                    <a:pt x="141" y="211"/>
                  </a:lnTo>
                  <a:lnTo>
                    <a:pt x="141" y="209"/>
                  </a:lnTo>
                  <a:lnTo>
                    <a:pt x="141" y="206"/>
                  </a:lnTo>
                  <a:lnTo>
                    <a:pt x="138" y="206"/>
                  </a:lnTo>
                  <a:lnTo>
                    <a:pt x="138" y="204"/>
                  </a:lnTo>
                  <a:lnTo>
                    <a:pt x="136" y="201"/>
                  </a:lnTo>
                  <a:lnTo>
                    <a:pt x="136" y="198"/>
                  </a:lnTo>
                  <a:lnTo>
                    <a:pt x="136" y="196"/>
                  </a:lnTo>
                  <a:lnTo>
                    <a:pt x="133" y="196"/>
                  </a:lnTo>
                  <a:lnTo>
                    <a:pt x="133" y="193"/>
                  </a:lnTo>
                  <a:lnTo>
                    <a:pt x="130" y="191"/>
                  </a:lnTo>
                  <a:lnTo>
                    <a:pt x="128" y="191"/>
                  </a:lnTo>
                  <a:lnTo>
                    <a:pt x="128" y="191"/>
                  </a:lnTo>
                  <a:lnTo>
                    <a:pt x="128" y="191"/>
                  </a:lnTo>
                  <a:lnTo>
                    <a:pt x="128" y="193"/>
                  </a:lnTo>
                  <a:lnTo>
                    <a:pt x="128" y="196"/>
                  </a:lnTo>
                  <a:lnTo>
                    <a:pt x="125" y="196"/>
                  </a:lnTo>
                  <a:lnTo>
                    <a:pt x="125" y="196"/>
                  </a:lnTo>
                  <a:lnTo>
                    <a:pt x="125" y="193"/>
                  </a:lnTo>
                  <a:lnTo>
                    <a:pt x="125" y="193"/>
                  </a:lnTo>
                  <a:lnTo>
                    <a:pt x="123" y="193"/>
                  </a:lnTo>
                  <a:lnTo>
                    <a:pt x="123" y="191"/>
                  </a:lnTo>
                  <a:lnTo>
                    <a:pt x="120" y="183"/>
                  </a:lnTo>
                  <a:lnTo>
                    <a:pt x="123" y="183"/>
                  </a:lnTo>
                  <a:lnTo>
                    <a:pt x="123" y="181"/>
                  </a:lnTo>
                  <a:lnTo>
                    <a:pt x="123" y="178"/>
                  </a:lnTo>
                  <a:lnTo>
                    <a:pt x="123" y="176"/>
                  </a:lnTo>
                  <a:lnTo>
                    <a:pt x="120" y="173"/>
                  </a:lnTo>
                  <a:lnTo>
                    <a:pt x="120" y="165"/>
                  </a:lnTo>
                  <a:lnTo>
                    <a:pt x="120" y="163"/>
                  </a:lnTo>
                  <a:lnTo>
                    <a:pt x="118" y="163"/>
                  </a:lnTo>
                  <a:lnTo>
                    <a:pt x="118" y="158"/>
                  </a:lnTo>
                  <a:lnTo>
                    <a:pt x="118" y="153"/>
                  </a:lnTo>
                  <a:lnTo>
                    <a:pt x="118" y="150"/>
                  </a:lnTo>
                  <a:lnTo>
                    <a:pt x="118" y="148"/>
                  </a:lnTo>
                  <a:lnTo>
                    <a:pt x="118" y="145"/>
                  </a:lnTo>
                  <a:lnTo>
                    <a:pt x="118" y="142"/>
                  </a:lnTo>
                  <a:lnTo>
                    <a:pt x="118" y="140"/>
                  </a:lnTo>
                  <a:lnTo>
                    <a:pt x="118" y="140"/>
                  </a:lnTo>
                  <a:lnTo>
                    <a:pt x="118" y="137"/>
                  </a:lnTo>
                  <a:lnTo>
                    <a:pt x="113" y="132"/>
                  </a:lnTo>
                  <a:lnTo>
                    <a:pt x="113" y="132"/>
                  </a:lnTo>
                  <a:lnTo>
                    <a:pt x="113" y="135"/>
                  </a:lnTo>
                  <a:lnTo>
                    <a:pt x="113" y="137"/>
                  </a:lnTo>
                  <a:lnTo>
                    <a:pt x="113" y="140"/>
                  </a:lnTo>
                  <a:lnTo>
                    <a:pt x="113" y="140"/>
                  </a:lnTo>
                  <a:lnTo>
                    <a:pt x="113" y="140"/>
                  </a:lnTo>
                  <a:lnTo>
                    <a:pt x="110" y="137"/>
                  </a:lnTo>
                  <a:lnTo>
                    <a:pt x="113" y="132"/>
                  </a:lnTo>
                  <a:lnTo>
                    <a:pt x="110" y="130"/>
                  </a:lnTo>
                  <a:lnTo>
                    <a:pt x="110" y="130"/>
                  </a:lnTo>
                  <a:lnTo>
                    <a:pt x="110" y="127"/>
                  </a:lnTo>
                  <a:lnTo>
                    <a:pt x="110" y="127"/>
                  </a:lnTo>
                  <a:lnTo>
                    <a:pt x="107" y="125"/>
                  </a:lnTo>
                  <a:lnTo>
                    <a:pt x="107" y="122"/>
                  </a:lnTo>
                  <a:lnTo>
                    <a:pt x="107" y="117"/>
                  </a:lnTo>
                  <a:lnTo>
                    <a:pt x="105" y="114"/>
                  </a:lnTo>
                  <a:lnTo>
                    <a:pt x="102" y="112"/>
                  </a:lnTo>
                  <a:lnTo>
                    <a:pt x="102" y="109"/>
                  </a:lnTo>
                  <a:lnTo>
                    <a:pt x="102" y="107"/>
                  </a:lnTo>
                  <a:lnTo>
                    <a:pt x="102" y="104"/>
                  </a:lnTo>
                  <a:lnTo>
                    <a:pt x="102" y="102"/>
                  </a:lnTo>
                  <a:lnTo>
                    <a:pt x="102" y="99"/>
                  </a:lnTo>
                  <a:lnTo>
                    <a:pt x="102" y="99"/>
                  </a:lnTo>
                  <a:lnTo>
                    <a:pt x="102" y="97"/>
                  </a:lnTo>
                  <a:lnTo>
                    <a:pt x="102" y="97"/>
                  </a:lnTo>
                  <a:lnTo>
                    <a:pt x="100" y="97"/>
                  </a:lnTo>
                  <a:lnTo>
                    <a:pt x="100" y="94"/>
                  </a:lnTo>
                  <a:lnTo>
                    <a:pt x="100" y="89"/>
                  </a:lnTo>
                  <a:lnTo>
                    <a:pt x="97" y="89"/>
                  </a:lnTo>
                  <a:lnTo>
                    <a:pt x="97" y="89"/>
                  </a:lnTo>
                  <a:lnTo>
                    <a:pt x="97" y="89"/>
                  </a:lnTo>
                  <a:lnTo>
                    <a:pt x="97" y="87"/>
                  </a:lnTo>
                  <a:lnTo>
                    <a:pt x="97" y="87"/>
                  </a:lnTo>
                  <a:lnTo>
                    <a:pt x="95" y="87"/>
                  </a:lnTo>
                  <a:lnTo>
                    <a:pt x="95" y="84"/>
                  </a:lnTo>
                  <a:lnTo>
                    <a:pt x="95" y="81"/>
                  </a:lnTo>
                  <a:lnTo>
                    <a:pt x="92" y="76"/>
                  </a:lnTo>
                  <a:lnTo>
                    <a:pt x="92" y="74"/>
                  </a:lnTo>
                  <a:lnTo>
                    <a:pt x="87" y="71"/>
                  </a:lnTo>
                  <a:lnTo>
                    <a:pt x="87" y="69"/>
                  </a:lnTo>
                  <a:lnTo>
                    <a:pt x="85" y="66"/>
                  </a:lnTo>
                  <a:lnTo>
                    <a:pt x="85" y="64"/>
                  </a:lnTo>
                  <a:lnTo>
                    <a:pt x="82" y="61"/>
                  </a:lnTo>
                  <a:lnTo>
                    <a:pt x="82" y="59"/>
                  </a:lnTo>
                  <a:lnTo>
                    <a:pt x="82" y="56"/>
                  </a:lnTo>
                  <a:lnTo>
                    <a:pt x="85" y="51"/>
                  </a:lnTo>
                  <a:lnTo>
                    <a:pt x="85" y="48"/>
                  </a:lnTo>
                  <a:lnTo>
                    <a:pt x="85" y="43"/>
                  </a:lnTo>
                  <a:lnTo>
                    <a:pt x="85" y="41"/>
                  </a:lnTo>
                  <a:lnTo>
                    <a:pt x="85" y="38"/>
                  </a:lnTo>
                  <a:lnTo>
                    <a:pt x="85" y="36"/>
                  </a:lnTo>
                  <a:lnTo>
                    <a:pt x="87" y="28"/>
                  </a:lnTo>
                  <a:lnTo>
                    <a:pt x="90" y="25"/>
                  </a:lnTo>
                  <a:lnTo>
                    <a:pt x="90" y="20"/>
                  </a:lnTo>
                  <a:lnTo>
                    <a:pt x="90" y="20"/>
                  </a:lnTo>
                  <a:lnTo>
                    <a:pt x="90" y="18"/>
                  </a:lnTo>
                  <a:lnTo>
                    <a:pt x="92" y="20"/>
                  </a:lnTo>
                  <a:lnTo>
                    <a:pt x="92" y="20"/>
                  </a:lnTo>
                  <a:lnTo>
                    <a:pt x="95" y="23"/>
                  </a:lnTo>
                  <a:lnTo>
                    <a:pt x="95" y="23"/>
                  </a:lnTo>
                  <a:lnTo>
                    <a:pt x="100" y="25"/>
                  </a:lnTo>
                  <a:lnTo>
                    <a:pt x="102" y="28"/>
                  </a:lnTo>
                  <a:lnTo>
                    <a:pt x="102" y="28"/>
                  </a:lnTo>
                  <a:lnTo>
                    <a:pt x="105" y="28"/>
                  </a:lnTo>
                  <a:lnTo>
                    <a:pt x="105" y="25"/>
                  </a:lnTo>
                  <a:lnTo>
                    <a:pt x="107" y="25"/>
                  </a:lnTo>
                  <a:lnTo>
                    <a:pt x="110" y="25"/>
                  </a:lnTo>
                  <a:lnTo>
                    <a:pt x="110" y="28"/>
                  </a:lnTo>
                  <a:lnTo>
                    <a:pt x="110" y="28"/>
                  </a:lnTo>
                  <a:lnTo>
                    <a:pt x="110" y="31"/>
                  </a:lnTo>
                  <a:lnTo>
                    <a:pt x="113" y="33"/>
                  </a:lnTo>
                  <a:lnTo>
                    <a:pt x="118" y="33"/>
                  </a:lnTo>
                  <a:lnTo>
                    <a:pt x="118" y="33"/>
                  </a:lnTo>
                  <a:lnTo>
                    <a:pt x="120" y="33"/>
                  </a:lnTo>
                  <a:lnTo>
                    <a:pt x="120" y="36"/>
                  </a:lnTo>
                  <a:lnTo>
                    <a:pt x="120" y="38"/>
                  </a:lnTo>
                  <a:lnTo>
                    <a:pt x="118" y="38"/>
                  </a:lnTo>
                  <a:lnTo>
                    <a:pt x="118" y="38"/>
                  </a:lnTo>
                  <a:lnTo>
                    <a:pt x="118" y="38"/>
                  </a:lnTo>
                  <a:lnTo>
                    <a:pt x="118" y="38"/>
                  </a:lnTo>
                  <a:lnTo>
                    <a:pt x="118" y="41"/>
                  </a:lnTo>
                  <a:lnTo>
                    <a:pt x="115" y="43"/>
                  </a:lnTo>
                  <a:lnTo>
                    <a:pt x="115" y="46"/>
                  </a:lnTo>
                  <a:lnTo>
                    <a:pt x="118" y="51"/>
                  </a:lnTo>
                  <a:lnTo>
                    <a:pt x="118" y="56"/>
                  </a:lnTo>
                  <a:lnTo>
                    <a:pt x="118" y="59"/>
                  </a:lnTo>
                  <a:lnTo>
                    <a:pt x="118" y="61"/>
                  </a:lnTo>
                  <a:lnTo>
                    <a:pt x="118" y="64"/>
                  </a:lnTo>
                  <a:lnTo>
                    <a:pt x="118" y="64"/>
                  </a:lnTo>
                  <a:lnTo>
                    <a:pt x="118" y="69"/>
                  </a:lnTo>
                  <a:lnTo>
                    <a:pt x="120" y="71"/>
                  </a:lnTo>
                  <a:lnTo>
                    <a:pt x="120" y="74"/>
                  </a:lnTo>
                  <a:lnTo>
                    <a:pt x="120" y="74"/>
                  </a:lnTo>
                  <a:lnTo>
                    <a:pt x="118" y="76"/>
                  </a:lnTo>
                  <a:lnTo>
                    <a:pt x="120" y="76"/>
                  </a:lnTo>
                  <a:lnTo>
                    <a:pt x="120" y="79"/>
                  </a:lnTo>
                  <a:lnTo>
                    <a:pt x="120" y="81"/>
                  </a:lnTo>
                  <a:lnTo>
                    <a:pt x="120" y="84"/>
                  </a:lnTo>
                  <a:lnTo>
                    <a:pt x="123" y="87"/>
                  </a:lnTo>
                  <a:lnTo>
                    <a:pt x="123" y="89"/>
                  </a:lnTo>
                  <a:lnTo>
                    <a:pt x="123" y="89"/>
                  </a:lnTo>
                  <a:lnTo>
                    <a:pt x="123" y="89"/>
                  </a:lnTo>
                  <a:lnTo>
                    <a:pt x="125" y="92"/>
                  </a:lnTo>
                  <a:lnTo>
                    <a:pt x="125" y="94"/>
                  </a:lnTo>
                  <a:lnTo>
                    <a:pt x="125" y="97"/>
                  </a:lnTo>
                  <a:lnTo>
                    <a:pt x="130" y="99"/>
                  </a:lnTo>
                  <a:lnTo>
                    <a:pt x="130" y="104"/>
                  </a:lnTo>
                  <a:lnTo>
                    <a:pt x="133" y="107"/>
                  </a:lnTo>
                  <a:lnTo>
                    <a:pt x="136" y="109"/>
                  </a:lnTo>
                  <a:lnTo>
                    <a:pt x="138" y="109"/>
                  </a:lnTo>
                  <a:lnTo>
                    <a:pt x="138" y="109"/>
                  </a:lnTo>
                  <a:lnTo>
                    <a:pt x="141" y="109"/>
                  </a:lnTo>
                  <a:lnTo>
                    <a:pt x="143" y="109"/>
                  </a:lnTo>
                  <a:lnTo>
                    <a:pt x="143" y="112"/>
                  </a:lnTo>
                  <a:lnTo>
                    <a:pt x="141" y="114"/>
                  </a:lnTo>
                  <a:lnTo>
                    <a:pt x="141" y="117"/>
                  </a:lnTo>
                  <a:lnTo>
                    <a:pt x="141" y="120"/>
                  </a:lnTo>
                  <a:lnTo>
                    <a:pt x="141" y="120"/>
                  </a:lnTo>
                  <a:lnTo>
                    <a:pt x="143" y="122"/>
                  </a:lnTo>
                  <a:lnTo>
                    <a:pt x="143" y="125"/>
                  </a:lnTo>
                  <a:lnTo>
                    <a:pt x="146" y="125"/>
                  </a:lnTo>
                  <a:lnTo>
                    <a:pt x="151" y="127"/>
                  </a:lnTo>
                  <a:lnTo>
                    <a:pt x="151" y="130"/>
                  </a:lnTo>
                  <a:lnTo>
                    <a:pt x="151" y="130"/>
                  </a:lnTo>
                  <a:lnTo>
                    <a:pt x="151" y="132"/>
                  </a:lnTo>
                  <a:lnTo>
                    <a:pt x="151" y="135"/>
                  </a:lnTo>
                  <a:lnTo>
                    <a:pt x="153" y="137"/>
                  </a:lnTo>
                  <a:lnTo>
                    <a:pt x="153" y="137"/>
                  </a:lnTo>
                  <a:lnTo>
                    <a:pt x="158" y="137"/>
                  </a:lnTo>
                  <a:lnTo>
                    <a:pt x="161" y="140"/>
                  </a:lnTo>
                  <a:lnTo>
                    <a:pt x="161" y="142"/>
                  </a:lnTo>
                  <a:lnTo>
                    <a:pt x="161" y="142"/>
                  </a:lnTo>
                  <a:lnTo>
                    <a:pt x="161" y="145"/>
                  </a:lnTo>
                  <a:lnTo>
                    <a:pt x="161" y="145"/>
                  </a:lnTo>
                  <a:lnTo>
                    <a:pt x="161" y="148"/>
                  </a:lnTo>
                  <a:lnTo>
                    <a:pt x="161" y="148"/>
                  </a:lnTo>
                  <a:lnTo>
                    <a:pt x="161" y="145"/>
                  </a:lnTo>
                  <a:lnTo>
                    <a:pt x="158" y="148"/>
                  </a:lnTo>
                  <a:lnTo>
                    <a:pt x="156" y="150"/>
                  </a:lnTo>
                  <a:lnTo>
                    <a:pt x="156" y="153"/>
                  </a:lnTo>
                  <a:lnTo>
                    <a:pt x="153" y="158"/>
                  </a:lnTo>
                  <a:lnTo>
                    <a:pt x="156" y="160"/>
                  </a:lnTo>
                  <a:lnTo>
                    <a:pt x="156" y="160"/>
                  </a:lnTo>
                  <a:lnTo>
                    <a:pt x="156" y="163"/>
                  </a:lnTo>
                  <a:lnTo>
                    <a:pt x="158" y="160"/>
                  </a:lnTo>
                  <a:lnTo>
                    <a:pt x="161" y="160"/>
                  </a:lnTo>
                  <a:lnTo>
                    <a:pt x="164" y="160"/>
                  </a:lnTo>
                  <a:lnTo>
                    <a:pt x="164" y="158"/>
                  </a:lnTo>
                  <a:lnTo>
                    <a:pt x="164" y="160"/>
                  </a:lnTo>
                  <a:lnTo>
                    <a:pt x="161" y="163"/>
                  </a:lnTo>
                  <a:lnTo>
                    <a:pt x="158" y="163"/>
                  </a:lnTo>
                  <a:lnTo>
                    <a:pt x="158" y="163"/>
                  </a:lnTo>
                  <a:lnTo>
                    <a:pt x="158" y="165"/>
                  </a:lnTo>
                  <a:lnTo>
                    <a:pt x="161" y="163"/>
                  </a:lnTo>
                  <a:lnTo>
                    <a:pt x="164" y="163"/>
                  </a:lnTo>
                  <a:lnTo>
                    <a:pt x="164" y="163"/>
                  </a:lnTo>
                  <a:lnTo>
                    <a:pt x="164" y="165"/>
                  </a:lnTo>
                  <a:lnTo>
                    <a:pt x="166" y="165"/>
                  </a:lnTo>
                  <a:lnTo>
                    <a:pt x="169" y="168"/>
                  </a:lnTo>
                  <a:lnTo>
                    <a:pt x="171" y="170"/>
                  </a:lnTo>
                  <a:lnTo>
                    <a:pt x="176" y="173"/>
                  </a:lnTo>
                  <a:lnTo>
                    <a:pt x="176" y="173"/>
                  </a:lnTo>
                  <a:lnTo>
                    <a:pt x="176" y="176"/>
                  </a:lnTo>
                  <a:lnTo>
                    <a:pt x="176" y="176"/>
                  </a:lnTo>
                  <a:lnTo>
                    <a:pt x="174" y="176"/>
                  </a:lnTo>
                  <a:lnTo>
                    <a:pt x="174" y="176"/>
                  </a:lnTo>
                  <a:lnTo>
                    <a:pt x="174" y="173"/>
                  </a:lnTo>
                  <a:lnTo>
                    <a:pt x="171" y="173"/>
                  </a:lnTo>
                  <a:lnTo>
                    <a:pt x="174" y="176"/>
                  </a:lnTo>
                  <a:lnTo>
                    <a:pt x="176" y="181"/>
                  </a:lnTo>
                  <a:lnTo>
                    <a:pt x="176" y="183"/>
                  </a:lnTo>
                  <a:lnTo>
                    <a:pt x="176" y="183"/>
                  </a:lnTo>
                  <a:lnTo>
                    <a:pt x="179" y="186"/>
                  </a:lnTo>
                  <a:lnTo>
                    <a:pt x="181" y="186"/>
                  </a:lnTo>
                  <a:lnTo>
                    <a:pt x="181" y="186"/>
                  </a:lnTo>
                  <a:lnTo>
                    <a:pt x="181" y="186"/>
                  </a:lnTo>
                  <a:lnTo>
                    <a:pt x="184" y="186"/>
                  </a:lnTo>
                  <a:lnTo>
                    <a:pt x="184" y="186"/>
                  </a:lnTo>
                  <a:lnTo>
                    <a:pt x="184" y="188"/>
                  </a:lnTo>
                  <a:lnTo>
                    <a:pt x="184" y="188"/>
                  </a:lnTo>
                  <a:lnTo>
                    <a:pt x="184" y="191"/>
                  </a:lnTo>
                  <a:lnTo>
                    <a:pt x="179" y="188"/>
                  </a:lnTo>
                  <a:lnTo>
                    <a:pt x="179" y="188"/>
                  </a:lnTo>
                  <a:lnTo>
                    <a:pt x="189" y="198"/>
                  </a:lnTo>
                  <a:lnTo>
                    <a:pt x="192" y="201"/>
                  </a:lnTo>
                  <a:lnTo>
                    <a:pt x="194" y="206"/>
                  </a:lnTo>
                  <a:lnTo>
                    <a:pt x="197" y="211"/>
                  </a:lnTo>
                  <a:lnTo>
                    <a:pt x="199" y="216"/>
                  </a:lnTo>
                  <a:lnTo>
                    <a:pt x="202" y="219"/>
                  </a:lnTo>
                  <a:lnTo>
                    <a:pt x="204" y="224"/>
                  </a:lnTo>
                  <a:lnTo>
                    <a:pt x="207" y="226"/>
                  </a:lnTo>
                  <a:lnTo>
                    <a:pt x="209" y="229"/>
                  </a:lnTo>
                  <a:lnTo>
                    <a:pt x="212" y="237"/>
                  </a:lnTo>
                  <a:lnTo>
                    <a:pt x="209" y="244"/>
                  </a:lnTo>
                  <a:lnTo>
                    <a:pt x="212" y="247"/>
                  </a:lnTo>
                  <a:lnTo>
                    <a:pt x="212" y="252"/>
                  </a:lnTo>
                  <a:lnTo>
                    <a:pt x="212" y="252"/>
                  </a:lnTo>
                  <a:lnTo>
                    <a:pt x="217" y="254"/>
                  </a:lnTo>
                  <a:lnTo>
                    <a:pt x="215" y="257"/>
                  </a:lnTo>
                  <a:lnTo>
                    <a:pt x="215" y="260"/>
                  </a:lnTo>
                  <a:lnTo>
                    <a:pt x="215" y="262"/>
                  </a:lnTo>
                  <a:lnTo>
                    <a:pt x="212" y="265"/>
                  </a:lnTo>
                  <a:lnTo>
                    <a:pt x="209" y="267"/>
                  </a:lnTo>
                  <a:lnTo>
                    <a:pt x="209" y="270"/>
                  </a:lnTo>
                  <a:lnTo>
                    <a:pt x="207" y="270"/>
                  </a:lnTo>
                  <a:lnTo>
                    <a:pt x="207" y="272"/>
                  </a:lnTo>
                  <a:lnTo>
                    <a:pt x="209" y="272"/>
                  </a:lnTo>
                  <a:lnTo>
                    <a:pt x="212" y="272"/>
                  </a:lnTo>
                  <a:lnTo>
                    <a:pt x="212" y="272"/>
                  </a:lnTo>
                  <a:lnTo>
                    <a:pt x="212" y="275"/>
                  </a:lnTo>
                  <a:lnTo>
                    <a:pt x="212" y="275"/>
                  </a:lnTo>
                  <a:lnTo>
                    <a:pt x="209" y="277"/>
                  </a:lnTo>
                  <a:lnTo>
                    <a:pt x="204" y="277"/>
                  </a:lnTo>
                  <a:lnTo>
                    <a:pt x="204" y="280"/>
                  </a:lnTo>
                  <a:lnTo>
                    <a:pt x="202" y="280"/>
                  </a:lnTo>
                  <a:lnTo>
                    <a:pt x="204" y="282"/>
                  </a:lnTo>
                  <a:lnTo>
                    <a:pt x="204" y="282"/>
                  </a:lnTo>
                  <a:lnTo>
                    <a:pt x="204" y="288"/>
                  </a:lnTo>
                  <a:lnTo>
                    <a:pt x="204" y="290"/>
                  </a:lnTo>
                  <a:lnTo>
                    <a:pt x="207" y="295"/>
                  </a:lnTo>
                  <a:lnTo>
                    <a:pt x="209" y="298"/>
                  </a:lnTo>
                  <a:lnTo>
                    <a:pt x="212" y="300"/>
                  </a:lnTo>
                  <a:lnTo>
                    <a:pt x="212" y="305"/>
                  </a:lnTo>
                  <a:lnTo>
                    <a:pt x="220" y="308"/>
                  </a:lnTo>
                  <a:lnTo>
                    <a:pt x="222" y="310"/>
                  </a:lnTo>
                  <a:lnTo>
                    <a:pt x="225" y="310"/>
                  </a:lnTo>
                  <a:lnTo>
                    <a:pt x="230" y="313"/>
                  </a:lnTo>
                  <a:lnTo>
                    <a:pt x="232" y="316"/>
                  </a:lnTo>
                  <a:lnTo>
                    <a:pt x="235" y="321"/>
                  </a:lnTo>
                  <a:lnTo>
                    <a:pt x="237" y="323"/>
                  </a:lnTo>
                  <a:lnTo>
                    <a:pt x="237" y="326"/>
                  </a:lnTo>
                  <a:lnTo>
                    <a:pt x="248" y="331"/>
                  </a:lnTo>
                  <a:lnTo>
                    <a:pt x="253" y="333"/>
                  </a:lnTo>
                  <a:lnTo>
                    <a:pt x="255" y="333"/>
                  </a:lnTo>
                  <a:lnTo>
                    <a:pt x="260" y="336"/>
                  </a:lnTo>
                  <a:lnTo>
                    <a:pt x="265" y="336"/>
                  </a:lnTo>
                  <a:lnTo>
                    <a:pt x="268" y="336"/>
                  </a:lnTo>
                  <a:lnTo>
                    <a:pt x="268" y="336"/>
                  </a:lnTo>
                  <a:lnTo>
                    <a:pt x="271" y="338"/>
                  </a:lnTo>
                  <a:lnTo>
                    <a:pt x="273" y="341"/>
                  </a:lnTo>
                  <a:lnTo>
                    <a:pt x="276" y="344"/>
                  </a:lnTo>
                  <a:lnTo>
                    <a:pt x="276" y="346"/>
                  </a:lnTo>
                  <a:lnTo>
                    <a:pt x="281" y="349"/>
                  </a:lnTo>
                  <a:lnTo>
                    <a:pt x="283" y="351"/>
                  </a:lnTo>
                  <a:lnTo>
                    <a:pt x="286" y="351"/>
                  </a:lnTo>
                  <a:lnTo>
                    <a:pt x="294" y="356"/>
                  </a:lnTo>
                  <a:lnTo>
                    <a:pt x="296" y="356"/>
                  </a:lnTo>
                  <a:lnTo>
                    <a:pt x="301" y="359"/>
                  </a:lnTo>
                  <a:lnTo>
                    <a:pt x="306" y="364"/>
                  </a:lnTo>
                  <a:lnTo>
                    <a:pt x="314" y="364"/>
                  </a:lnTo>
                  <a:lnTo>
                    <a:pt x="322" y="366"/>
                  </a:lnTo>
                  <a:lnTo>
                    <a:pt x="322" y="366"/>
                  </a:lnTo>
                  <a:lnTo>
                    <a:pt x="324" y="366"/>
                  </a:lnTo>
                  <a:lnTo>
                    <a:pt x="329" y="371"/>
                  </a:lnTo>
                  <a:lnTo>
                    <a:pt x="337" y="374"/>
                  </a:lnTo>
                  <a:lnTo>
                    <a:pt x="344" y="379"/>
                  </a:lnTo>
                  <a:lnTo>
                    <a:pt x="355" y="382"/>
                  </a:lnTo>
                  <a:lnTo>
                    <a:pt x="362" y="387"/>
                  </a:lnTo>
                  <a:lnTo>
                    <a:pt x="367" y="387"/>
                  </a:lnTo>
                  <a:lnTo>
                    <a:pt x="370" y="387"/>
                  </a:lnTo>
                  <a:lnTo>
                    <a:pt x="373" y="387"/>
                  </a:lnTo>
                  <a:lnTo>
                    <a:pt x="383" y="382"/>
                  </a:lnTo>
                  <a:lnTo>
                    <a:pt x="388" y="379"/>
                  </a:lnTo>
                  <a:lnTo>
                    <a:pt x="395" y="377"/>
                  </a:lnTo>
                  <a:lnTo>
                    <a:pt x="401" y="374"/>
                  </a:lnTo>
                  <a:lnTo>
                    <a:pt x="403" y="374"/>
                  </a:lnTo>
                  <a:lnTo>
                    <a:pt x="403" y="374"/>
                  </a:lnTo>
                  <a:lnTo>
                    <a:pt x="403" y="374"/>
                  </a:lnTo>
                  <a:lnTo>
                    <a:pt x="398" y="374"/>
                  </a:lnTo>
                  <a:lnTo>
                    <a:pt x="398" y="371"/>
                  </a:lnTo>
                  <a:lnTo>
                    <a:pt x="401" y="371"/>
                  </a:lnTo>
                  <a:lnTo>
                    <a:pt x="401" y="369"/>
                  </a:lnTo>
                  <a:lnTo>
                    <a:pt x="403" y="369"/>
                  </a:lnTo>
                  <a:lnTo>
                    <a:pt x="403" y="371"/>
                  </a:lnTo>
                  <a:lnTo>
                    <a:pt x="403" y="371"/>
                  </a:lnTo>
                  <a:lnTo>
                    <a:pt x="403" y="374"/>
                  </a:lnTo>
                  <a:lnTo>
                    <a:pt x="403" y="374"/>
                  </a:lnTo>
                  <a:lnTo>
                    <a:pt x="406" y="371"/>
                  </a:lnTo>
                  <a:lnTo>
                    <a:pt x="406" y="371"/>
                  </a:lnTo>
                  <a:lnTo>
                    <a:pt x="408" y="371"/>
                  </a:lnTo>
                  <a:lnTo>
                    <a:pt x="406" y="374"/>
                  </a:lnTo>
                  <a:lnTo>
                    <a:pt x="406" y="374"/>
                  </a:lnTo>
                  <a:lnTo>
                    <a:pt x="408" y="377"/>
                  </a:lnTo>
                  <a:lnTo>
                    <a:pt x="418" y="379"/>
                  </a:lnTo>
                  <a:lnTo>
                    <a:pt x="418" y="379"/>
                  </a:lnTo>
                  <a:lnTo>
                    <a:pt x="413" y="377"/>
                  </a:lnTo>
                  <a:lnTo>
                    <a:pt x="413" y="377"/>
                  </a:lnTo>
                  <a:lnTo>
                    <a:pt x="413" y="377"/>
                  </a:lnTo>
                  <a:lnTo>
                    <a:pt x="411" y="374"/>
                  </a:lnTo>
                  <a:lnTo>
                    <a:pt x="411" y="374"/>
                  </a:lnTo>
                  <a:lnTo>
                    <a:pt x="411" y="374"/>
                  </a:lnTo>
                  <a:lnTo>
                    <a:pt x="411" y="374"/>
                  </a:lnTo>
                  <a:lnTo>
                    <a:pt x="413" y="374"/>
                  </a:lnTo>
                  <a:lnTo>
                    <a:pt x="413" y="374"/>
                  </a:lnTo>
                  <a:lnTo>
                    <a:pt x="416" y="377"/>
                  </a:lnTo>
                  <a:lnTo>
                    <a:pt x="421" y="379"/>
                  </a:lnTo>
                  <a:lnTo>
                    <a:pt x="423" y="382"/>
                  </a:lnTo>
                  <a:lnTo>
                    <a:pt x="426" y="384"/>
                  </a:lnTo>
                  <a:lnTo>
                    <a:pt x="434" y="392"/>
                  </a:lnTo>
                  <a:lnTo>
                    <a:pt x="436" y="394"/>
                  </a:lnTo>
                  <a:lnTo>
                    <a:pt x="436" y="397"/>
                  </a:lnTo>
                  <a:lnTo>
                    <a:pt x="439" y="399"/>
                  </a:lnTo>
                  <a:lnTo>
                    <a:pt x="444" y="407"/>
                  </a:lnTo>
                  <a:lnTo>
                    <a:pt x="449" y="412"/>
                  </a:lnTo>
                  <a:lnTo>
                    <a:pt x="449" y="412"/>
                  </a:lnTo>
                  <a:lnTo>
                    <a:pt x="449" y="412"/>
                  </a:lnTo>
                  <a:lnTo>
                    <a:pt x="449" y="410"/>
                  </a:lnTo>
                  <a:lnTo>
                    <a:pt x="452" y="410"/>
                  </a:lnTo>
                  <a:lnTo>
                    <a:pt x="452" y="407"/>
                  </a:lnTo>
                  <a:lnTo>
                    <a:pt x="452" y="407"/>
                  </a:lnTo>
                  <a:lnTo>
                    <a:pt x="452" y="405"/>
                  </a:lnTo>
                  <a:lnTo>
                    <a:pt x="452" y="402"/>
                  </a:lnTo>
                  <a:lnTo>
                    <a:pt x="452" y="402"/>
                  </a:lnTo>
                  <a:lnTo>
                    <a:pt x="454" y="402"/>
                  </a:lnTo>
                  <a:lnTo>
                    <a:pt x="454" y="399"/>
                  </a:lnTo>
                  <a:lnTo>
                    <a:pt x="452" y="397"/>
                  </a:lnTo>
                  <a:lnTo>
                    <a:pt x="452" y="397"/>
                  </a:lnTo>
                  <a:lnTo>
                    <a:pt x="452" y="394"/>
                  </a:lnTo>
                  <a:lnTo>
                    <a:pt x="454" y="392"/>
                  </a:lnTo>
                  <a:lnTo>
                    <a:pt x="457" y="387"/>
                  </a:lnTo>
                  <a:lnTo>
                    <a:pt x="462" y="382"/>
                  </a:lnTo>
                  <a:lnTo>
                    <a:pt x="464" y="379"/>
                  </a:lnTo>
                  <a:lnTo>
                    <a:pt x="469" y="379"/>
                  </a:lnTo>
                  <a:lnTo>
                    <a:pt x="472" y="379"/>
                  </a:lnTo>
                  <a:lnTo>
                    <a:pt x="477" y="379"/>
                  </a:lnTo>
                  <a:lnTo>
                    <a:pt x="485" y="379"/>
                  </a:lnTo>
                  <a:lnTo>
                    <a:pt x="487" y="379"/>
                  </a:lnTo>
                  <a:lnTo>
                    <a:pt x="490" y="379"/>
                  </a:lnTo>
                  <a:lnTo>
                    <a:pt x="490" y="377"/>
                  </a:lnTo>
                  <a:lnTo>
                    <a:pt x="490" y="374"/>
                  </a:lnTo>
                  <a:lnTo>
                    <a:pt x="490" y="371"/>
                  </a:lnTo>
                  <a:lnTo>
                    <a:pt x="490" y="371"/>
                  </a:lnTo>
                  <a:lnTo>
                    <a:pt x="490" y="369"/>
                  </a:lnTo>
                  <a:lnTo>
                    <a:pt x="487" y="369"/>
                  </a:lnTo>
                  <a:lnTo>
                    <a:pt x="487" y="369"/>
                  </a:lnTo>
                  <a:lnTo>
                    <a:pt x="487" y="366"/>
                  </a:lnTo>
                  <a:lnTo>
                    <a:pt x="487" y="366"/>
                  </a:lnTo>
                  <a:lnTo>
                    <a:pt x="485" y="364"/>
                  </a:lnTo>
                  <a:lnTo>
                    <a:pt x="485" y="361"/>
                  </a:lnTo>
                  <a:lnTo>
                    <a:pt x="480" y="359"/>
                  </a:lnTo>
                  <a:lnTo>
                    <a:pt x="480" y="356"/>
                  </a:lnTo>
                  <a:lnTo>
                    <a:pt x="477" y="354"/>
                  </a:lnTo>
                  <a:lnTo>
                    <a:pt x="474" y="351"/>
                  </a:lnTo>
                  <a:lnTo>
                    <a:pt x="474" y="351"/>
                  </a:lnTo>
                  <a:lnTo>
                    <a:pt x="474" y="351"/>
                  </a:lnTo>
                  <a:lnTo>
                    <a:pt x="477" y="351"/>
                  </a:lnTo>
                  <a:lnTo>
                    <a:pt x="482" y="351"/>
                  </a:lnTo>
                  <a:lnTo>
                    <a:pt x="482" y="346"/>
                  </a:lnTo>
                  <a:lnTo>
                    <a:pt x="482" y="344"/>
                  </a:lnTo>
                  <a:lnTo>
                    <a:pt x="485" y="338"/>
                  </a:lnTo>
                  <a:lnTo>
                    <a:pt x="490" y="338"/>
                  </a:lnTo>
                  <a:lnTo>
                    <a:pt x="500" y="338"/>
                  </a:lnTo>
                  <a:lnTo>
                    <a:pt x="508" y="338"/>
                  </a:lnTo>
                  <a:lnTo>
                    <a:pt x="515" y="338"/>
                  </a:lnTo>
                  <a:lnTo>
                    <a:pt x="520" y="338"/>
                  </a:lnTo>
                  <a:lnTo>
                    <a:pt x="520" y="336"/>
                  </a:lnTo>
                  <a:lnTo>
                    <a:pt x="520" y="336"/>
                  </a:lnTo>
                  <a:lnTo>
                    <a:pt x="523" y="333"/>
                  </a:lnTo>
                  <a:lnTo>
                    <a:pt x="525" y="336"/>
                  </a:lnTo>
                  <a:lnTo>
                    <a:pt x="525" y="336"/>
                  </a:lnTo>
                  <a:lnTo>
                    <a:pt x="525" y="336"/>
                  </a:lnTo>
                  <a:lnTo>
                    <a:pt x="528" y="336"/>
                  </a:lnTo>
                  <a:lnTo>
                    <a:pt x="528" y="333"/>
                  </a:lnTo>
                  <a:lnTo>
                    <a:pt x="533" y="328"/>
                  </a:lnTo>
                  <a:lnTo>
                    <a:pt x="536" y="323"/>
                  </a:lnTo>
                  <a:lnTo>
                    <a:pt x="536" y="323"/>
                  </a:lnTo>
                  <a:lnTo>
                    <a:pt x="538" y="323"/>
                  </a:lnTo>
                  <a:lnTo>
                    <a:pt x="538" y="323"/>
                  </a:lnTo>
                  <a:lnTo>
                    <a:pt x="541" y="323"/>
                  </a:lnTo>
                  <a:lnTo>
                    <a:pt x="541" y="321"/>
                  </a:lnTo>
                  <a:lnTo>
                    <a:pt x="541" y="318"/>
                  </a:lnTo>
                  <a:lnTo>
                    <a:pt x="543" y="316"/>
                  </a:lnTo>
                  <a:lnTo>
                    <a:pt x="546" y="316"/>
                  </a:lnTo>
                  <a:lnTo>
                    <a:pt x="546" y="316"/>
                  </a:lnTo>
                  <a:lnTo>
                    <a:pt x="546" y="318"/>
                  </a:lnTo>
                  <a:lnTo>
                    <a:pt x="543" y="323"/>
                  </a:lnTo>
                  <a:lnTo>
                    <a:pt x="543" y="323"/>
                  </a:lnTo>
                  <a:lnTo>
                    <a:pt x="546" y="323"/>
                  </a:lnTo>
                  <a:lnTo>
                    <a:pt x="546" y="328"/>
                  </a:lnTo>
                  <a:lnTo>
                    <a:pt x="548" y="328"/>
                  </a:lnTo>
                  <a:lnTo>
                    <a:pt x="548" y="326"/>
                  </a:lnTo>
                  <a:lnTo>
                    <a:pt x="548" y="323"/>
                  </a:lnTo>
                  <a:lnTo>
                    <a:pt x="551" y="318"/>
                  </a:lnTo>
                  <a:lnTo>
                    <a:pt x="553" y="316"/>
                  </a:lnTo>
                  <a:lnTo>
                    <a:pt x="556" y="310"/>
                  </a:lnTo>
                  <a:lnTo>
                    <a:pt x="559" y="305"/>
                  </a:lnTo>
                  <a:lnTo>
                    <a:pt x="559" y="305"/>
                  </a:lnTo>
                  <a:lnTo>
                    <a:pt x="556" y="305"/>
                  </a:lnTo>
                  <a:lnTo>
                    <a:pt x="556" y="305"/>
                  </a:lnTo>
                  <a:lnTo>
                    <a:pt x="553" y="305"/>
                  </a:lnTo>
                  <a:lnTo>
                    <a:pt x="553" y="303"/>
                  </a:lnTo>
                  <a:lnTo>
                    <a:pt x="556" y="303"/>
                  </a:lnTo>
                  <a:lnTo>
                    <a:pt x="556" y="303"/>
                  </a:lnTo>
                  <a:lnTo>
                    <a:pt x="559" y="303"/>
                  </a:lnTo>
                  <a:lnTo>
                    <a:pt x="559" y="300"/>
                  </a:lnTo>
                  <a:lnTo>
                    <a:pt x="559" y="300"/>
                  </a:lnTo>
                  <a:lnTo>
                    <a:pt x="561" y="298"/>
                  </a:lnTo>
                  <a:lnTo>
                    <a:pt x="559" y="298"/>
                  </a:lnTo>
                  <a:lnTo>
                    <a:pt x="559" y="298"/>
                  </a:lnTo>
                  <a:lnTo>
                    <a:pt x="556" y="298"/>
                  </a:lnTo>
                  <a:lnTo>
                    <a:pt x="556" y="298"/>
                  </a:lnTo>
                  <a:lnTo>
                    <a:pt x="553" y="298"/>
                  </a:lnTo>
                  <a:lnTo>
                    <a:pt x="556" y="298"/>
                  </a:lnTo>
                  <a:lnTo>
                    <a:pt x="559" y="293"/>
                  </a:lnTo>
                  <a:lnTo>
                    <a:pt x="559" y="293"/>
                  </a:lnTo>
                  <a:lnTo>
                    <a:pt x="561" y="293"/>
                  </a:lnTo>
                  <a:lnTo>
                    <a:pt x="561" y="293"/>
                  </a:lnTo>
                  <a:lnTo>
                    <a:pt x="561" y="290"/>
                  </a:lnTo>
                  <a:lnTo>
                    <a:pt x="561" y="288"/>
                  </a:lnTo>
                  <a:lnTo>
                    <a:pt x="561" y="288"/>
                  </a:lnTo>
                  <a:lnTo>
                    <a:pt x="561" y="282"/>
                  </a:lnTo>
                  <a:lnTo>
                    <a:pt x="566" y="277"/>
                  </a:lnTo>
                  <a:lnTo>
                    <a:pt x="571" y="275"/>
                  </a:lnTo>
                  <a:lnTo>
                    <a:pt x="574" y="270"/>
                  </a:lnTo>
                  <a:lnTo>
                    <a:pt x="576" y="270"/>
                  </a:lnTo>
                  <a:lnTo>
                    <a:pt x="576" y="265"/>
                  </a:lnTo>
                  <a:lnTo>
                    <a:pt x="579" y="262"/>
                  </a:lnTo>
                  <a:lnTo>
                    <a:pt x="576" y="262"/>
                  </a:lnTo>
                  <a:lnTo>
                    <a:pt x="576" y="26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257" name="Freeform 1876">
              <a:extLst>
                <a:ext uri="{FF2B5EF4-FFF2-40B4-BE49-F238E27FC236}">
                  <a16:creationId xmlns:a16="http://schemas.microsoft.com/office/drawing/2014/main" id="{FC05EE34-A544-0B48-8BB4-171FD330A185}"/>
                </a:ext>
              </a:extLst>
            </p:cNvPr>
            <p:cNvSpPr>
              <a:spLocks/>
            </p:cNvSpPr>
            <p:nvPr/>
          </p:nvSpPr>
          <p:spPr bwMode="auto">
            <a:xfrm>
              <a:off x="7080762" y="4272222"/>
              <a:ext cx="8179" cy="11451"/>
            </a:xfrm>
            <a:custGeom>
              <a:avLst/>
              <a:gdLst>
                <a:gd name="T0" fmla="*/ 5 w 5"/>
                <a:gd name="T1" fmla="*/ 2 h 7"/>
                <a:gd name="T2" fmla="*/ 2 w 5"/>
                <a:gd name="T3" fmla="*/ 2 h 7"/>
                <a:gd name="T4" fmla="*/ 2 w 5"/>
                <a:gd name="T5" fmla="*/ 0 h 7"/>
                <a:gd name="T6" fmla="*/ 2 w 5"/>
                <a:gd name="T7" fmla="*/ 0 h 7"/>
                <a:gd name="T8" fmla="*/ 0 w 5"/>
                <a:gd name="T9" fmla="*/ 0 h 7"/>
                <a:gd name="T10" fmla="*/ 2 w 5"/>
                <a:gd name="T11" fmla="*/ 2 h 7"/>
                <a:gd name="T12" fmla="*/ 2 w 5"/>
                <a:gd name="T13" fmla="*/ 5 h 7"/>
                <a:gd name="T14" fmla="*/ 2 w 5"/>
                <a:gd name="T15" fmla="*/ 5 h 7"/>
                <a:gd name="T16" fmla="*/ 2 w 5"/>
                <a:gd name="T17" fmla="*/ 7 h 7"/>
                <a:gd name="T18" fmla="*/ 2 w 5"/>
                <a:gd name="T19" fmla="*/ 7 h 7"/>
                <a:gd name="T20" fmla="*/ 2 w 5"/>
                <a:gd name="T21" fmla="*/ 7 h 7"/>
                <a:gd name="T22" fmla="*/ 2 w 5"/>
                <a:gd name="T23" fmla="*/ 5 h 7"/>
                <a:gd name="T24" fmla="*/ 5 w 5"/>
                <a:gd name="T25" fmla="*/ 5 h 7"/>
                <a:gd name="T26" fmla="*/ 5 w 5"/>
                <a:gd name="T27" fmla="*/ 5 h 7"/>
                <a:gd name="T28" fmla="*/ 5 w 5"/>
                <a:gd name="T29"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 h="7">
                  <a:moveTo>
                    <a:pt x="5" y="2"/>
                  </a:moveTo>
                  <a:lnTo>
                    <a:pt x="2" y="2"/>
                  </a:lnTo>
                  <a:lnTo>
                    <a:pt x="2" y="0"/>
                  </a:lnTo>
                  <a:lnTo>
                    <a:pt x="2" y="0"/>
                  </a:lnTo>
                  <a:lnTo>
                    <a:pt x="0" y="0"/>
                  </a:lnTo>
                  <a:lnTo>
                    <a:pt x="2" y="2"/>
                  </a:lnTo>
                  <a:lnTo>
                    <a:pt x="2" y="5"/>
                  </a:lnTo>
                  <a:lnTo>
                    <a:pt x="2" y="5"/>
                  </a:lnTo>
                  <a:lnTo>
                    <a:pt x="2" y="7"/>
                  </a:lnTo>
                  <a:lnTo>
                    <a:pt x="2" y="7"/>
                  </a:lnTo>
                  <a:lnTo>
                    <a:pt x="2" y="7"/>
                  </a:lnTo>
                  <a:lnTo>
                    <a:pt x="2" y="5"/>
                  </a:lnTo>
                  <a:lnTo>
                    <a:pt x="5" y="5"/>
                  </a:lnTo>
                  <a:lnTo>
                    <a:pt x="5" y="5"/>
                  </a:lnTo>
                  <a:lnTo>
                    <a:pt x="5" y="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258" name="Freeform 1877">
              <a:extLst>
                <a:ext uri="{FF2B5EF4-FFF2-40B4-BE49-F238E27FC236}">
                  <a16:creationId xmlns:a16="http://schemas.microsoft.com/office/drawing/2014/main" id="{B2335ACE-4802-6547-9FD9-1BDFEDE4B8EE}"/>
                </a:ext>
              </a:extLst>
            </p:cNvPr>
            <p:cNvSpPr>
              <a:spLocks/>
            </p:cNvSpPr>
            <p:nvPr/>
          </p:nvSpPr>
          <p:spPr bwMode="auto">
            <a:xfrm>
              <a:off x="7463525" y="4545389"/>
              <a:ext cx="16357" cy="17994"/>
            </a:xfrm>
            <a:custGeom>
              <a:avLst/>
              <a:gdLst>
                <a:gd name="T0" fmla="*/ 10 w 10"/>
                <a:gd name="T1" fmla="*/ 0 h 11"/>
                <a:gd name="T2" fmla="*/ 8 w 10"/>
                <a:gd name="T3" fmla="*/ 0 h 11"/>
                <a:gd name="T4" fmla="*/ 8 w 10"/>
                <a:gd name="T5" fmla="*/ 0 h 11"/>
                <a:gd name="T6" fmla="*/ 5 w 10"/>
                <a:gd name="T7" fmla="*/ 0 h 11"/>
                <a:gd name="T8" fmla="*/ 5 w 10"/>
                <a:gd name="T9" fmla="*/ 3 h 11"/>
                <a:gd name="T10" fmla="*/ 3 w 10"/>
                <a:gd name="T11" fmla="*/ 3 h 11"/>
                <a:gd name="T12" fmla="*/ 3 w 10"/>
                <a:gd name="T13" fmla="*/ 6 h 11"/>
                <a:gd name="T14" fmla="*/ 3 w 10"/>
                <a:gd name="T15" fmla="*/ 8 h 11"/>
                <a:gd name="T16" fmla="*/ 3 w 10"/>
                <a:gd name="T17" fmla="*/ 8 h 11"/>
                <a:gd name="T18" fmla="*/ 0 w 10"/>
                <a:gd name="T19" fmla="*/ 8 h 11"/>
                <a:gd name="T20" fmla="*/ 0 w 10"/>
                <a:gd name="T21" fmla="*/ 11 h 11"/>
                <a:gd name="T22" fmla="*/ 3 w 10"/>
                <a:gd name="T23" fmla="*/ 11 h 11"/>
                <a:gd name="T24" fmla="*/ 5 w 10"/>
                <a:gd name="T25" fmla="*/ 11 h 11"/>
                <a:gd name="T26" fmla="*/ 8 w 10"/>
                <a:gd name="T27" fmla="*/ 11 h 11"/>
                <a:gd name="T28" fmla="*/ 8 w 10"/>
                <a:gd name="T29" fmla="*/ 8 h 11"/>
                <a:gd name="T30" fmla="*/ 10 w 10"/>
                <a:gd name="T31" fmla="*/ 8 h 11"/>
                <a:gd name="T32" fmla="*/ 10 w 10"/>
                <a:gd name="T33" fmla="*/ 8 h 11"/>
                <a:gd name="T34" fmla="*/ 10 w 10"/>
                <a:gd name="T35" fmla="*/ 3 h 11"/>
                <a:gd name="T36" fmla="*/ 10 w 10"/>
                <a:gd name="T3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 h="11">
                  <a:moveTo>
                    <a:pt x="10" y="0"/>
                  </a:moveTo>
                  <a:lnTo>
                    <a:pt x="8" y="0"/>
                  </a:lnTo>
                  <a:lnTo>
                    <a:pt x="8" y="0"/>
                  </a:lnTo>
                  <a:lnTo>
                    <a:pt x="5" y="0"/>
                  </a:lnTo>
                  <a:lnTo>
                    <a:pt x="5" y="3"/>
                  </a:lnTo>
                  <a:lnTo>
                    <a:pt x="3" y="3"/>
                  </a:lnTo>
                  <a:lnTo>
                    <a:pt x="3" y="6"/>
                  </a:lnTo>
                  <a:lnTo>
                    <a:pt x="3" y="8"/>
                  </a:lnTo>
                  <a:lnTo>
                    <a:pt x="3" y="8"/>
                  </a:lnTo>
                  <a:lnTo>
                    <a:pt x="0" y="8"/>
                  </a:lnTo>
                  <a:lnTo>
                    <a:pt x="0" y="11"/>
                  </a:lnTo>
                  <a:lnTo>
                    <a:pt x="3" y="11"/>
                  </a:lnTo>
                  <a:lnTo>
                    <a:pt x="5" y="11"/>
                  </a:lnTo>
                  <a:lnTo>
                    <a:pt x="8" y="11"/>
                  </a:lnTo>
                  <a:lnTo>
                    <a:pt x="8" y="8"/>
                  </a:lnTo>
                  <a:lnTo>
                    <a:pt x="10" y="8"/>
                  </a:lnTo>
                  <a:lnTo>
                    <a:pt x="10" y="8"/>
                  </a:lnTo>
                  <a:lnTo>
                    <a:pt x="10" y="3"/>
                  </a:lnTo>
                  <a:lnTo>
                    <a:pt x="10"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259" name="Freeform 1878">
              <a:extLst>
                <a:ext uri="{FF2B5EF4-FFF2-40B4-BE49-F238E27FC236}">
                  <a16:creationId xmlns:a16="http://schemas.microsoft.com/office/drawing/2014/main" id="{EE8EC564-F2AE-D441-B3D7-F4670E2FAF74}"/>
                </a:ext>
              </a:extLst>
            </p:cNvPr>
            <p:cNvSpPr>
              <a:spLocks noEditPoints="1"/>
            </p:cNvSpPr>
            <p:nvPr/>
          </p:nvSpPr>
          <p:spPr bwMode="auto">
            <a:xfrm>
              <a:off x="5067171" y="2785337"/>
              <a:ext cx="395848" cy="466185"/>
            </a:xfrm>
            <a:custGeom>
              <a:avLst/>
              <a:gdLst>
                <a:gd name="T0" fmla="*/ 10 w 242"/>
                <a:gd name="T1" fmla="*/ 173 h 285"/>
                <a:gd name="T2" fmla="*/ 226 w 242"/>
                <a:gd name="T3" fmla="*/ 54 h 285"/>
                <a:gd name="T4" fmla="*/ 229 w 242"/>
                <a:gd name="T5" fmla="*/ 43 h 285"/>
                <a:gd name="T6" fmla="*/ 211 w 242"/>
                <a:gd name="T7" fmla="*/ 31 h 285"/>
                <a:gd name="T8" fmla="*/ 193 w 242"/>
                <a:gd name="T9" fmla="*/ 18 h 285"/>
                <a:gd name="T10" fmla="*/ 175 w 242"/>
                <a:gd name="T11" fmla="*/ 5 h 285"/>
                <a:gd name="T12" fmla="*/ 168 w 242"/>
                <a:gd name="T13" fmla="*/ 13 h 285"/>
                <a:gd name="T14" fmla="*/ 150 w 242"/>
                <a:gd name="T15" fmla="*/ 31 h 285"/>
                <a:gd name="T16" fmla="*/ 102 w 242"/>
                <a:gd name="T17" fmla="*/ 33 h 285"/>
                <a:gd name="T18" fmla="*/ 102 w 242"/>
                <a:gd name="T19" fmla="*/ 48 h 285"/>
                <a:gd name="T20" fmla="*/ 102 w 242"/>
                <a:gd name="T21" fmla="*/ 64 h 285"/>
                <a:gd name="T22" fmla="*/ 102 w 242"/>
                <a:gd name="T23" fmla="*/ 79 h 285"/>
                <a:gd name="T24" fmla="*/ 96 w 242"/>
                <a:gd name="T25" fmla="*/ 89 h 285"/>
                <a:gd name="T26" fmla="*/ 84 w 242"/>
                <a:gd name="T27" fmla="*/ 97 h 285"/>
                <a:gd name="T28" fmla="*/ 76 w 242"/>
                <a:gd name="T29" fmla="*/ 104 h 285"/>
                <a:gd name="T30" fmla="*/ 79 w 242"/>
                <a:gd name="T31" fmla="*/ 117 h 285"/>
                <a:gd name="T32" fmla="*/ 79 w 242"/>
                <a:gd name="T33" fmla="*/ 132 h 285"/>
                <a:gd name="T34" fmla="*/ 63 w 242"/>
                <a:gd name="T35" fmla="*/ 138 h 285"/>
                <a:gd name="T36" fmla="*/ 40 w 242"/>
                <a:gd name="T37" fmla="*/ 138 h 285"/>
                <a:gd name="T38" fmla="*/ 17 w 242"/>
                <a:gd name="T39" fmla="*/ 138 h 285"/>
                <a:gd name="T40" fmla="*/ 0 w 242"/>
                <a:gd name="T41" fmla="*/ 140 h 285"/>
                <a:gd name="T42" fmla="*/ 0 w 242"/>
                <a:gd name="T43" fmla="*/ 143 h 285"/>
                <a:gd name="T44" fmla="*/ 7 w 242"/>
                <a:gd name="T45" fmla="*/ 153 h 285"/>
                <a:gd name="T46" fmla="*/ 12 w 242"/>
                <a:gd name="T47" fmla="*/ 158 h 285"/>
                <a:gd name="T48" fmla="*/ 10 w 242"/>
                <a:gd name="T49" fmla="*/ 178 h 285"/>
                <a:gd name="T50" fmla="*/ 10 w 242"/>
                <a:gd name="T51" fmla="*/ 183 h 285"/>
                <a:gd name="T52" fmla="*/ 17 w 242"/>
                <a:gd name="T53" fmla="*/ 206 h 285"/>
                <a:gd name="T54" fmla="*/ 7 w 242"/>
                <a:gd name="T55" fmla="*/ 244 h 285"/>
                <a:gd name="T56" fmla="*/ 5 w 242"/>
                <a:gd name="T57" fmla="*/ 255 h 285"/>
                <a:gd name="T58" fmla="*/ 10 w 242"/>
                <a:gd name="T59" fmla="*/ 244 h 285"/>
                <a:gd name="T60" fmla="*/ 20 w 242"/>
                <a:gd name="T61" fmla="*/ 247 h 285"/>
                <a:gd name="T62" fmla="*/ 33 w 242"/>
                <a:gd name="T63" fmla="*/ 244 h 285"/>
                <a:gd name="T64" fmla="*/ 35 w 242"/>
                <a:gd name="T65" fmla="*/ 242 h 285"/>
                <a:gd name="T66" fmla="*/ 51 w 242"/>
                <a:gd name="T67" fmla="*/ 244 h 285"/>
                <a:gd name="T68" fmla="*/ 58 w 242"/>
                <a:gd name="T69" fmla="*/ 255 h 285"/>
                <a:gd name="T70" fmla="*/ 63 w 242"/>
                <a:gd name="T71" fmla="*/ 255 h 285"/>
                <a:gd name="T72" fmla="*/ 66 w 242"/>
                <a:gd name="T73" fmla="*/ 255 h 285"/>
                <a:gd name="T74" fmla="*/ 71 w 242"/>
                <a:gd name="T75" fmla="*/ 267 h 285"/>
                <a:gd name="T76" fmla="*/ 74 w 242"/>
                <a:gd name="T77" fmla="*/ 270 h 285"/>
                <a:gd name="T78" fmla="*/ 76 w 242"/>
                <a:gd name="T79" fmla="*/ 275 h 285"/>
                <a:gd name="T80" fmla="*/ 81 w 242"/>
                <a:gd name="T81" fmla="*/ 277 h 285"/>
                <a:gd name="T82" fmla="*/ 89 w 242"/>
                <a:gd name="T83" fmla="*/ 285 h 285"/>
                <a:gd name="T84" fmla="*/ 96 w 242"/>
                <a:gd name="T85" fmla="*/ 280 h 285"/>
                <a:gd name="T86" fmla="*/ 102 w 242"/>
                <a:gd name="T87" fmla="*/ 270 h 285"/>
                <a:gd name="T88" fmla="*/ 112 w 242"/>
                <a:gd name="T89" fmla="*/ 272 h 285"/>
                <a:gd name="T90" fmla="*/ 119 w 242"/>
                <a:gd name="T91" fmla="*/ 272 h 285"/>
                <a:gd name="T92" fmla="*/ 130 w 242"/>
                <a:gd name="T93" fmla="*/ 270 h 285"/>
                <a:gd name="T94" fmla="*/ 142 w 242"/>
                <a:gd name="T95" fmla="*/ 270 h 285"/>
                <a:gd name="T96" fmla="*/ 147 w 242"/>
                <a:gd name="T97" fmla="*/ 265 h 285"/>
                <a:gd name="T98" fmla="*/ 158 w 242"/>
                <a:gd name="T99" fmla="*/ 270 h 285"/>
                <a:gd name="T100" fmla="*/ 216 w 242"/>
                <a:gd name="T101" fmla="*/ 270 h 285"/>
                <a:gd name="T102" fmla="*/ 224 w 242"/>
                <a:gd name="T103" fmla="*/ 247 h 285"/>
                <a:gd name="T104" fmla="*/ 219 w 242"/>
                <a:gd name="T105" fmla="*/ 222 h 285"/>
                <a:gd name="T106" fmla="*/ 219 w 242"/>
                <a:gd name="T107" fmla="*/ 194 h 285"/>
                <a:gd name="T108" fmla="*/ 216 w 242"/>
                <a:gd name="T109" fmla="*/ 166 h 285"/>
                <a:gd name="T110" fmla="*/ 214 w 242"/>
                <a:gd name="T111" fmla="*/ 138 h 285"/>
                <a:gd name="T112" fmla="*/ 211 w 242"/>
                <a:gd name="T113" fmla="*/ 110 h 285"/>
                <a:gd name="T114" fmla="*/ 209 w 242"/>
                <a:gd name="T115" fmla="*/ 82 h 285"/>
                <a:gd name="T116" fmla="*/ 209 w 242"/>
                <a:gd name="T117" fmla="*/ 54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42" h="285">
                  <a:moveTo>
                    <a:pt x="12" y="173"/>
                  </a:moveTo>
                  <a:lnTo>
                    <a:pt x="12" y="171"/>
                  </a:lnTo>
                  <a:lnTo>
                    <a:pt x="10" y="171"/>
                  </a:lnTo>
                  <a:lnTo>
                    <a:pt x="10" y="171"/>
                  </a:lnTo>
                  <a:lnTo>
                    <a:pt x="10" y="173"/>
                  </a:lnTo>
                  <a:lnTo>
                    <a:pt x="10" y="176"/>
                  </a:lnTo>
                  <a:lnTo>
                    <a:pt x="10" y="176"/>
                  </a:lnTo>
                  <a:lnTo>
                    <a:pt x="12" y="173"/>
                  </a:lnTo>
                  <a:close/>
                  <a:moveTo>
                    <a:pt x="221" y="54"/>
                  </a:moveTo>
                  <a:lnTo>
                    <a:pt x="226" y="54"/>
                  </a:lnTo>
                  <a:lnTo>
                    <a:pt x="237" y="54"/>
                  </a:lnTo>
                  <a:lnTo>
                    <a:pt x="242" y="54"/>
                  </a:lnTo>
                  <a:lnTo>
                    <a:pt x="239" y="51"/>
                  </a:lnTo>
                  <a:lnTo>
                    <a:pt x="234" y="46"/>
                  </a:lnTo>
                  <a:lnTo>
                    <a:pt x="229" y="43"/>
                  </a:lnTo>
                  <a:lnTo>
                    <a:pt x="226" y="41"/>
                  </a:lnTo>
                  <a:lnTo>
                    <a:pt x="221" y="38"/>
                  </a:lnTo>
                  <a:lnTo>
                    <a:pt x="219" y="36"/>
                  </a:lnTo>
                  <a:lnTo>
                    <a:pt x="216" y="33"/>
                  </a:lnTo>
                  <a:lnTo>
                    <a:pt x="211" y="31"/>
                  </a:lnTo>
                  <a:lnTo>
                    <a:pt x="209" y="28"/>
                  </a:lnTo>
                  <a:lnTo>
                    <a:pt x="204" y="26"/>
                  </a:lnTo>
                  <a:lnTo>
                    <a:pt x="201" y="23"/>
                  </a:lnTo>
                  <a:lnTo>
                    <a:pt x="198" y="20"/>
                  </a:lnTo>
                  <a:lnTo>
                    <a:pt x="193" y="18"/>
                  </a:lnTo>
                  <a:lnTo>
                    <a:pt x="191" y="15"/>
                  </a:lnTo>
                  <a:lnTo>
                    <a:pt x="186" y="13"/>
                  </a:lnTo>
                  <a:lnTo>
                    <a:pt x="183" y="10"/>
                  </a:lnTo>
                  <a:lnTo>
                    <a:pt x="181" y="8"/>
                  </a:lnTo>
                  <a:lnTo>
                    <a:pt x="175" y="5"/>
                  </a:lnTo>
                  <a:lnTo>
                    <a:pt x="173" y="3"/>
                  </a:lnTo>
                  <a:lnTo>
                    <a:pt x="168" y="0"/>
                  </a:lnTo>
                  <a:lnTo>
                    <a:pt x="168" y="5"/>
                  </a:lnTo>
                  <a:lnTo>
                    <a:pt x="168" y="10"/>
                  </a:lnTo>
                  <a:lnTo>
                    <a:pt x="168" y="13"/>
                  </a:lnTo>
                  <a:lnTo>
                    <a:pt x="168" y="18"/>
                  </a:lnTo>
                  <a:lnTo>
                    <a:pt x="168" y="23"/>
                  </a:lnTo>
                  <a:lnTo>
                    <a:pt x="168" y="28"/>
                  </a:lnTo>
                  <a:lnTo>
                    <a:pt x="168" y="31"/>
                  </a:lnTo>
                  <a:lnTo>
                    <a:pt x="150" y="31"/>
                  </a:lnTo>
                  <a:lnTo>
                    <a:pt x="145" y="31"/>
                  </a:lnTo>
                  <a:lnTo>
                    <a:pt x="119" y="31"/>
                  </a:lnTo>
                  <a:lnTo>
                    <a:pt x="117" y="31"/>
                  </a:lnTo>
                  <a:lnTo>
                    <a:pt x="102" y="31"/>
                  </a:lnTo>
                  <a:lnTo>
                    <a:pt x="102" y="33"/>
                  </a:lnTo>
                  <a:lnTo>
                    <a:pt x="102" y="36"/>
                  </a:lnTo>
                  <a:lnTo>
                    <a:pt x="102" y="38"/>
                  </a:lnTo>
                  <a:lnTo>
                    <a:pt x="102" y="43"/>
                  </a:lnTo>
                  <a:lnTo>
                    <a:pt x="102" y="46"/>
                  </a:lnTo>
                  <a:lnTo>
                    <a:pt x="102" y="48"/>
                  </a:lnTo>
                  <a:lnTo>
                    <a:pt x="102" y="51"/>
                  </a:lnTo>
                  <a:lnTo>
                    <a:pt x="102" y="56"/>
                  </a:lnTo>
                  <a:lnTo>
                    <a:pt x="102" y="59"/>
                  </a:lnTo>
                  <a:lnTo>
                    <a:pt x="102" y="61"/>
                  </a:lnTo>
                  <a:lnTo>
                    <a:pt x="102" y="64"/>
                  </a:lnTo>
                  <a:lnTo>
                    <a:pt x="102" y="66"/>
                  </a:lnTo>
                  <a:lnTo>
                    <a:pt x="102" y="71"/>
                  </a:lnTo>
                  <a:lnTo>
                    <a:pt x="102" y="74"/>
                  </a:lnTo>
                  <a:lnTo>
                    <a:pt x="102" y="76"/>
                  </a:lnTo>
                  <a:lnTo>
                    <a:pt x="102" y="79"/>
                  </a:lnTo>
                  <a:lnTo>
                    <a:pt x="102" y="82"/>
                  </a:lnTo>
                  <a:lnTo>
                    <a:pt x="102" y="87"/>
                  </a:lnTo>
                  <a:lnTo>
                    <a:pt x="99" y="89"/>
                  </a:lnTo>
                  <a:lnTo>
                    <a:pt x="99" y="89"/>
                  </a:lnTo>
                  <a:lnTo>
                    <a:pt x="96" y="89"/>
                  </a:lnTo>
                  <a:lnTo>
                    <a:pt x="94" y="92"/>
                  </a:lnTo>
                  <a:lnTo>
                    <a:pt x="89" y="92"/>
                  </a:lnTo>
                  <a:lnTo>
                    <a:pt x="89" y="92"/>
                  </a:lnTo>
                  <a:lnTo>
                    <a:pt x="86" y="94"/>
                  </a:lnTo>
                  <a:lnTo>
                    <a:pt x="84" y="97"/>
                  </a:lnTo>
                  <a:lnTo>
                    <a:pt x="79" y="99"/>
                  </a:lnTo>
                  <a:lnTo>
                    <a:pt x="79" y="102"/>
                  </a:lnTo>
                  <a:lnTo>
                    <a:pt x="76" y="102"/>
                  </a:lnTo>
                  <a:lnTo>
                    <a:pt x="76" y="104"/>
                  </a:lnTo>
                  <a:lnTo>
                    <a:pt x="76" y="104"/>
                  </a:lnTo>
                  <a:lnTo>
                    <a:pt x="79" y="110"/>
                  </a:lnTo>
                  <a:lnTo>
                    <a:pt x="79" y="110"/>
                  </a:lnTo>
                  <a:lnTo>
                    <a:pt x="79" y="112"/>
                  </a:lnTo>
                  <a:lnTo>
                    <a:pt x="79" y="115"/>
                  </a:lnTo>
                  <a:lnTo>
                    <a:pt x="79" y="117"/>
                  </a:lnTo>
                  <a:lnTo>
                    <a:pt x="79" y="122"/>
                  </a:lnTo>
                  <a:lnTo>
                    <a:pt x="79" y="125"/>
                  </a:lnTo>
                  <a:lnTo>
                    <a:pt x="79" y="127"/>
                  </a:lnTo>
                  <a:lnTo>
                    <a:pt x="79" y="130"/>
                  </a:lnTo>
                  <a:lnTo>
                    <a:pt x="79" y="132"/>
                  </a:lnTo>
                  <a:lnTo>
                    <a:pt x="79" y="138"/>
                  </a:lnTo>
                  <a:lnTo>
                    <a:pt x="76" y="138"/>
                  </a:lnTo>
                  <a:lnTo>
                    <a:pt x="71" y="138"/>
                  </a:lnTo>
                  <a:lnTo>
                    <a:pt x="66" y="138"/>
                  </a:lnTo>
                  <a:lnTo>
                    <a:pt x="63" y="138"/>
                  </a:lnTo>
                  <a:lnTo>
                    <a:pt x="58" y="138"/>
                  </a:lnTo>
                  <a:lnTo>
                    <a:pt x="53" y="138"/>
                  </a:lnTo>
                  <a:lnTo>
                    <a:pt x="48" y="138"/>
                  </a:lnTo>
                  <a:lnTo>
                    <a:pt x="43" y="138"/>
                  </a:lnTo>
                  <a:lnTo>
                    <a:pt x="40" y="138"/>
                  </a:lnTo>
                  <a:lnTo>
                    <a:pt x="35" y="138"/>
                  </a:lnTo>
                  <a:lnTo>
                    <a:pt x="30" y="138"/>
                  </a:lnTo>
                  <a:lnTo>
                    <a:pt x="25" y="138"/>
                  </a:lnTo>
                  <a:lnTo>
                    <a:pt x="23" y="138"/>
                  </a:lnTo>
                  <a:lnTo>
                    <a:pt x="17" y="138"/>
                  </a:lnTo>
                  <a:lnTo>
                    <a:pt x="12" y="138"/>
                  </a:lnTo>
                  <a:lnTo>
                    <a:pt x="7" y="138"/>
                  </a:lnTo>
                  <a:lnTo>
                    <a:pt x="5" y="138"/>
                  </a:lnTo>
                  <a:lnTo>
                    <a:pt x="2" y="138"/>
                  </a:lnTo>
                  <a:lnTo>
                    <a:pt x="0" y="140"/>
                  </a:lnTo>
                  <a:lnTo>
                    <a:pt x="0" y="143"/>
                  </a:lnTo>
                  <a:lnTo>
                    <a:pt x="0" y="145"/>
                  </a:lnTo>
                  <a:lnTo>
                    <a:pt x="0" y="148"/>
                  </a:lnTo>
                  <a:lnTo>
                    <a:pt x="0" y="143"/>
                  </a:lnTo>
                  <a:lnTo>
                    <a:pt x="0" y="143"/>
                  </a:lnTo>
                  <a:lnTo>
                    <a:pt x="2" y="143"/>
                  </a:lnTo>
                  <a:lnTo>
                    <a:pt x="2" y="143"/>
                  </a:lnTo>
                  <a:lnTo>
                    <a:pt x="5" y="148"/>
                  </a:lnTo>
                  <a:lnTo>
                    <a:pt x="7" y="153"/>
                  </a:lnTo>
                  <a:lnTo>
                    <a:pt x="7" y="153"/>
                  </a:lnTo>
                  <a:lnTo>
                    <a:pt x="10" y="153"/>
                  </a:lnTo>
                  <a:lnTo>
                    <a:pt x="10" y="150"/>
                  </a:lnTo>
                  <a:lnTo>
                    <a:pt x="10" y="150"/>
                  </a:lnTo>
                  <a:lnTo>
                    <a:pt x="10" y="153"/>
                  </a:lnTo>
                  <a:lnTo>
                    <a:pt x="12" y="158"/>
                  </a:lnTo>
                  <a:lnTo>
                    <a:pt x="15" y="160"/>
                  </a:lnTo>
                  <a:lnTo>
                    <a:pt x="15" y="163"/>
                  </a:lnTo>
                  <a:lnTo>
                    <a:pt x="15" y="166"/>
                  </a:lnTo>
                  <a:lnTo>
                    <a:pt x="12" y="171"/>
                  </a:lnTo>
                  <a:lnTo>
                    <a:pt x="10" y="178"/>
                  </a:lnTo>
                  <a:lnTo>
                    <a:pt x="12" y="178"/>
                  </a:lnTo>
                  <a:lnTo>
                    <a:pt x="10" y="181"/>
                  </a:lnTo>
                  <a:lnTo>
                    <a:pt x="10" y="181"/>
                  </a:lnTo>
                  <a:lnTo>
                    <a:pt x="7" y="181"/>
                  </a:lnTo>
                  <a:lnTo>
                    <a:pt x="10" y="183"/>
                  </a:lnTo>
                  <a:lnTo>
                    <a:pt x="12" y="186"/>
                  </a:lnTo>
                  <a:lnTo>
                    <a:pt x="15" y="188"/>
                  </a:lnTo>
                  <a:lnTo>
                    <a:pt x="15" y="196"/>
                  </a:lnTo>
                  <a:lnTo>
                    <a:pt x="15" y="201"/>
                  </a:lnTo>
                  <a:lnTo>
                    <a:pt x="17" y="206"/>
                  </a:lnTo>
                  <a:lnTo>
                    <a:pt x="17" y="214"/>
                  </a:lnTo>
                  <a:lnTo>
                    <a:pt x="15" y="222"/>
                  </a:lnTo>
                  <a:lnTo>
                    <a:pt x="12" y="232"/>
                  </a:lnTo>
                  <a:lnTo>
                    <a:pt x="10" y="237"/>
                  </a:lnTo>
                  <a:lnTo>
                    <a:pt x="7" y="244"/>
                  </a:lnTo>
                  <a:lnTo>
                    <a:pt x="7" y="247"/>
                  </a:lnTo>
                  <a:lnTo>
                    <a:pt x="5" y="252"/>
                  </a:lnTo>
                  <a:lnTo>
                    <a:pt x="5" y="262"/>
                  </a:lnTo>
                  <a:lnTo>
                    <a:pt x="5" y="260"/>
                  </a:lnTo>
                  <a:lnTo>
                    <a:pt x="5" y="255"/>
                  </a:lnTo>
                  <a:lnTo>
                    <a:pt x="7" y="252"/>
                  </a:lnTo>
                  <a:lnTo>
                    <a:pt x="7" y="252"/>
                  </a:lnTo>
                  <a:lnTo>
                    <a:pt x="7" y="249"/>
                  </a:lnTo>
                  <a:lnTo>
                    <a:pt x="10" y="247"/>
                  </a:lnTo>
                  <a:lnTo>
                    <a:pt x="10" y="244"/>
                  </a:lnTo>
                  <a:lnTo>
                    <a:pt x="12" y="244"/>
                  </a:lnTo>
                  <a:lnTo>
                    <a:pt x="12" y="244"/>
                  </a:lnTo>
                  <a:lnTo>
                    <a:pt x="15" y="247"/>
                  </a:lnTo>
                  <a:lnTo>
                    <a:pt x="17" y="247"/>
                  </a:lnTo>
                  <a:lnTo>
                    <a:pt x="20" y="247"/>
                  </a:lnTo>
                  <a:lnTo>
                    <a:pt x="23" y="247"/>
                  </a:lnTo>
                  <a:lnTo>
                    <a:pt x="25" y="244"/>
                  </a:lnTo>
                  <a:lnTo>
                    <a:pt x="28" y="244"/>
                  </a:lnTo>
                  <a:lnTo>
                    <a:pt x="30" y="244"/>
                  </a:lnTo>
                  <a:lnTo>
                    <a:pt x="33" y="244"/>
                  </a:lnTo>
                  <a:lnTo>
                    <a:pt x="33" y="242"/>
                  </a:lnTo>
                  <a:lnTo>
                    <a:pt x="33" y="242"/>
                  </a:lnTo>
                  <a:lnTo>
                    <a:pt x="35" y="242"/>
                  </a:lnTo>
                  <a:lnTo>
                    <a:pt x="35" y="242"/>
                  </a:lnTo>
                  <a:lnTo>
                    <a:pt x="35" y="242"/>
                  </a:lnTo>
                  <a:lnTo>
                    <a:pt x="35" y="242"/>
                  </a:lnTo>
                  <a:lnTo>
                    <a:pt x="38" y="242"/>
                  </a:lnTo>
                  <a:lnTo>
                    <a:pt x="40" y="242"/>
                  </a:lnTo>
                  <a:lnTo>
                    <a:pt x="45" y="242"/>
                  </a:lnTo>
                  <a:lnTo>
                    <a:pt x="51" y="244"/>
                  </a:lnTo>
                  <a:lnTo>
                    <a:pt x="53" y="247"/>
                  </a:lnTo>
                  <a:lnTo>
                    <a:pt x="56" y="249"/>
                  </a:lnTo>
                  <a:lnTo>
                    <a:pt x="56" y="252"/>
                  </a:lnTo>
                  <a:lnTo>
                    <a:pt x="56" y="252"/>
                  </a:lnTo>
                  <a:lnTo>
                    <a:pt x="58" y="255"/>
                  </a:lnTo>
                  <a:lnTo>
                    <a:pt x="58" y="255"/>
                  </a:lnTo>
                  <a:lnTo>
                    <a:pt x="61" y="255"/>
                  </a:lnTo>
                  <a:lnTo>
                    <a:pt x="61" y="255"/>
                  </a:lnTo>
                  <a:lnTo>
                    <a:pt x="61" y="255"/>
                  </a:lnTo>
                  <a:lnTo>
                    <a:pt x="63" y="255"/>
                  </a:lnTo>
                  <a:lnTo>
                    <a:pt x="63" y="255"/>
                  </a:lnTo>
                  <a:lnTo>
                    <a:pt x="66" y="255"/>
                  </a:lnTo>
                  <a:lnTo>
                    <a:pt x="66" y="255"/>
                  </a:lnTo>
                  <a:lnTo>
                    <a:pt x="66" y="255"/>
                  </a:lnTo>
                  <a:lnTo>
                    <a:pt x="66" y="255"/>
                  </a:lnTo>
                  <a:lnTo>
                    <a:pt x="66" y="257"/>
                  </a:lnTo>
                  <a:lnTo>
                    <a:pt x="68" y="257"/>
                  </a:lnTo>
                  <a:lnTo>
                    <a:pt x="68" y="260"/>
                  </a:lnTo>
                  <a:lnTo>
                    <a:pt x="68" y="265"/>
                  </a:lnTo>
                  <a:lnTo>
                    <a:pt x="71" y="267"/>
                  </a:lnTo>
                  <a:lnTo>
                    <a:pt x="71" y="267"/>
                  </a:lnTo>
                  <a:lnTo>
                    <a:pt x="74" y="267"/>
                  </a:lnTo>
                  <a:lnTo>
                    <a:pt x="74" y="267"/>
                  </a:lnTo>
                  <a:lnTo>
                    <a:pt x="74" y="270"/>
                  </a:lnTo>
                  <a:lnTo>
                    <a:pt x="74" y="270"/>
                  </a:lnTo>
                  <a:lnTo>
                    <a:pt x="74" y="270"/>
                  </a:lnTo>
                  <a:lnTo>
                    <a:pt x="76" y="270"/>
                  </a:lnTo>
                  <a:lnTo>
                    <a:pt x="76" y="272"/>
                  </a:lnTo>
                  <a:lnTo>
                    <a:pt x="79" y="275"/>
                  </a:lnTo>
                  <a:lnTo>
                    <a:pt x="76" y="275"/>
                  </a:lnTo>
                  <a:lnTo>
                    <a:pt x="76" y="275"/>
                  </a:lnTo>
                  <a:lnTo>
                    <a:pt x="79" y="275"/>
                  </a:lnTo>
                  <a:lnTo>
                    <a:pt x="79" y="275"/>
                  </a:lnTo>
                  <a:lnTo>
                    <a:pt x="79" y="277"/>
                  </a:lnTo>
                  <a:lnTo>
                    <a:pt x="81" y="277"/>
                  </a:lnTo>
                  <a:lnTo>
                    <a:pt x="84" y="280"/>
                  </a:lnTo>
                  <a:lnTo>
                    <a:pt x="84" y="280"/>
                  </a:lnTo>
                  <a:lnTo>
                    <a:pt x="86" y="283"/>
                  </a:lnTo>
                  <a:lnTo>
                    <a:pt x="89" y="285"/>
                  </a:lnTo>
                  <a:lnTo>
                    <a:pt x="89" y="285"/>
                  </a:lnTo>
                  <a:lnTo>
                    <a:pt x="91" y="285"/>
                  </a:lnTo>
                  <a:lnTo>
                    <a:pt x="91" y="285"/>
                  </a:lnTo>
                  <a:lnTo>
                    <a:pt x="94" y="285"/>
                  </a:lnTo>
                  <a:lnTo>
                    <a:pt x="96" y="283"/>
                  </a:lnTo>
                  <a:lnTo>
                    <a:pt x="96" y="280"/>
                  </a:lnTo>
                  <a:lnTo>
                    <a:pt x="96" y="277"/>
                  </a:lnTo>
                  <a:lnTo>
                    <a:pt x="96" y="275"/>
                  </a:lnTo>
                  <a:lnTo>
                    <a:pt x="99" y="272"/>
                  </a:lnTo>
                  <a:lnTo>
                    <a:pt x="99" y="270"/>
                  </a:lnTo>
                  <a:lnTo>
                    <a:pt x="102" y="270"/>
                  </a:lnTo>
                  <a:lnTo>
                    <a:pt x="102" y="267"/>
                  </a:lnTo>
                  <a:lnTo>
                    <a:pt x="104" y="265"/>
                  </a:lnTo>
                  <a:lnTo>
                    <a:pt x="104" y="267"/>
                  </a:lnTo>
                  <a:lnTo>
                    <a:pt x="107" y="267"/>
                  </a:lnTo>
                  <a:lnTo>
                    <a:pt x="112" y="272"/>
                  </a:lnTo>
                  <a:lnTo>
                    <a:pt x="114" y="275"/>
                  </a:lnTo>
                  <a:lnTo>
                    <a:pt x="114" y="277"/>
                  </a:lnTo>
                  <a:lnTo>
                    <a:pt x="117" y="277"/>
                  </a:lnTo>
                  <a:lnTo>
                    <a:pt x="117" y="275"/>
                  </a:lnTo>
                  <a:lnTo>
                    <a:pt x="119" y="272"/>
                  </a:lnTo>
                  <a:lnTo>
                    <a:pt x="119" y="270"/>
                  </a:lnTo>
                  <a:lnTo>
                    <a:pt x="122" y="270"/>
                  </a:lnTo>
                  <a:lnTo>
                    <a:pt x="124" y="270"/>
                  </a:lnTo>
                  <a:lnTo>
                    <a:pt x="127" y="270"/>
                  </a:lnTo>
                  <a:lnTo>
                    <a:pt x="130" y="270"/>
                  </a:lnTo>
                  <a:lnTo>
                    <a:pt x="130" y="272"/>
                  </a:lnTo>
                  <a:lnTo>
                    <a:pt x="132" y="272"/>
                  </a:lnTo>
                  <a:lnTo>
                    <a:pt x="135" y="272"/>
                  </a:lnTo>
                  <a:lnTo>
                    <a:pt x="140" y="272"/>
                  </a:lnTo>
                  <a:lnTo>
                    <a:pt x="142" y="270"/>
                  </a:lnTo>
                  <a:lnTo>
                    <a:pt x="145" y="270"/>
                  </a:lnTo>
                  <a:lnTo>
                    <a:pt x="145" y="270"/>
                  </a:lnTo>
                  <a:lnTo>
                    <a:pt x="145" y="267"/>
                  </a:lnTo>
                  <a:lnTo>
                    <a:pt x="145" y="267"/>
                  </a:lnTo>
                  <a:lnTo>
                    <a:pt x="147" y="265"/>
                  </a:lnTo>
                  <a:lnTo>
                    <a:pt x="147" y="265"/>
                  </a:lnTo>
                  <a:lnTo>
                    <a:pt x="147" y="267"/>
                  </a:lnTo>
                  <a:lnTo>
                    <a:pt x="147" y="270"/>
                  </a:lnTo>
                  <a:lnTo>
                    <a:pt x="150" y="270"/>
                  </a:lnTo>
                  <a:lnTo>
                    <a:pt x="158" y="270"/>
                  </a:lnTo>
                  <a:lnTo>
                    <a:pt x="163" y="270"/>
                  </a:lnTo>
                  <a:lnTo>
                    <a:pt x="183" y="270"/>
                  </a:lnTo>
                  <a:lnTo>
                    <a:pt x="186" y="270"/>
                  </a:lnTo>
                  <a:lnTo>
                    <a:pt x="206" y="270"/>
                  </a:lnTo>
                  <a:lnTo>
                    <a:pt x="216" y="270"/>
                  </a:lnTo>
                  <a:lnTo>
                    <a:pt x="224" y="270"/>
                  </a:lnTo>
                  <a:lnTo>
                    <a:pt x="224" y="262"/>
                  </a:lnTo>
                  <a:lnTo>
                    <a:pt x="226" y="257"/>
                  </a:lnTo>
                  <a:lnTo>
                    <a:pt x="226" y="252"/>
                  </a:lnTo>
                  <a:lnTo>
                    <a:pt x="224" y="247"/>
                  </a:lnTo>
                  <a:lnTo>
                    <a:pt x="221" y="244"/>
                  </a:lnTo>
                  <a:lnTo>
                    <a:pt x="221" y="239"/>
                  </a:lnTo>
                  <a:lnTo>
                    <a:pt x="221" y="234"/>
                  </a:lnTo>
                  <a:lnTo>
                    <a:pt x="221" y="229"/>
                  </a:lnTo>
                  <a:lnTo>
                    <a:pt x="219" y="222"/>
                  </a:lnTo>
                  <a:lnTo>
                    <a:pt x="219" y="216"/>
                  </a:lnTo>
                  <a:lnTo>
                    <a:pt x="219" y="211"/>
                  </a:lnTo>
                  <a:lnTo>
                    <a:pt x="219" y="206"/>
                  </a:lnTo>
                  <a:lnTo>
                    <a:pt x="219" y="199"/>
                  </a:lnTo>
                  <a:lnTo>
                    <a:pt x="219" y="194"/>
                  </a:lnTo>
                  <a:lnTo>
                    <a:pt x="216" y="188"/>
                  </a:lnTo>
                  <a:lnTo>
                    <a:pt x="216" y="183"/>
                  </a:lnTo>
                  <a:lnTo>
                    <a:pt x="216" y="178"/>
                  </a:lnTo>
                  <a:lnTo>
                    <a:pt x="216" y="171"/>
                  </a:lnTo>
                  <a:lnTo>
                    <a:pt x="216" y="166"/>
                  </a:lnTo>
                  <a:lnTo>
                    <a:pt x="216" y="160"/>
                  </a:lnTo>
                  <a:lnTo>
                    <a:pt x="214" y="155"/>
                  </a:lnTo>
                  <a:lnTo>
                    <a:pt x="214" y="148"/>
                  </a:lnTo>
                  <a:lnTo>
                    <a:pt x="214" y="143"/>
                  </a:lnTo>
                  <a:lnTo>
                    <a:pt x="214" y="138"/>
                  </a:lnTo>
                  <a:lnTo>
                    <a:pt x="214" y="132"/>
                  </a:lnTo>
                  <a:lnTo>
                    <a:pt x="214" y="127"/>
                  </a:lnTo>
                  <a:lnTo>
                    <a:pt x="211" y="120"/>
                  </a:lnTo>
                  <a:lnTo>
                    <a:pt x="211" y="115"/>
                  </a:lnTo>
                  <a:lnTo>
                    <a:pt x="211" y="110"/>
                  </a:lnTo>
                  <a:lnTo>
                    <a:pt x="211" y="104"/>
                  </a:lnTo>
                  <a:lnTo>
                    <a:pt x="211" y="97"/>
                  </a:lnTo>
                  <a:lnTo>
                    <a:pt x="211" y="92"/>
                  </a:lnTo>
                  <a:lnTo>
                    <a:pt x="211" y="87"/>
                  </a:lnTo>
                  <a:lnTo>
                    <a:pt x="209" y="82"/>
                  </a:lnTo>
                  <a:lnTo>
                    <a:pt x="209" y="76"/>
                  </a:lnTo>
                  <a:lnTo>
                    <a:pt x="209" y="69"/>
                  </a:lnTo>
                  <a:lnTo>
                    <a:pt x="209" y="64"/>
                  </a:lnTo>
                  <a:lnTo>
                    <a:pt x="209" y="59"/>
                  </a:lnTo>
                  <a:lnTo>
                    <a:pt x="209" y="54"/>
                  </a:lnTo>
                  <a:lnTo>
                    <a:pt x="214" y="54"/>
                  </a:lnTo>
                  <a:lnTo>
                    <a:pt x="221" y="54"/>
                  </a:lnTo>
                  <a:close/>
                </a:path>
              </a:pathLst>
            </a:custGeom>
            <a:solidFill>
              <a:srgbClr val="FFC000"/>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260" name="Freeform 1879">
              <a:extLst>
                <a:ext uri="{FF2B5EF4-FFF2-40B4-BE49-F238E27FC236}">
                  <a16:creationId xmlns:a16="http://schemas.microsoft.com/office/drawing/2014/main" id="{0D8034BB-94D8-1F43-9890-A317C5CF0E39}"/>
                </a:ext>
              </a:extLst>
            </p:cNvPr>
            <p:cNvSpPr>
              <a:spLocks noEditPoints="1"/>
            </p:cNvSpPr>
            <p:nvPr/>
          </p:nvSpPr>
          <p:spPr bwMode="auto">
            <a:xfrm>
              <a:off x="11065417" y="3385653"/>
              <a:ext cx="179931" cy="199560"/>
            </a:xfrm>
            <a:custGeom>
              <a:avLst/>
              <a:gdLst>
                <a:gd name="T0" fmla="*/ 69 w 110"/>
                <a:gd name="T1" fmla="*/ 119 h 122"/>
                <a:gd name="T2" fmla="*/ 69 w 110"/>
                <a:gd name="T3" fmla="*/ 122 h 122"/>
                <a:gd name="T4" fmla="*/ 69 w 110"/>
                <a:gd name="T5" fmla="*/ 122 h 122"/>
                <a:gd name="T6" fmla="*/ 69 w 110"/>
                <a:gd name="T7" fmla="*/ 122 h 122"/>
                <a:gd name="T8" fmla="*/ 69 w 110"/>
                <a:gd name="T9" fmla="*/ 122 h 122"/>
                <a:gd name="T10" fmla="*/ 69 w 110"/>
                <a:gd name="T11" fmla="*/ 122 h 122"/>
                <a:gd name="T12" fmla="*/ 69 w 110"/>
                <a:gd name="T13" fmla="*/ 119 h 122"/>
                <a:gd name="T14" fmla="*/ 71 w 110"/>
                <a:gd name="T15" fmla="*/ 119 h 122"/>
                <a:gd name="T16" fmla="*/ 71 w 110"/>
                <a:gd name="T17" fmla="*/ 117 h 122"/>
                <a:gd name="T18" fmla="*/ 69 w 110"/>
                <a:gd name="T19" fmla="*/ 119 h 122"/>
                <a:gd name="T20" fmla="*/ 69 w 110"/>
                <a:gd name="T21" fmla="*/ 119 h 122"/>
                <a:gd name="T22" fmla="*/ 107 w 110"/>
                <a:gd name="T23" fmla="*/ 94 h 122"/>
                <a:gd name="T24" fmla="*/ 107 w 110"/>
                <a:gd name="T25" fmla="*/ 94 h 122"/>
                <a:gd name="T26" fmla="*/ 104 w 110"/>
                <a:gd name="T27" fmla="*/ 94 h 122"/>
                <a:gd name="T28" fmla="*/ 104 w 110"/>
                <a:gd name="T29" fmla="*/ 94 h 122"/>
                <a:gd name="T30" fmla="*/ 107 w 110"/>
                <a:gd name="T31" fmla="*/ 94 h 122"/>
                <a:gd name="T32" fmla="*/ 107 w 110"/>
                <a:gd name="T33" fmla="*/ 94 h 122"/>
                <a:gd name="T34" fmla="*/ 107 w 110"/>
                <a:gd name="T35" fmla="*/ 96 h 122"/>
                <a:gd name="T36" fmla="*/ 110 w 110"/>
                <a:gd name="T37" fmla="*/ 96 h 122"/>
                <a:gd name="T38" fmla="*/ 110 w 110"/>
                <a:gd name="T39" fmla="*/ 96 h 122"/>
                <a:gd name="T40" fmla="*/ 107 w 110"/>
                <a:gd name="T41" fmla="*/ 94 h 122"/>
                <a:gd name="T42" fmla="*/ 97 w 110"/>
                <a:gd name="T43" fmla="*/ 91 h 122"/>
                <a:gd name="T44" fmla="*/ 94 w 110"/>
                <a:gd name="T45" fmla="*/ 91 h 122"/>
                <a:gd name="T46" fmla="*/ 94 w 110"/>
                <a:gd name="T47" fmla="*/ 91 h 122"/>
                <a:gd name="T48" fmla="*/ 94 w 110"/>
                <a:gd name="T49" fmla="*/ 94 h 122"/>
                <a:gd name="T50" fmla="*/ 97 w 110"/>
                <a:gd name="T51" fmla="*/ 94 h 122"/>
                <a:gd name="T52" fmla="*/ 99 w 110"/>
                <a:gd name="T53" fmla="*/ 94 h 122"/>
                <a:gd name="T54" fmla="*/ 99 w 110"/>
                <a:gd name="T55" fmla="*/ 94 h 122"/>
                <a:gd name="T56" fmla="*/ 99 w 110"/>
                <a:gd name="T57" fmla="*/ 94 h 122"/>
                <a:gd name="T58" fmla="*/ 102 w 110"/>
                <a:gd name="T59" fmla="*/ 94 h 122"/>
                <a:gd name="T60" fmla="*/ 102 w 110"/>
                <a:gd name="T61" fmla="*/ 94 h 122"/>
                <a:gd name="T62" fmla="*/ 99 w 110"/>
                <a:gd name="T63" fmla="*/ 94 h 122"/>
                <a:gd name="T64" fmla="*/ 97 w 110"/>
                <a:gd name="T65" fmla="*/ 91 h 122"/>
                <a:gd name="T66" fmla="*/ 46 w 110"/>
                <a:gd name="T67" fmla="*/ 89 h 122"/>
                <a:gd name="T68" fmla="*/ 46 w 110"/>
                <a:gd name="T69" fmla="*/ 89 h 122"/>
                <a:gd name="T70" fmla="*/ 48 w 110"/>
                <a:gd name="T71" fmla="*/ 89 h 122"/>
                <a:gd name="T72" fmla="*/ 48 w 110"/>
                <a:gd name="T73" fmla="*/ 89 h 122"/>
                <a:gd name="T74" fmla="*/ 51 w 110"/>
                <a:gd name="T75" fmla="*/ 89 h 122"/>
                <a:gd name="T76" fmla="*/ 48 w 110"/>
                <a:gd name="T77" fmla="*/ 89 h 122"/>
                <a:gd name="T78" fmla="*/ 46 w 110"/>
                <a:gd name="T79" fmla="*/ 89 h 122"/>
                <a:gd name="T80" fmla="*/ 0 w 110"/>
                <a:gd name="T81" fmla="*/ 0 h 122"/>
                <a:gd name="T82" fmla="*/ 0 w 110"/>
                <a:gd name="T83" fmla="*/ 0 h 122"/>
                <a:gd name="T84" fmla="*/ 0 w 110"/>
                <a:gd name="T85" fmla="*/ 2 h 122"/>
                <a:gd name="T86" fmla="*/ 3 w 110"/>
                <a:gd name="T87" fmla="*/ 0 h 122"/>
                <a:gd name="T88" fmla="*/ 3 w 110"/>
                <a:gd name="T89" fmla="*/ 0 h 122"/>
                <a:gd name="T90" fmla="*/ 3 w 110"/>
                <a:gd name="T91" fmla="*/ 0 h 122"/>
                <a:gd name="T92" fmla="*/ 0 w 110"/>
                <a:gd name="T93" fmla="*/ 0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0" h="122">
                  <a:moveTo>
                    <a:pt x="69" y="119"/>
                  </a:moveTo>
                  <a:lnTo>
                    <a:pt x="69" y="122"/>
                  </a:lnTo>
                  <a:lnTo>
                    <a:pt x="69" y="122"/>
                  </a:lnTo>
                  <a:lnTo>
                    <a:pt x="69" y="122"/>
                  </a:lnTo>
                  <a:lnTo>
                    <a:pt x="69" y="122"/>
                  </a:lnTo>
                  <a:lnTo>
                    <a:pt x="69" y="122"/>
                  </a:lnTo>
                  <a:lnTo>
                    <a:pt x="69" y="119"/>
                  </a:lnTo>
                  <a:lnTo>
                    <a:pt x="71" y="119"/>
                  </a:lnTo>
                  <a:lnTo>
                    <a:pt x="71" y="117"/>
                  </a:lnTo>
                  <a:lnTo>
                    <a:pt x="69" y="119"/>
                  </a:lnTo>
                  <a:lnTo>
                    <a:pt x="69" y="119"/>
                  </a:lnTo>
                  <a:close/>
                  <a:moveTo>
                    <a:pt x="107" y="94"/>
                  </a:moveTo>
                  <a:lnTo>
                    <a:pt x="107" y="94"/>
                  </a:lnTo>
                  <a:lnTo>
                    <a:pt x="104" y="94"/>
                  </a:lnTo>
                  <a:lnTo>
                    <a:pt x="104" y="94"/>
                  </a:lnTo>
                  <a:lnTo>
                    <a:pt x="107" y="94"/>
                  </a:lnTo>
                  <a:lnTo>
                    <a:pt x="107" y="94"/>
                  </a:lnTo>
                  <a:lnTo>
                    <a:pt x="107" y="96"/>
                  </a:lnTo>
                  <a:lnTo>
                    <a:pt x="110" y="96"/>
                  </a:lnTo>
                  <a:lnTo>
                    <a:pt x="110" y="96"/>
                  </a:lnTo>
                  <a:lnTo>
                    <a:pt x="107" y="94"/>
                  </a:lnTo>
                  <a:close/>
                  <a:moveTo>
                    <a:pt x="97" y="91"/>
                  </a:moveTo>
                  <a:lnTo>
                    <a:pt x="94" y="91"/>
                  </a:lnTo>
                  <a:lnTo>
                    <a:pt x="94" y="91"/>
                  </a:lnTo>
                  <a:lnTo>
                    <a:pt x="94" y="94"/>
                  </a:lnTo>
                  <a:lnTo>
                    <a:pt x="97" y="94"/>
                  </a:lnTo>
                  <a:lnTo>
                    <a:pt x="99" y="94"/>
                  </a:lnTo>
                  <a:lnTo>
                    <a:pt x="99" y="94"/>
                  </a:lnTo>
                  <a:lnTo>
                    <a:pt x="99" y="94"/>
                  </a:lnTo>
                  <a:lnTo>
                    <a:pt x="102" y="94"/>
                  </a:lnTo>
                  <a:lnTo>
                    <a:pt x="102" y="94"/>
                  </a:lnTo>
                  <a:lnTo>
                    <a:pt x="99" y="94"/>
                  </a:lnTo>
                  <a:lnTo>
                    <a:pt x="97" y="91"/>
                  </a:lnTo>
                  <a:close/>
                  <a:moveTo>
                    <a:pt x="46" y="89"/>
                  </a:moveTo>
                  <a:lnTo>
                    <a:pt x="46" y="89"/>
                  </a:lnTo>
                  <a:lnTo>
                    <a:pt x="48" y="89"/>
                  </a:lnTo>
                  <a:lnTo>
                    <a:pt x="48" y="89"/>
                  </a:lnTo>
                  <a:lnTo>
                    <a:pt x="51" y="89"/>
                  </a:lnTo>
                  <a:lnTo>
                    <a:pt x="48" y="89"/>
                  </a:lnTo>
                  <a:lnTo>
                    <a:pt x="46" y="89"/>
                  </a:lnTo>
                  <a:close/>
                  <a:moveTo>
                    <a:pt x="0" y="0"/>
                  </a:moveTo>
                  <a:lnTo>
                    <a:pt x="0" y="0"/>
                  </a:lnTo>
                  <a:lnTo>
                    <a:pt x="0" y="2"/>
                  </a:lnTo>
                  <a:lnTo>
                    <a:pt x="3" y="0"/>
                  </a:lnTo>
                  <a:lnTo>
                    <a:pt x="3" y="0"/>
                  </a:lnTo>
                  <a:lnTo>
                    <a:pt x="3" y="0"/>
                  </a:lnTo>
                  <a:lnTo>
                    <a:pt x="0"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261" name="Freeform 1880">
              <a:extLst>
                <a:ext uri="{FF2B5EF4-FFF2-40B4-BE49-F238E27FC236}">
                  <a16:creationId xmlns:a16="http://schemas.microsoft.com/office/drawing/2014/main" id="{1B50E654-B5AB-8846-A1C2-62705E07C4A3}"/>
                </a:ext>
              </a:extLst>
            </p:cNvPr>
            <p:cNvSpPr>
              <a:spLocks noEditPoints="1"/>
            </p:cNvSpPr>
            <p:nvPr/>
          </p:nvSpPr>
          <p:spPr bwMode="auto">
            <a:xfrm>
              <a:off x="6066605" y="2461461"/>
              <a:ext cx="13086" cy="8179"/>
            </a:xfrm>
            <a:custGeom>
              <a:avLst/>
              <a:gdLst>
                <a:gd name="T0" fmla="*/ 8 w 8"/>
                <a:gd name="T1" fmla="*/ 5 h 5"/>
                <a:gd name="T2" fmla="*/ 5 w 8"/>
                <a:gd name="T3" fmla="*/ 2 h 5"/>
                <a:gd name="T4" fmla="*/ 5 w 8"/>
                <a:gd name="T5" fmla="*/ 2 h 5"/>
                <a:gd name="T6" fmla="*/ 5 w 8"/>
                <a:gd name="T7" fmla="*/ 5 h 5"/>
                <a:gd name="T8" fmla="*/ 5 w 8"/>
                <a:gd name="T9" fmla="*/ 5 h 5"/>
                <a:gd name="T10" fmla="*/ 8 w 8"/>
                <a:gd name="T11" fmla="*/ 5 h 5"/>
                <a:gd name="T12" fmla="*/ 8 w 8"/>
                <a:gd name="T13" fmla="*/ 5 h 5"/>
                <a:gd name="T14" fmla="*/ 8 w 8"/>
                <a:gd name="T15" fmla="*/ 5 h 5"/>
                <a:gd name="T16" fmla="*/ 3 w 8"/>
                <a:gd name="T17" fmla="*/ 0 h 5"/>
                <a:gd name="T18" fmla="*/ 0 w 8"/>
                <a:gd name="T19" fmla="*/ 0 h 5"/>
                <a:gd name="T20" fmla="*/ 0 w 8"/>
                <a:gd name="T21" fmla="*/ 0 h 5"/>
                <a:gd name="T22" fmla="*/ 3 w 8"/>
                <a:gd name="T23" fmla="*/ 0 h 5"/>
                <a:gd name="T24" fmla="*/ 3 w 8"/>
                <a:gd name="T25" fmla="*/ 0 h 5"/>
                <a:gd name="T26" fmla="*/ 3 w 8"/>
                <a:gd name="T27" fmla="*/ 0 h 5"/>
                <a:gd name="T28" fmla="*/ 3 w 8"/>
                <a:gd name="T29" fmla="*/ 0 h 5"/>
                <a:gd name="T30" fmla="*/ 3 w 8"/>
                <a:gd name="T31"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 h="5">
                  <a:moveTo>
                    <a:pt x="8" y="5"/>
                  </a:moveTo>
                  <a:lnTo>
                    <a:pt x="5" y="2"/>
                  </a:lnTo>
                  <a:lnTo>
                    <a:pt x="5" y="2"/>
                  </a:lnTo>
                  <a:lnTo>
                    <a:pt x="5" y="5"/>
                  </a:lnTo>
                  <a:lnTo>
                    <a:pt x="5" y="5"/>
                  </a:lnTo>
                  <a:lnTo>
                    <a:pt x="8" y="5"/>
                  </a:lnTo>
                  <a:lnTo>
                    <a:pt x="8" y="5"/>
                  </a:lnTo>
                  <a:lnTo>
                    <a:pt x="8" y="5"/>
                  </a:lnTo>
                  <a:close/>
                  <a:moveTo>
                    <a:pt x="3" y="0"/>
                  </a:moveTo>
                  <a:lnTo>
                    <a:pt x="0" y="0"/>
                  </a:lnTo>
                  <a:lnTo>
                    <a:pt x="0" y="0"/>
                  </a:lnTo>
                  <a:lnTo>
                    <a:pt x="3" y="0"/>
                  </a:lnTo>
                  <a:lnTo>
                    <a:pt x="3" y="0"/>
                  </a:lnTo>
                  <a:lnTo>
                    <a:pt x="3" y="0"/>
                  </a:lnTo>
                  <a:lnTo>
                    <a:pt x="3" y="0"/>
                  </a:lnTo>
                  <a:lnTo>
                    <a:pt x="3"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262" name="Freeform 1881">
              <a:extLst>
                <a:ext uri="{FF2B5EF4-FFF2-40B4-BE49-F238E27FC236}">
                  <a16:creationId xmlns:a16="http://schemas.microsoft.com/office/drawing/2014/main" id="{44229BFC-BC00-7F45-AC98-4F082279FBD5}"/>
                </a:ext>
              </a:extLst>
            </p:cNvPr>
            <p:cNvSpPr>
              <a:spLocks/>
            </p:cNvSpPr>
            <p:nvPr/>
          </p:nvSpPr>
          <p:spPr bwMode="auto">
            <a:xfrm>
              <a:off x="5212751" y="2873667"/>
              <a:ext cx="538158" cy="547972"/>
            </a:xfrm>
            <a:custGeom>
              <a:avLst/>
              <a:gdLst>
                <a:gd name="T0" fmla="*/ 308 w 329"/>
                <a:gd name="T1" fmla="*/ 134 h 335"/>
                <a:gd name="T2" fmla="*/ 311 w 329"/>
                <a:gd name="T3" fmla="*/ 127 h 335"/>
                <a:gd name="T4" fmla="*/ 303 w 329"/>
                <a:gd name="T5" fmla="*/ 114 h 335"/>
                <a:gd name="T6" fmla="*/ 283 w 329"/>
                <a:gd name="T7" fmla="*/ 106 h 335"/>
                <a:gd name="T8" fmla="*/ 270 w 329"/>
                <a:gd name="T9" fmla="*/ 94 h 335"/>
                <a:gd name="T10" fmla="*/ 247 w 329"/>
                <a:gd name="T11" fmla="*/ 71 h 335"/>
                <a:gd name="T12" fmla="*/ 196 w 329"/>
                <a:gd name="T13" fmla="*/ 33 h 335"/>
                <a:gd name="T14" fmla="*/ 148 w 329"/>
                <a:gd name="T15" fmla="*/ 0 h 335"/>
                <a:gd name="T16" fmla="*/ 120 w 329"/>
                <a:gd name="T17" fmla="*/ 22 h 335"/>
                <a:gd name="T18" fmla="*/ 122 w 329"/>
                <a:gd name="T19" fmla="*/ 66 h 335"/>
                <a:gd name="T20" fmla="*/ 127 w 329"/>
                <a:gd name="T21" fmla="*/ 112 h 335"/>
                <a:gd name="T22" fmla="*/ 130 w 329"/>
                <a:gd name="T23" fmla="*/ 157 h 335"/>
                <a:gd name="T24" fmla="*/ 137 w 329"/>
                <a:gd name="T25" fmla="*/ 198 h 335"/>
                <a:gd name="T26" fmla="*/ 74 w 329"/>
                <a:gd name="T27" fmla="*/ 216 h 335"/>
                <a:gd name="T28" fmla="*/ 56 w 329"/>
                <a:gd name="T29" fmla="*/ 213 h 335"/>
                <a:gd name="T30" fmla="*/ 41 w 329"/>
                <a:gd name="T31" fmla="*/ 216 h 335"/>
                <a:gd name="T32" fmla="*/ 25 w 329"/>
                <a:gd name="T33" fmla="*/ 223 h 335"/>
                <a:gd name="T34" fmla="*/ 10 w 329"/>
                <a:gd name="T35" fmla="*/ 216 h 335"/>
                <a:gd name="T36" fmla="*/ 2 w 329"/>
                <a:gd name="T37" fmla="*/ 231 h 335"/>
                <a:gd name="T38" fmla="*/ 5 w 329"/>
                <a:gd name="T39" fmla="*/ 244 h 335"/>
                <a:gd name="T40" fmla="*/ 2 w 329"/>
                <a:gd name="T41" fmla="*/ 257 h 335"/>
                <a:gd name="T42" fmla="*/ 10 w 329"/>
                <a:gd name="T43" fmla="*/ 262 h 335"/>
                <a:gd name="T44" fmla="*/ 15 w 329"/>
                <a:gd name="T45" fmla="*/ 272 h 335"/>
                <a:gd name="T46" fmla="*/ 15 w 329"/>
                <a:gd name="T47" fmla="*/ 285 h 335"/>
                <a:gd name="T48" fmla="*/ 18 w 329"/>
                <a:gd name="T49" fmla="*/ 295 h 335"/>
                <a:gd name="T50" fmla="*/ 28 w 329"/>
                <a:gd name="T51" fmla="*/ 297 h 335"/>
                <a:gd name="T52" fmla="*/ 35 w 329"/>
                <a:gd name="T53" fmla="*/ 290 h 335"/>
                <a:gd name="T54" fmla="*/ 51 w 329"/>
                <a:gd name="T55" fmla="*/ 292 h 335"/>
                <a:gd name="T56" fmla="*/ 56 w 329"/>
                <a:gd name="T57" fmla="*/ 285 h 335"/>
                <a:gd name="T58" fmla="*/ 64 w 329"/>
                <a:gd name="T59" fmla="*/ 290 h 335"/>
                <a:gd name="T60" fmla="*/ 71 w 329"/>
                <a:gd name="T61" fmla="*/ 305 h 335"/>
                <a:gd name="T62" fmla="*/ 74 w 329"/>
                <a:gd name="T63" fmla="*/ 310 h 335"/>
                <a:gd name="T64" fmla="*/ 74 w 329"/>
                <a:gd name="T65" fmla="*/ 315 h 335"/>
                <a:gd name="T66" fmla="*/ 76 w 329"/>
                <a:gd name="T67" fmla="*/ 328 h 335"/>
                <a:gd name="T68" fmla="*/ 86 w 329"/>
                <a:gd name="T69" fmla="*/ 335 h 335"/>
                <a:gd name="T70" fmla="*/ 94 w 329"/>
                <a:gd name="T71" fmla="*/ 333 h 335"/>
                <a:gd name="T72" fmla="*/ 104 w 329"/>
                <a:gd name="T73" fmla="*/ 335 h 335"/>
                <a:gd name="T74" fmla="*/ 109 w 329"/>
                <a:gd name="T75" fmla="*/ 330 h 335"/>
                <a:gd name="T76" fmla="*/ 115 w 329"/>
                <a:gd name="T77" fmla="*/ 328 h 335"/>
                <a:gd name="T78" fmla="*/ 117 w 329"/>
                <a:gd name="T79" fmla="*/ 328 h 335"/>
                <a:gd name="T80" fmla="*/ 120 w 329"/>
                <a:gd name="T81" fmla="*/ 335 h 335"/>
                <a:gd name="T82" fmla="*/ 132 w 329"/>
                <a:gd name="T83" fmla="*/ 330 h 335"/>
                <a:gd name="T84" fmla="*/ 135 w 329"/>
                <a:gd name="T85" fmla="*/ 315 h 335"/>
                <a:gd name="T86" fmla="*/ 137 w 329"/>
                <a:gd name="T87" fmla="*/ 300 h 335"/>
                <a:gd name="T88" fmla="*/ 150 w 329"/>
                <a:gd name="T89" fmla="*/ 292 h 335"/>
                <a:gd name="T90" fmla="*/ 153 w 329"/>
                <a:gd name="T91" fmla="*/ 279 h 335"/>
                <a:gd name="T92" fmla="*/ 160 w 329"/>
                <a:gd name="T93" fmla="*/ 264 h 335"/>
                <a:gd name="T94" fmla="*/ 178 w 329"/>
                <a:gd name="T95" fmla="*/ 264 h 335"/>
                <a:gd name="T96" fmla="*/ 186 w 329"/>
                <a:gd name="T97" fmla="*/ 257 h 335"/>
                <a:gd name="T98" fmla="*/ 201 w 329"/>
                <a:gd name="T99" fmla="*/ 246 h 335"/>
                <a:gd name="T100" fmla="*/ 219 w 329"/>
                <a:gd name="T101" fmla="*/ 231 h 335"/>
                <a:gd name="T102" fmla="*/ 234 w 329"/>
                <a:gd name="T103" fmla="*/ 226 h 335"/>
                <a:gd name="T104" fmla="*/ 257 w 329"/>
                <a:gd name="T105" fmla="*/ 229 h 335"/>
                <a:gd name="T106" fmla="*/ 293 w 329"/>
                <a:gd name="T107" fmla="*/ 218 h 335"/>
                <a:gd name="T108" fmla="*/ 313 w 329"/>
                <a:gd name="T109" fmla="*/ 216 h 335"/>
                <a:gd name="T110" fmla="*/ 323 w 329"/>
                <a:gd name="T111" fmla="*/ 203 h 335"/>
                <a:gd name="T112" fmla="*/ 329 w 329"/>
                <a:gd name="T113" fmla="*/ 168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9" h="335">
                  <a:moveTo>
                    <a:pt x="323" y="134"/>
                  </a:moveTo>
                  <a:lnTo>
                    <a:pt x="318" y="134"/>
                  </a:lnTo>
                  <a:lnTo>
                    <a:pt x="313" y="134"/>
                  </a:lnTo>
                  <a:lnTo>
                    <a:pt x="313" y="134"/>
                  </a:lnTo>
                  <a:lnTo>
                    <a:pt x="311" y="137"/>
                  </a:lnTo>
                  <a:lnTo>
                    <a:pt x="311" y="134"/>
                  </a:lnTo>
                  <a:lnTo>
                    <a:pt x="311" y="134"/>
                  </a:lnTo>
                  <a:lnTo>
                    <a:pt x="308" y="134"/>
                  </a:lnTo>
                  <a:lnTo>
                    <a:pt x="308" y="132"/>
                  </a:lnTo>
                  <a:lnTo>
                    <a:pt x="306" y="132"/>
                  </a:lnTo>
                  <a:lnTo>
                    <a:pt x="308" y="129"/>
                  </a:lnTo>
                  <a:lnTo>
                    <a:pt x="308" y="129"/>
                  </a:lnTo>
                  <a:lnTo>
                    <a:pt x="308" y="129"/>
                  </a:lnTo>
                  <a:lnTo>
                    <a:pt x="308" y="127"/>
                  </a:lnTo>
                  <a:lnTo>
                    <a:pt x="311" y="127"/>
                  </a:lnTo>
                  <a:lnTo>
                    <a:pt x="311" y="127"/>
                  </a:lnTo>
                  <a:lnTo>
                    <a:pt x="308" y="124"/>
                  </a:lnTo>
                  <a:lnTo>
                    <a:pt x="308" y="122"/>
                  </a:lnTo>
                  <a:lnTo>
                    <a:pt x="308" y="119"/>
                  </a:lnTo>
                  <a:lnTo>
                    <a:pt x="308" y="119"/>
                  </a:lnTo>
                  <a:lnTo>
                    <a:pt x="308" y="117"/>
                  </a:lnTo>
                  <a:lnTo>
                    <a:pt x="308" y="117"/>
                  </a:lnTo>
                  <a:lnTo>
                    <a:pt x="306" y="114"/>
                  </a:lnTo>
                  <a:lnTo>
                    <a:pt x="303" y="114"/>
                  </a:lnTo>
                  <a:lnTo>
                    <a:pt x="301" y="114"/>
                  </a:lnTo>
                  <a:lnTo>
                    <a:pt x="298" y="114"/>
                  </a:lnTo>
                  <a:lnTo>
                    <a:pt x="295" y="112"/>
                  </a:lnTo>
                  <a:lnTo>
                    <a:pt x="293" y="112"/>
                  </a:lnTo>
                  <a:lnTo>
                    <a:pt x="290" y="109"/>
                  </a:lnTo>
                  <a:lnTo>
                    <a:pt x="290" y="106"/>
                  </a:lnTo>
                  <a:lnTo>
                    <a:pt x="283" y="106"/>
                  </a:lnTo>
                  <a:lnTo>
                    <a:pt x="283" y="106"/>
                  </a:lnTo>
                  <a:lnTo>
                    <a:pt x="280" y="106"/>
                  </a:lnTo>
                  <a:lnTo>
                    <a:pt x="280" y="104"/>
                  </a:lnTo>
                  <a:lnTo>
                    <a:pt x="278" y="101"/>
                  </a:lnTo>
                  <a:lnTo>
                    <a:pt x="278" y="101"/>
                  </a:lnTo>
                  <a:lnTo>
                    <a:pt x="278" y="101"/>
                  </a:lnTo>
                  <a:lnTo>
                    <a:pt x="273" y="96"/>
                  </a:lnTo>
                  <a:lnTo>
                    <a:pt x="270" y="96"/>
                  </a:lnTo>
                  <a:lnTo>
                    <a:pt x="270" y="94"/>
                  </a:lnTo>
                  <a:lnTo>
                    <a:pt x="270" y="94"/>
                  </a:lnTo>
                  <a:lnTo>
                    <a:pt x="270" y="91"/>
                  </a:lnTo>
                  <a:lnTo>
                    <a:pt x="270" y="89"/>
                  </a:lnTo>
                  <a:lnTo>
                    <a:pt x="270" y="89"/>
                  </a:lnTo>
                  <a:lnTo>
                    <a:pt x="265" y="86"/>
                  </a:lnTo>
                  <a:lnTo>
                    <a:pt x="260" y="81"/>
                  </a:lnTo>
                  <a:lnTo>
                    <a:pt x="252" y="76"/>
                  </a:lnTo>
                  <a:lnTo>
                    <a:pt x="247" y="71"/>
                  </a:lnTo>
                  <a:lnTo>
                    <a:pt x="239" y="66"/>
                  </a:lnTo>
                  <a:lnTo>
                    <a:pt x="234" y="61"/>
                  </a:lnTo>
                  <a:lnTo>
                    <a:pt x="227" y="56"/>
                  </a:lnTo>
                  <a:lnTo>
                    <a:pt x="222" y="50"/>
                  </a:lnTo>
                  <a:lnTo>
                    <a:pt x="214" y="45"/>
                  </a:lnTo>
                  <a:lnTo>
                    <a:pt x="209" y="43"/>
                  </a:lnTo>
                  <a:lnTo>
                    <a:pt x="201" y="38"/>
                  </a:lnTo>
                  <a:lnTo>
                    <a:pt x="196" y="33"/>
                  </a:lnTo>
                  <a:lnTo>
                    <a:pt x="191" y="28"/>
                  </a:lnTo>
                  <a:lnTo>
                    <a:pt x="183" y="22"/>
                  </a:lnTo>
                  <a:lnTo>
                    <a:pt x="178" y="17"/>
                  </a:lnTo>
                  <a:lnTo>
                    <a:pt x="171" y="12"/>
                  </a:lnTo>
                  <a:lnTo>
                    <a:pt x="165" y="7"/>
                  </a:lnTo>
                  <a:lnTo>
                    <a:pt x="160" y="5"/>
                  </a:lnTo>
                  <a:lnTo>
                    <a:pt x="153" y="0"/>
                  </a:lnTo>
                  <a:lnTo>
                    <a:pt x="148" y="0"/>
                  </a:lnTo>
                  <a:lnTo>
                    <a:pt x="137" y="0"/>
                  </a:lnTo>
                  <a:lnTo>
                    <a:pt x="132" y="0"/>
                  </a:lnTo>
                  <a:lnTo>
                    <a:pt x="125" y="0"/>
                  </a:lnTo>
                  <a:lnTo>
                    <a:pt x="120" y="0"/>
                  </a:lnTo>
                  <a:lnTo>
                    <a:pt x="120" y="5"/>
                  </a:lnTo>
                  <a:lnTo>
                    <a:pt x="120" y="10"/>
                  </a:lnTo>
                  <a:lnTo>
                    <a:pt x="120" y="15"/>
                  </a:lnTo>
                  <a:lnTo>
                    <a:pt x="120" y="22"/>
                  </a:lnTo>
                  <a:lnTo>
                    <a:pt x="120" y="28"/>
                  </a:lnTo>
                  <a:lnTo>
                    <a:pt x="122" y="33"/>
                  </a:lnTo>
                  <a:lnTo>
                    <a:pt x="122" y="38"/>
                  </a:lnTo>
                  <a:lnTo>
                    <a:pt x="122" y="43"/>
                  </a:lnTo>
                  <a:lnTo>
                    <a:pt x="122" y="50"/>
                  </a:lnTo>
                  <a:lnTo>
                    <a:pt x="122" y="56"/>
                  </a:lnTo>
                  <a:lnTo>
                    <a:pt x="122" y="61"/>
                  </a:lnTo>
                  <a:lnTo>
                    <a:pt x="122" y="66"/>
                  </a:lnTo>
                  <a:lnTo>
                    <a:pt x="125" y="73"/>
                  </a:lnTo>
                  <a:lnTo>
                    <a:pt x="125" y="78"/>
                  </a:lnTo>
                  <a:lnTo>
                    <a:pt x="125" y="84"/>
                  </a:lnTo>
                  <a:lnTo>
                    <a:pt x="125" y="89"/>
                  </a:lnTo>
                  <a:lnTo>
                    <a:pt x="125" y="94"/>
                  </a:lnTo>
                  <a:lnTo>
                    <a:pt x="125" y="101"/>
                  </a:lnTo>
                  <a:lnTo>
                    <a:pt x="127" y="106"/>
                  </a:lnTo>
                  <a:lnTo>
                    <a:pt x="127" y="112"/>
                  </a:lnTo>
                  <a:lnTo>
                    <a:pt x="127" y="117"/>
                  </a:lnTo>
                  <a:lnTo>
                    <a:pt x="127" y="124"/>
                  </a:lnTo>
                  <a:lnTo>
                    <a:pt x="127" y="129"/>
                  </a:lnTo>
                  <a:lnTo>
                    <a:pt x="127" y="134"/>
                  </a:lnTo>
                  <a:lnTo>
                    <a:pt x="130" y="140"/>
                  </a:lnTo>
                  <a:lnTo>
                    <a:pt x="130" y="145"/>
                  </a:lnTo>
                  <a:lnTo>
                    <a:pt x="130" y="152"/>
                  </a:lnTo>
                  <a:lnTo>
                    <a:pt x="130" y="157"/>
                  </a:lnTo>
                  <a:lnTo>
                    <a:pt x="130" y="162"/>
                  </a:lnTo>
                  <a:lnTo>
                    <a:pt x="130" y="168"/>
                  </a:lnTo>
                  <a:lnTo>
                    <a:pt x="132" y="175"/>
                  </a:lnTo>
                  <a:lnTo>
                    <a:pt x="132" y="180"/>
                  </a:lnTo>
                  <a:lnTo>
                    <a:pt x="132" y="185"/>
                  </a:lnTo>
                  <a:lnTo>
                    <a:pt x="132" y="190"/>
                  </a:lnTo>
                  <a:lnTo>
                    <a:pt x="135" y="193"/>
                  </a:lnTo>
                  <a:lnTo>
                    <a:pt x="137" y="198"/>
                  </a:lnTo>
                  <a:lnTo>
                    <a:pt x="137" y="203"/>
                  </a:lnTo>
                  <a:lnTo>
                    <a:pt x="135" y="208"/>
                  </a:lnTo>
                  <a:lnTo>
                    <a:pt x="135" y="216"/>
                  </a:lnTo>
                  <a:lnTo>
                    <a:pt x="127" y="216"/>
                  </a:lnTo>
                  <a:lnTo>
                    <a:pt x="117" y="216"/>
                  </a:lnTo>
                  <a:lnTo>
                    <a:pt x="97" y="216"/>
                  </a:lnTo>
                  <a:lnTo>
                    <a:pt x="94" y="216"/>
                  </a:lnTo>
                  <a:lnTo>
                    <a:pt x="74" y="216"/>
                  </a:lnTo>
                  <a:lnTo>
                    <a:pt x="69" y="216"/>
                  </a:lnTo>
                  <a:lnTo>
                    <a:pt x="61" y="216"/>
                  </a:lnTo>
                  <a:lnTo>
                    <a:pt x="58" y="216"/>
                  </a:lnTo>
                  <a:lnTo>
                    <a:pt x="58" y="213"/>
                  </a:lnTo>
                  <a:lnTo>
                    <a:pt x="58" y="211"/>
                  </a:lnTo>
                  <a:lnTo>
                    <a:pt x="58" y="211"/>
                  </a:lnTo>
                  <a:lnTo>
                    <a:pt x="56" y="213"/>
                  </a:lnTo>
                  <a:lnTo>
                    <a:pt x="56" y="213"/>
                  </a:lnTo>
                  <a:lnTo>
                    <a:pt x="56" y="216"/>
                  </a:lnTo>
                  <a:lnTo>
                    <a:pt x="56" y="216"/>
                  </a:lnTo>
                  <a:lnTo>
                    <a:pt x="53" y="216"/>
                  </a:lnTo>
                  <a:lnTo>
                    <a:pt x="51" y="218"/>
                  </a:lnTo>
                  <a:lnTo>
                    <a:pt x="46" y="218"/>
                  </a:lnTo>
                  <a:lnTo>
                    <a:pt x="43" y="218"/>
                  </a:lnTo>
                  <a:lnTo>
                    <a:pt x="41" y="218"/>
                  </a:lnTo>
                  <a:lnTo>
                    <a:pt x="41" y="216"/>
                  </a:lnTo>
                  <a:lnTo>
                    <a:pt x="38" y="216"/>
                  </a:lnTo>
                  <a:lnTo>
                    <a:pt x="35" y="216"/>
                  </a:lnTo>
                  <a:lnTo>
                    <a:pt x="33" y="216"/>
                  </a:lnTo>
                  <a:lnTo>
                    <a:pt x="30" y="216"/>
                  </a:lnTo>
                  <a:lnTo>
                    <a:pt x="30" y="218"/>
                  </a:lnTo>
                  <a:lnTo>
                    <a:pt x="28" y="221"/>
                  </a:lnTo>
                  <a:lnTo>
                    <a:pt x="28" y="223"/>
                  </a:lnTo>
                  <a:lnTo>
                    <a:pt x="25" y="223"/>
                  </a:lnTo>
                  <a:lnTo>
                    <a:pt x="25" y="221"/>
                  </a:lnTo>
                  <a:lnTo>
                    <a:pt x="23" y="218"/>
                  </a:lnTo>
                  <a:lnTo>
                    <a:pt x="18" y="213"/>
                  </a:lnTo>
                  <a:lnTo>
                    <a:pt x="15" y="213"/>
                  </a:lnTo>
                  <a:lnTo>
                    <a:pt x="15" y="211"/>
                  </a:lnTo>
                  <a:lnTo>
                    <a:pt x="13" y="213"/>
                  </a:lnTo>
                  <a:lnTo>
                    <a:pt x="13" y="216"/>
                  </a:lnTo>
                  <a:lnTo>
                    <a:pt x="10" y="216"/>
                  </a:lnTo>
                  <a:lnTo>
                    <a:pt x="10" y="218"/>
                  </a:lnTo>
                  <a:lnTo>
                    <a:pt x="7" y="221"/>
                  </a:lnTo>
                  <a:lnTo>
                    <a:pt x="7" y="223"/>
                  </a:lnTo>
                  <a:lnTo>
                    <a:pt x="7" y="226"/>
                  </a:lnTo>
                  <a:lnTo>
                    <a:pt x="7" y="229"/>
                  </a:lnTo>
                  <a:lnTo>
                    <a:pt x="5" y="231"/>
                  </a:lnTo>
                  <a:lnTo>
                    <a:pt x="2" y="231"/>
                  </a:lnTo>
                  <a:lnTo>
                    <a:pt x="2" y="231"/>
                  </a:lnTo>
                  <a:lnTo>
                    <a:pt x="0" y="231"/>
                  </a:lnTo>
                  <a:lnTo>
                    <a:pt x="2" y="234"/>
                  </a:lnTo>
                  <a:lnTo>
                    <a:pt x="0" y="236"/>
                  </a:lnTo>
                  <a:lnTo>
                    <a:pt x="0" y="239"/>
                  </a:lnTo>
                  <a:lnTo>
                    <a:pt x="2" y="241"/>
                  </a:lnTo>
                  <a:lnTo>
                    <a:pt x="2" y="241"/>
                  </a:lnTo>
                  <a:lnTo>
                    <a:pt x="2" y="244"/>
                  </a:lnTo>
                  <a:lnTo>
                    <a:pt x="5" y="244"/>
                  </a:lnTo>
                  <a:lnTo>
                    <a:pt x="5" y="246"/>
                  </a:lnTo>
                  <a:lnTo>
                    <a:pt x="5" y="249"/>
                  </a:lnTo>
                  <a:lnTo>
                    <a:pt x="5" y="251"/>
                  </a:lnTo>
                  <a:lnTo>
                    <a:pt x="5" y="251"/>
                  </a:lnTo>
                  <a:lnTo>
                    <a:pt x="5" y="254"/>
                  </a:lnTo>
                  <a:lnTo>
                    <a:pt x="5" y="254"/>
                  </a:lnTo>
                  <a:lnTo>
                    <a:pt x="2" y="254"/>
                  </a:lnTo>
                  <a:lnTo>
                    <a:pt x="2" y="257"/>
                  </a:lnTo>
                  <a:lnTo>
                    <a:pt x="5" y="259"/>
                  </a:lnTo>
                  <a:lnTo>
                    <a:pt x="7" y="262"/>
                  </a:lnTo>
                  <a:lnTo>
                    <a:pt x="7" y="262"/>
                  </a:lnTo>
                  <a:lnTo>
                    <a:pt x="7" y="264"/>
                  </a:lnTo>
                  <a:lnTo>
                    <a:pt x="7" y="264"/>
                  </a:lnTo>
                  <a:lnTo>
                    <a:pt x="7" y="264"/>
                  </a:lnTo>
                  <a:lnTo>
                    <a:pt x="7" y="264"/>
                  </a:lnTo>
                  <a:lnTo>
                    <a:pt x="10" y="262"/>
                  </a:lnTo>
                  <a:lnTo>
                    <a:pt x="10" y="264"/>
                  </a:lnTo>
                  <a:lnTo>
                    <a:pt x="13" y="264"/>
                  </a:lnTo>
                  <a:lnTo>
                    <a:pt x="13" y="264"/>
                  </a:lnTo>
                  <a:lnTo>
                    <a:pt x="13" y="267"/>
                  </a:lnTo>
                  <a:lnTo>
                    <a:pt x="13" y="267"/>
                  </a:lnTo>
                  <a:lnTo>
                    <a:pt x="15" y="269"/>
                  </a:lnTo>
                  <a:lnTo>
                    <a:pt x="15" y="272"/>
                  </a:lnTo>
                  <a:lnTo>
                    <a:pt x="15" y="272"/>
                  </a:lnTo>
                  <a:lnTo>
                    <a:pt x="15" y="272"/>
                  </a:lnTo>
                  <a:lnTo>
                    <a:pt x="15" y="274"/>
                  </a:lnTo>
                  <a:lnTo>
                    <a:pt x="15" y="277"/>
                  </a:lnTo>
                  <a:lnTo>
                    <a:pt x="15" y="279"/>
                  </a:lnTo>
                  <a:lnTo>
                    <a:pt x="15" y="282"/>
                  </a:lnTo>
                  <a:lnTo>
                    <a:pt x="15" y="282"/>
                  </a:lnTo>
                  <a:lnTo>
                    <a:pt x="15" y="285"/>
                  </a:lnTo>
                  <a:lnTo>
                    <a:pt x="15" y="285"/>
                  </a:lnTo>
                  <a:lnTo>
                    <a:pt x="15" y="287"/>
                  </a:lnTo>
                  <a:lnTo>
                    <a:pt x="15" y="287"/>
                  </a:lnTo>
                  <a:lnTo>
                    <a:pt x="15" y="290"/>
                  </a:lnTo>
                  <a:lnTo>
                    <a:pt x="13" y="290"/>
                  </a:lnTo>
                  <a:lnTo>
                    <a:pt x="13" y="290"/>
                  </a:lnTo>
                  <a:lnTo>
                    <a:pt x="15" y="292"/>
                  </a:lnTo>
                  <a:lnTo>
                    <a:pt x="18" y="295"/>
                  </a:lnTo>
                  <a:lnTo>
                    <a:pt x="18" y="295"/>
                  </a:lnTo>
                  <a:lnTo>
                    <a:pt x="20" y="295"/>
                  </a:lnTo>
                  <a:lnTo>
                    <a:pt x="20" y="292"/>
                  </a:lnTo>
                  <a:lnTo>
                    <a:pt x="23" y="290"/>
                  </a:lnTo>
                  <a:lnTo>
                    <a:pt x="23" y="290"/>
                  </a:lnTo>
                  <a:lnTo>
                    <a:pt x="25" y="290"/>
                  </a:lnTo>
                  <a:lnTo>
                    <a:pt x="25" y="292"/>
                  </a:lnTo>
                  <a:lnTo>
                    <a:pt x="28" y="295"/>
                  </a:lnTo>
                  <a:lnTo>
                    <a:pt x="28" y="297"/>
                  </a:lnTo>
                  <a:lnTo>
                    <a:pt x="28" y="297"/>
                  </a:lnTo>
                  <a:lnTo>
                    <a:pt x="30" y="297"/>
                  </a:lnTo>
                  <a:lnTo>
                    <a:pt x="30" y="297"/>
                  </a:lnTo>
                  <a:lnTo>
                    <a:pt x="30" y="297"/>
                  </a:lnTo>
                  <a:lnTo>
                    <a:pt x="30" y="295"/>
                  </a:lnTo>
                  <a:lnTo>
                    <a:pt x="30" y="295"/>
                  </a:lnTo>
                  <a:lnTo>
                    <a:pt x="33" y="292"/>
                  </a:lnTo>
                  <a:lnTo>
                    <a:pt x="35" y="290"/>
                  </a:lnTo>
                  <a:lnTo>
                    <a:pt x="35" y="290"/>
                  </a:lnTo>
                  <a:lnTo>
                    <a:pt x="38" y="290"/>
                  </a:lnTo>
                  <a:lnTo>
                    <a:pt x="41" y="290"/>
                  </a:lnTo>
                  <a:lnTo>
                    <a:pt x="43" y="292"/>
                  </a:lnTo>
                  <a:lnTo>
                    <a:pt x="48" y="295"/>
                  </a:lnTo>
                  <a:lnTo>
                    <a:pt x="48" y="295"/>
                  </a:lnTo>
                  <a:lnTo>
                    <a:pt x="48" y="295"/>
                  </a:lnTo>
                  <a:lnTo>
                    <a:pt x="51" y="292"/>
                  </a:lnTo>
                  <a:lnTo>
                    <a:pt x="51" y="290"/>
                  </a:lnTo>
                  <a:lnTo>
                    <a:pt x="53" y="290"/>
                  </a:lnTo>
                  <a:lnTo>
                    <a:pt x="56" y="290"/>
                  </a:lnTo>
                  <a:lnTo>
                    <a:pt x="56" y="290"/>
                  </a:lnTo>
                  <a:lnTo>
                    <a:pt x="56" y="287"/>
                  </a:lnTo>
                  <a:lnTo>
                    <a:pt x="56" y="287"/>
                  </a:lnTo>
                  <a:lnTo>
                    <a:pt x="56" y="287"/>
                  </a:lnTo>
                  <a:lnTo>
                    <a:pt x="56" y="285"/>
                  </a:lnTo>
                  <a:lnTo>
                    <a:pt x="56" y="285"/>
                  </a:lnTo>
                  <a:lnTo>
                    <a:pt x="56" y="285"/>
                  </a:lnTo>
                  <a:lnTo>
                    <a:pt x="58" y="285"/>
                  </a:lnTo>
                  <a:lnTo>
                    <a:pt x="58" y="285"/>
                  </a:lnTo>
                  <a:lnTo>
                    <a:pt x="61" y="285"/>
                  </a:lnTo>
                  <a:lnTo>
                    <a:pt x="64" y="285"/>
                  </a:lnTo>
                  <a:lnTo>
                    <a:pt x="64" y="287"/>
                  </a:lnTo>
                  <a:lnTo>
                    <a:pt x="64" y="290"/>
                  </a:lnTo>
                  <a:lnTo>
                    <a:pt x="66" y="292"/>
                  </a:lnTo>
                  <a:lnTo>
                    <a:pt x="66" y="297"/>
                  </a:lnTo>
                  <a:lnTo>
                    <a:pt x="66" y="300"/>
                  </a:lnTo>
                  <a:lnTo>
                    <a:pt x="66" y="302"/>
                  </a:lnTo>
                  <a:lnTo>
                    <a:pt x="69" y="302"/>
                  </a:lnTo>
                  <a:lnTo>
                    <a:pt x="69" y="302"/>
                  </a:lnTo>
                  <a:lnTo>
                    <a:pt x="69" y="302"/>
                  </a:lnTo>
                  <a:lnTo>
                    <a:pt x="71" y="305"/>
                  </a:lnTo>
                  <a:lnTo>
                    <a:pt x="71" y="305"/>
                  </a:lnTo>
                  <a:lnTo>
                    <a:pt x="71" y="307"/>
                  </a:lnTo>
                  <a:lnTo>
                    <a:pt x="74" y="307"/>
                  </a:lnTo>
                  <a:lnTo>
                    <a:pt x="76" y="307"/>
                  </a:lnTo>
                  <a:lnTo>
                    <a:pt x="76" y="310"/>
                  </a:lnTo>
                  <a:lnTo>
                    <a:pt x="76" y="310"/>
                  </a:lnTo>
                  <a:lnTo>
                    <a:pt x="74" y="310"/>
                  </a:lnTo>
                  <a:lnTo>
                    <a:pt x="74" y="310"/>
                  </a:lnTo>
                  <a:lnTo>
                    <a:pt x="74" y="313"/>
                  </a:lnTo>
                  <a:lnTo>
                    <a:pt x="71" y="313"/>
                  </a:lnTo>
                  <a:lnTo>
                    <a:pt x="69" y="315"/>
                  </a:lnTo>
                  <a:lnTo>
                    <a:pt x="69" y="318"/>
                  </a:lnTo>
                  <a:lnTo>
                    <a:pt x="71" y="318"/>
                  </a:lnTo>
                  <a:lnTo>
                    <a:pt x="71" y="318"/>
                  </a:lnTo>
                  <a:lnTo>
                    <a:pt x="71" y="318"/>
                  </a:lnTo>
                  <a:lnTo>
                    <a:pt x="74" y="315"/>
                  </a:lnTo>
                  <a:lnTo>
                    <a:pt x="74" y="318"/>
                  </a:lnTo>
                  <a:lnTo>
                    <a:pt x="76" y="318"/>
                  </a:lnTo>
                  <a:lnTo>
                    <a:pt x="76" y="318"/>
                  </a:lnTo>
                  <a:lnTo>
                    <a:pt x="76" y="320"/>
                  </a:lnTo>
                  <a:lnTo>
                    <a:pt x="76" y="320"/>
                  </a:lnTo>
                  <a:lnTo>
                    <a:pt x="76" y="323"/>
                  </a:lnTo>
                  <a:lnTo>
                    <a:pt x="76" y="325"/>
                  </a:lnTo>
                  <a:lnTo>
                    <a:pt x="76" y="328"/>
                  </a:lnTo>
                  <a:lnTo>
                    <a:pt x="79" y="330"/>
                  </a:lnTo>
                  <a:lnTo>
                    <a:pt x="84" y="333"/>
                  </a:lnTo>
                  <a:lnTo>
                    <a:pt x="84" y="333"/>
                  </a:lnTo>
                  <a:lnTo>
                    <a:pt x="84" y="335"/>
                  </a:lnTo>
                  <a:lnTo>
                    <a:pt x="84" y="335"/>
                  </a:lnTo>
                  <a:lnTo>
                    <a:pt x="84" y="335"/>
                  </a:lnTo>
                  <a:lnTo>
                    <a:pt x="84" y="335"/>
                  </a:lnTo>
                  <a:lnTo>
                    <a:pt x="86" y="335"/>
                  </a:lnTo>
                  <a:lnTo>
                    <a:pt x="89" y="333"/>
                  </a:lnTo>
                  <a:lnTo>
                    <a:pt x="89" y="330"/>
                  </a:lnTo>
                  <a:lnTo>
                    <a:pt x="92" y="330"/>
                  </a:lnTo>
                  <a:lnTo>
                    <a:pt x="92" y="330"/>
                  </a:lnTo>
                  <a:lnTo>
                    <a:pt x="94" y="330"/>
                  </a:lnTo>
                  <a:lnTo>
                    <a:pt x="94" y="330"/>
                  </a:lnTo>
                  <a:lnTo>
                    <a:pt x="94" y="333"/>
                  </a:lnTo>
                  <a:lnTo>
                    <a:pt x="94" y="333"/>
                  </a:lnTo>
                  <a:lnTo>
                    <a:pt x="97" y="333"/>
                  </a:lnTo>
                  <a:lnTo>
                    <a:pt x="99" y="335"/>
                  </a:lnTo>
                  <a:lnTo>
                    <a:pt x="102" y="335"/>
                  </a:lnTo>
                  <a:lnTo>
                    <a:pt x="102" y="335"/>
                  </a:lnTo>
                  <a:lnTo>
                    <a:pt x="102" y="335"/>
                  </a:lnTo>
                  <a:lnTo>
                    <a:pt x="102" y="335"/>
                  </a:lnTo>
                  <a:lnTo>
                    <a:pt x="104" y="335"/>
                  </a:lnTo>
                  <a:lnTo>
                    <a:pt x="104" y="335"/>
                  </a:lnTo>
                  <a:lnTo>
                    <a:pt x="102" y="333"/>
                  </a:lnTo>
                  <a:lnTo>
                    <a:pt x="104" y="333"/>
                  </a:lnTo>
                  <a:lnTo>
                    <a:pt x="104" y="333"/>
                  </a:lnTo>
                  <a:lnTo>
                    <a:pt x="104" y="333"/>
                  </a:lnTo>
                  <a:lnTo>
                    <a:pt x="107" y="333"/>
                  </a:lnTo>
                  <a:lnTo>
                    <a:pt x="107" y="333"/>
                  </a:lnTo>
                  <a:lnTo>
                    <a:pt x="109" y="333"/>
                  </a:lnTo>
                  <a:lnTo>
                    <a:pt x="109" y="330"/>
                  </a:lnTo>
                  <a:lnTo>
                    <a:pt x="109" y="328"/>
                  </a:lnTo>
                  <a:lnTo>
                    <a:pt x="109" y="328"/>
                  </a:lnTo>
                  <a:lnTo>
                    <a:pt x="109" y="325"/>
                  </a:lnTo>
                  <a:lnTo>
                    <a:pt x="109" y="325"/>
                  </a:lnTo>
                  <a:lnTo>
                    <a:pt x="112" y="328"/>
                  </a:lnTo>
                  <a:lnTo>
                    <a:pt x="112" y="328"/>
                  </a:lnTo>
                  <a:lnTo>
                    <a:pt x="115" y="328"/>
                  </a:lnTo>
                  <a:lnTo>
                    <a:pt x="115" y="328"/>
                  </a:lnTo>
                  <a:lnTo>
                    <a:pt x="115" y="325"/>
                  </a:lnTo>
                  <a:lnTo>
                    <a:pt x="115" y="325"/>
                  </a:lnTo>
                  <a:lnTo>
                    <a:pt x="115" y="325"/>
                  </a:lnTo>
                  <a:lnTo>
                    <a:pt x="115" y="325"/>
                  </a:lnTo>
                  <a:lnTo>
                    <a:pt x="117" y="323"/>
                  </a:lnTo>
                  <a:lnTo>
                    <a:pt x="117" y="323"/>
                  </a:lnTo>
                  <a:lnTo>
                    <a:pt x="117" y="325"/>
                  </a:lnTo>
                  <a:lnTo>
                    <a:pt x="117" y="328"/>
                  </a:lnTo>
                  <a:lnTo>
                    <a:pt x="120" y="328"/>
                  </a:lnTo>
                  <a:lnTo>
                    <a:pt x="120" y="330"/>
                  </a:lnTo>
                  <a:lnTo>
                    <a:pt x="120" y="330"/>
                  </a:lnTo>
                  <a:lnTo>
                    <a:pt x="120" y="333"/>
                  </a:lnTo>
                  <a:lnTo>
                    <a:pt x="117" y="333"/>
                  </a:lnTo>
                  <a:lnTo>
                    <a:pt x="117" y="333"/>
                  </a:lnTo>
                  <a:lnTo>
                    <a:pt x="120" y="335"/>
                  </a:lnTo>
                  <a:lnTo>
                    <a:pt x="120" y="335"/>
                  </a:lnTo>
                  <a:lnTo>
                    <a:pt x="122" y="335"/>
                  </a:lnTo>
                  <a:lnTo>
                    <a:pt x="122" y="335"/>
                  </a:lnTo>
                  <a:lnTo>
                    <a:pt x="125" y="333"/>
                  </a:lnTo>
                  <a:lnTo>
                    <a:pt x="125" y="333"/>
                  </a:lnTo>
                  <a:lnTo>
                    <a:pt x="125" y="333"/>
                  </a:lnTo>
                  <a:lnTo>
                    <a:pt x="125" y="330"/>
                  </a:lnTo>
                  <a:lnTo>
                    <a:pt x="130" y="330"/>
                  </a:lnTo>
                  <a:lnTo>
                    <a:pt x="132" y="330"/>
                  </a:lnTo>
                  <a:lnTo>
                    <a:pt x="132" y="330"/>
                  </a:lnTo>
                  <a:lnTo>
                    <a:pt x="132" y="328"/>
                  </a:lnTo>
                  <a:lnTo>
                    <a:pt x="132" y="328"/>
                  </a:lnTo>
                  <a:lnTo>
                    <a:pt x="132" y="325"/>
                  </a:lnTo>
                  <a:lnTo>
                    <a:pt x="135" y="323"/>
                  </a:lnTo>
                  <a:lnTo>
                    <a:pt x="135" y="318"/>
                  </a:lnTo>
                  <a:lnTo>
                    <a:pt x="132" y="315"/>
                  </a:lnTo>
                  <a:lnTo>
                    <a:pt x="135" y="315"/>
                  </a:lnTo>
                  <a:lnTo>
                    <a:pt x="135" y="315"/>
                  </a:lnTo>
                  <a:lnTo>
                    <a:pt x="137" y="313"/>
                  </a:lnTo>
                  <a:lnTo>
                    <a:pt x="137" y="307"/>
                  </a:lnTo>
                  <a:lnTo>
                    <a:pt x="137" y="305"/>
                  </a:lnTo>
                  <a:lnTo>
                    <a:pt x="137" y="305"/>
                  </a:lnTo>
                  <a:lnTo>
                    <a:pt x="137" y="302"/>
                  </a:lnTo>
                  <a:lnTo>
                    <a:pt x="137" y="302"/>
                  </a:lnTo>
                  <a:lnTo>
                    <a:pt x="137" y="300"/>
                  </a:lnTo>
                  <a:lnTo>
                    <a:pt x="137" y="297"/>
                  </a:lnTo>
                  <a:lnTo>
                    <a:pt x="137" y="297"/>
                  </a:lnTo>
                  <a:lnTo>
                    <a:pt x="140" y="295"/>
                  </a:lnTo>
                  <a:lnTo>
                    <a:pt x="140" y="295"/>
                  </a:lnTo>
                  <a:lnTo>
                    <a:pt x="145" y="295"/>
                  </a:lnTo>
                  <a:lnTo>
                    <a:pt x="148" y="295"/>
                  </a:lnTo>
                  <a:lnTo>
                    <a:pt x="150" y="292"/>
                  </a:lnTo>
                  <a:lnTo>
                    <a:pt x="150" y="292"/>
                  </a:lnTo>
                  <a:lnTo>
                    <a:pt x="153" y="292"/>
                  </a:lnTo>
                  <a:lnTo>
                    <a:pt x="153" y="290"/>
                  </a:lnTo>
                  <a:lnTo>
                    <a:pt x="153" y="287"/>
                  </a:lnTo>
                  <a:lnTo>
                    <a:pt x="155" y="287"/>
                  </a:lnTo>
                  <a:lnTo>
                    <a:pt x="155" y="282"/>
                  </a:lnTo>
                  <a:lnTo>
                    <a:pt x="155" y="282"/>
                  </a:lnTo>
                  <a:lnTo>
                    <a:pt x="155" y="279"/>
                  </a:lnTo>
                  <a:lnTo>
                    <a:pt x="153" y="279"/>
                  </a:lnTo>
                  <a:lnTo>
                    <a:pt x="158" y="277"/>
                  </a:lnTo>
                  <a:lnTo>
                    <a:pt x="158" y="274"/>
                  </a:lnTo>
                  <a:lnTo>
                    <a:pt x="158" y="272"/>
                  </a:lnTo>
                  <a:lnTo>
                    <a:pt x="158" y="269"/>
                  </a:lnTo>
                  <a:lnTo>
                    <a:pt x="158" y="269"/>
                  </a:lnTo>
                  <a:lnTo>
                    <a:pt x="158" y="267"/>
                  </a:lnTo>
                  <a:lnTo>
                    <a:pt x="160" y="267"/>
                  </a:lnTo>
                  <a:lnTo>
                    <a:pt x="160" y="264"/>
                  </a:lnTo>
                  <a:lnTo>
                    <a:pt x="163" y="264"/>
                  </a:lnTo>
                  <a:lnTo>
                    <a:pt x="165" y="262"/>
                  </a:lnTo>
                  <a:lnTo>
                    <a:pt x="165" y="264"/>
                  </a:lnTo>
                  <a:lnTo>
                    <a:pt x="173" y="267"/>
                  </a:lnTo>
                  <a:lnTo>
                    <a:pt x="173" y="267"/>
                  </a:lnTo>
                  <a:lnTo>
                    <a:pt x="173" y="267"/>
                  </a:lnTo>
                  <a:lnTo>
                    <a:pt x="176" y="267"/>
                  </a:lnTo>
                  <a:lnTo>
                    <a:pt x="178" y="264"/>
                  </a:lnTo>
                  <a:lnTo>
                    <a:pt x="178" y="262"/>
                  </a:lnTo>
                  <a:lnTo>
                    <a:pt x="178" y="259"/>
                  </a:lnTo>
                  <a:lnTo>
                    <a:pt x="178" y="257"/>
                  </a:lnTo>
                  <a:lnTo>
                    <a:pt x="181" y="257"/>
                  </a:lnTo>
                  <a:lnTo>
                    <a:pt x="183" y="257"/>
                  </a:lnTo>
                  <a:lnTo>
                    <a:pt x="183" y="257"/>
                  </a:lnTo>
                  <a:lnTo>
                    <a:pt x="186" y="257"/>
                  </a:lnTo>
                  <a:lnTo>
                    <a:pt x="186" y="257"/>
                  </a:lnTo>
                  <a:lnTo>
                    <a:pt x="186" y="254"/>
                  </a:lnTo>
                  <a:lnTo>
                    <a:pt x="186" y="254"/>
                  </a:lnTo>
                  <a:lnTo>
                    <a:pt x="186" y="249"/>
                  </a:lnTo>
                  <a:lnTo>
                    <a:pt x="188" y="246"/>
                  </a:lnTo>
                  <a:lnTo>
                    <a:pt x="191" y="244"/>
                  </a:lnTo>
                  <a:lnTo>
                    <a:pt x="194" y="244"/>
                  </a:lnTo>
                  <a:lnTo>
                    <a:pt x="196" y="244"/>
                  </a:lnTo>
                  <a:lnTo>
                    <a:pt x="201" y="246"/>
                  </a:lnTo>
                  <a:lnTo>
                    <a:pt x="204" y="244"/>
                  </a:lnTo>
                  <a:lnTo>
                    <a:pt x="204" y="239"/>
                  </a:lnTo>
                  <a:lnTo>
                    <a:pt x="206" y="239"/>
                  </a:lnTo>
                  <a:lnTo>
                    <a:pt x="209" y="239"/>
                  </a:lnTo>
                  <a:lnTo>
                    <a:pt x="211" y="236"/>
                  </a:lnTo>
                  <a:lnTo>
                    <a:pt x="211" y="236"/>
                  </a:lnTo>
                  <a:lnTo>
                    <a:pt x="214" y="234"/>
                  </a:lnTo>
                  <a:lnTo>
                    <a:pt x="219" y="231"/>
                  </a:lnTo>
                  <a:lnTo>
                    <a:pt x="224" y="231"/>
                  </a:lnTo>
                  <a:lnTo>
                    <a:pt x="224" y="231"/>
                  </a:lnTo>
                  <a:lnTo>
                    <a:pt x="227" y="229"/>
                  </a:lnTo>
                  <a:lnTo>
                    <a:pt x="229" y="226"/>
                  </a:lnTo>
                  <a:lnTo>
                    <a:pt x="232" y="223"/>
                  </a:lnTo>
                  <a:lnTo>
                    <a:pt x="234" y="223"/>
                  </a:lnTo>
                  <a:lnTo>
                    <a:pt x="234" y="226"/>
                  </a:lnTo>
                  <a:lnTo>
                    <a:pt x="234" y="226"/>
                  </a:lnTo>
                  <a:lnTo>
                    <a:pt x="237" y="226"/>
                  </a:lnTo>
                  <a:lnTo>
                    <a:pt x="239" y="226"/>
                  </a:lnTo>
                  <a:lnTo>
                    <a:pt x="244" y="226"/>
                  </a:lnTo>
                  <a:lnTo>
                    <a:pt x="247" y="229"/>
                  </a:lnTo>
                  <a:lnTo>
                    <a:pt x="250" y="226"/>
                  </a:lnTo>
                  <a:lnTo>
                    <a:pt x="250" y="226"/>
                  </a:lnTo>
                  <a:lnTo>
                    <a:pt x="252" y="226"/>
                  </a:lnTo>
                  <a:lnTo>
                    <a:pt x="257" y="229"/>
                  </a:lnTo>
                  <a:lnTo>
                    <a:pt x="262" y="226"/>
                  </a:lnTo>
                  <a:lnTo>
                    <a:pt x="262" y="226"/>
                  </a:lnTo>
                  <a:lnTo>
                    <a:pt x="267" y="223"/>
                  </a:lnTo>
                  <a:lnTo>
                    <a:pt x="270" y="221"/>
                  </a:lnTo>
                  <a:lnTo>
                    <a:pt x="275" y="221"/>
                  </a:lnTo>
                  <a:lnTo>
                    <a:pt x="280" y="218"/>
                  </a:lnTo>
                  <a:lnTo>
                    <a:pt x="285" y="218"/>
                  </a:lnTo>
                  <a:lnTo>
                    <a:pt x="293" y="218"/>
                  </a:lnTo>
                  <a:lnTo>
                    <a:pt x="298" y="218"/>
                  </a:lnTo>
                  <a:lnTo>
                    <a:pt x="303" y="218"/>
                  </a:lnTo>
                  <a:lnTo>
                    <a:pt x="303" y="216"/>
                  </a:lnTo>
                  <a:lnTo>
                    <a:pt x="306" y="216"/>
                  </a:lnTo>
                  <a:lnTo>
                    <a:pt x="306" y="216"/>
                  </a:lnTo>
                  <a:lnTo>
                    <a:pt x="311" y="218"/>
                  </a:lnTo>
                  <a:lnTo>
                    <a:pt x="313" y="218"/>
                  </a:lnTo>
                  <a:lnTo>
                    <a:pt x="313" y="216"/>
                  </a:lnTo>
                  <a:lnTo>
                    <a:pt x="318" y="211"/>
                  </a:lnTo>
                  <a:lnTo>
                    <a:pt x="321" y="211"/>
                  </a:lnTo>
                  <a:lnTo>
                    <a:pt x="321" y="211"/>
                  </a:lnTo>
                  <a:lnTo>
                    <a:pt x="321" y="208"/>
                  </a:lnTo>
                  <a:lnTo>
                    <a:pt x="321" y="208"/>
                  </a:lnTo>
                  <a:lnTo>
                    <a:pt x="321" y="206"/>
                  </a:lnTo>
                  <a:lnTo>
                    <a:pt x="323" y="206"/>
                  </a:lnTo>
                  <a:lnTo>
                    <a:pt x="323" y="203"/>
                  </a:lnTo>
                  <a:lnTo>
                    <a:pt x="323" y="198"/>
                  </a:lnTo>
                  <a:lnTo>
                    <a:pt x="326" y="195"/>
                  </a:lnTo>
                  <a:lnTo>
                    <a:pt x="329" y="190"/>
                  </a:lnTo>
                  <a:lnTo>
                    <a:pt x="329" y="185"/>
                  </a:lnTo>
                  <a:lnTo>
                    <a:pt x="329" y="183"/>
                  </a:lnTo>
                  <a:lnTo>
                    <a:pt x="329" y="180"/>
                  </a:lnTo>
                  <a:lnTo>
                    <a:pt x="329" y="175"/>
                  </a:lnTo>
                  <a:lnTo>
                    <a:pt x="329" y="168"/>
                  </a:lnTo>
                  <a:lnTo>
                    <a:pt x="329" y="162"/>
                  </a:lnTo>
                  <a:lnTo>
                    <a:pt x="329" y="155"/>
                  </a:lnTo>
                  <a:lnTo>
                    <a:pt x="329" y="150"/>
                  </a:lnTo>
                  <a:lnTo>
                    <a:pt x="329" y="142"/>
                  </a:lnTo>
                  <a:lnTo>
                    <a:pt x="329" y="137"/>
                  </a:lnTo>
                  <a:lnTo>
                    <a:pt x="329" y="132"/>
                  </a:lnTo>
                  <a:lnTo>
                    <a:pt x="323" y="134"/>
                  </a:lnTo>
                  <a:close/>
                </a:path>
              </a:pathLst>
            </a:custGeom>
            <a:solidFill>
              <a:srgbClr val="FFC000"/>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263" name="Freeform 1882">
              <a:extLst>
                <a:ext uri="{FF2B5EF4-FFF2-40B4-BE49-F238E27FC236}">
                  <a16:creationId xmlns:a16="http://schemas.microsoft.com/office/drawing/2014/main" id="{45BC00E4-A5C2-C747-80E4-1F990CB9B1E7}"/>
                </a:ext>
              </a:extLst>
            </p:cNvPr>
            <p:cNvSpPr>
              <a:spLocks noEditPoints="1"/>
            </p:cNvSpPr>
            <p:nvPr/>
          </p:nvSpPr>
          <p:spPr bwMode="auto">
            <a:xfrm>
              <a:off x="8022947" y="3642463"/>
              <a:ext cx="0" cy="37622"/>
            </a:xfrm>
            <a:custGeom>
              <a:avLst/>
              <a:gdLst>
                <a:gd name="T0" fmla="*/ 23 h 23"/>
                <a:gd name="T1" fmla="*/ 23 h 23"/>
                <a:gd name="T2" fmla="*/ 23 h 23"/>
                <a:gd name="T3" fmla="*/ 23 h 23"/>
                <a:gd name="T4" fmla="*/ 23 h 23"/>
                <a:gd name="T5" fmla="*/ 23 h 23"/>
                <a:gd name="T6" fmla="*/ 23 h 23"/>
                <a:gd name="T7" fmla="*/ 23 h 23"/>
                <a:gd name="T8" fmla="*/ 23 h 23"/>
                <a:gd name="T9" fmla="*/ 0 h 23"/>
                <a:gd name="T10" fmla="*/ 0 h 23"/>
                <a:gd name="T11" fmla="*/ 0 h 23"/>
                <a:gd name="T12" fmla="*/ 3 h 23"/>
                <a:gd name="T13" fmla="*/ 3 h 23"/>
                <a:gd name="T14" fmla="*/ 3 h 23"/>
                <a:gd name="T15" fmla="*/ 3 h 23"/>
                <a:gd name="T16" fmla="*/ 3 h 23"/>
                <a:gd name="T17" fmla="*/ 3 h 23"/>
                <a:gd name="T18" fmla="*/ 0 h 23"/>
                <a:gd name="T19" fmla="*/ 0 h 23"/>
                <a:gd name="T20" fmla="*/ 0 h 23"/>
                <a:gd name="T21" fmla="*/ 0 h 23"/>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 ang="0">
                  <a:pos x="0" y="T10"/>
                </a:cxn>
                <a:cxn ang="0">
                  <a:pos x="0" y="T11"/>
                </a:cxn>
                <a:cxn ang="0">
                  <a:pos x="0" y="T12"/>
                </a:cxn>
                <a:cxn ang="0">
                  <a:pos x="0" y="T13"/>
                </a:cxn>
                <a:cxn ang="0">
                  <a:pos x="0" y="T14"/>
                </a:cxn>
                <a:cxn ang="0">
                  <a:pos x="0" y="T15"/>
                </a:cxn>
                <a:cxn ang="0">
                  <a:pos x="0" y="T16"/>
                </a:cxn>
                <a:cxn ang="0">
                  <a:pos x="0" y="T17"/>
                </a:cxn>
                <a:cxn ang="0">
                  <a:pos x="0" y="T18"/>
                </a:cxn>
                <a:cxn ang="0">
                  <a:pos x="0" y="T19"/>
                </a:cxn>
                <a:cxn ang="0">
                  <a:pos x="0" y="T20"/>
                </a:cxn>
                <a:cxn ang="0">
                  <a:pos x="0" y="T21"/>
                </a:cxn>
              </a:cxnLst>
              <a:rect l="0" t="0" r="r" b="b"/>
              <a:pathLst>
                <a:path h="23">
                  <a:moveTo>
                    <a:pt x="0" y="23"/>
                  </a:moveTo>
                  <a:lnTo>
                    <a:pt x="0" y="23"/>
                  </a:lnTo>
                  <a:lnTo>
                    <a:pt x="0" y="23"/>
                  </a:lnTo>
                  <a:lnTo>
                    <a:pt x="0" y="23"/>
                  </a:lnTo>
                  <a:lnTo>
                    <a:pt x="0" y="23"/>
                  </a:lnTo>
                  <a:lnTo>
                    <a:pt x="0" y="23"/>
                  </a:lnTo>
                  <a:lnTo>
                    <a:pt x="0" y="23"/>
                  </a:lnTo>
                  <a:lnTo>
                    <a:pt x="0" y="23"/>
                  </a:lnTo>
                  <a:lnTo>
                    <a:pt x="0" y="23"/>
                  </a:lnTo>
                  <a:close/>
                  <a:moveTo>
                    <a:pt x="0" y="0"/>
                  </a:moveTo>
                  <a:lnTo>
                    <a:pt x="0" y="0"/>
                  </a:lnTo>
                  <a:lnTo>
                    <a:pt x="0" y="0"/>
                  </a:lnTo>
                  <a:lnTo>
                    <a:pt x="0" y="3"/>
                  </a:lnTo>
                  <a:lnTo>
                    <a:pt x="0" y="3"/>
                  </a:lnTo>
                  <a:lnTo>
                    <a:pt x="0" y="3"/>
                  </a:lnTo>
                  <a:lnTo>
                    <a:pt x="0" y="3"/>
                  </a:lnTo>
                  <a:lnTo>
                    <a:pt x="0" y="3"/>
                  </a:lnTo>
                  <a:lnTo>
                    <a:pt x="0" y="3"/>
                  </a:lnTo>
                  <a:lnTo>
                    <a:pt x="0" y="0"/>
                  </a:lnTo>
                  <a:lnTo>
                    <a:pt x="0" y="0"/>
                  </a:lnTo>
                  <a:lnTo>
                    <a:pt x="0" y="0"/>
                  </a:lnTo>
                  <a:lnTo>
                    <a:pt x="0"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264" name="Freeform 1883">
              <a:extLst>
                <a:ext uri="{FF2B5EF4-FFF2-40B4-BE49-F238E27FC236}">
                  <a16:creationId xmlns:a16="http://schemas.microsoft.com/office/drawing/2014/main" id="{8D02895C-D0A9-0A43-AAEB-37C5200E2B07}"/>
                </a:ext>
              </a:extLst>
            </p:cNvPr>
            <p:cNvSpPr>
              <a:spLocks noEditPoints="1"/>
            </p:cNvSpPr>
            <p:nvPr/>
          </p:nvSpPr>
          <p:spPr bwMode="auto">
            <a:xfrm>
              <a:off x="8881709" y="3526326"/>
              <a:ext cx="646117" cy="242089"/>
            </a:xfrm>
            <a:custGeom>
              <a:avLst/>
              <a:gdLst>
                <a:gd name="T0" fmla="*/ 237 w 395"/>
                <a:gd name="T1" fmla="*/ 107 h 148"/>
                <a:gd name="T2" fmla="*/ 91 w 395"/>
                <a:gd name="T3" fmla="*/ 104 h 148"/>
                <a:gd name="T4" fmla="*/ 35 w 395"/>
                <a:gd name="T5" fmla="*/ 99 h 148"/>
                <a:gd name="T6" fmla="*/ 364 w 395"/>
                <a:gd name="T7" fmla="*/ 71 h 148"/>
                <a:gd name="T8" fmla="*/ 12 w 395"/>
                <a:gd name="T9" fmla="*/ 43 h 148"/>
                <a:gd name="T10" fmla="*/ 0 w 395"/>
                <a:gd name="T11" fmla="*/ 26 h 148"/>
                <a:gd name="T12" fmla="*/ 89 w 395"/>
                <a:gd name="T13" fmla="*/ 117 h 148"/>
                <a:gd name="T14" fmla="*/ 79 w 395"/>
                <a:gd name="T15" fmla="*/ 89 h 148"/>
                <a:gd name="T16" fmla="*/ 68 w 395"/>
                <a:gd name="T17" fmla="*/ 46 h 148"/>
                <a:gd name="T18" fmla="*/ 48 w 395"/>
                <a:gd name="T19" fmla="*/ 28 h 148"/>
                <a:gd name="T20" fmla="*/ 40 w 395"/>
                <a:gd name="T21" fmla="*/ 36 h 148"/>
                <a:gd name="T22" fmla="*/ 30 w 395"/>
                <a:gd name="T23" fmla="*/ 41 h 148"/>
                <a:gd name="T24" fmla="*/ 28 w 395"/>
                <a:gd name="T25" fmla="*/ 28 h 148"/>
                <a:gd name="T26" fmla="*/ 20 w 395"/>
                <a:gd name="T27" fmla="*/ 20 h 148"/>
                <a:gd name="T28" fmla="*/ 7 w 395"/>
                <a:gd name="T29" fmla="*/ 20 h 148"/>
                <a:gd name="T30" fmla="*/ 20 w 395"/>
                <a:gd name="T31" fmla="*/ 61 h 148"/>
                <a:gd name="T32" fmla="*/ 25 w 395"/>
                <a:gd name="T33" fmla="*/ 81 h 148"/>
                <a:gd name="T34" fmla="*/ 38 w 395"/>
                <a:gd name="T35" fmla="*/ 104 h 148"/>
                <a:gd name="T36" fmla="*/ 76 w 395"/>
                <a:gd name="T37" fmla="*/ 132 h 148"/>
                <a:gd name="T38" fmla="*/ 89 w 395"/>
                <a:gd name="T39" fmla="*/ 135 h 148"/>
                <a:gd name="T40" fmla="*/ 94 w 395"/>
                <a:gd name="T41" fmla="*/ 137 h 148"/>
                <a:gd name="T42" fmla="*/ 392 w 395"/>
                <a:gd name="T43" fmla="*/ 46 h 148"/>
                <a:gd name="T44" fmla="*/ 377 w 395"/>
                <a:gd name="T45" fmla="*/ 38 h 148"/>
                <a:gd name="T46" fmla="*/ 367 w 395"/>
                <a:gd name="T47" fmla="*/ 36 h 148"/>
                <a:gd name="T48" fmla="*/ 359 w 395"/>
                <a:gd name="T49" fmla="*/ 33 h 148"/>
                <a:gd name="T50" fmla="*/ 359 w 395"/>
                <a:gd name="T51" fmla="*/ 20 h 148"/>
                <a:gd name="T52" fmla="*/ 349 w 395"/>
                <a:gd name="T53" fmla="*/ 10 h 148"/>
                <a:gd name="T54" fmla="*/ 344 w 395"/>
                <a:gd name="T55" fmla="*/ 13 h 148"/>
                <a:gd name="T56" fmla="*/ 328 w 395"/>
                <a:gd name="T57" fmla="*/ 36 h 148"/>
                <a:gd name="T58" fmla="*/ 318 w 395"/>
                <a:gd name="T59" fmla="*/ 41 h 148"/>
                <a:gd name="T60" fmla="*/ 316 w 395"/>
                <a:gd name="T61" fmla="*/ 56 h 148"/>
                <a:gd name="T62" fmla="*/ 316 w 395"/>
                <a:gd name="T63" fmla="*/ 69 h 148"/>
                <a:gd name="T64" fmla="*/ 308 w 395"/>
                <a:gd name="T65" fmla="*/ 59 h 148"/>
                <a:gd name="T66" fmla="*/ 305 w 395"/>
                <a:gd name="T67" fmla="*/ 69 h 148"/>
                <a:gd name="T68" fmla="*/ 300 w 395"/>
                <a:gd name="T69" fmla="*/ 76 h 148"/>
                <a:gd name="T70" fmla="*/ 293 w 395"/>
                <a:gd name="T71" fmla="*/ 66 h 148"/>
                <a:gd name="T72" fmla="*/ 288 w 395"/>
                <a:gd name="T73" fmla="*/ 69 h 148"/>
                <a:gd name="T74" fmla="*/ 270 w 395"/>
                <a:gd name="T75" fmla="*/ 97 h 148"/>
                <a:gd name="T76" fmla="*/ 239 w 395"/>
                <a:gd name="T77" fmla="*/ 112 h 148"/>
                <a:gd name="T78" fmla="*/ 234 w 395"/>
                <a:gd name="T79" fmla="*/ 117 h 148"/>
                <a:gd name="T80" fmla="*/ 231 w 395"/>
                <a:gd name="T81" fmla="*/ 130 h 148"/>
                <a:gd name="T82" fmla="*/ 229 w 395"/>
                <a:gd name="T83" fmla="*/ 132 h 148"/>
                <a:gd name="T84" fmla="*/ 209 w 395"/>
                <a:gd name="T85" fmla="*/ 130 h 148"/>
                <a:gd name="T86" fmla="*/ 203 w 395"/>
                <a:gd name="T87" fmla="*/ 127 h 148"/>
                <a:gd name="T88" fmla="*/ 214 w 395"/>
                <a:gd name="T89" fmla="*/ 140 h 148"/>
                <a:gd name="T90" fmla="*/ 231 w 395"/>
                <a:gd name="T91" fmla="*/ 145 h 148"/>
                <a:gd name="T92" fmla="*/ 249 w 395"/>
                <a:gd name="T93" fmla="*/ 143 h 148"/>
                <a:gd name="T94" fmla="*/ 270 w 395"/>
                <a:gd name="T95" fmla="*/ 132 h 148"/>
                <a:gd name="T96" fmla="*/ 280 w 395"/>
                <a:gd name="T97" fmla="*/ 137 h 148"/>
                <a:gd name="T98" fmla="*/ 293 w 395"/>
                <a:gd name="T99" fmla="*/ 135 h 148"/>
                <a:gd name="T100" fmla="*/ 305 w 395"/>
                <a:gd name="T101" fmla="*/ 127 h 148"/>
                <a:gd name="T102" fmla="*/ 305 w 395"/>
                <a:gd name="T103" fmla="*/ 120 h 148"/>
                <a:gd name="T104" fmla="*/ 313 w 395"/>
                <a:gd name="T105" fmla="*/ 109 h 148"/>
                <a:gd name="T106" fmla="*/ 313 w 395"/>
                <a:gd name="T107" fmla="*/ 102 h 148"/>
                <a:gd name="T108" fmla="*/ 321 w 395"/>
                <a:gd name="T109" fmla="*/ 94 h 148"/>
                <a:gd name="T110" fmla="*/ 321 w 395"/>
                <a:gd name="T111" fmla="*/ 79 h 148"/>
                <a:gd name="T112" fmla="*/ 331 w 395"/>
                <a:gd name="T113" fmla="*/ 69 h 148"/>
                <a:gd name="T114" fmla="*/ 341 w 395"/>
                <a:gd name="T115" fmla="*/ 69 h 148"/>
                <a:gd name="T116" fmla="*/ 361 w 395"/>
                <a:gd name="T117" fmla="*/ 74 h 148"/>
                <a:gd name="T118" fmla="*/ 377 w 395"/>
                <a:gd name="T119" fmla="*/ 69 h 148"/>
                <a:gd name="T120" fmla="*/ 374 w 395"/>
                <a:gd name="T121" fmla="*/ 53 h 148"/>
                <a:gd name="T122" fmla="*/ 392 w 395"/>
                <a:gd name="T123" fmla="*/ 51 h 148"/>
                <a:gd name="T124" fmla="*/ 351 w 395"/>
                <a:gd name="T125" fmla="*/ 3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95" h="148">
                  <a:moveTo>
                    <a:pt x="237" y="115"/>
                  </a:moveTo>
                  <a:lnTo>
                    <a:pt x="237" y="112"/>
                  </a:lnTo>
                  <a:lnTo>
                    <a:pt x="237" y="112"/>
                  </a:lnTo>
                  <a:lnTo>
                    <a:pt x="237" y="109"/>
                  </a:lnTo>
                  <a:lnTo>
                    <a:pt x="237" y="107"/>
                  </a:lnTo>
                  <a:lnTo>
                    <a:pt x="237" y="104"/>
                  </a:lnTo>
                  <a:lnTo>
                    <a:pt x="237" y="104"/>
                  </a:lnTo>
                  <a:lnTo>
                    <a:pt x="237" y="107"/>
                  </a:lnTo>
                  <a:lnTo>
                    <a:pt x="237" y="112"/>
                  </a:lnTo>
                  <a:lnTo>
                    <a:pt x="237" y="115"/>
                  </a:lnTo>
                  <a:close/>
                  <a:moveTo>
                    <a:pt x="91" y="107"/>
                  </a:moveTo>
                  <a:lnTo>
                    <a:pt x="94" y="107"/>
                  </a:lnTo>
                  <a:lnTo>
                    <a:pt x="94" y="104"/>
                  </a:lnTo>
                  <a:lnTo>
                    <a:pt x="91" y="102"/>
                  </a:lnTo>
                  <a:lnTo>
                    <a:pt x="91" y="104"/>
                  </a:lnTo>
                  <a:lnTo>
                    <a:pt x="91" y="104"/>
                  </a:lnTo>
                  <a:lnTo>
                    <a:pt x="91" y="107"/>
                  </a:lnTo>
                  <a:lnTo>
                    <a:pt x="91" y="107"/>
                  </a:lnTo>
                  <a:close/>
                  <a:moveTo>
                    <a:pt x="35" y="99"/>
                  </a:moveTo>
                  <a:lnTo>
                    <a:pt x="35" y="99"/>
                  </a:lnTo>
                  <a:lnTo>
                    <a:pt x="33" y="99"/>
                  </a:lnTo>
                  <a:lnTo>
                    <a:pt x="33" y="99"/>
                  </a:lnTo>
                  <a:lnTo>
                    <a:pt x="33" y="102"/>
                  </a:lnTo>
                  <a:lnTo>
                    <a:pt x="35" y="99"/>
                  </a:lnTo>
                  <a:lnTo>
                    <a:pt x="35" y="99"/>
                  </a:lnTo>
                  <a:close/>
                  <a:moveTo>
                    <a:pt x="364" y="71"/>
                  </a:moveTo>
                  <a:lnTo>
                    <a:pt x="361" y="71"/>
                  </a:lnTo>
                  <a:lnTo>
                    <a:pt x="361" y="71"/>
                  </a:lnTo>
                  <a:lnTo>
                    <a:pt x="361" y="74"/>
                  </a:lnTo>
                  <a:lnTo>
                    <a:pt x="364" y="74"/>
                  </a:lnTo>
                  <a:lnTo>
                    <a:pt x="367" y="74"/>
                  </a:lnTo>
                  <a:lnTo>
                    <a:pt x="364" y="71"/>
                  </a:lnTo>
                  <a:lnTo>
                    <a:pt x="364" y="71"/>
                  </a:lnTo>
                  <a:close/>
                  <a:moveTo>
                    <a:pt x="12" y="43"/>
                  </a:moveTo>
                  <a:lnTo>
                    <a:pt x="10" y="43"/>
                  </a:lnTo>
                  <a:lnTo>
                    <a:pt x="10" y="48"/>
                  </a:lnTo>
                  <a:lnTo>
                    <a:pt x="12" y="48"/>
                  </a:lnTo>
                  <a:lnTo>
                    <a:pt x="12" y="48"/>
                  </a:lnTo>
                  <a:lnTo>
                    <a:pt x="12" y="46"/>
                  </a:lnTo>
                  <a:lnTo>
                    <a:pt x="12" y="43"/>
                  </a:lnTo>
                  <a:lnTo>
                    <a:pt x="12" y="43"/>
                  </a:lnTo>
                  <a:close/>
                  <a:moveTo>
                    <a:pt x="2" y="20"/>
                  </a:moveTo>
                  <a:lnTo>
                    <a:pt x="0" y="23"/>
                  </a:lnTo>
                  <a:lnTo>
                    <a:pt x="0" y="23"/>
                  </a:lnTo>
                  <a:lnTo>
                    <a:pt x="0" y="23"/>
                  </a:lnTo>
                  <a:lnTo>
                    <a:pt x="0" y="23"/>
                  </a:lnTo>
                  <a:lnTo>
                    <a:pt x="0" y="23"/>
                  </a:lnTo>
                  <a:lnTo>
                    <a:pt x="0" y="26"/>
                  </a:lnTo>
                  <a:lnTo>
                    <a:pt x="2" y="26"/>
                  </a:lnTo>
                  <a:lnTo>
                    <a:pt x="2" y="26"/>
                  </a:lnTo>
                  <a:lnTo>
                    <a:pt x="2" y="26"/>
                  </a:lnTo>
                  <a:lnTo>
                    <a:pt x="2" y="26"/>
                  </a:lnTo>
                  <a:lnTo>
                    <a:pt x="5" y="23"/>
                  </a:lnTo>
                  <a:lnTo>
                    <a:pt x="2" y="20"/>
                  </a:lnTo>
                  <a:lnTo>
                    <a:pt x="2" y="20"/>
                  </a:lnTo>
                  <a:close/>
                  <a:moveTo>
                    <a:pt x="89" y="117"/>
                  </a:moveTo>
                  <a:lnTo>
                    <a:pt x="86" y="112"/>
                  </a:lnTo>
                  <a:lnTo>
                    <a:pt x="86" y="109"/>
                  </a:lnTo>
                  <a:lnTo>
                    <a:pt x="79" y="104"/>
                  </a:lnTo>
                  <a:lnTo>
                    <a:pt x="79" y="104"/>
                  </a:lnTo>
                  <a:lnTo>
                    <a:pt x="79" y="102"/>
                  </a:lnTo>
                  <a:lnTo>
                    <a:pt x="79" y="94"/>
                  </a:lnTo>
                  <a:lnTo>
                    <a:pt x="76" y="92"/>
                  </a:lnTo>
                  <a:lnTo>
                    <a:pt x="79" y="89"/>
                  </a:lnTo>
                  <a:lnTo>
                    <a:pt x="76" y="84"/>
                  </a:lnTo>
                  <a:lnTo>
                    <a:pt x="76" y="81"/>
                  </a:lnTo>
                  <a:lnTo>
                    <a:pt x="76" y="79"/>
                  </a:lnTo>
                  <a:lnTo>
                    <a:pt x="76" y="69"/>
                  </a:lnTo>
                  <a:lnTo>
                    <a:pt x="76" y="61"/>
                  </a:lnTo>
                  <a:lnTo>
                    <a:pt x="76" y="59"/>
                  </a:lnTo>
                  <a:lnTo>
                    <a:pt x="71" y="48"/>
                  </a:lnTo>
                  <a:lnTo>
                    <a:pt x="68" y="46"/>
                  </a:lnTo>
                  <a:lnTo>
                    <a:pt x="66" y="43"/>
                  </a:lnTo>
                  <a:lnTo>
                    <a:pt x="63" y="41"/>
                  </a:lnTo>
                  <a:lnTo>
                    <a:pt x="63" y="41"/>
                  </a:lnTo>
                  <a:lnTo>
                    <a:pt x="58" y="36"/>
                  </a:lnTo>
                  <a:lnTo>
                    <a:pt x="53" y="28"/>
                  </a:lnTo>
                  <a:lnTo>
                    <a:pt x="51" y="28"/>
                  </a:lnTo>
                  <a:lnTo>
                    <a:pt x="48" y="26"/>
                  </a:lnTo>
                  <a:lnTo>
                    <a:pt x="48" y="28"/>
                  </a:lnTo>
                  <a:lnTo>
                    <a:pt x="48" y="31"/>
                  </a:lnTo>
                  <a:lnTo>
                    <a:pt x="45" y="33"/>
                  </a:lnTo>
                  <a:lnTo>
                    <a:pt x="45" y="33"/>
                  </a:lnTo>
                  <a:lnTo>
                    <a:pt x="43" y="36"/>
                  </a:lnTo>
                  <a:lnTo>
                    <a:pt x="43" y="36"/>
                  </a:lnTo>
                  <a:lnTo>
                    <a:pt x="40" y="38"/>
                  </a:lnTo>
                  <a:lnTo>
                    <a:pt x="40" y="36"/>
                  </a:lnTo>
                  <a:lnTo>
                    <a:pt x="40" y="36"/>
                  </a:lnTo>
                  <a:lnTo>
                    <a:pt x="38" y="36"/>
                  </a:lnTo>
                  <a:lnTo>
                    <a:pt x="38" y="33"/>
                  </a:lnTo>
                  <a:lnTo>
                    <a:pt x="38" y="33"/>
                  </a:lnTo>
                  <a:lnTo>
                    <a:pt x="35" y="36"/>
                  </a:lnTo>
                  <a:lnTo>
                    <a:pt x="30" y="36"/>
                  </a:lnTo>
                  <a:lnTo>
                    <a:pt x="30" y="38"/>
                  </a:lnTo>
                  <a:lnTo>
                    <a:pt x="30" y="38"/>
                  </a:lnTo>
                  <a:lnTo>
                    <a:pt x="30" y="41"/>
                  </a:lnTo>
                  <a:lnTo>
                    <a:pt x="28" y="41"/>
                  </a:lnTo>
                  <a:lnTo>
                    <a:pt x="28" y="38"/>
                  </a:lnTo>
                  <a:lnTo>
                    <a:pt x="28" y="38"/>
                  </a:lnTo>
                  <a:lnTo>
                    <a:pt x="25" y="38"/>
                  </a:lnTo>
                  <a:lnTo>
                    <a:pt x="25" y="36"/>
                  </a:lnTo>
                  <a:lnTo>
                    <a:pt x="28" y="33"/>
                  </a:lnTo>
                  <a:lnTo>
                    <a:pt x="28" y="31"/>
                  </a:lnTo>
                  <a:lnTo>
                    <a:pt x="28" y="28"/>
                  </a:lnTo>
                  <a:lnTo>
                    <a:pt x="28" y="26"/>
                  </a:lnTo>
                  <a:lnTo>
                    <a:pt x="28" y="26"/>
                  </a:lnTo>
                  <a:lnTo>
                    <a:pt x="25" y="26"/>
                  </a:lnTo>
                  <a:lnTo>
                    <a:pt x="22" y="26"/>
                  </a:lnTo>
                  <a:lnTo>
                    <a:pt x="22" y="23"/>
                  </a:lnTo>
                  <a:lnTo>
                    <a:pt x="22" y="23"/>
                  </a:lnTo>
                  <a:lnTo>
                    <a:pt x="20" y="20"/>
                  </a:lnTo>
                  <a:lnTo>
                    <a:pt x="20" y="20"/>
                  </a:lnTo>
                  <a:lnTo>
                    <a:pt x="17" y="20"/>
                  </a:lnTo>
                  <a:lnTo>
                    <a:pt x="17" y="20"/>
                  </a:lnTo>
                  <a:lnTo>
                    <a:pt x="12" y="20"/>
                  </a:lnTo>
                  <a:lnTo>
                    <a:pt x="10" y="15"/>
                  </a:lnTo>
                  <a:lnTo>
                    <a:pt x="10" y="15"/>
                  </a:lnTo>
                  <a:lnTo>
                    <a:pt x="10" y="15"/>
                  </a:lnTo>
                  <a:lnTo>
                    <a:pt x="10" y="18"/>
                  </a:lnTo>
                  <a:lnTo>
                    <a:pt x="7" y="20"/>
                  </a:lnTo>
                  <a:lnTo>
                    <a:pt x="7" y="23"/>
                  </a:lnTo>
                  <a:lnTo>
                    <a:pt x="10" y="26"/>
                  </a:lnTo>
                  <a:lnTo>
                    <a:pt x="12" y="28"/>
                  </a:lnTo>
                  <a:lnTo>
                    <a:pt x="12" y="33"/>
                  </a:lnTo>
                  <a:lnTo>
                    <a:pt x="15" y="36"/>
                  </a:lnTo>
                  <a:lnTo>
                    <a:pt x="12" y="41"/>
                  </a:lnTo>
                  <a:lnTo>
                    <a:pt x="17" y="53"/>
                  </a:lnTo>
                  <a:lnTo>
                    <a:pt x="20" y="61"/>
                  </a:lnTo>
                  <a:lnTo>
                    <a:pt x="20" y="69"/>
                  </a:lnTo>
                  <a:lnTo>
                    <a:pt x="20" y="71"/>
                  </a:lnTo>
                  <a:lnTo>
                    <a:pt x="22" y="74"/>
                  </a:lnTo>
                  <a:lnTo>
                    <a:pt x="22" y="76"/>
                  </a:lnTo>
                  <a:lnTo>
                    <a:pt x="22" y="76"/>
                  </a:lnTo>
                  <a:lnTo>
                    <a:pt x="22" y="79"/>
                  </a:lnTo>
                  <a:lnTo>
                    <a:pt x="22" y="81"/>
                  </a:lnTo>
                  <a:lnTo>
                    <a:pt x="25" y="81"/>
                  </a:lnTo>
                  <a:lnTo>
                    <a:pt x="28" y="87"/>
                  </a:lnTo>
                  <a:lnTo>
                    <a:pt x="30" y="89"/>
                  </a:lnTo>
                  <a:lnTo>
                    <a:pt x="35" y="94"/>
                  </a:lnTo>
                  <a:lnTo>
                    <a:pt x="35" y="97"/>
                  </a:lnTo>
                  <a:lnTo>
                    <a:pt x="35" y="99"/>
                  </a:lnTo>
                  <a:lnTo>
                    <a:pt x="35" y="102"/>
                  </a:lnTo>
                  <a:lnTo>
                    <a:pt x="35" y="104"/>
                  </a:lnTo>
                  <a:lnTo>
                    <a:pt x="38" y="104"/>
                  </a:lnTo>
                  <a:lnTo>
                    <a:pt x="40" y="107"/>
                  </a:lnTo>
                  <a:lnTo>
                    <a:pt x="45" y="109"/>
                  </a:lnTo>
                  <a:lnTo>
                    <a:pt x="45" y="112"/>
                  </a:lnTo>
                  <a:lnTo>
                    <a:pt x="53" y="117"/>
                  </a:lnTo>
                  <a:lnTo>
                    <a:pt x="61" y="122"/>
                  </a:lnTo>
                  <a:lnTo>
                    <a:pt x="63" y="125"/>
                  </a:lnTo>
                  <a:lnTo>
                    <a:pt x="68" y="127"/>
                  </a:lnTo>
                  <a:lnTo>
                    <a:pt x="76" y="132"/>
                  </a:lnTo>
                  <a:lnTo>
                    <a:pt x="79" y="135"/>
                  </a:lnTo>
                  <a:lnTo>
                    <a:pt x="79" y="135"/>
                  </a:lnTo>
                  <a:lnTo>
                    <a:pt x="79" y="137"/>
                  </a:lnTo>
                  <a:lnTo>
                    <a:pt x="81" y="137"/>
                  </a:lnTo>
                  <a:lnTo>
                    <a:pt x="84" y="135"/>
                  </a:lnTo>
                  <a:lnTo>
                    <a:pt x="86" y="135"/>
                  </a:lnTo>
                  <a:lnTo>
                    <a:pt x="89" y="135"/>
                  </a:lnTo>
                  <a:lnTo>
                    <a:pt x="89" y="135"/>
                  </a:lnTo>
                  <a:lnTo>
                    <a:pt x="89" y="132"/>
                  </a:lnTo>
                  <a:lnTo>
                    <a:pt x="89" y="132"/>
                  </a:lnTo>
                  <a:lnTo>
                    <a:pt x="89" y="132"/>
                  </a:lnTo>
                  <a:lnTo>
                    <a:pt x="91" y="132"/>
                  </a:lnTo>
                  <a:lnTo>
                    <a:pt x="91" y="135"/>
                  </a:lnTo>
                  <a:lnTo>
                    <a:pt x="91" y="135"/>
                  </a:lnTo>
                  <a:lnTo>
                    <a:pt x="91" y="135"/>
                  </a:lnTo>
                  <a:lnTo>
                    <a:pt x="94" y="137"/>
                  </a:lnTo>
                  <a:lnTo>
                    <a:pt x="94" y="137"/>
                  </a:lnTo>
                  <a:lnTo>
                    <a:pt x="96" y="135"/>
                  </a:lnTo>
                  <a:lnTo>
                    <a:pt x="96" y="135"/>
                  </a:lnTo>
                  <a:lnTo>
                    <a:pt x="94" y="130"/>
                  </a:lnTo>
                  <a:lnTo>
                    <a:pt x="89" y="117"/>
                  </a:lnTo>
                  <a:close/>
                  <a:moveTo>
                    <a:pt x="392" y="46"/>
                  </a:moveTo>
                  <a:lnTo>
                    <a:pt x="392" y="46"/>
                  </a:lnTo>
                  <a:lnTo>
                    <a:pt x="392" y="46"/>
                  </a:lnTo>
                  <a:lnTo>
                    <a:pt x="389" y="46"/>
                  </a:lnTo>
                  <a:lnTo>
                    <a:pt x="387" y="46"/>
                  </a:lnTo>
                  <a:lnTo>
                    <a:pt x="387" y="46"/>
                  </a:lnTo>
                  <a:lnTo>
                    <a:pt x="382" y="41"/>
                  </a:lnTo>
                  <a:lnTo>
                    <a:pt x="379" y="41"/>
                  </a:lnTo>
                  <a:lnTo>
                    <a:pt x="379" y="38"/>
                  </a:lnTo>
                  <a:lnTo>
                    <a:pt x="377" y="38"/>
                  </a:lnTo>
                  <a:lnTo>
                    <a:pt x="377" y="38"/>
                  </a:lnTo>
                  <a:lnTo>
                    <a:pt x="374" y="36"/>
                  </a:lnTo>
                  <a:lnTo>
                    <a:pt x="374" y="36"/>
                  </a:lnTo>
                  <a:lnTo>
                    <a:pt x="372" y="36"/>
                  </a:lnTo>
                  <a:lnTo>
                    <a:pt x="369" y="38"/>
                  </a:lnTo>
                  <a:lnTo>
                    <a:pt x="369" y="38"/>
                  </a:lnTo>
                  <a:lnTo>
                    <a:pt x="367" y="38"/>
                  </a:lnTo>
                  <a:lnTo>
                    <a:pt x="367" y="38"/>
                  </a:lnTo>
                  <a:lnTo>
                    <a:pt x="367" y="36"/>
                  </a:lnTo>
                  <a:lnTo>
                    <a:pt x="369" y="36"/>
                  </a:lnTo>
                  <a:lnTo>
                    <a:pt x="369" y="36"/>
                  </a:lnTo>
                  <a:lnTo>
                    <a:pt x="369" y="33"/>
                  </a:lnTo>
                  <a:lnTo>
                    <a:pt x="367" y="31"/>
                  </a:lnTo>
                  <a:lnTo>
                    <a:pt x="364" y="33"/>
                  </a:lnTo>
                  <a:lnTo>
                    <a:pt x="364" y="33"/>
                  </a:lnTo>
                  <a:lnTo>
                    <a:pt x="356" y="33"/>
                  </a:lnTo>
                  <a:lnTo>
                    <a:pt x="359" y="33"/>
                  </a:lnTo>
                  <a:lnTo>
                    <a:pt x="359" y="31"/>
                  </a:lnTo>
                  <a:lnTo>
                    <a:pt x="359" y="31"/>
                  </a:lnTo>
                  <a:lnTo>
                    <a:pt x="359" y="28"/>
                  </a:lnTo>
                  <a:lnTo>
                    <a:pt x="361" y="26"/>
                  </a:lnTo>
                  <a:lnTo>
                    <a:pt x="361" y="23"/>
                  </a:lnTo>
                  <a:lnTo>
                    <a:pt x="359" y="23"/>
                  </a:lnTo>
                  <a:lnTo>
                    <a:pt x="359" y="20"/>
                  </a:lnTo>
                  <a:lnTo>
                    <a:pt x="359" y="20"/>
                  </a:lnTo>
                  <a:lnTo>
                    <a:pt x="356" y="18"/>
                  </a:lnTo>
                  <a:lnTo>
                    <a:pt x="354" y="18"/>
                  </a:lnTo>
                  <a:lnTo>
                    <a:pt x="351" y="15"/>
                  </a:lnTo>
                  <a:lnTo>
                    <a:pt x="351" y="13"/>
                  </a:lnTo>
                  <a:lnTo>
                    <a:pt x="351" y="13"/>
                  </a:lnTo>
                  <a:lnTo>
                    <a:pt x="351" y="10"/>
                  </a:lnTo>
                  <a:lnTo>
                    <a:pt x="351" y="10"/>
                  </a:lnTo>
                  <a:lnTo>
                    <a:pt x="349" y="10"/>
                  </a:lnTo>
                  <a:lnTo>
                    <a:pt x="349" y="10"/>
                  </a:lnTo>
                  <a:lnTo>
                    <a:pt x="346" y="13"/>
                  </a:lnTo>
                  <a:lnTo>
                    <a:pt x="344" y="18"/>
                  </a:lnTo>
                  <a:lnTo>
                    <a:pt x="344" y="18"/>
                  </a:lnTo>
                  <a:lnTo>
                    <a:pt x="341" y="18"/>
                  </a:lnTo>
                  <a:lnTo>
                    <a:pt x="344" y="15"/>
                  </a:lnTo>
                  <a:lnTo>
                    <a:pt x="344" y="15"/>
                  </a:lnTo>
                  <a:lnTo>
                    <a:pt x="344" y="13"/>
                  </a:lnTo>
                  <a:lnTo>
                    <a:pt x="344" y="10"/>
                  </a:lnTo>
                  <a:lnTo>
                    <a:pt x="341" y="10"/>
                  </a:lnTo>
                  <a:lnTo>
                    <a:pt x="341" y="10"/>
                  </a:lnTo>
                  <a:lnTo>
                    <a:pt x="336" y="18"/>
                  </a:lnTo>
                  <a:lnTo>
                    <a:pt x="336" y="20"/>
                  </a:lnTo>
                  <a:lnTo>
                    <a:pt x="331" y="28"/>
                  </a:lnTo>
                  <a:lnTo>
                    <a:pt x="328" y="31"/>
                  </a:lnTo>
                  <a:lnTo>
                    <a:pt x="328" y="36"/>
                  </a:lnTo>
                  <a:lnTo>
                    <a:pt x="326" y="38"/>
                  </a:lnTo>
                  <a:lnTo>
                    <a:pt x="326" y="41"/>
                  </a:lnTo>
                  <a:lnTo>
                    <a:pt x="323" y="43"/>
                  </a:lnTo>
                  <a:lnTo>
                    <a:pt x="323" y="43"/>
                  </a:lnTo>
                  <a:lnTo>
                    <a:pt x="321" y="43"/>
                  </a:lnTo>
                  <a:lnTo>
                    <a:pt x="321" y="41"/>
                  </a:lnTo>
                  <a:lnTo>
                    <a:pt x="321" y="41"/>
                  </a:lnTo>
                  <a:lnTo>
                    <a:pt x="318" y="41"/>
                  </a:lnTo>
                  <a:lnTo>
                    <a:pt x="316" y="46"/>
                  </a:lnTo>
                  <a:lnTo>
                    <a:pt x="316" y="46"/>
                  </a:lnTo>
                  <a:lnTo>
                    <a:pt x="318" y="48"/>
                  </a:lnTo>
                  <a:lnTo>
                    <a:pt x="321" y="51"/>
                  </a:lnTo>
                  <a:lnTo>
                    <a:pt x="318" y="53"/>
                  </a:lnTo>
                  <a:lnTo>
                    <a:pt x="318" y="53"/>
                  </a:lnTo>
                  <a:lnTo>
                    <a:pt x="316" y="56"/>
                  </a:lnTo>
                  <a:lnTo>
                    <a:pt x="316" y="56"/>
                  </a:lnTo>
                  <a:lnTo>
                    <a:pt x="310" y="56"/>
                  </a:lnTo>
                  <a:lnTo>
                    <a:pt x="310" y="59"/>
                  </a:lnTo>
                  <a:lnTo>
                    <a:pt x="313" y="61"/>
                  </a:lnTo>
                  <a:lnTo>
                    <a:pt x="313" y="64"/>
                  </a:lnTo>
                  <a:lnTo>
                    <a:pt x="313" y="66"/>
                  </a:lnTo>
                  <a:lnTo>
                    <a:pt x="316" y="69"/>
                  </a:lnTo>
                  <a:lnTo>
                    <a:pt x="316" y="69"/>
                  </a:lnTo>
                  <a:lnTo>
                    <a:pt x="316" y="69"/>
                  </a:lnTo>
                  <a:lnTo>
                    <a:pt x="313" y="69"/>
                  </a:lnTo>
                  <a:lnTo>
                    <a:pt x="313" y="69"/>
                  </a:lnTo>
                  <a:lnTo>
                    <a:pt x="310" y="69"/>
                  </a:lnTo>
                  <a:lnTo>
                    <a:pt x="310" y="64"/>
                  </a:lnTo>
                  <a:lnTo>
                    <a:pt x="308" y="61"/>
                  </a:lnTo>
                  <a:lnTo>
                    <a:pt x="308" y="59"/>
                  </a:lnTo>
                  <a:lnTo>
                    <a:pt x="308" y="56"/>
                  </a:lnTo>
                  <a:lnTo>
                    <a:pt x="308" y="59"/>
                  </a:lnTo>
                  <a:lnTo>
                    <a:pt x="305" y="59"/>
                  </a:lnTo>
                  <a:lnTo>
                    <a:pt x="303" y="61"/>
                  </a:lnTo>
                  <a:lnTo>
                    <a:pt x="303" y="61"/>
                  </a:lnTo>
                  <a:lnTo>
                    <a:pt x="303" y="61"/>
                  </a:lnTo>
                  <a:lnTo>
                    <a:pt x="303" y="64"/>
                  </a:lnTo>
                  <a:lnTo>
                    <a:pt x="305" y="66"/>
                  </a:lnTo>
                  <a:lnTo>
                    <a:pt x="305" y="66"/>
                  </a:lnTo>
                  <a:lnTo>
                    <a:pt x="305" y="69"/>
                  </a:lnTo>
                  <a:lnTo>
                    <a:pt x="305" y="69"/>
                  </a:lnTo>
                  <a:lnTo>
                    <a:pt x="305" y="71"/>
                  </a:lnTo>
                  <a:lnTo>
                    <a:pt x="305" y="71"/>
                  </a:lnTo>
                  <a:lnTo>
                    <a:pt x="305" y="74"/>
                  </a:lnTo>
                  <a:lnTo>
                    <a:pt x="303" y="74"/>
                  </a:lnTo>
                  <a:lnTo>
                    <a:pt x="303" y="76"/>
                  </a:lnTo>
                  <a:lnTo>
                    <a:pt x="300" y="76"/>
                  </a:lnTo>
                  <a:lnTo>
                    <a:pt x="300" y="76"/>
                  </a:lnTo>
                  <a:lnTo>
                    <a:pt x="300" y="74"/>
                  </a:lnTo>
                  <a:lnTo>
                    <a:pt x="298" y="71"/>
                  </a:lnTo>
                  <a:lnTo>
                    <a:pt x="298" y="71"/>
                  </a:lnTo>
                  <a:lnTo>
                    <a:pt x="295" y="71"/>
                  </a:lnTo>
                  <a:lnTo>
                    <a:pt x="295" y="71"/>
                  </a:lnTo>
                  <a:lnTo>
                    <a:pt x="295" y="69"/>
                  </a:lnTo>
                  <a:lnTo>
                    <a:pt x="293" y="69"/>
                  </a:lnTo>
                  <a:lnTo>
                    <a:pt x="293" y="66"/>
                  </a:lnTo>
                  <a:lnTo>
                    <a:pt x="293" y="66"/>
                  </a:lnTo>
                  <a:lnTo>
                    <a:pt x="290" y="64"/>
                  </a:lnTo>
                  <a:lnTo>
                    <a:pt x="290" y="64"/>
                  </a:lnTo>
                  <a:lnTo>
                    <a:pt x="290" y="64"/>
                  </a:lnTo>
                  <a:lnTo>
                    <a:pt x="288" y="64"/>
                  </a:lnTo>
                  <a:lnTo>
                    <a:pt x="288" y="64"/>
                  </a:lnTo>
                  <a:lnTo>
                    <a:pt x="288" y="66"/>
                  </a:lnTo>
                  <a:lnTo>
                    <a:pt x="288" y="69"/>
                  </a:lnTo>
                  <a:lnTo>
                    <a:pt x="288" y="71"/>
                  </a:lnTo>
                  <a:lnTo>
                    <a:pt x="288" y="71"/>
                  </a:lnTo>
                  <a:lnTo>
                    <a:pt x="282" y="76"/>
                  </a:lnTo>
                  <a:lnTo>
                    <a:pt x="277" y="84"/>
                  </a:lnTo>
                  <a:lnTo>
                    <a:pt x="275" y="87"/>
                  </a:lnTo>
                  <a:lnTo>
                    <a:pt x="272" y="92"/>
                  </a:lnTo>
                  <a:lnTo>
                    <a:pt x="270" y="94"/>
                  </a:lnTo>
                  <a:lnTo>
                    <a:pt x="270" y="97"/>
                  </a:lnTo>
                  <a:lnTo>
                    <a:pt x="267" y="97"/>
                  </a:lnTo>
                  <a:lnTo>
                    <a:pt x="265" y="99"/>
                  </a:lnTo>
                  <a:lnTo>
                    <a:pt x="252" y="102"/>
                  </a:lnTo>
                  <a:lnTo>
                    <a:pt x="244" y="104"/>
                  </a:lnTo>
                  <a:lnTo>
                    <a:pt x="242" y="104"/>
                  </a:lnTo>
                  <a:lnTo>
                    <a:pt x="239" y="107"/>
                  </a:lnTo>
                  <a:lnTo>
                    <a:pt x="239" y="109"/>
                  </a:lnTo>
                  <a:lnTo>
                    <a:pt x="239" y="112"/>
                  </a:lnTo>
                  <a:lnTo>
                    <a:pt x="239" y="112"/>
                  </a:lnTo>
                  <a:lnTo>
                    <a:pt x="239" y="115"/>
                  </a:lnTo>
                  <a:lnTo>
                    <a:pt x="239" y="115"/>
                  </a:lnTo>
                  <a:lnTo>
                    <a:pt x="237" y="115"/>
                  </a:lnTo>
                  <a:lnTo>
                    <a:pt x="237" y="115"/>
                  </a:lnTo>
                  <a:lnTo>
                    <a:pt x="234" y="112"/>
                  </a:lnTo>
                  <a:lnTo>
                    <a:pt x="234" y="115"/>
                  </a:lnTo>
                  <a:lnTo>
                    <a:pt x="234" y="117"/>
                  </a:lnTo>
                  <a:lnTo>
                    <a:pt x="234" y="117"/>
                  </a:lnTo>
                  <a:lnTo>
                    <a:pt x="234" y="120"/>
                  </a:lnTo>
                  <a:lnTo>
                    <a:pt x="234" y="122"/>
                  </a:lnTo>
                  <a:lnTo>
                    <a:pt x="234" y="122"/>
                  </a:lnTo>
                  <a:lnTo>
                    <a:pt x="234" y="125"/>
                  </a:lnTo>
                  <a:lnTo>
                    <a:pt x="234" y="130"/>
                  </a:lnTo>
                  <a:lnTo>
                    <a:pt x="231" y="130"/>
                  </a:lnTo>
                  <a:lnTo>
                    <a:pt x="231" y="130"/>
                  </a:lnTo>
                  <a:lnTo>
                    <a:pt x="231" y="132"/>
                  </a:lnTo>
                  <a:lnTo>
                    <a:pt x="231" y="135"/>
                  </a:lnTo>
                  <a:lnTo>
                    <a:pt x="231" y="135"/>
                  </a:lnTo>
                  <a:lnTo>
                    <a:pt x="234" y="137"/>
                  </a:lnTo>
                  <a:lnTo>
                    <a:pt x="234" y="137"/>
                  </a:lnTo>
                  <a:lnTo>
                    <a:pt x="231" y="137"/>
                  </a:lnTo>
                  <a:lnTo>
                    <a:pt x="229" y="132"/>
                  </a:lnTo>
                  <a:lnTo>
                    <a:pt x="229" y="132"/>
                  </a:lnTo>
                  <a:lnTo>
                    <a:pt x="226" y="132"/>
                  </a:lnTo>
                  <a:lnTo>
                    <a:pt x="224" y="132"/>
                  </a:lnTo>
                  <a:lnTo>
                    <a:pt x="219" y="130"/>
                  </a:lnTo>
                  <a:lnTo>
                    <a:pt x="216" y="130"/>
                  </a:lnTo>
                  <a:lnTo>
                    <a:pt x="216" y="130"/>
                  </a:lnTo>
                  <a:lnTo>
                    <a:pt x="216" y="130"/>
                  </a:lnTo>
                  <a:lnTo>
                    <a:pt x="211" y="130"/>
                  </a:lnTo>
                  <a:lnTo>
                    <a:pt x="209" y="130"/>
                  </a:lnTo>
                  <a:lnTo>
                    <a:pt x="209" y="127"/>
                  </a:lnTo>
                  <a:lnTo>
                    <a:pt x="203" y="125"/>
                  </a:lnTo>
                  <a:lnTo>
                    <a:pt x="203" y="125"/>
                  </a:lnTo>
                  <a:lnTo>
                    <a:pt x="203" y="122"/>
                  </a:lnTo>
                  <a:lnTo>
                    <a:pt x="201" y="125"/>
                  </a:lnTo>
                  <a:lnTo>
                    <a:pt x="201" y="127"/>
                  </a:lnTo>
                  <a:lnTo>
                    <a:pt x="201" y="127"/>
                  </a:lnTo>
                  <a:lnTo>
                    <a:pt x="203" y="127"/>
                  </a:lnTo>
                  <a:lnTo>
                    <a:pt x="203" y="132"/>
                  </a:lnTo>
                  <a:lnTo>
                    <a:pt x="206" y="132"/>
                  </a:lnTo>
                  <a:lnTo>
                    <a:pt x="206" y="135"/>
                  </a:lnTo>
                  <a:lnTo>
                    <a:pt x="209" y="137"/>
                  </a:lnTo>
                  <a:lnTo>
                    <a:pt x="209" y="137"/>
                  </a:lnTo>
                  <a:lnTo>
                    <a:pt x="211" y="140"/>
                  </a:lnTo>
                  <a:lnTo>
                    <a:pt x="211" y="140"/>
                  </a:lnTo>
                  <a:lnTo>
                    <a:pt x="214" y="140"/>
                  </a:lnTo>
                  <a:lnTo>
                    <a:pt x="216" y="145"/>
                  </a:lnTo>
                  <a:lnTo>
                    <a:pt x="219" y="148"/>
                  </a:lnTo>
                  <a:lnTo>
                    <a:pt x="219" y="148"/>
                  </a:lnTo>
                  <a:lnTo>
                    <a:pt x="221" y="148"/>
                  </a:lnTo>
                  <a:lnTo>
                    <a:pt x="224" y="148"/>
                  </a:lnTo>
                  <a:lnTo>
                    <a:pt x="229" y="145"/>
                  </a:lnTo>
                  <a:lnTo>
                    <a:pt x="231" y="145"/>
                  </a:lnTo>
                  <a:lnTo>
                    <a:pt x="231" y="145"/>
                  </a:lnTo>
                  <a:lnTo>
                    <a:pt x="237" y="145"/>
                  </a:lnTo>
                  <a:lnTo>
                    <a:pt x="239" y="145"/>
                  </a:lnTo>
                  <a:lnTo>
                    <a:pt x="242" y="145"/>
                  </a:lnTo>
                  <a:lnTo>
                    <a:pt x="242" y="145"/>
                  </a:lnTo>
                  <a:lnTo>
                    <a:pt x="244" y="145"/>
                  </a:lnTo>
                  <a:lnTo>
                    <a:pt x="247" y="145"/>
                  </a:lnTo>
                  <a:lnTo>
                    <a:pt x="247" y="145"/>
                  </a:lnTo>
                  <a:lnTo>
                    <a:pt x="249" y="143"/>
                  </a:lnTo>
                  <a:lnTo>
                    <a:pt x="252" y="143"/>
                  </a:lnTo>
                  <a:lnTo>
                    <a:pt x="252" y="140"/>
                  </a:lnTo>
                  <a:lnTo>
                    <a:pt x="254" y="137"/>
                  </a:lnTo>
                  <a:lnTo>
                    <a:pt x="254" y="135"/>
                  </a:lnTo>
                  <a:lnTo>
                    <a:pt x="254" y="135"/>
                  </a:lnTo>
                  <a:lnTo>
                    <a:pt x="257" y="135"/>
                  </a:lnTo>
                  <a:lnTo>
                    <a:pt x="259" y="132"/>
                  </a:lnTo>
                  <a:lnTo>
                    <a:pt x="270" y="132"/>
                  </a:lnTo>
                  <a:lnTo>
                    <a:pt x="270" y="132"/>
                  </a:lnTo>
                  <a:lnTo>
                    <a:pt x="270" y="135"/>
                  </a:lnTo>
                  <a:lnTo>
                    <a:pt x="270" y="135"/>
                  </a:lnTo>
                  <a:lnTo>
                    <a:pt x="270" y="135"/>
                  </a:lnTo>
                  <a:lnTo>
                    <a:pt x="272" y="135"/>
                  </a:lnTo>
                  <a:lnTo>
                    <a:pt x="272" y="135"/>
                  </a:lnTo>
                  <a:lnTo>
                    <a:pt x="277" y="137"/>
                  </a:lnTo>
                  <a:lnTo>
                    <a:pt x="280" y="137"/>
                  </a:lnTo>
                  <a:lnTo>
                    <a:pt x="280" y="137"/>
                  </a:lnTo>
                  <a:lnTo>
                    <a:pt x="282" y="140"/>
                  </a:lnTo>
                  <a:lnTo>
                    <a:pt x="285" y="140"/>
                  </a:lnTo>
                  <a:lnTo>
                    <a:pt x="285" y="137"/>
                  </a:lnTo>
                  <a:lnTo>
                    <a:pt x="288" y="137"/>
                  </a:lnTo>
                  <a:lnTo>
                    <a:pt x="288" y="135"/>
                  </a:lnTo>
                  <a:lnTo>
                    <a:pt x="290" y="135"/>
                  </a:lnTo>
                  <a:lnTo>
                    <a:pt x="293" y="135"/>
                  </a:lnTo>
                  <a:lnTo>
                    <a:pt x="295" y="135"/>
                  </a:lnTo>
                  <a:lnTo>
                    <a:pt x="298" y="135"/>
                  </a:lnTo>
                  <a:lnTo>
                    <a:pt x="300" y="135"/>
                  </a:lnTo>
                  <a:lnTo>
                    <a:pt x="300" y="135"/>
                  </a:lnTo>
                  <a:lnTo>
                    <a:pt x="303" y="135"/>
                  </a:lnTo>
                  <a:lnTo>
                    <a:pt x="303" y="132"/>
                  </a:lnTo>
                  <a:lnTo>
                    <a:pt x="303" y="130"/>
                  </a:lnTo>
                  <a:lnTo>
                    <a:pt x="305" y="127"/>
                  </a:lnTo>
                  <a:lnTo>
                    <a:pt x="305" y="127"/>
                  </a:lnTo>
                  <a:lnTo>
                    <a:pt x="305" y="125"/>
                  </a:lnTo>
                  <a:lnTo>
                    <a:pt x="305" y="125"/>
                  </a:lnTo>
                  <a:lnTo>
                    <a:pt x="305" y="125"/>
                  </a:lnTo>
                  <a:lnTo>
                    <a:pt x="308" y="122"/>
                  </a:lnTo>
                  <a:lnTo>
                    <a:pt x="308" y="122"/>
                  </a:lnTo>
                  <a:lnTo>
                    <a:pt x="305" y="122"/>
                  </a:lnTo>
                  <a:lnTo>
                    <a:pt x="305" y="120"/>
                  </a:lnTo>
                  <a:lnTo>
                    <a:pt x="305" y="117"/>
                  </a:lnTo>
                  <a:lnTo>
                    <a:pt x="305" y="117"/>
                  </a:lnTo>
                  <a:lnTo>
                    <a:pt x="308" y="117"/>
                  </a:lnTo>
                  <a:lnTo>
                    <a:pt x="310" y="115"/>
                  </a:lnTo>
                  <a:lnTo>
                    <a:pt x="313" y="112"/>
                  </a:lnTo>
                  <a:lnTo>
                    <a:pt x="313" y="112"/>
                  </a:lnTo>
                  <a:lnTo>
                    <a:pt x="313" y="112"/>
                  </a:lnTo>
                  <a:lnTo>
                    <a:pt x="313" y="109"/>
                  </a:lnTo>
                  <a:lnTo>
                    <a:pt x="313" y="109"/>
                  </a:lnTo>
                  <a:lnTo>
                    <a:pt x="310" y="109"/>
                  </a:lnTo>
                  <a:lnTo>
                    <a:pt x="310" y="107"/>
                  </a:lnTo>
                  <a:lnTo>
                    <a:pt x="310" y="107"/>
                  </a:lnTo>
                  <a:lnTo>
                    <a:pt x="313" y="104"/>
                  </a:lnTo>
                  <a:lnTo>
                    <a:pt x="310" y="104"/>
                  </a:lnTo>
                  <a:lnTo>
                    <a:pt x="310" y="104"/>
                  </a:lnTo>
                  <a:lnTo>
                    <a:pt x="313" y="102"/>
                  </a:lnTo>
                  <a:lnTo>
                    <a:pt x="313" y="99"/>
                  </a:lnTo>
                  <a:lnTo>
                    <a:pt x="316" y="99"/>
                  </a:lnTo>
                  <a:lnTo>
                    <a:pt x="316" y="99"/>
                  </a:lnTo>
                  <a:lnTo>
                    <a:pt x="318" y="99"/>
                  </a:lnTo>
                  <a:lnTo>
                    <a:pt x="318" y="99"/>
                  </a:lnTo>
                  <a:lnTo>
                    <a:pt x="321" y="97"/>
                  </a:lnTo>
                  <a:lnTo>
                    <a:pt x="321" y="97"/>
                  </a:lnTo>
                  <a:lnTo>
                    <a:pt x="321" y="94"/>
                  </a:lnTo>
                  <a:lnTo>
                    <a:pt x="321" y="92"/>
                  </a:lnTo>
                  <a:lnTo>
                    <a:pt x="321" y="92"/>
                  </a:lnTo>
                  <a:lnTo>
                    <a:pt x="321" y="89"/>
                  </a:lnTo>
                  <a:lnTo>
                    <a:pt x="321" y="89"/>
                  </a:lnTo>
                  <a:lnTo>
                    <a:pt x="321" y="87"/>
                  </a:lnTo>
                  <a:lnTo>
                    <a:pt x="321" y="84"/>
                  </a:lnTo>
                  <a:lnTo>
                    <a:pt x="321" y="79"/>
                  </a:lnTo>
                  <a:lnTo>
                    <a:pt x="321" y="79"/>
                  </a:lnTo>
                  <a:lnTo>
                    <a:pt x="321" y="76"/>
                  </a:lnTo>
                  <a:lnTo>
                    <a:pt x="323" y="74"/>
                  </a:lnTo>
                  <a:lnTo>
                    <a:pt x="323" y="71"/>
                  </a:lnTo>
                  <a:lnTo>
                    <a:pt x="326" y="69"/>
                  </a:lnTo>
                  <a:lnTo>
                    <a:pt x="326" y="69"/>
                  </a:lnTo>
                  <a:lnTo>
                    <a:pt x="326" y="69"/>
                  </a:lnTo>
                  <a:lnTo>
                    <a:pt x="328" y="71"/>
                  </a:lnTo>
                  <a:lnTo>
                    <a:pt x="331" y="69"/>
                  </a:lnTo>
                  <a:lnTo>
                    <a:pt x="333" y="69"/>
                  </a:lnTo>
                  <a:lnTo>
                    <a:pt x="336" y="69"/>
                  </a:lnTo>
                  <a:lnTo>
                    <a:pt x="336" y="69"/>
                  </a:lnTo>
                  <a:lnTo>
                    <a:pt x="336" y="71"/>
                  </a:lnTo>
                  <a:lnTo>
                    <a:pt x="338" y="69"/>
                  </a:lnTo>
                  <a:lnTo>
                    <a:pt x="341" y="69"/>
                  </a:lnTo>
                  <a:lnTo>
                    <a:pt x="341" y="69"/>
                  </a:lnTo>
                  <a:lnTo>
                    <a:pt x="341" y="69"/>
                  </a:lnTo>
                  <a:lnTo>
                    <a:pt x="344" y="69"/>
                  </a:lnTo>
                  <a:lnTo>
                    <a:pt x="346" y="69"/>
                  </a:lnTo>
                  <a:lnTo>
                    <a:pt x="351" y="69"/>
                  </a:lnTo>
                  <a:lnTo>
                    <a:pt x="354" y="71"/>
                  </a:lnTo>
                  <a:lnTo>
                    <a:pt x="359" y="74"/>
                  </a:lnTo>
                  <a:lnTo>
                    <a:pt x="359" y="74"/>
                  </a:lnTo>
                  <a:lnTo>
                    <a:pt x="361" y="74"/>
                  </a:lnTo>
                  <a:lnTo>
                    <a:pt x="361" y="74"/>
                  </a:lnTo>
                  <a:lnTo>
                    <a:pt x="361" y="71"/>
                  </a:lnTo>
                  <a:lnTo>
                    <a:pt x="364" y="69"/>
                  </a:lnTo>
                  <a:lnTo>
                    <a:pt x="364" y="69"/>
                  </a:lnTo>
                  <a:lnTo>
                    <a:pt x="367" y="71"/>
                  </a:lnTo>
                  <a:lnTo>
                    <a:pt x="369" y="71"/>
                  </a:lnTo>
                  <a:lnTo>
                    <a:pt x="372" y="71"/>
                  </a:lnTo>
                  <a:lnTo>
                    <a:pt x="374" y="69"/>
                  </a:lnTo>
                  <a:lnTo>
                    <a:pt x="377" y="69"/>
                  </a:lnTo>
                  <a:lnTo>
                    <a:pt x="379" y="69"/>
                  </a:lnTo>
                  <a:lnTo>
                    <a:pt x="379" y="69"/>
                  </a:lnTo>
                  <a:lnTo>
                    <a:pt x="382" y="69"/>
                  </a:lnTo>
                  <a:lnTo>
                    <a:pt x="382" y="66"/>
                  </a:lnTo>
                  <a:lnTo>
                    <a:pt x="379" y="66"/>
                  </a:lnTo>
                  <a:lnTo>
                    <a:pt x="374" y="61"/>
                  </a:lnTo>
                  <a:lnTo>
                    <a:pt x="372" y="59"/>
                  </a:lnTo>
                  <a:lnTo>
                    <a:pt x="374" y="53"/>
                  </a:lnTo>
                  <a:lnTo>
                    <a:pt x="374" y="53"/>
                  </a:lnTo>
                  <a:lnTo>
                    <a:pt x="377" y="53"/>
                  </a:lnTo>
                  <a:lnTo>
                    <a:pt x="379" y="56"/>
                  </a:lnTo>
                  <a:lnTo>
                    <a:pt x="382" y="56"/>
                  </a:lnTo>
                  <a:lnTo>
                    <a:pt x="387" y="53"/>
                  </a:lnTo>
                  <a:lnTo>
                    <a:pt x="392" y="51"/>
                  </a:lnTo>
                  <a:lnTo>
                    <a:pt x="392" y="51"/>
                  </a:lnTo>
                  <a:lnTo>
                    <a:pt x="392" y="51"/>
                  </a:lnTo>
                  <a:lnTo>
                    <a:pt x="395" y="48"/>
                  </a:lnTo>
                  <a:lnTo>
                    <a:pt x="395" y="48"/>
                  </a:lnTo>
                  <a:lnTo>
                    <a:pt x="392" y="46"/>
                  </a:lnTo>
                  <a:close/>
                  <a:moveTo>
                    <a:pt x="346" y="8"/>
                  </a:moveTo>
                  <a:lnTo>
                    <a:pt x="349" y="5"/>
                  </a:lnTo>
                  <a:lnTo>
                    <a:pt x="351" y="5"/>
                  </a:lnTo>
                  <a:lnTo>
                    <a:pt x="351" y="5"/>
                  </a:lnTo>
                  <a:lnTo>
                    <a:pt x="351" y="3"/>
                  </a:lnTo>
                  <a:lnTo>
                    <a:pt x="351" y="0"/>
                  </a:lnTo>
                  <a:lnTo>
                    <a:pt x="349" y="3"/>
                  </a:lnTo>
                  <a:lnTo>
                    <a:pt x="346" y="3"/>
                  </a:lnTo>
                  <a:lnTo>
                    <a:pt x="346" y="5"/>
                  </a:lnTo>
                  <a:lnTo>
                    <a:pt x="346" y="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265" name="Freeform 1884">
              <a:extLst>
                <a:ext uri="{FF2B5EF4-FFF2-40B4-BE49-F238E27FC236}">
                  <a16:creationId xmlns:a16="http://schemas.microsoft.com/office/drawing/2014/main" id="{AB265F03-71DD-EF4E-9C3A-82993AF86F31}"/>
                </a:ext>
              </a:extLst>
            </p:cNvPr>
            <p:cNvSpPr>
              <a:spLocks noEditPoints="1"/>
            </p:cNvSpPr>
            <p:nvPr/>
          </p:nvSpPr>
          <p:spPr bwMode="auto">
            <a:xfrm>
              <a:off x="6675100" y="4151177"/>
              <a:ext cx="104687" cy="286254"/>
            </a:xfrm>
            <a:custGeom>
              <a:avLst/>
              <a:gdLst>
                <a:gd name="T0" fmla="*/ 41 w 64"/>
                <a:gd name="T1" fmla="*/ 61 h 175"/>
                <a:gd name="T2" fmla="*/ 44 w 64"/>
                <a:gd name="T3" fmla="*/ 58 h 175"/>
                <a:gd name="T4" fmla="*/ 41 w 64"/>
                <a:gd name="T5" fmla="*/ 58 h 175"/>
                <a:gd name="T6" fmla="*/ 41 w 64"/>
                <a:gd name="T7" fmla="*/ 61 h 175"/>
                <a:gd name="T8" fmla="*/ 64 w 64"/>
                <a:gd name="T9" fmla="*/ 124 h 175"/>
                <a:gd name="T10" fmla="*/ 56 w 64"/>
                <a:gd name="T11" fmla="*/ 109 h 175"/>
                <a:gd name="T12" fmla="*/ 46 w 64"/>
                <a:gd name="T13" fmla="*/ 94 h 175"/>
                <a:gd name="T14" fmla="*/ 39 w 64"/>
                <a:gd name="T15" fmla="*/ 89 h 175"/>
                <a:gd name="T16" fmla="*/ 39 w 64"/>
                <a:gd name="T17" fmla="*/ 74 h 175"/>
                <a:gd name="T18" fmla="*/ 36 w 64"/>
                <a:gd name="T19" fmla="*/ 63 h 175"/>
                <a:gd name="T20" fmla="*/ 39 w 64"/>
                <a:gd name="T21" fmla="*/ 56 h 175"/>
                <a:gd name="T22" fmla="*/ 46 w 64"/>
                <a:gd name="T23" fmla="*/ 48 h 175"/>
                <a:gd name="T24" fmla="*/ 46 w 64"/>
                <a:gd name="T25" fmla="*/ 46 h 175"/>
                <a:gd name="T26" fmla="*/ 44 w 64"/>
                <a:gd name="T27" fmla="*/ 43 h 175"/>
                <a:gd name="T28" fmla="*/ 41 w 64"/>
                <a:gd name="T29" fmla="*/ 38 h 175"/>
                <a:gd name="T30" fmla="*/ 41 w 64"/>
                <a:gd name="T31" fmla="*/ 30 h 175"/>
                <a:gd name="T32" fmla="*/ 41 w 64"/>
                <a:gd name="T33" fmla="*/ 25 h 175"/>
                <a:gd name="T34" fmla="*/ 41 w 64"/>
                <a:gd name="T35" fmla="*/ 18 h 175"/>
                <a:gd name="T36" fmla="*/ 36 w 64"/>
                <a:gd name="T37" fmla="*/ 7 h 175"/>
                <a:gd name="T38" fmla="*/ 28 w 64"/>
                <a:gd name="T39" fmla="*/ 2 h 175"/>
                <a:gd name="T40" fmla="*/ 28 w 64"/>
                <a:gd name="T41" fmla="*/ 5 h 175"/>
                <a:gd name="T42" fmla="*/ 23 w 64"/>
                <a:gd name="T43" fmla="*/ 5 h 175"/>
                <a:gd name="T44" fmla="*/ 16 w 64"/>
                <a:gd name="T45" fmla="*/ 2 h 175"/>
                <a:gd name="T46" fmla="*/ 8 w 64"/>
                <a:gd name="T47" fmla="*/ 0 h 175"/>
                <a:gd name="T48" fmla="*/ 8 w 64"/>
                <a:gd name="T49" fmla="*/ 2 h 175"/>
                <a:gd name="T50" fmla="*/ 11 w 64"/>
                <a:gd name="T51" fmla="*/ 5 h 175"/>
                <a:gd name="T52" fmla="*/ 13 w 64"/>
                <a:gd name="T53" fmla="*/ 5 h 175"/>
                <a:gd name="T54" fmla="*/ 16 w 64"/>
                <a:gd name="T55" fmla="*/ 12 h 175"/>
                <a:gd name="T56" fmla="*/ 21 w 64"/>
                <a:gd name="T57" fmla="*/ 18 h 175"/>
                <a:gd name="T58" fmla="*/ 23 w 64"/>
                <a:gd name="T59" fmla="*/ 25 h 175"/>
                <a:gd name="T60" fmla="*/ 16 w 64"/>
                <a:gd name="T61" fmla="*/ 33 h 175"/>
                <a:gd name="T62" fmla="*/ 16 w 64"/>
                <a:gd name="T63" fmla="*/ 35 h 175"/>
                <a:gd name="T64" fmla="*/ 13 w 64"/>
                <a:gd name="T65" fmla="*/ 46 h 175"/>
                <a:gd name="T66" fmla="*/ 13 w 64"/>
                <a:gd name="T67" fmla="*/ 51 h 175"/>
                <a:gd name="T68" fmla="*/ 13 w 64"/>
                <a:gd name="T69" fmla="*/ 61 h 175"/>
                <a:gd name="T70" fmla="*/ 18 w 64"/>
                <a:gd name="T71" fmla="*/ 66 h 175"/>
                <a:gd name="T72" fmla="*/ 13 w 64"/>
                <a:gd name="T73" fmla="*/ 71 h 175"/>
                <a:gd name="T74" fmla="*/ 8 w 64"/>
                <a:gd name="T75" fmla="*/ 79 h 175"/>
                <a:gd name="T76" fmla="*/ 8 w 64"/>
                <a:gd name="T77" fmla="*/ 86 h 175"/>
                <a:gd name="T78" fmla="*/ 5 w 64"/>
                <a:gd name="T79" fmla="*/ 91 h 175"/>
                <a:gd name="T80" fmla="*/ 0 w 64"/>
                <a:gd name="T81" fmla="*/ 96 h 175"/>
                <a:gd name="T82" fmla="*/ 3 w 64"/>
                <a:gd name="T83" fmla="*/ 99 h 175"/>
                <a:gd name="T84" fmla="*/ 5 w 64"/>
                <a:gd name="T85" fmla="*/ 102 h 175"/>
                <a:gd name="T86" fmla="*/ 8 w 64"/>
                <a:gd name="T87" fmla="*/ 104 h 175"/>
                <a:gd name="T88" fmla="*/ 11 w 64"/>
                <a:gd name="T89" fmla="*/ 104 h 175"/>
                <a:gd name="T90" fmla="*/ 21 w 64"/>
                <a:gd name="T91" fmla="*/ 117 h 175"/>
                <a:gd name="T92" fmla="*/ 26 w 64"/>
                <a:gd name="T93" fmla="*/ 114 h 175"/>
                <a:gd name="T94" fmla="*/ 33 w 64"/>
                <a:gd name="T95" fmla="*/ 114 h 175"/>
                <a:gd name="T96" fmla="*/ 39 w 64"/>
                <a:gd name="T97" fmla="*/ 124 h 175"/>
                <a:gd name="T98" fmla="*/ 36 w 64"/>
                <a:gd name="T99" fmla="*/ 137 h 175"/>
                <a:gd name="T100" fmla="*/ 31 w 64"/>
                <a:gd name="T101" fmla="*/ 145 h 175"/>
                <a:gd name="T102" fmla="*/ 33 w 64"/>
                <a:gd name="T103" fmla="*/ 152 h 175"/>
                <a:gd name="T104" fmla="*/ 33 w 64"/>
                <a:gd name="T105" fmla="*/ 155 h 175"/>
                <a:gd name="T106" fmla="*/ 44 w 64"/>
                <a:gd name="T107" fmla="*/ 168 h 175"/>
                <a:gd name="T108" fmla="*/ 46 w 64"/>
                <a:gd name="T109" fmla="*/ 173 h 175"/>
                <a:gd name="T110" fmla="*/ 49 w 64"/>
                <a:gd name="T111" fmla="*/ 175 h 175"/>
                <a:gd name="T112" fmla="*/ 51 w 64"/>
                <a:gd name="T113" fmla="*/ 168 h 175"/>
                <a:gd name="T114" fmla="*/ 49 w 64"/>
                <a:gd name="T115" fmla="*/ 160 h 175"/>
                <a:gd name="T116" fmla="*/ 54 w 64"/>
                <a:gd name="T117" fmla="*/ 152 h 175"/>
                <a:gd name="T118" fmla="*/ 62 w 64"/>
                <a:gd name="T119" fmla="*/ 150 h 175"/>
                <a:gd name="T120" fmla="*/ 64 w 64"/>
                <a:gd name="T121" fmla="*/ 127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4" h="175">
                  <a:moveTo>
                    <a:pt x="41" y="58"/>
                  </a:moveTo>
                  <a:lnTo>
                    <a:pt x="41" y="61"/>
                  </a:lnTo>
                  <a:lnTo>
                    <a:pt x="41" y="61"/>
                  </a:lnTo>
                  <a:lnTo>
                    <a:pt x="41" y="61"/>
                  </a:lnTo>
                  <a:lnTo>
                    <a:pt x="44" y="61"/>
                  </a:lnTo>
                  <a:lnTo>
                    <a:pt x="44" y="61"/>
                  </a:lnTo>
                  <a:lnTo>
                    <a:pt x="44" y="61"/>
                  </a:lnTo>
                  <a:lnTo>
                    <a:pt x="44" y="58"/>
                  </a:lnTo>
                  <a:lnTo>
                    <a:pt x="44" y="58"/>
                  </a:lnTo>
                  <a:lnTo>
                    <a:pt x="44" y="58"/>
                  </a:lnTo>
                  <a:lnTo>
                    <a:pt x="41" y="58"/>
                  </a:lnTo>
                  <a:close/>
                  <a:moveTo>
                    <a:pt x="41" y="58"/>
                  </a:moveTo>
                  <a:lnTo>
                    <a:pt x="39" y="58"/>
                  </a:lnTo>
                  <a:lnTo>
                    <a:pt x="39" y="58"/>
                  </a:lnTo>
                  <a:lnTo>
                    <a:pt x="41" y="61"/>
                  </a:lnTo>
                  <a:lnTo>
                    <a:pt x="41" y="61"/>
                  </a:lnTo>
                  <a:lnTo>
                    <a:pt x="41" y="58"/>
                  </a:lnTo>
                  <a:lnTo>
                    <a:pt x="41" y="58"/>
                  </a:lnTo>
                  <a:lnTo>
                    <a:pt x="41" y="58"/>
                  </a:lnTo>
                  <a:close/>
                  <a:moveTo>
                    <a:pt x="64" y="124"/>
                  </a:moveTo>
                  <a:lnTo>
                    <a:pt x="64" y="124"/>
                  </a:lnTo>
                  <a:lnTo>
                    <a:pt x="64" y="119"/>
                  </a:lnTo>
                  <a:lnTo>
                    <a:pt x="62" y="114"/>
                  </a:lnTo>
                  <a:lnTo>
                    <a:pt x="56" y="109"/>
                  </a:lnTo>
                  <a:lnTo>
                    <a:pt x="54" y="107"/>
                  </a:lnTo>
                  <a:lnTo>
                    <a:pt x="51" y="102"/>
                  </a:lnTo>
                  <a:lnTo>
                    <a:pt x="49" y="96"/>
                  </a:lnTo>
                  <a:lnTo>
                    <a:pt x="46" y="94"/>
                  </a:lnTo>
                  <a:lnTo>
                    <a:pt x="44" y="94"/>
                  </a:lnTo>
                  <a:lnTo>
                    <a:pt x="41" y="91"/>
                  </a:lnTo>
                  <a:lnTo>
                    <a:pt x="39" y="91"/>
                  </a:lnTo>
                  <a:lnTo>
                    <a:pt x="39" y="89"/>
                  </a:lnTo>
                  <a:lnTo>
                    <a:pt x="39" y="86"/>
                  </a:lnTo>
                  <a:lnTo>
                    <a:pt x="39" y="84"/>
                  </a:lnTo>
                  <a:lnTo>
                    <a:pt x="39" y="79"/>
                  </a:lnTo>
                  <a:lnTo>
                    <a:pt x="39" y="74"/>
                  </a:lnTo>
                  <a:lnTo>
                    <a:pt x="39" y="71"/>
                  </a:lnTo>
                  <a:lnTo>
                    <a:pt x="36" y="68"/>
                  </a:lnTo>
                  <a:lnTo>
                    <a:pt x="36" y="63"/>
                  </a:lnTo>
                  <a:lnTo>
                    <a:pt x="36" y="63"/>
                  </a:lnTo>
                  <a:lnTo>
                    <a:pt x="36" y="61"/>
                  </a:lnTo>
                  <a:lnTo>
                    <a:pt x="39" y="58"/>
                  </a:lnTo>
                  <a:lnTo>
                    <a:pt x="39" y="56"/>
                  </a:lnTo>
                  <a:lnTo>
                    <a:pt x="39" y="56"/>
                  </a:lnTo>
                  <a:lnTo>
                    <a:pt x="41" y="51"/>
                  </a:lnTo>
                  <a:lnTo>
                    <a:pt x="41" y="51"/>
                  </a:lnTo>
                  <a:lnTo>
                    <a:pt x="41" y="48"/>
                  </a:lnTo>
                  <a:lnTo>
                    <a:pt x="46" y="48"/>
                  </a:lnTo>
                  <a:lnTo>
                    <a:pt x="49" y="48"/>
                  </a:lnTo>
                  <a:lnTo>
                    <a:pt x="49" y="48"/>
                  </a:lnTo>
                  <a:lnTo>
                    <a:pt x="46" y="46"/>
                  </a:lnTo>
                  <a:lnTo>
                    <a:pt x="46" y="46"/>
                  </a:lnTo>
                  <a:lnTo>
                    <a:pt x="46" y="43"/>
                  </a:lnTo>
                  <a:lnTo>
                    <a:pt x="44" y="43"/>
                  </a:lnTo>
                  <a:lnTo>
                    <a:pt x="44" y="43"/>
                  </a:lnTo>
                  <a:lnTo>
                    <a:pt x="44" y="43"/>
                  </a:lnTo>
                  <a:lnTo>
                    <a:pt x="44" y="40"/>
                  </a:lnTo>
                  <a:lnTo>
                    <a:pt x="44" y="40"/>
                  </a:lnTo>
                  <a:lnTo>
                    <a:pt x="41" y="38"/>
                  </a:lnTo>
                  <a:lnTo>
                    <a:pt x="41" y="38"/>
                  </a:lnTo>
                  <a:lnTo>
                    <a:pt x="41" y="38"/>
                  </a:lnTo>
                  <a:lnTo>
                    <a:pt x="41" y="35"/>
                  </a:lnTo>
                  <a:lnTo>
                    <a:pt x="41" y="33"/>
                  </a:lnTo>
                  <a:lnTo>
                    <a:pt x="41" y="30"/>
                  </a:lnTo>
                  <a:lnTo>
                    <a:pt x="41" y="30"/>
                  </a:lnTo>
                  <a:lnTo>
                    <a:pt x="41" y="28"/>
                  </a:lnTo>
                  <a:lnTo>
                    <a:pt x="41" y="25"/>
                  </a:lnTo>
                  <a:lnTo>
                    <a:pt x="41" y="25"/>
                  </a:lnTo>
                  <a:lnTo>
                    <a:pt x="41" y="23"/>
                  </a:lnTo>
                  <a:lnTo>
                    <a:pt x="41" y="23"/>
                  </a:lnTo>
                  <a:lnTo>
                    <a:pt x="41" y="20"/>
                  </a:lnTo>
                  <a:lnTo>
                    <a:pt x="41" y="18"/>
                  </a:lnTo>
                  <a:lnTo>
                    <a:pt x="39" y="15"/>
                  </a:lnTo>
                  <a:lnTo>
                    <a:pt x="39" y="15"/>
                  </a:lnTo>
                  <a:lnTo>
                    <a:pt x="39" y="12"/>
                  </a:lnTo>
                  <a:lnTo>
                    <a:pt x="36" y="7"/>
                  </a:lnTo>
                  <a:lnTo>
                    <a:pt x="36" y="7"/>
                  </a:lnTo>
                  <a:lnTo>
                    <a:pt x="31" y="2"/>
                  </a:lnTo>
                  <a:lnTo>
                    <a:pt x="28" y="2"/>
                  </a:lnTo>
                  <a:lnTo>
                    <a:pt x="28" y="2"/>
                  </a:lnTo>
                  <a:lnTo>
                    <a:pt x="28" y="2"/>
                  </a:lnTo>
                  <a:lnTo>
                    <a:pt x="28" y="5"/>
                  </a:lnTo>
                  <a:lnTo>
                    <a:pt x="28" y="5"/>
                  </a:lnTo>
                  <a:lnTo>
                    <a:pt x="28" y="5"/>
                  </a:lnTo>
                  <a:lnTo>
                    <a:pt x="28" y="5"/>
                  </a:lnTo>
                  <a:lnTo>
                    <a:pt x="26" y="5"/>
                  </a:lnTo>
                  <a:lnTo>
                    <a:pt x="26" y="5"/>
                  </a:lnTo>
                  <a:lnTo>
                    <a:pt x="23" y="5"/>
                  </a:lnTo>
                  <a:lnTo>
                    <a:pt x="21" y="5"/>
                  </a:lnTo>
                  <a:lnTo>
                    <a:pt x="18" y="5"/>
                  </a:lnTo>
                  <a:lnTo>
                    <a:pt x="18" y="5"/>
                  </a:lnTo>
                  <a:lnTo>
                    <a:pt x="16" y="2"/>
                  </a:lnTo>
                  <a:lnTo>
                    <a:pt x="13" y="2"/>
                  </a:lnTo>
                  <a:lnTo>
                    <a:pt x="13" y="2"/>
                  </a:lnTo>
                  <a:lnTo>
                    <a:pt x="8" y="0"/>
                  </a:lnTo>
                  <a:lnTo>
                    <a:pt x="8" y="0"/>
                  </a:lnTo>
                  <a:lnTo>
                    <a:pt x="8" y="0"/>
                  </a:lnTo>
                  <a:lnTo>
                    <a:pt x="8" y="0"/>
                  </a:lnTo>
                  <a:lnTo>
                    <a:pt x="8" y="2"/>
                  </a:lnTo>
                  <a:lnTo>
                    <a:pt x="8" y="2"/>
                  </a:lnTo>
                  <a:lnTo>
                    <a:pt x="8" y="5"/>
                  </a:lnTo>
                  <a:lnTo>
                    <a:pt x="11" y="5"/>
                  </a:lnTo>
                  <a:lnTo>
                    <a:pt x="11" y="5"/>
                  </a:lnTo>
                  <a:lnTo>
                    <a:pt x="11" y="5"/>
                  </a:lnTo>
                  <a:lnTo>
                    <a:pt x="11" y="5"/>
                  </a:lnTo>
                  <a:lnTo>
                    <a:pt x="13" y="5"/>
                  </a:lnTo>
                  <a:lnTo>
                    <a:pt x="13" y="5"/>
                  </a:lnTo>
                  <a:lnTo>
                    <a:pt x="13" y="5"/>
                  </a:lnTo>
                  <a:lnTo>
                    <a:pt x="13" y="7"/>
                  </a:lnTo>
                  <a:lnTo>
                    <a:pt x="16" y="10"/>
                  </a:lnTo>
                  <a:lnTo>
                    <a:pt x="16" y="10"/>
                  </a:lnTo>
                  <a:lnTo>
                    <a:pt x="16" y="12"/>
                  </a:lnTo>
                  <a:lnTo>
                    <a:pt x="16" y="15"/>
                  </a:lnTo>
                  <a:lnTo>
                    <a:pt x="18" y="15"/>
                  </a:lnTo>
                  <a:lnTo>
                    <a:pt x="18" y="18"/>
                  </a:lnTo>
                  <a:lnTo>
                    <a:pt x="21" y="18"/>
                  </a:lnTo>
                  <a:lnTo>
                    <a:pt x="21" y="20"/>
                  </a:lnTo>
                  <a:lnTo>
                    <a:pt x="21" y="23"/>
                  </a:lnTo>
                  <a:lnTo>
                    <a:pt x="21" y="25"/>
                  </a:lnTo>
                  <a:lnTo>
                    <a:pt x="23" y="25"/>
                  </a:lnTo>
                  <a:lnTo>
                    <a:pt x="23" y="28"/>
                  </a:lnTo>
                  <a:lnTo>
                    <a:pt x="18" y="30"/>
                  </a:lnTo>
                  <a:lnTo>
                    <a:pt x="18" y="30"/>
                  </a:lnTo>
                  <a:lnTo>
                    <a:pt x="16" y="33"/>
                  </a:lnTo>
                  <a:lnTo>
                    <a:pt x="16" y="33"/>
                  </a:lnTo>
                  <a:lnTo>
                    <a:pt x="13" y="33"/>
                  </a:lnTo>
                  <a:lnTo>
                    <a:pt x="13" y="33"/>
                  </a:lnTo>
                  <a:lnTo>
                    <a:pt x="16" y="35"/>
                  </a:lnTo>
                  <a:lnTo>
                    <a:pt x="16" y="38"/>
                  </a:lnTo>
                  <a:lnTo>
                    <a:pt x="16" y="40"/>
                  </a:lnTo>
                  <a:lnTo>
                    <a:pt x="16" y="40"/>
                  </a:lnTo>
                  <a:lnTo>
                    <a:pt x="13" y="46"/>
                  </a:lnTo>
                  <a:lnTo>
                    <a:pt x="13" y="46"/>
                  </a:lnTo>
                  <a:lnTo>
                    <a:pt x="13" y="48"/>
                  </a:lnTo>
                  <a:lnTo>
                    <a:pt x="13" y="48"/>
                  </a:lnTo>
                  <a:lnTo>
                    <a:pt x="13" y="51"/>
                  </a:lnTo>
                  <a:lnTo>
                    <a:pt x="16" y="51"/>
                  </a:lnTo>
                  <a:lnTo>
                    <a:pt x="16" y="53"/>
                  </a:lnTo>
                  <a:lnTo>
                    <a:pt x="16" y="56"/>
                  </a:lnTo>
                  <a:lnTo>
                    <a:pt x="13" y="61"/>
                  </a:lnTo>
                  <a:lnTo>
                    <a:pt x="16" y="66"/>
                  </a:lnTo>
                  <a:lnTo>
                    <a:pt x="16" y="66"/>
                  </a:lnTo>
                  <a:lnTo>
                    <a:pt x="18" y="66"/>
                  </a:lnTo>
                  <a:lnTo>
                    <a:pt x="18" y="66"/>
                  </a:lnTo>
                  <a:lnTo>
                    <a:pt x="18" y="68"/>
                  </a:lnTo>
                  <a:lnTo>
                    <a:pt x="16" y="68"/>
                  </a:lnTo>
                  <a:lnTo>
                    <a:pt x="16" y="71"/>
                  </a:lnTo>
                  <a:lnTo>
                    <a:pt x="13" y="71"/>
                  </a:lnTo>
                  <a:lnTo>
                    <a:pt x="8" y="74"/>
                  </a:lnTo>
                  <a:lnTo>
                    <a:pt x="8" y="74"/>
                  </a:lnTo>
                  <a:lnTo>
                    <a:pt x="8" y="76"/>
                  </a:lnTo>
                  <a:lnTo>
                    <a:pt x="8" y="79"/>
                  </a:lnTo>
                  <a:lnTo>
                    <a:pt x="8" y="79"/>
                  </a:lnTo>
                  <a:lnTo>
                    <a:pt x="8" y="81"/>
                  </a:lnTo>
                  <a:lnTo>
                    <a:pt x="8" y="84"/>
                  </a:lnTo>
                  <a:lnTo>
                    <a:pt x="8" y="86"/>
                  </a:lnTo>
                  <a:lnTo>
                    <a:pt x="8" y="86"/>
                  </a:lnTo>
                  <a:lnTo>
                    <a:pt x="5" y="86"/>
                  </a:lnTo>
                  <a:lnTo>
                    <a:pt x="5" y="89"/>
                  </a:lnTo>
                  <a:lnTo>
                    <a:pt x="5" y="91"/>
                  </a:lnTo>
                  <a:lnTo>
                    <a:pt x="3" y="94"/>
                  </a:lnTo>
                  <a:lnTo>
                    <a:pt x="3" y="94"/>
                  </a:lnTo>
                  <a:lnTo>
                    <a:pt x="0" y="94"/>
                  </a:lnTo>
                  <a:lnTo>
                    <a:pt x="0" y="96"/>
                  </a:lnTo>
                  <a:lnTo>
                    <a:pt x="3" y="96"/>
                  </a:lnTo>
                  <a:lnTo>
                    <a:pt x="3" y="96"/>
                  </a:lnTo>
                  <a:lnTo>
                    <a:pt x="3" y="96"/>
                  </a:lnTo>
                  <a:lnTo>
                    <a:pt x="3" y="99"/>
                  </a:lnTo>
                  <a:lnTo>
                    <a:pt x="3" y="99"/>
                  </a:lnTo>
                  <a:lnTo>
                    <a:pt x="3" y="99"/>
                  </a:lnTo>
                  <a:lnTo>
                    <a:pt x="5" y="99"/>
                  </a:lnTo>
                  <a:lnTo>
                    <a:pt x="5" y="102"/>
                  </a:lnTo>
                  <a:lnTo>
                    <a:pt x="8" y="104"/>
                  </a:lnTo>
                  <a:lnTo>
                    <a:pt x="8" y="104"/>
                  </a:lnTo>
                  <a:lnTo>
                    <a:pt x="8" y="104"/>
                  </a:lnTo>
                  <a:lnTo>
                    <a:pt x="8" y="104"/>
                  </a:lnTo>
                  <a:lnTo>
                    <a:pt x="8" y="104"/>
                  </a:lnTo>
                  <a:lnTo>
                    <a:pt x="11" y="104"/>
                  </a:lnTo>
                  <a:lnTo>
                    <a:pt x="11" y="102"/>
                  </a:lnTo>
                  <a:lnTo>
                    <a:pt x="11" y="104"/>
                  </a:lnTo>
                  <a:lnTo>
                    <a:pt x="13" y="104"/>
                  </a:lnTo>
                  <a:lnTo>
                    <a:pt x="16" y="112"/>
                  </a:lnTo>
                  <a:lnTo>
                    <a:pt x="18" y="114"/>
                  </a:lnTo>
                  <a:lnTo>
                    <a:pt x="21" y="117"/>
                  </a:lnTo>
                  <a:lnTo>
                    <a:pt x="21" y="117"/>
                  </a:lnTo>
                  <a:lnTo>
                    <a:pt x="21" y="117"/>
                  </a:lnTo>
                  <a:lnTo>
                    <a:pt x="23" y="117"/>
                  </a:lnTo>
                  <a:lnTo>
                    <a:pt x="26" y="114"/>
                  </a:lnTo>
                  <a:lnTo>
                    <a:pt x="28" y="114"/>
                  </a:lnTo>
                  <a:lnTo>
                    <a:pt x="28" y="114"/>
                  </a:lnTo>
                  <a:lnTo>
                    <a:pt x="31" y="114"/>
                  </a:lnTo>
                  <a:lnTo>
                    <a:pt x="33" y="114"/>
                  </a:lnTo>
                  <a:lnTo>
                    <a:pt x="33" y="114"/>
                  </a:lnTo>
                  <a:lnTo>
                    <a:pt x="36" y="117"/>
                  </a:lnTo>
                  <a:lnTo>
                    <a:pt x="39" y="122"/>
                  </a:lnTo>
                  <a:lnTo>
                    <a:pt x="39" y="124"/>
                  </a:lnTo>
                  <a:lnTo>
                    <a:pt x="39" y="127"/>
                  </a:lnTo>
                  <a:lnTo>
                    <a:pt x="39" y="130"/>
                  </a:lnTo>
                  <a:lnTo>
                    <a:pt x="36" y="135"/>
                  </a:lnTo>
                  <a:lnTo>
                    <a:pt x="36" y="137"/>
                  </a:lnTo>
                  <a:lnTo>
                    <a:pt x="33" y="140"/>
                  </a:lnTo>
                  <a:lnTo>
                    <a:pt x="33" y="142"/>
                  </a:lnTo>
                  <a:lnTo>
                    <a:pt x="31" y="145"/>
                  </a:lnTo>
                  <a:lnTo>
                    <a:pt x="31" y="145"/>
                  </a:lnTo>
                  <a:lnTo>
                    <a:pt x="31" y="147"/>
                  </a:lnTo>
                  <a:lnTo>
                    <a:pt x="31" y="147"/>
                  </a:lnTo>
                  <a:lnTo>
                    <a:pt x="33" y="150"/>
                  </a:lnTo>
                  <a:lnTo>
                    <a:pt x="33" y="152"/>
                  </a:lnTo>
                  <a:lnTo>
                    <a:pt x="33" y="152"/>
                  </a:lnTo>
                  <a:lnTo>
                    <a:pt x="33" y="155"/>
                  </a:lnTo>
                  <a:lnTo>
                    <a:pt x="33" y="155"/>
                  </a:lnTo>
                  <a:lnTo>
                    <a:pt x="33" y="155"/>
                  </a:lnTo>
                  <a:lnTo>
                    <a:pt x="36" y="158"/>
                  </a:lnTo>
                  <a:lnTo>
                    <a:pt x="39" y="160"/>
                  </a:lnTo>
                  <a:lnTo>
                    <a:pt x="41" y="163"/>
                  </a:lnTo>
                  <a:lnTo>
                    <a:pt x="44" y="168"/>
                  </a:lnTo>
                  <a:lnTo>
                    <a:pt x="46" y="168"/>
                  </a:lnTo>
                  <a:lnTo>
                    <a:pt x="46" y="168"/>
                  </a:lnTo>
                  <a:lnTo>
                    <a:pt x="49" y="170"/>
                  </a:lnTo>
                  <a:lnTo>
                    <a:pt x="46" y="173"/>
                  </a:lnTo>
                  <a:lnTo>
                    <a:pt x="46" y="173"/>
                  </a:lnTo>
                  <a:lnTo>
                    <a:pt x="46" y="175"/>
                  </a:lnTo>
                  <a:lnTo>
                    <a:pt x="46" y="175"/>
                  </a:lnTo>
                  <a:lnTo>
                    <a:pt x="49" y="175"/>
                  </a:lnTo>
                  <a:lnTo>
                    <a:pt x="49" y="175"/>
                  </a:lnTo>
                  <a:lnTo>
                    <a:pt x="51" y="175"/>
                  </a:lnTo>
                  <a:lnTo>
                    <a:pt x="51" y="175"/>
                  </a:lnTo>
                  <a:lnTo>
                    <a:pt x="51" y="168"/>
                  </a:lnTo>
                  <a:lnTo>
                    <a:pt x="51" y="165"/>
                  </a:lnTo>
                  <a:lnTo>
                    <a:pt x="49" y="163"/>
                  </a:lnTo>
                  <a:lnTo>
                    <a:pt x="49" y="163"/>
                  </a:lnTo>
                  <a:lnTo>
                    <a:pt x="49" y="160"/>
                  </a:lnTo>
                  <a:lnTo>
                    <a:pt x="51" y="158"/>
                  </a:lnTo>
                  <a:lnTo>
                    <a:pt x="51" y="155"/>
                  </a:lnTo>
                  <a:lnTo>
                    <a:pt x="51" y="155"/>
                  </a:lnTo>
                  <a:lnTo>
                    <a:pt x="54" y="152"/>
                  </a:lnTo>
                  <a:lnTo>
                    <a:pt x="59" y="152"/>
                  </a:lnTo>
                  <a:lnTo>
                    <a:pt x="59" y="152"/>
                  </a:lnTo>
                  <a:lnTo>
                    <a:pt x="62" y="150"/>
                  </a:lnTo>
                  <a:lnTo>
                    <a:pt x="62" y="150"/>
                  </a:lnTo>
                  <a:lnTo>
                    <a:pt x="62" y="142"/>
                  </a:lnTo>
                  <a:lnTo>
                    <a:pt x="64" y="137"/>
                  </a:lnTo>
                  <a:lnTo>
                    <a:pt x="62" y="132"/>
                  </a:lnTo>
                  <a:lnTo>
                    <a:pt x="64" y="127"/>
                  </a:lnTo>
                  <a:lnTo>
                    <a:pt x="64" y="124"/>
                  </a:lnTo>
                  <a:close/>
                </a:path>
              </a:pathLst>
            </a:custGeom>
            <a:solidFill>
              <a:srgbClr val="FFC000"/>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266" name="Freeform 1885">
              <a:extLst>
                <a:ext uri="{FF2B5EF4-FFF2-40B4-BE49-F238E27FC236}">
                  <a16:creationId xmlns:a16="http://schemas.microsoft.com/office/drawing/2014/main" id="{F09A4043-D5D8-C04D-BB17-2ED5CE4D0628}"/>
                </a:ext>
              </a:extLst>
            </p:cNvPr>
            <p:cNvSpPr>
              <a:spLocks noEditPoints="1"/>
            </p:cNvSpPr>
            <p:nvPr/>
          </p:nvSpPr>
          <p:spPr bwMode="auto">
            <a:xfrm>
              <a:off x="7008790" y="4250957"/>
              <a:ext cx="246997" cy="498900"/>
            </a:xfrm>
            <a:custGeom>
              <a:avLst/>
              <a:gdLst>
                <a:gd name="T0" fmla="*/ 138 w 151"/>
                <a:gd name="T1" fmla="*/ 104 h 305"/>
                <a:gd name="T2" fmla="*/ 110 w 151"/>
                <a:gd name="T3" fmla="*/ 25 h 305"/>
                <a:gd name="T4" fmla="*/ 110 w 151"/>
                <a:gd name="T5" fmla="*/ 30 h 305"/>
                <a:gd name="T6" fmla="*/ 146 w 151"/>
                <a:gd name="T7" fmla="*/ 43 h 305"/>
                <a:gd name="T8" fmla="*/ 140 w 151"/>
                <a:gd name="T9" fmla="*/ 18 h 305"/>
                <a:gd name="T10" fmla="*/ 130 w 151"/>
                <a:gd name="T11" fmla="*/ 2 h 305"/>
                <a:gd name="T12" fmla="*/ 125 w 151"/>
                <a:gd name="T13" fmla="*/ 5 h 305"/>
                <a:gd name="T14" fmla="*/ 120 w 151"/>
                <a:gd name="T15" fmla="*/ 13 h 305"/>
                <a:gd name="T16" fmla="*/ 115 w 151"/>
                <a:gd name="T17" fmla="*/ 30 h 305"/>
                <a:gd name="T18" fmla="*/ 107 w 151"/>
                <a:gd name="T19" fmla="*/ 35 h 305"/>
                <a:gd name="T20" fmla="*/ 100 w 151"/>
                <a:gd name="T21" fmla="*/ 38 h 305"/>
                <a:gd name="T22" fmla="*/ 102 w 151"/>
                <a:gd name="T23" fmla="*/ 43 h 305"/>
                <a:gd name="T24" fmla="*/ 100 w 151"/>
                <a:gd name="T25" fmla="*/ 58 h 305"/>
                <a:gd name="T26" fmla="*/ 92 w 151"/>
                <a:gd name="T27" fmla="*/ 66 h 305"/>
                <a:gd name="T28" fmla="*/ 92 w 151"/>
                <a:gd name="T29" fmla="*/ 61 h 305"/>
                <a:gd name="T30" fmla="*/ 87 w 151"/>
                <a:gd name="T31" fmla="*/ 61 h 305"/>
                <a:gd name="T32" fmla="*/ 84 w 151"/>
                <a:gd name="T33" fmla="*/ 71 h 305"/>
                <a:gd name="T34" fmla="*/ 82 w 151"/>
                <a:gd name="T35" fmla="*/ 76 h 305"/>
                <a:gd name="T36" fmla="*/ 74 w 151"/>
                <a:gd name="T37" fmla="*/ 74 h 305"/>
                <a:gd name="T38" fmla="*/ 67 w 151"/>
                <a:gd name="T39" fmla="*/ 84 h 305"/>
                <a:gd name="T40" fmla="*/ 64 w 151"/>
                <a:gd name="T41" fmla="*/ 84 h 305"/>
                <a:gd name="T42" fmla="*/ 54 w 151"/>
                <a:gd name="T43" fmla="*/ 84 h 305"/>
                <a:gd name="T44" fmla="*/ 51 w 151"/>
                <a:gd name="T45" fmla="*/ 89 h 305"/>
                <a:gd name="T46" fmla="*/ 44 w 151"/>
                <a:gd name="T47" fmla="*/ 89 h 305"/>
                <a:gd name="T48" fmla="*/ 31 w 151"/>
                <a:gd name="T49" fmla="*/ 94 h 305"/>
                <a:gd name="T50" fmla="*/ 28 w 151"/>
                <a:gd name="T51" fmla="*/ 104 h 305"/>
                <a:gd name="T52" fmla="*/ 18 w 151"/>
                <a:gd name="T53" fmla="*/ 132 h 305"/>
                <a:gd name="T54" fmla="*/ 23 w 151"/>
                <a:gd name="T55" fmla="*/ 152 h 305"/>
                <a:gd name="T56" fmla="*/ 26 w 151"/>
                <a:gd name="T57" fmla="*/ 170 h 305"/>
                <a:gd name="T58" fmla="*/ 21 w 151"/>
                <a:gd name="T59" fmla="*/ 188 h 305"/>
                <a:gd name="T60" fmla="*/ 10 w 151"/>
                <a:gd name="T61" fmla="*/ 206 h 305"/>
                <a:gd name="T62" fmla="*/ 3 w 151"/>
                <a:gd name="T63" fmla="*/ 219 h 305"/>
                <a:gd name="T64" fmla="*/ 0 w 151"/>
                <a:gd name="T65" fmla="*/ 226 h 305"/>
                <a:gd name="T66" fmla="*/ 0 w 151"/>
                <a:gd name="T67" fmla="*/ 244 h 305"/>
                <a:gd name="T68" fmla="*/ 8 w 151"/>
                <a:gd name="T69" fmla="*/ 259 h 305"/>
                <a:gd name="T70" fmla="*/ 5 w 151"/>
                <a:gd name="T71" fmla="*/ 277 h 305"/>
                <a:gd name="T72" fmla="*/ 10 w 151"/>
                <a:gd name="T73" fmla="*/ 290 h 305"/>
                <a:gd name="T74" fmla="*/ 18 w 151"/>
                <a:gd name="T75" fmla="*/ 298 h 305"/>
                <a:gd name="T76" fmla="*/ 31 w 151"/>
                <a:gd name="T77" fmla="*/ 305 h 305"/>
                <a:gd name="T78" fmla="*/ 49 w 151"/>
                <a:gd name="T79" fmla="*/ 300 h 305"/>
                <a:gd name="T80" fmla="*/ 69 w 151"/>
                <a:gd name="T81" fmla="*/ 295 h 305"/>
                <a:gd name="T82" fmla="*/ 77 w 151"/>
                <a:gd name="T83" fmla="*/ 277 h 305"/>
                <a:gd name="T84" fmla="*/ 82 w 151"/>
                <a:gd name="T85" fmla="*/ 262 h 305"/>
                <a:gd name="T86" fmla="*/ 92 w 151"/>
                <a:gd name="T87" fmla="*/ 234 h 305"/>
                <a:gd name="T88" fmla="*/ 110 w 151"/>
                <a:gd name="T89" fmla="*/ 183 h 305"/>
                <a:gd name="T90" fmla="*/ 123 w 151"/>
                <a:gd name="T91" fmla="*/ 147 h 305"/>
                <a:gd name="T92" fmla="*/ 128 w 151"/>
                <a:gd name="T93" fmla="*/ 117 h 305"/>
                <a:gd name="T94" fmla="*/ 135 w 151"/>
                <a:gd name="T95" fmla="*/ 107 h 305"/>
                <a:gd name="T96" fmla="*/ 135 w 151"/>
                <a:gd name="T97" fmla="*/ 94 h 305"/>
                <a:gd name="T98" fmla="*/ 135 w 151"/>
                <a:gd name="T99" fmla="*/ 84 h 305"/>
                <a:gd name="T100" fmla="*/ 138 w 151"/>
                <a:gd name="T101" fmla="*/ 76 h 305"/>
                <a:gd name="T102" fmla="*/ 143 w 151"/>
                <a:gd name="T103" fmla="*/ 89 h 305"/>
                <a:gd name="T104" fmla="*/ 151 w 151"/>
                <a:gd name="T105" fmla="*/ 74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1" h="305">
                  <a:moveTo>
                    <a:pt x="135" y="109"/>
                  </a:moveTo>
                  <a:lnTo>
                    <a:pt x="135" y="114"/>
                  </a:lnTo>
                  <a:lnTo>
                    <a:pt x="138" y="109"/>
                  </a:lnTo>
                  <a:lnTo>
                    <a:pt x="140" y="104"/>
                  </a:lnTo>
                  <a:lnTo>
                    <a:pt x="138" y="104"/>
                  </a:lnTo>
                  <a:lnTo>
                    <a:pt x="135" y="109"/>
                  </a:lnTo>
                  <a:close/>
                  <a:moveTo>
                    <a:pt x="110" y="30"/>
                  </a:moveTo>
                  <a:lnTo>
                    <a:pt x="110" y="28"/>
                  </a:lnTo>
                  <a:lnTo>
                    <a:pt x="110" y="28"/>
                  </a:lnTo>
                  <a:lnTo>
                    <a:pt x="110" y="25"/>
                  </a:lnTo>
                  <a:lnTo>
                    <a:pt x="107" y="25"/>
                  </a:lnTo>
                  <a:lnTo>
                    <a:pt x="107" y="25"/>
                  </a:lnTo>
                  <a:lnTo>
                    <a:pt x="107" y="25"/>
                  </a:lnTo>
                  <a:lnTo>
                    <a:pt x="107" y="30"/>
                  </a:lnTo>
                  <a:lnTo>
                    <a:pt x="110" y="30"/>
                  </a:lnTo>
                  <a:close/>
                  <a:moveTo>
                    <a:pt x="151" y="69"/>
                  </a:moveTo>
                  <a:lnTo>
                    <a:pt x="148" y="63"/>
                  </a:lnTo>
                  <a:lnTo>
                    <a:pt x="146" y="61"/>
                  </a:lnTo>
                  <a:lnTo>
                    <a:pt x="146" y="56"/>
                  </a:lnTo>
                  <a:lnTo>
                    <a:pt x="146" y="43"/>
                  </a:lnTo>
                  <a:lnTo>
                    <a:pt x="143" y="33"/>
                  </a:lnTo>
                  <a:lnTo>
                    <a:pt x="143" y="28"/>
                  </a:lnTo>
                  <a:lnTo>
                    <a:pt x="143" y="23"/>
                  </a:lnTo>
                  <a:lnTo>
                    <a:pt x="140" y="20"/>
                  </a:lnTo>
                  <a:lnTo>
                    <a:pt x="140" y="18"/>
                  </a:lnTo>
                  <a:lnTo>
                    <a:pt x="135" y="13"/>
                  </a:lnTo>
                  <a:lnTo>
                    <a:pt x="135" y="10"/>
                  </a:lnTo>
                  <a:lnTo>
                    <a:pt x="135" y="7"/>
                  </a:lnTo>
                  <a:lnTo>
                    <a:pt x="133" y="5"/>
                  </a:lnTo>
                  <a:lnTo>
                    <a:pt x="130" y="2"/>
                  </a:lnTo>
                  <a:lnTo>
                    <a:pt x="130" y="2"/>
                  </a:lnTo>
                  <a:lnTo>
                    <a:pt x="130" y="0"/>
                  </a:lnTo>
                  <a:lnTo>
                    <a:pt x="130" y="0"/>
                  </a:lnTo>
                  <a:lnTo>
                    <a:pt x="128" y="0"/>
                  </a:lnTo>
                  <a:lnTo>
                    <a:pt x="125" y="5"/>
                  </a:lnTo>
                  <a:lnTo>
                    <a:pt x="123" y="7"/>
                  </a:lnTo>
                  <a:lnTo>
                    <a:pt x="123" y="7"/>
                  </a:lnTo>
                  <a:lnTo>
                    <a:pt x="120" y="7"/>
                  </a:lnTo>
                  <a:lnTo>
                    <a:pt x="120" y="7"/>
                  </a:lnTo>
                  <a:lnTo>
                    <a:pt x="120" y="13"/>
                  </a:lnTo>
                  <a:lnTo>
                    <a:pt x="123" y="15"/>
                  </a:lnTo>
                  <a:lnTo>
                    <a:pt x="123" y="18"/>
                  </a:lnTo>
                  <a:lnTo>
                    <a:pt x="123" y="20"/>
                  </a:lnTo>
                  <a:lnTo>
                    <a:pt x="120" y="25"/>
                  </a:lnTo>
                  <a:lnTo>
                    <a:pt x="115" y="30"/>
                  </a:lnTo>
                  <a:lnTo>
                    <a:pt x="112" y="30"/>
                  </a:lnTo>
                  <a:lnTo>
                    <a:pt x="110" y="33"/>
                  </a:lnTo>
                  <a:lnTo>
                    <a:pt x="110" y="35"/>
                  </a:lnTo>
                  <a:lnTo>
                    <a:pt x="107" y="38"/>
                  </a:lnTo>
                  <a:lnTo>
                    <a:pt x="107" y="35"/>
                  </a:lnTo>
                  <a:lnTo>
                    <a:pt x="105" y="35"/>
                  </a:lnTo>
                  <a:lnTo>
                    <a:pt x="105" y="33"/>
                  </a:lnTo>
                  <a:lnTo>
                    <a:pt x="102" y="35"/>
                  </a:lnTo>
                  <a:lnTo>
                    <a:pt x="102" y="35"/>
                  </a:lnTo>
                  <a:lnTo>
                    <a:pt x="100" y="38"/>
                  </a:lnTo>
                  <a:lnTo>
                    <a:pt x="100" y="38"/>
                  </a:lnTo>
                  <a:lnTo>
                    <a:pt x="100" y="41"/>
                  </a:lnTo>
                  <a:lnTo>
                    <a:pt x="102" y="43"/>
                  </a:lnTo>
                  <a:lnTo>
                    <a:pt x="102" y="43"/>
                  </a:lnTo>
                  <a:lnTo>
                    <a:pt x="102" y="43"/>
                  </a:lnTo>
                  <a:lnTo>
                    <a:pt x="102" y="46"/>
                  </a:lnTo>
                  <a:lnTo>
                    <a:pt x="97" y="51"/>
                  </a:lnTo>
                  <a:lnTo>
                    <a:pt x="97" y="56"/>
                  </a:lnTo>
                  <a:lnTo>
                    <a:pt x="102" y="58"/>
                  </a:lnTo>
                  <a:lnTo>
                    <a:pt x="100" y="58"/>
                  </a:lnTo>
                  <a:lnTo>
                    <a:pt x="97" y="58"/>
                  </a:lnTo>
                  <a:lnTo>
                    <a:pt x="97" y="58"/>
                  </a:lnTo>
                  <a:lnTo>
                    <a:pt x="95" y="61"/>
                  </a:lnTo>
                  <a:lnTo>
                    <a:pt x="95" y="63"/>
                  </a:lnTo>
                  <a:lnTo>
                    <a:pt x="92" y="66"/>
                  </a:lnTo>
                  <a:lnTo>
                    <a:pt x="92" y="66"/>
                  </a:lnTo>
                  <a:lnTo>
                    <a:pt x="89" y="66"/>
                  </a:lnTo>
                  <a:lnTo>
                    <a:pt x="89" y="63"/>
                  </a:lnTo>
                  <a:lnTo>
                    <a:pt x="92" y="63"/>
                  </a:lnTo>
                  <a:lnTo>
                    <a:pt x="92" y="61"/>
                  </a:lnTo>
                  <a:lnTo>
                    <a:pt x="92" y="61"/>
                  </a:lnTo>
                  <a:lnTo>
                    <a:pt x="92" y="58"/>
                  </a:lnTo>
                  <a:lnTo>
                    <a:pt x="89" y="58"/>
                  </a:lnTo>
                  <a:lnTo>
                    <a:pt x="89" y="61"/>
                  </a:lnTo>
                  <a:lnTo>
                    <a:pt x="87" y="61"/>
                  </a:lnTo>
                  <a:lnTo>
                    <a:pt x="87" y="63"/>
                  </a:lnTo>
                  <a:lnTo>
                    <a:pt x="84" y="66"/>
                  </a:lnTo>
                  <a:lnTo>
                    <a:pt x="84" y="69"/>
                  </a:lnTo>
                  <a:lnTo>
                    <a:pt x="84" y="71"/>
                  </a:lnTo>
                  <a:lnTo>
                    <a:pt x="84" y="71"/>
                  </a:lnTo>
                  <a:lnTo>
                    <a:pt x="84" y="74"/>
                  </a:lnTo>
                  <a:lnTo>
                    <a:pt x="84" y="74"/>
                  </a:lnTo>
                  <a:lnTo>
                    <a:pt x="82" y="76"/>
                  </a:lnTo>
                  <a:lnTo>
                    <a:pt x="82" y="76"/>
                  </a:lnTo>
                  <a:lnTo>
                    <a:pt x="82" y="76"/>
                  </a:lnTo>
                  <a:lnTo>
                    <a:pt x="82" y="76"/>
                  </a:lnTo>
                  <a:lnTo>
                    <a:pt x="82" y="71"/>
                  </a:lnTo>
                  <a:lnTo>
                    <a:pt x="79" y="71"/>
                  </a:lnTo>
                  <a:lnTo>
                    <a:pt x="79" y="71"/>
                  </a:lnTo>
                  <a:lnTo>
                    <a:pt x="74" y="74"/>
                  </a:lnTo>
                  <a:lnTo>
                    <a:pt x="72" y="79"/>
                  </a:lnTo>
                  <a:lnTo>
                    <a:pt x="69" y="79"/>
                  </a:lnTo>
                  <a:lnTo>
                    <a:pt x="67" y="81"/>
                  </a:lnTo>
                  <a:lnTo>
                    <a:pt x="67" y="84"/>
                  </a:lnTo>
                  <a:lnTo>
                    <a:pt x="67" y="84"/>
                  </a:lnTo>
                  <a:lnTo>
                    <a:pt x="69" y="86"/>
                  </a:lnTo>
                  <a:lnTo>
                    <a:pt x="69" y="86"/>
                  </a:lnTo>
                  <a:lnTo>
                    <a:pt x="67" y="86"/>
                  </a:lnTo>
                  <a:lnTo>
                    <a:pt x="67" y="86"/>
                  </a:lnTo>
                  <a:lnTo>
                    <a:pt x="64" y="84"/>
                  </a:lnTo>
                  <a:lnTo>
                    <a:pt x="64" y="84"/>
                  </a:lnTo>
                  <a:lnTo>
                    <a:pt x="61" y="84"/>
                  </a:lnTo>
                  <a:lnTo>
                    <a:pt x="59" y="84"/>
                  </a:lnTo>
                  <a:lnTo>
                    <a:pt x="54" y="84"/>
                  </a:lnTo>
                  <a:lnTo>
                    <a:pt x="54" y="84"/>
                  </a:lnTo>
                  <a:lnTo>
                    <a:pt x="54" y="86"/>
                  </a:lnTo>
                  <a:lnTo>
                    <a:pt x="54" y="86"/>
                  </a:lnTo>
                  <a:lnTo>
                    <a:pt x="54" y="89"/>
                  </a:lnTo>
                  <a:lnTo>
                    <a:pt x="51" y="89"/>
                  </a:lnTo>
                  <a:lnTo>
                    <a:pt x="51" y="89"/>
                  </a:lnTo>
                  <a:lnTo>
                    <a:pt x="49" y="89"/>
                  </a:lnTo>
                  <a:lnTo>
                    <a:pt x="46" y="89"/>
                  </a:lnTo>
                  <a:lnTo>
                    <a:pt x="46" y="89"/>
                  </a:lnTo>
                  <a:lnTo>
                    <a:pt x="46" y="86"/>
                  </a:lnTo>
                  <a:lnTo>
                    <a:pt x="44" y="89"/>
                  </a:lnTo>
                  <a:lnTo>
                    <a:pt x="41" y="91"/>
                  </a:lnTo>
                  <a:lnTo>
                    <a:pt x="38" y="91"/>
                  </a:lnTo>
                  <a:lnTo>
                    <a:pt x="38" y="91"/>
                  </a:lnTo>
                  <a:lnTo>
                    <a:pt x="31" y="94"/>
                  </a:lnTo>
                  <a:lnTo>
                    <a:pt x="31" y="94"/>
                  </a:lnTo>
                  <a:lnTo>
                    <a:pt x="28" y="94"/>
                  </a:lnTo>
                  <a:lnTo>
                    <a:pt x="28" y="94"/>
                  </a:lnTo>
                  <a:lnTo>
                    <a:pt x="28" y="99"/>
                  </a:lnTo>
                  <a:lnTo>
                    <a:pt x="28" y="102"/>
                  </a:lnTo>
                  <a:lnTo>
                    <a:pt x="28" y="104"/>
                  </a:lnTo>
                  <a:lnTo>
                    <a:pt x="18" y="119"/>
                  </a:lnTo>
                  <a:lnTo>
                    <a:pt x="18" y="124"/>
                  </a:lnTo>
                  <a:lnTo>
                    <a:pt x="18" y="127"/>
                  </a:lnTo>
                  <a:lnTo>
                    <a:pt x="18" y="130"/>
                  </a:lnTo>
                  <a:lnTo>
                    <a:pt x="18" y="132"/>
                  </a:lnTo>
                  <a:lnTo>
                    <a:pt x="18" y="140"/>
                  </a:lnTo>
                  <a:lnTo>
                    <a:pt x="21" y="145"/>
                  </a:lnTo>
                  <a:lnTo>
                    <a:pt x="21" y="147"/>
                  </a:lnTo>
                  <a:lnTo>
                    <a:pt x="23" y="150"/>
                  </a:lnTo>
                  <a:lnTo>
                    <a:pt x="23" y="152"/>
                  </a:lnTo>
                  <a:lnTo>
                    <a:pt x="23" y="158"/>
                  </a:lnTo>
                  <a:lnTo>
                    <a:pt x="23" y="158"/>
                  </a:lnTo>
                  <a:lnTo>
                    <a:pt x="26" y="163"/>
                  </a:lnTo>
                  <a:lnTo>
                    <a:pt x="26" y="165"/>
                  </a:lnTo>
                  <a:lnTo>
                    <a:pt x="26" y="170"/>
                  </a:lnTo>
                  <a:lnTo>
                    <a:pt x="26" y="173"/>
                  </a:lnTo>
                  <a:lnTo>
                    <a:pt x="26" y="178"/>
                  </a:lnTo>
                  <a:lnTo>
                    <a:pt x="23" y="180"/>
                  </a:lnTo>
                  <a:lnTo>
                    <a:pt x="23" y="183"/>
                  </a:lnTo>
                  <a:lnTo>
                    <a:pt x="21" y="188"/>
                  </a:lnTo>
                  <a:lnTo>
                    <a:pt x="18" y="191"/>
                  </a:lnTo>
                  <a:lnTo>
                    <a:pt x="18" y="193"/>
                  </a:lnTo>
                  <a:lnTo>
                    <a:pt x="13" y="198"/>
                  </a:lnTo>
                  <a:lnTo>
                    <a:pt x="13" y="203"/>
                  </a:lnTo>
                  <a:lnTo>
                    <a:pt x="10" y="206"/>
                  </a:lnTo>
                  <a:lnTo>
                    <a:pt x="10" y="208"/>
                  </a:lnTo>
                  <a:lnTo>
                    <a:pt x="8" y="208"/>
                  </a:lnTo>
                  <a:lnTo>
                    <a:pt x="5" y="211"/>
                  </a:lnTo>
                  <a:lnTo>
                    <a:pt x="3" y="216"/>
                  </a:lnTo>
                  <a:lnTo>
                    <a:pt x="3" y="219"/>
                  </a:lnTo>
                  <a:lnTo>
                    <a:pt x="3" y="219"/>
                  </a:lnTo>
                  <a:lnTo>
                    <a:pt x="3" y="221"/>
                  </a:lnTo>
                  <a:lnTo>
                    <a:pt x="0" y="221"/>
                  </a:lnTo>
                  <a:lnTo>
                    <a:pt x="0" y="224"/>
                  </a:lnTo>
                  <a:lnTo>
                    <a:pt x="0" y="226"/>
                  </a:lnTo>
                  <a:lnTo>
                    <a:pt x="0" y="231"/>
                  </a:lnTo>
                  <a:lnTo>
                    <a:pt x="0" y="234"/>
                  </a:lnTo>
                  <a:lnTo>
                    <a:pt x="0" y="242"/>
                  </a:lnTo>
                  <a:lnTo>
                    <a:pt x="0" y="244"/>
                  </a:lnTo>
                  <a:lnTo>
                    <a:pt x="0" y="244"/>
                  </a:lnTo>
                  <a:lnTo>
                    <a:pt x="5" y="249"/>
                  </a:lnTo>
                  <a:lnTo>
                    <a:pt x="5" y="252"/>
                  </a:lnTo>
                  <a:lnTo>
                    <a:pt x="5" y="254"/>
                  </a:lnTo>
                  <a:lnTo>
                    <a:pt x="8" y="257"/>
                  </a:lnTo>
                  <a:lnTo>
                    <a:pt x="8" y="259"/>
                  </a:lnTo>
                  <a:lnTo>
                    <a:pt x="5" y="262"/>
                  </a:lnTo>
                  <a:lnTo>
                    <a:pt x="5" y="264"/>
                  </a:lnTo>
                  <a:lnTo>
                    <a:pt x="5" y="270"/>
                  </a:lnTo>
                  <a:lnTo>
                    <a:pt x="5" y="272"/>
                  </a:lnTo>
                  <a:lnTo>
                    <a:pt x="5" y="277"/>
                  </a:lnTo>
                  <a:lnTo>
                    <a:pt x="5" y="280"/>
                  </a:lnTo>
                  <a:lnTo>
                    <a:pt x="8" y="282"/>
                  </a:lnTo>
                  <a:lnTo>
                    <a:pt x="10" y="285"/>
                  </a:lnTo>
                  <a:lnTo>
                    <a:pt x="10" y="287"/>
                  </a:lnTo>
                  <a:lnTo>
                    <a:pt x="10" y="290"/>
                  </a:lnTo>
                  <a:lnTo>
                    <a:pt x="10" y="292"/>
                  </a:lnTo>
                  <a:lnTo>
                    <a:pt x="10" y="292"/>
                  </a:lnTo>
                  <a:lnTo>
                    <a:pt x="13" y="292"/>
                  </a:lnTo>
                  <a:lnTo>
                    <a:pt x="16" y="295"/>
                  </a:lnTo>
                  <a:lnTo>
                    <a:pt x="18" y="298"/>
                  </a:lnTo>
                  <a:lnTo>
                    <a:pt x="18" y="300"/>
                  </a:lnTo>
                  <a:lnTo>
                    <a:pt x="21" y="300"/>
                  </a:lnTo>
                  <a:lnTo>
                    <a:pt x="23" y="300"/>
                  </a:lnTo>
                  <a:lnTo>
                    <a:pt x="26" y="300"/>
                  </a:lnTo>
                  <a:lnTo>
                    <a:pt x="31" y="305"/>
                  </a:lnTo>
                  <a:lnTo>
                    <a:pt x="33" y="305"/>
                  </a:lnTo>
                  <a:lnTo>
                    <a:pt x="38" y="305"/>
                  </a:lnTo>
                  <a:lnTo>
                    <a:pt x="41" y="305"/>
                  </a:lnTo>
                  <a:lnTo>
                    <a:pt x="44" y="303"/>
                  </a:lnTo>
                  <a:lnTo>
                    <a:pt x="49" y="300"/>
                  </a:lnTo>
                  <a:lnTo>
                    <a:pt x="51" y="298"/>
                  </a:lnTo>
                  <a:lnTo>
                    <a:pt x="56" y="298"/>
                  </a:lnTo>
                  <a:lnTo>
                    <a:pt x="61" y="298"/>
                  </a:lnTo>
                  <a:lnTo>
                    <a:pt x="64" y="298"/>
                  </a:lnTo>
                  <a:lnTo>
                    <a:pt x="69" y="295"/>
                  </a:lnTo>
                  <a:lnTo>
                    <a:pt x="69" y="292"/>
                  </a:lnTo>
                  <a:lnTo>
                    <a:pt x="74" y="287"/>
                  </a:lnTo>
                  <a:lnTo>
                    <a:pt x="74" y="282"/>
                  </a:lnTo>
                  <a:lnTo>
                    <a:pt x="77" y="280"/>
                  </a:lnTo>
                  <a:lnTo>
                    <a:pt x="77" y="277"/>
                  </a:lnTo>
                  <a:lnTo>
                    <a:pt x="77" y="275"/>
                  </a:lnTo>
                  <a:lnTo>
                    <a:pt x="79" y="272"/>
                  </a:lnTo>
                  <a:lnTo>
                    <a:pt x="82" y="267"/>
                  </a:lnTo>
                  <a:lnTo>
                    <a:pt x="82" y="264"/>
                  </a:lnTo>
                  <a:lnTo>
                    <a:pt x="82" y="262"/>
                  </a:lnTo>
                  <a:lnTo>
                    <a:pt x="87" y="252"/>
                  </a:lnTo>
                  <a:lnTo>
                    <a:pt x="87" y="247"/>
                  </a:lnTo>
                  <a:lnTo>
                    <a:pt x="89" y="242"/>
                  </a:lnTo>
                  <a:lnTo>
                    <a:pt x="89" y="236"/>
                  </a:lnTo>
                  <a:lnTo>
                    <a:pt x="92" y="234"/>
                  </a:lnTo>
                  <a:lnTo>
                    <a:pt x="97" y="221"/>
                  </a:lnTo>
                  <a:lnTo>
                    <a:pt x="100" y="211"/>
                  </a:lnTo>
                  <a:lnTo>
                    <a:pt x="105" y="201"/>
                  </a:lnTo>
                  <a:lnTo>
                    <a:pt x="107" y="191"/>
                  </a:lnTo>
                  <a:lnTo>
                    <a:pt x="110" y="183"/>
                  </a:lnTo>
                  <a:lnTo>
                    <a:pt x="112" y="178"/>
                  </a:lnTo>
                  <a:lnTo>
                    <a:pt x="115" y="168"/>
                  </a:lnTo>
                  <a:lnTo>
                    <a:pt x="117" y="160"/>
                  </a:lnTo>
                  <a:lnTo>
                    <a:pt x="120" y="152"/>
                  </a:lnTo>
                  <a:lnTo>
                    <a:pt x="123" y="147"/>
                  </a:lnTo>
                  <a:lnTo>
                    <a:pt x="125" y="142"/>
                  </a:lnTo>
                  <a:lnTo>
                    <a:pt x="128" y="132"/>
                  </a:lnTo>
                  <a:lnTo>
                    <a:pt x="128" y="127"/>
                  </a:lnTo>
                  <a:lnTo>
                    <a:pt x="128" y="119"/>
                  </a:lnTo>
                  <a:lnTo>
                    <a:pt x="128" y="117"/>
                  </a:lnTo>
                  <a:lnTo>
                    <a:pt x="130" y="112"/>
                  </a:lnTo>
                  <a:lnTo>
                    <a:pt x="130" y="109"/>
                  </a:lnTo>
                  <a:lnTo>
                    <a:pt x="133" y="109"/>
                  </a:lnTo>
                  <a:lnTo>
                    <a:pt x="133" y="107"/>
                  </a:lnTo>
                  <a:lnTo>
                    <a:pt x="135" y="107"/>
                  </a:lnTo>
                  <a:lnTo>
                    <a:pt x="133" y="107"/>
                  </a:lnTo>
                  <a:lnTo>
                    <a:pt x="133" y="104"/>
                  </a:lnTo>
                  <a:lnTo>
                    <a:pt x="135" y="102"/>
                  </a:lnTo>
                  <a:lnTo>
                    <a:pt x="135" y="99"/>
                  </a:lnTo>
                  <a:lnTo>
                    <a:pt x="135" y="94"/>
                  </a:lnTo>
                  <a:lnTo>
                    <a:pt x="135" y="91"/>
                  </a:lnTo>
                  <a:lnTo>
                    <a:pt x="135" y="91"/>
                  </a:lnTo>
                  <a:lnTo>
                    <a:pt x="135" y="91"/>
                  </a:lnTo>
                  <a:lnTo>
                    <a:pt x="135" y="86"/>
                  </a:lnTo>
                  <a:lnTo>
                    <a:pt x="135" y="84"/>
                  </a:lnTo>
                  <a:lnTo>
                    <a:pt x="133" y="81"/>
                  </a:lnTo>
                  <a:lnTo>
                    <a:pt x="133" y="79"/>
                  </a:lnTo>
                  <a:lnTo>
                    <a:pt x="133" y="79"/>
                  </a:lnTo>
                  <a:lnTo>
                    <a:pt x="135" y="76"/>
                  </a:lnTo>
                  <a:lnTo>
                    <a:pt x="138" y="76"/>
                  </a:lnTo>
                  <a:lnTo>
                    <a:pt x="138" y="76"/>
                  </a:lnTo>
                  <a:lnTo>
                    <a:pt x="138" y="79"/>
                  </a:lnTo>
                  <a:lnTo>
                    <a:pt x="140" y="84"/>
                  </a:lnTo>
                  <a:lnTo>
                    <a:pt x="143" y="86"/>
                  </a:lnTo>
                  <a:lnTo>
                    <a:pt x="143" y="89"/>
                  </a:lnTo>
                  <a:lnTo>
                    <a:pt x="146" y="89"/>
                  </a:lnTo>
                  <a:lnTo>
                    <a:pt x="146" y="86"/>
                  </a:lnTo>
                  <a:lnTo>
                    <a:pt x="146" y="86"/>
                  </a:lnTo>
                  <a:lnTo>
                    <a:pt x="148" y="81"/>
                  </a:lnTo>
                  <a:lnTo>
                    <a:pt x="151" y="74"/>
                  </a:lnTo>
                  <a:lnTo>
                    <a:pt x="151" y="69"/>
                  </a:lnTo>
                  <a:close/>
                </a:path>
              </a:pathLst>
            </a:custGeom>
            <a:solidFill>
              <a:srgbClr val="FFC000"/>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267" name="Freeform 1886">
              <a:extLst>
                <a:ext uri="{FF2B5EF4-FFF2-40B4-BE49-F238E27FC236}">
                  <a16:creationId xmlns:a16="http://schemas.microsoft.com/office/drawing/2014/main" id="{35493DDB-ABEF-D340-961A-AC3438147C6D}"/>
                </a:ext>
              </a:extLst>
            </p:cNvPr>
            <p:cNvSpPr>
              <a:spLocks/>
            </p:cNvSpPr>
            <p:nvPr/>
          </p:nvSpPr>
          <p:spPr bwMode="auto">
            <a:xfrm>
              <a:off x="6254716" y="2227551"/>
              <a:ext cx="75244" cy="58887"/>
            </a:xfrm>
            <a:custGeom>
              <a:avLst/>
              <a:gdLst>
                <a:gd name="T0" fmla="*/ 46 w 46"/>
                <a:gd name="T1" fmla="*/ 15 h 36"/>
                <a:gd name="T2" fmla="*/ 43 w 46"/>
                <a:gd name="T3" fmla="*/ 13 h 36"/>
                <a:gd name="T4" fmla="*/ 43 w 46"/>
                <a:gd name="T5" fmla="*/ 8 h 36"/>
                <a:gd name="T6" fmla="*/ 38 w 46"/>
                <a:gd name="T7" fmla="*/ 8 h 36"/>
                <a:gd name="T8" fmla="*/ 33 w 46"/>
                <a:gd name="T9" fmla="*/ 3 h 36"/>
                <a:gd name="T10" fmla="*/ 33 w 46"/>
                <a:gd name="T11" fmla="*/ 3 h 36"/>
                <a:gd name="T12" fmla="*/ 31 w 46"/>
                <a:gd name="T13" fmla="*/ 3 h 36"/>
                <a:gd name="T14" fmla="*/ 28 w 46"/>
                <a:gd name="T15" fmla="*/ 3 h 36"/>
                <a:gd name="T16" fmla="*/ 25 w 46"/>
                <a:gd name="T17" fmla="*/ 3 h 36"/>
                <a:gd name="T18" fmla="*/ 23 w 46"/>
                <a:gd name="T19" fmla="*/ 3 h 36"/>
                <a:gd name="T20" fmla="*/ 20 w 46"/>
                <a:gd name="T21" fmla="*/ 3 h 36"/>
                <a:gd name="T22" fmla="*/ 15 w 46"/>
                <a:gd name="T23" fmla="*/ 5 h 36"/>
                <a:gd name="T24" fmla="*/ 15 w 46"/>
                <a:gd name="T25" fmla="*/ 5 h 36"/>
                <a:gd name="T26" fmla="*/ 13 w 46"/>
                <a:gd name="T27" fmla="*/ 8 h 36"/>
                <a:gd name="T28" fmla="*/ 13 w 46"/>
                <a:gd name="T29" fmla="*/ 5 h 36"/>
                <a:gd name="T30" fmla="*/ 5 w 46"/>
                <a:gd name="T31" fmla="*/ 8 h 36"/>
                <a:gd name="T32" fmla="*/ 5 w 46"/>
                <a:gd name="T33" fmla="*/ 10 h 36"/>
                <a:gd name="T34" fmla="*/ 5 w 46"/>
                <a:gd name="T35" fmla="*/ 13 h 36"/>
                <a:gd name="T36" fmla="*/ 3 w 46"/>
                <a:gd name="T37" fmla="*/ 13 h 36"/>
                <a:gd name="T38" fmla="*/ 0 w 46"/>
                <a:gd name="T39" fmla="*/ 15 h 36"/>
                <a:gd name="T40" fmla="*/ 0 w 46"/>
                <a:gd name="T41" fmla="*/ 18 h 36"/>
                <a:gd name="T42" fmla="*/ 0 w 46"/>
                <a:gd name="T43" fmla="*/ 21 h 36"/>
                <a:gd name="T44" fmla="*/ 0 w 46"/>
                <a:gd name="T45" fmla="*/ 23 h 36"/>
                <a:gd name="T46" fmla="*/ 3 w 46"/>
                <a:gd name="T47" fmla="*/ 28 h 36"/>
                <a:gd name="T48" fmla="*/ 5 w 46"/>
                <a:gd name="T49" fmla="*/ 31 h 36"/>
                <a:gd name="T50" fmla="*/ 5 w 46"/>
                <a:gd name="T51" fmla="*/ 33 h 36"/>
                <a:gd name="T52" fmla="*/ 10 w 46"/>
                <a:gd name="T53" fmla="*/ 33 h 36"/>
                <a:gd name="T54" fmla="*/ 10 w 46"/>
                <a:gd name="T55" fmla="*/ 36 h 36"/>
                <a:gd name="T56" fmla="*/ 13 w 46"/>
                <a:gd name="T57" fmla="*/ 33 h 36"/>
                <a:gd name="T58" fmla="*/ 18 w 46"/>
                <a:gd name="T59" fmla="*/ 33 h 36"/>
                <a:gd name="T60" fmla="*/ 20 w 46"/>
                <a:gd name="T61" fmla="*/ 33 h 36"/>
                <a:gd name="T62" fmla="*/ 25 w 46"/>
                <a:gd name="T63" fmla="*/ 33 h 36"/>
                <a:gd name="T64" fmla="*/ 28 w 46"/>
                <a:gd name="T65" fmla="*/ 28 h 36"/>
                <a:gd name="T66" fmla="*/ 33 w 46"/>
                <a:gd name="T67" fmla="*/ 28 h 36"/>
                <a:gd name="T68" fmla="*/ 36 w 46"/>
                <a:gd name="T69" fmla="*/ 28 h 36"/>
                <a:gd name="T70" fmla="*/ 41 w 46"/>
                <a:gd name="T71" fmla="*/ 28 h 36"/>
                <a:gd name="T72" fmla="*/ 43 w 46"/>
                <a:gd name="T73" fmla="*/ 26 h 36"/>
                <a:gd name="T74" fmla="*/ 43 w 46"/>
                <a:gd name="T75" fmla="*/ 23 h 36"/>
                <a:gd name="T76" fmla="*/ 46 w 46"/>
                <a:gd name="T77" fmla="*/ 23 h 36"/>
                <a:gd name="T78" fmla="*/ 46 w 46"/>
                <a:gd name="T79" fmla="*/ 1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6" h="36">
                  <a:moveTo>
                    <a:pt x="46" y="15"/>
                  </a:moveTo>
                  <a:lnTo>
                    <a:pt x="46" y="15"/>
                  </a:lnTo>
                  <a:lnTo>
                    <a:pt x="46" y="13"/>
                  </a:lnTo>
                  <a:lnTo>
                    <a:pt x="43" y="13"/>
                  </a:lnTo>
                  <a:lnTo>
                    <a:pt x="43" y="10"/>
                  </a:lnTo>
                  <a:lnTo>
                    <a:pt x="43" y="8"/>
                  </a:lnTo>
                  <a:lnTo>
                    <a:pt x="41" y="8"/>
                  </a:lnTo>
                  <a:lnTo>
                    <a:pt x="38" y="8"/>
                  </a:lnTo>
                  <a:lnTo>
                    <a:pt x="36" y="5"/>
                  </a:lnTo>
                  <a:lnTo>
                    <a:pt x="33" y="3"/>
                  </a:lnTo>
                  <a:lnTo>
                    <a:pt x="33" y="3"/>
                  </a:lnTo>
                  <a:lnTo>
                    <a:pt x="33" y="3"/>
                  </a:lnTo>
                  <a:lnTo>
                    <a:pt x="31" y="0"/>
                  </a:lnTo>
                  <a:lnTo>
                    <a:pt x="31" y="3"/>
                  </a:lnTo>
                  <a:lnTo>
                    <a:pt x="28" y="3"/>
                  </a:lnTo>
                  <a:lnTo>
                    <a:pt x="28" y="3"/>
                  </a:lnTo>
                  <a:lnTo>
                    <a:pt x="25" y="3"/>
                  </a:lnTo>
                  <a:lnTo>
                    <a:pt x="25" y="3"/>
                  </a:lnTo>
                  <a:lnTo>
                    <a:pt x="23" y="3"/>
                  </a:lnTo>
                  <a:lnTo>
                    <a:pt x="23" y="3"/>
                  </a:lnTo>
                  <a:lnTo>
                    <a:pt x="20" y="3"/>
                  </a:lnTo>
                  <a:lnTo>
                    <a:pt x="20" y="3"/>
                  </a:lnTo>
                  <a:lnTo>
                    <a:pt x="20" y="3"/>
                  </a:lnTo>
                  <a:lnTo>
                    <a:pt x="15" y="5"/>
                  </a:lnTo>
                  <a:lnTo>
                    <a:pt x="15" y="5"/>
                  </a:lnTo>
                  <a:lnTo>
                    <a:pt x="15" y="5"/>
                  </a:lnTo>
                  <a:lnTo>
                    <a:pt x="15" y="8"/>
                  </a:lnTo>
                  <a:lnTo>
                    <a:pt x="13" y="8"/>
                  </a:lnTo>
                  <a:lnTo>
                    <a:pt x="13" y="5"/>
                  </a:lnTo>
                  <a:lnTo>
                    <a:pt x="13" y="5"/>
                  </a:lnTo>
                  <a:lnTo>
                    <a:pt x="10" y="5"/>
                  </a:lnTo>
                  <a:lnTo>
                    <a:pt x="5" y="8"/>
                  </a:lnTo>
                  <a:lnTo>
                    <a:pt x="5" y="8"/>
                  </a:lnTo>
                  <a:lnTo>
                    <a:pt x="5" y="10"/>
                  </a:lnTo>
                  <a:lnTo>
                    <a:pt x="5" y="13"/>
                  </a:lnTo>
                  <a:lnTo>
                    <a:pt x="5" y="13"/>
                  </a:lnTo>
                  <a:lnTo>
                    <a:pt x="3" y="13"/>
                  </a:lnTo>
                  <a:lnTo>
                    <a:pt x="3" y="13"/>
                  </a:lnTo>
                  <a:lnTo>
                    <a:pt x="0" y="13"/>
                  </a:lnTo>
                  <a:lnTo>
                    <a:pt x="0" y="15"/>
                  </a:lnTo>
                  <a:lnTo>
                    <a:pt x="0" y="18"/>
                  </a:lnTo>
                  <a:lnTo>
                    <a:pt x="0" y="18"/>
                  </a:lnTo>
                  <a:lnTo>
                    <a:pt x="0" y="18"/>
                  </a:lnTo>
                  <a:lnTo>
                    <a:pt x="0" y="21"/>
                  </a:lnTo>
                  <a:lnTo>
                    <a:pt x="0" y="23"/>
                  </a:lnTo>
                  <a:lnTo>
                    <a:pt x="0" y="23"/>
                  </a:lnTo>
                  <a:lnTo>
                    <a:pt x="0" y="26"/>
                  </a:lnTo>
                  <a:lnTo>
                    <a:pt x="3" y="28"/>
                  </a:lnTo>
                  <a:lnTo>
                    <a:pt x="3" y="31"/>
                  </a:lnTo>
                  <a:lnTo>
                    <a:pt x="5" y="31"/>
                  </a:lnTo>
                  <a:lnTo>
                    <a:pt x="5" y="33"/>
                  </a:lnTo>
                  <a:lnTo>
                    <a:pt x="5" y="33"/>
                  </a:lnTo>
                  <a:lnTo>
                    <a:pt x="8" y="33"/>
                  </a:lnTo>
                  <a:lnTo>
                    <a:pt x="10" y="33"/>
                  </a:lnTo>
                  <a:lnTo>
                    <a:pt x="10" y="33"/>
                  </a:lnTo>
                  <a:lnTo>
                    <a:pt x="10" y="36"/>
                  </a:lnTo>
                  <a:lnTo>
                    <a:pt x="13" y="33"/>
                  </a:lnTo>
                  <a:lnTo>
                    <a:pt x="13" y="33"/>
                  </a:lnTo>
                  <a:lnTo>
                    <a:pt x="15" y="33"/>
                  </a:lnTo>
                  <a:lnTo>
                    <a:pt x="18" y="33"/>
                  </a:lnTo>
                  <a:lnTo>
                    <a:pt x="18" y="33"/>
                  </a:lnTo>
                  <a:lnTo>
                    <a:pt x="20" y="33"/>
                  </a:lnTo>
                  <a:lnTo>
                    <a:pt x="23" y="33"/>
                  </a:lnTo>
                  <a:lnTo>
                    <a:pt x="25" y="33"/>
                  </a:lnTo>
                  <a:lnTo>
                    <a:pt x="28" y="28"/>
                  </a:lnTo>
                  <a:lnTo>
                    <a:pt x="28" y="28"/>
                  </a:lnTo>
                  <a:lnTo>
                    <a:pt x="31" y="28"/>
                  </a:lnTo>
                  <a:lnTo>
                    <a:pt x="33" y="28"/>
                  </a:lnTo>
                  <a:lnTo>
                    <a:pt x="33" y="28"/>
                  </a:lnTo>
                  <a:lnTo>
                    <a:pt x="36" y="28"/>
                  </a:lnTo>
                  <a:lnTo>
                    <a:pt x="38" y="28"/>
                  </a:lnTo>
                  <a:lnTo>
                    <a:pt x="41" y="28"/>
                  </a:lnTo>
                  <a:lnTo>
                    <a:pt x="41" y="28"/>
                  </a:lnTo>
                  <a:lnTo>
                    <a:pt x="43" y="26"/>
                  </a:lnTo>
                  <a:lnTo>
                    <a:pt x="43" y="23"/>
                  </a:lnTo>
                  <a:lnTo>
                    <a:pt x="43" y="23"/>
                  </a:lnTo>
                  <a:lnTo>
                    <a:pt x="46" y="23"/>
                  </a:lnTo>
                  <a:lnTo>
                    <a:pt x="46" y="23"/>
                  </a:lnTo>
                  <a:lnTo>
                    <a:pt x="46" y="18"/>
                  </a:lnTo>
                  <a:lnTo>
                    <a:pt x="46" y="15"/>
                  </a:lnTo>
                  <a:lnTo>
                    <a:pt x="46" y="15"/>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268" name="Freeform 1887">
              <a:extLst>
                <a:ext uri="{FF2B5EF4-FFF2-40B4-BE49-F238E27FC236}">
                  <a16:creationId xmlns:a16="http://schemas.microsoft.com/office/drawing/2014/main" id="{4B20CE09-DE9A-AC49-A3E9-047EEDE3E3E1}"/>
                </a:ext>
              </a:extLst>
            </p:cNvPr>
            <p:cNvSpPr>
              <a:spLocks/>
            </p:cNvSpPr>
            <p:nvPr/>
          </p:nvSpPr>
          <p:spPr bwMode="auto">
            <a:xfrm>
              <a:off x="9269378" y="2973447"/>
              <a:ext cx="0" cy="3271"/>
            </a:xfrm>
            <a:custGeom>
              <a:avLst/>
              <a:gdLst>
                <a:gd name="T0" fmla="*/ 0 h 2"/>
                <a:gd name="T1" fmla="*/ 0 h 2"/>
                <a:gd name="T2" fmla="*/ 2 h 2"/>
                <a:gd name="T3" fmla="*/ 2 h 2"/>
                <a:gd name="T4" fmla="*/ 2 h 2"/>
                <a:gd name="T5" fmla="*/ 2 h 2"/>
                <a:gd name="T6" fmla="*/ 2 h 2"/>
                <a:gd name="T7" fmla="*/ 2 h 2"/>
                <a:gd name="T8" fmla="*/ 0 h 2"/>
              </a:gdLst>
              <a:ahLst/>
              <a:cxnLst>
                <a:cxn ang="0">
                  <a:pos x="0" y="T0"/>
                </a:cxn>
                <a:cxn ang="0">
                  <a:pos x="0" y="T1"/>
                </a:cxn>
                <a:cxn ang="0">
                  <a:pos x="0" y="T2"/>
                </a:cxn>
                <a:cxn ang="0">
                  <a:pos x="0" y="T3"/>
                </a:cxn>
                <a:cxn ang="0">
                  <a:pos x="0" y="T4"/>
                </a:cxn>
                <a:cxn ang="0">
                  <a:pos x="0" y="T5"/>
                </a:cxn>
                <a:cxn ang="0">
                  <a:pos x="0" y="T6"/>
                </a:cxn>
                <a:cxn ang="0">
                  <a:pos x="0" y="T7"/>
                </a:cxn>
                <a:cxn ang="0">
                  <a:pos x="0" y="T8"/>
                </a:cxn>
              </a:cxnLst>
              <a:rect l="0" t="0" r="r" b="b"/>
              <a:pathLst>
                <a:path h="2">
                  <a:moveTo>
                    <a:pt x="0" y="0"/>
                  </a:moveTo>
                  <a:lnTo>
                    <a:pt x="0" y="0"/>
                  </a:lnTo>
                  <a:lnTo>
                    <a:pt x="0" y="2"/>
                  </a:lnTo>
                  <a:lnTo>
                    <a:pt x="0" y="2"/>
                  </a:lnTo>
                  <a:lnTo>
                    <a:pt x="0" y="2"/>
                  </a:lnTo>
                  <a:lnTo>
                    <a:pt x="0" y="2"/>
                  </a:lnTo>
                  <a:lnTo>
                    <a:pt x="0" y="2"/>
                  </a:lnTo>
                  <a:lnTo>
                    <a:pt x="0" y="2"/>
                  </a:lnTo>
                  <a:lnTo>
                    <a:pt x="0"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269" name="Freeform 1888">
              <a:extLst>
                <a:ext uri="{FF2B5EF4-FFF2-40B4-BE49-F238E27FC236}">
                  <a16:creationId xmlns:a16="http://schemas.microsoft.com/office/drawing/2014/main" id="{E238D64C-9D00-0F4F-BA09-43A6C6DCBF23}"/>
                </a:ext>
              </a:extLst>
            </p:cNvPr>
            <p:cNvSpPr>
              <a:spLocks/>
            </p:cNvSpPr>
            <p:nvPr/>
          </p:nvSpPr>
          <p:spPr bwMode="auto">
            <a:xfrm>
              <a:off x="5821245" y="1944568"/>
              <a:ext cx="21265" cy="24537"/>
            </a:xfrm>
            <a:custGeom>
              <a:avLst/>
              <a:gdLst>
                <a:gd name="T0" fmla="*/ 13 w 13"/>
                <a:gd name="T1" fmla="*/ 8 h 15"/>
                <a:gd name="T2" fmla="*/ 10 w 13"/>
                <a:gd name="T3" fmla="*/ 8 h 15"/>
                <a:gd name="T4" fmla="*/ 10 w 13"/>
                <a:gd name="T5" fmla="*/ 8 h 15"/>
                <a:gd name="T6" fmla="*/ 8 w 13"/>
                <a:gd name="T7" fmla="*/ 5 h 15"/>
                <a:gd name="T8" fmla="*/ 8 w 13"/>
                <a:gd name="T9" fmla="*/ 5 h 15"/>
                <a:gd name="T10" fmla="*/ 5 w 13"/>
                <a:gd name="T11" fmla="*/ 5 h 15"/>
                <a:gd name="T12" fmla="*/ 5 w 13"/>
                <a:gd name="T13" fmla="*/ 3 h 15"/>
                <a:gd name="T14" fmla="*/ 5 w 13"/>
                <a:gd name="T15" fmla="*/ 3 h 15"/>
                <a:gd name="T16" fmla="*/ 5 w 13"/>
                <a:gd name="T17" fmla="*/ 0 h 15"/>
                <a:gd name="T18" fmla="*/ 5 w 13"/>
                <a:gd name="T19" fmla="*/ 0 h 15"/>
                <a:gd name="T20" fmla="*/ 5 w 13"/>
                <a:gd name="T21" fmla="*/ 0 h 15"/>
                <a:gd name="T22" fmla="*/ 5 w 13"/>
                <a:gd name="T23" fmla="*/ 0 h 15"/>
                <a:gd name="T24" fmla="*/ 2 w 13"/>
                <a:gd name="T25" fmla="*/ 0 h 15"/>
                <a:gd name="T26" fmla="*/ 2 w 13"/>
                <a:gd name="T27" fmla="*/ 3 h 15"/>
                <a:gd name="T28" fmla="*/ 0 w 13"/>
                <a:gd name="T29" fmla="*/ 3 h 15"/>
                <a:gd name="T30" fmla="*/ 0 w 13"/>
                <a:gd name="T31" fmla="*/ 5 h 15"/>
                <a:gd name="T32" fmla="*/ 0 w 13"/>
                <a:gd name="T33" fmla="*/ 5 h 15"/>
                <a:gd name="T34" fmla="*/ 0 w 13"/>
                <a:gd name="T35" fmla="*/ 5 h 15"/>
                <a:gd name="T36" fmla="*/ 0 w 13"/>
                <a:gd name="T37" fmla="*/ 8 h 15"/>
                <a:gd name="T38" fmla="*/ 0 w 13"/>
                <a:gd name="T39" fmla="*/ 8 h 15"/>
                <a:gd name="T40" fmla="*/ 0 w 13"/>
                <a:gd name="T41" fmla="*/ 8 h 15"/>
                <a:gd name="T42" fmla="*/ 0 w 13"/>
                <a:gd name="T43" fmla="*/ 8 h 15"/>
                <a:gd name="T44" fmla="*/ 0 w 13"/>
                <a:gd name="T45" fmla="*/ 10 h 15"/>
                <a:gd name="T46" fmla="*/ 2 w 13"/>
                <a:gd name="T47" fmla="*/ 10 h 15"/>
                <a:gd name="T48" fmla="*/ 0 w 13"/>
                <a:gd name="T49" fmla="*/ 13 h 15"/>
                <a:gd name="T50" fmla="*/ 0 w 13"/>
                <a:gd name="T51" fmla="*/ 13 h 15"/>
                <a:gd name="T52" fmla="*/ 0 w 13"/>
                <a:gd name="T53" fmla="*/ 13 h 15"/>
                <a:gd name="T54" fmla="*/ 0 w 13"/>
                <a:gd name="T55" fmla="*/ 13 h 15"/>
                <a:gd name="T56" fmla="*/ 0 w 13"/>
                <a:gd name="T57" fmla="*/ 15 h 15"/>
                <a:gd name="T58" fmla="*/ 2 w 13"/>
                <a:gd name="T59" fmla="*/ 15 h 15"/>
                <a:gd name="T60" fmla="*/ 2 w 13"/>
                <a:gd name="T61" fmla="*/ 15 h 15"/>
                <a:gd name="T62" fmla="*/ 2 w 13"/>
                <a:gd name="T63" fmla="*/ 15 h 15"/>
                <a:gd name="T64" fmla="*/ 2 w 13"/>
                <a:gd name="T65" fmla="*/ 15 h 15"/>
                <a:gd name="T66" fmla="*/ 5 w 13"/>
                <a:gd name="T67" fmla="*/ 15 h 15"/>
                <a:gd name="T68" fmla="*/ 5 w 13"/>
                <a:gd name="T69" fmla="*/ 15 h 15"/>
                <a:gd name="T70" fmla="*/ 8 w 13"/>
                <a:gd name="T71" fmla="*/ 15 h 15"/>
                <a:gd name="T72" fmla="*/ 8 w 13"/>
                <a:gd name="T73" fmla="*/ 15 h 15"/>
                <a:gd name="T74" fmla="*/ 8 w 13"/>
                <a:gd name="T75" fmla="*/ 15 h 15"/>
                <a:gd name="T76" fmla="*/ 10 w 13"/>
                <a:gd name="T77" fmla="*/ 15 h 15"/>
                <a:gd name="T78" fmla="*/ 10 w 13"/>
                <a:gd name="T79" fmla="*/ 15 h 15"/>
                <a:gd name="T80" fmla="*/ 10 w 13"/>
                <a:gd name="T81" fmla="*/ 13 h 15"/>
                <a:gd name="T82" fmla="*/ 10 w 13"/>
                <a:gd name="T83" fmla="*/ 10 h 15"/>
                <a:gd name="T84" fmla="*/ 10 w 13"/>
                <a:gd name="T85" fmla="*/ 10 h 15"/>
                <a:gd name="T86" fmla="*/ 13 w 13"/>
                <a:gd name="T87" fmla="*/ 10 h 15"/>
                <a:gd name="T88" fmla="*/ 13 w 13"/>
                <a:gd name="T89" fmla="*/ 8 h 15"/>
                <a:gd name="T90" fmla="*/ 13 w 13"/>
                <a:gd name="T91" fmla="*/ 8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 h="15">
                  <a:moveTo>
                    <a:pt x="13" y="8"/>
                  </a:moveTo>
                  <a:lnTo>
                    <a:pt x="10" y="8"/>
                  </a:lnTo>
                  <a:lnTo>
                    <a:pt x="10" y="8"/>
                  </a:lnTo>
                  <a:lnTo>
                    <a:pt x="8" y="5"/>
                  </a:lnTo>
                  <a:lnTo>
                    <a:pt x="8" y="5"/>
                  </a:lnTo>
                  <a:lnTo>
                    <a:pt x="5" y="5"/>
                  </a:lnTo>
                  <a:lnTo>
                    <a:pt x="5" y="3"/>
                  </a:lnTo>
                  <a:lnTo>
                    <a:pt x="5" y="3"/>
                  </a:lnTo>
                  <a:lnTo>
                    <a:pt x="5" y="0"/>
                  </a:lnTo>
                  <a:lnTo>
                    <a:pt x="5" y="0"/>
                  </a:lnTo>
                  <a:lnTo>
                    <a:pt x="5" y="0"/>
                  </a:lnTo>
                  <a:lnTo>
                    <a:pt x="5" y="0"/>
                  </a:lnTo>
                  <a:lnTo>
                    <a:pt x="2" y="0"/>
                  </a:lnTo>
                  <a:lnTo>
                    <a:pt x="2" y="3"/>
                  </a:lnTo>
                  <a:lnTo>
                    <a:pt x="0" y="3"/>
                  </a:lnTo>
                  <a:lnTo>
                    <a:pt x="0" y="5"/>
                  </a:lnTo>
                  <a:lnTo>
                    <a:pt x="0" y="5"/>
                  </a:lnTo>
                  <a:lnTo>
                    <a:pt x="0" y="5"/>
                  </a:lnTo>
                  <a:lnTo>
                    <a:pt x="0" y="8"/>
                  </a:lnTo>
                  <a:lnTo>
                    <a:pt x="0" y="8"/>
                  </a:lnTo>
                  <a:lnTo>
                    <a:pt x="0" y="8"/>
                  </a:lnTo>
                  <a:lnTo>
                    <a:pt x="0" y="8"/>
                  </a:lnTo>
                  <a:lnTo>
                    <a:pt x="0" y="10"/>
                  </a:lnTo>
                  <a:lnTo>
                    <a:pt x="2" y="10"/>
                  </a:lnTo>
                  <a:lnTo>
                    <a:pt x="0" y="13"/>
                  </a:lnTo>
                  <a:lnTo>
                    <a:pt x="0" y="13"/>
                  </a:lnTo>
                  <a:lnTo>
                    <a:pt x="0" y="13"/>
                  </a:lnTo>
                  <a:lnTo>
                    <a:pt x="0" y="13"/>
                  </a:lnTo>
                  <a:lnTo>
                    <a:pt x="0" y="15"/>
                  </a:lnTo>
                  <a:lnTo>
                    <a:pt x="2" y="15"/>
                  </a:lnTo>
                  <a:lnTo>
                    <a:pt x="2" y="15"/>
                  </a:lnTo>
                  <a:lnTo>
                    <a:pt x="2" y="15"/>
                  </a:lnTo>
                  <a:lnTo>
                    <a:pt x="2" y="15"/>
                  </a:lnTo>
                  <a:lnTo>
                    <a:pt x="5" y="15"/>
                  </a:lnTo>
                  <a:lnTo>
                    <a:pt x="5" y="15"/>
                  </a:lnTo>
                  <a:lnTo>
                    <a:pt x="8" y="15"/>
                  </a:lnTo>
                  <a:lnTo>
                    <a:pt x="8" y="15"/>
                  </a:lnTo>
                  <a:lnTo>
                    <a:pt x="8" y="15"/>
                  </a:lnTo>
                  <a:lnTo>
                    <a:pt x="10" y="15"/>
                  </a:lnTo>
                  <a:lnTo>
                    <a:pt x="10" y="15"/>
                  </a:lnTo>
                  <a:lnTo>
                    <a:pt x="10" y="13"/>
                  </a:lnTo>
                  <a:lnTo>
                    <a:pt x="10" y="10"/>
                  </a:lnTo>
                  <a:lnTo>
                    <a:pt x="10" y="10"/>
                  </a:lnTo>
                  <a:lnTo>
                    <a:pt x="13" y="10"/>
                  </a:lnTo>
                  <a:lnTo>
                    <a:pt x="13" y="8"/>
                  </a:lnTo>
                  <a:lnTo>
                    <a:pt x="13" y="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270" name="Freeform 1889">
              <a:extLst>
                <a:ext uri="{FF2B5EF4-FFF2-40B4-BE49-F238E27FC236}">
                  <a16:creationId xmlns:a16="http://schemas.microsoft.com/office/drawing/2014/main" id="{CEA63BF7-5E4E-1046-99DB-F318CB8C22FC}"/>
                </a:ext>
              </a:extLst>
            </p:cNvPr>
            <p:cNvSpPr>
              <a:spLocks noEditPoints="1"/>
            </p:cNvSpPr>
            <p:nvPr/>
          </p:nvSpPr>
          <p:spPr bwMode="auto">
            <a:xfrm>
              <a:off x="6241630" y="1723744"/>
              <a:ext cx="158667" cy="88330"/>
            </a:xfrm>
            <a:custGeom>
              <a:avLst/>
              <a:gdLst>
                <a:gd name="T0" fmla="*/ 0 w 97"/>
                <a:gd name="T1" fmla="*/ 21 h 54"/>
                <a:gd name="T2" fmla="*/ 3 w 97"/>
                <a:gd name="T3" fmla="*/ 23 h 54"/>
                <a:gd name="T4" fmla="*/ 3 w 97"/>
                <a:gd name="T5" fmla="*/ 16 h 54"/>
                <a:gd name="T6" fmla="*/ 97 w 97"/>
                <a:gd name="T7" fmla="*/ 23 h 54"/>
                <a:gd name="T8" fmla="*/ 92 w 97"/>
                <a:gd name="T9" fmla="*/ 23 h 54"/>
                <a:gd name="T10" fmla="*/ 95 w 97"/>
                <a:gd name="T11" fmla="*/ 16 h 54"/>
                <a:gd name="T12" fmla="*/ 92 w 97"/>
                <a:gd name="T13" fmla="*/ 16 h 54"/>
                <a:gd name="T14" fmla="*/ 84 w 97"/>
                <a:gd name="T15" fmla="*/ 10 h 54"/>
                <a:gd name="T16" fmla="*/ 77 w 97"/>
                <a:gd name="T17" fmla="*/ 5 h 54"/>
                <a:gd name="T18" fmla="*/ 67 w 97"/>
                <a:gd name="T19" fmla="*/ 5 h 54"/>
                <a:gd name="T20" fmla="*/ 64 w 97"/>
                <a:gd name="T21" fmla="*/ 0 h 54"/>
                <a:gd name="T22" fmla="*/ 59 w 97"/>
                <a:gd name="T23" fmla="*/ 3 h 54"/>
                <a:gd name="T24" fmla="*/ 51 w 97"/>
                <a:gd name="T25" fmla="*/ 3 h 54"/>
                <a:gd name="T26" fmla="*/ 44 w 97"/>
                <a:gd name="T27" fmla="*/ 0 h 54"/>
                <a:gd name="T28" fmla="*/ 36 w 97"/>
                <a:gd name="T29" fmla="*/ 0 h 54"/>
                <a:gd name="T30" fmla="*/ 31 w 97"/>
                <a:gd name="T31" fmla="*/ 0 h 54"/>
                <a:gd name="T32" fmla="*/ 23 w 97"/>
                <a:gd name="T33" fmla="*/ 0 h 54"/>
                <a:gd name="T34" fmla="*/ 13 w 97"/>
                <a:gd name="T35" fmla="*/ 3 h 54"/>
                <a:gd name="T36" fmla="*/ 0 w 97"/>
                <a:gd name="T37" fmla="*/ 8 h 54"/>
                <a:gd name="T38" fmla="*/ 3 w 97"/>
                <a:gd name="T39" fmla="*/ 16 h 54"/>
                <a:gd name="T40" fmla="*/ 5 w 97"/>
                <a:gd name="T41" fmla="*/ 23 h 54"/>
                <a:gd name="T42" fmla="*/ 8 w 97"/>
                <a:gd name="T43" fmla="*/ 23 h 54"/>
                <a:gd name="T44" fmla="*/ 13 w 97"/>
                <a:gd name="T45" fmla="*/ 26 h 54"/>
                <a:gd name="T46" fmla="*/ 21 w 97"/>
                <a:gd name="T47" fmla="*/ 28 h 54"/>
                <a:gd name="T48" fmla="*/ 28 w 97"/>
                <a:gd name="T49" fmla="*/ 31 h 54"/>
                <a:gd name="T50" fmla="*/ 33 w 97"/>
                <a:gd name="T51" fmla="*/ 33 h 54"/>
                <a:gd name="T52" fmla="*/ 31 w 97"/>
                <a:gd name="T53" fmla="*/ 41 h 54"/>
                <a:gd name="T54" fmla="*/ 33 w 97"/>
                <a:gd name="T55" fmla="*/ 44 h 54"/>
                <a:gd name="T56" fmla="*/ 36 w 97"/>
                <a:gd name="T57" fmla="*/ 44 h 54"/>
                <a:gd name="T58" fmla="*/ 39 w 97"/>
                <a:gd name="T59" fmla="*/ 46 h 54"/>
                <a:gd name="T60" fmla="*/ 44 w 97"/>
                <a:gd name="T61" fmla="*/ 46 h 54"/>
                <a:gd name="T62" fmla="*/ 46 w 97"/>
                <a:gd name="T63" fmla="*/ 51 h 54"/>
                <a:gd name="T64" fmla="*/ 46 w 97"/>
                <a:gd name="T65" fmla="*/ 54 h 54"/>
                <a:gd name="T66" fmla="*/ 54 w 97"/>
                <a:gd name="T67" fmla="*/ 54 h 54"/>
                <a:gd name="T68" fmla="*/ 56 w 97"/>
                <a:gd name="T69" fmla="*/ 54 h 54"/>
                <a:gd name="T70" fmla="*/ 61 w 97"/>
                <a:gd name="T71" fmla="*/ 54 h 54"/>
                <a:gd name="T72" fmla="*/ 67 w 97"/>
                <a:gd name="T73" fmla="*/ 51 h 54"/>
                <a:gd name="T74" fmla="*/ 72 w 97"/>
                <a:gd name="T75" fmla="*/ 49 h 54"/>
                <a:gd name="T76" fmla="*/ 74 w 97"/>
                <a:gd name="T77" fmla="*/ 46 h 54"/>
                <a:gd name="T78" fmla="*/ 79 w 97"/>
                <a:gd name="T79" fmla="*/ 46 h 54"/>
                <a:gd name="T80" fmla="*/ 79 w 97"/>
                <a:gd name="T81" fmla="*/ 49 h 54"/>
                <a:gd name="T82" fmla="*/ 84 w 97"/>
                <a:gd name="T83" fmla="*/ 49 h 54"/>
                <a:gd name="T84" fmla="*/ 82 w 97"/>
                <a:gd name="T85" fmla="*/ 46 h 54"/>
                <a:gd name="T86" fmla="*/ 79 w 97"/>
                <a:gd name="T87" fmla="*/ 44 h 54"/>
                <a:gd name="T88" fmla="*/ 79 w 97"/>
                <a:gd name="T89" fmla="*/ 41 h 54"/>
                <a:gd name="T90" fmla="*/ 82 w 97"/>
                <a:gd name="T91" fmla="*/ 38 h 54"/>
                <a:gd name="T92" fmla="*/ 82 w 97"/>
                <a:gd name="T93" fmla="*/ 33 h 54"/>
                <a:gd name="T94" fmla="*/ 87 w 97"/>
                <a:gd name="T95" fmla="*/ 31 h 54"/>
                <a:gd name="T96" fmla="*/ 90 w 97"/>
                <a:gd name="T97" fmla="*/ 28 h 54"/>
                <a:gd name="T98" fmla="*/ 95 w 97"/>
                <a:gd name="T99" fmla="*/ 28 h 54"/>
                <a:gd name="T100" fmla="*/ 97 w 97"/>
                <a:gd name="T101"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7" h="54">
                  <a:moveTo>
                    <a:pt x="3" y="18"/>
                  </a:moveTo>
                  <a:lnTo>
                    <a:pt x="3" y="21"/>
                  </a:lnTo>
                  <a:lnTo>
                    <a:pt x="0" y="21"/>
                  </a:lnTo>
                  <a:lnTo>
                    <a:pt x="0" y="23"/>
                  </a:lnTo>
                  <a:lnTo>
                    <a:pt x="0" y="23"/>
                  </a:lnTo>
                  <a:lnTo>
                    <a:pt x="3" y="23"/>
                  </a:lnTo>
                  <a:lnTo>
                    <a:pt x="3" y="21"/>
                  </a:lnTo>
                  <a:lnTo>
                    <a:pt x="3" y="18"/>
                  </a:lnTo>
                  <a:lnTo>
                    <a:pt x="3" y="16"/>
                  </a:lnTo>
                  <a:lnTo>
                    <a:pt x="3" y="18"/>
                  </a:lnTo>
                  <a:close/>
                  <a:moveTo>
                    <a:pt x="97" y="23"/>
                  </a:moveTo>
                  <a:lnTo>
                    <a:pt x="97" y="23"/>
                  </a:lnTo>
                  <a:lnTo>
                    <a:pt x="95" y="23"/>
                  </a:lnTo>
                  <a:lnTo>
                    <a:pt x="92" y="23"/>
                  </a:lnTo>
                  <a:lnTo>
                    <a:pt x="92" y="23"/>
                  </a:lnTo>
                  <a:lnTo>
                    <a:pt x="95" y="21"/>
                  </a:lnTo>
                  <a:lnTo>
                    <a:pt x="95" y="18"/>
                  </a:lnTo>
                  <a:lnTo>
                    <a:pt x="95" y="16"/>
                  </a:lnTo>
                  <a:lnTo>
                    <a:pt x="95" y="16"/>
                  </a:lnTo>
                  <a:lnTo>
                    <a:pt x="95" y="16"/>
                  </a:lnTo>
                  <a:lnTo>
                    <a:pt x="92" y="16"/>
                  </a:lnTo>
                  <a:lnTo>
                    <a:pt x="90" y="13"/>
                  </a:lnTo>
                  <a:lnTo>
                    <a:pt x="87" y="13"/>
                  </a:lnTo>
                  <a:lnTo>
                    <a:pt x="84" y="10"/>
                  </a:lnTo>
                  <a:lnTo>
                    <a:pt x="84" y="10"/>
                  </a:lnTo>
                  <a:lnTo>
                    <a:pt x="82" y="8"/>
                  </a:lnTo>
                  <a:lnTo>
                    <a:pt x="77" y="5"/>
                  </a:lnTo>
                  <a:lnTo>
                    <a:pt x="77" y="5"/>
                  </a:lnTo>
                  <a:lnTo>
                    <a:pt x="69" y="5"/>
                  </a:lnTo>
                  <a:lnTo>
                    <a:pt x="67" y="5"/>
                  </a:lnTo>
                  <a:lnTo>
                    <a:pt x="67" y="3"/>
                  </a:lnTo>
                  <a:lnTo>
                    <a:pt x="64" y="0"/>
                  </a:lnTo>
                  <a:lnTo>
                    <a:pt x="64" y="0"/>
                  </a:lnTo>
                  <a:lnTo>
                    <a:pt x="61" y="0"/>
                  </a:lnTo>
                  <a:lnTo>
                    <a:pt x="61" y="0"/>
                  </a:lnTo>
                  <a:lnTo>
                    <a:pt x="59" y="3"/>
                  </a:lnTo>
                  <a:lnTo>
                    <a:pt x="59" y="3"/>
                  </a:lnTo>
                  <a:lnTo>
                    <a:pt x="56" y="3"/>
                  </a:lnTo>
                  <a:lnTo>
                    <a:pt x="51" y="3"/>
                  </a:lnTo>
                  <a:lnTo>
                    <a:pt x="49" y="3"/>
                  </a:lnTo>
                  <a:lnTo>
                    <a:pt x="46" y="0"/>
                  </a:lnTo>
                  <a:lnTo>
                    <a:pt x="44" y="0"/>
                  </a:lnTo>
                  <a:lnTo>
                    <a:pt x="44" y="0"/>
                  </a:lnTo>
                  <a:lnTo>
                    <a:pt x="36" y="0"/>
                  </a:lnTo>
                  <a:lnTo>
                    <a:pt x="36" y="0"/>
                  </a:lnTo>
                  <a:lnTo>
                    <a:pt x="33" y="3"/>
                  </a:lnTo>
                  <a:lnTo>
                    <a:pt x="33" y="0"/>
                  </a:lnTo>
                  <a:lnTo>
                    <a:pt x="31" y="0"/>
                  </a:lnTo>
                  <a:lnTo>
                    <a:pt x="28" y="0"/>
                  </a:lnTo>
                  <a:lnTo>
                    <a:pt x="26" y="0"/>
                  </a:lnTo>
                  <a:lnTo>
                    <a:pt x="23" y="0"/>
                  </a:lnTo>
                  <a:lnTo>
                    <a:pt x="18" y="0"/>
                  </a:lnTo>
                  <a:lnTo>
                    <a:pt x="18" y="0"/>
                  </a:lnTo>
                  <a:lnTo>
                    <a:pt x="13" y="3"/>
                  </a:lnTo>
                  <a:lnTo>
                    <a:pt x="11" y="3"/>
                  </a:lnTo>
                  <a:lnTo>
                    <a:pt x="5" y="5"/>
                  </a:lnTo>
                  <a:lnTo>
                    <a:pt x="0" y="8"/>
                  </a:lnTo>
                  <a:lnTo>
                    <a:pt x="0" y="8"/>
                  </a:lnTo>
                  <a:lnTo>
                    <a:pt x="3" y="13"/>
                  </a:lnTo>
                  <a:lnTo>
                    <a:pt x="3" y="16"/>
                  </a:lnTo>
                  <a:lnTo>
                    <a:pt x="5" y="21"/>
                  </a:lnTo>
                  <a:lnTo>
                    <a:pt x="5" y="23"/>
                  </a:lnTo>
                  <a:lnTo>
                    <a:pt x="5" y="23"/>
                  </a:lnTo>
                  <a:lnTo>
                    <a:pt x="5" y="23"/>
                  </a:lnTo>
                  <a:lnTo>
                    <a:pt x="5" y="23"/>
                  </a:lnTo>
                  <a:lnTo>
                    <a:pt x="8" y="23"/>
                  </a:lnTo>
                  <a:lnTo>
                    <a:pt x="8" y="26"/>
                  </a:lnTo>
                  <a:lnTo>
                    <a:pt x="11" y="26"/>
                  </a:lnTo>
                  <a:lnTo>
                    <a:pt x="13" y="26"/>
                  </a:lnTo>
                  <a:lnTo>
                    <a:pt x="16" y="28"/>
                  </a:lnTo>
                  <a:lnTo>
                    <a:pt x="21" y="28"/>
                  </a:lnTo>
                  <a:lnTo>
                    <a:pt x="21" y="28"/>
                  </a:lnTo>
                  <a:lnTo>
                    <a:pt x="23" y="28"/>
                  </a:lnTo>
                  <a:lnTo>
                    <a:pt x="28" y="28"/>
                  </a:lnTo>
                  <a:lnTo>
                    <a:pt x="28" y="31"/>
                  </a:lnTo>
                  <a:lnTo>
                    <a:pt x="31" y="31"/>
                  </a:lnTo>
                  <a:lnTo>
                    <a:pt x="33" y="33"/>
                  </a:lnTo>
                  <a:lnTo>
                    <a:pt x="33" y="33"/>
                  </a:lnTo>
                  <a:lnTo>
                    <a:pt x="31" y="38"/>
                  </a:lnTo>
                  <a:lnTo>
                    <a:pt x="31" y="38"/>
                  </a:lnTo>
                  <a:lnTo>
                    <a:pt x="31" y="41"/>
                  </a:lnTo>
                  <a:lnTo>
                    <a:pt x="31" y="44"/>
                  </a:lnTo>
                  <a:lnTo>
                    <a:pt x="33" y="44"/>
                  </a:lnTo>
                  <a:lnTo>
                    <a:pt x="33" y="44"/>
                  </a:lnTo>
                  <a:lnTo>
                    <a:pt x="33" y="44"/>
                  </a:lnTo>
                  <a:lnTo>
                    <a:pt x="36" y="44"/>
                  </a:lnTo>
                  <a:lnTo>
                    <a:pt x="36" y="44"/>
                  </a:lnTo>
                  <a:lnTo>
                    <a:pt x="36" y="44"/>
                  </a:lnTo>
                  <a:lnTo>
                    <a:pt x="39" y="46"/>
                  </a:lnTo>
                  <a:lnTo>
                    <a:pt x="39" y="46"/>
                  </a:lnTo>
                  <a:lnTo>
                    <a:pt x="39" y="46"/>
                  </a:lnTo>
                  <a:lnTo>
                    <a:pt x="41" y="46"/>
                  </a:lnTo>
                  <a:lnTo>
                    <a:pt x="44" y="46"/>
                  </a:lnTo>
                  <a:lnTo>
                    <a:pt x="44" y="49"/>
                  </a:lnTo>
                  <a:lnTo>
                    <a:pt x="46" y="49"/>
                  </a:lnTo>
                  <a:lnTo>
                    <a:pt x="46" y="51"/>
                  </a:lnTo>
                  <a:lnTo>
                    <a:pt x="46" y="51"/>
                  </a:lnTo>
                  <a:lnTo>
                    <a:pt x="46" y="54"/>
                  </a:lnTo>
                  <a:lnTo>
                    <a:pt x="46" y="54"/>
                  </a:lnTo>
                  <a:lnTo>
                    <a:pt x="49" y="54"/>
                  </a:lnTo>
                  <a:lnTo>
                    <a:pt x="51" y="54"/>
                  </a:lnTo>
                  <a:lnTo>
                    <a:pt x="54" y="54"/>
                  </a:lnTo>
                  <a:lnTo>
                    <a:pt x="54" y="54"/>
                  </a:lnTo>
                  <a:lnTo>
                    <a:pt x="56" y="54"/>
                  </a:lnTo>
                  <a:lnTo>
                    <a:pt x="56" y="54"/>
                  </a:lnTo>
                  <a:lnTo>
                    <a:pt x="59" y="54"/>
                  </a:lnTo>
                  <a:lnTo>
                    <a:pt x="59" y="54"/>
                  </a:lnTo>
                  <a:lnTo>
                    <a:pt x="61" y="54"/>
                  </a:lnTo>
                  <a:lnTo>
                    <a:pt x="64" y="51"/>
                  </a:lnTo>
                  <a:lnTo>
                    <a:pt x="67" y="51"/>
                  </a:lnTo>
                  <a:lnTo>
                    <a:pt x="67" y="51"/>
                  </a:lnTo>
                  <a:lnTo>
                    <a:pt x="67" y="49"/>
                  </a:lnTo>
                  <a:lnTo>
                    <a:pt x="69" y="49"/>
                  </a:lnTo>
                  <a:lnTo>
                    <a:pt x="72" y="49"/>
                  </a:lnTo>
                  <a:lnTo>
                    <a:pt x="72" y="49"/>
                  </a:lnTo>
                  <a:lnTo>
                    <a:pt x="74" y="46"/>
                  </a:lnTo>
                  <a:lnTo>
                    <a:pt x="74" y="46"/>
                  </a:lnTo>
                  <a:lnTo>
                    <a:pt x="77" y="46"/>
                  </a:lnTo>
                  <a:lnTo>
                    <a:pt x="79" y="46"/>
                  </a:lnTo>
                  <a:lnTo>
                    <a:pt x="79" y="46"/>
                  </a:lnTo>
                  <a:lnTo>
                    <a:pt x="79" y="46"/>
                  </a:lnTo>
                  <a:lnTo>
                    <a:pt x="79" y="49"/>
                  </a:lnTo>
                  <a:lnTo>
                    <a:pt x="79" y="49"/>
                  </a:lnTo>
                  <a:lnTo>
                    <a:pt x="79" y="49"/>
                  </a:lnTo>
                  <a:lnTo>
                    <a:pt x="82" y="49"/>
                  </a:lnTo>
                  <a:lnTo>
                    <a:pt x="84" y="49"/>
                  </a:lnTo>
                  <a:lnTo>
                    <a:pt x="84" y="49"/>
                  </a:lnTo>
                  <a:lnTo>
                    <a:pt x="84" y="46"/>
                  </a:lnTo>
                  <a:lnTo>
                    <a:pt x="82" y="46"/>
                  </a:lnTo>
                  <a:lnTo>
                    <a:pt x="82" y="46"/>
                  </a:lnTo>
                  <a:lnTo>
                    <a:pt x="82" y="44"/>
                  </a:lnTo>
                  <a:lnTo>
                    <a:pt x="79" y="44"/>
                  </a:lnTo>
                  <a:lnTo>
                    <a:pt x="79" y="44"/>
                  </a:lnTo>
                  <a:lnTo>
                    <a:pt x="79" y="44"/>
                  </a:lnTo>
                  <a:lnTo>
                    <a:pt x="79" y="41"/>
                  </a:lnTo>
                  <a:lnTo>
                    <a:pt x="82" y="41"/>
                  </a:lnTo>
                  <a:lnTo>
                    <a:pt x="82" y="38"/>
                  </a:lnTo>
                  <a:lnTo>
                    <a:pt x="82" y="38"/>
                  </a:lnTo>
                  <a:lnTo>
                    <a:pt x="82" y="38"/>
                  </a:lnTo>
                  <a:lnTo>
                    <a:pt x="82" y="36"/>
                  </a:lnTo>
                  <a:lnTo>
                    <a:pt x="82" y="33"/>
                  </a:lnTo>
                  <a:lnTo>
                    <a:pt x="84" y="31"/>
                  </a:lnTo>
                  <a:lnTo>
                    <a:pt x="84" y="31"/>
                  </a:lnTo>
                  <a:lnTo>
                    <a:pt x="87" y="31"/>
                  </a:lnTo>
                  <a:lnTo>
                    <a:pt x="90" y="31"/>
                  </a:lnTo>
                  <a:lnTo>
                    <a:pt x="90" y="28"/>
                  </a:lnTo>
                  <a:lnTo>
                    <a:pt x="90" y="28"/>
                  </a:lnTo>
                  <a:lnTo>
                    <a:pt x="90" y="28"/>
                  </a:lnTo>
                  <a:lnTo>
                    <a:pt x="90" y="26"/>
                  </a:lnTo>
                  <a:lnTo>
                    <a:pt x="95" y="28"/>
                  </a:lnTo>
                  <a:lnTo>
                    <a:pt x="97" y="26"/>
                  </a:lnTo>
                  <a:lnTo>
                    <a:pt x="97" y="26"/>
                  </a:lnTo>
                  <a:lnTo>
                    <a:pt x="97" y="26"/>
                  </a:lnTo>
                  <a:lnTo>
                    <a:pt x="97" y="23"/>
                  </a:lnTo>
                  <a:lnTo>
                    <a:pt x="97" y="23"/>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271" name="Freeform 1890">
              <a:extLst>
                <a:ext uri="{FF2B5EF4-FFF2-40B4-BE49-F238E27FC236}">
                  <a16:creationId xmlns:a16="http://schemas.microsoft.com/office/drawing/2014/main" id="{557BEE40-9E5E-0F40-B854-9620FE4470F6}"/>
                </a:ext>
              </a:extLst>
            </p:cNvPr>
            <p:cNvSpPr>
              <a:spLocks/>
            </p:cNvSpPr>
            <p:nvPr/>
          </p:nvSpPr>
          <p:spPr bwMode="auto">
            <a:xfrm>
              <a:off x="5925932" y="2049256"/>
              <a:ext cx="3271" cy="8179"/>
            </a:xfrm>
            <a:custGeom>
              <a:avLst/>
              <a:gdLst>
                <a:gd name="T0" fmla="*/ 2 w 2"/>
                <a:gd name="T1" fmla="*/ 2 h 5"/>
                <a:gd name="T2" fmla="*/ 2 w 2"/>
                <a:gd name="T3" fmla="*/ 2 h 5"/>
                <a:gd name="T4" fmla="*/ 2 w 2"/>
                <a:gd name="T5" fmla="*/ 2 h 5"/>
                <a:gd name="T6" fmla="*/ 2 w 2"/>
                <a:gd name="T7" fmla="*/ 2 h 5"/>
                <a:gd name="T8" fmla="*/ 2 w 2"/>
                <a:gd name="T9" fmla="*/ 0 h 5"/>
                <a:gd name="T10" fmla="*/ 2 w 2"/>
                <a:gd name="T11" fmla="*/ 0 h 5"/>
                <a:gd name="T12" fmla="*/ 0 w 2"/>
                <a:gd name="T13" fmla="*/ 0 h 5"/>
                <a:gd name="T14" fmla="*/ 0 w 2"/>
                <a:gd name="T15" fmla="*/ 2 h 5"/>
                <a:gd name="T16" fmla="*/ 0 w 2"/>
                <a:gd name="T17" fmla="*/ 5 h 5"/>
                <a:gd name="T18" fmla="*/ 0 w 2"/>
                <a:gd name="T19" fmla="*/ 5 h 5"/>
                <a:gd name="T20" fmla="*/ 0 w 2"/>
                <a:gd name="T21" fmla="*/ 5 h 5"/>
                <a:gd name="T22" fmla="*/ 2 w 2"/>
                <a:gd name="T23" fmla="*/ 5 h 5"/>
                <a:gd name="T24" fmla="*/ 2 w 2"/>
                <a:gd name="T25" fmla="*/ 5 h 5"/>
                <a:gd name="T26" fmla="*/ 2 w 2"/>
                <a:gd name="T27" fmla="*/ 5 h 5"/>
                <a:gd name="T28" fmla="*/ 2 w 2"/>
                <a:gd name="T29"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 h="5">
                  <a:moveTo>
                    <a:pt x="2" y="2"/>
                  </a:moveTo>
                  <a:lnTo>
                    <a:pt x="2" y="2"/>
                  </a:lnTo>
                  <a:lnTo>
                    <a:pt x="2" y="2"/>
                  </a:lnTo>
                  <a:lnTo>
                    <a:pt x="2" y="2"/>
                  </a:lnTo>
                  <a:lnTo>
                    <a:pt x="2" y="0"/>
                  </a:lnTo>
                  <a:lnTo>
                    <a:pt x="2" y="0"/>
                  </a:lnTo>
                  <a:lnTo>
                    <a:pt x="0" y="0"/>
                  </a:lnTo>
                  <a:lnTo>
                    <a:pt x="0" y="2"/>
                  </a:lnTo>
                  <a:lnTo>
                    <a:pt x="0" y="5"/>
                  </a:lnTo>
                  <a:lnTo>
                    <a:pt x="0" y="5"/>
                  </a:lnTo>
                  <a:lnTo>
                    <a:pt x="0" y="5"/>
                  </a:lnTo>
                  <a:lnTo>
                    <a:pt x="2" y="5"/>
                  </a:lnTo>
                  <a:lnTo>
                    <a:pt x="2" y="5"/>
                  </a:lnTo>
                  <a:lnTo>
                    <a:pt x="2" y="5"/>
                  </a:lnTo>
                  <a:lnTo>
                    <a:pt x="2" y="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272" name="Freeform 1891">
              <a:extLst>
                <a:ext uri="{FF2B5EF4-FFF2-40B4-BE49-F238E27FC236}">
                  <a16:creationId xmlns:a16="http://schemas.microsoft.com/office/drawing/2014/main" id="{9B3BD4FB-717F-F04D-AD73-59B031598F9A}"/>
                </a:ext>
              </a:extLst>
            </p:cNvPr>
            <p:cNvSpPr>
              <a:spLocks/>
            </p:cNvSpPr>
            <p:nvPr/>
          </p:nvSpPr>
          <p:spPr bwMode="auto">
            <a:xfrm>
              <a:off x="5917754" y="2569420"/>
              <a:ext cx="503807" cy="507078"/>
            </a:xfrm>
            <a:custGeom>
              <a:avLst/>
              <a:gdLst>
                <a:gd name="T0" fmla="*/ 308 w 308"/>
                <a:gd name="T1" fmla="*/ 249 h 310"/>
                <a:gd name="T2" fmla="*/ 305 w 308"/>
                <a:gd name="T3" fmla="*/ 224 h 310"/>
                <a:gd name="T4" fmla="*/ 305 w 308"/>
                <a:gd name="T5" fmla="*/ 198 h 310"/>
                <a:gd name="T6" fmla="*/ 305 w 308"/>
                <a:gd name="T7" fmla="*/ 173 h 310"/>
                <a:gd name="T8" fmla="*/ 305 w 308"/>
                <a:gd name="T9" fmla="*/ 147 h 310"/>
                <a:gd name="T10" fmla="*/ 303 w 308"/>
                <a:gd name="T11" fmla="*/ 119 h 310"/>
                <a:gd name="T12" fmla="*/ 303 w 308"/>
                <a:gd name="T13" fmla="*/ 94 h 310"/>
                <a:gd name="T14" fmla="*/ 298 w 308"/>
                <a:gd name="T15" fmla="*/ 76 h 310"/>
                <a:gd name="T16" fmla="*/ 300 w 308"/>
                <a:gd name="T17" fmla="*/ 61 h 310"/>
                <a:gd name="T18" fmla="*/ 298 w 308"/>
                <a:gd name="T19" fmla="*/ 48 h 310"/>
                <a:gd name="T20" fmla="*/ 303 w 308"/>
                <a:gd name="T21" fmla="*/ 35 h 310"/>
                <a:gd name="T22" fmla="*/ 300 w 308"/>
                <a:gd name="T23" fmla="*/ 28 h 310"/>
                <a:gd name="T24" fmla="*/ 282 w 308"/>
                <a:gd name="T25" fmla="*/ 25 h 310"/>
                <a:gd name="T26" fmla="*/ 265 w 308"/>
                <a:gd name="T27" fmla="*/ 18 h 310"/>
                <a:gd name="T28" fmla="*/ 252 w 308"/>
                <a:gd name="T29" fmla="*/ 7 h 310"/>
                <a:gd name="T30" fmla="*/ 234 w 308"/>
                <a:gd name="T31" fmla="*/ 5 h 310"/>
                <a:gd name="T32" fmla="*/ 211 w 308"/>
                <a:gd name="T33" fmla="*/ 18 h 310"/>
                <a:gd name="T34" fmla="*/ 203 w 308"/>
                <a:gd name="T35" fmla="*/ 35 h 310"/>
                <a:gd name="T36" fmla="*/ 209 w 308"/>
                <a:gd name="T37" fmla="*/ 51 h 310"/>
                <a:gd name="T38" fmla="*/ 188 w 308"/>
                <a:gd name="T39" fmla="*/ 66 h 310"/>
                <a:gd name="T40" fmla="*/ 163 w 308"/>
                <a:gd name="T41" fmla="*/ 51 h 310"/>
                <a:gd name="T42" fmla="*/ 124 w 308"/>
                <a:gd name="T43" fmla="*/ 41 h 310"/>
                <a:gd name="T44" fmla="*/ 117 w 308"/>
                <a:gd name="T45" fmla="*/ 28 h 310"/>
                <a:gd name="T46" fmla="*/ 96 w 308"/>
                <a:gd name="T47" fmla="*/ 13 h 310"/>
                <a:gd name="T48" fmla="*/ 81 w 308"/>
                <a:gd name="T49" fmla="*/ 7 h 310"/>
                <a:gd name="T50" fmla="*/ 56 w 308"/>
                <a:gd name="T51" fmla="*/ 7 h 310"/>
                <a:gd name="T52" fmla="*/ 40 w 308"/>
                <a:gd name="T53" fmla="*/ 5 h 310"/>
                <a:gd name="T54" fmla="*/ 43 w 308"/>
                <a:gd name="T55" fmla="*/ 15 h 310"/>
                <a:gd name="T56" fmla="*/ 28 w 308"/>
                <a:gd name="T57" fmla="*/ 25 h 310"/>
                <a:gd name="T58" fmla="*/ 22 w 308"/>
                <a:gd name="T59" fmla="*/ 30 h 310"/>
                <a:gd name="T60" fmla="*/ 15 w 308"/>
                <a:gd name="T61" fmla="*/ 35 h 310"/>
                <a:gd name="T62" fmla="*/ 17 w 308"/>
                <a:gd name="T63" fmla="*/ 51 h 310"/>
                <a:gd name="T64" fmla="*/ 10 w 308"/>
                <a:gd name="T65" fmla="*/ 63 h 310"/>
                <a:gd name="T66" fmla="*/ 0 w 308"/>
                <a:gd name="T67" fmla="*/ 69 h 310"/>
                <a:gd name="T68" fmla="*/ 7 w 308"/>
                <a:gd name="T69" fmla="*/ 86 h 310"/>
                <a:gd name="T70" fmla="*/ 10 w 308"/>
                <a:gd name="T71" fmla="*/ 117 h 310"/>
                <a:gd name="T72" fmla="*/ 10 w 308"/>
                <a:gd name="T73" fmla="*/ 140 h 310"/>
                <a:gd name="T74" fmla="*/ 7 w 308"/>
                <a:gd name="T75" fmla="*/ 152 h 310"/>
                <a:gd name="T76" fmla="*/ 5 w 308"/>
                <a:gd name="T77" fmla="*/ 165 h 310"/>
                <a:gd name="T78" fmla="*/ 15 w 308"/>
                <a:gd name="T79" fmla="*/ 191 h 310"/>
                <a:gd name="T80" fmla="*/ 20 w 308"/>
                <a:gd name="T81" fmla="*/ 196 h 310"/>
                <a:gd name="T82" fmla="*/ 45 w 308"/>
                <a:gd name="T83" fmla="*/ 206 h 310"/>
                <a:gd name="T84" fmla="*/ 71 w 308"/>
                <a:gd name="T85" fmla="*/ 224 h 310"/>
                <a:gd name="T86" fmla="*/ 96 w 308"/>
                <a:gd name="T87" fmla="*/ 239 h 310"/>
                <a:gd name="T88" fmla="*/ 117 w 308"/>
                <a:gd name="T89" fmla="*/ 226 h 310"/>
                <a:gd name="T90" fmla="*/ 155 w 308"/>
                <a:gd name="T91" fmla="*/ 234 h 310"/>
                <a:gd name="T92" fmla="*/ 203 w 308"/>
                <a:gd name="T93" fmla="*/ 262 h 310"/>
                <a:gd name="T94" fmla="*/ 249 w 308"/>
                <a:gd name="T95" fmla="*/ 290 h 310"/>
                <a:gd name="T96" fmla="*/ 288 w 308"/>
                <a:gd name="T97" fmla="*/ 308 h 310"/>
                <a:gd name="T98" fmla="*/ 298 w 308"/>
                <a:gd name="T99" fmla="*/ 300 h 310"/>
                <a:gd name="T100" fmla="*/ 308 w 308"/>
                <a:gd name="T101" fmla="*/ 298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8" h="310">
                  <a:moveTo>
                    <a:pt x="308" y="287"/>
                  </a:moveTo>
                  <a:lnTo>
                    <a:pt x="308" y="277"/>
                  </a:lnTo>
                  <a:lnTo>
                    <a:pt x="308" y="264"/>
                  </a:lnTo>
                  <a:lnTo>
                    <a:pt x="308" y="254"/>
                  </a:lnTo>
                  <a:lnTo>
                    <a:pt x="308" y="249"/>
                  </a:lnTo>
                  <a:lnTo>
                    <a:pt x="308" y="244"/>
                  </a:lnTo>
                  <a:lnTo>
                    <a:pt x="308" y="239"/>
                  </a:lnTo>
                  <a:lnTo>
                    <a:pt x="305" y="234"/>
                  </a:lnTo>
                  <a:lnTo>
                    <a:pt x="305" y="229"/>
                  </a:lnTo>
                  <a:lnTo>
                    <a:pt x="305" y="224"/>
                  </a:lnTo>
                  <a:lnTo>
                    <a:pt x="305" y="219"/>
                  </a:lnTo>
                  <a:lnTo>
                    <a:pt x="305" y="214"/>
                  </a:lnTo>
                  <a:lnTo>
                    <a:pt x="305" y="208"/>
                  </a:lnTo>
                  <a:lnTo>
                    <a:pt x="305" y="203"/>
                  </a:lnTo>
                  <a:lnTo>
                    <a:pt x="305" y="198"/>
                  </a:lnTo>
                  <a:lnTo>
                    <a:pt x="305" y="193"/>
                  </a:lnTo>
                  <a:lnTo>
                    <a:pt x="305" y="188"/>
                  </a:lnTo>
                  <a:lnTo>
                    <a:pt x="305" y="183"/>
                  </a:lnTo>
                  <a:lnTo>
                    <a:pt x="305" y="178"/>
                  </a:lnTo>
                  <a:lnTo>
                    <a:pt x="305" y="173"/>
                  </a:lnTo>
                  <a:lnTo>
                    <a:pt x="305" y="168"/>
                  </a:lnTo>
                  <a:lnTo>
                    <a:pt x="305" y="163"/>
                  </a:lnTo>
                  <a:lnTo>
                    <a:pt x="305" y="158"/>
                  </a:lnTo>
                  <a:lnTo>
                    <a:pt x="305" y="152"/>
                  </a:lnTo>
                  <a:lnTo>
                    <a:pt x="305" y="147"/>
                  </a:lnTo>
                  <a:lnTo>
                    <a:pt x="305" y="142"/>
                  </a:lnTo>
                  <a:lnTo>
                    <a:pt x="303" y="137"/>
                  </a:lnTo>
                  <a:lnTo>
                    <a:pt x="303" y="132"/>
                  </a:lnTo>
                  <a:lnTo>
                    <a:pt x="303" y="124"/>
                  </a:lnTo>
                  <a:lnTo>
                    <a:pt x="303" y="119"/>
                  </a:lnTo>
                  <a:lnTo>
                    <a:pt x="303" y="114"/>
                  </a:lnTo>
                  <a:lnTo>
                    <a:pt x="303" y="109"/>
                  </a:lnTo>
                  <a:lnTo>
                    <a:pt x="303" y="104"/>
                  </a:lnTo>
                  <a:lnTo>
                    <a:pt x="303" y="99"/>
                  </a:lnTo>
                  <a:lnTo>
                    <a:pt x="303" y="94"/>
                  </a:lnTo>
                  <a:lnTo>
                    <a:pt x="303" y="89"/>
                  </a:lnTo>
                  <a:lnTo>
                    <a:pt x="303" y="89"/>
                  </a:lnTo>
                  <a:lnTo>
                    <a:pt x="300" y="86"/>
                  </a:lnTo>
                  <a:lnTo>
                    <a:pt x="300" y="81"/>
                  </a:lnTo>
                  <a:lnTo>
                    <a:pt x="298" y="76"/>
                  </a:lnTo>
                  <a:lnTo>
                    <a:pt x="298" y="74"/>
                  </a:lnTo>
                  <a:lnTo>
                    <a:pt x="298" y="69"/>
                  </a:lnTo>
                  <a:lnTo>
                    <a:pt x="295" y="66"/>
                  </a:lnTo>
                  <a:lnTo>
                    <a:pt x="298" y="66"/>
                  </a:lnTo>
                  <a:lnTo>
                    <a:pt x="300" y="61"/>
                  </a:lnTo>
                  <a:lnTo>
                    <a:pt x="300" y="58"/>
                  </a:lnTo>
                  <a:lnTo>
                    <a:pt x="300" y="56"/>
                  </a:lnTo>
                  <a:lnTo>
                    <a:pt x="300" y="53"/>
                  </a:lnTo>
                  <a:lnTo>
                    <a:pt x="300" y="51"/>
                  </a:lnTo>
                  <a:lnTo>
                    <a:pt x="298" y="48"/>
                  </a:lnTo>
                  <a:lnTo>
                    <a:pt x="298" y="46"/>
                  </a:lnTo>
                  <a:lnTo>
                    <a:pt x="298" y="41"/>
                  </a:lnTo>
                  <a:lnTo>
                    <a:pt x="300" y="38"/>
                  </a:lnTo>
                  <a:lnTo>
                    <a:pt x="300" y="38"/>
                  </a:lnTo>
                  <a:lnTo>
                    <a:pt x="303" y="35"/>
                  </a:lnTo>
                  <a:lnTo>
                    <a:pt x="303" y="35"/>
                  </a:lnTo>
                  <a:lnTo>
                    <a:pt x="303" y="33"/>
                  </a:lnTo>
                  <a:lnTo>
                    <a:pt x="303" y="33"/>
                  </a:lnTo>
                  <a:lnTo>
                    <a:pt x="300" y="28"/>
                  </a:lnTo>
                  <a:lnTo>
                    <a:pt x="300" y="28"/>
                  </a:lnTo>
                  <a:lnTo>
                    <a:pt x="298" y="28"/>
                  </a:lnTo>
                  <a:lnTo>
                    <a:pt x="295" y="25"/>
                  </a:lnTo>
                  <a:lnTo>
                    <a:pt x="290" y="25"/>
                  </a:lnTo>
                  <a:lnTo>
                    <a:pt x="282" y="25"/>
                  </a:lnTo>
                  <a:lnTo>
                    <a:pt x="282" y="25"/>
                  </a:lnTo>
                  <a:lnTo>
                    <a:pt x="280" y="23"/>
                  </a:lnTo>
                  <a:lnTo>
                    <a:pt x="277" y="23"/>
                  </a:lnTo>
                  <a:lnTo>
                    <a:pt x="267" y="20"/>
                  </a:lnTo>
                  <a:lnTo>
                    <a:pt x="265" y="18"/>
                  </a:lnTo>
                  <a:lnTo>
                    <a:pt x="265" y="18"/>
                  </a:lnTo>
                  <a:lnTo>
                    <a:pt x="265" y="15"/>
                  </a:lnTo>
                  <a:lnTo>
                    <a:pt x="262" y="13"/>
                  </a:lnTo>
                  <a:lnTo>
                    <a:pt x="259" y="10"/>
                  </a:lnTo>
                  <a:lnTo>
                    <a:pt x="257" y="10"/>
                  </a:lnTo>
                  <a:lnTo>
                    <a:pt x="252" y="7"/>
                  </a:lnTo>
                  <a:lnTo>
                    <a:pt x="249" y="7"/>
                  </a:lnTo>
                  <a:lnTo>
                    <a:pt x="247" y="5"/>
                  </a:lnTo>
                  <a:lnTo>
                    <a:pt x="239" y="5"/>
                  </a:lnTo>
                  <a:lnTo>
                    <a:pt x="237" y="5"/>
                  </a:lnTo>
                  <a:lnTo>
                    <a:pt x="234" y="5"/>
                  </a:lnTo>
                  <a:lnTo>
                    <a:pt x="231" y="7"/>
                  </a:lnTo>
                  <a:lnTo>
                    <a:pt x="229" y="7"/>
                  </a:lnTo>
                  <a:lnTo>
                    <a:pt x="224" y="7"/>
                  </a:lnTo>
                  <a:lnTo>
                    <a:pt x="216" y="13"/>
                  </a:lnTo>
                  <a:lnTo>
                    <a:pt x="211" y="18"/>
                  </a:lnTo>
                  <a:lnTo>
                    <a:pt x="206" y="20"/>
                  </a:lnTo>
                  <a:lnTo>
                    <a:pt x="206" y="23"/>
                  </a:lnTo>
                  <a:lnTo>
                    <a:pt x="203" y="25"/>
                  </a:lnTo>
                  <a:lnTo>
                    <a:pt x="203" y="30"/>
                  </a:lnTo>
                  <a:lnTo>
                    <a:pt x="203" y="35"/>
                  </a:lnTo>
                  <a:lnTo>
                    <a:pt x="206" y="41"/>
                  </a:lnTo>
                  <a:lnTo>
                    <a:pt x="206" y="43"/>
                  </a:lnTo>
                  <a:lnTo>
                    <a:pt x="209" y="46"/>
                  </a:lnTo>
                  <a:lnTo>
                    <a:pt x="209" y="48"/>
                  </a:lnTo>
                  <a:lnTo>
                    <a:pt x="209" y="51"/>
                  </a:lnTo>
                  <a:lnTo>
                    <a:pt x="206" y="53"/>
                  </a:lnTo>
                  <a:lnTo>
                    <a:pt x="201" y="61"/>
                  </a:lnTo>
                  <a:lnTo>
                    <a:pt x="198" y="61"/>
                  </a:lnTo>
                  <a:lnTo>
                    <a:pt x="191" y="66"/>
                  </a:lnTo>
                  <a:lnTo>
                    <a:pt x="188" y="66"/>
                  </a:lnTo>
                  <a:lnTo>
                    <a:pt x="186" y="66"/>
                  </a:lnTo>
                  <a:lnTo>
                    <a:pt x="180" y="61"/>
                  </a:lnTo>
                  <a:lnTo>
                    <a:pt x="170" y="53"/>
                  </a:lnTo>
                  <a:lnTo>
                    <a:pt x="165" y="53"/>
                  </a:lnTo>
                  <a:lnTo>
                    <a:pt x="163" y="51"/>
                  </a:lnTo>
                  <a:lnTo>
                    <a:pt x="155" y="48"/>
                  </a:lnTo>
                  <a:lnTo>
                    <a:pt x="142" y="43"/>
                  </a:lnTo>
                  <a:lnTo>
                    <a:pt x="137" y="43"/>
                  </a:lnTo>
                  <a:lnTo>
                    <a:pt x="129" y="43"/>
                  </a:lnTo>
                  <a:lnTo>
                    <a:pt x="124" y="41"/>
                  </a:lnTo>
                  <a:lnTo>
                    <a:pt x="122" y="38"/>
                  </a:lnTo>
                  <a:lnTo>
                    <a:pt x="119" y="38"/>
                  </a:lnTo>
                  <a:lnTo>
                    <a:pt x="119" y="33"/>
                  </a:lnTo>
                  <a:lnTo>
                    <a:pt x="117" y="30"/>
                  </a:lnTo>
                  <a:lnTo>
                    <a:pt x="117" y="28"/>
                  </a:lnTo>
                  <a:lnTo>
                    <a:pt x="114" y="23"/>
                  </a:lnTo>
                  <a:lnTo>
                    <a:pt x="114" y="20"/>
                  </a:lnTo>
                  <a:lnTo>
                    <a:pt x="112" y="18"/>
                  </a:lnTo>
                  <a:lnTo>
                    <a:pt x="99" y="15"/>
                  </a:lnTo>
                  <a:lnTo>
                    <a:pt x="96" y="13"/>
                  </a:lnTo>
                  <a:lnTo>
                    <a:pt x="94" y="10"/>
                  </a:lnTo>
                  <a:lnTo>
                    <a:pt x="91" y="10"/>
                  </a:lnTo>
                  <a:lnTo>
                    <a:pt x="86" y="7"/>
                  </a:lnTo>
                  <a:lnTo>
                    <a:pt x="84" y="7"/>
                  </a:lnTo>
                  <a:lnTo>
                    <a:pt x="81" y="7"/>
                  </a:lnTo>
                  <a:lnTo>
                    <a:pt x="76" y="5"/>
                  </a:lnTo>
                  <a:lnTo>
                    <a:pt x="73" y="5"/>
                  </a:lnTo>
                  <a:lnTo>
                    <a:pt x="66" y="7"/>
                  </a:lnTo>
                  <a:lnTo>
                    <a:pt x="58" y="7"/>
                  </a:lnTo>
                  <a:lnTo>
                    <a:pt x="56" y="7"/>
                  </a:lnTo>
                  <a:lnTo>
                    <a:pt x="48" y="2"/>
                  </a:lnTo>
                  <a:lnTo>
                    <a:pt x="45" y="0"/>
                  </a:lnTo>
                  <a:lnTo>
                    <a:pt x="40" y="0"/>
                  </a:lnTo>
                  <a:lnTo>
                    <a:pt x="40" y="0"/>
                  </a:lnTo>
                  <a:lnTo>
                    <a:pt x="40" y="5"/>
                  </a:lnTo>
                  <a:lnTo>
                    <a:pt x="40" y="5"/>
                  </a:lnTo>
                  <a:lnTo>
                    <a:pt x="40" y="7"/>
                  </a:lnTo>
                  <a:lnTo>
                    <a:pt x="40" y="13"/>
                  </a:lnTo>
                  <a:lnTo>
                    <a:pt x="43" y="15"/>
                  </a:lnTo>
                  <a:lnTo>
                    <a:pt x="43" y="15"/>
                  </a:lnTo>
                  <a:lnTo>
                    <a:pt x="43" y="18"/>
                  </a:lnTo>
                  <a:lnTo>
                    <a:pt x="38" y="18"/>
                  </a:lnTo>
                  <a:lnTo>
                    <a:pt x="35" y="20"/>
                  </a:lnTo>
                  <a:lnTo>
                    <a:pt x="33" y="23"/>
                  </a:lnTo>
                  <a:lnTo>
                    <a:pt x="28" y="25"/>
                  </a:lnTo>
                  <a:lnTo>
                    <a:pt x="28" y="25"/>
                  </a:lnTo>
                  <a:lnTo>
                    <a:pt x="25" y="28"/>
                  </a:lnTo>
                  <a:lnTo>
                    <a:pt x="25" y="28"/>
                  </a:lnTo>
                  <a:lnTo>
                    <a:pt x="25" y="28"/>
                  </a:lnTo>
                  <a:lnTo>
                    <a:pt x="22" y="30"/>
                  </a:lnTo>
                  <a:lnTo>
                    <a:pt x="22" y="33"/>
                  </a:lnTo>
                  <a:lnTo>
                    <a:pt x="17" y="33"/>
                  </a:lnTo>
                  <a:lnTo>
                    <a:pt x="17" y="33"/>
                  </a:lnTo>
                  <a:lnTo>
                    <a:pt x="17" y="35"/>
                  </a:lnTo>
                  <a:lnTo>
                    <a:pt x="15" y="35"/>
                  </a:lnTo>
                  <a:lnTo>
                    <a:pt x="15" y="38"/>
                  </a:lnTo>
                  <a:lnTo>
                    <a:pt x="15" y="43"/>
                  </a:lnTo>
                  <a:lnTo>
                    <a:pt x="17" y="48"/>
                  </a:lnTo>
                  <a:lnTo>
                    <a:pt x="17" y="51"/>
                  </a:lnTo>
                  <a:lnTo>
                    <a:pt x="17" y="51"/>
                  </a:lnTo>
                  <a:lnTo>
                    <a:pt x="17" y="53"/>
                  </a:lnTo>
                  <a:lnTo>
                    <a:pt x="15" y="56"/>
                  </a:lnTo>
                  <a:lnTo>
                    <a:pt x="15" y="58"/>
                  </a:lnTo>
                  <a:lnTo>
                    <a:pt x="12" y="61"/>
                  </a:lnTo>
                  <a:lnTo>
                    <a:pt x="10" y="63"/>
                  </a:lnTo>
                  <a:lnTo>
                    <a:pt x="10" y="63"/>
                  </a:lnTo>
                  <a:lnTo>
                    <a:pt x="5" y="66"/>
                  </a:lnTo>
                  <a:lnTo>
                    <a:pt x="5" y="66"/>
                  </a:lnTo>
                  <a:lnTo>
                    <a:pt x="2" y="69"/>
                  </a:lnTo>
                  <a:lnTo>
                    <a:pt x="0" y="69"/>
                  </a:lnTo>
                  <a:lnTo>
                    <a:pt x="2" y="71"/>
                  </a:lnTo>
                  <a:lnTo>
                    <a:pt x="5" y="76"/>
                  </a:lnTo>
                  <a:lnTo>
                    <a:pt x="5" y="79"/>
                  </a:lnTo>
                  <a:lnTo>
                    <a:pt x="7" y="81"/>
                  </a:lnTo>
                  <a:lnTo>
                    <a:pt x="7" y="86"/>
                  </a:lnTo>
                  <a:lnTo>
                    <a:pt x="10" y="91"/>
                  </a:lnTo>
                  <a:lnTo>
                    <a:pt x="10" y="91"/>
                  </a:lnTo>
                  <a:lnTo>
                    <a:pt x="10" y="94"/>
                  </a:lnTo>
                  <a:lnTo>
                    <a:pt x="10" y="104"/>
                  </a:lnTo>
                  <a:lnTo>
                    <a:pt x="10" y="117"/>
                  </a:lnTo>
                  <a:lnTo>
                    <a:pt x="10" y="122"/>
                  </a:lnTo>
                  <a:lnTo>
                    <a:pt x="10" y="127"/>
                  </a:lnTo>
                  <a:lnTo>
                    <a:pt x="7" y="132"/>
                  </a:lnTo>
                  <a:lnTo>
                    <a:pt x="7" y="135"/>
                  </a:lnTo>
                  <a:lnTo>
                    <a:pt x="10" y="140"/>
                  </a:lnTo>
                  <a:lnTo>
                    <a:pt x="10" y="142"/>
                  </a:lnTo>
                  <a:lnTo>
                    <a:pt x="10" y="142"/>
                  </a:lnTo>
                  <a:lnTo>
                    <a:pt x="10" y="147"/>
                  </a:lnTo>
                  <a:lnTo>
                    <a:pt x="10" y="150"/>
                  </a:lnTo>
                  <a:lnTo>
                    <a:pt x="7" y="152"/>
                  </a:lnTo>
                  <a:lnTo>
                    <a:pt x="2" y="155"/>
                  </a:lnTo>
                  <a:lnTo>
                    <a:pt x="2" y="158"/>
                  </a:lnTo>
                  <a:lnTo>
                    <a:pt x="2" y="160"/>
                  </a:lnTo>
                  <a:lnTo>
                    <a:pt x="2" y="160"/>
                  </a:lnTo>
                  <a:lnTo>
                    <a:pt x="5" y="165"/>
                  </a:lnTo>
                  <a:lnTo>
                    <a:pt x="7" y="170"/>
                  </a:lnTo>
                  <a:lnTo>
                    <a:pt x="12" y="178"/>
                  </a:lnTo>
                  <a:lnTo>
                    <a:pt x="12" y="180"/>
                  </a:lnTo>
                  <a:lnTo>
                    <a:pt x="12" y="183"/>
                  </a:lnTo>
                  <a:lnTo>
                    <a:pt x="15" y="191"/>
                  </a:lnTo>
                  <a:lnTo>
                    <a:pt x="17" y="193"/>
                  </a:lnTo>
                  <a:lnTo>
                    <a:pt x="17" y="193"/>
                  </a:lnTo>
                  <a:lnTo>
                    <a:pt x="20" y="196"/>
                  </a:lnTo>
                  <a:lnTo>
                    <a:pt x="20" y="196"/>
                  </a:lnTo>
                  <a:lnTo>
                    <a:pt x="20" y="196"/>
                  </a:lnTo>
                  <a:lnTo>
                    <a:pt x="25" y="196"/>
                  </a:lnTo>
                  <a:lnTo>
                    <a:pt x="35" y="198"/>
                  </a:lnTo>
                  <a:lnTo>
                    <a:pt x="43" y="201"/>
                  </a:lnTo>
                  <a:lnTo>
                    <a:pt x="43" y="201"/>
                  </a:lnTo>
                  <a:lnTo>
                    <a:pt x="45" y="206"/>
                  </a:lnTo>
                  <a:lnTo>
                    <a:pt x="48" y="211"/>
                  </a:lnTo>
                  <a:lnTo>
                    <a:pt x="48" y="214"/>
                  </a:lnTo>
                  <a:lnTo>
                    <a:pt x="50" y="219"/>
                  </a:lnTo>
                  <a:lnTo>
                    <a:pt x="61" y="221"/>
                  </a:lnTo>
                  <a:lnTo>
                    <a:pt x="71" y="224"/>
                  </a:lnTo>
                  <a:lnTo>
                    <a:pt x="81" y="226"/>
                  </a:lnTo>
                  <a:lnTo>
                    <a:pt x="84" y="229"/>
                  </a:lnTo>
                  <a:lnTo>
                    <a:pt x="89" y="234"/>
                  </a:lnTo>
                  <a:lnTo>
                    <a:pt x="94" y="239"/>
                  </a:lnTo>
                  <a:lnTo>
                    <a:pt x="96" y="239"/>
                  </a:lnTo>
                  <a:lnTo>
                    <a:pt x="96" y="239"/>
                  </a:lnTo>
                  <a:lnTo>
                    <a:pt x="101" y="236"/>
                  </a:lnTo>
                  <a:lnTo>
                    <a:pt x="109" y="231"/>
                  </a:lnTo>
                  <a:lnTo>
                    <a:pt x="109" y="231"/>
                  </a:lnTo>
                  <a:lnTo>
                    <a:pt x="117" y="226"/>
                  </a:lnTo>
                  <a:lnTo>
                    <a:pt x="122" y="224"/>
                  </a:lnTo>
                  <a:lnTo>
                    <a:pt x="129" y="221"/>
                  </a:lnTo>
                  <a:lnTo>
                    <a:pt x="137" y="224"/>
                  </a:lnTo>
                  <a:lnTo>
                    <a:pt x="145" y="229"/>
                  </a:lnTo>
                  <a:lnTo>
                    <a:pt x="155" y="234"/>
                  </a:lnTo>
                  <a:lnTo>
                    <a:pt x="165" y="242"/>
                  </a:lnTo>
                  <a:lnTo>
                    <a:pt x="175" y="247"/>
                  </a:lnTo>
                  <a:lnTo>
                    <a:pt x="183" y="252"/>
                  </a:lnTo>
                  <a:lnTo>
                    <a:pt x="193" y="257"/>
                  </a:lnTo>
                  <a:lnTo>
                    <a:pt x="203" y="262"/>
                  </a:lnTo>
                  <a:lnTo>
                    <a:pt x="211" y="267"/>
                  </a:lnTo>
                  <a:lnTo>
                    <a:pt x="221" y="272"/>
                  </a:lnTo>
                  <a:lnTo>
                    <a:pt x="231" y="277"/>
                  </a:lnTo>
                  <a:lnTo>
                    <a:pt x="242" y="282"/>
                  </a:lnTo>
                  <a:lnTo>
                    <a:pt x="249" y="290"/>
                  </a:lnTo>
                  <a:lnTo>
                    <a:pt x="259" y="295"/>
                  </a:lnTo>
                  <a:lnTo>
                    <a:pt x="270" y="300"/>
                  </a:lnTo>
                  <a:lnTo>
                    <a:pt x="280" y="305"/>
                  </a:lnTo>
                  <a:lnTo>
                    <a:pt x="288" y="310"/>
                  </a:lnTo>
                  <a:lnTo>
                    <a:pt x="288" y="308"/>
                  </a:lnTo>
                  <a:lnTo>
                    <a:pt x="288" y="305"/>
                  </a:lnTo>
                  <a:lnTo>
                    <a:pt x="288" y="303"/>
                  </a:lnTo>
                  <a:lnTo>
                    <a:pt x="288" y="298"/>
                  </a:lnTo>
                  <a:lnTo>
                    <a:pt x="293" y="300"/>
                  </a:lnTo>
                  <a:lnTo>
                    <a:pt x="298" y="300"/>
                  </a:lnTo>
                  <a:lnTo>
                    <a:pt x="303" y="300"/>
                  </a:lnTo>
                  <a:lnTo>
                    <a:pt x="308" y="300"/>
                  </a:lnTo>
                  <a:lnTo>
                    <a:pt x="308" y="298"/>
                  </a:lnTo>
                  <a:lnTo>
                    <a:pt x="308" y="298"/>
                  </a:lnTo>
                  <a:lnTo>
                    <a:pt x="308" y="298"/>
                  </a:lnTo>
                  <a:lnTo>
                    <a:pt x="308" y="298"/>
                  </a:lnTo>
                  <a:lnTo>
                    <a:pt x="308" y="287"/>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273" name="Freeform 1892">
              <a:extLst>
                <a:ext uri="{FF2B5EF4-FFF2-40B4-BE49-F238E27FC236}">
                  <a16:creationId xmlns:a16="http://schemas.microsoft.com/office/drawing/2014/main" id="{D8C361F9-BF28-CE46-A29B-AA4D5F3CCA17}"/>
                </a:ext>
              </a:extLst>
            </p:cNvPr>
            <p:cNvSpPr>
              <a:spLocks/>
            </p:cNvSpPr>
            <p:nvPr/>
          </p:nvSpPr>
          <p:spPr bwMode="auto">
            <a:xfrm>
              <a:off x="5234016" y="3485432"/>
              <a:ext cx="132495" cy="153759"/>
            </a:xfrm>
            <a:custGeom>
              <a:avLst/>
              <a:gdLst>
                <a:gd name="T0" fmla="*/ 79 w 81"/>
                <a:gd name="T1" fmla="*/ 61 h 94"/>
                <a:gd name="T2" fmla="*/ 76 w 81"/>
                <a:gd name="T3" fmla="*/ 58 h 94"/>
                <a:gd name="T4" fmla="*/ 73 w 81"/>
                <a:gd name="T5" fmla="*/ 56 h 94"/>
                <a:gd name="T6" fmla="*/ 71 w 81"/>
                <a:gd name="T7" fmla="*/ 51 h 94"/>
                <a:gd name="T8" fmla="*/ 66 w 81"/>
                <a:gd name="T9" fmla="*/ 51 h 94"/>
                <a:gd name="T10" fmla="*/ 61 w 81"/>
                <a:gd name="T11" fmla="*/ 48 h 94"/>
                <a:gd name="T12" fmla="*/ 58 w 81"/>
                <a:gd name="T13" fmla="*/ 45 h 94"/>
                <a:gd name="T14" fmla="*/ 56 w 81"/>
                <a:gd name="T15" fmla="*/ 45 h 94"/>
                <a:gd name="T16" fmla="*/ 63 w 81"/>
                <a:gd name="T17" fmla="*/ 38 h 94"/>
                <a:gd name="T18" fmla="*/ 63 w 81"/>
                <a:gd name="T19" fmla="*/ 33 h 94"/>
                <a:gd name="T20" fmla="*/ 61 w 81"/>
                <a:gd name="T21" fmla="*/ 23 h 94"/>
                <a:gd name="T22" fmla="*/ 58 w 81"/>
                <a:gd name="T23" fmla="*/ 20 h 94"/>
                <a:gd name="T24" fmla="*/ 56 w 81"/>
                <a:gd name="T25" fmla="*/ 17 h 94"/>
                <a:gd name="T26" fmla="*/ 53 w 81"/>
                <a:gd name="T27" fmla="*/ 23 h 94"/>
                <a:gd name="T28" fmla="*/ 53 w 81"/>
                <a:gd name="T29" fmla="*/ 25 h 94"/>
                <a:gd name="T30" fmla="*/ 51 w 81"/>
                <a:gd name="T31" fmla="*/ 28 h 94"/>
                <a:gd name="T32" fmla="*/ 48 w 81"/>
                <a:gd name="T33" fmla="*/ 30 h 94"/>
                <a:gd name="T34" fmla="*/ 45 w 81"/>
                <a:gd name="T35" fmla="*/ 28 h 94"/>
                <a:gd name="T36" fmla="*/ 43 w 81"/>
                <a:gd name="T37" fmla="*/ 25 h 94"/>
                <a:gd name="T38" fmla="*/ 40 w 81"/>
                <a:gd name="T39" fmla="*/ 25 h 94"/>
                <a:gd name="T40" fmla="*/ 40 w 81"/>
                <a:gd name="T41" fmla="*/ 20 h 94"/>
                <a:gd name="T42" fmla="*/ 40 w 81"/>
                <a:gd name="T43" fmla="*/ 15 h 94"/>
                <a:gd name="T44" fmla="*/ 40 w 81"/>
                <a:gd name="T45" fmla="*/ 12 h 94"/>
                <a:gd name="T46" fmla="*/ 40 w 81"/>
                <a:gd name="T47" fmla="*/ 10 h 94"/>
                <a:gd name="T48" fmla="*/ 38 w 81"/>
                <a:gd name="T49" fmla="*/ 5 h 94"/>
                <a:gd name="T50" fmla="*/ 38 w 81"/>
                <a:gd name="T51" fmla="*/ 2 h 94"/>
                <a:gd name="T52" fmla="*/ 35 w 81"/>
                <a:gd name="T53" fmla="*/ 0 h 94"/>
                <a:gd name="T54" fmla="*/ 35 w 81"/>
                <a:gd name="T55" fmla="*/ 2 h 94"/>
                <a:gd name="T56" fmla="*/ 33 w 81"/>
                <a:gd name="T57" fmla="*/ 0 h 94"/>
                <a:gd name="T58" fmla="*/ 28 w 81"/>
                <a:gd name="T59" fmla="*/ 0 h 94"/>
                <a:gd name="T60" fmla="*/ 22 w 81"/>
                <a:gd name="T61" fmla="*/ 0 h 94"/>
                <a:gd name="T62" fmla="*/ 22 w 81"/>
                <a:gd name="T63" fmla="*/ 7 h 94"/>
                <a:gd name="T64" fmla="*/ 17 w 81"/>
                <a:gd name="T65" fmla="*/ 10 h 94"/>
                <a:gd name="T66" fmla="*/ 15 w 81"/>
                <a:gd name="T67" fmla="*/ 17 h 94"/>
                <a:gd name="T68" fmla="*/ 7 w 81"/>
                <a:gd name="T69" fmla="*/ 25 h 94"/>
                <a:gd name="T70" fmla="*/ 2 w 81"/>
                <a:gd name="T71" fmla="*/ 33 h 94"/>
                <a:gd name="T72" fmla="*/ 2 w 81"/>
                <a:gd name="T73" fmla="*/ 40 h 94"/>
                <a:gd name="T74" fmla="*/ 12 w 81"/>
                <a:gd name="T75" fmla="*/ 51 h 94"/>
                <a:gd name="T76" fmla="*/ 20 w 81"/>
                <a:gd name="T77" fmla="*/ 53 h 94"/>
                <a:gd name="T78" fmla="*/ 40 w 81"/>
                <a:gd name="T79" fmla="*/ 73 h 94"/>
                <a:gd name="T80" fmla="*/ 68 w 81"/>
                <a:gd name="T81" fmla="*/ 91 h 94"/>
                <a:gd name="T82" fmla="*/ 76 w 81"/>
                <a:gd name="T83" fmla="*/ 94 h 94"/>
                <a:gd name="T84" fmla="*/ 76 w 81"/>
                <a:gd name="T85" fmla="*/ 81 h 94"/>
                <a:gd name="T86" fmla="*/ 79 w 81"/>
                <a:gd name="T87" fmla="*/ 76 h 94"/>
                <a:gd name="T88" fmla="*/ 81 w 81"/>
                <a:gd name="T89" fmla="*/ 71 h 94"/>
                <a:gd name="T90" fmla="*/ 81 w 81"/>
                <a:gd name="T91" fmla="*/ 66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1" h="94">
                  <a:moveTo>
                    <a:pt x="81" y="66"/>
                  </a:moveTo>
                  <a:lnTo>
                    <a:pt x="79" y="61"/>
                  </a:lnTo>
                  <a:lnTo>
                    <a:pt x="79" y="61"/>
                  </a:lnTo>
                  <a:lnTo>
                    <a:pt x="79" y="61"/>
                  </a:lnTo>
                  <a:lnTo>
                    <a:pt x="79" y="61"/>
                  </a:lnTo>
                  <a:lnTo>
                    <a:pt x="76" y="58"/>
                  </a:lnTo>
                  <a:lnTo>
                    <a:pt x="73" y="58"/>
                  </a:lnTo>
                  <a:lnTo>
                    <a:pt x="73" y="58"/>
                  </a:lnTo>
                  <a:lnTo>
                    <a:pt x="73" y="56"/>
                  </a:lnTo>
                  <a:lnTo>
                    <a:pt x="71" y="56"/>
                  </a:lnTo>
                  <a:lnTo>
                    <a:pt x="71" y="53"/>
                  </a:lnTo>
                  <a:lnTo>
                    <a:pt x="71" y="51"/>
                  </a:lnTo>
                  <a:lnTo>
                    <a:pt x="68" y="51"/>
                  </a:lnTo>
                  <a:lnTo>
                    <a:pt x="68" y="51"/>
                  </a:lnTo>
                  <a:lnTo>
                    <a:pt x="66" y="51"/>
                  </a:lnTo>
                  <a:lnTo>
                    <a:pt x="66" y="51"/>
                  </a:lnTo>
                  <a:lnTo>
                    <a:pt x="63" y="51"/>
                  </a:lnTo>
                  <a:lnTo>
                    <a:pt x="61" y="48"/>
                  </a:lnTo>
                  <a:lnTo>
                    <a:pt x="61" y="48"/>
                  </a:lnTo>
                  <a:lnTo>
                    <a:pt x="61" y="45"/>
                  </a:lnTo>
                  <a:lnTo>
                    <a:pt x="58" y="45"/>
                  </a:lnTo>
                  <a:lnTo>
                    <a:pt x="58" y="45"/>
                  </a:lnTo>
                  <a:lnTo>
                    <a:pt x="58" y="45"/>
                  </a:lnTo>
                  <a:lnTo>
                    <a:pt x="56" y="45"/>
                  </a:lnTo>
                  <a:lnTo>
                    <a:pt x="61" y="40"/>
                  </a:lnTo>
                  <a:lnTo>
                    <a:pt x="63" y="38"/>
                  </a:lnTo>
                  <a:lnTo>
                    <a:pt x="63" y="38"/>
                  </a:lnTo>
                  <a:lnTo>
                    <a:pt x="63" y="35"/>
                  </a:lnTo>
                  <a:lnTo>
                    <a:pt x="63" y="35"/>
                  </a:lnTo>
                  <a:lnTo>
                    <a:pt x="63" y="33"/>
                  </a:lnTo>
                  <a:lnTo>
                    <a:pt x="61" y="25"/>
                  </a:lnTo>
                  <a:lnTo>
                    <a:pt x="61" y="23"/>
                  </a:lnTo>
                  <a:lnTo>
                    <a:pt x="61" y="23"/>
                  </a:lnTo>
                  <a:lnTo>
                    <a:pt x="58" y="23"/>
                  </a:lnTo>
                  <a:lnTo>
                    <a:pt x="58" y="20"/>
                  </a:lnTo>
                  <a:lnTo>
                    <a:pt x="58" y="20"/>
                  </a:lnTo>
                  <a:lnTo>
                    <a:pt x="58" y="17"/>
                  </a:lnTo>
                  <a:lnTo>
                    <a:pt x="56" y="17"/>
                  </a:lnTo>
                  <a:lnTo>
                    <a:pt x="56" y="17"/>
                  </a:lnTo>
                  <a:lnTo>
                    <a:pt x="56" y="20"/>
                  </a:lnTo>
                  <a:lnTo>
                    <a:pt x="56" y="20"/>
                  </a:lnTo>
                  <a:lnTo>
                    <a:pt x="53" y="23"/>
                  </a:lnTo>
                  <a:lnTo>
                    <a:pt x="53" y="23"/>
                  </a:lnTo>
                  <a:lnTo>
                    <a:pt x="53" y="23"/>
                  </a:lnTo>
                  <a:lnTo>
                    <a:pt x="53" y="25"/>
                  </a:lnTo>
                  <a:lnTo>
                    <a:pt x="51" y="28"/>
                  </a:lnTo>
                  <a:lnTo>
                    <a:pt x="51" y="28"/>
                  </a:lnTo>
                  <a:lnTo>
                    <a:pt x="51" y="28"/>
                  </a:lnTo>
                  <a:lnTo>
                    <a:pt x="51" y="28"/>
                  </a:lnTo>
                  <a:lnTo>
                    <a:pt x="51" y="28"/>
                  </a:lnTo>
                  <a:lnTo>
                    <a:pt x="48" y="30"/>
                  </a:lnTo>
                  <a:lnTo>
                    <a:pt x="45" y="30"/>
                  </a:lnTo>
                  <a:lnTo>
                    <a:pt x="45" y="28"/>
                  </a:lnTo>
                  <a:lnTo>
                    <a:pt x="45" y="28"/>
                  </a:lnTo>
                  <a:lnTo>
                    <a:pt x="45" y="28"/>
                  </a:lnTo>
                  <a:lnTo>
                    <a:pt x="43" y="25"/>
                  </a:lnTo>
                  <a:lnTo>
                    <a:pt x="43" y="25"/>
                  </a:lnTo>
                  <a:lnTo>
                    <a:pt x="40" y="25"/>
                  </a:lnTo>
                  <a:lnTo>
                    <a:pt x="40" y="25"/>
                  </a:lnTo>
                  <a:lnTo>
                    <a:pt x="40" y="25"/>
                  </a:lnTo>
                  <a:lnTo>
                    <a:pt x="40" y="25"/>
                  </a:lnTo>
                  <a:lnTo>
                    <a:pt x="40" y="23"/>
                  </a:lnTo>
                  <a:lnTo>
                    <a:pt x="40" y="20"/>
                  </a:lnTo>
                  <a:lnTo>
                    <a:pt x="40" y="20"/>
                  </a:lnTo>
                  <a:lnTo>
                    <a:pt x="40" y="17"/>
                  </a:lnTo>
                  <a:lnTo>
                    <a:pt x="40" y="15"/>
                  </a:lnTo>
                  <a:lnTo>
                    <a:pt x="40" y="15"/>
                  </a:lnTo>
                  <a:lnTo>
                    <a:pt x="40" y="12"/>
                  </a:lnTo>
                  <a:lnTo>
                    <a:pt x="40" y="12"/>
                  </a:lnTo>
                  <a:lnTo>
                    <a:pt x="40" y="10"/>
                  </a:lnTo>
                  <a:lnTo>
                    <a:pt x="40" y="10"/>
                  </a:lnTo>
                  <a:lnTo>
                    <a:pt x="40" y="10"/>
                  </a:lnTo>
                  <a:lnTo>
                    <a:pt x="40" y="7"/>
                  </a:lnTo>
                  <a:lnTo>
                    <a:pt x="38" y="7"/>
                  </a:lnTo>
                  <a:lnTo>
                    <a:pt x="38" y="5"/>
                  </a:lnTo>
                  <a:lnTo>
                    <a:pt x="38" y="5"/>
                  </a:lnTo>
                  <a:lnTo>
                    <a:pt x="38" y="2"/>
                  </a:lnTo>
                  <a:lnTo>
                    <a:pt x="38" y="2"/>
                  </a:lnTo>
                  <a:lnTo>
                    <a:pt x="35" y="2"/>
                  </a:lnTo>
                  <a:lnTo>
                    <a:pt x="35" y="0"/>
                  </a:lnTo>
                  <a:lnTo>
                    <a:pt x="35" y="0"/>
                  </a:lnTo>
                  <a:lnTo>
                    <a:pt x="35" y="0"/>
                  </a:lnTo>
                  <a:lnTo>
                    <a:pt x="35" y="2"/>
                  </a:lnTo>
                  <a:lnTo>
                    <a:pt x="35" y="2"/>
                  </a:lnTo>
                  <a:lnTo>
                    <a:pt x="33" y="0"/>
                  </a:lnTo>
                  <a:lnTo>
                    <a:pt x="33" y="0"/>
                  </a:lnTo>
                  <a:lnTo>
                    <a:pt x="33" y="0"/>
                  </a:lnTo>
                  <a:lnTo>
                    <a:pt x="28" y="2"/>
                  </a:lnTo>
                  <a:lnTo>
                    <a:pt x="28" y="0"/>
                  </a:lnTo>
                  <a:lnTo>
                    <a:pt x="28" y="0"/>
                  </a:lnTo>
                  <a:lnTo>
                    <a:pt x="25" y="0"/>
                  </a:lnTo>
                  <a:lnTo>
                    <a:pt x="25" y="0"/>
                  </a:lnTo>
                  <a:lnTo>
                    <a:pt x="22" y="0"/>
                  </a:lnTo>
                  <a:lnTo>
                    <a:pt x="22" y="2"/>
                  </a:lnTo>
                  <a:lnTo>
                    <a:pt x="22" y="5"/>
                  </a:lnTo>
                  <a:lnTo>
                    <a:pt x="22" y="7"/>
                  </a:lnTo>
                  <a:lnTo>
                    <a:pt x="22" y="7"/>
                  </a:lnTo>
                  <a:lnTo>
                    <a:pt x="20" y="7"/>
                  </a:lnTo>
                  <a:lnTo>
                    <a:pt x="17" y="10"/>
                  </a:lnTo>
                  <a:lnTo>
                    <a:pt x="17" y="15"/>
                  </a:lnTo>
                  <a:lnTo>
                    <a:pt x="15" y="17"/>
                  </a:lnTo>
                  <a:lnTo>
                    <a:pt x="15" y="17"/>
                  </a:lnTo>
                  <a:lnTo>
                    <a:pt x="12" y="23"/>
                  </a:lnTo>
                  <a:lnTo>
                    <a:pt x="10" y="23"/>
                  </a:lnTo>
                  <a:lnTo>
                    <a:pt x="7" y="25"/>
                  </a:lnTo>
                  <a:lnTo>
                    <a:pt x="5" y="28"/>
                  </a:lnTo>
                  <a:lnTo>
                    <a:pt x="5" y="28"/>
                  </a:lnTo>
                  <a:lnTo>
                    <a:pt x="2" y="33"/>
                  </a:lnTo>
                  <a:lnTo>
                    <a:pt x="0" y="35"/>
                  </a:lnTo>
                  <a:lnTo>
                    <a:pt x="0" y="35"/>
                  </a:lnTo>
                  <a:lnTo>
                    <a:pt x="2" y="40"/>
                  </a:lnTo>
                  <a:lnTo>
                    <a:pt x="10" y="43"/>
                  </a:lnTo>
                  <a:lnTo>
                    <a:pt x="12" y="45"/>
                  </a:lnTo>
                  <a:lnTo>
                    <a:pt x="12" y="51"/>
                  </a:lnTo>
                  <a:lnTo>
                    <a:pt x="15" y="51"/>
                  </a:lnTo>
                  <a:lnTo>
                    <a:pt x="17" y="53"/>
                  </a:lnTo>
                  <a:lnTo>
                    <a:pt x="20" y="53"/>
                  </a:lnTo>
                  <a:lnTo>
                    <a:pt x="22" y="56"/>
                  </a:lnTo>
                  <a:lnTo>
                    <a:pt x="35" y="68"/>
                  </a:lnTo>
                  <a:lnTo>
                    <a:pt x="40" y="73"/>
                  </a:lnTo>
                  <a:lnTo>
                    <a:pt x="45" y="78"/>
                  </a:lnTo>
                  <a:lnTo>
                    <a:pt x="63" y="89"/>
                  </a:lnTo>
                  <a:lnTo>
                    <a:pt x="68" y="91"/>
                  </a:lnTo>
                  <a:lnTo>
                    <a:pt x="76" y="94"/>
                  </a:lnTo>
                  <a:lnTo>
                    <a:pt x="79" y="94"/>
                  </a:lnTo>
                  <a:lnTo>
                    <a:pt x="76" y="94"/>
                  </a:lnTo>
                  <a:lnTo>
                    <a:pt x="76" y="89"/>
                  </a:lnTo>
                  <a:lnTo>
                    <a:pt x="76" y="84"/>
                  </a:lnTo>
                  <a:lnTo>
                    <a:pt x="76" y="81"/>
                  </a:lnTo>
                  <a:lnTo>
                    <a:pt x="76" y="78"/>
                  </a:lnTo>
                  <a:lnTo>
                    <a:pt x="76" y="78"/>
                  </a:lnTo>
                  <a:lnTo>
                    <a:pt x="79" y="76"/>
                  </a:lnTo>
                  <a:lnTo>
                    <a:pt x="79" y="76"/>
                  </a:lnTo>
                  <a:lnTo>
                    <a:pt x="79" y="73"/>
                  </a:lnTo>
                  <a:lnTo>
                    <a:pt x="81" y="71"/>
                  </a:lnTo>
                  <a:lnTo>
                    <a:pt x="81" y="68"/>
                  </a:lnTo>
                  <a:lnTo>
                    <a:pt x="81" y="68"/>
                  </a:lnTo>
                  <a:lnTo>
                    <a:pt x="81" y="66"/>
                  </a:lnTo>
                  <a:lnTo>
                    <a:pt x="81" y="66"/>
                  </a:lnTo>
                  <a:close/>
                </a:path>
              </a:pathLst>
            </a:custGeom>
            <a:solidFill>
              <a:srgbClr val="FFC000"/>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274" name="Freeform 1893">
              <a:extLst>
                <a:ext uri="{FF2B5EF4-FFF2-40B4-BE49-F238E27FC236}">
                  <a16:creationId xmlns:a16="http://schemas.microsoft.com/office/drawing/2014/main" id="{A4DB1663-A48B-2B4C-8697-E0EC73239D0A}"/>
                </a:ext>
              </a:extLst>
            </p:cNvPr>
            <p:cNvSpPr>
              <a:spLocks/>
            </p:cNvSpPr>
            <p:nvPr/>
          </p:nvSpPr>
          <p:spPr bwMode="auto">
            <a:xfrm>
              <a:off x="6475540" y="4862722"/>
              <a:ext cx="75244" cy="78515"/>
            </a:xfrm>
            <a:custGeom>
              <a:avLst/>
              <a:gdLst>
                <a:gd name="T0" fmla="*/ 46 w 46"/>
                <a:gd name="T1" fmla="*/ 13 h 48"/>
                <a:gd name="T2" fmla="*/ 43 w 46"/>
                <a:gd name="T3" fmla="*/ 13 h 48"/>
                <a:gd name="T4" fmla="*/ 41 w 46"/>
                <a:gd name="T5" fmla="*/ 10 h 48"/>
                <a:gd name="T6" fmla="*/ 36 w 46"/>
                <a:gd name="T7" fmla="*/ 5 h 48"/>
                <a:gd name="T8" fmla="*/ 33 w 46"/>
                <a:gd name="T9" fmla="*/ 2 h 48"/>
                <a:gd name="T10" fmla="*/ 33 w 46"/>
                <a:gd name="T11" fmla="*/ 0 h 48"/>
                <a:gd name="T12" fmla="*/ 31 w 46"/>
                <a:gd name="T13" fmla="*/ 0 h 48"/>
                <a:gd name="T14" fmla="*/ 26 w 46"/>
                <a:gd name="T15" fmla="*/ 2 h 48"/>
                <a:gd name="T16" fmla="*/ 20 w 46"/>
                <a:gd name="T17" fmla="*/ 7 h 48"/>
                <a:gd name="T18" fmla="*/ 15 w 46"/>
                <a:gd name="T19" fmla="*/ 7 h 48"/>
                <a:gd name="T20" fmla="*/ 13 w 46"/>
                <a:gd name="T21" fmla="*/ 13 h 48"/>
                <a:gd name="T22" fmla="*/ 10 w 46"/>
                <a:gd name="T23" fmla="*/ 15 h 48"/>
                <a:gd name="T24" fmla="*/ 8 w 46"/>
                <a:gd name="T25" fmla="*/ 18 h 48"/>
                <a:gd name="T26" fmla="*/ 5 w 46"/>
                <a:gd name="T27" fmla="*/ 23 h 48"/>
                <a:gd name="T28" fmla="*/ 3 w 46"/>
                <a:gd name="T29" fmla="*/ 23 h 48"/>
                <a:gd name="T30" fmla="*/ 0 w 46"/>
                <a:gd name="T31" fmla="*/ 25 h 48"/>
                <a:gd name="T32" fmla="*/ 3 w 46"/>
                <a:gd name="T33" fmla="*/ 28 h 48"/>
                <a:gd name="T34" fmla="*/ 5 w 46"/>
                <a:gd name="T35" fmla="*/ 33 h 48"/>
                <a:gd name="T36" fmla="*/ 8 w 46"/>
                <a:gd name="T37" fmla="*/ 35 h 48"/>
                <a:gd name="T38" fmla="*/ 8 w 46"/>
                <a:gd name="T39" fmla="*/ 38 h 48"/>
                <a:gd name="T40" fmla="*/ 8 w 46"/>
                <a:gd name="T41" fmla="*/ 41 h 48"/>
                <a:gd name="T42" fmla="*/ 8 w 46"/>
                <a:gd name="T43" fmla="*/ 41 h 48"/>
                <a:gd name="T44" fmla="*/ 10 w 46"/>
                <a:gd name="T45" fmla="*/ 43 h 48"/>
                <a:gd name="T46" fmla="*/ 13 w 46"/>
                <a:gd name="T47" fmla="*/ 46 h 48"/>
                <a:gd name="T48" fmla="*/ 15 w 46"/>
                <a:gd name="T49" fmla="*/ 46 h 48"/>
                <a:gd name="T50" fmla="*/ 20 w 46"/>
                <a:gd name="T51" fmla="*/ 46 h 48"/>
                <a:gd name="T52" fmla="*/ 20 w 46"/>
                <a:gd name="T53" fmla="*/ 46 h 48"/>
                <a:gd name="T54" fmla="*/ 23 w 46"/>
                <a:gd name="T55" fmla="*/ 43 h 48"/>
                <a:gd name="T56" fmla="*/ 26 w 46"/>
                <a:gd name="T57" fmla="*/ 35 h 48"/>
                <a:gd name="T58" fmla="*/ 28 w 46"/>
                <a:gd name="T59" fmla="*/ 35 h 48"/>
                <a:gd name="T60" fmla="*/ 31 w 46"/>
                <a:gd name="T61" fmla="*/ 35 h 48"/>
                <a:gd name="T62" fmla="*/ 33 w 46"/>
                <a:gd name="T63" fmla="*/ 35 h 48"/>
                <a:gd name="T64" fmla="*/ 38 w 46"/>
                <a:gd name="T65" fmla="*/ 33 h 48"/>
                <a:gd name="T66" fmla="*/ 41 w 46"/>
                <a:gd name="T67" fmla="*/ 30 h 48"/>
                <a:gd name="T68" fmla="*/ 41 w 46"/>
                <a:gd name="T69" fmla="*/ 25 h 48"/>
                <a:gd name="T70" fmla="*/ 43 w 46"/>
                <a:gd name="T71" fmla="*/ 23 h 48"/>
                <a:gd name="T72" fmla="*/ 46 w 46"/>
                <a:gd name="T73" fmla="*/ 20 h 48"/>
                <a:gd name="T74" fmla="*/ 46 w 46"/>
                <a:gd name="T75" fmla="*/ 15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6" h="48">
                  <a:moveTo>
                    <a:pt x="46" y="15"/>
                  </a:moveTo>
                  <a:lnTo>
                    <a:pt x="46" y="13"/>
                  </a:lnTo>
                  <a:lnTo>
                    <a:pt x="46" y="13"/>
                  </a:lnTo>
                  <a:lnTo>
                    <a:pt x="43" y="13"/>
                  </a:lnTo>
                  <a:lnTo>
                    <a:pt x="43" y="10"/>
                  </a:lnTo>
                  <a:lnTo>
                    <a:pt x="41" y="10"/>
                  </a:lnTo>
                  <a:lnTo>
                    <a:pt x="38" y="7"/>
                  </a:lnTo>
                  <a:lnTo>
                    <a:pt x="36" y="5"/>
                  </a:lnTo>
                  <a:lnTo>
                    <a:pt x="36" y="5"/>
                  </a:lnTo>
                  <a:lnTo>
                    <a:pt x="33" y="2"/>
                  </a:lnTo>
                  <a:lnTo>
                    <a:pt x="33" y="2"/>
                  </a:lnTo>
                  <a:lnTo>
                    <a:pt x="33" y="0"/>
                  </a:lnTo>
                  <a:lnTo>
                    <a:pt x="33" y="0"/>
                  </a:lnTo>
                  <a:lnTo>
                    <a:pt x="31" y="0"/>
                  </a:lnTo>
                  <a:lnTo>
                    <a:pt x="31" y="2"/>
                  </a:lnTo>
                  <a:lnTo>
                    <a:pt x="26" y="2"/>
                  </a:lnTo>
                  <a:lnTo>
                    <a:pt x="23" y="5"/>
                  </a:lnTo>
                  <a:lnTo>
                    <a:pt x="20" y="7"/>
                  </a:lnTo>
                  <a:lnTo>
                    <a:pt x="18" y="7"/>
                  </a:lnTo>
                  <a:lnTo>
                    <a:pt x="15" y="7"/>
                  </a:lnTo>
                  <a:lnTo>
                    <a:pt x="13" y="10"/>
                  </a:lnTo>
                  <a:lnTo>
                    <a:pt x="13" y="13"/>
                  </a:lnTo>
                  <a:lnTo>
                    <a:pt x="10" y="15"/>
                  </a:lnTo>
                  <a:lnTo>
                    <a:pt x="10" y="15"/>
                  </a:lnTo>
                  <a:lnTo>
                    <a:pt x="10" y="18"/>
                  </a:lnTo>
                  <a:lnTo>
                    <a:pt x="8" y="18"/>
                  </a:lnTo>
                  <a:lnTo>
                    <a:pt x="8" y="20"/>
                  </a:lnTo>
                  <a:lnTo>
                    <a:pt x="5" y="23"/>
                  </a:lnTo>
                  <a:lnTo>
                    <a:pt x="5" y="23"/>
                  </a:lnTo>
                  <a:lnTo>
                    <a:pt x="3" y="23"/>
                  </a:lnTo>
                  <a:lnTo>
                    <a:pt x="0" y="25"/>
                  </a:lnTo>
                  <a:lnTo>
                    <a:pt x="0" y="25"/>
                  </a:lnTo>
                  <a:lnTo>
                    <a:pt x="3" y="28"/>
                  </a:lnTo>
                  <a:lnTo>
                    <a:pt x="3" y="28"/>
                  </a:lnTo>
                  <a:lnTo>
                    <a:pt x="3" y="30"/>
                  </a:lnTo>
                  <a:lnTo>
                    <a:pt x="5" y="33"/>
                  </a:lnTo>
                  <a:lnTo>
                    <a:pt x="5" y="35"/>
                  </a:lnTo>
                  <a:lnTo>
                    <a:pt x="8" y="35"/>
                  </a:lnTo>
                  <a:lnTo>
                    <a:pt x="5" y="38"/>
                  </a:lnTo>
                  <a:lnTo>
                    <a:pt x="8" y="38"/>
                  </a:lnTo>
                  <a:lnTo>
                    <a:pt x="8" y="41"/>
                  </a:lnTo>
                  <a:lnTo>
                    <a:pt x="8" y="41"/>
                  </a:lnTo>
                  <a:lnTo>
                    <a:pt x="8" y="41"/>
                  </a:lnTo>
                  <a:lnTo>
                    <a:pt x="8" y="41"/>
                  </a:lnTo>
                  <a:lnTo>
                    <a:pt x="10" y="41"/>
                  </a:lnTo>
                  <a:lnTo>
                    <a:pt x="10" y="43"/>
                  </a:lnTo>
                  <a:lnTo>
                    <a:pt x="10" y="43"/>
                  </a:lnTo>
                  <a:lnTo>
                    <a:pt x="13" y="46"/>
                  </a:lnTo>
                  <a:lnTo>
                    <a:pt x="13" y="46"/>
                  </a:lnTo>
                  <a:lnTo>
                    <a:pt x="15" y="46"/>
                  </a:lnTo>
                  <a:lnTo>
                    <a:pt x="18" y="48"/>
                  </a:lnTo>
                  <a:lnTo>
                    <a:pt x="20" y="46"/>
                  </a:lnTo>
                  <a:lnTo>
                    <a:pt x="20" y="46"/>
                  </a:lnTo>
                  <a:lnTo>
                    <a:pt x="20" y="46"/>
                  </a:lnTo>
                  <a:lnTo>
                    <a:pt x="20" y="43"/>
                  </a:lnTo>
                  <a:lnTo>
                    <a:pt x="23" y="43"/>
                  </a:lnTo>
                  <a:lnTo>
                    <a:pt x="26" y="38"/>
                  </a:lnTo>
                  <a:lnTo>
                    <a:pt x="26" y="35"/>
                  </a:lnTo>
                  <a:lnTo>
                    <a:pt x="28" y="35"/>
                  </a:lnTo>
                  <a:lnTo>
                    <a:pt x="28" y="35"/>
                  </a:lnTo>
                  <a:lnTo>
                    <a:pt x="31" y="35"/>
                  </a:lnTo>
                  <a:lnTo>
                    <a:pt x="31" y="35"/>
                  </a:lnTo>
                  <a:lnTo>
                    <a:pt x="31" y="35"/>
                  </a:lnTo>
                  <a:lnTo>
                    <a:pt x="33" y="35"/>
                  </a:lnTo>
                  <a:lnTo>
                    <a:pt x="36" y="33"/>
                  </a:lnTo>
                  <a:lnTo>
                    <a:pt x="38" y="33"/>
                  </a:lnTo>
                  <a:lnTo>
                    <a:pt x="38" y="33"/>
                  </a:lnTo>
                  <a:lnTo>
                    <a:pt x="41" y="30"/>
                  </a:lnTo>
                  <a:lnTo>
                    <a:pt x="41" y="28"/>
                  </a:lnTo>
                  <a:lnTo>
                    <a:pt x="41" y="25"/>
                  </a:lnTo>
                  <a:lnTo>
                    <a:pt x="43" y="25"/>
                  </a:lnTo>
                  <a:lnTo>
                    <a:pt x="43" y="23"/>
                  </a:lnTo>
                  <a:lnTo>
                    <a:pt x="43" y="23"/>
                  </a:lnTo>
                  <a:lnTo>
                    <a:pt x="46" y="20"/>
                  </a:lnTo>
                  <a:lnTo>
                    <a:pt x="46" y="18"/>
                  </a:lnTo>
                  <a:lnTo>
                    <a:pt x="46" y="15"/>
                  </a:lnTo>
                  <a:lnTo>
                    <a:pt x="46" y="15"/>
                  </a:lnTo>
                  <a:close/>
                </a:path>
              </a:pathLst>
            </a:custGeom>
            <a:solidFill>
              <a:srgbClr val="FFC000"/>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275" name="Freeform 1894">
              <a:extLst>
                <a:ext uri="{FF2B5EF4-FFF2-40B4-BE49-F238E27FC236}">
                  <a16:creationId xmlns:a16="http://schemas.microsoft.com/office/drawing/2014/main" id="{0C342B6D-9264-3040-B024-E328C7463B7E}"/>
                </a:ext>
              </a:extLst>
            </p:cNvPr>
            <p:cNvSpPr>
              <a:spLocks/>
            </p:cNvSpPr>
            <p:nvPr/>
          </p:nvSpPr>
          <p:spPr bwMode="auto">
            <a:xfrm>
              <a:off x="6720900" y="2510533"/>
              <a:ext cx="45801" cy="62158"/>
            </a:xfrm>
            <a:custGeom>
              <a:avLst/>
              <a:gdLst>
                <a:gd name="T0" fmla="*/ 26 w 28"/>
                <a:gd name="T1" fmla="*/ 8 h 38"/>
                <a:gd name="T2" fmla="*/ 23 w 28"/>
                <a:gd name="T3" fmla="*/ 5 h 38"/>
                <a:gd name="T4" fmla="*/ 23 w 28"/>
                <a:gd name="T5" fmla="*/ 5 h 38"/>
                <a:gd name="T6" fmla="*/ 21 w 28"/>
                <a:gd name="T7" fmla="*/ 5 h 38"/>
                <a:gd name="T8" fmla="*/ 21 w 28"/>
                <a:gd name="T9" fmla="*/ 5 h 38"/>
                <a:gd name="T10" fmla="*/ 23 w 28"/>
                <a:gd name="T11" fmla="*/ 3 h 38"/>
                <a:gd name="T12" fmla="*/ 23 w 28"/>
                <a:gd name="T13" fmla="*/ 3 h 38"/>
                <a:gd name="T14" fmla="*/ 23 w 28"/>
                <a:gd name="T15" fmla="*/ 3 h 38"/>
                <a:gd name="T16" fmla="*/ 21 w 28"/>
                <a:gd name="T17" fmla="*/ 0 h 38"/>
                <a:gd name="T18" fmla="*/ 21 w 28"/>
                <a:gd name="T19" fmla="*/ 3 h 38"/>
                <a:gd name="T20" fmla="*/ 18 w 28"/>
                <a:gd name="T21" fmla="*/ 3 h 38"/>
                <a:gd name="T22" fmla="*/ 16 w 28"/>
                <a:gd name="T23" fmla="*/ 3 h 38"/>
                <a:gd name="T24" fmla="*/ 16 w 28"/>
                <a:gd name="T25" fmla="*/ 5 h 38"/>
                <a:gd name="T26" fmla="*/ 13 w 28"/>
                <a:gd name="T27" fmla="*/ 5 h 38"/>
                <a:gd name="T28" fmla="*/ 13 w 28"/>
                <a:gd name="T29" fmla="*/ 8 h 38"/>
                <a:gd name="T30" fmla="*/ 11 w 28"/>
                <a:gd name="T31" fmla="*/ 10 h 38"/>
                <a:gd name="T32" fmla="*/ 8 w 28"/>
                <a:gd name="T33" fmla="*/ 15 h 38"/>
                <a:gd name="T34" fmla="*/ 8 w 28"/>
                <a:gd name="T35" fmla="*/ 21 h 38"/>
                <a:gd name="T36" fmla="*/ 5 w 28"/>
                <a:gd name="T37" fmla="*/ 28 h 38"/>
                <a:gd name="T38" fmla="*/ 3 w 28"/>
                <a:gd name="T39" fmla="*/ 31 h 38"/>
                <a:gd name="T40" fmla="*/ 3 w 28"/>
                <a:gd name="T41" fmla="*/ 33 h 38"/>
                <a:gd name="T42" fmla="*/ 3 w 28"/>
                <a:gd name="T43" fmla="*/ 36 h 38"/>
                <a:gd name="T44" fmla="*/ 0 w 28"/>
                <a:gd name="T45" fmla="*/ 38 h 38"/>
                <a:gd name="T46" fmla="*/ 3 w 28"/>
                <a:gd name="T47" fmla="*/ 38 h 38"/>
                <a:gd name="T48" fmla="*/ 5 w 28"/>
                <a:gd name="T49" fmla="*/ 38 h 38"/>
                <a:gd name="T50" fmla="*/ 8 w 28"/>
                <a:gd name="T51" fmla="*/ 38 h 38"/>
                <a:gd name="T52" fmla="*/ 8 w 28"/>
                <a:gd name="T53" fmla="*/ 36 h 38"/>
                <a:gd name="T54" fmla="*/ 8 w 28"/>
                <a:gd name="T55" fmla="*/ 33 h 38"/>
                <a:gd name="T56" fmla="*/ 11 w 28"/>
                <a:gd name="T57" fmla="*/ 33 h 38"/>
                <a:gd name="T58" fmla="*/ 11 w 28"/>
                <a:gd name="T59" fmla="*/ 33 h 38"/>
                <a:gd name="T60" fmla="*/ 11 w 28"/>
                <a:gd name="T61" fmla="*/ 33 h 38"/>
                <a:gd name="T62" fmla="*/ 13 w 28"/>
                <a:gd name="T63" fmla="*/ 33 h 38"/>
                <a:gd name="T64" fmla="*/ 13 w 28"/>
                <a:gd name="T65" fmla="*/ 31 h 38"/>
                <a:gd name="T66" fmla="*/ 16 w 28"/>
                <a:gd name="T67" fmla="*/ 31 h 38"/>
                <a:gd name="T68" fmla="*/ 16 w 28"/>
                <a:gd name="T69" fmla="*/ 31 h 38"/>
                <a:gd name="T70" fmla="*/ 16 w 28"/>
                <a:gd name="T71" fmla="*/ 28 h 38"/>
                <a:gd name="T72" fmla="*/ 16 w 28"/>
                <a:gd name="T73" fmla="*/ 28 h 38"/>
                <a:gd name="T74" fmla="*/ 16 w 28"/>
                <a:gd name="T75" fmla="*/ 28 h 38"/>
                <a:gd name="T76" fmla="*/ 18 w 28"/>
                <a:gd name="T77" fmla="*/ 26 h 38"/>
                <a:gd name="T78" fmla="*/ 18 w 28"/>
                <a:gd name="T79" fmla="*/ 26 h 38"/>
                <a:gd name="T80" fmla="*/ 18 w 28"/>
                <a:gd name="T81" fmla="*/ 26 h 38"/>
                <a:gd name="T82" fmla="*/ 16 w 28"/>
                <a:gd name="T83" fmla="*/ 26 h 38"/>
                <a:gd name="T84" fmla="*/ 16 w 28"/>
                <a:gd name="T85" fmla="*/ 26 h 38"/>
                <a:gd name="T86" fmla="*/ 16 w 28"/>
                <a:gd name="T87" fmla="*/ 23 h 38"/>
                <a:gd name="T88" fmla="*/ 16 w 28"/>
                <a:gd name="T89" fmla="*/ 23 h 38"/>
                <a:gd name="T90" fmla="*/ 18 w 28"/>
                <a:gd name="T91" fmla="*/ 21 h 38"/>
                <a:gd name="T92" fmla="*/ 18 w 28"/>
                <a:gd name="T93" fmla="*/ 21 h 38"/>
                <a:gd name="T94" fmla="*/ 21 w 28"/>
                <a:gd name="T95" fmla="*/ 21 h 38"/>
                <a:gd name="T96" fmla="*/ 21 w 28"/>
                <a:gd name="T97" fmla="*/ 21 h 38"/>
                <a:gd name="T98" fmla="*/ 23 w 28"/>
                <a:gd name="T99" fmla="*/ 21 h 38"/>
                <a:gd name="T100" fmla="*/ 23 w 28"/>
                <a:gd name="T101" fmla="*/ 21 h 38"/>
                <a:gd name="T102" fmla="*/ 23 w 28"/>
                <a:gd name="T103" fmla="*/ 21 h 38"/>
                <a:gd name="T104" fmla="*/ 23 w 28"/>
                <a:gd name="T105" fmla="*/ 21 h 38"/>
                <a:gd name="T106" fmla="*/ 23 w 28"/>
                <a:gd name="T107" fmla="*/ 18 h 38"/>
                <a:gd name="T108" fmla="*/ 23 w 28"/>
                <a:gd name="T109" fmla="*/ 18 h 38"/>
                <a:gd name="T110" fmla="*/ 23 w 28"/>
                <a:gd name="T111" fmla="*/ 18 h 38"/>
                <a:gd name="T112" fmla="*/ 23 w 28"/>
                <a:gd name="T113" fmla="*/ 15 h 38"/>
                <a:gd name="T114" fmla="*/ 26 w 28"/>
                <a:gd name="T115" fmla="*/ 15 h 38"/>
                <a:gd name="T116" fmla="*/ 26 w 28"/>
                <a:gd name="T117" fmla="*/ 15 h 38"/>
                <a:gd name="T118" fmla="*/ 26 w 28"/>
                <a:gd name="T119" fmla="*/ 13 h 38"/>
                <a:gd name="T120" fmla="*/ 28 w 28"/>
                <a:gd name="T121" fmla="*/ 13 h 38"/>
                <a:gd name="T122" fmla="*/ 26 w 28"/>
                <a:gd name="T123" fmla="*/ 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8" h="38">
                  <a:moveTo>
                    <a:pt x="26" y="8"/>
                  </a:moveTo>
                  <a:lnTo>
                    <a:pt x="23" y="5"/>
                  </a:lnTo>
                  <a:lnTo>
                    <a:pt x="23" y="5"/>
                  </a:lnTo>
                  <a:lnTo>
                    <a:pt x="21" y="5"/>
                  </a:lnTo>
                  <a:lnTo>
                    <a:pt x="21" y="5"/>
                  </a:lnTo>
                  <a:lnTo>
                    <a:pt x="23" y="3"/>
                  </a:lnTo>
                  <a:lnTo>
                    <a:pt x="23" y="3"/>
                  </a:lnTo>
                  <a:lnTo>
                    <a:pt x="23" y="3"/>
                  </a:lnTo>
                  <a:lnTo>
                    <a:pt x="21" y="0"/>
                  </a:lnTo>
                  <a:lnTo>
                    <a:pt x="21" y="3"/>
                  </a:lnTo>
                  <a:lnTo>
                    <a:pt x="18" y="3"/>
                  </a:lnTo>
                  <a:lnTo>
                    <a:pt x="16" y="3"/>
                  </a:lnTo>
                  <a:lnTo>
                    <a:pt x="16" y="5"/>
                  </a:lnTo>
                  <a:lnTo>
                    <a:pt x="13" y="5"/>
                  </a:lnTo>
                  <a:lnTo>
                    <a:pt x="13" y="8"/>
                  </a:lnTo>
                  <a:lnTo>
                    <a:pt x="11" y="10"/>
                  </a:lnTo>
                  <a:lnTo>
                    <a:pt x="8" y="15"/>
                  </a:lnTo>
                  <a:lnTo>
                    <a:pt x="8" y="21"/>
                  </a:lnTo>
                  <a:lnTo>
                    <a:pt x="5" y="28"/>
                  </a:lnTo>
                  <a:lnTo>
                    <a:pt x="3" y="31"/>
                  </a:lnTo>
                  <a:lnTo>
                    <a:pt x="3" y="33"/>
                  </a:lnTo>
                  <a:lnTo>
                    <a:pt x="3" y="36"/>
                  </a:lnTo>
                  <a:lnTo>
                    <a:pt x="0" y="38"/>
                  </a:lnTo>
                  <a:lnTo>
                    <a:pt x="3" y="38"/>
                  </a:lnTo>
                  <a:lnTo>
                    <a:pt x="5" y="38"/>
                  </a:lnTo>
                  <a:lnTo>
                    <a:pt x="8" y="38"/>
                  </a:lnTo>
                  <a:lnTo>
                    <a:pt x="8" y="36"/>
                  </a:lnTo>
                  <a:lnTo>
                    <a:pt x="8" y="33"/>
                  </a:lnTo>
                  <a:lnTo>
                    <a:pt x="11" y="33"/>
                  </a:lnTo>
                  <a:lnTo>
                    <a:pt x="11" y="33"/>
                  </a:lnTo>
                  <a:lnTo>
                    <a:pt x="11" y="33"/>
                  </a:lnTo>
                  <a:lnTo>
                    <a:pt x="13" y="33"/>
                  </a:lnTo>
                  <a:lnTo>
                    <a:pt x="13" y="31"/>
                  </a:lnTo>
                  <a:lnTo>
                    <a:pt x="16" y="31"/>
                  </a:lnTo>
                  <a:lnTo>
                    <a:pt x="16" y="31"/>
                  </a:lnTo>
                  <a:lnTo>
                    <a:pt x="16" y="28"/>
                  </a:lnTo>
                  <a:lnTo>
                    <a:pt x="16" y="28"/>
                  </a:lnTo>
                  <a:lnTo>
                    <a:pt x="16" y="28"/>
                  </a:lnTo>
                  <a:lnTo>
                    <a:pt x="18" y="26"/>
                  </a:lnTo>
                  <a:lnTo>
                    <a:pt x="18" y="26"/>
                  </a:lnTo>
                  <a:lnTo>
                    <a:pt x="18" y="26"/>
                  </a:lnTo>
                  <a:lnTo>
                    <a:pt x="16" y="26"/>
                  </a:lnTo>
                  <a:lnTo>
                    <a:pt x="16" y="26"/>
                  </a:lnTo>
                  <a:lnTo>
                    <a:pt x="16" y="23"/>
                  </a:lnTo>
                  <a:lnTo>
                    <a:pt x="16" y="23"/>
                  </a:lnTo>
                  <a:lnTo>
                    <a:pt x="18" y="21"/>
                  </a:lnTo>
                  <a:lnTo>
                    <a:pt x="18" y="21"/>
                  </a:lnTo>
                  <a:lnTo>
                    <a:pt x="21" y="21"/>
                  </a:lnTo>
                  <a:lnTo>
                    <a:pt x="21" y="21"/>
                  </a:lnTo>
                  <a:lnTo>
                    <a:pt x="23" y="21"/>
                  </a:lnTo>
                  <a:lnTo>
                    <a:pt x="23" y="21"/>
                  </a:lnTo>
                  <a:lnTo>
                    <a:pt x="23" y="21"/>
                  </a:lnTo>
                  <a:lnTo>
                    <a:pt x="23" y="21"/>
                  </a:lnTo>
                  <a:lnTo>
                    <a:pt x="23" y="18"/>
                  </a:lnTo>
                  <a:lnTo>
                    <a:pt x="23" y="18"/>
                  </a:lnTo>
                  <a:lnTo>
                    <a:pt x="23" y="18"/>
                  </a:lnTo>
                  <a:lnTo>
                    <a:pt x="23" y="15"/>
                  </a:lnTo>
                  <a:lnTo>
                    <a:pt x="26" y="15"/>
                  </a:lnTo>
                  <a:lnTo>
                    <a:pt x="26" y="15"/>
                  </a:lnTo>
                  <a:lnTo>
                    <a:pt x="26" y="13"/>
                  </a:lnTo>
                  <a:lnTo>
                    <a:pt x="28" y="13"/>
                  </a:lnTo>
                  <a:lnTo>
                    <a:pt x="26" y="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276" name="Freeform 1895">
              <a:extLst>
                <a:ext uri="{FF2B5EF4-FFF2-40B4-BE49-F238E27FC236}">
                  <a16:creationId xmlns:a16="http://schemas.microsoft.com/office/drawing/2014/main" id="{EF44C04A-271F-184B-870E-7BD491E0D3C6}"/>
                </a:ext>
              </a:extLst>
            </p:cNvPr>
            <p:cNvSpPr>
              <a:spLocks/>
            </p:cNvSpPr>
            <p:nvPr/>
          </p:nvSpPr>
          <p:spPr bwMode="auto">
            <a:xfrm>
              <a:off x="6241630" y="1666493"/>
              <a:ext cx="196288" cy="83423"/>
            </a:xfrm>
            <a:custGeom>
              <a:avLst/>
              <a:gdLst>
                <a:gd name="T0" fmla="*/ 118 w 120"/>
                <a:gd name="T1" fmla="*/ 33 h 51"/>
                <a:gd name="T2" fmla="*/ 115 w 120"/>
                <a:gd name="T3" fmla="*/ 30 h 51"/>
                <a:gd name="T4" fmla="*/ 112 w 120"/>
                <a:gd name="T5" fmla="*/ 25 h 51"/>
                <a:gd name="T6" fmla="*/ 110 w 120"/>
                <a:gd name="T7" fmla="*/ 25 h 51"/>
                <a:gd name="T8" fmla="*/ 110 w 120"/>
                <a:gd name="T9" fmla="*/ 20 h 51"/>
                <a:gd name="T10" fmla="*/ 112 w 120"/>
                <a:gd name="T11" fmla="*/ 17 h 51"/>
                <a:gd name="T12" fmla="*/ 110 w 120"/>
                <a:gd name="T13" fmla="*/ 15 h 51"/>
                <a:gd name="T14" fmla="*/ 105 w 120"/>
                <a:gd name="T15" fmla="*/ 12 h 51"/>
                <a:gd name="T16" fmla="*/ 102 w 120"/>
                <a:gd name="T17" fmla="*/ 12 h 51"/>
                <a:gd name="T18" fmla="*/ 97 w 120"/>
                <a:gd name="T19" fmla="*/ 10 h 51"/>
                <a:gd name="T20" fmla="*/ 90 w 120"/>
                <a:gd name="T21" fmla="*/ 10 h 51"/>
                <a:gd name="T22" fmla="*/ 84 w 120"/>
                <a:gd name="T23" fmla="*/ 7 h 51"/>
                <a:gd name="T24" fmla="*/ 79 w 120"/>
                <a:gd name="T25" fmla="*/ 5 h 51"/>
                <a:gd name="T26" fmla="*/ 74 w 120"/>
                <a:gd name="T27" fmla="*/ 2 h 51"/>
                <a:gd name="T28" fmla="*/ 67 w 120"/>
                <a:gd name="T29" fmla="*/ 0 h 51"/>
                <a:gd name="T30" fmla="*/ 67 w 120"/>
                <a:gd name="T31" fmla="*/ 2 h 51"/>
                <a:gd name="T32" fmla="*/ 64 w 120"/>
                <a:gd name="T33" fmla="*/ 0 h 51"/>
                <a:gd name="T34" fmla="*/ 59 w 120"/>
                <a:gd name="T35" fmla="*/ 2 h 51"/>
                <a:gd name="T36" fmla="*/ 51 w 120"/>
                <a:gd name="T37" fmla="*/ 5 h 51"/>
                <a:gd name="T38" fmla="*/ 54 w 120"/>
                <a:gd name="T39" fmla="*/ 15 h 51"/>
                <a:gd name="T40" fmla="*/ 49 w 120"/>
                <a:gd name="T41" fmla="*/ 20 h 51"/>
                <a:gd name="T42" fmla="*/ 36 w 120"/>
                <a:gd name="T43" fmla="*/ 20 h 51"/>
                <a:gd name="T44" fmla="*/ 26 w 120"/>
                <a:gd name="T45" fmla="*/ 10 h 51"/>
                <a:gd name="T46" fmla="*/ 18 w 120"/>
                <a:gd name="T47" fmla="*/ 7 h 51"/>
                <a:gd name="T48" fmla="*/ 5 w 120"/>
                <a:gd name="T49" fmla="*/ 15 h 51"/>
                <a:gd name="T50" fmla="*/ 5 w 120"/>
                <a:gd name="T51" fmla="*/ 23 h 51"/>
                <a:gd name="T52" fmla="*/ 0 w 120"/>
                <a:gd name="T53" fmla="*/ 30 h 51"/>
                <a:gd name="T54" fmla="*/ 5 w 120"/>
                <a:gd name="T55" fmla="*/ 40 h 51"/>
                <a:gd name="T56" fmla="*/ 18 w 120"/>
                <a:gd name="T57" fmla="*/ 35 h 51"/>
                <a:gd name="T58" fmla="*/ 26 w 120"/>
                <a:gd name="T59" fmla="*/ 35 h 51"/>
                <a:gd name="T60" fmla="*/ 33 w 120"/>
                <a:gd name="T61" fmla="*/ 35 h 51"/>
                <a:gd name="T62" fmla="*/ 36 w 120"/>
                <a:gd name="T63" fmla="*/ 35 h 51"/>
                <a:gd name="T64" fmla="*/ 46 w 120"/>
                <a:gd name="T65" fmla="*/ 35 h 51"/>
                <a:gd name="T66" fmla="*/ 56 w 120"/>
                <a:gd name="T67" fmla="*/ 38 h 51"/>
                <a:gd name="T68" fmla="*/ 61 w 120"/>
                <a:gd name="T69" fmla="*/ 35 h 51"/>
                <a:gd name="T70" fmla="*/ 64 w 120"/>
                <a:gd name="T71" fmla="*/ 35 h 51"/>
                <a:gd name="T72" fmla="*/ 69 w 120"/>
                <a:gd name="T73" fmla="*/ 40 h 51"/>
                <a:gd name="T74" fmla="*/ 82 w 120"/>
                <a:gd name="T75" fmla="*/ 43 h 51"/>
                <a:gd name="T76" fmla="*/ 87 w 120"/>
                <a:gd name="T77" fmla="*/ 48 h 51"/>
                <a:gd name="T78" fmla="*/ 95 w 120"/>
                <a:gd name="T79" fmla="*/ 51 h 51"/>
                <a:gd name="T80" fmla="*/ 97 w 120"/>
                <a:gd name="T81" fmla="*/ 51 h 51"/>
                <a:gd name="T82" fmla="*/ 102 w 120"/>
                <a:gd name="T83" fmla="*/ 48 h 51"/>
                <a:gd name="T84" fmla="*/ 107 w 120"/>
                <a:gd name="T85" fmla="*/ 48 h 51"/>
                <a:gd name="T86" fmla="*/ 112 w 120"/>
                <a:gd name="T87" fmla="*/ 45 h 51"/>
                <a:gd name="T88" fmla="*/ 118 w 120"/>
                <a:gd name="T89" fmla="*/ 40 h 51"/>
                <a:gd name="T90" fmla="*/ 120 w 120"/>
                <a:gd name="T91" fmla="*/ 4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20" h="51">
                  <a:moveTo>
                    <a:pt x="120" y="38"/>
                  </a:moveTo>
                  <a:lnTo>
                    <a:pt x="118" y="35"/>
                  </a:lnTo>
                  <a:lnTo>
                    <a:pt x="118" y="33"/>
                  </a:lnTo>
                  <a:lnTo>
                    <a:pt x="118" y="33"/>
                  </a:lnTo>
                  <a:lnTo>
                    <a:pt x="115" y="30"/>
                  </a:lnTo>
                  <a:lnTo>
                    <a:pt x="115" y="30"/>
                  </a:lnTo>
                  <a:lnTo>
                    <a:pt x="115" y="28"/>
                  </a:lnTo>
                  <a:lnTo>
                    <a:pt x="112" y="28"/>
                  </a:lnTo>
                  <a:lnTo>
                    <a:pt x="112" y="25"/>
                  </a:lnTo>
                  <a:lnTo>
                    <a:pt x="112" y="25"/>
                  </a:lnTo>
                  <a:lnTo>
                    <a:pt x="112" y="25"/>
                  </a:lnTo>
                  <a:lnTo>
                    <a:pt x="110" y="25"/>
                  </a:lnTo>
                  <a:lnTo>
                    <a:pt x="110" y="25"/>
                  </a:lnTo>
                  <a:lnTo>
                    <a:pt x="110" y="23"/>
                  </a:lnTo>
                  <a:lnTo>
                    <a:pt x="110" y="20"/>
                  </a:lnTo>
                  <a:lnTo>
                    <a:pt x="110" y="20"/>
                  </a:lnTo>
                  <a:lnTo>
                    <a:pt x="110" y="17"/>
                  </a:lnTo>
                  <a:lnTo>
                    <a:pt x="112" y="17"/>
                  </a:lnTo>
                  <a:lnTo>
                    <a:pt x="112" y="17"/>
                  </a:lnTo>
                  <a:lnTo>
                    <a:pt x="110" y="15"/>
                  </a:lnTo>
                  <a:lnTo>
                    <a:pt x="110" y="15"/>
                  </a:lnTo>
                  <a:lnTo>
                    <a:pt x="107" y="15"/>
                  </a:lnTo>
                  <a:lnTo>
                    <a:pt x="105" y="12"/>
                  </a:lnTo>
                  <a:lnTo>
                    <a:pt x="105" y="12"/>
                  </a:lnTo>
                  <a:lnTo>
                    <a:pt x="105" y="12"/>
                  </a:lnTo>
                  <a:lnTo>
                    <a:pt x="102" y="10"/>
                  </a:lnTo>
                  <a:lnTo>
                    <a:pt x="102" y="12"/>
                  </a:lnTo>
                  <a:lnTo>
                    <a:pt x="100" y="10"/>
                  </a:lnTo>
                  <a:lnTo>
                    <a:pt x="97" y="10"/>
                  </a:lnTo>
                  <a:lnTo>
                    <a:pt x="97" y="10"/>
                  </a:lnTo>
                  <a:lnTo>
                    <a:pt x="95" y="10"/>
                  </a:lnTo>
                  <a:lnTo>
                    <a:pt x="95" y="10"/>
                  </a:lnTo>
                  <a:lnTo>
                    <a:pt x="90" y="10"/>
                  </a:lnTo>
                  <a:lnTo>
                    <a:pt x="87" y="10"/>
                  </a:lnTo>
                  <a:lnTo>
                    <a:pt x="84" y="10"/>
                  </a:lnTo>
                  <a:lnTo>
                    <a:pt x="84" y="7"/>
                  </a:lnTo>
                  <a:lnTo>
                    <a:pt x="79" y="5"/>
                  </a:lnTo>
                  <a:lnTo>
                    <a:pt x="79" y="5"/>
                  </a:lnTo>
                  <a:lnTo>
                    <a:pt x="79" y="5"/>
                  </a:lnTo>
                  <a:lnTo>
                    <a:pt x="77" y="5"/>
                  </a:lnTo>
                  <a:lnTo>
                    <a:pt x="74" y="2"/>
                  </a:lnTo>
                  <a:lnTo>
                    <a:pt x="74" y="2"/>
                  </a:lnTo>
                  <a:lnTo>
                    <a:pt x="72" y="2"/>
                  </a:lnTo>
                  <a:lnTo>
                    <a:pt x="69" y="0"/>
                  </a:lnTo>
                  <a:lnTo>
                    <a:pt x="67" y="0"/>
                  </a:lnTo>
                  <a:lnTo>
                    <a:pt x="67" y="0"/>
                  </a:lnTo>
                  <a:lnTo>
                    <a:pt x="67" y="0"/>
                  </a:lnTo>
                  <a:lnTo>
                    <a:pt x="67" y="2"/>
                  </a:lnTo>
                  <a:lnTo>
                    <a:pt x="67" y="2"/>
                  </a:lnTo>
                  <a:lnTo>
                    <a:pt x="67" y="0"/>
                  </a:lnTo>
                  <a:lnTo>
                    <a:pt x="64" y="0"/>
                  </a:lnTo>
                  <a:lnTo>
                    <a:pt x="61" y="2"/>
                  </a:lnTo>
                  <a:lnTo>
                    <a:pt x="61" y="2"/>
                  </a:lnTo>
                  <a:lnTo>
                    <a:pt x="59" y="2"/>
                  </a:lnTo>
                  <a:lnTo>
                    <a:pt x="54" y="2"/>
                  </a:lnTo>
                  <a:lnTo>
                    <a:pt x="54" y="5"/>
                  </a:lnTo>
                  <a:lnTo>
                    <a:pt x="51" y="5"/>
                  </a:lnTo>
                  <a:lnTo>
                    <a:pt x="51" y="5"/>
                  </a:lnTo>
                  <a:lnTo>
                    <a:pt x="54" y="10"/>
                  </a:lnTo>
                  <a:lnTo>
                    <a:pt x="54" y="15"/>
                  </a:lnTo>
                  <a:lnTo>
                    <a:pt x="54" y="17"/>
                  </a:lnTo>
                  <a:lnTo>
                    <a:pt x="54" y="17"/>
                  </a:lnTo>
                  <a:lnTo>
                    <a:pt x="49" y="20"/>
                  </a:lnTo>
                  <a:lnTo>
                    <a:pt x="46" y="23"/>
                  </a:lnTo>
                  <a:lnTo>
                    <a:pt x="44" y="23"/>
                  </a:lnTo>
                  <a:lnTo>
                    <a:pt x="36" y="20"/>
                  </a:lnTo>
                  <a:lnTo>
                    <a:pt x="33" y="15"/>
                  </a:lnTo>
                  <a:lnTo>
                    <a:pt x="31" y="15"/>
                  </a:lnTo>
                  <a:lnTo>
                    <a:pt x="26" y="10"/>
                  </a:lnTo>
                  <a:lnTo>
                    <a:pt x="26" y="7"/>
                  </a:lnTo>
                  <a:lnTo>
                    <a:pt x="23" y="7"/>
                  </a:lnTo>
                  <a:lnTo>
                    <a:pt x="18" y="7"/>
                  </a:lnTo>
                  <a:lnTo>
                    <a:pt x="13" y="10"/>
                  </a:lnTo>
                  <a:lnTo>
                    <a:pt x="11" y="10"/>
                  </a:lnTo>
                  <a:lnTo>
                    <a:pt x="5" y="15"/>
                  </a:lnTo>
                  <a:lnTo>
                    <a:pt x="5" y="17"/>
                  </a:lnTo>
                  <a:lnTo>
                    <a:pt x="5" y="20"/>
                  </a:lnTo>
                  <a:lnTo>
                    <a:pt x="5" y="23"/>
                  </a:lnTo>
                  <a:lnTo>
                    <a:pt x="3" y="23"/>
                  </a:lnTo>
                  <a:lnTo>
                    <a:pt x="0" y="25"/>
                  </a:lnTo>
                  <a:lnTo>
                    <a:pt x="0" y="30"/>
                  </a:lnTo>
                  <a:lnTo>
                    <a:pt x="0" y="38"/>
                  </a:lnTo>
                  <a:lnTo>
                    <a:pt x="0" y="43"/>
                  </a:lnTo>
                  <a:lnTo>
                    <a:pt x="5" y="40"/>
                  </a:lnTo>
                  <a:lnTo>
                    <a:pt x="11" y="38"/>
                  </a:lnTo>
                  <a:lnTo>
                    <a:pt x="13" y="38"/>
                  </a:lnTo>
                  <a:lnTo>
                    <a:pt x="18" y="35"/>
                  </a:lnTo>
                  <a:lnTo>
                    <a:pt x="18" y="35"/>
                  </a:lnTo>
                  <a:lnTo>
                    <a:pt x="23" y="35"/>
                  </a:lnTo>
                  <a:lnTo>
                    <a:pt x="26" y="35"/>
                  </a:lnTo>
                  <a:lnTo>
                    <a:pt x="28" y="35"/>
                  </a:lnTo>
                  <a:lnTo>
                    <a:pt x="31" y="35"/>
                  </a:lnTo>
                  <a:lnTo>
                    <a:pt x="33" y="35"/>
                  </a:lnTo>
                  <a:lnTo>
                    <a:pt x="33" y="38"/>
                  </a:lnTo>
                  <a:lnTo>
                    <a:pt x="36" y="35"/>
                  </a:lnTo>
                  <a:lnTo>
                    <a:pt x="36" y="35"/>
                  </a:lnTo>
                  <a:lnTo>
                    <a:pt x="44" y="35"/>
                  </a:lnTo>
                  <a:lnTo>
                    <a:pt x="44" y="35"/>
                  </a:lnTo>
                  <a:lnTo>
                    <a:pt x="46" y="35"/>
                  </a:lnTo>
                  <a:lnTo>
                    <a:pt x="49" y="38"/>
                  </a:lnTo>
                  <a:lnTo>
                    <a:pt x="51" y="38"/>
                  </a:lnTo>
                  <a:lnTo>
                    <a:pt x="56" y="38"/>
                  </a:lnTo>
                  <a:lnTo>
                    <a:pt x="59" y="38"/>
                  </a:lnTo>
                  <a:lnTo>
                    <a:pt x="59" y="38"/>
                  </a:lnTo>
                  <a:lnTo>
                    <a:pt x="61" y="35"/>
                  </a:lnTo>
                  <a:lnTo>
                    <a:pt x="61" y="35"/>
                  </a:lnTo>
                  <a:lnTo>
                    <a:pt x="64" y="35"/>
                  </a:lnTo>
                  <a:lnTo>
                    <a:pt x="64" y="35"/>
                  </a:lnTo>
                  <a:lnTo>
                    <a:pt x="67" y="38"/>
                  </a:lnTo>
                  <a:lnTo>
                    <a:pt x="67" y="40"/>
                  </a:lnTo>
                  <a:lnTo>
                    <a:pt x="69" y="40"/>
                  </a:lnTo>
                  <a:lnTo>
                    <a:pt x="77" y="40"/>
                  </a:lnTo>
                  <a:lnTo>
                    <a:pt x="77" y="40"/>
                  </a:lnTo>
                  <a:lnTo>
                    <a:pt x="82" y="43"/>
                  </a:lnTo>
                  <a:lnTo>
                    <a:pt x="84" y="45"/>
                  </a:lnTo>
                  <a:lnTo>
                    <a:pt x="84" y="45"/>
                  </a:lnTo>
                  <a:lnTo>
                    <a:pt x="87" y="48"/>
                  </a:lnTo>
                  <a:lnTo>
                    <a:pt x="90" y="48"/>
                  </a:lnTo>
                  <a:lnTo>
                    <a:pt x="92" y="51"/>
                  </a:lnTo>
                  <a:lnTo>
                    <a:pt x="95" y="51"/>
                  </a:lnTo>
                  <a:lnTo>
                    <a:pt x="95" y="51"/>
                  </a:lnTo>
                  <a:lnTo>
                    <a:pt x="95" y="51"/>
                  </a:lnTo>
                  <a:lnTo>
                    <a:pt x="97" y="51"/>
                  </a:lnTo>
                  <a:lnTo>
                    <a:pt x="97" y="51"/>
                  </a:lnTo>
                  <a:lnTo>
                    <a:pt x="100" y="48"/>
                  </a:lnTo>
                  <a:lnTo>
                    <a:pt x="102" y="48"/>
                  </a:lnTo>
                  <a:lnTo>
                    <a:pt x="105" y="48"/>
                  </a:lnTo>
                  <a:lnTo>
                    <a:pt x="107" y="48"/>
                  </a:lnTo>
                  <a:lnTo>
                    <a:pt x="107" y="48"/>
                  </a:lnTo>
                  <a:lnTo>
                    <a:pt x="110" y="48"/>
                  </a:lnTo>
                  <a:lnTo>
                    <a:pt x="110" y="48"/>
                  </a:lnTo>
                  <a:lnTo>
                    <a:pt x="112" y="45"/>
                  </a:lnTo>
                  <a:lnTo>
                    <a:pt x="112" y="45"/>
                  </a:lnTo>
                  <a:lnTo>
                    <a:pt x="115" y="43"/>
                  </a:lnTo>
                  <a:lnTo>
                    <a:pt x="118" y="40"/>
                  </a:lnTo>
                  <a:lnTo>
                    <a:pt x="118" y="40"/>
                  </a:lnTo>
                  <a:lnTo>
                    <a:pt x="120" y="40"/>
                  </a:lnTo>
                  <a:lnTo>
                    <a:pt x="120" y="40"/>
                  </a:lnTo>
                  <a:lnTo>
                    <a:pt x="120" y="38"/>
                  </a:lnTo>
                  <a:lnTo>
                    <a:pt x="120" y="3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277" name="Freeform 1896">
              <a:extLst>
                <a:ext uri="{FF2B5EF4-FFF2-40B4-BE49-F238E27FC236}">
                  <a16:creationId xmlns:a16="http://schemas.microsoft.com/office/drawing/2014/main" id="{2FBCF71B-8D5B-624B-98B9-7A9BC2709AEF}"/>
                </a:ext>
              </a:extLst>
            </p:cNvPr>
            <p:cNvSpPr>
              <a:spLocks/>
            </p:cNvSpPr>
            <p:nvPr/>
          </p:nvSpPr>
          <p:spPr bwMode="auto">
            <a:xfrm>
              <a:off x="8847358" y="2965268"/>
              <a:ext cx="266626" cy="318969"/>
            </a:xfrm>
            <a:custGeom>
              <a:avLst/>
              <a:gdLst>
                <a:gd name="T0" fmla="*/ 153 w 163"/>
                <a:gd name="T1" fmla="*/ 152 h 195"/>
                <a:gd name="T2" fmla="*/ 156 w 163"/>
                <a:gd name="T3" fmla="*/ 147 h 195"/>
                <a:gd name="T4" fmla="*/ 145 w 163"/>
                <a:gd name="T5" fmla="*/ 137 h 195"/>
                <a:gd name="T6" fmla="*/ 140 w 163"/>
                <a:gd name="T7" fmla="*/ 134 h 195"/>
                <a:gd name="T8" fmla="*/ 133 w 163"/>
                <a:gd name="T9" fmla="*/ 122 h 195"/>
                <a:gd name="T10" fmla="*/ 117 w 163"/>
                <a:gd name="T11" fmla="*/ 106 h 195"/>
                <a:gd name="T12" fmla="*/ 107 w 163"/>
                <a:gd name="T13" fmla="*/ 96 h 195"/>
                <a:gd name="T14" fmla="*/ 105 w 163"/>
                <a:gd name="T15" fmla="*/ 89 h 195"/>
                <a:gd name="T16" fmla="*/ 82 w 163"/>
                <a:gd name="T17" fmla="*/ 76 h 195"/>
                <a:gd name="T18" fmla="*/ 79 w 163"/>
                <a:gd name="T19" fmla="*/ 68 h 195"/>
                <a:gd name="T20" fmla="*/ 89 w 163"/>
                <a:gd name="T21" fmla="*/ 66 h 195"/>
                <a:gd name="T22" fmla="*/ 94 w 163"/>
                <a:gd name="T23" fmla="*/ 56 h 195"/>
                <a:gd name="T24" fmla="*/ 89 w 163"/>
                <a:gd name="T25" fmla="*/ 50 h 195"/>
                <a:gd name="T26" fmla="*/ 87 w 163"/>
                <a:gd name="T27" fmla="*/ 45 h 195"/>
                <a:gd name="T28" fmla="*/ 77 w 163"/>
                <a:gd name="T29" fmla="*/ 35 h 195"/>
                <a:gd name="T30" fmla="*/ 64 w 163"/>
                <a:gd name="T31" fmla="*/ 40 h 195"/>
                <a:gd name="T32" fmla="*/ 51 w 163"/>
                <a:gd name="T33" fmla="*/ 22 h 195"/>
                <a:gd name="T34" fmla="*/ 49 w 163"/>
                <a:gd name="T35" fmla="*/ 15 h 195"/>
                <a:gd name="T36" fmla="*/ 46 w 163"/>
                <a:gd name="T37" fmla="*/ 17 h 195"/>
                <a:gd name="T38" fmla="*/ 33 w 163"/>
                <a:gd name="T39" fmla="*/ 2 h 195"/>
                <a:gd name="T40" fmla="*/ 26 w 163"/>
                <a:gd name="T41" fmla="*/ 0 h 195"/>
                <a:gd name="T42" fmla="*/ 23 w 163"/>
                <a:gd name="T43" fmla="*/ 7 h 195"/>
                <a:gd name="T44" fmla="*/ 28 w 163"/>
                <a:gd name="T45" fmla="*/ 20 h 195"/>
                <a:gd name="T46" fmla="*/ 31 w 163"/>
                <a:gd name="T47" fmla="*/ 30 h 195"/>
                <a:gd name="T48" fmla="*/ 23 w 163"/>
                <a:gd name="T49" fmla="*/ 28 h 195"/>
                <a:gd name="T50" fmla="*/ 18 w 163"/>
                <a:gd name="T51" fmla="*/ 25 h 195"/>
                <a:gd name="T52" fmla="*/ 8 w 163"/>
                <a:gd name="T53" fmla="*/ 28 h 195"/>
                <a:gd name="T54" fmla="*/ 8 w 163"/>
                <a:gd name="T55" fmla="*/ 38 h 195"/>
                <a:gd name="T56" fmla="*/ 0 w 163"/>
                <a:gd name="T57" fmla="*/ 43 h 195"/>
                <a:gd name="T58" fmla="*/ 3 w 163"/>
                <a:gd name="T59" fmla="*/ 48 h 195"/>
                <a:gd name="T60" fmla="*/ 8 w 163"/>
                <a:gd name="T61" fmla="*/ 56 h 195"/>
                <a:gd name="T62" fmla="*/ 15 w 163"/>
                <a:gd name="T63" fmla="*/ 68 h 195"/>
                <a:gd name="T64" fmla="*/ 23 w 163"/>
                <a:gd name="T65" fmla="*/ 68 h 195"/>
                <a:gd name="T66" fmla="*/ 26 w 163"/>
                <a:gd name="T67" fmla="*/ 91 h 195"/>
                <a:gd name="T68" fmla="*/ 26 w 163"/>
                <a:gd name="T69" fmla="*/ 99 h 195"/>
                <a:gd name="T70" fmla="*/ 28 w 163"/>
                <a:gd name="T71" fmla="*/ 114 h 195"/>
                <a:gd name="T72" fmla="*/ 38 w 163"/>
                <a:gd name="T73" fmla="*/ 101 h 195"/>
                <a:gd name="T74" fmla="*/ 49 w 163"/>
                <a:gd name="T75" fmla="*/ 99 h 195"/>
                <a:gd name="T76" fmla="*/ 59 w 163"/>
                <a:gd name="T77" fmla="*/ 106 h 195"/>
                <a:gd name="T78" fmla="*/ 64 w 163"/>
                <a:gd name="T79" fmla="*/ 101 h 195"/>
                <a:gd name="T80" fmla="*/ 66 w 163"/>
                <a:gd name="T81" fmla="*/ 94 h 195"/>
                <a:gd name="T82" fmla="*/ 82 w 163"/>
                <a:gd name="T83" fmla="*/ 94 h 195"/>
                <a:gd name="T84" fmla="*/ 100 w 163"/>
                <a:gd name="T85" fmla="*/ 114 h 195"/>
                <a:gd name="T86" fmla="*/ 110 w 163"/>
                <a:gd name="T87" fmla="*/ 142 h 195"/>
                <a:gd name="T88" fmla="*/ 117 w 163"/>
                <a:gd name="T89" fmla="*/ 152 h 195"/>
                <a:gd name="T90" fmla="*/ 122 w 163"/>
                <a:gd name="T91" fmla="*/ 160 h 195"/>
                <a:gd name="T92" fmla="*/ 122 w 163"/>
                <a:gd name="T93" fmla="*/ 175 h 195"/>
                <a:gd name="T94" fmla="*/ 117 w 163"/>
                <a:gd name="T95" fmla="*/ 185 h 195"/>
                <a:gd name="T96" fmla="*/ 125 w 163"/>
                <a:gd name="T97" fmla="*/ 190 h 195"/>
                <a:gd name="T98" fmla="*/ 135 w 163"/>
                <a:gd name="T99" fmla="*/ 190 h 195"/>
                <a:gd name="T100" fmla="*/ 138 w 163"/>
                <a:gd name="T101" fmla="*/ 183 h 195"/>
                <a:gd name="T102" fmla="*/ 145 w 163"/>
                <a:gd name="T103" fmla="*/ 183 h 195"/>
                <a:gd name="T104" fmla="*/ 153 w 163"/>
                <a:gd name="T105" fmla="*/ 183 h 195"/>
                <a:gd name="T106" fmla="*/ 161 w 163"/>
                <a:gd name="T107" fmla="*/ 180 h 195"/>
                <a:gd name="T108" fmla="*/ 161 w 163"/>
                <a:gd name="T109" fmla="*/ 17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3" h="195">
                  <a:moveTo>
                    <a:pt x="163" y="162"/>
                  </a:moveTo>
                  <a:lnTo>
                    <a:pt x="161" y="162"/>
                  </a:lnTo>
                  <a:lnTo>
                    <a:pt x="161" y="160"/>
                  </a:lnTo>
                  <a:lnTo>
                    <a:pt x="158" y="157"/>
                  </a:lnTo>
                  <a:lnTo>
                    <a:pt x="156" y="157"/>
                  </a:lnTo>
                  <a:lnTo>
                    <a:pt x="156" y="155"/>
                  </a:lnTo>
                  <a:lnTo>
                    <a:pt x="153" y="152"/>
                  </a:lnTo>
                  <a:lnTo>
                    <a:pt x="153" y="152"/>
                  </a:lnTo>
                  <a:lnTo>
                    <a:pt x="153" y="152"/>
                  </a:lnTo>
                  <a:lnTo>
                    <a:pt x="156" y="150"/>
                  </a:lnTo>
                  <a:lnTo>
                    <a:pt x="158" y="150"/>
                  </a:lnTo>
                  <a:lnTo>
                    <a:pt x="158" y="147"/>
                  </a:lnTo>
                  <a:lnTo>
                    <a:pt x="156" y="147"/>
                  </a:lnTo>
                  <a:lnTo>
                    <a:pt x="156" y="147"/>
                  </a:lnTo>
                  <a:lnTo>
                    <a:pt x="156" y="145"/>
                  </a:lnTo>
                  <a:lnTo>
                    <a:pt x="153" y="145"/>
                  </a:lnTo>
                  <a:lnTo>
                    <a:pt x="151" y="142"/>
                  </a:lnTo>
                  <a:lnTo>
                    <a:pt x="148" y="139"/>
                  </a:lnTo>
                  <a:lnTo>
                    <a:pt x="145" y="139"/>
                  </a:lnTo>
                  <a:lnTo>
                    <a:pt x="145" y="139"/>
                  </a:lnTo>
                  <a:lnTo>
                    <a:pt x="145" y="137"/>
                  </a:lnTo>
                  <a:lnTo>
                    <a:pt x="145" y="134"/>
                  </a:lnTo>
                  <a:lnTo>
                    <a:pt x="143" y="137"/>
                  </a:lnTo>
                  <a:lnTo>
                    <a:pt x="143" y="137"/>
                  </a:lnTo>
                  <a:lnTo>
                    <a:pt x="143" y="137"/>
                  </a:lnTo>
                  <a:lnTo>
                    <a:pt x="140" y="137"/>
                  </a:lnTo>
                  <a:lnTo>
                    <a:pt x="140" y="134"/>
                  </a:lnTo>
                  <a:lnTo>
                    <a:pt x="140" y="134"/>
                  </a:lnTo>
                  <a:lnTo>
                    <a:pt x="138" y="132"/>
                  </a:lnTo>
                  <a:lnTo>
                    <a:pt x="138" y="129"/>
                  </a:lnTo>
                  <a:lnTo>
                    <a:pt x="138" y="127"/>
                  </a:lnTo>
                  <a:lnTo>
                    <a:pt x="135" y="127"/>
                  </a:lnTo>
                  <a:lnTo>
                    <a:pt x="135" y="124"/>
                  </a:lnTo>
                  <a:lnTo>
                    <a:pt x="135" y="124"/>
                  </a:lnTo>
                  <a:lnTo>
                    <a:pt x="133" y="122"/>
                  </a:lnTo>
                  <a:lnTo>
                    <a:pt x="130" y="119"/>
                  </a:lnTo>
                  <a:lnTo>
                    <a:pt x="125" y="117"/>
                  </a:lnTo>
                  <a:lnTo>
                    <a:pt x="125" y="114"/>
                  </a:lnTo>
                  <a:lnTo>
                    <a:pt x="122" y="114"/>
                  </a:lnTo>
                  <a:lnTo>
                    <a:pt x="120" y="109"/>
                  </a:lnTo>
                  <a:lnTo>
                    <a:pt x="117" y="109"/>
                  </a:lnTo>
                  <a:lnTo>
                    <a:pt x="117" y="106"/>
                  </a:lnTo>
                  <a:lnTo>
                    <a:pt x="115" y="104"/>
                  </a:lnTo>
                  <a:lnTo>
                    <a:pt x="115" y="101"/>
                  </a:lnTo>
                  <a:lnTo>
                    <a:pt x="112" y="101"/>
                  </a:lnTo>
                  <a:lnTo>
                    <a:pt x="112" y="99"/>
                  </a:lnTo>
                  <a:lnTo>
                    <a:pt x="110" y="99"/>
                  </a:lnTo>
                  <a:lnTo>
                    <a:pt x="110" y="99"/>
                  </a:lnTo>
                  <a:lnTo>
                    <a:pt x="107" y="96"/>
                  </a:lnTo>
                  <a:lnTo>
                    <a:pt x="105" y="94"/>
                  </a:lnTo>
                  <a:lnTo>
                    <a:pt x="105" y="94"/>
                  </a:lnTo>
                  <a:lnTo>
                    <a:pt x="105" y="91"/>
                  </a:lnTo>
                  <a:lnTo>
                    <a:pt x="105" y="91"/>
                  </a:lnTo>
                  <a:lnTo>
                    <a:pt x="105" y="89"/>
                  </a:lnTo>
                  <a:lnTo>
                    <a:pt x="105" y="89"/>
                  </a:lnTo>
                  <a:lnTo>
                    <a:pt x="105" y="89"/>
                  </a:lnTo>
                  <a:lnTo>
                    <a:pt x="105" y="86"/>
                  </a:lnTo>
                  <a:lnTo>
                    <a:pt x="102" y="86"/>
                  </a:lnTo>
                  <a:lnTo>
                    <a:pt x="94" y="84"/>
                  </a:lnTo>
                  <a:lnTo>
                    <a:pt x="92" y="84"/>
                  </a:lnTo>
                  <a:lnTo>
                    <a:pt x="92" y="81"/>
                  </a:lnTo>
                  <a:lnTo>
                    <a:pt x="89" y="81"/>
                  </a:lnTo>
                  <a:lnTo>
                    <a:pt x="82" y="76"/>
                  </a:lnTo>
                  <a:lnTo>
                    <a:pt x="79" y="73"/>
                  </a:lnTo>
                  <a:lnTo>
                    <a:pt x="79" y="73"/>
                  </a:lnTo>
                  <a:lnTo>
                    <a:pt x="77" y="73"/>
                  </a:lnTo>
                  <a:lnTo>
                    <a:pt x="77" y="71"/>
                  </a:lnTo>
                  <a:lnTo>
                    <a:pt x="79" y="71"/>
                  </a:lnTo>
                  <a:lnTo>
                    <a:pt x="79" y="71"/>
                  </a:lnTo>
                  <a:lnTo>
                    <a:pt x="79" y="68"/>
                  </a:lnTo>
                  <a:lnTo>
                    <a:pt x="79" y="66"/>
                  </a:lnTo>
                  <a:lnTo>
                    <a:pt x="79" y="66"/>
                  </a:lnTo>
                  <a:lnTo>
                    <a:pt x="79" y="63"/>
                  </a:lnTo>
                  <a:lnTo>
                    <a:pt x="79" y="63"/>
                  </a:lnTo>
                  <a:lnTo>
                    <a:pt x="82" y="63"/>
                  </a:lnTo>
                  <a:lnTo>
                    <a:pt x="84" y="63"/>
                  </a:lnTo>
                  <a:lnTo>
                    <a:pt x="89" y="66"/>
                  </a:lnTo>
                  <a:lnTo>
                    <a:pt x="89" y="66"/>
                  </a:lnTo>
                  <a:lnTo>
                    <a:pt x="92" y="63"/>
                  </a:lnTo>
                  <a:lnTo>
                    <a:pt x="94" y="61"/>
                  </a:lnTo>
                  <a:lnTo>
                    <a:pt x="94" y="58"/>
                  </a:lnTo>
                  <a:lnTo>
                    <a:pt x="94" y="58"/>
                  </a:lnTo>
                  <a:lnTo>
                    <a:pt x="97" y="56"/>
                  </a:lnTo>
                  <a:lnTo>
                    <a:pt x="94" y="56"/>
                  </a:lnTo>
                  <a:lnTo>
                    <a:pt x="94" y="53"/>
                  </a:lnTo>
                  <a:lnTo>
                    <a:pt x="94" y="53"/>
                  </a:lnTo>
                  <a:lnTo>
                    <a:pt x="92" y="53"/>
                  </a:lnTo>
                  <a:lnTo>
                    <a:pt x="89" y="53"/>
                  </a:lnTo>
                  <a:lnTo>
                    <a:pt x="89" y="50"/>
                  </a:lnTo>
                  <a:lnTo>
                    <a:pt x="89" y="50"/>
                  </a:lnTo>
                  <a:lnTo>
                    <a:pt x="89" y="50"/>
                  </a:lnTo>
                  <a:lnTo>
                    <a:pt x="89" y="48"/>
                  </a:lnTo>
                  <a:lnTo>
                    <a:pt x="87" y="48"/>
                  </a:lnTo>
                  <a:lnTo>
                    <a:pt x="84" y="48"/>
                  </a:lnTo>
                  <a:lnTo>
                    <a:pt x="84" y="48"/>
                  </a:lnTo>
                  <a:lnTo>
                    <a:pt x="84" y="45"/>
                  </a:lnTo>
                  <a:lnTo>
                    <a:pt x="84" y="45"/>
                  </a:lnTo>
                  <a:lnTo>
                    <a:pt x="87" y="45"/>
                  </a:lnTo>
                  <a:lnTo>
                    <a:pt x="87" y="43"/>
                  </a:lnTo>
                  <a:lnTo>
                    <a:pt x="87" y="43"/>
                  </a:lnTo>
                  <a:lnTo>
                    <a:pt x="87" y="40"/>
                  </a:lnTo>
                  <a:lnTo>
                    <a:pt x="84" y="40"/>
                  </a:lnTo>
                  <a:lnTo>
                    <a:pt x="82" y="38"/>
                  </a:lnTo>
                  <a:lnTo>
                    <a:pt x="79" y="35"/>
                  </a:lnTo>
                  <a:lnTo>
                    <a:pt x="77" y="35"/>
                  </a:lnTo>
                  <a:lnTo>
                    <a:pt x="77" y="35"/>
                  </a:lnTo>
                  <a:lnTo>
                    <a:pt x="72" y="38"/>
                  </a:lnTo>
                  <a:lnTo>
                    <a:pt x="72" y="38"/>
                  </a:lnTo>
                  <a:lnTo>
                    <a:pt x="69" y="40"/>
                  </a:lnTo>
                  <a:lnTo>
                    <a:pt x="69" y="40"/>
                  </a:lnTo>
                  <a:lnTo>
                    <a:pt x="66" y="40"/>
                  </a:lnTo>
                  <a:lnTo>
                    <a:pt x="64" y="40"/>
                  </a:lnTo>
                  <a:lnTo>
                    <a:pt x="59" y="38"/>
                  </a:lnTo>
                  <a:lnTo>
                    <a:pt x="56" y="38"/>
                  </a:lnTo>
                  <a:lnTo>
                    <a:pt x="51" y="30"/>
                  </a:lnTo>
                  <a:lnTo>
                    <a:pt x="51" y="28"/>
                  </a:lnTo>
                  <a:lnTo>
                    <a:pt x="51" y="28"/>
                  </a:lnTo>
                  <a:lnTo>
                    <a:pt x="51" y="25"/>
                  </a:lnTo>
                  <a:lnTo>
                    <a:pt x="51" y="22"/>
                  </a:lnTo>
                  <a:lnTo>
                    <a:pt x="51" y="20"/>
                  </a:lnTo>
                  <a:lnTo>
                    <a:pt x="51" y="20"/>
                  </a:lnTo>
                  <a:lnTo>
                    <a:pt x="51" y="17"/>
                  </a:lnTo>
                  <a:lnTo>
                    <a:pt x="51" y="17"/>
                  </a:lnTo>
                  <a:lnTo>
                    <a:pt x="51" y="17"/>
                  </a:lnTo>
                  <a:lnTo>
                    <a:pt x="49" y="17"/>
                  </a:lnTo>
                  <a:lnTo>
                    <a:pt x="49" y="15"/>
                  </a:lnTo>
                  <a:lnTo>
                    <a:pt x="49" y="15"/>
                  </a:lnTo>
                  <a:lnTo>
                    <a:pt x="49" y="17"/>
                  </a:lnTo>
                  <a:lnTo>
                    <a:pt x="46" y="17"/>
                  </a:lnTo>
                  <a:lnTo>
                    <a:pt x="46" y="20"/>
                  </a:lnTo>
                  <a:lnTo>
                    <a:pt x="46" y="20"/>
                  </a:lnTo>
                  <a:lnTo>
                    <a:pt x="46" y="17"/>
                  </a:lnTo>
                  <a:lnTo>
                    <a:pt x="46" y="17"/>
                  </a:lnTo>
                  <a:lnTo>
                    <a:pt x="43" y="15"/>
                  </a:lnTo>
                  <a:lnTo>
                    <a:pt x="43" y="12"/>
                  </a:lnTo>
                  <a:lnTo>
                    <a:pt x="41" y="12"/>
                  </a:lnTo>
                  <a:lnTo>
                    <a:pt x="41" y="10"/>
                  </a:lnTo>
                  <a:lnTo>
                    <a:pt x="36" y="7"/>
                  </a:lnTo>
                  <a:lnTo>
                    <a:pt x="33" y="5"/>
                  </a:lnTo>
                  <a:lnTo>
                    <a:pt x="33" y="2"/>
                  </a:lnTo>
                  <a:lnTo>
                    <a:pt x="33" y="2"/>
                  </a:lnTo>
                  <a:lnTo>
                    <a:pt x="31" y="2"/>
                  </a:lnTo>
                  <a:lnTo>
                    <a:pt x="28" y="2"/>
                  </a:lnTo>
                  <a:lnTo>
                    <a:pt x="28" y="2"/>
                  </a:lnTo>
                  <a:lnTo>
                    <a:pt x="26" y="0"/>
                  </a:lnTo>
                  <a:lnTo>
                    <a:pt x="26" y="0"/>
                  </a:lnTo>
                  <a:lnTo>
                    <a:pt x="26" y="0"/>
                  </a:lnTo>
                  <a:lnTo>
                    <a:pt x="23" y="0"/>
                  </a:lnTo>
                  <a:lnTo>
                    <a:pt x="23" y="2"/>
                  </a:lnTo>
                  <a:lnTo>
                    <a:pt x="23" y="5"/>
                  </a:lnTo>
                  <a:lnTo>
                    <a:pt x="23" y="5"/>
                  </a:lnTo>
                  <a:lnTo>
                    <a:pt x="21" y="5"/>
                  </a:lnTo>
                  <a:lnTo>
                    <a:pt x="23" y="7"/>
                  </a:lnTo>
                  <a:lnTo>
                    <a:pt x="23" y="7"/>
                  </a:lnTo>
                  <a:lnTo>
                    <a:pt x="23" y="10"/>
                  </a:lnTo>
                  <a:lnTo>
                    <a:pt x="23" y="10"/>
                  </a:lnTo>
                  <a:lnTo>
                    <a:pt x="23" y="12"/>
                  </a:lnTo>
                  <a:lnTo>
                    <a:pt x="26" y="15"/>
                  </a:lnTo>
                  <a:lnTo>
                    <a:pt x="28" y="15"/>
                  </a:lnTo>
                  <a:lnTo>
                    <a:pt x="28" y="17"/>
                  </a:lnTo>
                  <a:lnTo>
                    <a:pt x="28" y="20"/>
                  </a:lnTo>
                  <a:lnTo>
                    <a:pt x="28" y="22"/>
                  </a:lnTo>
                  <a:lnTo>
                    <a:pt x="28" y="25"/>
                  </a:lnTo>
                  <a:lnTo>
                    <a:pt x="28" y="28"/>
                  </a:lnTo>
                  <a:lnTo>
                    <a:pt x="28" y="28"/>
                  </a:lnTo>
                  <a:lnTo>
                    <a:pt x="31" y="28"/>
                  </a:lnTo>
                  <a:lnTo>
                    <a:pt x="31" y="30"/>
                  </a:lnTo>
                  <a:lnTo>
                    <a:pt x="31" y="30"/>
                  </a:lnTo>
                  <a:lnTo>
                    <a:pt x="28" y="30"/>
                  </a:lnTo>
                  <a:lnTo>
                    <a:pt x="28" y="30"/>
                  </a:lnTo>
                  <a:lnTo>
                    <a:pt x="28" y="30"/>
                  </a:lnTo>
                  <a:lnTo>
                    <a:pt x="26" y="30"/>
                  </a:lnTo>
                  <a:lnTo>
                    <a:pt x="26" y="30"/>
                  </a:lnTo>
                  <a:lnTo>
                    <a:pt x="26" y="28"/>
                  </a:lnTo>
                  <a:lnTo>
                    <a:pt x="23" y="28"/>
                  </a:lnTo>
                  <a:lnTo>
                    <a:pt x="21" y="30"/>
                  </a:lnTo>
                  <a:lnTo>
                    <a:pt x="21" y="30"/>
                  </a:lnTo>
                  <a:lnTo>
                    <a:pt x="18" y="30"/>
                  </a:lnTo>
                  <a:lnTo>
                    <a:pt x="18" y="28"/>
                  </a:lnTo>
                  <a:lnTo>
                    <a:pt x="18" y="25"/>
                  </a:lnTo>
                  <a:lnTo>
                    <a:pt x="18" y="25"/>
                  </a:lnTo>
                  <a:lnTo>
                    <a:pt x="18" y="25"/>
                  </a:lnTo>
                  <a:lnTo>
                    <a:pt x="18" y="22"/>
                  </a:lnTo>
                  <a:lnTo>
                    <a:pt x="15" y="20"/>
                  </a:lnTo>
                  <a:lnTo>
                    <a:pt x="15" y="22"/>
                  </a:lnTo>
                  <a:lnTo>
                    <a:pt x="13" y="25"/>
                  </a:lnTo>
                  <a:lnTo>
                    <a:pt x="10" y="28"/>
                  </a:lnTo>
                  <a:lnTo>
                    <a:pt x="10" y="28"/>
                  </a:lnTo>
                  <a:lnTo>
                    <a:pt x="8" y="28"/>
                  </a:lnTo>
                  <a:lnTo>
                    <a:pt x="8" y="30"/>
                  </a:lnTo>
                  <a:lnTo>
                    <a:pt x="8" y="33"/>
                  </a:lnTo>
                  <a:lnTo>
                    <a:pt x="5" y="33"/>
                  </a:lnTo>
                  <a:lnTo>
                    <a:pt x="5" y="35"/>
                  </a:lnTo>
                  <a:lnTo>
                    <a:pt x="5" y="35"/>
                  </a:lnTo>
                  <a:lnTo>
                    <a:pt x="8" y="38"/>
                  </a:lnTo>
                  <a:lnTo>
                    <a:pt x="8" y="38"/>
                  </a:lnTo>
                  <a:lnTo>
                    <a:pt x="8" y="38"/>
                  </a:lnTo>
                  <a:lnTo>
                    <a:pt x="8" y="38"/>
                  </a:lnTo>
                  <a:lnTo>
                    <a:pt x="5" y="38"/>
                  </a:lnTo>
                  <a:lnTo>
                    <a:pt x="5" y="38"/>
                  </a:lnTo>
                  <a:lnTo>
                    <a:pt x="3" y="38"/>
                  </a:lnTo>
                  <a:lnTo>
                    <a:pt x="0" y="40"/>
                  </a:lnTo>
                  <a:lnTo>
                    <a:pt x="0" y="43"/>
                  </a:lnTo>
                  <a:lnTo>
                    <a:pt x="0" y="48"/>
                  </a:lnTo>
                  <a:lnTo>
                    <a:pt x="0" y="50"/>
                  </a:lnTo>
                  <a:lnTo>
                    <a:pt x="0" y="50"/>
                  </a:lnTo>
                  <a:lnTo>
                    <a:pt x="0" y="50"/>
                  </a:lnTo>
                  <a:lnTo>
                    <a:pt x="0" y="50"/>
                  </a:lnTo>
                  <a:lnTo>
                    <a:pt x="3" y="48"/>
                  </a:lnTo>
                  <a:lnTo>
                    <a:pt x="3" y="48"/>
                  </a:lnTo>
                  <a:lnTo>
                    <a:pt x="3" y="48"/>
                  </a:lnTo>
                  <a:lnTo>
                    <a:pt x="5" y="48"/>
                  </a:lnTo>
                  <a:lnTo>
                    <a:pt x="5" y="50"/>
                  </a:lnTo>
                  <a:lnTo>
                    <a:pt x="8" y="53"/>
                  </a:lnTo>
                  <a:lnTo>
                    <a:pt x="8" y="53"/>
                  </a:lnTo>
                  <a:lnTo>
                    <a:pt x="8" y="53"/>
                  </a:lnTo>
                  <a:lnTo>
                    <a:pt x="8" y="56"/>
                  </a:lnTo>
                  <a:lnTo>
                    <a:pt x="8" y="56"/>
                  </a:lnTo>
                  <a:lnTo>
                    <a:pt x="8" y="58"/>
                  </a:lnTo>
                  <a:lnTo>
                    <a:pt x="8" y="63"/>
                  </a:lnTo>
                  <a:lnTo>
                    <a:pt x="8" y="66"/>
                  </a:lnTo>
                  <a:lnTo>
                    <a:pt x="10" y="66"/>
                  </a:lnTo>
                  <a:lnTo>
                    <a:pt x="13" y="68"/>
                  </a:lnTo>
                  <a:lnTo>
                    <a:pt x="15" y="68"/>
                  </a:lnTo>
                  <a:lnTo>
                    <a:pt x="15" y="68"/>
                  </a:lnTo>
                  <a:lnTo>
                    <a:pt x="15" y="66"/>
                  </a:lnTo>
                  <a:lnTo>
                    <a:pt x="18" y="66"/>
                  </a:lnTo>
                  <a:lnTo>
                    <a:pt x="18" y="66"/>
                  </a:lnTo>
                  <a:lnTo>
                    <a:pt x="23" y="66"/>
                  </a:lnTo>
                  <a:lnTo>
                    <a:pt x="23" y="66"/>
                  </a:lnTo>
                  <a:lnTo>
                    <a:pt x="23" y="68"/>
                  </a:lnTo>
                  <a:lnTo>
                    <a:pt x="23" y="71"/>
                  </a:lnTo>
                  <a:lnTo>
                    <a:pt x="26" y="76"/>
                  </a:lnTo>
                  <a:lnTo>
                    <a:pt x="26" y="78"/>
                  </a:lnTo>
                  <a:lnTo>
                    <a:pt x="28" y="81"/>
                  </a:lnTo>
                  <a:lnTo>
                    <a:pt x="26" y="84"/>
                  </a:lnTo>
                  <a:lnTo>
                    <a:pt x="26" y="89"/>
                  </a:lnTo>
                  <a:lnTo>
                    <a:pt x="26" y="91"/>
                  </a:lnTo>
                  <a:lnTo>
                    <a:pt x="23" y="91"/>
                  </a:lnTo>
                  <a:lnTo>
                    <a:pt x="23" y="91"/>
                  </a:lnTo>
                  <a:lnTo>
                    <a:pt x="23" y="94"/>
                  </a:lnTo>
                  <a:lnTo>
                    <a:pt x="26" y="94"/>
                  </a:lnTo>
                  <a:lnTo>
                    <a:pt x="26" y="96"/>
                  </a:lnTo>
                  <a:lnTo>
                    <a:pt x="26" y="96"/>
                  </a:lnTo>
                  <a:lnTo>
                    <a:pt x="26" y="99"/>
                  </a:lnTo>
                  <a:lnTo>
                    <a:pt x="26" y="101"/>
                  </a:lnTo>
                  <a:lnTo>
                    <a:pt x="26" y="106"/>
                  </a:lnTo>
                  <a:lnTo>
                    <a:pt x="23" y="112"/>
                  </a:lnTo>
                  <a:lnTo>
                    <a:pt x="26" y="112"/>
                  </a:lnTo>
                  <a:lnTo>
                    <a:pt x="26" y="114"/>
                  </a:lnTo>
                  <a:lnTo>
                    <a:pt x="28" y="114"/>
                  </a:lnTo>
                  <a:lnTo>
                    <a:pt x="28" y="114"/>
                  </a:lnTo>
                  <a:lnTo>
                    <a:pt x="31" y="112"/>
                  </a:lnTo>
                  <a:lnTo>
                    <a:pt x="33" y="109"/>
                  </a:lnTo>
                  <a:lnTo>
                    <a:pt x="36" y="106"/>
                  </a:lnTo>
                  <a:lnTo>
                    <a:pt x="36" y="106"/>
                  </a:lnTo>
                  <a:lnTo>
                    <a:pt x="38" y="104"/>
                  </a:lnTo>
                  <a:lnTo>
                    <a:pt x="38" y="104"/>
                  </a:lnTo>
                  <a:lnTo>
                    <a:pt x="38" y="101"/>
                  </a:lnTo>
                  <a:lnTo>
                    <a:pt x="41" y="101"/>
                  </a:lnTo>
                  <a:lnTo>
                    <a:pt x="41" y="101"/>
                  </a:lnTo>
                  <a:lnTo>
                    <a:pt x="43" y="101"/>
                  </a:lnTo>
                  <a:lnTo>
                    <a:pt x="43" y="99"/>
                  </a:lnTo>
                  <a:lnTo>
                    <a:pt x="46" y="96"/>
                  </a:lnTo>
                  <a:lnTo>
                    <a:pt x="46" y="96"/>
                  </a:lnTo>
                  <a:lnTo>
                    <a:pt x="49" y="99"/>
                  </a:lnTo>
                  <a:lnTo>
                    <a:pt x="51" y="101"/>
                  </a:lnTo>
                  <a:lnTo>
                    <a:pt x="54" y="101"/>
                  </a:lnTo>
                  <a:lnTo>
                    <a:pt x="56" y="104"/>
                  </a:lnTo>
                  <a:lnTo>
                    <a:pt x="56" y="104"/>
                  </a:lnTo>
                  <a:lnTo>
                    <a:pt x="56" y="104"/>
                  </a:lnTo>
                  <a:lnTo>
                    <a:pt x="56" y="106"/>
                  </a:lnTo>
                  <a:lnTo>
                    <a:pt x="59" y="106"/>
                  </a:lnTo>
                  <a:lnTo>
                    <a:pt x="59" y="106"/>
                  </a:lnTo>
                  <a:lnTo>
                    <a:pt x="59" y="106"/>
                  </a:lnTo>
                  <a:lnTo>
                    <a:pt x="59" y="104"/>
                  </a:lnTo>
                  <a:lnTo>
                    <a:pt x="61" y="104"/>
                  </a:lnTo>
                  <a:lnTo>
                    <a:pt x="61" y="104"/>
                  </a:lnTo>
                  <a:lnTo>
                    <a:pt x="64" y="101"/>
                  </a:lnTo>
                  <a:lnTo>
                    <a:pt x="64" y="101"/>
                  </a:lnTo>
                  <a:lnTo>
                    <a:pt x="66" y="99"/>
                  </a:lnTo>
                  <a:lnTo>
                    <a:pt x="66" y="96"/>
                  </a:lnTo>
                  <a:lnTo>
                    <a:pt x="66" y="96"/>
                  </a:lnTo>
                  <a:lnTo>
                    <a:pt x="69" y="96"/>
                  </a:lnTo>
                  <a:lnTo>
                    <a:pt x="69" y="96"/>
                  </a:lnTo>
                  <a:lnTo>
                    <a:pt x="69" y="94"/>
                  </a:lnTo>
                  <a:lnTo>
                    <a:pt x="66" y="94"/>
                  </a:lnTo>
                  <a:lnTo>
                    <a:pt x="69" y="94"/>
                  </a:lnTo>
                  <a:lnTo>
                    <a:pt x="69" y="94"/>
                  </a:lnTo>
                  <a:lnTo>
                    <a:pt x="72" y="94"/>
                  </a:lnTo>
                  <a:lnTo>
                    <a:pt x="74" y="94"/>
                  </a:lnTo>
                  <a:lnTo>
                    <a:pt x="79" y="94"/>
                  </a:lnTo>
                  <a:lnTo>
                    <a:pt x="82" y="96"/>
                  </a:lnTo>
                  <a:lnTo>
                    <a:pt x="82" y="94"/>
                  </a:lnTo>
                  <a:lnTo>
                    <a:pt x="84" y="96"/>
                  </a:lnTo>
                  <a:lnTo>
                    <a:pt x="87" y="101"/>
                  </a:lnTo>
                  <a:lnTo>
                    <a:pt x="89" y="106"/>
                  </a:lnTo>
                  <a:lnTo>
                    <a:pt x="92" y="109"/>
                  </a:lnTo>
                  <a:lnTo>
                    <a:pt x="94" y="112"/>
                  </a:lnTo>
                  <a:lnTo>
                    <a:pt x="97" y="112"/>
                  </a:lnTo>
                  <a:lnTo>
                    <a:pt x="100" y="114"/>
                  </a:lnTo>
                  <a:lnTo>
                    <a:pt x="102" y="119"/>
                  </a:lnTo>
                  <a:lnTo>
                    <a:pt x="102" y="124"/>
                  </a:lnTo>
                  <a:lnTo>
                    <a:pt x="102" y="127"/>
                  </a:lnTo>
                  <a:lnTo>
                    <a:pt x="102" y="132"/>
                  </a:lnTo>
                  <a:lnTo>
                    <a:pt x="105" y="137"/>
                  </a:lnTo>
                  <a:lnTo>
                    <a:pt x="107" y="139"/>
                  </a:lnTo>
                  <a:lnTo>
                    <a:pt x="110" y="142"/>
                  </a:lnTo>
                  <a:lnTo>
                    <a:pt x="110" y="145"/>
                  </a:lnTo>
                  <a:lnTo>
                    <a:pt x="112" y="145"/>
                  </a:lnTo>
                  <a:lnTo>
                    <a:pt x="115" y="147"/>
                  </a:lnTo>
                  <a:lnTo>
                    <a:pt x="117" y="147"/>
                  </a:lnTo>
                  <a:lnTo>
                    <a:pt x="117" y="150"/>
                  </a:lnTo>
                  <a:lnTo>
                    <a:pt x="117" y="150"/>
                  </a:lnTo>
                  <a:lnTo>
                    <a:pt x="117" y="152"/>
                  </a:lnTo>
                  <a:lnTo>
                    <a:pt x="120" y="152"/>
                  </a:lnTo>
                  <a:lnTo>
                    <a:pt x="120" y="152"/>
                  </a:lnTo>
                  <a:lnTo>
                    <a:pt x="122" y="155"/>
                  </a:lnTo>
                  <a:lnTo>
                    <a:pt x="122" y="155"/>
                  </a:lnTo>
                  <a:lnTo>
                    <a:pt x="122" y="157"/>
                  </a:lnTo>
                  <a:lnTo>
                    <a:pt x="122" y="160"/>
                  </a:lnTo>
                  <a:lnTo>
                    <a:pt x="122" y="160"/>
                  </a:lnTo>
                  <a:lnTo>
                    <a:pt x="122" y="162"/>
                  </a:lnTo>
                  <a:lnTo>
                    <a:pt x="120" y="162"/>
                  </a:lnTo>
                  <a:lnTo>
                    <a:pt x="120" y="165"/>
                  </a:lnTo>
                  <a:lnTo>
                    <a:pt x="122" y="167"/>
                  </a:lnTo>
                  <a:lnTo>
                    <a:pt x="122" y="170"/>
                  </a:lnTo>
                  <a:lnTo>
                    <a:pt x="122" y="173"/>
                  </a:lnTo>
                  <a:lnTo>
                    <a:pt x="122" y="175"/>
                  </a:lnTo>
                  <a:lnTo>
                    <a:pt x="122" y="178"/>
                  </a:lnTo>
                  <a:lnTo>
                    <a:pt x="122" y="180"/>
                  </a:lnTo>
                  <a:lnTo>
                    <a:pt x="122" y="180"/>
                  </a:lnTo>
                  <a:lnTo>
                    <a:pt x="122" y="183"/>
                  </a:lnTo>
                  <a:lnTo>
                    <a:pt x="120" y="183"/>
                  </a:lnTo>
                  <a:lnTo>
                    <a:pt x="117" y="185"/>
                  </a:lnTo>
                  <a:lnTo>
                    <a:pt x="117" y="185"/>
                  </a:lnTo>
                  <a:lnTo>
                    <a:pt x="117" y="185"/>
                  </a:lnTo>
                  <a:lnTo>
                    <a:pt x="117" y="188"/>
                  </a:lnTo>
                  <a:lnTo>
                    <a:pt x="120" y="188"/>
                  </a:lnTo>
                  <a:lnTo>
                    <a:pt x="120" y="190"/>
                  </a:lnTo>
                  <a:lnTo>
                    <a:pt x="120" y="190"/>
                  </a:lnTo>
                  <a:lnTo>
                    <a:pt x="122" y="190"/>
                  </a:lnTo>
                  <a:lnTo>
                    <a:pt x="125" y="190"/>
                  </a:lnTo>
                  <a:lnTo>
                    <a:pt x="130" y="190"/>
                  </a:lnTo>
                  <a:lnTo>
                    <a:pt x="130" y="193"/>
                  </a:lnTo>
                  <a:lnTo>
                    <a:pt x="130" y="193"/>
                  </a:lnTo>
                  <a:lnTo>
                    <a:pt x="133" y="195"/>
                  </a:lnTo>
                  <a:lnTo>
                    <a:pt x="135" y="195"/>
                  </a:lnTo>
                  <a:lnTo>
                    <a:pt x="138" y="193"/>
                  </a:lnTo>
                  <a:lnTo>
                    <a:pt x="135" y="190"/>
                  </a:lnTo>
                  <a:lnTo>
                    <a:pt x="133" y="188"/>
                  </a:lnTo>
                  <a:lnTo>
                    <a:pt x="133" y="185"/>
                  </a:lnTo>
                  <a:lnTo>
                    <a:pt x="133" y="185"/>
                  </a:lnTo>
                  <a:lnTo>
                    <a:pt x="138" y="185"/>
                  </a:lnTo>
                  <a:lnTo>
                    <a:pt x="138" y="185"/>
                  </a:lnTo>
                  <a:lnTo>
                    <a:pt x="138" y="183"/>
                  </a:lnTo>
                  <a:lnTo>
                    <a:pt x="138" y="183"/>
                  </a:lnTo>
                  <a:lnTo>
                    <a:pt x="140" y="183"/>
                  </a:lnTo>
                  <a:lnTo>
                    <a:pt x="143" y="180"/>
                  </a:lnTo>
                  <a:lnTo>
                    <a:pt x="143" y="180"/>
                  </a:lnTo>
                  <a:lnTo>
                    <a:pt x="143" y="180"/>
                  </a:lnTo>
                  <a:lnTo>
                    <a:pt x="145" y="183"/>
                  </a:lnTo>
                  <a:lnTo>
                    <a:pt x="145" y="183"/>
                  </a:lnTo>
                  <a:lnTo>
                    <a:pt x="145" y="183"/>
                  </a:lnTo>
                  <a:lnTo>
                    <a:pt x="148" y="185"/>
                  </a:lnTo>
                  <a:lnTo>
                    <a:pt x="148" y="185"/>
                  </a:lnTo>
                  <a:lnTo>
                    <a:pt x="151" y="185"/>
                  </a:lnTo>
                  <a:lnTo>
                    <a:pt x="151" y="185"/>
                  </a:lnTo>
                  <a:lnTo>
                    <a:pt x="153" y="185"/>
                  </a:lnTo>
                  <a:lnTo>
                    <a:pt x="153" y="185"/>
                  </a:lnTo>
                  <a:lnTo>
                    <a:pt x="153" y="183"/>
                  </a:lnTo>
                  <a:lnTo>
                    <a:pt x="156" y="183"/>
                  </a:lnTo>
                  <a:lnTo>
                    <a:pt x="156" y="183"/>
                  </a:lnTo>
                  <a:lnTo>
                    <a:pt x="158" y="183"/>
                  </a:lnTo>
                  <a:lnTo>
                    <a:pt x="158" y="180"/>
                  </a:lnTo>
                  <a:lnTo>
                    <a:pt x="158" y="180"/>
                  </a:lnTo>
                  <a:lnTo>
                    <a:pt x="161" y="180"/>
                  </a:lnTo>
                  <a:lnTo>
                    <a:pt x="161" y="180"/>
                  </a:lnTo>
                  <a:lnTo>
                    <a:pt x="161" y="178"/>
                  </a:lnTo>
                  <a:lnTo>
                    <a:pt x="163" y="178"/>
                  </a:lnTo>
                  <a:lnTo>
                    <a:pt x="163" y="175"/>
                  </a:lnTo>
                  <a:lnTo>
                    <a:pt x="163" y="173"/>
                  </a:lnTo>
                  <a:lnTo>
                    <a:pt x="163" y="173"/>
                  </a:lnTo>
                  <a:lnTo>
                    <a:pt x="161" y="170"/>
                  </a:lnTo>
                  <a:lnTo>
                    <a:pt x="161" y="170"/>
                  </a:lnTo>
                  <a:lnTo>
                    <a:pt x="163" y="170"/>
                  </a:lnTo>
                  <a:lnTo>
                    <a:pt x="163" y="167"/>
                  </a:lnTo>
                  <a:lnTo>
                    <a:pt x="163" y="165"/>
                  </a:lnTo>
                  <a:lnTo>
                    <a:pt x="163" y="165"/>
                  </a:lnTo>
                  <a:lnTo>
                    <a:pt x="163" y="162"/>
                  </a:lnTo>
                  <a:close/>
                </a:path>
              </a:pathLst>
            </a:custGeom>
            <a:solidFill>
              <a:srgbClr val="FFC000"/>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278" name="Freeform 1897">
              <a:extLst>
                <a:ext uri="{FF2B5EF4-FFF2-40B4-BE49-F238E27FC236}">
                  <a16:creationId xmlns:a16="http://schemas.microsoft.com/office/drawing/2014/main" id="{D108A736-6F8E-2C43-B6B9-F71B1FF1F555}"/>
                </a:ext>
              </a:extLst>
            </p:cNvPr>
            <p:cNvSpPr>
              <a:spLocks noEditPoints="1"/>
            </p:cNvSpPr>
            <p:nvPr/>
          </p:nvSpPr>
          <p:spPr bwMode="auto">
            <a:xfrm>
              <a:off x="7097120" y="2682286"/>
              <a:ext cx="62158" cy="57251"/>
            </a:xfrm>
            <a:custGeom>
              <a:avLst/>
              <a:gdLst>
                <a:gd name="T0" fmla="*/ 30 w 38"/>
                <a:gd name="T1" fmla="*/ 12 h 35"/>
                <a:gd name="T2" fmla="*/ 30 w 38"/>
                <a:gd name="T3" fmla="*/ 12 h 35"/>
                <a:gd name="T4" fmla="*/ 33 w 38"/>
                <a:gd name="T5" fmla="*/ 10 h 35"/>
                <a:gd name="T6" fmla="*/ 30 w 38"/>
                <a:gd name="T7" fmla="*/ 5 h 35"/>
                <a:gd name="T8" fmla="*/ 28 w 38"/>
                <a:gd name="T9" fmla="*/ 5 h 35"/>
                <a:gd name="T10" fmla="*/ 28 w 38"/>
                <a:gd name="T11" fmla="*/ 5 h 35"/>
                <a:gd name="T12" fmla="*/ 28 w 38"/>
                <a:gd name="T13" fmla="*/ 7 h 35"/>
                <a:gd name="T14" fmla="*/ 28 w 38"/>
                <a:gd name="T15" fmla="*/ 10 h 35"/>
                <a:gd name="T16" fmla="*/ 35 w 38"/>
                <a:gd name="T17" fmla="*/ 33 h 35"/>
                <a:gd name="T18" fmla="*/ 33 w 38"/>
                <a:gd name="T19" fmla="*/ 28 h 35"/>
                <a:gd name="T20" fmla="*/ 28 w 38"/>
                <a:gd name="T21" fmla="*/ 20 h 35"/>
                <a:gd name="T22" fmla="*/ 28 w 38"/>
                <a:gd name="T23" fmla="*/ 17 h 35"/>
                <a:gd name="T24" fmla="*/ 25 w 38"/>
                <a:gd name="T25" fmla="*/ 17 h 35"/>
                <a:gd name="T26" fmla="*/ 20 w 38"/>
                <a:gd name="T27" fmla="*/ 17 h 35"/>
                <a:gd name="T28" fmla="*/ 23 w 38"/>
                <a:gd name="T29" fmla="*/ 15 h 35"/>
                <a:gd name="T30" fmla="*/ 28 w 38"/>
                <a:gd name="T31" fmla="*/ 12 h 35"/>
                <a:gd name="T32" fmla="*/ 28 w 38"/>
                <a:gd name="T33" fmla="*/ 12 h 35"/>
                <a:gd name="T34" fmla="*/ 28 w 38"/>
                <a:gd name="T35" fmla="*/ 10 h 35"/>
                <a:gd name="T36" fmla="*/ 25 w 38"/>
                <a:gd name="T37" fmla="*/ 5 h 35"/>
                <a:gd name="T38" fmla="*/ 20 w 38"/>
                <a:gd name="T39" fmla="*/ 0 h 35"/>
                <a:gd name="T40" fmla="*/ 18 w 38"/>
                <a:gd name="T41" fmla="*/ 0 h 35"/>
                <a:gd name="T42" fmla="*/ 13 w 38"/>
                <a:gd name="T43" fmla="*/ 0 h 35"/>
                <a:gd name="T44" fmla="*/ 7 w 38"/>
                <a:gd name="T45" fmla="*/ 2 h 35"/>
                <a:gd name="T46" fmla="*/ 7 w 38"/>
                <a:gd name="T47" fmla="*/ 5 h 35"/>
                <a:gd name="T48" fmla="*/ 5 w 38"/>
                <a:gd name="T49" fmla="*/ 10 h 35"/>
                <a:gd name="T50" fmla="*/ 2 w 38"/>
                <a:gd name="T51" fmla="*/ 17 h 35"/>
                <a:gd name="T52" fmla="*/ 0 w 38"/>
                <a:gd name="T53" fmla="*/ 22 h 35"/>
                <a:gd name="T54" fmla="*/ 7 w 38"/>
                <a:gd name="T55" fmla="*/ 25 h 35"/>
                <a:gd name="T56" fmla="*/ 18 w 38"/>
                <a:gd name="T57" fmla="*/ 25 h 35"/>
                <a:gd name="T58" fmla="*/ 20 w 38"/>
                <a:gd name="T59" fmla="*/ 30 h 35"/>
                <a:gd name="T60" fmla="*/ 23 w 38"/>
                <a:gd name="T61" fmla="*/ 35 h 35"/>
                <a:gd name="T62" fmla="*/ 30 w 38"/>
                <a:gd name="T63" fmla="*/ 35 h 35"/>
                <a:gd name="T64" fmla="*/ 38 w 38"/>
                <a:gd name="T65"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8" h="35">
                  <a:moveTo>
                    <a:pt x="28" y="10"/>
                  </a:moveTo>
                  <a:lnTo>
                    <a:pt x="30" y="12"/>
                  </a:lnTo>
                  <a:lnTo>
                    <a:pt x="30" y="12"/>
                  </a:lnTo>
                  <a:lnTo>
                    <a:pt x="30" y="12"/>
                  </a:lnTo>
                  <a:lnTo>
                    <a:pt x="33" y="10"/>
                  </a:lnTo>
                  <a:lnTo>
                    <a:pt x="33" y="10"/>
                  </a:lnTo>
                  <a:lnTo>
                    <a:pt x="33" y="7"/>
                  </a:lnTo>
                  <a:lnTo>
                    <a:pt x="30" y="5"/>
                  </a:lnTo>
                  <a:lnTo>
                    <a:pt x="28" y="2"/>
                  </a:lnTo>
                  <a:lnTo>
                    <a:pt x="28" y="5"/>
                  </a:lnTo>
                  <a:lnTo>
                    <a:pt x="28" y="5"/>
                  </a:lnTo>
                  <a:lnTo>
                    <a:pt x="28" y="5"/>
                  </a:lnTo>
                  <a:lnTo>
                    <a:pt x="28" y="5"/>
                  </a:lnTo>
                  <a:lnTo>
                    <a:pt x="28" y="7"/>
                  </a:lnTo>
                  <a:lnTo>
                    <a:pt x="28" y="7"/>
                  </a:lnTo>
                  <a:lnTo>
                    <a:pt x="28" y="10"/>
                  </a:lnTo>
                  <a:close/>
                  <a:moveTo>
                    <a:pt x="35" y="33"/>
                  </a:moveTo>
                  <a:lnTo>
                    <a:pt x="35" y="33"/>
                  </a:lnTo>
                  <a:lnTo>
                    <a:pt x="35" y="30"/>
                  </a:lnTo>
                  <a:lnTo>
                    <a:pt x="33" y="28"/>
                  </a:lnTo>
                  <a:lnTo>
                    <a:pt x="30" y="25"/>
                  </a:lnTo>
                  <a:lnTo>
                    <a:pt x="28" y="20"/>
                  </a:lnTo>
                  <a:lnTo>
                    <a:pt x="28" y="20"/>
                  </a:lnTo>
                  <a:lnTo>
                    <a:pt x="28" y="17"/>
                  </a:lnTo>
                  <a:lnTo>
                    <a:pt x="25" y="17"/>
                  </a:lnTo>
                  <a:lnTo>
                    <a:pt x="25" y="17"/>
                  </a:lnTo>
                  <a:lnTo>
                    <a:pt x="23" y="17"/>
                  </a:lnTo>
                  <a:lnTo>
                    <a:pt x="20" y="17"/>
                  </a:lnTo>
                  <a:lnTo>
                    <a:pt x="20" y="15"/>
                  </a:lnTo>
                  <a:lnTo>
                    <a:pt x="23" y="15"/>
                  </a:lnTo>
                  <a:lnTo>
                    <a:pt x="25" y="12"/>
                  </a:lnTo>
                  <a:lnTo>
                    <a:pt x="28" y="12"/>
                  </a:lnTo>
                  <a:lnTo>
                    <a:pt x="28" y="12"/>
                  </a:lnTo>
                  <a:lnTo>
                    <a:pt x="28" y="12"/>
                  </a:lnTo>
                  <a:lnTo>
                    <a:pt x="28" y="12"/>
                  </a:lnTo>
                  <a:lnTo>
                    <a:pt x="28" y="10"/>
                  </a:lnTo>
                  <a:lnTo>
                    <a:pt x="25" y="7"/>
                  </a:lnTo>
                  <a:lnTo>
                    <a:pt x="25" y="5"/>
                  </a:lnTo>
                  <a:lnTo>
                    <a:pt x="25" y="2"/>
                  </a:lnTo>
                  <a:lnTo>
                    <a:pt x="20" y="0"/>
                  </a:lnTo>
                  <a:lnTo>
                    <a:pt x="18" y="0"/>
                  </a:lnTo>
                  <a:lnTo>
                    <a:pt x="18" y="0"/>
                  </a:lnTo>
                  <a:lnTo>
                    <a:pt x="15" y="0"/>
                  </a:lnTo>
                  <a:lnTo>
                    <a:pt x="13" y="0"/>
                  </a:lnTo>
                  <a:lnTo>
                    <a:pt x="10" y="2"/>
                  </a:lnTo>
                  <a:lnTo>
                    <a:pt x="7" y="2"/>
                  </a:lnTo>
                  <a:lnTo>
                    <a:pt x="7" y="5"/>
                  </a:lnTo>
                  <a:lnTo>
                    <a:pt x="7" y="5"/>
                  </a:lnTo>
                  <a:lnTo>
                    <a:pt x="7" y="7"/>
                  </a:lnTo>
                  <a:lnTo>
                    <a:pt x="5" y="10"/>
                  </a:lnTo>
                  <a:lnTo>
                    <a:pt x="5" y="12"/>
                  </a:lnTo>
                  <a:lnTo>
                    <a:pt x="2" y="17"/>
                  </a:lnTo>
                  <a:lnTo>
                    <a:pt x="2" y="20"/>
                  </a:lnTo>
                  <a:lnTo>
                    <a:pt x="0" y="22"/>
                  </a:lnTo>
                  <a:lnTo>
                    <a:pt x="2" y="22"/>
                  </a:lnTo>
                  <a:lnTo>
                    <a:pt x="7" y="25"/>
                  </a:lnTo>
                  <a:lnTo>
                    <a:pt x="10" y="25"/>
                  </a:lnTo>
                  <a:lnTo>
                    <a:pt x="18" y="25"/>
                  </a:lnTo>
                  <a:lnTo>
                    <a:pt x="18" y="30"/>
                  </a:lnTo>
                  <a:lnTo>
                    <a:pt x="20" y="30"/>
                  </a:lnTo>
                  <a:lnTo>
                    <a:pt x="20" y="33"/>
                  </a:lnTo>
                  <a:lnTo>
                    <a:pt x="23" y="35"/>
                  </a:lnTo>
                  <a:lnTo>
                    <a:pt x="25" y="35"/>
                  </a:lnTo>
                  <a:lnTo>
                    <a:pt x="30" y="35"/>
                  </a:lnTo>
                  <a:lnTo>
                    <a:pt x="33" y="35"/>
                  </a:lnTo>
                  <a:lnTo>
                    <a:pt x="38" y="35"/>
                  </a:lnTo>
                  <a:lnTo>
                    <a:pt x="35" y="33"/>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279" name="Freeform 1898">
              <a:extLst>
                <a:ext uri="{FF2B5EF4-FFF2-40B4-BE49-F238E27FC236}">
                  <a16:creationId xmlns:a16="http://schemas.microsoft.com/office/drawing/2014/main" id="{D9C18CB6-195E-274A-A9B0-964394165F3F}"/>
                </a:ext>
              </a:extLst>
            </p:cNvPr>
            <p:cNvSpPr>
              <a:spLocks noEditPoints="1"/>
            </p:cNvSpPr>
            <p:nvPr/>
          </p:nvSpPr>
          <p:spPr bwMode="auto">
            <a:xfrm>
              <a:off x="7738328" y="2198108"/>
              <a:ext cx="309155" cy="142310"/>
            </a:xfrm>
            <a:custGeom>
              <a:avLst/>
              <a:gdLst>
                <a:gd name="T0" fmla="*/ 186 w 189"/>
                <a:gd name="T1" fmla="*/ 23 h 87"/>
                <a:gd name="T2" fmla="*/ 168 w 189"/>
                <a:gd name="T3" fmla="*/ 16 h 87"/>
                <a:gd name="T4" fmla="*/ 158 w 189"/>
                <a:gd name="T5" fmla="*/ 11 h 87"/>
                <a:gd name="T6" fmla="*/ 138 w 189"/>
                <a:gd name="T7" fmla="*/ 8 h 87"/>
                <a:gd name="T8" fmla="*/ 123 w 189"/>
                <a:gd name="T9" fmla="*/ 5 h 87"/>
                <a:gd name="T10" fmla="*/ 100 w 189"/>
                <a:gd name="T11" fmla="*/ 5 h 87"/>
                <a:gd name="T12" fmla="*/ 74 w 189"/>
                <a:gd name="T13" fmla="*/ 0 h 87"/>
                <a:gd name="T14" fmla="*/ 61 w 189"/>
                <a:gd name="T15" fmla="*/ 3 h 87"/>
                <a:gd name="T16" fmla="*/ 59 w 189"/>
                <a:gd name="T17" fmla="*/ 16 h 87"/>
                <a:gd name="T18" fmla="*/ 44 w 189"/>
                <a:gd name="T19" fmla="*/ 13 h 87"/>
                <a:gd name="T20" fmla="*/ 23 w 189"/>
                <a:gd name="T21" fmla="*/ 11 h 87"/>
                <a:gd name="T22" fmla="*/ 16 w 189"/>
                <a:gd name="T23" fmla="*/ 18 h 87"/>
                <a:gd name="T24" fmla="*/ 21 w 189"/>
                <a:gd name="T25" fmla="*/ 23 h 87"/>
                <a:gd name="T26" fmla="*/ 16 w 189"/>
                <a:gd name="T27" fmla="*/ 28 h 87"/>
                <a:gd name="T28" fmla="*/ 8 w 189"/>
                <a:gd name="T29" fmla="*/ 39 h 87"/>
                <a:gd name="T30" fmla="*/ 21 w 189"/>
                <a:gd name="T31" fmla="*/ 44 h 87"/>
                <a:gd name="T32" fmla="*/ 31 w 189"/>
                <a:gd name="T33" fmla="*/ 46 h 87"/>
                <a:gd name="T34" fmla="*/ 33 w 189"/>
                <a:gd name="T35" fmla="*/ 39 h 87"/>
                <a:gd name="T36" fmla="*/ 36 w 189"/>
                <a:gd name="T37" fmla="*/ 39 h 87"/>
                <a:gd name="T38" fmla="*/ 44 w 189"/>
                <a:gd name="T39" fmla="*/ 46 h 87"/>
                <a:gd name="T40" fmla="*/ 49 w 189"/>
                <a:gd name="T41" fmla="*/ 49 h 87"/>
                <a:gd name="T42" fmla="*/ 61 w 189"/>
                <a:gd name="T43" fmla="*/ 54 h 87"/>
                <a:gd name="T44" fmla="*/ 59 w 189"/>
                <a:gd name="T45" fmla="*/ 59 h 87"/>
                <a:gd name="T46" fmla="*/ 54 w 189"/>
                <a:gd name="T47" fmla="*/ 61 h 87"/>
                <a:gd name="T48" fmla="*/ 49 w 189"/>
                <a:gd name="T49" fmla="*/ 61 h 87"/>
                <a:gd name="T50" fmla="*/ 44 w 189"/>
                <a:gd name="T51" fmla="*/ 69 h 87"/>
                <a:gd name="T52" fmla="*/ 36 w 189"/>
                <a:gd name="T53" fmla="*/ 67 h 87"/>
                <a:gd name="T54" fmla="*/ 26 w 189"/>
                <a:gd name="T55" fmla="*/ 69 h 87"/>
                <a:gd name="T56" fmla="*/ 18 w 189"/>
                <a:gd name="T57" fmla="*/ 69 h 87"/>
                <a:gd name="T58" fmla="*/ 3 w 189"/>
                <a:gd name="T59" fmla="*/ 72 h 87"/>
                <a:gd name="T60" fmla="*/ 0 w 189"/>
                <a:gd name="T61" fmla="*/ 74 h 87"/>
                <a:gd name="T62" fmla="*/ 10 w 189"/>
                <a:gd name="T63" fmla="*/ 79 h 87"/>
                <a:gd name="T64" fmla="*/ 21 w 189"/>
                <a:gd name="T65" fmla="*/ 79 h 87"/>
                <a:gd name="T66" fmla="*/ 33 w 189"/>
                <a:gd name="T67" fmla="*/ 84 h 87"/>
                <a:gd name="T68" fmla="*/ 41 w 189"/>
                <a:gd name="T69" fmla="*/ 79 h 87"/>
                <a:gd name="T70" fmla="*/ 49 w 189"/>
                <a:gd name="T71" fmla="*/ 82 h 87"/>
                <a:gd name="T72" fmla="*/ 54 w 189"/>
                <a:gd name="T73" fmla="*/ 84 h 87"/>
                <a:gd name="T74" fmla="*/ 64 w 189"/>
                <a:gd name="T75" fmla="*/ 84 h 87"/>
                <a:gd name="T76" fmla="*/ 79 w 189"/>
                <a:gd name="T77" fmla="*/ 82 h 87"/>
                <a:gd name="T78" fmla="*/ 87 w 189"/>
                <a:gd name="T79" fmla="*/ 79 h 87"/>
                <a:gd name="T80" fmla="*/ 84 w 189"/>
                <a:gd name="T81" fmla="*/ 72 h 87"/>
                <a:gd name="T82" fmla="*/ 97 w 189"/>
                <a:gd name="T83" fmla="*/ 64 h 87"/>
                <a:gd name="T84" fmla="*/ 100 w 189"/>
                <a:gd name="T85" fmla="*/ 61 h 87"/>
                <a:gd name="T86" fmla="*/ 112 w 189"/>
                <a:gd name="T87" fmla="*/ 59 h 87"/>
                <a:gd name="T88" fmla="*/ 125 w 189"/>
                <a:gd name="T89" fmla="*/ 61 h 87"/>
                <a:gd name="T90" fmla="*/ 130 w 189"/>
                <a:gd name="T91" fmla="*/ 56 h 87"/>
                <a:gd name="T92" fmla="*/ 138 w 189"/>
                <a:gd name="T93" fmla="*/ 49 h 87"/>
                <a:gd name="T94" fmla="*/ 158 w 189"/>
                <a:gd name="T95" fmla="*/ 44 h 87"/>
                <a:gd name="T96" fmla="*/ 174 w 189"/>
                <a:gd name="T97" fmla="*/ 31 h 87"/>
                <a:gd name="T98" fmla="*/ 189 w 189"/>
                <a:gd name="T99" fmla="*/ 26 h 87"/>
                <a:gd name="T100" fmla="*/ 21 w 189"/>
                <a:gd name="T101" fmla="*/ 72 h 87"/>
                <a:gd name="T102" fmla="*/ 36 w 189"/>
                <a:gd name="T103" fmla="*/ 72 h 87"/>
                <a:gd name="T104" fmla="*/ 31 w 189"/>
                <a:gd name="T105" fmla="*/ 72 h 87"/>
                <a:gd name="T106" fmla="*/ 33 w 189"/>
                <a:gd name="T107" fmla="*/ 72 h 87"/>
                <a:gd name="T108" fmla="*/ 46 w 189"/>
                <a:gd name="T109" fmla="*/ 72 h 87"/>
                <a:gd name="T110" fmla="*/ 46 w 189"/>
                <a:gd name="T111" fmla="*/ 72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9" h="87">
                  <a:moveTo>
                    <a:pt x="3" y="72"/>
                  </a:moveTo>
                  <a:lnTo>
                    <a:pt x="3" y="72"/>
                  </a:lnTo>
                  <a:lnTo>
                    <a:pt x="3" y="69"/>
                  </a:lnTo>
                  <a:lnTo>
                    <a:pt x="3" y="69"/>
                  </a:lnTo>
                  <a:lnTo>
                    <a:pt x="3" y="72"/>
                  </a:lnTo>
                  <a:close/>
                  <a:moveTo>
                    <a:pt x="186" y="23"/>
                  </a:moveTo>
                  <a:lnTo>
                    <a:pt x="186" y="23"/>
                  </a:lnTo>
                  <a:lnTo>
                    <a:pt x="184" y="21"/>
                  </a:lnTo>
                  <a:lnTo>
                    <a:pt x="179" y="18"/>
                  </a:lnTo>
                  <a:lnTo>
                    <a:pt x="176" y="18"/>
                  </a:lnTo>
                  <a:lnTo>
                    <a:pt x="174" y="18"/>
                  </a:lnTo>
                  <a:lnTo>
                    <a:pt x="171" y="18"/>
                  </a:lnTo>
                  <a:lnTo>
                    <a:pt x="171" y="16"/>
                  </a:lnTo>
                  <a:lnTo>
                    <a:pt x="168" y="16"/>
                  </a:lnTo>
                  <a:lnTo>
                    <a:pt x="166" y="13"/>
                  </a:lnTo>
                  <a:lnTo>
                    <a:pt x="166" y="13"/>
                  </a:lnTo>
                  <a:lnTo>
                    <a:pt x="163" y="11"/>
                  </a:lnTo>
                  <a:lnTo>
                    <a:pt x="163" y="11"/>
                  </a:lnTo>
                  <a:lnTo>
                    <a:pt x="161" y="11"/>
                  </a:lnTo>
                  <a:lnTo>
                    <a:pt x="158" y="11"/>
                  </a:lnTo>
                  <a:lnTo>
                    <a:pt x="158" y="11"/>
                  </a:lnTo>
                  <a:lnTo>
                    <a:pt x="156" y="11"/>
                  </a:lnTo>
                  <a:lnTo>
                    <a:pt x="153" y="8"/>
                  </a:lnTo>
                  <a:lnTo>
                    <a:pt x="151" y="8"/>
                  </a:lnTo>
                  <a:lnTo>
                    <a:pt x="148" y="8"/>
                  </a:lnTo>
                  <a:lnTo>
                    <a:pt x="146" y="8"/>
                  </a:lnTo>
                  <a:lnTo>
                    <a:pt x="143" y="8"/>
                  </a:lnTo>
                  <a:lnTo>
                    <a:pt x="138" y="8"/>
                  </a:lnTo>
                  <a:lnTo>
                    <a:pt x="135" y="8"/>
                  </a:lnTo>
                  <a:lnTo>
                    <a:pt x="133" y="8"/>
                  </a:lnTo>
                  <a:lnTo>
                    <a:pt x="130" y="8"/>
                  </a:lnTo>
                  <a:lnTo>
                    <a:pt x="130" y="8"/>
                  </a:lnTo>
                  <a:lnTo>
                    <a:pt x="128" y="8"/>
                  </a:lnTo>
                  <a:lnTo>
                    <a:pt x="123" y="5"/>
                  </a:lnTo>
                  <a:lnTo>
                    <a:pt x="123" y="5"/>
                  </a:lnTo>
                  <a:lnTo>
                    <a:pt x="123" y="5"/>
                  </a:lnTo>
                  <a:lnTo>
                    <a:pt x="117" y="5"/>
                  </a:lnTo>
                  <a:lnTo>
                    <a:pt x="115" y="8"/>
                  </a:lnTo>
                  <a:lnTo>
                    <a:pt x="107" y="8"/>
                  </a:lnTo>
                  <a:lnTo>
                    <a:pt x="102" y="8"/>
                  </a:lnTo>
                  <a:lnTo>
                    <a:pt x="102" y="5"/>
                  </a:lnTo>
                  <a:lnTo>
                    <a:pt x="100" y="5"/>
                  </a:lnTo>
                  <a:lnTo>
                    <a:pt x="100" y="8"/>
                  </a:lnTo>
                  <a:lnTo>
                    <a:pt x="100" y="8"/>
                  </a:lnTo>
                  <a:lnTo>
                    <a:pt x="95" y="8"/>
                  </a:lnTo>
                  <a:lnTo>
                    <a:pt x="87" y="8"/>
                  </a:lnTo>
                  <a:lnTo>
                    <a:pt x="82" y="5"/>
                  </a:lnTo>
                  <a:lnTo>
                    <a:pt x="79" y="3"/>
                  </a:lnTo>
                  <a:lnTo>
                    <a:pt x="74" y="0"/>
                  </a:lnTo>
                  <a:lnTo>
                    <a:pt x="69" y="0"/>
                  </a:lnTo>
                  <a:lnTo>
                    <a:pt x="69" y="0"/>
                  </a:lnTo>
                  <a:lnTo>
                    <a:pt x="69" y="0"/>
                  </a:lnTo>
                  <a:lnTo>
                    <a:pt x="69" y="0"/>
                  </a:lnTo>
                  <a:lnTo>
                    <a:pt x="66" y="0"/>
                  </a:lnTo>
                  <a:lnTo>
                    <a:pt x="64" y="3"/>
                  </a:lnTo>
                  <a:lnTo>
                    <a:pt x="61" y="3"/>
                  </a:lnTo>
                  <a:lnTo>
                    <a:pt x="59" y="3"/>
                  </a:lnTo>
                  <a:lnTo>
                    <a:pt x="59" y="5"/>
                  </a:lnTo>
                  <a:lnTo>
                    <a:pt x="59" y="11"/>
                  </a:lnTo>
                  <a:lnTo>
                    <a:pt x="59" y="13"/>
                  </a:lnTo>
                  <a:lnTo>
                    <a:pt x="61" y="18"/>
                  </a:lnTo>
                  <a:lnTo>
                    <a:pt x="61" y="18"/>
                  </a:lnTo>
                  <a:lnTo>
                    <a:pt x="59" y="16"/>
                  </a:lnTo>
                  <a:lnTo>
                    <a:pt x="59" y="16"/>
                  </a:lnTo>
                  <a:lnTo>
                    <a:pt x="56" y="16"/>
                  </a:lnTo>
                  <a:lnTo>
                    <a:pt x="49" y="16"/>
                  </a:lnTo>
                  <a:lnTo>
                    <a:pt x="49" y="13"/>
                  </a:lnTo>
                  <a:lnTo>
                    <a:pt x="46" y="13"/>
                  </a:lnTo>
                  <a:lnTo>
                    <a:pt x="46" y="13"/>
                  </a:lnTo>
                  <a:lnTo>
                    <a:pt x="44" y="13"/>
                  </a:lnTo>
                  <a:lnTo>
                    <a:pt x="38" y="11"/>
                  </a:lnTo>
                  <a:lnTo>
                    <a:pt x="36" y="11"/>
                  </a:lnTo>
                  <a:lnTo>
                    <a:pt x="28" y="8"/>
                  </a:lnTo>
                  <a:lnTo>
                    <a:pt x="28" y="8"/>
                  </a:lnTo>
                  <a:lnTo>
                    <a:pt x="28" y="8"/>
                  </a:lnTo>
                  <a:lnTo>
                    <a:pt x="26" y="11"/>
                  </a:lnTo>
                  <a:lnTo>
                    <a:pt x="23" y="11"/>
                  </a:lnTo>
                  <a:lnTo>
                    <a:pt x="21" y="11"/>
                  </a:lnTo>
                  <a:lnTo>
                    <a:pt x="18" y="11"/>
                  </a:lnTo>
                  <a:lnTo>
                    <a:pt x="18" y="13"/>
                  </a:lnTo>
                  <a:lnTo>
                    <a:pt x="18" y="13"/>
                  </a:lnTo>
                  <a:lnTo>
                    <a:pt x="16" y="16"/>
                  </a:lnTo>
                  <a:lnTo>
                    <a:pt x="16" y="18"/>
                  </a:lnTo>
                  <a:lnTo>
                    <a:pt x="16" y="18"/>
                  </a:lnTo>
                  <a:lnTo>
                    <a:pt x="16" y="21"/>
                  </a:lnTo>
                  <a:lnTo>
                    <a:pt x="16" y="21"/>
                  </a:lnTo>
                  <a:lnTo>
                    <a:pt x="16" y="21"/>
                  </a:lnTo>
                  <a:lnTo>
                    <a:pt x="18" y="21"/>
                  </a:lnTo>
                  <a:lnTo>
                    <a:pt x="18" y="21"/>
                  </a:lnTo>
                  <a:lnTo>
                    <a:pt x="21" y="21"/>
                  </a:lnTo>
                  <a:lnTo>
                    <a:pt x="21" y="23"/>
                  </a:lnTo>
                  <a:lnTo>
                    <a:pt x="23" y="23"/>
                  </a:lnTo>
                  <a:lnTo>
                    <a:pt x="23" y="23"/>
                  </a:lnTo>
                  <a:lnTo>
                    <a:pt x="18" y="26"/>
                  </a:lnTo>
                  <a:lnTo>
                    <a:pt x="18" y="26"/>
                  </a:lnTo>
                  <a:lnTo>
                    <a:pt x="16" y="26"/>
                  </a:lnTo>
                  <a:lnTo>
                    <a:pt x="16" y="26"/>
                  </a:lnTo>
                  <a:lnTo>
                    <a:pt x="16" y="28"/>
                  </a:lnTo>
                  <a:lnTo>
                    <a:pt x="16" y="28"/>
                  </a:lnTo>
                  <a:lnTo>
                    <a:pt x="13" y="31"/>
                  </a:lnTo>
                  <a:lnTo>
                    <a:pt x="13" y="31"/>
                  </a:lnTo>
                  <a:lnTo>
                    <a:pt x="10" y="33"/>
                  </a:lnTo>
                  <a:lnTo>
                    <a:pt x="5" y="36"/>
                  </a:lnTo>
                  <a:lnTo>
                    <a:pt x="5" y="39"/>
                  </a:lnTo>
                  <a:lnTo>
                    <a:pt x="8" y="39"/>
                  </a:lnTo>
                  <a:lnTo>
                    <a:pt x="8" y="39"/>
                  </a:lnTo>
                  <a:lnTo>
                    <a:pt x="10" y="39"/>
                  </a:lnTo>
                  <a:lnTo>
                    <a:pt x="13" y="41"/>
                  </a:lnTo>
                  <a:lnTo>
                    <a:pt x="16" y="39"/>
                  </a:lnTo>
                  <a:lnTo>
                    <a:pt x="16" y="39"/>
                  </a:lnTo>
                  <a:lnTo>
                    <a:pt x="18" y="41"/>
                  </a:lnTo>
                  <a:lnTo>
                    <a:pt x="21" y="44"/>
                  </a:lnTo>
                  <a:lnTo>
                    <a:pt x="21" y="44"/>
                  </a:lnTo>
                  <a:lnTo>
                    <a:pt x="23" y="46"/>
                  </a:lnTo>
                  <a:lnTo>
                    <a:pt x="23" y="46"/>
                  </a:lnTo>
                  <a:lnTo>
                    <a:pt x="26" y="46"/>
                  </a:lnTo>
                  <a:lnTo>
                    <a:pt x="28" y="46"/>
                  </a:lnTo>
                  <a:lnTo>
                    <a:pt x="28" y="46"/>
                  </a:lnTo>
                  <a:lnTo>
                    <a:pt x="31" y="46"/>
                  </a:lnTo>
                  <a:lnTo>
                    <a:pt x="31" y="46"/>
                  </a:lnTo>
                  <a:lnTo>
                    <a:pt x="31" y="41"/>
                  </a:lnTo>
                  <a:lnTo>
                    <a:pt x="33" y="44"/>
                  </a:lnTo>
                  <a:lnTo>
                    <a:pt x="33" y="44"/>
                  </a:lnTo>
                  <a:lnTo>
                    <a:pt x="33" y="41"/>
                  </a:lnTo>
                  <a:lnTo>
                    <a:pt x="33" y="41"/>
                  </a:lnTo>
                  <a:lnTo>
                    <a:pt x="33" y="39"/>
                  </a:lnTo>
                  <a:lnTo>
                    <a:pt x="33" y="39"/>
                  </a:lnTo>
                  <a:lnTo>
                    <a:pt x="33" y="39"/>
                  </a:lnTo>
                  <a:lnTo>
                    <a:pt x="33" y="39"/>
                  </a:lnTo>
                  <a:lnTo>
                    <a:pt x="33" y="39"/>
                  </a:lnTo>
                  <a:lnTo>
                    <a:pt x="36" y="39"/>
                  </a:lnTo>
                  <a:lnTo>
                    <a:pt x="36" y="39"/>
                  </a:lnTo>
                  <a:lnTo>
                    <a:pt x="36" y="39"/>
                  </a:lnTo>
                  <a:lnTo>
                    <a:pt x="36" y="41"/>
                  </a:lnTo>
                  <a:lnTo>
                    <a:pt x="38" y="41"/>
                  </a:lnTo>
                  <a:lnTo>
                    <a:pt x="38" y="44"/>
                  </a:lnTo>
                  <a:lnTo>
                    <a:pt x="41" y="46"/>
                  </a:lnTo>
                  <a:lnTo>
                    <a:pt x="41" y="46"/>
                  </a:lnTo>
                  <a:lnTo>
                    <a:pt x="44" y="46"/>
                  </a:lnTo>
                  <a:lnTo>
                    <a:pt x="44" y="46"/>
                  </a:lnTo>
                  <a:lnTo>
                    <a:pt x="46" y="46"/>
                  </a:lnTo>
                  <a:lnTo>
                    <a:pt x="46" y="46"/>
                  </a:lnTo>
                  <a:lnTo>
                    <a:pt x="46" y="49"/>
                  </a:lnTo>
                  <a:lnTo>
                    <a:pt x="46" y="49"/>
                  </a:lnTo>
                  <a:lnTo>
                    <a:pt x="46" y="49"/>
                  </a:lnTo>
                  <a:lnTo>
                    <a:pt x="49" y="49"/>
                  </a:lnTo>
                  <a:lnTo>
                    <a:pt x="49" y="49"/>
                  </a:lnTo>
                  <a:lnTo>
                    <a:pt x="51" y="49"/>
                  </a:lnTo>
                  <a:lnTo>
                    <a:pt x="54" y="49"/>
                  </a:lnTo>
                  <a:lnTo>
                    <a:pt x="56" y="51"/>
                  </a:lnTo>
                  <a:lnTo>
                    <a:pt x="56" y="51"/>
                  </a:lnTo>
                  <a:lnTo>
                    <a:pt x="59" y="51"/>
                  </a:lnTo>
                  <a:lnTo>
                    <a:pt x="61" y="54"/>
                  </a:lnTo>
                  <a:lnTo>
                    <a:pt x="61" y="54"/>
                  </a:lnTo>
                  <a:lnTo>
                    <a:pt x="61" y="51"/>
                  </a:lnTo>
                  <a:lnTo>
                    <a:pt x="66" y="54"/>
                  </a:lnTo>
                  <a:lnTo>
                    <a:pt x="66" y="54"/>
                  </a:lnTo>
                  <a:lnTo>
                    <a:pt x="64" y="54"/>
                  </a:lnTo>
                  <a:lnTo>
                    <a:pt x="59" y="56"/>
                  </a:lnTo>
                  <a:lnTo>
                    <a:pt x="59" y="59"/>
                  </a:lnTo>
                  <a:lnTo>
                    <a:pt x="59" y="59"/>
                  </a:lnTo>
                  <a:lnTo>
                    <a:pt x="56" y="59"/>
                  </a:lnTo>
                  <a:lnTo>
                    <a:pt x="56" y="59"/>
                  </a:lnTo>
                  <a:lnTo>
                    <a:pt x="54" y="59"/>
                  </a:lnTo>
                  <a:lnTo>
                    <a:pt x="54" y="59"/>
                  </a:lnTo>
                  <a:lnTo>
                    <a:pt x="54" y="59"/>
                  </a:lnTo>
                  <a:lnTo>
                    <a:pt x="54" y="59"/>
                  </a:lnTo>
                  <a:lnTo>
                    <a:pt x="54" y="61"/>
                  </a:lnTo>
                  <a:lnTo>
                    <a:pt x="54" y="61"/>
                  </a:lnTo>
                  <a:lnTo>
                    <a:pt x="54" y="61"/>
                  </a:lnTo>
                  <a:lnTo>
                    <a:pt x="51" y="61"/>
                  </a:lnTo>
                  <a:lnTo>
                    <a:pt x="51" y="61"/>
                  </a:lnTo>
                  <a:lnTo>
                    <a:pt x="51" y="61"/>
                  </a:lnTo>
                  <a:lnTo>
                    <a:pt x="51" y="61"/>
                  </a:lnTo>
                  <a:lnTo>
                    <a:pt x="49" y="61"/>
                  </a:lnTo>
                  <a:lnTo>
                    <a:pt x="49" y="64"/>
                  </a:lnTo>
                  <a:lnTo>
                    <a:pt x="46" y="64"/>
                  </a:lnTo>
                  <a:lnTo>
                    <a:pt x="46" y="67"/>
                  </a:lnTo>
                  <a:lnTo>
                    <a:pt x="46" y="67"/>
                  </a:lnTo>
                  <a:lnTo>
                    <a:pt x="46" y="67"/>
                  </a:lnTo>
                  <a:lnTo>
                    <a:pt x="44" y="67"/>
                  </a:lnTo>
                  <a:lnTo>
                    <a:pt x="44" y="69"/>
                  </a:lnTo>
                  <a:lnTo>
                    <a:pt x="41" y="67"/>
                  </a:lnTo>
                  <a:lnTo>
                    <a:pt x="41" y="67"/>
                  </a:lnTo>
                  <a:lnTo>
                    <a:pt x="41" y="67"/>
                  </a:lnTo>
                  <a:lnTo>
                    <a:pt x="41" y="67"/>
                  </a:lnTo>
                  <a:lnTo>
                    <a:pt x="38" y="67"/>
                  </a:lnTo>
                  <a:lnTo>
                    <a:pt x="38" y="67"/>
                  </a:lnTo>
                  <a:lnTo>
                    <a:pt x="36" y="67"/>
                  </a:lnTo>
                  <a:lnTo>
                    <a:pt x="36" y="67"/>
                  </a:lnTo>
                  <a:lnTo>
                    <a:pt x="31" y="67"/>
                  </a:lnTo>
                  <a:lnTo>
                    <a:pt x="28" y="67"/>
                  </a:lnTo>
                  <a:lnTo>
                    <a:pt x="28" y="67"/>
                  </a:lnTo>
                  <a:lnTo>
                    <a:pt x="28" y="67"/>
                  </a:lnTo>
                  <a:lnTo>
                    <a:pt x="28" y="67"/>
                  </a:lnTo>
                  <a:lnTo>
                    <a:pt x="26" y="69"/>
                  </a:lnTo>
                  <a:lnTo>
                    <a:pt x="23" y="69"/>
                  </a:lnTo>
                  <a:lnTo>
                    <a:pt x="23" y="69"/>
                  </a:lnTo>
                  <a:lnTo>
                    <a:pt x="23" y="72"/>
                  </a:lnTo>
                  <a:lnTo>
                    <a:pt x="23" y="72"/>
                  </a:lnTo>
                  <a:lnTo>
                    <a:pt x="23" y="72"/>
                  </a:lnTo>
                  <a:lnTo>
                    <a:pt x="21" y="72"/>
                  </a:lnTo>
                  <a:lnTo>
                    <a:pt x="18" y="69"/>
                  </a:lnTo>
                  <a:lnTo>
                    <a:pt x="16" y="69"/>
                  </a:lnTo>
                  <a:lnTo>
                    <a:pt x="13" y="69"/>
                  </a:lnTo>
                  <a:lnTo>
                    <a:pt x="10" y="67"/>
                  </a:lnTo>
                  <a:lnTo>
                    <a:pt x="8" y="69"/>
                  </a:lnTo>
                  <a:lnTo>
                    <a:pt x="3" y="69"/>
                  </a:lnTo>
                  <a:lnTo>
                    <a:pt x="3" y="69"/>
                  </a:lnTo>
                  <a:lnTo>
                    <a:pt x="3" y="72"/>
                  </a:lnTo>
                  <a:lnTo>
                    <a:pt x="3" y="72"/>
                  </a:lnTo>
                  <a:lnTo>
                    <a:pt x="3" y="72"/>
                  </a:lnTo>
                  <a:lnTo>
                    <a:pt x="0" y="72"/>
                  </a:lnTo>
                  <a:lnTo>
                    <a:pt x="0" y="72"/>
                  </a:lnTo>
                  <a:lnTo>
                    <a:pt x="0" y="72"/>
                  </a:lnTo>
                  <a:lnTo>
                    <a:pt x="0" y="74"/>
                  </a:lnTo>
                  <a:lnTo>
                    <a:pt x="0" y="74"/>
                  </a:lnTo>
                  <a:lnTo>
                    <a:pt x="0" y="77"/>
                  </a:lnTo>
                  <a:lnTo>
                    <a:pt x="3" y="82"/>
                  </a:lnTo>
                  <a:lnTo>
                    <a:pt x="3" y="79"/>
                  </a:lnTo>
                  <a:lnTo>
                    <a:pt x="5" y="79"/>
                  </a:lnTo>
                  <a:lnTo>
                    <a:pt x="8" y="79"/>
                  </a:lnTo>
                  <a:lnTo>
                    <a:pt x="8" y="79"/>
                  </a:lnTo>
                  <a:lnTo>
                    <a:pt x="10" y="79"/>
                  </a:lnTo>
                  <a:lnTo>
                    <a:pt x="13" y="79"/>
                  </a:lnTo>
                  <a:lnTo>
                    <a:pt x="16" y="79"/>
                  </a:lnTo>
                  <a:lnTo>
                    <a:pt x="18" y="79"/>
                  </a:lnTo>
                  <a:lnTo>
                    <a:pt x="18" y="79"/>
                  </a:lnTo>
                  <a:lnTo>
                    <a:pt x="18" y="79"/>
                  </a:lnTo>
                  <a:lnTo>
                    <a:pt x="18" y="79"/>
                  </a:lnTo>
                  <a:lnTo>
                    <a:pt x="21" y="79"/>
                  </a:lnTo>
                  <a:lnTo>
                    <a:pt x="23" y="79"/>
                  </a:lnTo>
                  <a:lnTo>
                    <a:pt x="26" y="79"/>
                  </a:lnTo>
                  <a:lnTo>
                    <a:pt x="26" y="79"/>
                  </a:lnTo>
                  <a:lnTo>
                    <a:pt x="28" y="82"/>
                  </a:lnTo>
                  <a:lnTo>
                    <a:pt x="28" y="84"/>
                  </a:lnTo>
                  <a:lnTo>
                    <a:pt x="31" y="84"/>
                  </a:lnTo>
                  <a:lnTo>
                    <a:pt x="33" y="84"/>
                  </a:lnTo>
                  <a:lnTo>
                    <a:pt x="36" y="82"/>
                  </a:lnTo>
                  <a:lnTo>
                    <a:pt x="36" y="82"/>
                  </a:lnTo>
                  <a:lnTo>
                    <a:pt x="36" y="82"/>
                  </a:lnTo>
                  <a:lnTo>
                    <a:pt x="38" y="79"/>
                  </a:lnTo>
                  <a:lnTo>
                    <a:pt x="38" y="79"/>
                  </a:lnTo>
                  <a:lnTo>
                    <a:pt x="41" y="79"/>
                  </a:lnTo>
                  <a:lnTo>
                    <a:pt x="41" y="79"/>
                  </a:lnTo>
                  <a:lnTo>
                    <a:pt x="44" y="79"/>
                  </a:lnTo>
                  <a:lnTo>
                    <a:pt x="44" y="79"/>
                  </a:lnTo>
                  <a:lnTo>
                    <a:pt x="44" y="82"/>
                  </a:lnTo>
                  <a:lnTo>
                    <a:pt x="44" y="82"/>
                  </a:lnTo>
                  <a:lnTo>
                    <a:pt x="44" y="82"/>
                  </a:lnTo>
                  <a:lnTo>
                    <a:pt x="46" y="82"/>
                  </a:lnTo>
                  <a:lnTo>
                    <a:pt x="49" y="82"/>
                  </a:lnTo>
                  <a:lnTo>
                    <a:pt x="49" y="84"/>
                  </a:lnTo>
                  <a:lnTo>
                    <a:pt x="49" y="87"/>
                  </a:lnTo>
                  <a:lnTo>
                    <a:pt x="49" y="87"/>
                  </a:lnTo>
                  <a:lnTo>
                    <a:pt x="49" y="87"/>
                  </a:lnTo>
                  <a:lnTo>
                    <a:pt x="54" y="84"/>
                  </a:lnTo>
                  <a:lnTo>
                    <a:pt x="54" y="84"/>
                  </a:lnTo>
                  <a:lnTo>
                    <a:pt x="54" y="84"/>
                  </a:lnTo>
                  <a:lnTo>
                    <a:pt x="56" y="87"/>
                  </a:lnTo>
                  <a:lnTo>
                    <a:pt x="59" y="87"/>
                  </a:lnTo>
                  <a:lnTo>
                    <a:pt x="59" y="87"/>
                  </a:lnTo>
                  <a:lnTo>
                    <a:pt x="59" y="87"/>
                  </a:lnTo>
                  <a:lnTo>
                    <a:pt x="59" y="84"/>
                  </a:lnTo>
                  <a:lnTo>
                    <a:pt x="61" y="84"/>
                  </a:lnTo>
                  <a:lnTo>
                    <a:pt x="64" y="84"/>
                  </a:lnTo>
                  <a:lnTo>
                    <a:pt x="64" y="84"/>
                  </a:lnTo>
                  <a:lnTo>
                    <a:pt x="69" y="84"/>
                  </a:lnTo>
                  <a:lnTo>
                    <a:pt x="72" y="84"/>
                  </a:lnTo>
                  <a:lnTo>
                    <a:pt x="74" y="84"/>
                  </a:lnTo>
                  <a:lnTo>
                    <a:pt x="77" y="84"/>
                  </a:lnTo>
                  <a:lnTo>
                    <a:pt x="77" y="84"/>
                  </a:lnTo>
                  <a:lnTo>
                    <a:pt x="79" y="82"/>
                  </a:lnTo>
                  <a:lnTo>
                    <a:pt x="79" y="82"/>
                  </a:lnTo>
                  <a:lnTo>
                    <a:pt x="82" y="82"/>
                  </a:lnTo>
                  <a:lnTo>
                    <a:pt x="82" y="82"/>
                  </a:lnTo>
                  <a:lnTo>
                    <a:pt x="84" y="82"/>
                  </a:lnTo>
                  <a:lnTo>
                    <a:pt x="87" y="82"/>
                  </a:lnTo>
                  <a:lnTo>
                    <a:pt x="87" y="79"/>
                  </a:lnTo>
                  <a:lnTo>
                    <a:pt x="87" y="79"/>
                  </a:lnTo>
                  <a:lnTo>
                    <a:pt x="87" y="79"/>
                  </a:lnTo>
                  <a:lnTo>
                    <a:pt x="87" y="77"/>
                  </a:lnTo>
                  <a:lnTo>
                    <a:pt x="84" y="74"/>
                  </a:lnTo>
                  <a:lnTo>
                    <a:pt x="84" y="74"/>
                  </a:lnTo>
                  <a:lnTo>
                    <a:pt x="84" y="74"/>
                  </a:lnTo>
                  <a:lnTo>
                    <a:pt x="84" y="72"/>
                  </a:lnTo>
                  <a:lnTo>
                    <a:pt x="84" y="72"/>
                  </a:lnTo>
                  <a:lnTo>
                    <a:pt x="87" y="72"/>
                  </a:lnTo>
                  <a:lnTo>
                    <a:pt x="87" y="72"/>
                  </a:lnTo>
                  <a:lnTo>
                    <a:pt x="87" y="69"/>
                  </a:lnTo>
                  <a:lnTo>
                    <a:pt x="89" y="69"/>
                  </a:lnTo>
                  <a:lnTo>
                    <a:pt x="92" y="69"/>
                  </a:lnTo>
                  <a:lnTo>
                    <a:pt x="97" y="67"/>
                  </a:lnTo>
                  <a:lnTo>
                    <a:pt x="97" y="64"/>
                  </a:lnTo>
                  <a:lnTo>
                    <a:pt x="100" y="64"/>
                  </a:lnTo>
                  <a:lnTo>
                    <a:pt x="100" y="64"/>
                  </a:lnTo>
                  <a:lnTo>
                    <a:pt x="100" y="64"/>
                  </a:lnTo>
                  <a:lnTo>
                    <a:pt x="100" y="61"/>
                  </a:lnTo>
                  <a:lnTo>
                    <a:pt x="100" y="61"/>
                  </a:lnTo>
                  <a:lnTo>
                    <a:pt x="100" y="61"/>
                  </a:lnTo>
                  <a:lnTo>
                    <a:pt x="100" y="61"/>
                  </a:lnTo>
                  <a:lnTo>
                    <a:pt x="102" y="61"/>
                  </a:lnTo>
                  <a:lnTo>
                    <a:pt x="105" y="61"/>
                  </a:lnTo>
                  <a:lnTo>
                    <a:pt x="107" y="61"/>
                  </a:lnTo>
                  <a:lnTo>
                    <a:pt x="110" y="59"/>
                  </a:lnTo>
                  <a:lnTo>
                    <a:pt x="112" y="59"/>
                  </a:lnTo>
                  <a:lnTo>
                    <a:pt x="112" y="59"/>
                  </a:lnTo>
                  <a:lnTo>
                    <a:pt x="112" y="59"/>
                  </a:lnTo>
                  <a:lnTo>
                    <a:pt x="115" y="64"/>
                  </a:lnTo>
                  <a:lnTo>
                    <a:pt x="115" y="64"/>
                  </a:lnTo>
                  <a:lnTo>
                    <a:pt x="120" y="64"/>
                  </a:lnTo>
                  <a:lnTo>
                    <a:pt x="120" y="64"/>
                  </a:lnTo>
                  <a:lnTo>
                    <a:pt x="123" y="64"/>
                  </a:lnTo>
                  <a:lnTo>
                    <a:pt x="125" y="64"/>
                  </a:lnTo>
                  <a:lnTo>
                    <a:pt x="125" y="61"/>
                  </a:lnTo>
                  <a:lnTo>
                    <a:pt x="125" y="61"/>
                  </a:lnTo>
                  <a:lnTo>
                    <a:pt x="128" y="64"/>
                  </a:lnTo>
                  <a:lnTo>
                    <a:pt x="128" y="64"/>
                  </a:lnTo>
                  <a:lnTo>
                    <a:pt x="130" y="61"/>
                  </a:lnTo>
                  <a:lnTo>
                    <a:pt x="130" y="61"/>
                  </a:lnTo>
                  <a:lnTo>
                    <a:pt x="130" y="59"/>
                  </a:lnTo>
                  <a:lnTo>
                    <a:pt x="130" y="56"/>
                  </a:lnTo>
                  <a:lnTo>
                    <a:pt x="130" y="54"/>
                  </a:lnTo>
                  <a:lnTo>
                    <a:pt x="130" y="54"/>
                  </a:lnTo>
                  <a:lnTo>
                    <a:pt x="130" y="54"/>
                  </a:lnTo>
                  <a:lnTo>
                    <a:pt x="133" y="49"/>
                  </a:lnTo>
                  <a:lnTo>
                    <a:pt x="133" y="49"/>
                  </a:lnTo>
                  <a:lnTo>
                    <a:pt x="135" y="49"/>
                  </a:lnTo>
                  <a:lnTo>
                    <a:pt x="138" y="49"/>
                  </a:lnTo>
                  <a:lnTo>
                    <a:pt x="140" y="49"/>
                  </a:lnTo>
                  <a:lnTo>
                    <a:pt x="146" y="49"/>
                  </a:lnTo>
                  <a:lnTo>
                    <a:pt x="148" y="49"/>
                  </a:lnTo>
                  <a:lnTo>
                    <a:pt x="151" y="49"/>
                  </a:lnTo>
                  <a:lnTo>
                    <a:pt x="153" y="49"/>
                  </a:lnTo>
                  <a:lnTo>
                    <a:pt x="156" y="49"/>
                  </a:lnTo>
                  <a:lnTo>
                    <a:pt x="158" y="44"/>
                  </a:lnTo>
                  <a:lnTo>
                    <a:pt x="158" y="41"/>
                  </a:lnTo>
                  <a:lnTo>
                    <a:pt x="158" y="41"/>
                  </a:lnTo>
                  <a:lnTo>
                    <a:pt x="158" y="41"/>
                  </a:lnTo>
                  <a:lnTo>
                    <a:pt x="161" y="39"/>
                  </a:lnTo>
                  <a:lnTo>
                    <a:pt x="163" y="36"/>
                  </a:lnTo>
                  <a:lnTo>
                    <a:pt x="171" y="33"/>
                  </a:lnTo>
                  <a:lnTo>
                    <a:pt x="174" y="31"/>
                  </a:lnTo>
                  <a:lnTo>
                    <a:pt x="174" y="31"/>
                  </a:lnTo>
                  <a:lnTo>
                    <a:pt x="176" y="31"/>
                  </a:lnTo>
                  <a:lnTo>
                    <a:pt x="181" y="28"/>
                  </a:lnTo>
                  <a:lnTo>
                    <a:pt x="181" y="28"/>
                  </a:lnTo>
                  <a:lnTo>
                    <a:pt x="181" y="26"/>
                  </a:lnTo>
                  <a:lnTo>
                    <a:pt x="189" y="26"/>
                  </a:lnTo>
                  <a:lnTo>
                    <a:pt x="189" y="26"/>
                  </a:lnTo>
                  <a:lnTo>
                    <a:pt x="189" y="26"/>
                  </a:lnTo>
                  <a:lnTo>
                    <a:pt x="186" y="23"/>
                  </a:lnTo>
                  <a:close/>
                  <a:moveTo>
                    <a:pt x="26" y="74"/>
                  </a:moveTo>
                  <a:lnTo>
                    <a:pt x="23" y="74"/>
                  </a:lnTo>
                  <a:lnTo>
                    <a:pt x="23" y="74"/>
                  </a:lnTo>
                  <a:lnTo>
                    <a:pt x="23" y="74"/>
                  </a:lnTo>
                  <a:lnTo>
                    <a:pt x="21" y="72"/>
                  </a:lnTo>
                  <a:lnTo>
                    <a:pt x="23" y="72"/>
                  </a:lnTo>
                  <a:lnTo>
                    <a:pt x="23" y="74"/>
                  </a:lnTo>
                  <a:lnTo>
                    <a:pt x="26" y="74"/>
                  </a:lnTo>
                  <a:lnTo>
                    <a:pt x="26" y="74"/>
                  </a:lnTo>
                  <a:lnTo>
                    <a:pt x="26" y="74"/>
                  </a:lnTo>
                  <a:lnTo>
                    <a:pt x="26" y="74"/>
                  </a:lnTo>
                  <a:close/>
                  <a:moveTo>
                    <a:pt x="36" y="72"/>
                  </a:moveTo>
                  <a:lnTo>
                    <a:pt x="33" y="72"/>
                  </a:lnTo>
                  <a:lnTo>
                    <a:pt x="33" y="72"/>
                  </a:lnTo>
                  <a:lnTo>
                    <a:pt x="31" y="72"/>
                  </a:lnTo>
                  <a:lnTo>
                    <a:pt x="31" y="72"/>
                  </a:lnTo>
                  <a:lnTo>
                    <a:pt x="31" y="69"/>
                  </a:lnTo>
                  <a:lnTo>
                    <a:pt x="31" y="69"/>
                  </a:lnTo>
                  <a:lnTo>
                    <a:pt x="31" y="72"/>
                  </a:lnTo>
                  <a:lnTo>
                    <a:pt x="31" y="72"/>
                  </a:lnTo>
                  <a:lnTo>
                    <a:pt x="28" y="69"/>
                  </a:lnTo>
                  <a:lnTo>
                    <a:pt x="28" y="69"/>
                  </a:lnTo>
                  <a:lnTo>
                    <a:pt x="31" y="69"/>
                  </a:lnTo>
                  <a:lnTo>
                    <a:pt x="31" y="69"/>
                  </a:lnTo>
                  <a:lnTo>
                    <a:pt x="31" y="69"/>
                  </a:lnTo>
                  <a:lnTo>
                    <a:pt x="33" y="72"/>
                  </a:lnTo>
                  <a:lnTo>
                    <a:pt x="33" y="72"/>
                  </a:lnTo>
                  <a:lnTo>
                    <a:pt x="33" y="69"/>
                  </a:lnTo>
                  <a:lnTo>
                    <a:pt x="36" y="72"/>
                  </a:lnTo>
                  <a:lnTo>
                    <a:pt x="33" y="72"/>
                  </a:lnTo>
                  <a:lnTo>
                    <a:pt x="36" y="72"/>
                  </a:lnTo>
                  <a:lnTo>
                    <a:pt x="36" y="72"/>
                  </a:lnTo>
                  <a:close/>
                  <a:moveTo>
                    <a:pt x="46" y="72"/>
                  </a:moveTo>
                  <a:lnTo>
                    <a:pt x="44" y="72"/>
                  </a:lnTo>
                  <a:lnTo>
                    <a:pt x="44" y="72"/>
                  </a:lnTo>
                  <a:lnTo>
                    <a:pt x="44" y="72"/>
                  </a:lnTo>
                  <a:lnTo>
                    <a:pt x="44" y="69"/>
                  </a:lnTo>
                  <a:lnTo>
                    <a:pt x="46" y="69"/>
                  </a:lnTo>
                  <a:lnTo>
                    <a:pt x="46" y="69"/>
                  </a:lnTo>
                  <a:lnTo>
                    <a:pt x="46" y="72"/>
                  </a:lnTo>
                  <a:lnTo>
                    <a:pt x="46" y="72"/>
                  </a:lnTo>
                  <a:close/>
                </a:path>
              </a:pathLst>
            </a:custGeom>
            <a:solidFill>
              <a:srgbClr val="FFC000"/>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280" name="Freeform 1899">
              <a:extLst>
                <a:ext uri="{FF2B5EF4-FFF2-40B4-BE49-F238E27FC236}">
                  <a16:creationId xmlns:a16="http://schemas.microsoft.com/office/drawing/2014/main" id="{4470E07A-D3CD-3246-AA49-6D83F04DE1F8}"/>
                </a:ext>
              </a:extLst>
            </p:cNvPr>
            <p:cNvSpPr>
              <a:spLocks/>
            </p:cNvSpPr>
            <p:nvPr/>
          </p:nvSpPr>
          <p:spPr bwMode="auto">
            <a:xfrm>
              <a:off x="6238358" y="2198108"/>
              <a:ext cx="53980" cy="50708"/>
            </a:xfrm>
            <a:custGeom>
              <a:avLst/>
              <a:gdLst>
                <a:gd name="T0" fmla="*/ 33 w 33"/>
                <a:gd name="T1" fmla="*/ 13 h 31"/>
                <a:gd name="T2" fmla="*/ 25 w 33"/>
                <a:gd name="T3" fmla="*/ 11 h 31"/>
                <a:gd name="T4" fmla="*/ 25 w 33"/>
                <a:gd name="T5" fmla="*/ 8 h 31"/>
                <a:gd name="T6" fmla="*/ 23 w 33"/>
                <a:gd name="T7" fmla="*/ 5 h 31"/>
                <a:gd name="T8" fmla="*/ 20 w 33"/>
                <a:gd name="T9" fmla="*/ 3 h 31"/>
                <a:gd name="T10" fmla="*/ 15 w 33"/>
                <a:gd name="T11" fmla="*/ 3 h 31"/>
                <a:gd name="T12" fmla="*/ 15 w 33"/>
                <a:gd name="T13" fmla="*/ 0 h 31"/>
                <a:gd name="T14" fmla="*/ 15 w 33"/>
                <a:gd name="T15" fmla="*/ 0 h 31"/>
                <a:gd name="T16" fmla="*/ 13 w 33"/>
                <a:gd name="T17" fmla="*/ 0 h 31"/>
                <a:gd name="T18" fmla="*/ 10 w 33"/>
                <a:gd name="T19" fmla="*/ 0 h 31"/>
                <a:gd name="T20" fmla="*/ 13 w 33"/>
                <a:gd name="T21" fmla="*/ 3 h 31"/>
                <a:gd name="T22" fmla="*/ 13 w 33"/>
                <a:gd name="T23" fmla="*/ 5 h 31"/>
                <a:gd name="T24" fmla="*/ 7 w 33"/>
                <a:gd name="T25" fmla="*/ 8 h 31"/>
                <a:gd name="T26" fmla="*/ 10 w 33"/>
                <a:gd name="T27" fmla="*/ 8 h 31"/>
                <a:gd name="T28" fmla="*/ 5 w 33"/>
                <a:gd name="T29" fmla="*/ 11 h 31"/>
                <a:gd name="T30" fmla="*/ 2 w 33"/>
                <a:gd name="T31" fmla="*/ 11 h 31"/>
                <a:gd name="T32" fmla="*/ 0 w 33"/>
                <a:gd name="T33" fmla="*/ 11 h 31"/>
                <a:gd name="T34" fmla="*/ 2 w 33"/>
                <a:gd name="T35" fmla="*/ 13 h 31"/>
                <a:gd name="T36" fmla="*/ 2 w 33"/>
                <a:gd name="T37" fmla="*/ 16 h 31"/>
                <a:gd name="T38" fmla="*/ 5 w 33"/>
                <a:gd name="T39" fmla="*/ 18 h 31"/>
                <a:gd name="T40" fmla="*/ 7 w 33"/>
                <a:gd name="T41" fmla="*/ 21 h 31"/>
                <a:gd name="T42" fmla="*/ 10 w 33"/>
                <a:gd name="T43" fmla="*/ 23 h 31"/>
                <a:gd name="T44" fmla="*/ 13 w 33"/>
                <a:gd name="T45" fmla="*/ 26 h 31"/>
                <a:gd name="T46" fmla="*/ 13 w 33"/>
                <a:gd name="T47" fmla="*/ 31 h 31"/>
                <a:gd name="T48" fmla="*/ 15 w 33"/>
                <a:gd name="T49" fmla="*/ 31 h 31"/>
                <a:gd name="T50" fmla="*/ 15 w 33"/>
                <a:gd name="T51" fmla="*/ 28 h 31"/>
                <a:gd name="T52" fmla="*/ 15 w 33"/>
                <a:gd name="T53" fmla="*/ 26 h 31"/>
                <a:gd name="T54" fmla="*/ 23 w 33"/>
                <a:gd name="T55" fmla="*/ 23 h 31"/>
                <a:gd name="T56" fmla="*/ 23 w 33"/>
                <a:gd name="T57" fmla="*/ 26 h 31"/>
                <a:gd name="T58" fmla="*/ 25 w 33"/>
                <a:gd name="T59" fmla="*/ 23 h 31"/>
                <a:gd name="T60" fmla="*/ 25 w 33"/>
                <a:gd name="T61" fmla="*/ 23 h 31"/>
                <a:gd name="T62" fmla="*/ 30 w 33"/>
                <a:gd name="T63" fmla="*/ 21 h 31"/>
                <a:gd name="T64" fmla="*/ 28 w 33"/>
                <a:gd name="T65" fmla="*/ 21 h 31"/>
                <a:gd name="T66" fmla="*/ 30 w 33"/>
                <a:gd name="T67" fmla="*/ 18 h 31"/>
                <a:gd name="T68" fmla="*/ 33 w 33"/>
                <a:gd name="T69" fmla="*/ 13 h 31"/>
                <a:gd name="T70" fmla="*/ 33 w 33"/>
                <a:gd name="T71" fmla="*/ 13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3" h="31">
                  <a:moveTo>
                    <a:pt x="33" y="13"/>
                  </a:moveTo>
                  <a:lnTo>
                    <a:pt x="33" y="13"/>
                  </a:lnTo>
                  <a:lnTo>
                    <a:pt x="30" y="13"/>
                  </a:lnTo>
                  <a:lnTo>
                    <a:pt x="25" y="11"/>
                  </a:lnTo>
                  <a:lnTo>
                    <a:pt x="25" y="8"/>
                  </a:lnTo>
                  <a:lnTo>
                    <a:pt x="25" y="8"/>
                  </a:lnTo>
                  <a:lnTo>
                    <a:pt x="23" y="8"/>
                  </a:lnTo>
                  <a:lnTo>
                    <a:pt x="23" y="5"/>
                  </a:lnTo>
                  <a:lnTo>
                    <a:pt x="20" y="5"/>
                  </a:lnTo>
                  <a:lnTo>
                    <a:pt x="20" y="3"/>
                  </a:lnTo>
                  <a:lnTo>
                    <a:pt x="18" y="3"/>
                  </a:lnTo>
                  <a:lnTo>
                    <a:pt x="15" y="3"/>
                  </a:lnTo>
                  <a:lnTo>
                    <a:pt x="15" y="0"/>
                  </a:lnTo>
                  <a:lnTo>
                    <a:pt x="15" y="0"/>
                  </a:lnTo>
                  <a:lnTo>
                    <a:pt x="15" y="0"/>
                  </a:lnTo>
                  <a:lnTo>
                    <a:pt x="15" y="0"/>
                  </a:lnTo>
                  <a:lnTo>
                    <a:pt x="13" y="0"/>
                  </a:lnTo>
                  <a:lnTo>
                    <a:pt x="13" y="0"/>
                  </a:lnTo>
                  <a:lnTo>
                    <a:pt x="10" y="0"/>
                  </a:lnTo>
                  <a:lnTo>
                    <a:pt x="10" y="0"/>
                  </a:lnTo>
                  <a:lnTo>
                    <a:pt x="13" y="3"/>
                  </a:lnTo>
                  <a:lnTo>
                    <a:pt x="13" y="3"/>
                  </a:lnTo>
                  <a:lnTo>
                    <a:pt x="13" y="3"/>
                  </a:lnTo>
                  <a:lnTo>
                    <a:pt x="13" y="5"/>
                  </a:lnTo>
                  <a:lnTo>
                    <a:pt x="10" y="5"/>
                  </a:lnTo>
                  <a:lnTo>
                    <a:pt x="7" y="8"/>
                  </a:lnTo>
                  <a:lnTo>
                    <a:pt x="10" y="8"/>
                  </a:lnTo>
                  <a:lnTo>
                    <a:pt x="10" y="8"/>
                  </a:lnTo>
                  <a:lnTo>
                    <a:pt x="7" y="8"/>
                  </a:lnTo>
                  <a:lnTo>
                    <a:pt x="5" y="11"/>
                  </a:lnTo>
                  <a:lnTo>
                    <a:pt x="5" y="11"/>
                  </a:lnTo>
                  <a:lnTo>
                    <a:pt x="2" y="11"/>
                  </a:lnTo>
                  <a:lnTo>
                    <a:pt x="2" y="11"/>
                  </a:lnTo>
                  <a:lnTo>
                    <a:pt x="0" y="11"/>
                  </a:lnTo>
                  <a:lnTo>
                    <a:pt x="2" y="13"/>
                  </a:lnTo>
                  <a:lnTo>
                    <a:pt x="2" y="13"/>
                  </a:lnTo>
                  <a:lnTo>
                    <a:pt x="2" y="16"/>
                  </a:lnTo>
                  <a:lnTo>
                    <a:pt x="2" y="16"/>
                  </a:lnTo>
                  <a:lnTo>
                    <a:pt x="2" y="16"/>
                  </a:lnTo>
                  <a:lnTo>
                    <a:pt x="5" y="18"/>
                  </a:lnTo>
                  <a:lnTo>
                    <a:pt x="5" y="21"/>
                  </a:lnTo>
                  <a:lnTo>
                    <a:pt x="7" y="21"/>
                  </a:lnTo>
                  <a:lnTo>
                    <a:pt x="7" y="21"/>
                  </a:lnTo>
                  <a:lnTo>
                    <a:pt x="10" y="23"/>
                  </a:lnTo>
                  <a:lnTo>
                    <a:pt x="10" y="23"/>
                  </a:lnTo>
                  <a:lnTo>
                    <a:pt x="13" y="26"/>
                  </a:lnTo>
                  <a:lnTo>
                    <a:pt x="13" y="28"/>
                  </a:lnTo>
                  <a:lnTo>
                    <a:pt x="13" y="31"/>
                  </a:lnTo>
                  <a:lnTo>
                    <a:pt x="13" y="31"/>
                  </a:lnTo>
                  <a:lnTo>
                    <a:pt x="15" y="31"/>
                  </a:lnTo>
                  <a:lnTo>
                    <a:pt x="15" y="31"/>
                  </a:lnTo>
                  <a:lnTo>
                    <a:pt x="15" y="28"/>
                  </a:lnTo>
                  <a:lnTo>
                    <a:pt x="15" y="26"/>
                  </a:lnTo>
                  <a:lnTo>
                    <a:pt x="15" y="26"/>
                  </a:lnTo>
                  <a:lnTo>
                    <a:pt x="20" y="23"/>
                  </a:lnTo>
                  <a:lnTo>
                    <a:pt x="23" y="23"/>
                  </a:lnTo>
                  <a:lnTo>
                    <a:pt x="23" y="23"/>
                  </a:lnTo>
                  <a:lnTo>
                    <a:pt x="23" y="26"/>
                  </a:lnTo>
                  <a:lnTo>
                    <a:pt x="25" y="26"/>
                  </a:lnTo>
                  <a:lnTo>
                    <a:pt x="25" y="23"/>
                  </a:lnTo>
                  <a:lnTo>
                    <a:pt x="25" y="23"/>
                  </a:lnTo>
                  <a:lnTo>
                    <a:pt x="25" y="23"/>
                  </a:lnTo>
                  <a:lnTo>
                    <a:pt x="30" y="21"/>
                  </a:lnTo>
                  <a:lnTo>
                    <a:pt x="30" y="21"/>
                  </a:lnTo>
                  <a:lnTo>
                    <a:pt x="28" y="21"/>
                  </a:lnTo>
                  <a:lnTo>
                    <a:pt x="28" y="21"/>
                  </a:lnTo>
                  <a:lnTo>
                    <a:pt x="28" y="18"/>
                  </a:lnTo>
                  <a:lnTo>
                    <a:pt x="30" y="18"/>
                  </a:lnTo>
                  <a:lnTo>
                    <a:pt x="30" y="18"/>
                  </a:lnTo>
                  <a:lnTo>
                    <a:pt x="33" y="13"/>
                  </a:lnTo>
                  <a:lnTo>
                    <a:pt x="33" y="13"/>
                  </a:lnTo>
                  <a:lnTo>
                    <a:pt x="33" y="13"/>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281" name="Freeform 1900">
              <a:extLst>
                <a:ext uri="{FF2B5EF4-FFF2-40B4-BE49-F238E27FC236}">
                  <a16:creationId xmlns:a16="http://schemas.microsoft.com/office/drawing/2014/main" id="{91F3CFE7-E3D9-1846-A3C5-1C33F5B57E3E}"/>
                </a:ext>
              </a:extLst>
            </p:cNvPr>
            <p:cNvSpPr>
              <a:spLocks noEditPoints="1"/>
            </p:cNvSpPr>
            <p:nvPr/>
          </p:nvSpPr>
          <p:spPr bwMode="auto">
            <a:xfrm>
              <a:off x="6997340" y="1758094"/>
              <a:ext cx="1166281" cy="536522"/>
            </a:xfrm>
            <a:custGeom>
              <a:avLst/>
              <a:gdLst>
                <a:gd name="T0" fmla="*/ 81 w 713"/>
                <a:gd name="T1" fmla="*/ 226 h 328"/>
                <a:gd name="T2" fmla="*/ 695 w 713"/>
                <a:gd name="T3" fmla="*/ 127 h 328"/>
                <a:gd name="T4" fmla="*/ 672 w 713"/>
                <a:gd name="T5" fmla="*/ 127 h 328"/>
                <a:gd name="T6" fmla="*/ 644 w 713"/>
                <a:gd name="T7" fmla="*/ 106 h 328"/>
                <a:gd name="T8" fmla="*/ 611 w 713"/>
                <a:gd name="T9" fmla="*/ 101 h 328"/>
                <a:gd name="T10" fmla="*/ 586 w 713"/>
                <a:gd name="T11" fmla="*/ 91 h 328"/>
                <a:gd name="T12" fmla="*/ 573 w 713"/>
                <a:gd name="T13" fmla="*/ 96 h 328"/>
                <a:gd name="T14" fmla="*/ 507 w 713"/>
                <a:gd name="T15" fmla="*/ 43 h 328"/>
                <a:gd name="T16" fmla="*/ 474 w 713"/>
                <a:gd name="T17" fmla="*/ 23 h 328"/>
                <a:gd name="T18" fmla="*/ 451 w 713"/>
                <a:gd name="T19" fmla="*/ 40 h 328"/>
                <a:gd name="T20" fmla="*/ 433 w 713"/>
                <a:gd name="T21" fmla="*/ 30 h 328"/>
                <a:gd name="T22" fmla="*/ 412 w 713"/>
                <a:gd name="T23" fmla="*/ 30 h 328"/>
                <a:gd name="T24" fmla="*/ 387 w 713"/>
                <a:gd name="T25" fmla="*/ 20 h 328"/>
                <a:gd name="T26" fmla="*/ 341 w 713"/>
                <a:gd name="T27" fmla="*/ 0 h 328"/>
                <a:gd name="T28" fmla="*/ 311 w 713"/>
                <a:gd name="T29" fmla="*/ 15 h 328"/>
                <a:gd name="T30" fmla="*/ 275 w 713"/>
                <a:gd name="T31" fmla="*/ 23 h 328"/>
                <a:gd name="T32" fmla="*/ 237 w 713"/>
                <a:gd name="T33" fmla="*/ 30 h 328"/>
                <a:gd name="T34" fmla="*/ 229 w 713"/>
                <a:gd name="T35" fmla="*/ 40 h 328"/>
                <a:gd name="T36" fmla="*/ 244 w 713"/>
                <a:gd name="T37" fmla="*/ 53 h 328"/>
                <a:gd name="T38" fmla="*/ 226 w 713"/>
                <a:gd name="T39" fmla="*/ 68 h 328"/>
                <a:gd name="T40" fmla="*/ 247 w 713"/>
                <a:gd name="T41" fmla="*/ 89 h 328"/>
                <a:gd name="T42" fmla="*/ 219 w 713"/>
                <a:gd name="T43" fmla="*/ 106 h 328"/>
                <a:gd name="T44" fmla="*/ 183 w 713"/>
                <a:gd name="T45" fmla="*/ 94 h 328"/>
                <a:gd name="T46" fmla="*/ 153 w 713"/>
                <a:gd name="T47" fmla="*/ 104 h 328"/>
                <a:gd name="T48" fmla="*/ 130 w 713"/>
                <a:gd name="T49" fmla="*/ 106 h 328"/>
                <a:gd name="T50" fmla="*/ 96 w 713"/>
                <a:gd name="T51" fmla="*/ 86 h 328"/>
                <a:gd name="T52" fmla="*/ 68 w 713"/>
                <a:gd name="T53" fmla="*/ 84 h 328"/>
                <a:gd name="T54" fmla="*/ 38 w 713"/>
                <a:gd name="T55" fmla="*/ 96 h 328"/>
                <a:gd name="T56" fmla="*/ 25 w 713"/>
                <a:gd name="T57" fmla="*/ 122 h 328"/>
                <a:gd name="T58" fmla="*/ 0 w 713"/>
                <a:gd name="T59" fmla="*/ 129 h 328"/>
                <a:gd name="T60" fmla="*/ 12 w 713"/>
                <a:gd name="T61" fmla="*/ 165 h 328"/>
                <a:gd name="T62" fmla="*/ 45 w 713"/>
                <a:gd name="T63" fmla="*/ 190 h 328"/>
                <a:gd name="T64" fmla="*/ 56 w 713"/>
                <a:gd name="T65" fmla="*/ 196 h 328"/>
                <a:gd name="T66" fmla="*/ 89 w 713"/>
                <a:gd name="T67" fmla="*/ 183 h 328"/>
                <a:gd name="T68" fmla="*/ 124 w 713"/>
                <a:gd name="T69" fmla="*/ 190 h 328"/>
                <a:gd name="T70" fmla="*/ 104 w 713"/>
                <a:gd name="T71" fmla="*/ 218 h 328"/>
                <a:gd name="T72" fmla="*/ 102 w 713"/>
                <a:gd name="T73" fmla="*/ 241 h 328"/>
                <a:gd name="T74" fmla="*/ 99 w 713"/>
                <a:gd name="T75" fmla="*/ 257 h 328"/>
                <a:gd name="T76" fmla="*/ 119 w 713"/>
                <a:gd name="T77" fmla="*/ 277 h 328"/>
                <a:gd name="T78" fmla="*/ 140 w 713"/>
                <a:gd name="T79" fmla="*/ 295 h 328"/>
                <a:gd name="T80" fmla="*/ 183 w 713"/>
                <a:gd name="T81" fmla="*/ 305 h 328"/>
                <a:gd name="T82" fmla="*/ 191 w 713"/>
                <a:gd name="T83" fmla="*/ 272 h 328"/>
                <a:gd name="T84" fmla="*/ 211 w 713"/>
                <a:gd name="T85" fmla="*/ 221 h 328"/>
                <a:gd name="T86" fmla="*/ 262 w 713"/>
                <a:gd name="T87" fmla="*/ 236 h 328"/>
                <a:gd name="T88" fmla="*/ 308 w 713"/>
                <a:gd name="T89" fmla="*/ 262 h 328"/>
                <a:gd name="T90" fmla="*/ 354 w 713"/>
                <a:gd name="T91" fmla="*/ 262 h 328"/>
                <a:gd name="T92" fmla="*/ 379 w 713"/>
                <a:gd name="T93" fmla="*/ 295 h 328"/>
                <a:gd name="T94" fmla="*/ 418 w 713"/>
                <a:gd name="T95" fmla="*/ 315 h 328"/>
                <a:gd name="T96" fmla="*/ 435 w 713"/>
                <a:gd name="T97" fmla="*/ 325 h 328"/>
                <a:gd name="T98" fmla="*/ 456 w 713"/>
                <a:gd name="T99" fmla="*/ 300 h 328"/>
                <a:gd name="T100" fmla="*/ 471 w 713"/>
                <a:gd name="T101" fmla="*/ 282 h 328"/>
                <a:gd name="T102" fmla="*/ 512 w 713"/>
                <a:gd name="T103" fmla="*/ 285 h 328"/>
                <a:gd name="T104" fmla="*/ 548 w 713"/>
                <a:gd name="T105" fmla="*/ 277 h 328"/>
                <a:gd name="T106" fmla="*/ 596 w 713"/>
                <a:gd name="T107" fmla="*/ 277 h 328"/>
                <a:gd name="T108" fmla="*/ 632 w 713"/>
                <a:gd name="T109" fmla="*/ 287 h 328"/>
                <a:gd name="T110" fmla="*/ 637 w 713"/>
                <a:gd name="T111" fmla="*/ 274 h 328"/>
                <a:gd name="T112" fmla="*/ 629 w 713"/>
                <a:gd name="T113" fmla="*/ 249 h 328"/>
                <a:gd name="T114" fmla="*/ 614 w 713"/>
                <a:gd name="T115" fmla="*/ 231 h 328"/>
                <a:gd name="T116" fmla="*/ 655 w 713"/>
                <a:gd name="T117" fmla="*/ 224 h 328"/>
                <a:gd name="T118" fmla="*/ 652 w 713"/>
                <a:gd name="T119" fmla="*/ 203 h 328"/>
                <a:gd name="T120" fmla="*/ 683 w 713"/>
                <a:gd name="T121" fmla="*/ 185 h 328"/>
                <a:gd name="T122" fmla="*/ 693 w 713"/>
                <a:gd name="T123" fmla="*/ 168 h 328"/>
                <a:gd name="T124" fmla="*/ 703 w 713"/>
                <a:gd name="T125" fmla="*/ 140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13" h="328">
                  <a:moveTo>
                    <a:pt x="76" y="231"/>
                  </a:moveTo>
                  <a:lnTo>
                    <a:pt x="76" y="229"/>
                  </a:lnTo>
                  <a:lnTo>
                    <a:pt x="76" y="226"/>
                  </a:lnTo>
                  <a:lnTo>
                    <a:pt x="76" y="226"/>
                  </a:lnTo>
                  <a:lnTo>
                    <a:pt x="76" y="226"/>
                  </a:lnTo>
                  <a:lnTo>
                    <a:pt x="76" y="229"/>
                  </a:lnTo>
                  <a:lnTo>
                    <a:pt x="76" y="231"/>
                  </a:lnTo>
                  <a:lnTo>
                    <a:pt x="76" y="234"/>
                  </a:lnTo>
                  <a:lnTo>
                    <a:pt x="79" y="234"/>
                  </a:lnTo>
                  <a:lnTo>
                    <a:pt x="79" y="234"/>
                  </a:lnTo>
                  <a:lnTo>
                    <a:pt x="76" y="234"/>
                  </a:lnTo>
                  <a:lnTo>
                    <a:pt x="76" y="231"/>
                  </a:lnTo>
                  <a:close/>
                  <a:moveTo>
                    <a:pt x="79" y="226"/>
                  </a:moveTo>
                  <a:lnTo>
                    <a:pt x="79" y="229"/>
                  </a:lnTo>
                  <a:lnTo>
                    <a:pt x="79" y="231"/>
                  </a:lnTo>
                  <a:lnTo>
                    <a:pt x="81" y="231"/>
                  </a:lnTo>
                  <a:lnTo>
                    <a:pt x="81" y="231"/>
                  </a:lnTo>
                  <a:lnTo>
                    <a:pt x="81" y="226"/>
                  </a:lnTo>
                  <a:lnTo>
                    <a:pt x="79" y="226"/>
                  </a:lnTo>
                  <a:close/>
                  <a:moveTo>
                    <a:pt x="122" y="218"/>
                  </a:moveTo>
                  <a:lnTo>
                    <a:pt x="122" y="218"/>
                  </a:lnTo>
                  <a:lnTo>
                    <a:pt x="119" y="216"/>
                  </a:lnTo>
                  <a:lnTo>
                    <a:pt x="119" y="216"/>
                  </a:lnTo>
                  <a:lnTo>
                    <a:pt x="119" y="218"/>
                  </a:lnTo>
                  <a:lnTo>
                    <a:pt x="119" y="218"/>
                  </a:lnTo>
                  <a:lnTo>
                    <a:pt x="122" y="218"/>
                  </a:lnTo>
                  <a:lnTo>
                    <a:pt x="122" y="218"/>
                  </a:lnTo>
                  <a:close/>
                  <a:moveTo>
                    <a:pt x="711" y="137"/>
                  </a:moveTo>
                  <a:lnTo>
                    <a:pt x="711" y="134"/>
                  </a:lnTo>
                  <a:lnTo>
                    <a:pt x="708" y="134"/>
                  </a:lnTo>
                  <a:lnTo>
                    <a:pt x="706" y="134"/>
                  </a:lnTo>
                  <a:lnTo>
                    <a:pt x="706" y="134"/>
                  </a:lnTo>
                  <a:lnTo>
                    <a:pt x="703" y="132"/>
                  </a:lnTo>
                  <a:lnTo>
                    <a:pt x="700" y="129"/>
                  </a:lnTo>
                  <a:lnTo>
                    <a:pt x="698" y="127"/>
                  </a:lnTo>
                  <a:lnTo>
                    <a:pt x="695" y="127"/>
                  </a:lnTo>
                  <a:lnTo>
                    <a:pt x="695" y="127"/>
                  </a:lnTo>
                  <a:lnTo>
                    <a:pt x="695" y="124"/>
                  </a:lnTo>
                  <a:lnTo>
                    <a:pt x="695" y="124"/>
                  </a:lnTo>
                  <a:lnTo>
                    <a:pt x="695" y="124"/>
                  </a:lnTo>
                  <a:lnTo>
                    <a:pt x="695" y="122"/>
                  </a:lnTo>
                  <a:lnTo>
                    <a:pt x="693" y="122"/>
                  </a:lnTo>
                  <a:lnTo>
                    <a:pt x="693" y="124"/>
                  </a:lnTo>
                  <a:lnTo>
                    <a:pt x="690" y="124"/>
                  </a:lnTo>
                  <a:lnTo>
                    <a:pt x="690" y="127"/>
                  </a:lnTo>
                  <a:lnTo>
                    <a:pt x="690" y="127"/>
                  </a:lnTo>
                  <a:lnTo>
                    <a:pt x="688" y="129"/>
                  </a:lnTo>
                  <a:lnTo>
                    <a:pt x="688" y="129"/>
                  </a:lnTo>
                  <a:lnTo>
                    <a:pt x="685" y="129"/>
                  </a:lnTo>
                  <a:lnTo>
                    <a:pt x="685" y="129"/>
                  </a:lnTo>
                  <a:lnTo>
                    <a:pt x="683" y="127"/>
                  </a:lnTo>
                  <a:lnTo>
                    <a:pt x="683" y="127"/>
                  </a:lnTo>
                  <a:lnTo>
                    <a:pt x="675" y="127"/>
                  </a:lnTo>
                  <a:lnTo>
                    <a:pt x="672" y="127"/>
                  </a:lnTo>
                  <a:lnTo>
                    <a:pt x="672" y="127"/>
                  </a:lnTo>
                  <a:lnTo>
                    <a:pt x="670" y="127"/>
                  </a:lnTo>
                  <a:lnTo>
                    <a:pt x="670" y="124"/>
                  </a:lnTo>
                  <a:lnTo>
                    <a:pt x="667" y="124"/>
                  </a:lnTo>
                  <a:lnTo>
                    <a:pt x="667" y="122"/>
                  </a:lnTo>
                  <a:lnTo>
                    <a:pt x="665" y="119"/>
                  </a:lnTo>
                  <a:lnTo>
                    <a:pt x="662" y="119"/>
                  </a:lnTo>
                  <a:lnTo>
                    <a:pt x="662" y="117"/>
                  </a:lnTo>
                  <a:lnTo>
                    <a:pt x="662" y="117"/>
                  </a:lnTo>
                  <a:lnTo>
                    <a:pt x="662" y="117"/>
                  </a:lnTo>
                  <a:lnTo>
                    <a:pt x="660" y="117"/>
                  </a:lnTo>
                  <a:lnTo>
                    <a:pt x="655" y="114"/>
                  </a:lnTo>
                  <a:lnTo>
                    <a:pt x="652" y="112"/>
                  </a:lnTo>
                  <a:lnTo>
                    <a:pt x="649" y="112"/>
                  </a:lnTo>
                  <a:lnTo>
                    <a:pt x="649" y="112"/>
                  </a:lnTo>
                  <a:lnTo>
                    <a:pt x="647" y="112"/>
                  </a:lnTo>
                  <a:lnTo>
                    <a:pt x="644" y="109"/>
                  </a:lnTo>
                  <a:lnTo>
                    <a:pt x="644" y="106"/>
                  </a:lnTo>
                  <a:lnTo>
                    <a:pt x="642" y="104"/>
                  </a:lnTo>
                  <a:lnTo>
                    <a:pt x="639" y="101"/>
                  </a:lnTo>
                  <a:lnTo>
                    <a:pt x="637" y="101"/>
                  </a:lnTo>
                  <a:lnTo>
                    <a:pt x="637" y="99"/>
                  </a:lnTo>
                  <a:lnTo>
                    <a:pt x="632" y="99"/>
                  </a:lnTo>
                  <a:lnTo>
                    <a:pt x="629" y="96"/>
                  </a:lnTo>
                  <a:lnTo>
                    <a:pt x="627" y="96"/>
                  </a:lnTo>
                  <a:lnTo>
                    <a:pt x="624" y="96"/>
                  </a:lnTo>
                  <a:lnTo>
                    <a:pt x="621" y="96"/>
                  </a:lnTo>
                  <a:lnTo>
                    <a:pt x="621" y="96"/>
                  </a:lnTo>
                  <a:lnTo>
                    <a:pt x="621" y="99"/>
                  </a:lnTo>
                  <a:lnTo>
                    <a:pt x="619" y="99"/>
                  </a:lnTo>
                  <a:lnTo>
                    <a:pt x="616" y="99"/>
                  </a:lnTo>
                  <a:lnTo>
                    <a:pt x="616" y="99"/>
                  </a:lnTo>
                  <a:lnTo>
                    <a:pt x="616" y="99"/>
                  </a:lnTo>
                  <a:lnTo>
                    <a:pt x="614" y="101"/>
                  </a:lnTo>
                  <a:lnTo>
                    <a:pt x="614" y="101"/>
                  </a:lnTo>
                  <a:lnTo>
                    <a:pt x="611" y="101"/>
                  </a:lnTo>
                  <a:lnTo>
                    <a:pt x="609" y="101"/>
                  </a:lnTo>
                  <a:lnTo>
                    <a:pt x="606" y="101"/>
                  </a:lnTo>
                  <a:lnTo>
                    <a:pt x="604" y="101"/>
                  </a:lnTo>
                  <a:lnTo>
                    <a:pt x="601" y="101"/>
                  </a:lnTo>
                  <a:lnTo>
                    <a:pt x="599" y="101"/>
                  </a:lnTo>
                  <a:lnTo>
                    <a:pt x="596" y="101"/>
                  </a:lnTo>
                  <a:lnTo>
                    <a:pt x="593" y="101"/>
                  </a:lnTo>
                  <a:lnTo>
                    <a:pt x="593" y="99"/>
                  </a:lnTo>
                  <a:lnTo>
                    <a:pt x="593" y="99"/>
                  </a:lnTo>
                  <a:lnTo>
                    <a:pt x="593" y="96"/>
                  </a:lnTo>
                  <a:lnTo>
                    <a:pt x="591" y="96"/>
                  </a:lnTo>
                  <a:lnTo>
                    <a:pt x="591" y="96"/>
                  </a:lnTo>
                  <a:lnTo>
                    <a:pt x="588" y="96"/>
                  </a:lnTo>
                  <a:lnTo>
                    <a:pt x="586" y="96"/>
                  </a:lnTo>
                  <a:lnTo>
                    <a:pt x="586" y="96"/>
                  </a:lnTo>
                  <a:lnTo>
                    <a:pt x="586" y="94"/>
                  </a:lnTo>
                  <a:lnTo>
                    <a:pt x="586" y="91"/>
                  </a:lnTo>
                  <a:lnTo>
                    <a:pt x="586" y="91"/>
                  </a:lnTo>
                  <a:lnTo>
                    <a:pt x="583" y="91"/>
                  </a:lnTo>
                  <a:lnTo>
                    <a:pt x="583" y="91"/>
                  </a:lnTo>
                  <a:lnTo>
                    <a:pt x="581" y="91"/>
                  </a:lnTo>
                  <a:lnTo>
                    <a:pt x="581" y="89"/>
                  </a:lnTo>
                  <a:lnTo>
                    <a:pt x="578" y="89"/>
                  </a:lnTo>
                  <a:lnTo>
                    <a:pt x="578" y="89"/>
                  </a:lnTo>
                  <a:lnTo>
                    <a:pt x="576" y="89"/>
                  </a:lnTo>
                  <a:lnTo>
                    <a:pt x="576" y="91"/>
                  </a:lnTo>
                  <a:lnTo>
                    <a:pt x="576" y="91"/>
                  </a:lnTo>
                  <a:lnTo>
                    <a:pt x="573" y="91"/>
                  </a:lnTo>
                  <a:lnTo>
                    <a:pt x="573" y="91"/>
                  </a:lnTo>
                  <a:lnTo>
                    <a:pt x="573" y="94"/>
                  </a:lnTo>
                  <a:lnTo>
                    <a:pt x="573" y="94"/>
                  </a:lnTo>
                  <a:lnTo>
                    <a:pt x="576" y="96"/>
                  </a:lnTo>
                  <a:lnTo>
                    <a:pt x="576" y="96"/>
                  </a:lnTo>
                  <a:lnTo>
                    <a:pt x="573" y="96"/>
                  </a:lnTo>
                  <a:lnTo>
                    <a:pt x="573" y="96"/>
                  </a:lnTo>
                  <a:lnTo>
                    <a:pt x="573" y="96"/>
                  </a:lnTo>
                  <a:lnTo>
                    <a:pt x="570" y="99"/>
                  </a:lnTo>
                  <a:lnTo>
                    <a:pt x="570" y="99"/>
                  </a:lnTo>
                  <a:lnTo>
                    <a:pt x="570" y="99"/>
                  </a:lnTo>
                  <a:lnTo>
                    <a:pt x="570" y="101"/>
                  </a:lnTo>
                  <a:lnTo>
                    <a:pt x="568" y="101"/>
                  </a:lnTo>
                  <a:lnTo>
                    <a:pt x="565" y="96"/>
                  </a:lnTo>
                  <a:lnTo>
                    <a:pt x="560" y="91"/>
                  </a:lnTo>
                  <a:lnTo>
                    <a:pt x="555" y="86"/>
                  </a:lnTo>
                  <a:lnTo>
                    <a:pt x="553" y="84"/>
                  </a:lnTo>
                  <a:lnTo>
                    <a:pt x="545" y="76"/>
                  </a:lnTo>
                  <a:lnTo>
                    <a:pt x="540" y="73"/>
                  </a:lnTo>
                  <a:lnTo>
                    <a:pt x="532" y="66"/>
                  </a:lnTo>
                  <a:lnTo>
                    <a:pt x="527" y="61"/>
                  </a:lnTo>
                  <a:lnTo>
                    <a:pt x="519" y="53"/>
                  </a:lnTo>
                  <a:lnTo>
                    <a:pt x="514" y="51"/>
                  </a:lnTo>
                  <a:lnTo>
                    <a:pt x="509" y="45"/>
                  </a:lnTo>
                  <a:lnTo>
                    <a:pt x="509" y="45"/>
                  </a:lnTo>
                  <a:lnTo>
                    <a:pt x="507" y="43"/>
                  </a:lnTo>
                  <a:lnTo>
                    <a:pt x="502" y="40"/>
                  </a:lnTo>
                  <a:lnTo>
                    <a:pt x="494" y="38"/>
                  </a:lnTo>
                  <a:lnTo>
                    <a:pt x="489" y="35"/>
                  </a:lnTo>
                  <a:lnTo>
                    <a:pt x="481" y="33"/>
                  </a:lnTo>
                  <a:lnTo>
                    <a:pt x="481" y="30"/>
                  </a:lnTo>
                  <a:lnTo>
                    <a:pt x="481" y="30"/>
                  </a:lnTo>
                  <a:lnTo>
                    <a:pt x="479" y="30"/>
                  </a:lnTo>
                  <a:lnTo>
                    <a:pt x="479" y="28"/>
                  </a:lnTo>
                  <a:lnTo>
                    <a:pt x="479" y="28"/>
                  </a:lnTo>
                  <a:lnTo>
                    <a:pt x="481" y="28"/>
                  </a:lnTo>
                  <a:lnTo>
                    <a:pt x="481" y="28"/>
                  </a:lnTo>
                  <a:lnTo>
                    <a:pt x="484" y="23"/>
                  </a:lnTo>
                  <a:lnTo>
                    <a:pt x="481" y="20"/>
                  </a:lnTo>
                  <a:lnTo>
                    <a:pt x="481" y="20"/>
                  </a:lnTo>
                  <a:lnTo>
                    <a:pt x="479" y="23"/>
                  </a:lnTo>
                  <a:lnTo>
                    <a:pt x="479" y="23"/>
                  </a:lnTo>
                  <a:lnTo>
                    <a:pt x="479" y="23"/>
                  </a:lnTo>
                  <a:lnTo>
                    <a:pt x="474" y="23"/>
                  </a:lnTo>
                  <a:lnTo>
                    <a:pt x="471" y="25"/>
                  </a:lnTo>
                  <a:lnTo>
                    <a:pt x="469" y="28"/>
                  </a:lnTo>
                  <a:lnTo>
                    <a:pt x="466" y="28"/>
                  </a:lnTo>
                  <a:lnTo>
                    <a:pt x="466" y="28"/>
                  </a:lnTo>
                  <a:lnTo>
                    <a:pt x="461" y="28"/>
                  </a:lnTo>
                  <a:lnTo>
                    <a:pt x="461" y="30"/>
                  </a:lnTo>
                  <a:lnTo>
                    <a:pt x="461" y="30"/>
                  </a:lnTo>
                  <a:lnTo>
                    <a:pt x="461" y="30"/>
                  </a:lnTo>
                  <a:lnTo>
                    <a:pt x="461" y="33"/>
                  </a:lnTo>
                  <a:lnTo>
                    <a:pt x="458" y="35"/>
                  </a:lnTo>
                  <a:lnTo>
                    <a:pt x="456" y="35"/>
                  </a:lnTo>
                  <a:lnTo>
                    <a:pt x="456" y="33"/>
                  </a:lnTo>
                  <a:lnTo>
                    <a:pt x="453" y="35"/>
                  </a:lnTo>
                  <a:lnTo>
                    <a:pt x="453" y="35"/>
                  </a:lnTo>
                  <a:lnTo>
                    <a:pt x="448" y="38"/>
                  </a:lnTo>
                  <a:lnTo>
                    <a:pt x="448" y="38"/>
                  </a:lnTo>
                  <a:lnTo>
                    <a:pt x="451" y="40"/>
                  </a:lnTo>
                  <a:lnTo>
                    <a:pt x="451" y="40"/>
                  </a:lnTo>
                  <a:lnTo>
                    <a:pt x="448" y="40"/>
                  </a:lnTo>
                  <a:lnTo>
                    <a:pt x="448" y="40"/>
                  </a:lnTo>
                  <a:lnTo>
                    <a:pt x="446" y="40"/>
                  </a:lnTo>
                  <a:lnTo>
                    <a:pt x="443" y="38"/>
                  </a:lnTo>
                  <a:lnTo>
                    <a:pt x="440" y="38"/>
                  </a:lnTo>
                  <a:lnTo>
                    <a:pt x="438" y="38"/>
                  </a:lnTo>
                  <a:lnTo>
                    <a:pt x="435" y="40"/>
                  </a:lnTo>
                  <a:lnTo>
                    <a:pt x="433" y="43"/>
                  </a:lnTo>
                  <a:lnTo>
                    <a:pt x="433" y="43"/>
                  </a:lnTo>
                  <a:lnTo>
                    <a:pt x="433" y="43"/>
                  </a:lnTo>
                  <a:lnTo>
                    <a:pt x="433" y="40"/>
                  </a:lnTo>
                  <a:lnTo>
                    <a:pt x="430" y="40"/>
                  </a:lnTo>
                  <a:lnTo>
                    <a:pt x="430" y="38"/>
                  </a:lnTo>
                  <a:lnTo>
                    <a:pt x="430" y="38"/>
                  </a:lnTo>
                  <a:lnTo>
                    <a:pt x="430" y="35"/>
                  </a:lnTo>
                  <a:lnTo>
                    <a:pt x="433" y="33"/>
                  </a:lnTo>
                  <a:lnTo>
                    <a:pt x="433" y="33"/>
                  </a:lnTo>
                  <a:lnTo>
                    <a:pt x="433" y="30"/>
                  </a:lnTo>
                  <a:lnTo>
                    <a:pt x="433" y="30"/>
                  </a:lnTo>
                  <a:lnTo>
                    <a:pt x="433" y="30"/>
                  </a:lnTo>
                  <a:lnTo>
                    <a:pt x="430" y="30"/>
                  </a:lnTo>
                  <a:lnTo>
                    <a:pt x="430" y="30"/>
                  </a:lnTo>
                  <a:lnTo>
                    <a:pt x="430" y="30"/>
                  </a:lnTo>
                  <a:lnTo>
                    <a:pt x="428" y="30"/>
                  </a:lnTo>
                  <a:lnTo>
                    <a:pt x="428" y="30"/>
                  </a:lnTo>
                  <a:lnTo>
                    <a:pt x="425" y="30"/>
                  </a:lnTo>
                  <a:lnTo>
                    <a:pt x="423" y="30"/>
                  </a:lnTo>
                  <a:lnTo>
                    <a:pt x="420" y="28"/>
                  </a:lnTo>
                  <a:lnTo>
                    <a:pt x="415" y="28"/>
                  </a:lnTo>
                  <a:lnTo>
                    <a:pt x="415" y="28"/>
                  </a:lnTo>
                  <a:lnTo>
                    <a:pt x="412" y="28"/>
                  </a:lnTo>
                  <a:lnTo>
                    <a:pt x="412" y="28"/>
                  </a:lnTo>
                  <a:lnTo>
                    <a:pt x="415" y="30"/>
                  </a:lnTo>
                  <a:lnTo>
                    <a:pt x="415" y="30"/>
                  </a:lnTo>
                  <a:lnTo>
                    <a:pt x="415" y="30"/>
                  </a:lnTo>
                  <a:lnTo>
                    <a:pt x="412" y="30"/>
                  </a:lnTo>
                  <a:lnTo>
                    <a:pt x="412" y="33"/>
                  </a:lnTo>
                  <a:lnTo>
                    <a:pt x="412" y="30"/>
                  </a:lnTo>
                  <a:lnTo>
                    <a:pt x="410" y="30"/>
                  </a:lnTo>
                  <a:lnTo>
                    <a:pt x="410" y="28"/>
                  </a:lnTo>
                  <a:lnTo>
                    <a:pt x="407" y="28"/>
                  </a:lnTo>
                  <a:lnTo>
                    <a:pt x="407" y="25"/>
                  </a:lnTo>
                  <a:lnTo>
                    <a:pt x="405" y="23"/>
                  </a:lnTo>
                  <a:lnTo>
                    <a:pt x="405" y="23"/>
                  </a:lnTo>
                  <a:lnTo>
                    <a:pt x="405" y="25"/>
                  </a:lnTo>
                  <a:lnTo>
                    <a:pt x="402" y="25"/>
                  </a:lnTo>
                  <a:lnTo>
                    <a:pt x="400" y="25"/>
                  </a:lnTo>
                  <a:lnTo>
                    <a:pt x="397" y="28"/>
                  </a:lnTo>
                  <a:lnTo>
                    <a:pt x="392" y="28"/>
                  </a:lnTo>
                  <a:lnTo>
                    <a:pt x="387" y="25"/>
                  </a:lnTo>
                  <a:lnTo>
                    <a:pt x="387" y="25"/>
                  </a:lnTo>
                  <a:lnTo>
                    <a:pt x="387" y="23"/>
                  </a:lnTo>
                  <a:lnTo>
                    <a:pt x="387" y="20"/>
                  </a:lnTo>
                  <a:lnTo>
                    <a:pt x="387" y="20"/>
                  </a:lnTo>
                  <a:lnTo>
                    <a:pt x="387" y="17"/>
                  </a:lnTo>
                  <a:lnTo>
                    <a:pt x="384" y="15"/>
                  </a:lnTo>
                  <a:lnTo>
                    <a:pt x="379" y="10"/>
                  </a:lnTo>
                  <a:lnTo>
                    <a:pt x="377" y="7"/>
                  </a:lnTo>
                  <a:lnTo>
                    <a:pt x="374" y="2"/>
                  </a:lnTo>
                  <a:lnTo>
                    <a:pt x="372" y="2"/>
                  </a:lnTo>
                  <a:lnTo>
                    <a:pt x="369" y="2"/>
                  </a:lnTo>
                  <a:lnTo>
                    <a:pt x="367" y="5"/>
                  </a:lnTo>
                  <a:lnTo>
                    <a:pt x="367" y="5"/>
                  </a:lnTo>
                  <a:lnTo>
                    <a:pt x="367" y="5"/>
                  </a:lnTo>
                  <a:lnTo>
                    <a:pt x="364" y="5"/>
                  </a:lnTo>
                  <a:lnTo>
                    <a:pt x="361" y="5"/>
                  </a:lnTo>
                  <a:lnTo>
                    <a:pt x="361" y="5"/>
                  </a:lnTo>
                  <a:lnTo>
                    <a:pt x="359" y="5"/>
                  </a:lnTo>
                  <a:lnTo>
                    <a:pt x="356" y="2"/>
                  </a:lnTo>
                  <a:lnTo>
                    <a:pt x="351" y="2"/>
                  </a:lnTo>
                  <a:lnTo>
                    <a:pt x="346" y="2"/>
                  </a:lnTo>
                  <a:lnTo>
                    <a:pt x="341" y="0"/>
                  </a:lnTo>
                  <a:lnTo>
                    <a:pt x="341" y="2"/>
                  </a:lnTo>
                  <a:lnTo>
                    <a:pt x="339" y="2"/>
                  </a:lnTo>
                  <a:lnTo>
                    <a:pt x="336" y="5"/>
                  </a:lnTo>
                  <a:lnTo>
                    <a:pt x="333" y="5"/>
                  </a:lnTo>
                  <a:lnTo>
                    <a:pt x="333" y="5"/>
                  </a:lnTo>
                  <a:lnTo>
                    <a:pt x="331" y="5"/>
                  </a:lnTo>
                  <a:lnTo>
                    <a:pt x="331" y="7"/>
                  </a:lnTo>
                  <a:lnTo>
                    <a:pt x="333" y="7"/>
                  </a:lnTo>
                  <a:lnTo>
                    <a:pt x="333" y="10"/>
                  </a:lnTo>
                  <a:lnTo>
                    <a:pt x="331" y="10"/>
                  </a:lnTo>
                  <a:lnTo>
                    <a:pt x="331" y="10"/>
                  </a:lnTo>
                  <a:lnTo>
                    <a:pt x="328" y="10"/>
                  </a:lnTo>
                  <a:lnTo>
                    <a:pt x="326" y="10"/>
                  </a:lnTo>
                  <a:lnTo>
                    <a:pt x="326" y="12"/>
                  </a:lnTo>
                  <a:lnTo>
                    <a:pt x="321" y="12"/>
                  </a:lnTo>
                  <a:lnTo>
                    <a:pt x="318" y="12"/>
                  </a:lnTo>
                  <a:lnTo>
                    <a:pt x="316" y="12"/>
                  </a:lnTo>
                  <a:lnTo>
                    <a:pt x="311" y="15"/>
                  </a:lnTo>
                  <a:lnTo>
                    <a:pt x="308" y="15"/>
                  </a:lnTo>
                  <a:lnTo>
                    <a:pt x="300" y="15"/>
                  </a:lnTo>
                  <a:lnTo>
                    <a:pt x="298" y="17"/>
                  </a:lnTo>
                  <a:lnTo>
                    <a:pt x="295" y="15"/>
                  </a:lnTo>
                  <a:lnTo>
                    <a:pt x="293" y="17"/>
                  </a:lnTo>
                  <a:lnTo>
                    <a:pt x="290" y="17"/>
                  </a:lnTo>
                  <a:lnTo>
                    <a:pt x="290" y="17"/>
                  </a:lnTo>
                  <a:lnTo>
                    <a:pt x="288" y="17"/>
                  </a:lnTo>
                  <a:lnTo>
                    <a:pt x="288" y="17"/>
                  </a:lnTo>
                  <a:lnTo>
                    <a:pt x="285" y="20"/>
                  </a:lnTo>
                  <a:lnTo>
                    <a:pt x="285" y="20"/>
                  </a:lnTo>
                  <a:lnTo>
                    <a:pt x="285" y="23"/>
                  </a:lnTo>
                  <a:lnTo>
                    <a:pt x="285" y="23"/>
                  </a:lnTo>
                  <a:lnTo>
                    <a:pt x="282" y="23"/>
                  </a:lnTo>
                  <a:lnTo>
                    <a:pt x="282" y="23"/>
                  </a:lnTo>
                  <a:lnTo>
                    <a:pt x="280" y="23"/>
                  </a:lnTo>
                  <a:lnTo>
                    <a:pt x="277" y="23"/>
                  </a:lnTo>
                  <a:lnTo>
                    <a:pt x="275" y="23"/>
                  </a:lnTo>
                  <a:lnTo>
                    <a:pt x="275" y="23"/>
                  </a:lnTo>
                  <a:lnTo>
                    <a:pt x="270" y="23"/>
                  </a:lnTo>
                  <a:lnTo>
                    <a:pt x="267" y="25"/>
                  </a:lnTo>
                  <a:lnTo>
                    <a:pt x="267" y="25"/>
                  </a:lnTo>
                  <a:lnTo>
                    <a:pt x="267" y="25"/>
                  </a:lnTo>
                  <a:lnTo>
                    <a:pt x="265" y="25"/>
                  </a:lnTo>
                  <a:lnTo>
                    <a:pt x="262" y="25"/>
                  </a:lnTo>
                  <a:lnTo>
                    <a:pt x="262" y="25"/>
                  </a:lnTo>
                  <a:lnTo>
                    <a:pt x="260" y="25"/>
                  </a:lnTo>
                  <a:lnTo>
                    <a:pt x="257" y="28"/>
                  </a:lnTo>
                  <a:lnTo>
                    <a:pt x="257" y="28"/>
                  </a:lnTo>
                  <a:lnTo>
                    <a:pt x="254" y="28"/>
                  </a:lnTo>
                  <a:lnTo>
                    <a:pt x="254" y="28"/>
                  </a:lnTo>
                  <a:lnTo>
                    <a:pt x="252" y="28"/>
                  </a:lnTo>
                  <a:lnTo>
                    <a:pt x="244" y="30"/>
                  </a:lnTo>
                  <a:lnTo>
                    <a:pt x="244" y="30"/>
                  </a:lnTo>
                  <a:lnTo>
                    <a:pt x="244" y="30"/>
                  </a:lnTo>
                  <a:lnTo>
                    <a:pt x="237" y="30"/>
                  </a:lnTo>
                  <a:lnTo>
                    <a:pt x="237" y="30"/>
                  </a:lnTo>
                  <a:lnTo>
                    <a:pt x="234" y="30"/>
                  </a:lnTo>
                  <a:lnTo>
                    <a:pt x="234" y="33"/>
                  </a:lnTo>
                  <a:lnTo>
                    <a:pt x="229" y="30"/>
                  </a:lnTo>
                  <a:lnTo>
                    <a:pt x="224" y="30"/>
                  </a:lnTo>
                  <a:lnTo>
                    <a:pt x="221" y="30"/>
                  </a:lnTo>
                  <a:lnTo>
                    <a:pt x="221" y="30"/>
                  </a:lnTo>
                  <a:lnTo>
                    <a:pt x="221" y="33"/>
                  </a:lnTo>
                  <a:lnTo>
                    <a:pt x="221" y="35"/>
                  </a:lnTo>
                  <a:lnTo>
                    <a:pt x="221" y="35"/>
                  </a:lnTo>
                  <a:lnTo>
                    <a:pt x="221" y="38"/>
                  </a:lnTo>
                  <a:lnTo>
                    <a:pt x="221" y="38"/>
                  </a:lnTo>
                  <a:lnTo>
                    <a:pt x="221" y="38"/>
                  </a:lnTo>
                  <a:lnTo>
                    <a:pt x="224" y="40"/>
                  </a:lnTo>
                  <a:lnTo>
                    <a:pt x="226" y="40"/>
                  </a:lnTo>
                  <a:lnTo>
                    <a:pt x="226" y="40"/>
                  </a:lnTo>
                  <a:lnTo>
                    <a:pt x="229" y="40"/>
                  </a:lnTo>
                  <a:lnTo>
                    <a:pt x="229" y="40"/>
                  </a:lnTo>
                  <a:lnTo>
                    <a:pt x="229" y="40"/>
                  </a:lnTo>
                  <a:lnTo>
                    <a:pt x="232" y="40"/>
                  </a:lnTo>
                  <a:lnTo>
                    <a:pt x="232" y="40"/>
                  </a:lnTo>
                  <a:lnTo>
                    <a:pt x="232" y="40"/>
                  </a:lnTo>
                  <a:lnTo>
                    <a:pt x="229" y="43"/>
                  </a:lnTo>
                  <a:lnTo>
                    <a:pt x="226" y="43"/>
                  </a:lnTo>
                  <a:lnTo>
                    <a:pt x="226" y="43"/>
                  </a:lnTo>
                  <a:lnTo>
                    <a:pt x="226" y="43"/>
                  </a:lnTo>
                  <a:lnTo>
                    <a:pt x="226" y="45"/>
                  </a:lnTo>
                  <a:lnTo>
                    <a:pt x="226" y="45"/>
                  </a:lnTo>
                  <a:lnTo>
                    <a:pt x="229" y="45"/>
                  </a:lnTo>
                  <a:lnTo>
                    <a:pt x="232" y="48"/>
                  </a:lnTo>
                  <a:lnTo>
                    <a:pt x="234" y="48"/>
                  </a:lnTo>
                  <a:lnTo>
                    <a:pt x="234" y="48"/>
                  </a:lnTo>
                  <a:lnTo>
                    <a:pt x="237" y="48"/>
                  </a:lnTo>
                  <a:lnTo>
                    <a:pt x="242" y="51"/>
                  </a:lnTo>
                  <a:lnTo>
                    <a:pt x="244" y="51"/>
                  </a:lnTo>
                  <a:lnTo>
                    <a:pt x="244" y="53"/>
                  </a:lnTo>
                  <a:lnTo>
                    <a:pt x="244" y="53"/>
                  </a:lnTo>
                  <a:lnTo>
                    <a:pt x="242" y="53"/>
                  </a:lnTo>
                  <a:lnTo>
                    <a:pt x="242" y="53"/>
                  </a:lnTo>
                  <a:lnTo>
                    <a:pt x="237" y="53"/>
                  </a:lnTo>
                  <a:lnTo>
                    <a:pt x="234" y="53"/>
                  </a:lnTo>
                  <a:lnTo>
                    <a:pt x="232" y="53"/>
                  </a:lnTo>
                  <a:lnTo>
                    <a:pt x="229" y="53"/>
                  </a:lnTo>
                  <a:lnTo>
                    <a:pt x="226" y="53"/>
                  </a:lnTo>
                  <a:lnTo>
                    <a:pt x="226" y="53"/>
                  </a:lnTo>
                  <a:lnTo>
                    <a:pt x="224" y="56"/>
                  </a:lnTo>
                  <a:lnTo>
                    <a:pt x="224" y="56"/>
                  </a:lnTo>
                  <a:lnTo>
                    <a:pt x="224" y="58"/>
                  </a:lnTo>
                  <a:lnTo>
                    <a:pt x="224" y="58"/>
                  </a:lnTo>
                  <a:lnTo>
                    <a:pt x="224" y="61"/>
                  </a:lnTo>
                  <a:lnTo>
                    <a:pt x="229" y="66"/>
                  </a:lnTo>
                  <a:lnTo>
                    <a:pt x="229" y="66"/>
                  </a:lnTo>
                  <a:lnTo>
                    <a:pt x="229" y="68"/>
                  </a:lnTo>
                  <a:lnTo>
                    <a:pt x="226" y="68"/>
                  </a:lnTo>
                  <a:lnTo>
                    <a:pt x="224" y="71"/>
                  </a:lnTo>
                  <a:lnTo>
                    <a:pt x="221" y="71"/>
                  </a:lnTo>
                  <a:lnTo>
                    <a:pt x="221" y="71"/>
                  </a:lnTo>
                  <a:lnTo>
                    <a:pt x="219" y="73"/>
                  </a:lnTo>
                  <a:lnTo>
                    <a:pt x="216" y="73"/>
                  </a:lnTo>
                  <a:lnTo>
                    <a:pt x="216" y="76"/>
                  </a:lnTo>
                  <a:lnTo>
                    <a:pt x="216" y="76"/>
                  </a:lnTo>
                  <a:lnTo>
                    <a:pt x="221" y="79"/>
                  </a:lnTo>
                  <a:lnTo>
                    <a:pt x="224" y="79"/>
                  </a:lnTo>
                  <a:lnTo>
                    <a:pt x="224" y="81"/>
                  </a:lnTo>
                  <a:lnTo>
                    <a:pt x="224" y="81"/>
                  </a:lnTo>
                  <a:lnTo>
                    <a:pt x="229" y="81"/>
                  </a:lnTo>
                  <a:lnTo>
                    <a:pt x="234" y="84"/>
                  </a:lnTo>
                  <a:lnTo>
                    <a:pt x="234" y="84"/>
                  </a:lnTo>
                  <a:lnTo>
                    <a:pt x="234" y="84"/>
                  </a:lnTo>
                  <a:lnTo>
                    <a:pt x="242" y="86"/>
                  </a:lnTo>
                  <a:lnTo>
                    <a:pt x="242" y="86"/>
                  </a:lnTo>
                  <a:lnTo>
                    <a:pt x="247" y="89"/>
                  </a:lnTo>
                  <a:lnTo>
                    <a:pt x="247" y="91"/>
                  </a:lnTo>
                  <a:lnTo>
                    <a:pt x="247" y="94"/>
                  </a:lnTo>
                  <a:lnTo>
                    <a:pt x="247" y="96"/>
                  </a:lnTo>
                  <a:lnTo>
                    <a:pt x="247" y="99"/>
                  </a:lnTo>
                  <a:lnTo>
                    <a:pt x="244" y="101"/>
                  </a:lnTo>
                  <a:lnTo>
                    <a:pt x="239" y="101"/>
                  </a:lnTo>
                  <a:lnTo>
                    <a:pt x="234" y="104"/>
                  </a:lnTo>
                  <a:lnTo>
                    <a:pt x="232" y="104"/>
                  </a:lnTo>
                  <a:lnTo>
                    <a:pt x="229" y="101"/>
                  </a:lnTo>
                  <a:lnTo>
                    <a:pt x="226" y="101"/>
                  </a:lnTo>
                  <a:lnTo>
                    <a:pt x="226" y="101"/>
                  </a:lnTo>
                  <a:lnTo>
                    <a:pt x="224" y="99"/>
                  </a:lnTo>
                  <a:lnTo>
                    <a:pt x="224" y="99"/>
                  </a:lnTo>
                  <a:lnTo>
                    <a:pt x="221" y="99"/>
                  </a:lnTo>
                  <a:lnTo>
                    <a:pt x="221" y="99"/>
                  </a:lnTo>
                  <a:lnTo>
                    <a:pt x="221" y="101"/>
                  </a:lnTo>
                  <a:lnTo>
                    <a:pt x="221" y="104"/>
                  </a:lnTo>
                  <a:lnTo>
                    <a:pt x="219" y="106"/>
                  </a:lnTo>
                  <a:lnTo>
                    <a:pt x="216" y="106"/>
                  </a:lnTo>
                  <a:lnTo>
                    <a:pt x="216" y="106"/>
                  </a:lnTo>
                  <a:lnTo>
                    <a:pt x="216" y="104"/>
                  </a:lnTo>
                  <a:lnTo>
                    <a:pt x="214" y="104"/>
                  </a:lnTo>
                  <a:lnTo>
                    <a:pt x="214" y="104"/>
                  </a:lnTo>
                  <a:lnTo>
                    <a:pt x="209" y="104"/>
                  </a:lnTo>
                  <a:lnTo>
                    <a:pt x="206" y="104"/>
                  </a:lnTo>
                  <a:lnTo>
                    <a:pt x="206" y="101"/>
                  </a:lnTo>
                  <a:lnTo>
                    <a:pt x="203" y="101"/>
                  </a:lnTo>
                  <a:lnTo>
                    <a:pt x="201" y="101"/>
                  </a:lnTo>
                  <a:lnTo>
                    <a:pt x="198" y="99"/>
                  </a:lnTo>
                  <a:lnTo>
                    <a:pt x="196" y="96"/>
                  </a:lnTo>
                  <a:lnTo>
                    <a:pt x="193" y="94"/>
                  </a:lnTo>
                  <a:lnTo>
                    <a:pt x="188" y="94"/>
                  </a:lnTo>
                  <a:lnTo>
                    <a:pt x="188" y="94"/>
                  </a:lnTo>
                  <a:lnTo>
                    <a:pt x="186" y="94"/>
                  </a:lnTo>
                  <a:lnTo>
                    <a:pt x="183" y="94"/>
                  </a:lnTo>
                  <a:lnTo>
                    <a:pt x="183" y="94"/>
                  </a:lnTo>
                  <a:lnTo>
                    <a:pt x="183" y="94"/>
                  </a:lnTo>
                  <a:lnTo>
                    <a:pt x="181" y="96"/>
                  </a:lnTo>
                  <a:lnTo>
                    <a:pt x="181" y="96"/>
                  </a:lnTo>
                  <a:lnTo>
                    <a:pt x="178" y="99"/>
                  </a:lnTo>
                  <a:lnTo>
                    <a:pt x="178" y="99"/>
                  </a:lnTo>
                  <a:lnTo>
                    <a:pt x="175" y="96"/>
                  </a:lnTo>
                  <a:lnTo>
                    <a:pt x="173" y="94"/>
                  </a:lnTo>
                  <a:lnTo>
                    <a:pt x="168" y="94"/>
                  </a:lnTo>
                  <a:lnTo>
                    <a:pt x="165" y="94"/>
                  </a:lnTo>
                  <a:lnTo>
                    <a:pt x="165" y="94"/>
                  </a:lnTo>
                  <a:lnTo>
                    <a:pt x="163" y="96"/>
                  </a:lnTo>
                  <a:lnTo>
                    <a:pt x="160" y="96"/>
                  </a:lnTo>
                  <a:lnTo>
                    <a:pt x="160" y="96"/>
                  </a:lnTo>
                  <a:lnTo>
                    <a:pt x="158" y="96"/>
                  </a:lnTo>
                  <a:lnTo>
                    <a:pt x="155" y="99"/>
                  </a:lnTo>
                  <a:lnTo>
                    <a:pt x="155" y="101"/>
                  </a:lnTo>
                  <a:lnTo>
                    <a:pt x="155" y="101"/>
                  </a:lnTo>
                  <a:lnTo>
                    <a:pt x="153" y="104"/>
                  </a:lnTo>
                  <a:lnTo>
                    <a:pt x="150" y="104"/>
                  </a:lnTo>
                  <a:lnTo>
                    <a:pt x="147" y="104"/>
                  </a:lnTo>
                  <a:lnTo>
                    <a:pt x="145" y="104"/>
                  </a:lnTo>
                  <a:lnTo>
                    <a:pt x="142" y="104"/>
                  </a:lnTo>
                  <a:lnTo>
                    <a:pt x="140" y="101"/>
                  </a:lnTo>
                  <a:lnTo>
                    <a:pt x="135" y="99"/>
                  </a:lnTo>
                  <a:lnTo>
                    <a:pt x="132" y="96"/>
                  </a:lnTo>
                  <a:lnTo>
                    <a:pt x="130" y="96"/>
                  </a:lnTo>
                  <a:lnTo>
                    <a:pt x="127" y="96"/>
                  </a:lnTo>
                  <a:lnTo>
                    <a:pt x="127" y="96"/>
                  </a:lnTo>
                  <a:lnTo>
                    <a:pt x="127" y="96"/>
                  </a:lnTo>
                  <a:lnTo>
                    <a:pt x="127" y="96"/>
                  </a:lnTo>
                  <a:lnTo>
                    <a:pt x="127" y="99"/>
                  </a:lnTo>
                  <a:lnTo>
                    <a:pt x="130" y="101"/>
                  </a:lnTo>
                  <a:lnTo>
                    <a:pt x="130" y="104"/>
                  </a:lnTo>
                  <a:lnTo>
                    <a:pt x="130" y="104"/>
                  </a:lnTo>
                  <a:lnTo>
                    <a:pt x="130" y="106"/>
                  </a:lnTo>
                  <a:lnTo>
                    <a:pt x="130" y="106"/>
                  </a:lnTo>
                  <a:lnTo>
                    <a:pt x="130" y="106"/>
                  </a:lnTo>
                  <a:lnTo>
                    <a:pt x="127" y="104"/>
                  </a:lnTo>
                  <a:lnTo>
                    <a:pt x="127" y="104"/>
                  </a:lnTo>
                  <a:lnTo>
                    <a:pt x="124" y="101"/>
                  </a:lnTo>
                  <a:lnTo>
                    <a:pt x="122" y="96"/>
                  </a:lnTo>
                  <a:lnTo>
                    <a:pt x="119" y="96"/>
                  </a:lnTo>
                  <a:lnTo>
                    <a:pt x="119" y="94"/>
                  </a:lnTo>
                  <a:lnTo>
                    <a:pt x="117" y="94"/>
                  </a:lnTo>
                  <a:lnTo>
                    <a:pt x="114" y="91"/>
                  </a:lnTo>
                  <a:lnTo>
                    <a:pt x="112" y="91"/>
                  </a:lnTo>
                  <a:lnTo>
                    <a:pt x="109" y="91"/>
                  </a:lnTo>
                  <a:lnTo>
                    <a:pt x="107" y="86"/>
                  </a:lnTo>
                  <a:lnTo>
                    <a:pt x="104" y="86"/>
                  </a:lnTo>
                  <a:lnTo>
                    <a:pt x="104" y="86"/>
                  </a:lnTo>
                  <a:lnTo>
                    <a:pt x="102" y="84"/>
                  </a:lnTo>
                  <a:lnTo>
                    <a:pt x="102" y="86"/>
                  </a:lnTo>
                  <a:lnTo>
                    <a:pt x="99" y="86"/>
                  </a:lnTo>
                  <a:lnTo>
                    <a:pt x="96" y="86"/>
                  </a:lnTo>
                  <a:lnTo>
                    <a:pt x="94" y="84"/>
                  </a:lnTo>
                  <a:lnTo>
                    <a:pt x="91" y="84"/>
                  </a:lnTo>
                  <a:lnTo>
                    <a:pt x="91" y="84"/>
                  </a:lnTo>
                  <a:lnTo>
                    <a:pt x="91" y="86"/>
                  </a:lnTo>
                  <a:lnTo>
                    <a:pt x="91" y="86"/>
                  </a:lnTo>
                  <a:lnTo>
                    <a:pt x="89" y="86"/>
                  </a:lnTo>
                  <a:lnTo>
                    <a:pt x="89" y="84"/>
                  </a:lnTo>
                  <a:lnTo>
                    <a:pt x="86" y="84"/>
                  </a:lnTo>
                  <a:lnTo>
                    <a:pt x="84" y="81"/>
                  </a:lnTo>
                  <a:lnTo>
                    <a:pt x="81" y="81"/>
                  </a:lnTo>
                  <a:lnTo>
                    <a:pt x="79" y="81"/>
                  </a:lnTo>
                  <a:lnTo>
                    <a:pt x="76" y="84"/>
                  </a:lnTo>
                  <a:lnTo>
                    <a:pt x="74" y="86"/>
                  </a:lnTo>
                  <a:lnTo>
                    <a:pt x="71" y="86"/>
                  </a:lnTo>
                  <a:lnTo>
                    <a:pt x="68" y="86"/>
                  </a:lnTo>
                  <a:lnTo>
                    <a:pt x="68" y="86"/>
                  </a:lnTo>
                  <a:lnTo>
                    <a:pt x="68" y="84"/>
                  </a:lnTo>
                  <a:lnTo>
                    <a:pt x="68" y="84"/>
                  </a:lnTo>
                  <a:lnTo>
                    <a:pt x="66" y="84"/>
                  </a:lnTo>
                  <a:lnTo>
                    <a:pt x="63" y="81"/>
                  </a:lnTo>
                  <a:lnTo>
                    <a:pt x="61" y="81"/>
                  </a:lnTo>
                  <a:lnTo>
                    <a:pt x="58" y="81"/>
                  </a:lnTo>
                  <a:lnTo>
                    <a:pt x="58" y="79"/>
                  </a:lnTo>
                  <a:lnTo>
                    <a:pt x="58" y="81"/>
                  </a:lnTo>
                  <a:lnTo>
                    <a:pt x="56" y="84"/>
                  </a:lnTo>
                  <a:lnTo>
                    <a:pt x="53" y="84"/>
                  </a:lnTo>
                  <a:lnTo>
                    <a:pt x="53" y="89"/>
                  </a:lnTo>
                  <a:lnTo>
                    <a:pt x="51" y="89"/>
                  </a:lnTo>
                  <a:lnTo>
                    <a:pt x="51" y="89"/>
                  </a:lnTo>
                  <a:lnTo>
                    <a:pt x="48" y="91"/>
                  </a:lnTo>
                  <a:lnTo>
                    <a:pt x="45" y="91"/>
                  </a:lnTo>
                  <a:lnTo>
                    <a:pt x="43" y="94"/>
                  </a:lnTo>
                  <a:lnTo>
                    <a:pt x="40" y="94"/>
                  </a:lnTo>
                  <a:lnTo>
                    <a:pt x="38" y="94"/>
                  </a:lnTo>
                  <a:lnTo>
                    <a:pt x="38" y="94"/>
                  </a:lnTo>
                  <a:lnTo>
                    <a:pt x="38" y="96"/>
                  </a:lnTo>
                  <a:lnTo>
                    <a:pt x="38" y="99"/>
                  </a:lnTo>
                  <a:lnTo>
                    <a:pt x="33" y="101"/>
                  </a:lnTo>
                  <a:lnTo>
                    <a:pt x="30" y="104"/>
                  </a:lnTo>
                  <a:lnTo>
                    <a:pt x="28" y="104"/>
                  </a:lnTo>
                  <a:lnTo>
                    <a:pt x="28" y="104"/>
                  </a:lnTo>
                  <a:lnTo>
                    <a:pt x="25" y="104"/>
                  </a:lnTo>
                  <a:lnTo>
                    <a:pt x="25" y="104"/>
                  </a:lnTo>
                  <a:lnTo>
                    <a:pt x="28" y="106"/>
                  </a:lnTo>
                  <a:lnTo>
                    <a:pt x="28" y="109"/>
                  </a:lnTo>
                  <a:lnTo>
                    <a:pt x="30" y="112"/>
                  </a:lnTo>
                  <a:lnTo>
                    <a:pt x="30" y="114"/>
                  </a:lnTo>
                  <a:lnTo>
                    <a:pt x="30" y="114"/>
                  </a:lnTo>
                  <a:lnTo>
                    <a:pt x="33" y="117"/>
                  </a:lnTo>
                  <a:lnTo>
                    <a:pt x="33" y="119"/>
                  </a:lnTo>
                  <a:lnTo>
                    <a:pt x="30" y="119"/>
                  </a:lnTo>
                  <a:lnTo>
                    <a:pt x="28" y="119"/>
                  </a:lnTo>
                  <a:lnTo>
                    <a:pt x="25" y="122"/>
                  </a:lnTo>
                  <a:lnTo>
                    <a:pt x="25" y="122"/>
                  </a:lnTo>
                  <a:lnTo>
                    <a:pt x="23" y="119"/>
                  </a:lnTo>
                  <a:lnTo>
                    <a:pt x="20" y="119"/>
                  </a:lnTo>
                  <a:lnTo>
                    <a:pt x="17" y="117"/>
                  </a:lnTo>
                  <a:lnTo>
                    <a:pt x="15" y="112"/>
                  </a:lnTo>
                  <a:lnTo>
                    <a:pt x="10" y="109"/>
                  </a:lnTo>
                  <a:lnTo>
                    <a:pt x="10" y="109"/>
                  </a:lnTo>
                  <a:lnTo>
                    <a:pt x="7" y="109"/>
                  </a:lnTo>
                  <a:lnTo>
                    <a:pt x="7" y="109"/>
                  </a:lnTo>
                  <a:lnTo>
                    <a:pt x="5" y="112"/>
                  </a:lnTo>
                  <a:lnTo>
                    <a:pt x="5" y="112"/>
                  </a:lnTo>
                  <a:lnTo>
                    <a:pt x="5" y="112"/>
                  </a:lnTo>
                  <a:lnTo>
                    <a:pt x="5" y="114"/>
                  </a:lnTo>
                  <a:lnTo>
                    <a:pt x="5" y="117"/>
                  </a:lnTo>
                  <a:lnTo>
                    <a:pt x="5" y="117"/>
                  </a:lnTo>
                  <a:lnTo>
                    <a:pt x="2" y="119"/>
                  </a:lnTo>
                  <a:lnTo>
                    <a:pt x="0" y="122"/>
                  </a:lnTo>
                  <a:lnTo>
                    <a:pt x="0" y="124"/>
                  </a:lnTo>
                  <a:lnTo>
                    <a:pt x="0" y="129"/>
                  </a:lnTo>
                  <a:lnTo>
                    <a:pt x="0" y="132"/>
                  </a:lnTo>
                  <a:lnTo>
                    <a:pt x="0" y="132"/>
                  </a:lnTo>
                  <a:lnTo>
                    <a:pt x="2" y="134"/>
                  </a:lnTo>
                  <a:lnTo>
                    <a:pt x="5" y="134"/>
                  </a:lnTo>
                  <a:lnTo>
                    <a:pt x="5" y="137"/>
                  </a:lnTo>
                  <a:lnTo>
                    <a:pt x="5" y="137"/>
                  </a:lnTo>
                  <a:lnTo>
                    <a:pt x="5" y="140"/>
                  </a:lnTo>
                  <a:lnTo>
                    <a:pt x="2" y="140"/>
                  </a:lnTo>
                  <a:lnTo>
                    <a:pt x="0" y="145"/>
                  </a:lnTo>
                  <a:lnTo>
                    <a:pt x="0" y="150"/>
                  </a:lnTo>
                  <a:lnTo>
                    <a:pt x="2" y="152"/>
                  </a:lnTo>
                  <a:lnTo>
                    <a:pt x="5" y="155"/>
                  </a:lnTo>
                  <a:lnTo>
                    <a:pt x="7" y="155"/>
                  </a:lnTo>
                  <a:lnTo>
                    <a:pt x="10" y="157"/>
                  </a:lnTo>
                  <a:lnTo>
                    <a:pt x="10" y="160"/>
                  </a:lnTo>
                  <a:lnTo>
                    <a:pt x="10" y="162"/>
                  </a:lnTo>
                  <a:lnTo>
                    <a:pt x="10" y="162"/>
                  </a:lnTo>
                  <a:lnTo>
                    <a:pt x="12" y="165"/>
                  </a:lnTo>
                  <a:lnTo>
                    <a:pt x="12" y="168"/>
                  </a:lnTo>
                  <a:lnTo>
                    <a:pt x="15" y="168"/>
                  </a:lnTo>
                  <a:lnTo>
                    <a:pt x="17" y="168"/>
                  </a:lnTo>
                  <a:lnTo>
                    <a:pt x="17" y="165"/>
                  </a:lnTo>
                  <a:lnTo>
                    <a:pt x="20" y="168"/>
                  </a:lnTo>
                  <a:lnTo>
                    <a:pt x="25" y="168"/>
                  </a:lnTo>
                  <a:lnTo>
                    <a:pt x="30" y="168"/>
                  </a:lnTo>
                  <a:lnTo>
                    <a:pt x="30" y="168"/>
                  </a:lnTo>
                  <a:lnTo>
                    <a:pt x="33" y="170"/>
                  </a:lnTo>
                  <a:lnTo>
                    <a:pt x="35" y="175"/>
                  </a:lnTo>
                  <a:lnTo>
                    <a:pt x="38" y="178"/>
                  </a:lnTo>
                  <a:lnTo>
                    <a:pt x="40" y="178"/>
                  </a:lnTo>
                  <a:lnTo>
                    <a:pt x="43" y="183"/>
                  </a:lnTo>
                  <a:lnTo>
                    <a:pt x="45" y="185"/>
                  </a:lnTo>
                  <a:lnTo>
                    <a:pt x="48" y="188"/>
                  </a:lnTo>
                  <a:lnTo>
                    <a:pt x="48" y="190"/>
                  </a:lnTo>
                  <a:lnTo>
                    <a:pt x="48" y="190"/>
                  </a:lnTo>
                  <a:lnTo>
                    <a:pt x="45" y="190"/>
                  </a:lnTo>
                  <a:lnTo>
                    <a:pt x="43" y="190"/>
                  </a:lnTo>
                  <a:lnTo>
                    <a:pt x="43" y="190"/>
                  </a:lnTo>
                  <a:lnTo>
                    <a:pt x="43" y="190"/>
                  </a:lnTo>
                  <a:lnTo>
                    <a:pt x="40" y="190"/>
                  </a:lnTo>
                  <a:lnTo>
                    <a:pt x="40" y="190"/>
                  </a:lnTo>
                  <a:lnTo>
                    <a:pt x="40" y="190"/>
                  </a:lnTo>
                  <a:lnTo>
                    <a:pt x="40" y="193"/>
                  </a:lnTo>
                  <a:lnTo>
                    <a:pt x="43" y="193"/>
                  </a:lnTo>
                  <a:lnTo>
                    <a:pt x="43" y="193"/>
                  </a:lnTo>
                  <a:lnTo>
                    <a:pt x="43" y="193"/>
                  </a:lnTo>
                  <a:lnTo>
                    <a:pt x="45" y="196"/>
                  </a:lnTo>
                  <a:lnTo>
                    <a:pt x="51" y="196"/>
                  </a:lnTo>
                  <a:lnTo>
                    <a:pt x="53" y="198"/>
                  </a:lnTo>
                  <a:lnTo>
                    <a:pt x="56" y="198"/>
                  </a:lnTo>
                  <a:lnTo>
                    <a:pt x="56" y="198"/>
                  </a:lnTo>
                  <a:lnTo>
                    <a:pt x="56" y="196"/>
                  </a:lnTo>
                  <a:lnTo>
                    <a:pt x="58" y="198"/>
                  </a:lnTo>
                  <a:lnTo>
                    <a:pt x="56" y="196"/>
                  </a:lnTo>
                  <a:lnTo>
                    <a:pt x="56" y="196"/>
                  </a:lnTo>
                  <a:lnTo>
                    <a:pt x="58" y="196"/>
                  </a:lnTo>
                  <a:lnTo>
                    <a:pt x="61" y="193"/>
                  </a:lnTo>
                  <a:lnTo>
                    <a:pt x="61" y="193"/>
                  </a:lnTo>
                  <a:lnTo>
                    <a:pt x="63" y="193"/>
                  </a:lnTo>
                  <a:lnTo>
                    <a:pt x="66" y="193"/>
                  </a:lnTo>
                  <a:lnTo>
                    <a:pt x="68" y="193"/>
                  </a:lnTo>
                  <a:lnTo>
                    <a:pt x="68" y="190"/>
                  </a:lnTo>
                  <a:lnTo>
                    <a:pt x="74" y="188"/>
                  </a:lnTo>
                  <a:lnTo>
                    <a:pt x="74" y="188"/>
                  </a:lnTo>
                  <a:lnTo>
                    <a:pt x="76" y="188"/>
                  </a:lnTo>
                  <a:lnTo>
                    <a:pt x="76" y="188"/>
                  </a:lnTo>
                  <a:lnTo>
                    <a:pt x="76" y="188"/>
                  </a:lnTo>
                  <a:lnTo>
                    <a:pt x="79" y="185"/>
                  </a:lnTo>
                  <a:lnTo>
                    <a:pt x="79" y="185"/>
                  </a:lnTo>
                  <a:lnTo>
                    <a:pt x="81" y="183"/>
                  </a:lnTo>
                  <a:lnTo>
                    <a:pt x="86" y="183"/>
                  </a:lnTo>
                  <a:lnTo>
                    <a:pt x="89" y="183"/>
                  </a:lnTo>
                  <a:lnTo>
                    <a:pt x="94" y="183"/>
                  </a:lnTo>
                  <a:lnTo>
                    <a:pt x="96" y="183"/>
                  </a:lnTo>
                  <a:lnTo>
                    <a:pt x="96" y="185"/>
                  </a:lnTo>
                  <a:lnTo>
                    <a:pt x="102" y="185"/>
                  </a:lnTo>
                  <a:lnTo>
                    <a:pt x="102" y="185"/>
                  </a:lnTo>
                  <a:lnTo>
                    <a:pt x="104" y="188"/>
                  </a:lnTo>
                  <a:lnTo>
                    <a:pt x="104" y="188"/>
                  </a:lnTo>
                  <a:lnTo>
                    <a:pt x="107" y="188"/>
                  </a:lnTo>
                  <a:lnTo>
                    <a:pt x="109" y="185"/>
                  </a:lnTo>
                  <a:lnTo>
                    <a:pt x="109" y="185"/>
                  </a:lnTo>
                  <a:lnTo>
                    <a:pt x="109" y="185"/>
                  </a:lnTo>
                  <a:lnTo>
                    <a:pt x="109" y="185"/>
                  </a:lnTo>
                  <a:lnTo>
                    <a:pt x="114" y="185"/>
                  </a:lnTo>
                  <a:lnTo>
                    <a:pt x="119" y="185"/>
                  </a:lnTo>
                  <a:lnTo>
                    <a:pt x="119" y="185"/>
                  </a:lnTo>
                  <a:lnTo>
                    <a:pt x="122" y="188"/>
                  </a:lnTo>
                  <a:lnTo>
                    <a:pt x="122" y="190"/>
                  </a:lnTo>
                  <a:lnTo>
                    <a:pt x="124" y="190"/>
                  </a:lnTo>
                  <a:lnTo>
                    <a:pt x="124" y="193"/>
                  </a:lnTo>
                  <a:lnTo>
                    <a:pt x="122" y="193"/>
                  </a:lnTo>
                  <a:lnTo>
                    <a:pt x="122" y="196"/>
                  </a:lnTo>
                  <a:lnTo>
                    <a:pt x="124" y="198"/>
                  </a:lnTo>
                  <a:lnTo>
                    <a:pt x="124" y="203"/>
                  </a:lnTo>
                  <a:lnTo>
                    <a:pt x="124" y="206"/>
                  </a:lnTo>
                  <a:lnTo>
                    <a:pt x="122" y="211"/>
                  </a:lnTo>
                  <a:lnTo>
                    <a:pt x="122" y="216"/>
                  </a:lnTo>
                  <a:lnTo>
                    <a:pt x="124" y="218"/>
                  </a:lnTo>
                  <a:lnTo>
                    <a:pt x="130" y="218"/>
                  </a:lnTo>
                  <a:lnTo>
                    <a:pt x="130" y="221"/>
                  </a:lnTo>
                  <a:lnTo>
                    <a:pt x="130" y="221"/>
                  </a:lnTo>
                  <a:lnTo>
                    <a:pt x="124" y="221"/>
                  </a:lnTo>
                  <a:lnTo>
                    <a:pt x="122" y="221"/>
                  </a:lnTo>
                  <a:lnTo>
                    <a:pt x="119" y="218"/>
                  </a:lnTo>
                  <a:lnTo>
                    <a:pt x="117" y="218"/>
                  </a:lnTo>
                  <a:lnTo>
                    <a:pt x="109" y="221"/>
                  </a:lnTo>
                  <a:lnTo>
                    <a:pt x="104" y="218"/>
                  </a:lnTo>
                  <a:lnTo>
                    <a:pt x="102" y="221"/>
                  </a:lnTo>
                  <a:lnTo>
                    <a:pt x="99" y="221"/>
                  </a:lnTo>
                  <a:lnTo>
                    <a:pt x="96" y="221"/>
                  </a:lnTo>
                  <a:lnTo>
                    <a:pt x="96" y="224"/>
                  </a:lnTo>
                  <a:lnTo>
                    <a:pt x="96" y="226"/>
                  </a:lnTo>
                  <a:lnTo>
                    <a:pt x="96" y="229"/>
                  </a:lnTo>
                  <a:lnTo>
                    <a:pt x="94" y="231"/>
                  </a:lnTo>
                  <a:lnTo>
                    <a:pt x="94" y="231"/>
                  </a:lnTo>
                  <a:lnTo>
                    <a:pt x="94" y="234"/>
                  </a:lnTo>
                  <a:lnTo>
                    <a:pt x="94" y="234"/>
                  </a:lnTo>
                  <a:lnTo>
                    <a:pt x="99" y="236"/>
                  </a:lnTo>
                  <a:lnTo>
                    <a:pt x="99" y="239"/>
                  </a:lnTo>
                  <a:lnTo>
                    <a:pt x="102" y="239"/>
                  </a:lnTo>
                  <a:lnTo>
                    <a:pt x="102" y="239"/>
                  </a:lnTo>
                  <a:lnTo>
                    <a:pt x="104" y="239"/>
                  </a:lnTo>
                  <a:lnTo>
                    <a:pt x="104" y="241"/>
                  </a:lnTo>
                  <a:lnTo>
                    <a:pt x="102" y="241"/>
                  </a:lnTo>
                  <a:lnTo>
                    <a:pt x="102" y="241"/>
                  </a:lnTo>
                  <a:lnTo>
                    <a:pt x="99" y="241"/>
                  </a:lnTo>
                  <a:lnTo>
                    <a:pt x="96" y="241"/>
                  </a:lnTo>
                  <a:lnTo>
                    <a:pt x="96" y="241"/>
                  </a:lnTo>
                  <a:lnTo>
                    <a:pt x="91" y="239"/>
                  </a:lnTo>
                  <a:lnTo>
                    <a:pt x="89" y="239"/>
                  </a:lnTo>
                  <a:lnTo>
                    <a:pt x="84" y="239"/>
                  </a:lnTo>
                  <a:lnTo>
                    <a:pt x="81" y="239"/>
                  </a:lnTo>
                  <a:lnTo>
                    <a:pt x="81" y="241"/>
                  </a:lnTo>
                  <a:lnTo>
                    <a:pt x="81" y="241"/>
                  </a:lnTo>
                  <a:lnTo>
                    <a:pt x="81" y="244"/>
                  </a:lnTo>
                  <a:lnTo>
                    <a:pt x="81" y="244"/>
                  </a:lnTo>
                  <a:lnTo>
                    <a:pt x="84" y="244"/>
                  </a:lnTo>
                  <a:lnTo>
                    <a:pt x="86" y="246"/>
                  </a:lnTo>
                  <a:lnTo>
                    <a:pt x="91" y="246"/>
                  </a:lnTo>
                  <a:lnTo>
                    <a:pt x="91" y="246"/>
                  </a:lnTo>
                  <a:lnTo>
                    <a:pt x="94" y="249"/>
                  </a:lnTo>
                  <a:lnTo>
                    <a:pt x="96" y="254"/>
                  </a:lnTo>
                  <a:lnTo>
                    <a:pt x="99" y="257"/>
                  </a:lnTo>
                  <a:lnTo>
                    <a:pt x="102" y="259"/>
                  </a:lnTo>
                  <a:lnTo>
                    <a:pt x="104" y="262"/>
                  </a:lnTo>
                  <a:lnTo>
                    <a:pt x="104" y="262"/>
                  </a:lnTo>
                  <a:lnTo>
                    <a:pt x="104" y="264"/>
                  </a:lnTo>
                  <a:lnTo>
                    <a:pt x="104" y="264"/>
                  </a:lnTo>
                  <a:lnTo>
                    <a:pt x="107" y="267"/>
                  </a:lnTo>
                  <a:lnTo>
                    <a:pt x="107" y="269"/>
                  </a:lnTo>
                  <a:lnTo>
                    <a:pt x="107" y="269"/>
                  </a:lnTo>
                  <a:lnTo>
                    <a:pt x="107" y="269"/>
                  </a:lnTo>
                  <a:lnTo>
                    <a:pt x="109" y="269"/>
                  </a:lnTo>
                  <a:lnTo>
                    <a:pt x="112" y="272"/>
                  </a:lnTo>
                  <a:lnTo>
                    <a:pt x="114" y="272"/>
                  </a:lnTo>
                  <a:lnTo>
                    <a:pt x="114" y="274"/>
                  </a:lnTo>
                  <a:lnTo>
                    <a:pt x="117" y="274"/>
                  </a:lnTo>
                  <a:lnTo>
                    <a:pt x="117" y="277"/>
                  </a:lnTo>
                  <a:lnTo>
                    <a:pt x="117" y="277"/>
                  </a:lnTo>
                  <a:lnTo>
                    <a:pt x="119" y="277"/>
                  </a:lnTo>
                  <a:lnTo>
                    <a:pt x="119" y="277"/>
                  </a:lnTo>
                  <a:lnTo>
                    <a:pt x="122" y="277"/>
                  </a:lnTo>
                  <a:lnTo>
                    <a:pt x="124" y="277"/>
                  </a:lnTo>
                  <a:lnTo>
                    <a:pt x="124" y="280"/>
                  </a:lnTo>
                  <a:lnTo>
                    <a:pt x="127" y="277"/>
                  </a:lnTo>
                  <a:lnTo>
                    <a:pt x="127" y="277"/>
                  </a:lnTo>
                  <a:lnTo>
                    <a:pt x="130" y="277"/>
                  </a:lnTo>
                  <a:lnTo>
                    <a:pt x="130" y="280"/>
                  </a:lnTo>
                  <a:lnTo>
                    <a:pt x="132" y="280"/>
                  </a:lnTo>
                  <a:lnTo>
                    <a:pt x="132" y="285"/>
                  </a:lnTo>
                  <a:lnTo>
                    <a:pt x="132" y="287"/>
                  </a:lnTo>
                  <a:lnTo>
                    <a:pt x="132" y="290"/>
                  </a:lnTo>
                  <a:lnTo>
                    <a:pt x="132" y="290"/>
                  </a:lnTo>
                  <a:lnTo>
                    <a:pt x="132" y="295"/>
                  </a:lnTo>
                  <a:lnTo>
                    <a:pt x="132" y="295"/>
                  </a:lnTo>
                  <a:lnTo>
                    <a:pt x="132" y="300"/>
                  </a:lnTo>
                  <a:lnTo>
                    <a:pt x="135" y="300"/>
                  </a:lnTo>
                  <a:lnTo>
                    <a:pt x="137" y="297"/>
                  </a:lnTo>
                  <a:lnTo>
                    <a:pt x="140" y="295"/>
                  </a:lnTo>
                  <a:lnTo>
                    <a:pt x="142" y="292"/>
                  </a:lnTo>
                  <a:lnTo>
                    <a:pt x="142" y="292"/>
                  </a:lnTo>
                  <a:lnTo>
                    <a:pt x="145" y="292"/>
                  </a:lnTo>
                  <a:lnTo>
                    <a:pt x="150" y="290"/>
                  </a:lnTo>
                  <a:lnTo>
                    <a:pt x="153" y="290"/>
                  </a:lnTo>
                  <a:lnTo>
                    <a:pt x="158" y="290"/>
                  </a:lnTo>
                  <a:lnTo>
                    <a:pt x="160" y="290"/>
                  </a:lnTo>
                  <a:lnTo>
                    <a:pt x="160" y="290"/>
                  </a:lnTo>
                  <a:lnTo>
                    <a:pt x="163" y="290"/>
                  </a:lnTo>
                  <a:lnTo>
                    <a:pt x="165" y="290"/>
                  </a:lnTo>
                  <a:lnTo>
                    <a:pt x="168" y="292"/>
                  </a:lnTo>
                  <a:lnTo>
                    <a:pt x="173" y="295"/>
                  </a:lnTo>
                  <a:lnTo>
                    <a:pt x="175" y="297"/>
                  </a:lnTo>
                  <a:lnTo>
                    <a:pt x="178" y="297"/>
                  </a:lnTo>
                  <a:lnTo>
                    <a:pt x="178" y="300"/>
                  </a:lnTo>
                  <a:lnTo>
                    <a:pt x="178" y="300"/>
                  </a:lnTo>
                  <a:lnTo>
                    <a:pt x="183" y="305"/>
                  </a:lnTo>
                  <a:lnTo>
                    <a:pt x="183" y="305"/>
                  </a:lnTo>
                  <a:lnTo>
                    <a:pt x="186" y="308"/>
                  </a:lnTo>
                  <a:lnTo>
                    <a:pt x="188" y="310"/>
                  </a:lnTo>
                  <a:lnTo>
                    <a:pt x="188" y="310"/>
                  </a:lnTo>
                  <a:lnTo>
                    <a:pt x="191" y="313"/>
                  </a:lnTo>
                  <a:lnTo>
                    <a:pt x="191" y="313"/>
                  </a:lnTo>
                  <a:lnTo>
                    <a:pt x="191" y="313"/>
                  </a:lnTo>
                  <a:lnTo>
                    <a:pt x="193" y="313"/>
                  </a:lnTo>
                  <a:lnTo>
                    <a:pt x="196" y="313"/>
                  </a:lnTo>
                  <a:lnTo>
                    <a:pt x="198" y="310"/>
                  </a:lnTo>
                  <a:lnTo>
                    <a:pt x="198" y="310"/>
                  </a:lnTo>
                  <a:lnTo>
                    <a:pt x="198" y="305"/>
                  </a:lnTo>
                  <a:lnTo>
                    <a:pt x="198" y="300"/>
                  </a:lnTo>
                  <a:lnTo>
                    <a:pt x="196" y="295"/>
                  </a:lnTo>
                  <a:lnTo>
                    <a:pt x="196" y="290"/>
                  </a:lnTo>
                  <a:lnTo>
                    <a:pt x="193" y="285"/>
                  </a:lnTo>
                  <a:lnTo>
                    <a:pt x="193" y="280"/>
                  </a:lnTo>
                  <a:lnTo>
                    <a:pt x="193" y="274"/>
                  </a:lnTo>
                  <a:lnTo>
                    <a:pt x="191" y="272"/>
                  </a:lnTo>
                  <a:lnTo>
                    <a:pt x="191" y="267"/>
                  </a:lnTo>
                  <a:lnTo>
                    <a:pt x="188" y="262"/>
                  </a:lnTo>
                  <a:lnTo>
                    <a:pt x="188" y="257"/>
                  </a:lnTo>
                  <a:lnTo>
                    <a:pt x="186" y="252"/>
                  </a:lnTo>
                  <a:lnTo>
                    <a:pt x="186" y="246"/>
                  </a:lnTo>
                  <a:lnTo>
                    <a:pt x="186" y="241"/>
                  </a:lnTo>
                  <a:lnTo>
                    <a:pt x="183" y="236"/>
                  </a:lnTo>
                  <a:lnTo>
                    <a:pt x="183" y="231"/>
                  </a:lnTo>
                  <a:lnTo>
                    <a:pt x="186" y="229"/>
                  </a:lnTo>
                  <a:lnTo>
                    <a:pt x="188" y="226"/>
                  </a:lnTo>
                  <a:lnTo>
                    <a:pt x="191" y="226"/>
                  </a:lnTo>
                  <a:lnTo>
                    <a:pt x="193" y="226"/>
                  </a:lnTo>
                  <a:lnTo>
                    <a:pt x="196" y="224"/>
                  </a:lnTo>
                  <a:lnTo>
                    <a:pt x="198" y="224"/>
                  </a:lnTo>
                  <a:lnTo>
                    <a:pt x="203" y="224"/>
                  </a:lnTo>
                  <a:lnTo>
                    <a:pt x="206" y="221"/>
                  </a:lnTo>
                  <a:lnTo>
                    <a:pt x="209" y="221"/>
                  </a:lnTo>
                  <a:lnTo>
                    <a:pt x="211" y="221"/>
                  </a:lnTo>
                  <a:lnTo>
                    <a:pt x="216" y="218"/>
                  </a:lnTo>
                  <a:lnTo>
                    <a:pt x="219" y="218"/>
                  </a:lnTo>
                  <a:lnTo>
                    <a:pt x="221" y="216"/>
                  </a:lnTo>
                  <a:lnTo>
                    <a:pt x="224" y="216"/>
                  </a:lnTo>
                  <a:lnTo>
                    <a:pt x="226" y="216"/>
                  </a:lnTo>
                  <a:lnTo>
                    <a:pt x="229" y="216"/>
                  </a:lnTo>
                  <a:lnTo>
                    <a:pt x="232" y="218"/>
                  </a:lnTo>
                  <a:lnTo>
                    <a:pt x="234" y="221"/>
                  </a:lnTo>
                  <a:lnTo>
                    <a:pt x="237" y="221"/>
                  </a:lnTo>
                  <a:lnTo>
                    <a:pt x="239" y="224"/>
                  </a:lnTo>
                  <a:lnTo>
                    <a:pt x="242" y="224"/>
                  </a:lnTo>
                  <a:lnTo>
                    <a:pt x="244" y="226"/>
                  </a:lnTo>
                  <a:lnTo>
                    <a:pt x="247" y="226"/>
                  </a:lnTo>
                  <a:lnTo>
                    <a:pt x="252" y="231"/>
                  </a:lnTo>
                  <a:lnTo>
                    <a:pt x="254" y="231"/>
                  </a:lnTo>
                  <a:lnTo>
                    <a:pt x="257" y="234"/>
                  </a:lnTo>
                  <a:lnTo>
                    <a:pt x="260" y="234"/>
                  </a:lnTo>
                  <a:lnTo>
                    <a:pt x="262" y="236"/>
                  </a:lnTo>
                  <a:lnTo>
                    <a:pt x="265" y="239"/>
                  </a:lnTo>
                  <a:lnTo>
                    <a:pt x="267" y="239"/>
                  </a:lnTo>
                  <a:lnTo>
                    <a:pt x="270" y="241"/>
                  </a:lnTo>
                  <a:lnTo>
                    <a:pt x="275" y="241"/>
                  </a:lnTo>
                  <a:lnTo>
                    <a:pt x="277" y="244"/>
                  </a:lnTo>
                  <a:lnTo>
                    <a:pt x="277" y="244"/>
                  </a:lnTo>
                  <a:lnTo>
                    <a:pt x="277" y="246"/>
                  </a:lnTo>
                  <a:lnTo>
                    <a:pt x="280" y="249"/>
                  </a:lnTo>
                  <a:lnTo>
                    <a:pt x="282" y="252"/>
                  </a:lnTo>
                  <a:lnTo>
                    <a:pt x="285" y="252"/>
                  </a:lnTo>
                  <a:lnTo>
                    <a:pt x="288" y="254"/>
                  </a:lnTo>
                  <a:lnTo>
                    <a:pt x="290" y="257"/>
                  </a:lnTo>
                  <a:lnTo>
                    <a:pt x="293" y="259"/>
                  </a:lnTo>
                  <a:lnTo>
                    <a:pt x="298" y="262"/>
                  </a:lnTo>
                  <a:lnTo>
                    <a:pt x="298" y="264"/>
                  </a:lnTo>
                  <a:lnTo>
                    <a:pt x="300" y="264"/>
                  </a:lnTo>
                  <a:lnTo>
                    <a:pt x="303" y="262"/>
                  </a:lnTo>
                  <a:lnTo>
                    <a:pt x="308" y="262"/>
                  </a:lnTo>
                  <a:lnTo>
                    <a:pt x="311" y="262"/>
                  </a:lnTo>
                  <a:lnTo>
                    <a:pt x="313" y="262"/>
                  </a:lnTo>
                  <a:lnTo>
                    <a:pt x="318" y="262"/>
                  </a:lnTo>
                  <a:lnTo>
                    <a:pt x="321" y="259"/>
                  </a:lnTo>
                  <a:lnTo>
                    <a:pt x="326" y="262"/>
                  </a:lnTo>
                  <a:lnTo>
                    <a:pt x="328" y="262"/>
                  </a:lnTo>
                  <a:lnTo>
                    <a:pt x="331" y="262"/>
                  </a:lnTo>
                  <a:lnTo>
                    <a:pt x="336" y="262"/>
                  </a:lnTo>
                  <a:lnTo>
                    <a:pt x="339" y="262"/>
                  </a:lnTo>
                  <a:lnTo>
                    <a:pt x="341" y="262"/>
                  </a:lnTo>
                  <a:lnTo>
                    <a:pt x="344" y="262"/>
                  </a:lnTo>
                  <a:lnTo>
                    <a:pt x="344" y="262"/>
                  </a:lnTo>
                  <a:lnTo>
                    <a:pt x="346" y="262"/>
                  </a:lnTo>
                  <a:lnTo>
                    <a:pt x="346" y="259"/>
                  </a:lnTo>
                  <a:lnTo>
                    <a:pt x="349" y="259"/>
                  </a:lnTo>
                  <a:lnTo>
                    <a:pt x="351" y="259"/>
                  </a:lnTo>
                  <a:lnTo>
                    <a:pt x="354" y="259"/>
                  </a:lnTo>
                  <a:lnTo>
                    <a:pt x="354" y="262"/>
                  </a:lnTo>
                  <a:lnTo>
                    <a:pt x="356" y="264"/>
                  </a:lnTo>
                  <a:lnTo>
                    <a:pt x="359" y="264"/>
                  </a:lnTo>
                  <a:lnTo>
                    <a:pt x="361" y="267"/>
                  </a:lnTo>
                  <a:lnTo>
                    <a:pt x="364" y="267"/>
                  </a:lnTo>
                  <a:lnTo>
                    <a:pt x="367" y="269"/>
                  </a:lnTo>
                  <a:lnTo>
                    <a:pt x="369" y="272"/>
                  </a:lnTo>
                  <a:lnTo>
                    <a:pt x="369" y="274"/>
                  </a:lnTo>
                  <a:lnTo>
                    <a:pt x="372" y="277"/>
                  </a:lnTo>
                  <a:lnTo>
                    <a:pt x="374" y="277"/>
                  </a:lnTo>
                  <a:lnTo>
                    <a:pt x="374" y="274"/>
                  </a:lnTo>
                  <a:lnTo>
                    <a:pt x="377" y="274"/>
                  </a:lnTo>
                  <a:lnTo>
                    <a:pt x="377" y="277"/>
                  </a:lnTo>
                  <a:lnTo>
                    <a:pt x="377" y="280"/>
                  </a:lnTo>
                  <a:lnTo>
                    <a:pt x="377" y="282"/>
                  </a:lnTo>
                  <a:lnTo>
                    <a:pt x="379" y="285"/>
                  </a:lnTo>
                  <a:lnTo>
                    <a:pt x="379" y="290"/>
                  </a:lnTo>
                  <a:lnTo>
                    <a:pt x="379" y="292"/>
                  </a:lnTo>
                  <a:lnTo>
                    <a:pt x="379" y="295"/>
                  </a:lnTo>
                  <a:lnTo>
                    <a:pt x="379" y="295"/>
                  </a:lnTo>
                  <a:lnTo>
                    <a:pt x="384" y="297"/>
                  </a:lnTo>
                  <a:lnTo>
                    <a:pt x="387" y="297"/>
                  </a:lnTo>
                  <a:lnTo>
                    <a:pt x="390" y="297"/>
                  </a:lnTo>
                  <a:lnTo>
                    <a:pt x="390" y="297"/>
                  </a:lnTo>
                  <a:lnTo>
                    <a:pt x="392" y="302"/>
                  </a:lnTo>
                  <a:lnTo>
                    <a:pt x="392" y="305"/>
                  </a:lnTo>
                  <a:lnTo>
                    <a:pt x="395" y="308"/>
                  </a:lnTo>
                  <a:lnTo>
                    <a:pt x="395" y="310"/>
                  </a:lnTo>
                  <a:lnTo>
                    <a:pt x="397" y="313"/>
                  </a:lnTo>
                  <a:lnTo>
                    <a:pt x="397" y="315"/>
                  </a:lnTo>
                  <a:lnTo>
                    <a:pt x="400" y="315"/>
                  </a:lnTo>
                  <a:lnTo>
                    <a:pt x="400" y="315"/>
                  </a:lnTo>
                  <a:lnTo>
                    <a:pt x="405" y="315"/>
                  </a:lnTo>
                  <a:lnTo>
                    <a:pt x="407" y="315"/>
                  </a:lnTo>
                  <a:lnTo>
                    <a:pt x="410" y="315"/>
                  </a:lnTo>
                  <a:lnTo>
                    <a:pt x="412" y="315"/>
                  </a:lnTo>
                  <a:lnTo>
                    <a:pt x="418" y="315"/>
                  </a:lnTo>
                  <a:lnTo>
                    <a:pt x="418" y="315"/>
                  </a:lnTo>
                  <a:lnTo>
                    <a:pt x="420" y="315"/>
                  </a:lnTo>
                  <a:lnTo>
                    <a:pt x="420" y="315"/>
                  </a:lnTo>
                  <a:lnTo>
                    <a:pt x="423" y="315"/>
                  </a:lnTo>
                  <a:lnTo>
                    <a:pt x="423" y="315"/>
                  </a:lnTo>
                  <a:lnTo>
                    <a:pt x="423" y="318"/>
                  </a:lnTo>
                  <a:lnTo>
                    <a:pt x="425" y="318"/>
                  </a:lnTo>
                  <a:lnTo>
                    <a:pt x="425" y="320"/>
                  </a:lnTo>
                  <a:lnTo>
                    <a:pt x="425" y="320"/>
                  </a:lnTo>
                  <a:lnTo>
                    <a:pt x="425" y="323"/>
                  </a:lnTo>
                  <a:lnTo>
                    <a:pt x="425" y="323"/>
                  </a:lnTo>
                  <a:lnTo>
                    <a:pt x="428" y="325"/>
                  </a:lnTo>
                  <a:lnTo>
                    <a:pt x="430" y="325"/>
                  </a:lnTo>
                  <a:lnTo>
                    <a:pt x="433" y="328"/>
                  </a:lnTo>
                  <a:lnTo>
                    <a:pt x="433" y="328"/>
                  </a:lnTo>
                  <a:lnTo>
                    <a:pt x="435" y="328"/>
                  </a:lnTo>
                  <a:lnTo>
                    <a:pt x="435" y="325"/>
                  </a:lnTo>
                  <a:lnTo>
                    <a:pt x="435" y="325"/>
                  </a:lnTo>
                  <a:lnTo>
                    <a:pt x="435" y="323"/>
                  </a:lnTo>
                  <a:lnTo>
                    <a:pt x="433" y="323"/>
                  </a:lnTo>
                  <a:lnTo>
                    <a:pt x="433" y="320"/>
                  </a:lnTo>
                  <a:lnTo>
                    <a:pt x="435" y="320"/>
                  </a:lnTo>
                  <a:lnTo>
                    <a:pt x="435" y="318"/>
                  </a:lnTo>
                  <a:lnTo>
                    <a:pt x="438" y="315"/>
                  </a:lnTo>
                  <a:lnTo>
                    <a:pt x="440" y="313"/>
                  </a:lnTo>
                  <a:lnTo>
                    <a:pt x="440" y="313"/>
                  </a:lnTo>
                  <a:lnTo>
                    <a:pt x="440" y="310"/>
                  </a:lnTo>
                  <a:lnTo>
                    <a:pt x="440" y="310"/>
                  </a:lnTo>
                  <a:lnTo>
                    <a:pt x="443" y="308"/>
                  </a:lnTo>
                  <a:lnTo>
                    <a:pt x="446" y="308"/>
                  </a:lnTo>
                  <a:lnTo>
                    <a:pt x="446" y="308"/>
                  </a:lnTo>
                  <a:lnTo>
                    <a:pt x="448" y="305"/>
                  </a:lnTo>
                  <a:lnTo>
                    <a:pt x="448" y="302"/>
                  </a:lnTo>
                  <a:lnTo>
                    <a:pt x="451" y="302"/>
                  </a:lnTo>
                  <a:lnTo>
                    <a:pt x="453" y="302"/>
                  </a:lnTo>
                  <a:lnTo>
                    <a:pt x="456" y="300"/>
                  </a:lnTo>
                  <a:lnTo>
                    <a:pt x="458" y="297"/>
                  </a:lnTo>
                  <a:lnTo>
                    <a:pt x="458" y="295"/>
                  </a:lnTo>
                  <a:lnTo>
                    <a:pt x="461" y="295"/>
                  </a:lnTo>
                  <a:lnTo>
                    <a:pt x="461" y="295"/>
                  </a:lnTo>
                  <a:lnTo>
                    <a:pt x="463" y="295"/>
                  </a:lnTo>
                  <a:lnTo>
                    <a:pt x="463" y="295"/>
                  </a:lnTo>
                  <a:lnTo>
                    <a:pt x="463" y="295"/>
                  </a:lnTo>
                  <a:lnTo>
                    <a:pt x="466" y="295"/>
                  </a:lnTo>
                  <a:lnTo>
                    <a:pt x="466" y="292"/>
                  </a:lnTo>
                  <a:lnTo>
                    <a:pt x="466" y="292"/>
                  </a:lnTo>
                  <a:lnTo>
                    <a:pt x="469" y="292"/>
                  </a:lnTo>
                  <a:lnTo>
                    <a:pt x="469" y="290"/>
                  </a:lnTo>
                  <a:lnTo>
                    <a:pt x="469" y="290"/>
                  </a:lnTo>
                  <a:lnTo>
                    <a:pt x="469" y="290"/>
                  </a:lnTo>
                  <a:lnTo>
                    <a:pt x="469" y="287"/>
                  </a:lnTo>
                  <a:lnTo>
                    <a:pt x="469" y="287"/>
                  </a:lnTo>
                  <a:lnTo>
                    <a:pt x="469" y="285"/>
                  </a:lnTo>
                  <a:lnTo>
                    <a:pt x="471" y="282"/>
                  </a:lnTo>
                  <a:lnTo>
                    <a:pt x="471" y="282"/>
                  </a:lnTo>
                  <a:lnTo>
                    <a:pt x="471" y="280"/>
                  </a:lnTo>
                  <a:lnTo>
                    <a:pt x="474" y="280"/>
                  </a:lnTo>
                  <a:lnTo>
                    <a:pt x="476" y="280"/>
                  </a:lnTo>
                  <a:lnTo>
                    <a:pt x="479" y="280"/>
                  </a:lnTo>
                  <a:lnTo>
                    <a:pt x="481" y="277"/>
                  </a:lnTo>
                  <a:lnTo>
                    <a:pt x="481" y="277"/>
                  </a:lnTo>
                  <a:lnTo>
                    <a:pt x="481" y="277"/>
                  </a:lnTo>
                  <a:lnTo>
                    <a:pt x="489" y="280"/>
                  </a:lnTo>
                  <a:lnTo>
                    <a:pt x="491" y="280"/>
                  </a:lnTo>
                  <a:lnTo>
                    <a:pt x="497" y="282"/>
                  </a:lnTo>
                  <a:lnTo>
                    <a:pt x="499" y="282"/>
                  </a:lnTo>
                  <a:lnTo>
                    <a:pt x="499" y="282"/>
                  </a:lnTo>
                  <a:lnTo>
                    <a:pt x="502" y="282"/>
                  </a:lnTo>
                  <a:lnTo>
                    <a:pt x="502" y="285"/>
                  </a:lnTo>
                  <a:lnTo>
                    <a:pt x="509" y="285"/>
                  </a:lnTo>
                  <a:lnTo>
                    <a:pt x="512" y="285"/>
                  </a:lnTo>
                  <a:lnTo>
                    <a:pt x="512" y="285"/>
                  </a:lnTo>
                  <a:lnTo>
                    <a:pt x="514" y="287"/>
                  </a:lnTo>
                  <a:lnTo>
                    <a:pt x="514" y="287"/>
                  </a:lnTo>
                  <a:lnTo>
                    <a:pt x="512" y="282"/>
                  </a:lnTo>
                  <a:lnTo>
                    <a:pt x="512" y="280"/>
                  </a:lnTo>
                  <a:lnTo>
                    <a:pt x="512" y="274"/>
                  </a:lnTo>
                  <a:lnTo>
                    <a:pt x="512" y="272"/>
                  </a:lnTo>
                  <a:lnTo>
                    <a:pt x="514" y="272"/>
                  </a:lnTo>
                  <a:lnTo>
                    <a:pt x="517" y="272"/>
                  </a:lnTo>
                  <a:lnTo>
                    <a:pt x="519" y="269"/>
                  </a:lnTo>
                  <a:lnTo>
                    <a:pt x="522" y="269"/>
                  </a:lnTo>
                  <a:lnTo>
                    <a:pt x="522" y="269"/>
                  </a:lnTo>
                  <a:lnTo>
                    <a:pt x="522" y="269"/>
                  </a:lnTo>
                  <a:lnTo>
                    <a:pt x="522" y="269"/>
                  </a:lnTo>
                  <a:lnTo>
                    <a:pt x="527" y="269"/>
                  </a:lnTo>
                  <a:lnTo>
                    <a:pt x="532" y="272"/>
                  </a:lnTo>
                  <a:lnTo>
                    <a:pt x="535" y="274"/>
                  </a:lnTo>
                  <a:lnTo>
                    <a:pt x="540" y="277"/>
                  </a:lnTo>
                  <a:lnTo>
                    <a:pt x="548" y="277"/>
                  </a:lnTo>
                  <a:lnTo>
                    <a:pt x="553" y="277"/>
                  </a:lnTo>
                  <a:lnTo>
                    <a:pt x="553" y="277"/>
                  </a:lnTo>
                  <a:lnTo>
                    <a:pt x="553" y="274"/>
                  </a:lnTo>
                  <a:lnTo>
                    <a:pt x="555" y="274"/>
                  </a:lnTo>
                  <a:lnTo>
                    <a:pt x="555" y="277"/>
                  </a:lnTo>
                  <a:lnTo>
                    <a:pt x="560" y="277"/>
                  </a:lnTo>
                  <a:lnTo>
                    <a:pt x="568" y="277"/>
                  </a:lnTo>
                  <a:lnTo>
                    <a:pt x="570" y="274"/>
                  </a:lnTo>
                  <a:lnTo>
                    <a:pt x="576" y="274"/>
                  </a:lnTo>
                  <a:lnTo>
                    <a:pt x="576" y="274"/>
                  </a:lnTo>
                  <a:lnTo>
                    <a:pt x="576" y="274"/>
                  </a:lnTo>
                  <a:lnTo>
                    <a:pt x="581" y="277"/>
                  </a:lnTo>
                  <a:lnTo>
                    <a:pt x="583" y="277"/>
                  </a:lnTo>
                  <a:lnTo>
                    <a:pt x="583" y="277"/>
                  </a:lnTo>
                  <a:lnTo>
                    <a:pt x="586" y="277"/>
                  </a:lnTo>
                  <a:lnTo>
                    <a:pt x="588" y="277"/>
                  </a:lnTo>
                  <a:lnTo>
                    <a:pt x="591" y="277"/>
                  </a:lnTo>
                  <a:lnTo>
                    <a:pt x="596" y="277"/>
                  </a:lnTo>
                  <a:lnTo>
                    <a:pt x="599" y="277"/>
                  </a:lnTo>
                  <a:lnTo>
                    <a:pt x="601" y="277"/>
                  </a:lnTo>
                  <a:lnTo>
                    <a:pt x="604" y="277"/>
                  </a:lnTo>
                  <a:lnTo>
                    <a:pt x="606" y="277"/>
                  </a:lnTo>
                  <a:lnTo>
                    <a:pt x="609" y="280"/>
                  </a:lnTo>
                  <a:lnTo>
                    <a:pt x="611" y="280"/>
                  </a:lnTo>
                  <a:lnTo>
                    <a:pt x="611" y="280"/>
                  </a:lnTo>
                  <a:lnTo>
                    <a:pt x="614" y="280"/>
                  </a:lnTo>
                  <a:lnTo>
                    <a:pt x="616" y="280"/>
                  </a:lnTo>
                  <a:lnTo>
                    <a:pt x="616" y="280"/>
                  </a:lnTo>
                  <a:lnTo>
                    <a:pt x="619" y="282"/>
                  </a:lnTo>
                  <a:lnTo>
                    <a:pt x="619" y="282"/>
                  </a:lnTo>
                  <a:lnTo>
                    <a:pt x="621" y="285"/>
                  </a:lnTo>
                  <a:lnTo>
                    <a:pt x="624" y="285"/>
                  </a:lnTo>
                  <a:lnTo>
                    <a:pt x="624" y="287"/>
                  </a:lnTo>
                  <a:lnTo>
                    <a:pt x="627" y="287"/>
                  </a:lnTo>
                  <a:lnTo>
                    <a:pt x="629" y="287"/>
                  </a:lnTo>
                  <a:lnTo>
                    <a:pt x="632" y="287"/>
                  </a:lnTo>
                  <a:lnTo>
                    <a:pt x="637" y="290"/>
                  </a:lnTo>
                  <a:lnTo>
                    <a:pt x="639" y="292"/>
                  </a:lnTo>
                  <a:lnTo>
                    <a:pt x="639" y="292"/>
                  </a:lnTo>
                  <a:lnTo>
                    <a:pt x="639" y="290"/>
                  </a:lnTo>
                  <a:lnTo>
                    <a:pt x="639" y="290"/>
                  </a:lnTo>
                  <a:lnTo>
                    <a:pt x="637" y="287"/>
                  </a:lnTo>
                  <a:lnTo>
                    <a:pt x="637" y="285"/>
                  </a:lnTo>
                  <a:lnTo>
                    <a:pt x="637" y="282"/>
                  </a:lnTo>
                  <a:lnTo>
                    <a:pt x="634" y="282"/>
                  </a:lnTo>
                  <a:lnTo>
                    <a:pt x="634" y="280"/>
                  </a:lnTo>
                  <a:lnTo>
                    <a:pt x="637" y="280"/>
                  </a:lnTo>
                  <a:lnTo>
                    <a:pt x="639" y="277"/>
                  </a:lnTo>
                  <a:lnTo>
                    <a:pt x="642" y="277"/>
                  </a:lnTo>
                  <a:lnTo>
                    <a:pt x="639" y="277"/>
                  </a:lnTo>
                  <a:lnTo>
                    <a:pt x="639" y="274"/>
                  </a:lnTo>
                  <a:lnTo>
                    <a:pt x="637" y="274"/>
                  </a:lnTo>
                  <a:lnTo>
                    <a:pt x="637" y="274"/>
                  </a:lnTo>
                  <a:lnTo>
                    <a:pt x="637" y="274"/>
                  </a:lnTo>
                  <a:lnTo>
                    <a:pt x="637" y="274"/>
                  </a:lnTo>
                  <a:lnTo>
                    <a:pt x="639" y="272"/>
                  </a:lnTo>
                  <a:lnTo>
                    <a:pt x="639" y="272"/>
                  </a:lnTo>
                  <a:lnTo>
                    <a:pt x="642" y="272"/>
                  </a:lnTo>
                  <a:lnTo>
                    <a:pt x="644" y="272"/>
                  </a:lnTo>
                  <a:lnTo>
                    <a:pt x="642" y="269"/>
                  </a:lnTo>
                  <a:lnTo>
                    <a:pt x="642" y="269"/>
                  </a:lnTo>
                  <a:lnTo>
                    <a:pt x="642" y="269"/>
                  </a:lnTo>
                  <a:lnTo>
                    <a:pt x="639" y="267"/>
                  </a:lnTo>
                  <a:lnTo>
                    <a:pt x="639" y="267"/>
                  </a:lnTo>
                  <a:lnTo>
                    <a:pt x="639" y="264"/>
                  </a:lnTo>
                  <a:lnTo>
                    <a:pt x="637" y="262"/>
                  </a:lnTo>
                  <a:lnTo>
                    <a:pt x="637" y="259"/>
                  </a:lnTo>
                  <a:lnTo>
                    <a:pt x="632" y="254"/>
                  </a:lnTo>
                  <a:lnTo>
                    <a:pt x="632" y="254"/>
                  </a:lnTo>
                  <a:lnTo>
                    <a:pt x="629" y="252"/>
                  </a:lnTo>
                  <a:lnTo>
                    <a:pt x="629" y="249"/>
                  </a:lnTo>
                  <a:lnTo>
                    <a:pt x="629" y="249"/>
                  </a:lnTo>
                  <a:lnTo>
                    <a:pt x="627" y="246"/>
                  </a:lnTo>
                  <a:lnTo>
                    <a:pt x="627" y="244"/>
                  </a:lnTo>
                  <a:lnTo>
                    <a:pt x="627" y="241"/>
                  </a:lnTo>
                  <a:lnTo>
                    <a:pt x="624" y="239"/>
                  </a:lnTo>
                  <a:lnTo>
                    <a:pt x="624" y="239"/>
                  </a:lnTo>
                  <a:lnTo>
                    <a:pt x="624" y="239"/>
                  </a:lnTo>
                  <a:lnTo>
                    <a:pt x="624" y="236"/>
                  </a:lnTo>
                  <a:lnTo>
                    <a:pt x="627" y="236"/>
                  </a:lnTo>
                  <a:lnTo>
                    <a:pt x="627" y="236"/>
                  </a:lnTo>
                  <a:lnTo>
                    <a:pt x="627" y="236"/>
                  </a:lnTo>
                  <a:lnTo>
                    <a:pt x="624" y="236"/>
                  </a:lnTo>
                  <a:lnTo>
                    <a:pt x="621" y="234"/>
                  </a:lnTo>
                  <a:lnTo>
                    <a:pt x="619" y="234"/>
                  </a:lnTo>
                  <a:lnTo>
                    <a:pt x="616" y="234"/>
                  </a:lnTo>
                  <a:lnTo>
                    <a:pt x="616" y="234"/>
                  </a:lnTo>
                  <a:lnTo>
                    <a:pt x="614" y="234"/>
                  </a:lnTo>
                  <a:lnTo>
                    <a:pt x="614" y="234"/>
                  </a:lnTo>
                  <a:lnTo>
                    <a:pt x="614" y="231"/>
                  </a:lnTo>
                  <a:lnTo>
                    <a:pt x="616" y="229"/>
                  </a:lnTo>
                  <a:lnTo>
                    <a:pt x="619" y="229"/>
                  </a:lnTo>
                  <a:lnTo>
                    <a:pt x="621" y="226"/>
                  </a:lnTo>
                  <a:lnTo>
                    <a:pt x="624" y="226"/>
                  </a:lnTo>
                  <a:lnTo>
                    <a:pt x="627" y="226"/>
                  </a:lnTo>
                  <a:lnTo>
                    <a:pt x="629" y="226"/>
                  </a:lnTo>
                  <a:lnTo>
                    <a:pt x="629" y="226"/>
                  </a:lnTo>
                  <a:lnTo>
                    <a:pt x="632" y="224"/>
                  </a:lnTo>
                  <a:lnTo>
                    <a:pt x="637" y="224"/>
                  </a:lnTo>
                  <a:lnTo>
                    <a:pt x="642" y="221"/>
                  </a:lnTo>
                  <a:lnTo>
                    <a:pt x="642" y="221"/>
                  </a:lnTo>
                  <a:lnTo>
                    <a:pt x="644" y="221"/>
                  </a:lnTo>
                  <a:lnTo>
                    <a:pt x="647" y="224"/>
                  </a:lnTo>
                  <a:lnTo>
                    <a:pt x="647" y="224"/>
                  </a:lnTo>
                  <a:lnTo>
                    <a:pt x="649" y="226"/>
                  </a:lnTo>
                  <a:lnTo>
                    <a:pt x="649" y="226"/>
                  </a:lnTo>
                  <a:lnTo>
                    <a:pt x="652" y="224"/>
                  </a:lnTo>
                  <a:lnTo>
                    <a:pt x="655" y="224"/>
                  </a:lnTo>
                  <a:lnTo>
                    <a:pt x="655" y="224"/>
                  </a:lnTo>
                  <a:lnTo>
                    <a:pt x="657" y="224"/>
                  </a:lnTo>
                  <a:lnTo>
                    <a:pt x="660" y="226"/>
                  </a:lnTo>
                  <a:lnTo>
                    <a:pt x="660" y="226"/>
                  </a:lnTo>
                  <a:lnTo>
                    <a:pt x="660" y="226"/>
                  </a:lnTo>
                  <a:lnTo>
                    <a:pt x="660" y="224"/>
                  </a:lnTo>
                  <a:lnTo>
                    <a:pt x="660" y="221"/>
                  </a:lnTo>
                  <a:lnTo>
                    <a:pt x="660" y="221"/>
                  </a:lnTo>
                  <a:lnTo>
                    <a:pt x="660" y="218"/>
                  </a:lnTo>
                  <a:lnTo>
                    <a:pt x="657" y="218"/>
                  </a:lnTo>
                  <a:lnTo>
                    <a:pt x="655" y="218"/>
                  </a:lnTo>
                  <a:lnTo>
                    <a:pt x="652" y="216"/>
                  </a:lnTo>
                  <a:lnTo>
                    <a:pt x="652" y="216"/>
                  </a:lnTo>
                  <a:lnTo>
                    <a:pt x="652" y="216"/>
                  </a:lnTo>
                  <a:lnTo>
                    <a:pt x="652" y="213"/>
                  </a:lnTo>
                  <a:lnTo>
                    <a:pt x="652" y="211"/>
                  </a:lnTo>
                  <a:lnTo>
                    <a:pt x="652" y="206"/>
                  </a:lnTo>
                  <a:lnTo>
                    <a:pt x="652" y="203"/>
                  </a:lnTo>
                  <a:lnTo>
                    <a:pt x="652" y="198"/>
                  </a:lnTo>
                  <a:lnTo>
                    <a:pt x="652" y="193"/>
                  </a:lnTo>
                  <a:lnTo>
                    <a:pt x="655" y="185"/>
                  </a:lnTo>
                  <a:lnTo>
                    <a:pt x="652" y="183"/>
                  </a:lnTo>
                  <a:lnTo>
                    <a:pt x="652" y="180"/>
                  </a:lnTo>
                  <a:lnTo>
                    <a:pt x="652" y="180"/>
                  </a:lnTo>
                  <a:lnTo>
                    <a:pt x="655" y="180"/>
                  </a:lnTo>
                  <a:lnTo>
                    <a:pt x="655" y="180"/>
                  </a:lnTo>
                  <a:lnTo>
                    <a:pt x="660" y="183"/>
                  </a:lnTo>
                  <a:lnTo>
                    <a:pt x="665" y="183"/>
                  </a:lnTo>
                  <a:lnTo>
                    <a:pt x="665" y="183"/>
                  </a:lnTo>
                  <a:lnTo>
                    <a:pt x="667" y="185"/>
                  </a:lnTo>
                  <a:lnTo>
                    <a:pt x="672" y="185"/>
                  </a:lnTo>
                  <a:lnTo>
                    <a:pt x="672" y="185"/>
                  </a:lnTo>
                  <a:lnTo>
                    <a:pt x="675" y="185"/>
                  </a:lnTo>
                  <a:lnTo>
                    <a:pt x="678" y="185"/>
                  </a:lnTo>
                  <a:lnTo>
                    <a:pt x="680" y="185"/>
                  </a:lnTo>
                  <a:lnTo>
                    <a:pt x="683" y="185"/>
                  </a:lnTo>
                  <a:lnTo>
                    <a:pt x="683" y="185"/>
                  </a:lnTo>
                  <a:lnTo>
                    <a:pt x="685" y="185"/>
                  </a:lnTo>
                  <a:lnTo>
                    <a:pt x="685" y="188"/>
                  </a:lnTo>
                  <a:lnTo>
                    <a:pt x="688" y="188"/>
                  </a:lnTo>
                  <a:lnTo>
                    <a:pt x="688" y="188"/>
                  </a:lnTo>
                  <a:lnTo>
                    <a:pt x="690" y="185"/>
                  </a:lnTo>
                  <a:lnTo>
                    <a:pt x="690" y="185"/>
                  </a:lnTo>
                  <a:lnTo>
                    <a:pt x="693" y="183"/>
                  </a:lnTo>
                  <a:lnTo>
                    <a:pt x="695" y="183"/>
                  </a:lnTo>
                  <a:lnTo>
                    <a:pt x="698" y="183"/>
                  </a:lnTo>
                  <a:lnTo>
                    <a:pt x="698" y="183"/>
                  </a:lnTo>
                  <a:lnTo>
                    <a:pt x="698" y="180"/>
                  </a:lnTo>
                  <a:lnTo>
                    <a:pt x="698" y="178"/>
                  </a:lnTo>
                  <a:lnTo>
                    <a:pt x="698" y="178"/>
                  </a:lnTo>
                  <a:lnTo>
                    <a:pt x="698" y="175"/>
                  </a:lnTo>
                  <a:lnTo>
                    <a:pt x="695" y="173"/>
                  </a:lnTo>
                  <a:lnTo>
                    <a:pt x="695" y="173"/>
                  </a:lnTo>
                  <a:lnTo>
                    <a:pt x="693" y="168"/>
                  </a:lnTo>
                  <a:lnTo>
                    <a:pt x="690" y="162"/>
                  </a:lnTo>
                  <a:lnTo>
                    <a:pt x="690" y="160"/>
                  </a:lnTo>
                  <a:lnTo>
                    <a:pt x="690" y="157"/>
                  </a:lnTo>
                  <a:lnTo>
                    <a:pt x="690" y="157"/>
                  </a:lnTo>
                  <a:lnTo>
                    <a:pt x="690" y="155"/>
                  </a:lnTo>
                  <a:lnTo>
                    <a:pt x="690" y="152"/>
                  </a:lnTo>
                  <a:lnTo>
                    <a:pt x="693" y="152"/>
                  </a:lnTo>
                  <a:lnTo>
                    <a:pt x="695" y="152"/>
                  </a:lnTo>
                  <a:lnTo>
                    <a:pt x="698" y="152"/>
                  </a:lnTo>
                  <a:lnTo>
                    <a:pt x="700" y="152"/>
                  </a:lnTo>
                  <a:lnTo>
                    <a:pt x="703" y="150"/>
                  </a:lnTo>
                  <a:lnTo>
                    <a:pt x="703" y="150"/>
                  </a:lnTo>
                  <a:lnTo>
                    <a:pt x="706" y="147"/>
                  </a:lnTo>
                  <a:lnTo>
                    <a:pt x="706" y="147"/>
                  </a:lnTo>
                  <a:lnTo>
                    <a:pt x="703" y="142"/>
                  </a:lnTo>
                  <a:lnTo>
                    <a:pt x="703" y="142"/>
                  </a:lnTo>
                  <a:lnTo>
                    <a:pt x="703" y="140"/>
                  </a:lnTo>
                  <a:lnTo>
                    <a:pt x="703" y="140"/>
                  </a:lnTo>
                  <a:lnTo>
                    <a:pt x="706" y="137"/>
                  </a:lnTo>
                  <a:lnTo>
                    <a:pt x="706" y="137"/>
                  </a:lnTo>
                  <a:lnTo>
                    <a:pt x="708" y="137"/>
                  </a:lnTo>
                  <a:lnTo>
                    <a:pt x="711" y="137"/>
                  </a:lnTo>
                  <a:lnTo>
                    <a:pt x="713" y="137"/>
                  </a:lnTo>
                  <a:lnTo>
                    <a:pt x="711" y="137"/>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282" name="Freeform 1901">
              <a:extLst>
                <a:ext uri="{FF2B5EF4-FFF2-40B4-BE49-F238E27FC236}">
                  <a16:creationId xmlns:a16="http://schemas.microsoft.com/office/drawing/2014/main" id="{C3BFBA2D-6A9E-A849-8DC0-14EEDC6A3449}"/>
                </a:ext>
              </a:extLst>
            </p:cNvPr>
            <p:cNvSpPr>
              <a:spLocks noEditPoints="1"/>
            </p:cNvSpPr>
            <p:nvPr/>
          </p:nvSpPr>
          <p:spPr bwMode="auto">
            <a:xfrm>
              <a:off x="6720900" y="3596662"/>
              <a:ext cx="263354" cy="379491"/>
            </a:xfrm>
            <a:custGeom>
              <a:avLst/>
              <a:gdLst>
                <a:gd name="T0" fmla="*/ 143 w 161"/>
                <a:gd name="T1" fmla="*/ 173 h 232"/>
                <a:gd name="T2" fmla="*/ 146 w 161"/>
                <a:gd name="T3" fmla="*/ 171 h 232"/>
                <a:gd name="T4" fmla="*/ 151 w 161"/>
                <a:gd name="T5" fmla="*/ 36 h 232"/>
                <a:gd name="T6" fmla="*/ 146 w 161"/>
                <a:gd name="T7" fmla="*/ 33 h 232"/>
                <a:gd name="T8" fmla="*/ 133 w 161"/>
                <a:gd name="T9" fmla="*/ 31 h 232"/>
                <a:gd name="T10" fmla="*/ 120 w 161"/>
                <a:gd name="T11" fmla="*/ 41 h 232"/>
                <a:gd name="T12" fmla="*/ 107 w 161"/>
                <a:gd name="T13" fmla="*/ 46 h 232"/>
                <a:gd name="T14" fmla="*/ 95 w 161"/>
                <a:gd name="T15" fmla="*/ 44 h 232"/>
                <a:gd name="T16" fmla="*/ 82 w 161"/>
                <a:gd name="T17" fmla="*/ 41 h 232"/>
                <a:gd name="T18" fmla="*/ 67 w 161"/>
                <a:gd name="T19" fmla="*/ 28 h 232"/>
                <a:gd name="T20" fmla="*/ 54 w 161"/>
                <a:gd name="T21" fmla="*/ 23 h 232"/>
                <a:gd name="T22" fmla="*/ 44 w 161"/>
                <a:gd name="T23" fmla="*/ 23 h 232"/>
                <a:gd name="T24" fmla="*/ 39 w 161"/>
                <a:gd name="T25" fmla="*/ 13 h 232"/>
                <a:gd name="T26" fmla="*/ 39 w 161"/>
                <a:gd name="T27" fmla="*/ 5 h 232"/>
                <a:gd name="T28" fmla="*/ 31 w 161"/>
                <a:gd name="T29" fmla="*/ 3 h 232"/>
                <a:gd name="T30" fmla="*/ 28 w 161"/>
                <a:gd name="T31" fmla="*/ 0 h 232"/>
                <a:gd name="T32" fmla="*/ 16 w 161"/>
                <a:gd name="T33" fmla="*/ 13 h 232"/>
                <a:gd name="T34" fmla="*/ 5 w 161"/>
                <a:gd name="T35" fmla="*/ 36 h 232"/>
                <a:gd name="T36" fmla="*/ 8 w 161"/>
                <a:gd name="T37" fmla="*/ 41 h 232"/>
                <a:gd name="T38" fmla="*/ 11 w 161"/>
                <a:gd name="T39" fmla="*/ 49 h 232"/>
                <a:gd name="T40" fmla="*/ 16 w 161"/>
                <a:gd name="T41" fmla="*/ 59 h 232"/>
                <a:gd name="T42" fmla="*/ 21 w 161"/>
                <a:gd name="T43" fmla="*/ 66 h 232"/>
                <a:gd name="T44" fmla="*/ 21 w 161"/>
                <a:gd name="T45" fmla="*/ 69 h 232"/>
                <a:gd name="T46" fmla="*/ 23 w 161"/>
                <a:gd name="T47" fmla="*/ 84 h 232"/>
                <a:gd name="T48" fmla="*/ 21 w 161"/>
                <a:gd name="T49" fmla="*/ 89 h 232"/>
                <a:gd name="T50" fmla="*/ 18 w 161"/>
                <a:gd name="T51" fmla="*/ 97 h 232"/>
                <a:gd name="T52" fmla="*/ 16 w 161"/>
                <a:gd name="T53" fmla="*/ 97 h 232"/>
                <a:gd name="T54" fmla="*/ 11 w 161"/>
                <a:gd name="T55" fmla="*/ 105 h 232"/>
                <a:gd name="T56" fmla="*/ 5 w 161"/>
                <a:gd name="T57" fmla="*/ 115 h 232"/>
                <a:gd name="T58" fmla="*/ 3 w 161"/>
                <a:gd name="T59" fmla="*/ 125 h 232"/>
                <a:gd name="T60" fmla="*/ 3 w 161"/>
                <a:gd name="T61" fmla="*/ 148 h 232"/>
                <a:gd name="T62" fmla="*/ 16 w 161"/>
                <a:gd name="T63" fmla="*/ 156 h 232"/>
                <a:gd name="T64" fmla="*/ 31 w 161"/>
                <a:gd name="T65" fmla="*/ 166 h 232"/>
                <a:gd name="T66" fmla="*/ 49 w 161"/>
                <a:gd name="T67" fmla="*/ 176 h 232"/>
                <a:gd name="T68" fmla="*/ 67 w 161"/>
                <a:gd name="T69" fmla="*/ 189 h 232"/>
                <a:gd name="T70" fmla="*/ 77 w 161"/>
                <a:gd name="T71" fmla="*/ 194 h 232"/>
                <a:gd name="T72" fmla="*/ 77 w 161"/>
                <a:gd name="T73" fmla="*/ 201 h 232"/>
                <a:gd name="T74" fmla="*/ 77 w 161"/>
                <a:gd name="T75" fmla="*/ 204 h 232"/>
                <a:gd name="T76" fmla="*/ 79 w 161"/>
                <a:gd name="T77" fmla="*/ 209 h 232"/>
                <a:gd name="T78" fmla="*/ 92 w 161"/>
                <a:gd name="T79" fmla="*/ 219 h 232"/>
                <a:gd name="T80" fmla="*/ 105 w 161"/>
                <a:gd name="T81" fmla="*/ 229 h 232"/>
                <a:gd name="T82" fmla="*/ 110 w 161"/>
                <a:gd name="T83" fmla="*/ 229 h 232"/>
                <a:gd name="T84" fmla="*/ 118 w 161"/>
                <a:gd name="T85" fmla="*/ 219 h 232"/>
                <a:gd name="T86" fmla="*/ 118 w 161"/>
                <a:gd name="T87" fmla="*/ 214 h 232"/>
                <a:gd name="T88" fmla="*/ 123 w 161"/>
                <a:gd name="T89" fmla="*/ 204 h 232"/>
                <a:gd name="T90" fmla="*/ 128 w 161"/>
                <a:gd name="T91" fmla="*/ 194 h 232"/>
                <a:gd name="T92" fmla="*/ 133 w 161"/>
                <a:gd name="T93" fmla="*/ 184 h 232"/>
                <a:gd name="T94" fmla="*/ 143 w 161"/>
                <a:gd name="T95" fmla="*/ 176 h 232"/>
                <a:gd name="T96" fmla="*/ 143 w 161"/>
                <a:gd name="T97" fmla="*/ 171 h 232"/>
                <a:gd name="T98" fmla="*/ 146 w 161"/>
                <a:gd name="T99" fmla="*/ 171 h 232"/>
                <a:gd name="T100" fmla="*/ 156 w 161"/>
                <a:gd name="T101" fmla="*/ 163 h 232"/>
                <a:gd name="T102" fmla="*/ 148 w 161"/>
                <a:gd name="T103" fmla="*/ 153 h 232"/>
                <a:gd name="T104" fmla="*/ 143 w 161"/>
                <a:gd name="T105" fmla="*/ 133 h 232"/>
                <a:gd name="T106" fmla="*/ 143 w 161"/>
                <a:gd name="T107" fmla="*/ 64 h 232"/>
                <a:gd name="T108" fmla="*/ 151 w 161"/>
                <a:gd name="T109" fmla="*/ 51 h 232"/>
                <a:gd name="T110" fmla="*/ 158 w 161"/>
                <a:gd name="T111" fmla="*/ 3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1" h="232">
                  <a:moveTo>
                    <a:pt x="146" y="171"/>
                  </a:moveTo>
                  <a:lnTo>
                    <a:pt x="143" y="173"/>
                  </a:lnTo>
                  <a:lnTo>
                    <a:pt x="143" y="173"/>
                  </a:lnTo>
                  <a:lnTo>
                    <a:pt x="143" y="173"/>
                  </a:lnTo>
                  <a:lnTo>
                    <a:pt x="146" y="173"/>
                  </a:lnTo>
                  <a:lnTo>
                    <a:pt x="146" y="173"/>
                  </a:lnTo>
                  <a:lnTo>
                    <a:pt x="146" y="173"/>
                  </a:lnTo>
                  <a:lnTo>
                    <a:pt x="146" y="171"/>
                  </a:lnTo>
                  <a:lnTo>
                    <a:pt x="146" y="171"/>
                  </a:lnTo>
                  <a:close/>
                  <a:moveTo>
                    <a:pt x="158" y="36"/>
                  </a:moveTo>
                  <a:lnTo>
                    <a:pt x="153" y="36"/>
                  </a:lnTo>
                  <a:lnTo>
                    <a:pt x="151" y="36"/>
                  </a:lnTo>
                  <a:lnTo>
                    <a:pt x="151" y="36"/>
                  </a:lnTo>
                  <a:lnTo>
                    <a:pt x="148" y="36"/>
                  </a:lnTo>
                  <a:lnTo>
                    <a:pt x="146" y="36"/>
                  </a:lnTo>
                  <a:lnTo>
                    <a:pt x="146" y="33"/>
                  </a:lnTo>
                  <a:lnTo>
                    <a:pt x="143" y="33"/>
                  </a:lnTo>
                  <a:lnTo>
                    <a:pt x="141" y="31"/>
                  </a:lnTo>
                  <a:lnTo>
                    <a:pt x="138" y="28"/>
                  </a:lnTo>
                  <a:lnTo>
                    <a:pt x="133" y="31"/>
                  </a:lnTo>
                  <a:lnTo>
                    <a:pt x="130" y="33"/>
                  </a:lnTo>
                  <a:lnTo>
                    <a:pt x="123" y="36"/>
                  </a:lnTo>
                  <a:lnTo>
                    <a:pt x="120" y="38"/>
                  </a:lnTo>
                  <a:lnTo>
                    <a:pt x="120" y="41"/>
                  </a:lnTo>
                  <a:lnTo>
                    <a:pt x="118" y="44"/>
                  </a:lnTo>
                  <a:lnTo>
                    <a:pt x="115" y="46"/>
                  </a:lnTo>
                  <a:lnTo>
                    <a:pt x="113" y="46"/>
                  </a:lnTo>
                  <a:lnTo>
                    <a:pt x="107" y="46"/>
                  </a:lnTo>
                  <a:lnTo>
                    <a:pt x="105" y="46"/>
                  </a:lnTo>
                  <a:lnTo>
                    <a:pt x="102" y="46"/>
                  </a:lnTo>
                  <a:lnTo>
                    <a:pt x="97" y="44"/>
                  </a:lnTo>
                  <a:lnTo>
                    <a:pt x="95" y="44"/>
                  </a:lnTo>
                  <a:lnTo>
                    <a:pt x="92" y="44"/>
                  </a:lnTo>
                  <a:lnTo>
                    <a:pt x="87" y="44"/>
                  </a:lnTo>
                  <a:lnTo>
                    <a:pt x="84" y="41"/>
                  </a:lnTo>
                  <a:lnTo>
                    <a:pt x="82" y="41"/>
                  </a:lnTo>
                  <a:lnTo>
                    <a:pt x="79" y="38"/>
                  </a:lnTo>
                  <a:lnTo>
                    <a:pt x="74" y="33"/>
                  </a:lnTo>
                  <a:lnTo>
                    <a:pt x="72" y="31"/>
                  </a:lnTo>
                  <a:lnTo>
                    <a:pt x="67" y="28"/>
                  </a:lnTo>
                  <a:lnTo>
                    <a:pt x="62" y="26"/>
                  </a:lnTo>
                  <a:lnTo>
                    <a:pt x="59" y="26"/>
                  </a:lnTo>
                  <a:lnTo>
                    <a:pt x="59" y="23"/>
                  </a:lnTo>
                  <a:lnTo>
                    <a:pt x="54" y="23"/>
                  </a:lnTo>
                  <a:lnTo>
                    <a:pt x="49" y="23"/>
                  </a:lnTo>
                  <a:lnTo>
                    <a:pt x="44" y="23"/>
                  </a:lnTo>
                  <a:lnTo>
                    <a:pt x="44" y="23"/>
                  </a:lnTo>
                  <a:lnTo>
                    <a:pt x="44" y="23"/>
                  </a:lnTo>
                  <a:lnTo>
                    <a:pt x="41" y="21"/>
                  </a:lnTo>
                  <a:lnTo>
                    <a:pt x="39" y="18"/>
                  </a:lnTo>
                  <a:lnTo>
                    <a:pt x="39" y="16"/>
                  </a:lnTo>
                  <a:lnTo>
                    <a:pt x="39" y="13"/>
                  </a:lnTo>
                  <a:lnTo>
                    <a:pt x="39" y="8"/>
                  </a:lnTo>
                  <a:lnTo>
                    <a:pt x="39" y="8"/>
                  </a:lnTo>
                  <a:lnTo>
                    <a:pt x="39" y="8"/>
                  </a:lnTo>
                  <a:lnTo>
                    <a:pt x="39" y="5"/>
                  </a:lnTo>
                  <a:lnTo>
                    <a:pt x="39" y="3"/>
                  </a:lnTo>
                  <a:lnTo>
                    <a:pt x="31" y="3"/>
                  </a:lnTo>
                  <a:lnTo>
                    <a:pt x="31" y="3"/>
                  </a:lnTo>
                  <a:lnTo>
                    <a:pt x="31" y="3"/>
                  </a:lnTo>
                  <a:lnTo>
                    <a:pt x="28" y="3"/>
                  </a:lnTo>
                  <a:lnTo>
                    <a:pt x="28" y="3"/>
                  </a:lnTo>
                  <a:lnTo>
                    <a:pt x="28" y="3"/>
                  </a:lnTo>
                  <a:lnTo>
                    <a:pt x="28" y="0"/>
                  </a:lnTo>
                  <a:lnTo>
                    <a:pt x="28" y="0"/>
                  </a:lnTo>
                  <a:lnTo>
                    <a:pt x="23" y="5"/>
                  </a:lnTo>
                  <a:lnTo>
                    <a:pt x="21" y="8"/>
                  </a:lnTo>
                  <a:lnTo>
                    <a:pt x="16" y="13"/>
                  </a:lnTo>
                  <a:lnTo>
                    <a:pt x="11" y="21"/>
                  </a:lnTo>
                  <a:lnTo>
                    <a:pt x="5" y="26"/>
                  </a:lnTo>
                  <a:lnTo>
                    <a:pt x="3" y="28"/>
                  </a:lnTo>
                  <a:lnTo>
                    <a:pt x="5" y="36"/>
                  </a:lnTo>
                  <a:lnTo>
                    <a:pt x="5" y="36"/>
                  </a:lnTo>
                  <a:lnTo>
                    <a:pt x="5" y="38"/>
                  </a:lnTo>
                  <a:lnTo>
                    <a:pt x="5" y="38"/>
                  </a:lnTo>
                  <a:lnTo>
                    <a:pt x="8" y="41"/>
                  </a:lnTo>
                  <a:lnTo>
                    <a:pt x="11" y="41"/>
                  </a:lnTo>
                  <a:lnTo>
                    <a:pt x="11" y="41"/>
                  </a:lnTo>
                  <a:lnTo>
                    <a:pt x="13" y="44"/>
                  </a:lnTo>
                  <a:lnTo>
                    <a:pt x="11" y="49"/>
                  </a:lnTo>
                  <a:lnTo>
                    <a:pt x="11" y="49"/>
                  </a:lnTo>
                  <a:lnTo>
                    <a:pt x="13" y="54"/>
                  </a:lnTo>
                  <a:lnTo>
                    <a:pt x="13" y="54"/>
                  </a:lnTo>
                  <a:lnTo>
                    <a:pt x="16" y="59"/>
                  </a:lnTo>
                  <a:lnTo>
                    <a:pt x="18" y="61"/>
                  </a:lnTo>
                  <a:lnTo>
                    <a:pt x="18" y="61"/>
                  </a:lnTo>
                  <a:lnTo>
                    <a:pt x="18" y="64"/>
                  </a:lnTo>
                  <a:lnTo>
                    <a:pt x="21" y="66"/>
                  </a:lnTo>
                  <a:lnTo>
                    <a:pt x="21" y="66"/>
                  </a:lnTo>
                  <a:lnTo>
                    <a:pt x="21" y="66"/>
                  </a:lnTo>
                  <a:lnTo>
                    <a:pt x="21" y="69"/>
                  </a:lnTo>
                  <a:lnTo>
                    <a:pt x="21" y="69"/>
                  </a:lnTo>
                  <a:lnTo>
                    <a:pt x="21" y="74"/>
                  </a:lnTo>
                  <a:lnTo>
                    <a:pt x="23" y="79"/>
                  </a:lnTo>
                  <a:lnTo>
                    <a:pt x="23" y="82"/>
                  </a:lnTo>
                  <a:lnTo>
                    <a:pt x="23" y="84"/>
                  </a:lnTo>
                  <a:lnTo>
                    <a:pt x="23" y="87"/>
                  </a:lnTo>
                  <a:lnTo>
                    <a:pt x="23" y="87"/>
                  </a:lnTo>
                  <a:lnTo>
                    <a:pt x="23" y="89"/>
                  </a:lnTo>
                  <a:lnTo>
                    <a:pt x="21" y="89"/>
                  </a:lnTo>
                  <a:lnTo>
                    <a:pt x="21" y="92"/>
                  </a:lnTo>
                  <a:lnTo>
                    <a:pt x="21" y="92"/>
                  </a:lnTo>
                  <a:lnTo>
                    <a:pt x="18" y="94"/>
                  </a:lnTo>
                  <a:lnTo>
                    <a:pt x="18" y="97"/>
                  </a:lnTo>
                  <a:lnTo>
                    <a:pt x="18" y="97"/>
                  </a:lnTo>
                  <a:lnTo>
                    <a:pt x="18" y="97"/>
                  </a:lnTo>
                  <a:lnTo>
                    <a:pt x="18" y="97"/>
                  </a:lnTo>
                  <a:lnTo>
                    <a:pt x="16" y="97"/>
                  </a:lnTo>
                  <a:lnTo>
                    <a:pt x="16" y="100"/>
                  </a:lnTo>
                  <a:lnTo>
                    <a:pt x="13" y="100"/>
                  </a:lnTo>
                  <a:lnTo>
                    <a:pt x="13" y="102"/>
                  </a:lnTo>
                  <a:lnTo>
                    <a:pt x="11" y="105"/>
                  </a:lnTo>
                  <a:lnTo>
                    <a:pt x="8" y="110"/>
                  </a:lnTo>
                  <a:lnTo>
                    <a:pt x="8" y="110"/>
                  </a:lnTo>
                  <a:lnTo>
                    <a:pt x="5" y="112"/>
                  </a:lnTo>
                  <a:lnTo>
                    <a:pt x="5" y="115"/>
                  </a:lnTo>
                  <a:lnTo>
                    <a:pt x="5" y="117"/>
                  </a:lnTo>
                  <a:lnTo>
                    <a:pt x="3" y="117"/>
                  </a:lnTo>
                  <a:lnTo>
                    <a:pt x="3" y="120"/>
                  </a:lnTo>
                  <a:lnTo>
                    <a:pt x="3" y="125"/>
                  </a:lnTo>
                  <a:lnTo>
                    <a:pt x="3" y="135"/>
                  </a:lnTo>
                  <a:lnTo>
                    <a:pt x="0" y="143"/>
                  </a:lnTo>
                  <a:lnTo>
                    <a:pt x="0" y="148"/>
                  </a:lnTo>
                  <a:lnTo>
                    <a:pt x="3" y="148"/>
                  </a:lnTo>
                  <a:lnTo>
                    <a:pt x="5" y="148"/>
                  </a:lnTo>
                  <a:lnTo>
                    <a:pt x="5" y="150"/>
                  </a:lnTo>
                  <a:lnTo>
                    <a:pt x="11" y="153"/>
                  </a:lnTo>
                  <a:lnTo>
                    <a:pt x="16" y="156"/>
                  </a:lnTo>
                  <a:lnTo>
                    <a:pt x="18" y="158"/>
                  </a:lnTo>
                  <a:lnTo>
                    <a:pt x="23" y="161"/>
                  </a:lnTo>
                  <a:lnTo>
                    <a:pt x="28" y="163"/>
                  </a:lnTo>
                  <a:lnTo>
                    <a:pt x="31" y="166"/>
                  </a:lnTo>
                  <a:lnTo>
                    <a:pt x="36" y="168"/>
                  </a:lnTo>
                  <a:lnTo>
                    <a:pt x="41" y="171"/>
                  </a:lnTo>
                  <a:lnTo>
                    <a:pt x="44" y="173"/>
                  </a:lnTo>
                  <a:lnTo>
                    <a:pt x="49" y="176"/>
                  </a:lnTo>
                  <a:lnTo>
                    <a:pt x="54" y="178"/>
                  </a:lnTo>
                  <a:lnTo>
                    <a:pt x="56" y="181"/>
                  </a:lnTo>
                  <a:lnTo>
                    <a:pt x="62" y="186"/>
                  </a:lnTo>
                  <a:lnTo>
                    <a:pt x="67" y="189"/>
                  </a:lnTo>
                  <a:lnTo>
                    <a:pt x="69" y="191"/>
                  </a:lnTo>
                  <a:lnTo>
                    <a:pt x="74" y="194"/>
                  </a:lnTo>
                  <a:lnTo>
                    <a:pt x="77" y="194"/>
                  </a:lnTo>
                  <a:lnTo>
                    <a:pt x="77" y="194"/>
                  </a:lnTo>
                  <a:lnTo>
                    <a:pt x="77" y="196"/>
                  </a:lnTo>
                  <a:lnTo>
                    <a:pt x="77" y="199"/>
                  </a:lnTo>
                  <a:lnTo>
                    <a:pt x="77" y="201"/>
                  </a:lnTo>
                  <a:lnTo>
                    <a:pt x="77" y="201"/>
                  </a:lnTo>
                  <a:lnTo>
                    <a:pt x="74" y="204"/>
                  </a:lnTo>
                  <a:lnTo>
                    <a:pt x="74" y="204"/>
                  </a:lnTo>
                  <a:lnTo>
                    <a:pt x="77" y="204"/>
                  </a:lnTo>
                  <a:lnTo>
                    <a:pt x="77" y="204"/>
                  </a:lnTo>
                  <a:lnTo>
                    <a:pt x="77" y="206"/>
                  </a:lnTo>
                  <a:lnTo>
                    <a:pt x="77" y="206"/>
                  </a:lnTo>
                  <a:lnTo>
                    <a:pt x="79" y="206"/>
                  </a:lnTo>
                  <a:lnTo>
                    <a:pt x="79" y="209"/>
                  </a:lnTo>
                  <a:lnTo>
                    <a:pt x="82" y="209"/>
                  </a:lnTo>
                  <a:lnTo>
                    <a:pt x="84" y="212"/>
                  </a:lnTo>
                  <a:lnTo>
                    <a:pt x="90" y="217"/>
                  </a:lnTo>
                  <a:lnTo>
                    <a:pt x="92" y="219"/>
                  </a:lnTo>
                  <a:lnTo>
                    <a:pt x="97" y="222"/>
                  </a:lnTo>
                  <a:lnTo>
                    <a:pt x="100" y="224"/>
                  </a:lnTo>
                  <a:lnTo>
                    <a:pt x="102" y="227"/>
                  </a:lnTo>
                  <a:lnTo>
                    <a:pt x="105" y="229"/>
                  </a:lnTo>
                  <a:lnTo>
                    <a:pt x="107" y="232"/>
                  </a:lnTo>
                  <a:lnTo>
                    <a:pt x="107" y="232"/>
                  </a:lnTo>
                  <a:lnTo>
                    <a:pt x="107" y="232"/>
                  </a:lnTo>
                  <a:lnTo>
                    <a:pt x="110" y="229"/>
                  </a:lnTo>
                  <a:lnTo>
                    <a:pt x="110" y="229"/>
                  </a:lnTo>
                  <a:lnTo>
                    <a:pt x="113" y="227"/>
                  </a:lnTo>
                  <a:lnTo>
                    <a:pt x="115" y="219"/>
                  </a:lnTo>
                  <a:lnTo>
                    <a:pt x="118" y="219"/>
                  </a:lnTo>
                  <a:lnTo>
                    <a:pt x="118" y="217"/>
                  </a:lnTo>
                  <a:lnTo>
                    <a:pt x="118" y="217"/>
                  </a:lnTo>
                  <a:lnTo>
                    <a:pt x="118" y="214"/>
                  </a:lnTo>
                  <a:lnTo>
                    <a:pt x="118" y="214"/>
                  </a:lnTo>
                  <a:lnTo>
                    <a:pt x="120" y="212"/>
                  </a:lnTo>
                  <a:lnTo>
                    <a:pt x="120" y="206"/>
                  </a:lnTo>
                  <a:lnTo>
                    <a:pt x="123" y="206"/>
                  </a:lnTo>
                  <a:lnTo>
                    <a:pt x="123" y="204"/>
                  </a:lnTo>
                  <a:lnTo>
                    <a:pt x="123" y="201"/>
                  </a:lnTo>
                  <a:lnTo>
                    <a:pt x="125" y="199"/>
                  </a:lnTo>
                  <a:lnTo>
                    <a:pt x="125" y="196"/>
                  </a:lnTo>
                  <a:lnTo>
                    <a:pt x="128" y="194"/>
                  </a:lnTo>
                  <a:lnTo>
                    <a:pt x="128" y="189"/>
                  </a:lnTo>
                  <a:lnTo>
                    <a:pt x="128" y="186"/>
                  </a:lnTo>
                  <a:lnTo>
                    <a:pt x="130" y="184"/>
                  </a:lnTo>
                  <a:lnTo>
                    <a:pt x="133" y="184"/>
                  </a:lnTo>
                  <a:lnTo>
                    <a:pt x="135" y="184"/>
                  </a:lnTo>
                  <a:lnTo>
                    <a:pt x="141" y="178"/>
                  </a:lnTo>
                  <a:lnTo>
                    <a:pt x="141" y="178"/>
                  </a:lnTo>
                  <a:lnTo>
                    <a:pt x="143" y="176"/>
                  </a:lnTo>
                  <a:lnTo>
                    <a:pt x="143" y="176"/>
                  </a:lnTo>
                  <a:lnTo>
                    <a:pt x="143" y="173"/>
                  </a:lnTo>
                  <a:lnTo>
                    <a:pt x="141" y="171"/>
                  </a:lnTo>
                  <a:lnTo>
                    <a:pt x="143" y="171"/>
                  </a:lnTo>
                  <a:lnTo>
                    <a:pt x="143" y="171"/>
                  </a:lnTo>
                  <a:lnTo>
                    <a:pt x="143" y="171"/>
                  </a:lnTo>
                  <a:lnTo>
                    <a:pt x="143" y="168"/>
                  </a:lnTo>
                  <a:lnTo>
                    <a:pt x="146" y="171"/>
                  </a:lnTo>
                  <a:lnTo>
                    <a:pt x="146" y="171"/>
                  </a:lnTo>
                  <a:lnTo>
                    <a:pt x="148" y="168"/>
                  </a:lnTo>
                  <a:lnTo>
                    <a:pt x="151" y="168"/>
                  </a:lnTo>
                  <a:lnTo>
                    <a:pt x="156" y="163"/>
                  </a:lnTo>
                  <a:lnTo>
                    <a:pt x="156" y="161"/>
                  </a:lnTo>
                  <a:lnTo>
                    <a:pt x="153" y="161"/>
                  </a:lnTo>
                  <a:lnTo>
                    <a:pt x="153" y="158"/>
                  </a:lnTo>
                  <a:lnTo>
                    <a:pt x="148" y="153"/>
                  </a:lnTo>
                  <a:lnTo>
                    <a:pt x="146" y="148"/>
                  </a:lnTo>
                  <a:lnTo>
                    <a:pt x="143" y="145"/>
                  </a:lnTo>
                  <a:lnTo>
                    <a:pt x="143" y="143"/>
                  </a:lnTo>
                  <a:lnTo>
                    <a:pt x="143" y="133"/>
                  </a:lnTo>
                  <a:lnTo>
                    <a:pt x="143" y="112"/>
                  </a:lnTo>
                  <a:lnTo>
                    <a:pt x="143" y="94"/>
                  </a:lnTo>
                  <a:lnTo>
                    <a:pt x="143" y="74"/>
                  </a:lnTo>
                  <a:lnTo>
                    <a:pt x="143" y="64"/>
                  </a:lnTo>
                  <a:lnTo>
                    <a:pt x="143" y="61"/>
                  </a:lnTo>
                  <a:lnTo>
                    <a:pt x="143" y="61"/>
                  </a:lnTo>
                  <a:lnTo>
                    <a:pt x="146" y="56"/>
                  </a:lnTo>
                  <a:lnTo>
                    <a:pt x="151" y="51"/>
                  </a:lnTo>
                  <a:lnTo>
                    <a:pt x="156" y="44"/>
                  </a:lnTo>
                  <a:lnTo>
                    <a:pt x="158" y="38"/>
                  </a:lnTo>
                  <a:lnTo>
                    <a:pt x="161" y="36"/>
                  </a:lnTo>
                  <a:lnTo>
                    <a:pt x="158" y="36"/>
                  </a:lnTo>
                  <a:close/>
                </a:path>
              </a:pathLst>
            </a:custGeom>
            <a:solidFill>
              <a:srgbClr val="FFC000"/>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283" name="Freeform 1902">
              <a:extLst>
                <a:ext uri="{FF2B5EF4-FFF2-40B4-BE49-F238E27FC236}">
                  <a16:creationId xmlns:a16="http://schemas.microsoft.com/office/drawing/2014/main" id="{42CA1E6D-EA85-EA4C-B4C5-C834F4C10788}"/>
                </a:ext>
              </a:extLst>
            </p:cNvPr>
            <p:cNvSpPr>
              <a:spLocks/>
            </p:cNvSpPr>
            <p:nvPr/>
          </p:nvSpPr>
          <p:spPr bwMode="auto">
            <a:xfrm>
              <a:off x="6725808" y="2561242"/>
              <a:ext cx="129224" cy="153759"/>
            </a:xfrm>
            <a:custGeom>
              <a:avLst/>
              <a:gdLst>
                <a:gd name="T0" fmla="*/ 76 w 79"/>
                <a:gd name="T1" fmla="*/ 23 h 94"/>
                <a:gd name="T2" fmla="*/ 74 w 79"/>
                <a:gd name="T3" fmla="*/ 20 h 94"/>
                <a:gd name="T4" fmla="*/ 74 w 79"/>
                <a:gd name="T5" fmla="*/ 15 h 94"/>
                <a:gd name="T6" fmla="*/ 69 w 79"/>
                <a:gd name="T7" fmla="*/ 5 h 94"/>
                <a:gd name="T8" fmla="*/ 64 w 79"/>
                <a:gd name="T9" fmla="*/ 2 h 94"/>
                <a:gd name="T10" fmla="*/ 56 w 79"/>
                <a:gd name="T11" fmla="*/ 10 h 94"/>
                <a:gd name="T12" fmla="*/ 46 w 79"/>
                <a:gd name="T13" fmla="*/ 15 h 94"/>
                <a:gd name="T14" fmla="*/ 38 w 79"/>
                <a:gd name="T15" fmla="*/ 20 h 94"/>
                <a:gd name="T16" fmla="*/ 25 w 79"/>
                <a:gd name="T17" fmla="*/ 23 h 94"/>
                <a:gd name="T18" fmla="*/ 23 w 79"/>
                <a:gd name="T19" fmla="*/ 20 h 94"/>
                <a:gd name="T20" fmla="*/ 18 w 79"/>
                <a:gd name="T21" fmla="*/ 20 h 94"/>
                <a:gd name="T22" fmla="*/ 15 w 79"/>
                <a:gd name="T23" fmla="*/ 15 h 94"/>
                <a:gd name="T24" fmla="*/ 10 w 79"/>
                <a:gd name="T25" fmla="*/ 15 h 94"/>
                <a:gd name="T26" fmla="*/ 8 w 79"/>
                <a:gd name="T27" fmla="*/ 15 h 94"/>
                <a:gd name="T28" fmla="*/ 8 w 79"/>
                <a:gd name="T29" fmla="*/ 18 h 94"/>
                <a:gd name="T30" fmla="*/ 8 w 79"/>
                <a:gd name="T31" fmla="*/ 25 h 94"/>
                <a:gd name="T32" fmla="*/ 8 w 79"/>
                <a:gd name="T33" fmla="*/ 33 h 94"/>
                <a:gd name="T34" fmla="*/ 8 w 79"/>
                <a:gd name="T35" fmla="*/ 38 h 94"/>
                <a:gd name="T36" fmla="*/ 8 w 79"/>
                <a:gd name="T37" fmla="*/ 43 h 94"/>
                <a:gd name="T38" fmla="*/ 8 w 79"/>
                <a:gd name="T39" fmla="*/ 46 h 94"/>
                <a:gd name="T40" fmla="*/ 8 w 79"/>
                <a:gd name="T41" fmla="*/ 48 h 94"/>
                <a:gd name="T42" fmla="*/ 8 w 79"/>
                <a:gd name="T43" fmla="*/ 53 h 94"/>
                <a:gd name="T44" fmla="*/ 5 w 79"/>
                <a:gd name="T45" fmla="*/ 58 h 94"/>
                <a:gd name="T46" fmla="*/ 2 w 79"/>
                <a:gd name="T47" fmla="*/ 66 h 94"/>
                <a:gd name="T48" fmla="*/ 2 w 79"/>
                <a:gd name="T49" fmla="*/ 68 h 94"/>
                <a:gd name="T50" fmla="*/ 2 w 79"/>
                <a:gd name="T51" fmla="*/ 74 h 94"/>
                <a:gd name="T52" fmla="*/ 2 w 79"/>
                <a:gd name="T53" fmla="*/ 79 h 94"/>
                <a:gd name="T54" fmla="*/ 2 w 79"/>
                <a:gd name="T55" fmla="*/ 86 h 94"/>
                <a:gd name="T56" fmla="*/ 0 w 79"/>
                <a:gd name="T57" fmla="*/ 91 h 94"/>
                <a:gd name="T58" fmla="*/ 8 w 79"/>
                <a:gd name="T59" fmla="*/ 91 h 94"/>
                <a:gd name="T60" fmla="*/ 18 w 79"/>
                <a:gd name="T61" fmla="*/ 94 h 94"/>
                <a:gd name="T62" fmla="*/ 23 w 79"/>
                <a:gd name="T63" fmla="*/ 94 h 94"/>
                <a:gd name="T64" fmla="*/ 31 w 79"/>
                <a:gd name="T65" fmla="*/ 89 h 94"/>
                <a:gd name="T66" fmla="*/ 33 w 79"/>
                <a:gd name="T67" fmla="*/ 81 h 94"/>
                <a:gd name="T68" fmla="*/ 38 w 79"/>
                <a:gd name="T69" fmla="*/ 79 h 94"/>
                <a:gd name="T70" fmla="*/ 48 w 79"/>
                <a:gd name="T71" fmla="*/ 76 h 94"/>
                <a:gd name="T72" fmla="*/ 51 w 79"/>
                <a:gd name="T73" fmla="*/ 74 h 94"/>
                <a:gd name="T74" fmla="*/ 51 w 79"/>
                <a:gd name="T75" fmla="*/ 68 h 94"/>
                <a:gd name="T76" fmla="*/ 56 w 79"/>
                <a:gd name="T77" fmla="*/ 66 h 94"/>
                <a:gd name="T78" fmla="*/ 53 w 79"/>
                <a:gd name="T79" fmla="*/ 61 h 94"/>
                <a:gd name="T80" fmla="*/ 48 w 79"/>
                <a:gd name="T81" fmla="*/ 53 h 94"/>
                <a:gd name="T82" fmla="*/ 41 w 79"/>
                <a:gd name="T83" fmla="*/ 46 h 94"/>
                <a:gd name="T84" fmla="*/ 41 w 79"/>
                <a:gd name="T85" fmla="*/ 40 h 94"/>
                <a:gd name="T86" fmla="*/ 51 w 79"/>
                <a:gd name="T87" fmla="*/ 38 h 94"/>
                <a:gd name="T88" fmla="*/ 64 w 79"/>
                <a:gd name="T89" fmla="*/ 35 h 94"/>
                <a:gd name="T90" fmla="*/ 74 w 79"/>
                <a:gd name="T91" fmla="*/ 30 h 94"/>
                <a:gd name="T92" fmla="*/ 76 w 79"/>
                <a:gd name="T93" fmla="*/ 28 h 94"/>
                <a:gd name="T94" fmla="*/ 79 w 79"/>
                <a:gd name="T95" fmla="*/ 2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9" h="94">
                  <a:moveTo>
                    <a:pt x="79" y="23"/>
                  </a:moveTo>
                  <a:lnTo>
                    <a:pt x="76" y="23"/>
                  </a:lnTo>
                  <a:lnTo>
                    <a:pt x="74" y="25"/>
                  </a:lnTo>
                  <a:lnTo>
                    <a:pt x="74" y="20"/>
                  </a:lnTo>
                  <a:lnTo>
                    <a:pt x="74" y="20"/>
                  </a:lnTo>
                  <a:lnTo>
                    <a:pt x="74" y="15"/>
                  </a:lnTo>
                  <a:lnTo>
                    <a:pt x="71" y="10"/>
                  </a:lnTo>
                  <a:lnTo>
                    <a:pt x="69" y="5"/>
                  </a:lnTo>
                  <a:lnTo>
                    <a:pt x="69" y="0"/>
                  </a:lnTo>
                  <a:lnTo>
                    <a:pt x="64" y="2"/>
                  </a:lnTo>
                  <a:lnTo>
                    <a:pt x="59" y="7"/>
                  </a:lnTo>
                  <a:lnTo>
                    <a:pt x="56" y="10"/>
                  </a:lnTo>
                  <a:lnTo>
                    <a:pt x="48" y="12"/>
                  </a:lnTo>
                  <a:lnTo>
                    <a:pt x="46" y="15"/>
                  </a:lnTo>
                  <a:lnTo>
                    <a:pt x="41" y="18"/>
                  </a:lnTo>
                  <a:lnTo>
                    <a:pt x="38" y="20"/>
                  </a:lnTo>
                  <a:lnTo>
                    <a:pt x="33" y="25"/>
                  </a:lnTo>
                  <a:lnTo>
                    <a:pt x="25" y="23"/>
                  </a:lnTo>
                  <a:lnTo>
                    <a:pt x="23" y="23"/>
                  </a:lnTo>
                  <a:lnTo>
                    <a:pt x="23" y="20"/>
                  </a:lnTo>
                  <a:lnTo>
                    <a:pt x="20" y="20"/>
                  </a:lnTo>
                  <a:lnTo>
                    <a:pt x="18" y="20"/>
                  </a:lnTo>
                  <a:lnTo>
                    <a:pt x="15" y="15"/>
                  </a:lnTo>
                  <a:lnTo>
                    <a:pt x="15" y="15"/>
                  </a:lnTo>
                  <a:lnTo>
                    <a:pt x="13" y="15"/>
                  </a:lnTo>
                  <a:lnTo>
                    <a:pt x="10" y="15"/>
                  </a:lnTo>
                  <a:lnTo>
                    <a:pt x="8" y="15"/>
                  </a:lnTo>
                  <a:lnTo>
                    <a:pt x="8" y="15"/>
                  </a:lnTo>
                  <a:lnTo>
                    <a:pt x="8" y="18"/>
                  </a:lnTo>
                  <a:lnTo>
                    <a:pt x="8" y="18"/>
                  </a:lnTo>
                  <a:lnTo>
                    <a:pt x="8" y="23"/>
                  </a:lnTo>
                  <a:lnTo>
                    <a:pt x="8" y="25"/>
                  </a:lnTo>
                  <a:lnTo>
                    <a:pt x="8" y="28"/>
                  </a:lnTo>
                  <a:lnTo>
                    <a:pt x="8" y="33"/>
                  </a:lnTo>
                  <a:lnTo>
                    <a:pt x="10" y="35"/>
                  </a:lnTo>
                  <a:lnTo>
                    <a:pt x="8" y="38"/>
                  </a:lnTo>
                  <a:lnTo>
                    <a:pt x="8" y="40"/>
                  </a:lnTo>
                  <a:lnTo>
                    <a:pt x="8" y="43"/>
                  </a:lnTo>
                  <a:lnTo>
                    <a:pt x="8" y="46"/>
                  </a:lnTo>
                  <a:lnTo>
                    <a:pt x="8" y="46"/>
                  </a:lnTo>
                  <a:lnTo>
                    <a:pt x="8" y="48"/>
                  </a:lnTo>
                  <a:lnTo>
                    <a:pt x="8" y="48"/>
                  </a:lnTo>
                  <a:lnTo>
                    <a:pt x="8" y="51"/>
                  </a:lnTo>
                  <a:lnTo>
                    <a:pt x="8" y="53"/>
                  </a:lnTo>
                  <a:lnTo>
                    <a:pt x="5" y="58"/>
                  </a:lnTo>
                  <a:lnTo>
                    <a:pt x="5" y="58"/>
                  </a:lnTo>
                  <a:lnTo>
                    <a:pt x="5" y="61"/>
                  </a:lnTo>
                  <a:lnTo>
                    <a:pt x="2" y="66"/>
                  </a:lnTo>
                  <a:lnTo>
                    <a:pt x="2" y="66"/>
                  </a:lnTo>
                  <a:lnTo>
                    <a:pt x="2" y="68"/>
                  </a:lnTo>
                  <a:lnTo>
                    <a:pt x="2" y="71"/>
                  </a:lnTo>
                  <a:lnTo>
                    <a:pt x="2" y="74"/>
                  </a:lnTo>
                  <a:lnTo>
                    <a:pt x="2" y="76"/>
                  </a:lnTo>
                  <a:lnTo>
                    <a:pt x="2" y="79"/>
                  </a:lnTo>
                  <a:lnTo>
                    <a:pt x="2" y="81"/>
                  </a:lnTo>
                  <a:lnTo>
                    <a:pt x="2" y="86"/>
                  </a:lnTo>
                  <a:lnTo>
                    <a:pt x="2" y="89"/>
                  </a:lnTo>
                  <a:lnTo>
                    <a:pt x="0" y="91"/>
                  </a:lnTo>
                  <a:lnTo>
                    <a:pt x="5" y="91"/>
                  </a:lnTo>
                  <a:lnTo>
                    <a:pt x="8" y="91"/>
                  </a:lnTo>
                  <a:lnTo>
                    <a:pt x="13" y="94"/>
                  </a:lnTo>
                  <a:lnTo>
                    <a:pt x="18" y="94"/>
                  </a:lnTo>
                  <a:lnTo>
                    <a:pt x="23" y="94"/>
                  </a:lnTo>
                  <a:lnTo>
                    <a:pt x="23" y="94"/>
                  </a:lnTo>
                  <a:lnTo>
                    <a:pt x="28" y="91"/>
                  </a:lnTo>
                  <a:lnTo>
                    <a:pt x="31" y="89"/>
                  </a:lnTo>
                  <a:lnTo>
                    <a:pt x="33" y="84"/>
                  </a:lnTo>
                  <a:lnTo>
                    <a:pt x="33" y="81"/>
                  </a:lnTo>
                  <a:lnTo>
                    <a:pt x="36" y="79"/>
                  </a:lnTo>
                  <a:lnTo>
                    <a:pt x="38" y="79"/>
                  </a:lnTo>
                  <a:lnTo>
                    <a:pt x="43" y="79"/>
                  </a:lnTo>
                  <a:lnTo>
                    <a:pt x="48" y="76"/>
                  </a:lnTo>
                  <a:lnTo>
                    <a:pt x="48" y="76"/>
                  </a:lnTo>
                  <a:lnTo>
                    <a:pt x="51" y="74"/>
                  </a:lnTo>
                  <a:lnTo>
                    <a:pt x="51" y="68"/>
                  </a:lnTo>
                  <a:lnTo>
                    <a:pt x="51" y="68"/>
                  </a:lnTo>
                  <a:lnTo>
                    <a:pt x="51" y="68"/>
                  </a:lnTo>
                  <a:lnTo>
                    <a:pt x="56" y="66"/>
                  </a:lnTo>
                  <a:lnTo>
                    <a:pt x="59" y="66"/>
                  </a:lnTo>
                  <a:lnTo>
                    <a:pt x="53" y="61"/>
                  </a:lnTo>
                  <a:lnTo>
                    <a:pt x="51" y="58"/>
                  </a:lnTo>
                  <a:lnTo>
                    <a:pt x="48" y="53"/>
                  </a:lnTo>
                  <a:lnTo>
                    <a:pt x="43" y="51"/>
                  </a:lnTo>
                  <a:lnTo>
                    <a:pt x="41" y="46"/>
                  </a:lnTo>
                  <a:lnTo>
                    <a:pt x="36" y="43"/>
                  </a:lnTo>
                  <a:lnTo>
                    <a:pt x="41" y="40"/>
                  </a:lnTo>
                  <a:lnTo>
                    <a:pt x="46" y="40"/>
                  </a:lnTo>
                  <a:lnTo>
                    <a:pt x="51" y="38"/>
                  </a:lnTo>
                  <a:lnTo>
                    <a:pt x="59" y="35"/>
                  </a:lnTo>
                  <a:lnTo>
                    <a:pt x="64" y="35"/>
                  </a:lnTo>
                  <a:lnTo>
                    <a:pt x="71" y="33"/>
                  </a:lnTo>
                  <a:lnTo>
                    <a:pt x="74" y="30"/>
                  </a:lnTo>
                  <a:lnTo>
                    <a:pt x="74" y="30"/>
                  </a:lnTo>
                  <a:lnTo>
                    <a:pt x="76" y="28"/>
                  </a:lnTo>
                  <a:lnTo>
                    <a:pt x="79" y="25"/>
                  </a:lnTo>
                  <a:lnTo>
                    <a:pt x="79" y="23"/>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284" name="Freeform 1903">
              <a:extLst>
                <a:ext uri="{FF2B5EF4-FFF2-40B4-BE49-F238E27FC236}">
                  <a16:creationId xmlns:a16="http://schemas.microsoft.com/office/drawing/2014/main" id="{A6287772-3C11-5848-9793-61BFC5C3CFDB}"/>
                </a:ext>
              </a:extLst>
            </p:cNvPr>
            <p:cNvSpPr>
              <a:spLocks/>
            </p:cNvSpPr>
            <p:nvPr/>
          </p:nvSpPr>
          <p:spPr bwMode="auto">
            <a:xfrm>
              <a:off x="5592242" y="1977283"/>
              <a:ext cx="3271" cy="4908"/>
            </a:xfrm>
            <a:custGeom>
              <a:avLst/>
              <a:gdLst>
                <a:gd name="T0" fmla="*/ 2 w 2"/>
                <a:gd name="T1" fmla="*/ 0 h 3"/>
                <a:gd name="T2" fmla="*/ 2 w 2"/>
                <a:gd name="T3" fmla="*/ 0 h 3"/>
                <a:gd name="T4" fmla="*/ 0 w 2"/>
                <a:gd name="T5" fmla="*/ 0 h 3"/>
                <a:gd name="T6" fmla="*/ 0 w 2"/>
                <a:gd name="T7" fmla="*/ 0 h 3"/>
                <a:gd name="T8" fmla="*/ 0 w 2"/>
                <a:gd name="T9" fmla="*/ 0 h 3"/>
                <a:gd name="T10" fmla="*/ 2 w 2"/>
                <a:gd name="T11" fmla="*/ 0 h 3"/>
                <a:gd name="T12" fmla="*/ 2 w 2"/>
                <a:gd name="T13" fmla="*/ 3 h 3"/>
                <a:gd name="T14" fmla="*/ 2 w 2"/>
                <a:gd name="T15" fmla="*/ 0 h 3"/>
                <a:gd name="T16" fmla="*/ 2 w 2"/>
                <a:gd name="T17"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3">
                  <a:moveTo>
                    <a:pt x="2" y="0"/>
                  </a:moveTo>
                  <a:lnTo>
                    <a:pt x="2" y="0"/>
                  </a:lnTo>
                  <a:lnTo>
                    <a:pt x="0" y="0"/>
                  </a:lnTo>
                  <a:lnTo>
                    <a:pt x="0" y="0"/>
                  </a:lnTo>
                  <a:lnTo>
                    <a:pt x="0" y="0"/>
                  </a:lnTo>
                  <a:lnTo>
                    <a:pt x="2" y="0"/>
                  </a:lnTo>
                  <a:lnTo>
                    <a:pt x="2" y="3"/>
                  </a:lnTo>
                  <a:lnTo>
                    <a:pt x="2" y="0"/>
                  </a:lnTo>
                  <a:lnTo>
                    <a:pt x="2"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285" name="Freeform 1904">
              <a:extLst>
                <a:ext uri="{FF2B5EF4-FFF2-40B4-BE49-F238E27FC236}">
                  <a16:creationId xmlns:a16="http://schemas.microsoft.com/office/drawing/2014/main" id="{F83D2492-9152-6F4C-9A00-D2A042784230}"/>
                </a:ext>
              </a:extLst>
            </p:cNvPr>
            <p:cNvSpPr>
              <a:spLocks noEditPoints="1"/>
            </p:cNvSpPr>
            <p:nvPr/>
          </p:nvSpPr>
          <p:spPr bwMode="auto">
            <a:xfrm>
              <a:off x="9581804" y="2111414"/>
              <a:ext cx="570873" cy="786790"/>
            </a:xfrm>
            <a:custGeom>
              <a:avLst/>
              <a:gdLst>
                <a:gd name="T0" fmla="*/ 10 w 349"/>
                <a:gd name="T1" fmla="*/ 481 h 481"/>
                <a:gd name="T2" fmla="*/ 349 w 349"/>
                <a:gd name="T3" fmla="*/ 427 h 481"/>
                <a:gd name="T4" fmla="*/ 69 w 349"/>
                <a:gd name="T5" fmla="*/ 438 h 481"/>
                <a:gd name="T6" fmla="*/ 76 w 349"/>
                <a:gd name="T7" fmla="*/ 425 h 481"/>
                <a:gd name="T8" fmla="*/ 94 w 349"/>
                <a:gd name="T9" fmla="*/ 384 h 481"/>
                <a:gd name="T10" fmla="*/ 94 w 349"/>
                <a:gd name="T11" fmla="*/ 387 h 481"/>
                <a:gd name="T12" fmla="*/ 102 w 349"/>
                <a:gd name="T13" fmla="*/ 341 h 481"/>
                <a:gd name="T14" fmla="*/ 74 w 349"/>
                <a:gd name="T15" fmla="*/ 298 h 481"/>
                <a:gd name="T16" fmla="*/ 43 w 349"/>
                <a:gd name="T17" fmla="*/ 290 h 481"/>
                <a:gd name="T18" fmla="*/ 249 w 349"/>
                <a:gd name="T19" fmla="*/ 280 h 481"/>
                <a:gd name="T20" fmla="*/ 53 w 349"/>
                <a:gd name="T21" fmla="*/ 280 h 481"/>
                <a:gd name="T22" fmla="*/ 102 w 349"/>
                <a:gd name="T23" fmla="*/ 308 h 481"/>
                <a:gd name="T24" fmla="*/ 91 w 349"/>
                <a:gd name="T25" fmla="*/ 277 h 481"/>
                <a:gd name="T26" fmla="*/ 66 w 349"/>
                <a:gd name="T27" fmla="*/ 265 h 481"/>
                <a:gd name="T28" fmla="*/ 58 w 349"/>
                <a:gd name="T29" fmla="*/ 280 h 481"/>
                <a:gd name="T30" fmla="*/ 69 w 349"/>
                <a:gd name="T31" fmla="*/ 290 h 481"/>
                <a:gd name="T32" fmla="*/ 71 w 349"/>
                <a:gd name="T33" fmla="*/ 282 h 481"/>
                <a:gd name="T34" fmla="*/ 84 w 349"/>
                <a:gd name="T35" fmla="*/ 315 h 481"/>
                <a:gd name="T36" fmla="*/ 91 w 349"/>
                <a:gd name="T37" fmla="*/ 313 h 481"/>
                <a:gd name="T38" fmla="*/ 99 w 349"/>
                <a:gd name="T39" fmla="*/ 262 h 481"/>
                <a:gd name="T40" fmla="*/ 104 w 349"/>
                <a:gd name="T41" fmla="*/ 259 h 481"/>
                <a:gd name="T42" fmla="*/ 125 w 349"/>
                <a:gd name="T43" fmla="*/ 254 h 481"/>
                <a:gd name="T44" fmla="*/ 109 w 349"/>
                <a:gd name="T45" fmla="*/ 265 h 481"/>
                <a:gd name="T46" fmla="*/ 112 w 349"/>
                <a:gd name="T47" fmla="*/ 282 h 481"/>
                <a:gd name="T48" fmla="*/ 135 w 349"/>
                <a:gd name="T49" fmla="*/ 272 h 481"/>
                <a:gd name="T50" fmla="*/ 132 w 349"/>
                <a:gd name="T51" fmla="*/ 249 h 481"/>
                <a:gd name="T52" fmla="*/ 40 w 349"/>
                <a:gd name="T53" fmla="*/ 254 h 481"/>
                <a:gd name="T54" fmla="*/ 229 w 349"/>
                <a:gd name="T55" fmla="*/ 244 h 481"/>
                <a:gd name="T56" fmla="*/ 173 w 349"/>
                <a:gd name="T57" fmla="*/ 165 h 481"/>
                <a:gd name="T58" fmla="*/ 232 w 349"/>
                <a:gd name="T59" fmla="*/ 196 h 481"/>
                <a:gd name="T60" fmla="*/ 227 w 349"/>
                <a:gd name="T61" fmla="*/ 150 h 481"/>
                <a:gd name="T62" fmla="*/ 219 w 349"/>
                <a:gd name="T63" fmla="*/ 125 h 481"/>
                <a:gd name="T64" fmla="*/ 181 w 349"/>
                <a:gd name="T65" fmla="*/ 97 h 481"/>
                <a:gd name="T66" fmla="*/ 181 w 349"/>
                <a:gd name="T67" fmla="*/ 99 h 481"/>
                <a:gd name="T68" fmla="*/ 173 w 349"/>
                <a:gd name="T69" fmla="*/ 112 h 481"/>
                <a:gd name="T70" fmla="*/ 191 w 349"/>
                <a:gd name="T71" fmla="*/ 137 h 481"/>
                <a:gd name="T72" fmla="*/ 186 w 349"/>
                <a:gd name="T73" fmla="*/ 178 h 481"/>
                <a:gd name="T74" fmla="*/ 158 w 349"/>
                <a:gd name="T75" fmla="*/ 188 h 481"/>
                <a:gd name="T76" fmla="*/ 153 w 349"/>
                <a:gd name="T77" fmla="*/ 216 h 481"/>
                <a:gd name="T78" fmla="*/ 122 w 349"/>
                <a:gd name="T79" fmla="*/ 226 h 481"/>
                <a:gd name="T80" fmla="*/ 86 w 349"/>
                <a:gd name="T81" fmla="*/ 242 h 481"/>
                <a:gd name="T82" fmla="*/ 81 w 349"/>
                <a:gd name="T83" fmla="*/ 262 h 481"/>
                <a:gd name="T84" fmla="*/ 117 w 349"/>
                <a:gd name="T85" fmla="*/ 252 h 481"/>
                <a:gd name="T86" fmla="*/ 153 w 349"/>
                <a:gd name="T87" fmla="*/ 247 h 481"/>
                <a:gd name="T88" fmla="*/ 176 w 349"/>
                <a:gd name="T89" fmla="*/ 259 h 481"/>
                <a:gd name="T90" fmla="*/ 181 w 349"/>
                <a:gd name="T91" fmla="*/ 242 h 481"/>
                <a:gd name="T92" fmla="*/ 201 w 349"/>
                <a:gd name="T93" fmla="*/ 247 h 481"/>
                <a:gd name="T94" fmla="*/ 221 w 349"/>
                <a:gd name="T95" fmla="*/ 244 h 481"/>
                <a:gd name="T96" fmla="*/ 227 w 349"/>
                <a:gd name="T97" fmla="*/ 226 h 481"/>
                <a:gd name="T98" fmla="*/ 234 w 349"/>
                <a:gd name="T99" fmla="*/ 239 h 481"/>
                <a:gd name="T100" fmla="*/ 145 w 349"/>
                <a:gd name="T101" fmla="*/ 76 h 481"/>
                <a:gd name="T102" fmla="*/ 130 w 349"/>
                <a:gd name="T103" fmla="*/ 2 h 481"/>
                <a:gd name="T104" fmla="*/ 160 w 349"/>
                <a:gd name="T105" fmla="*/ 43 h 481"/>
                <a:gd name="T106" fmla="*/ 150 w 349"/>
                <a:gd name="T107" fmla="*/ 64 h 481"/>
                <a:gd name="T108" fmla="*/ 165 w 349"/>
                <a:gd name="T109" fmla="*/ 92 h 481"/>
                <a:gd name="T110" fmla="*/ 165 w 349"/>
                <a:gd name="T111" fmla="*/ 76 h 481"/>
                <a:gd name="T112" fmla="*/ 209 w 349"/>
                <a:gd name="T113" fmla="*/ 79 h 481"/>
                <a:gd name="T114" fmla="*/ 234 w 349"/>
                <a:gd name="T115" fmla="*/ 58 h 481"/>
                <a:gd name="T116" fmla="*/ 229 w 349"/>
                <a:gd name="T117" fmla="*/ 43 h 481"/>
                <a:gd name="T118" fmla="*/ 196 w 349"/>
                <a:gd name="T119" fmla="*/ 33 h 4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49" h="481">
                  <a:moveTo>
                    <a:pt x="0" y="478"/>
                  </a:moveTo>
                  <a:lnTo>
                    <a:pt x="0" y="478"/>
                  </a:lnTo>
                  <a:lnTo>
                    <a:pt x="0" y="481"/>
                  </a:lnTo>
                  <a:lnTo>
                    <a:pt x="0" y="481"/>
                  </a:lnTo>
                  <a:lnTo>
                    <a:pt x="0" y="481"/>
                  </a:lnTo>
                  <a:lnTo>
                    <a:pt x="2" y="481"/>
                  </a:lnTo>
                  <a:lnTo>
                    <a:pt x="2" y="481"/>
                  </a:lnTo>
                  <a:lnTo>
                    <a:pt x="5" y="481"/>
                  </a:lnTo>
                  <a:lnTo>
                    <a:pt x="5" y="481"/>
                  </a:lnTo>
                  <a:lnTo>
                    <a:pt x="5" y="481"/>
                  </a:lnTo>
                  <a:lnTo>
                    <a:pt x="0" y="478"/>
                  </a:lnTo>
                  <a:close/>
                  <a:moveTo>
                    <a:pt x="10" y="478"/>
                  </a:moveTo>
                  <a:lnTo>
                    <a:pt x="7" y="478"/>
                  </a:lnTo>
                  <a:lnTo>
                    <a:pt x="7" y="478"/>
                  </a:lnTo>
                  <a:lnTo>
                    <a:pt x="7" y="478"/>
                  </a:lnTo>
                  <a:lnTo>
                    <a:pt x="7" y="481"/>
                  </a:lnTo>
                  <a:lnTo>
                    <a:pt x="10" y="481"/>
                  </a:lnTo>
                  <a:lnTo>
                    <a:pt x="10" y="481"/>
                  </a:lnTo>
                  <a:lnTo>
                    <a:pt x="10" y="476"/>
                  </a:lnTo>
                  <a:lnTo>
                    <a:pt x="10" y="476"/>
                  </a:lnTo>
                  <a:lnTo>
                    <a:pt x="10" y="476"/>
                  </a:lnTo>
                  <a:lnTo>
                    <a:pt x="10" y="478"/>
                  </a:lnTo>
                  <a:close/>
                  <a:moveTo>
                    <a:pt x="30" y="471"/>
                  </a:moveTo>
                  <a:lnTo>
                    <a:pt x="28" y="468"/>
                  </a:lnTo>
                  <a:lnTo>
                    <a:pt x="28" y="468"/>
                  </a:lnTo>
                  <a:lnTo>
                    <a:pt x="28" y="471"/>
                  </a:lnTo>
                  <a:lnTo>
                    <a:pt x="30" y="471"/>
                  </a:lnTo>
                  <a:lnTo>
                    <a:pt x="33" y="471"/>
                  </a:lnTo>
                  <a:lnTo>
                    <a:pt x="30" y="471"/>
                  </a:lnTo>
                  <a:lnTo>
                    <a:pt x="30" y="471"/>
                  </a:lnTo>
                  <a:close/>
                  <a:moveTo>
                    <a:pt x="346" y="427"/>
                  </a:moveTo>
                  <a:lnTo>
                    <a:pt x="346" y="425"/>
                  </a:lnTo>
                  <a:lnTo>
                    <a:pt x="346" y="425"/>
                  </a:lnTo>
                  <a:lnTo>
                    <a:pt x="349" y="427"/>
                  </a:lnTo>
                  <a:lnTo>
                    <a:pt x="349" y="427"/>
                  </a:lnTo>
                  <a:lnTo>
                    <a:pt x="349" y="427"/>
                  </a:lnTo>
                  <a:lnTo>
                    <a:pt x="346" y="427"/>
                  </a:lnTo>
                  <a:close/>
                  <a:moveTo>
                    <a:pt x="76" y="422"/>
                  </a:moveTo>
                  <a:lnTo>
                    <a:pt x="76" y="425"/>
                  </a:lnTo>
                  <a:lnTo>
                    <a:pt x="74" y="427"/>
                  </a:lnTo>
                  <a:lnTo>
                    <a:pt x="74" y="427"/>
                  </a:lnTo>
                  <a:lnTo>
                    <a:pt x="74" y="427"/>
                  </a:lnTo>
                  <a:lnTo>
                    <a:pt x="74" y="427"/>
                  </a:lnTo>
                  <a:lnTo>
                    <a:pt x="71" y="427"/>
                  </a:lnTo>
                  <a:lnTo>
                    <a:pt x="69" y="427"/>
                  </a:lnTo>
                  <a:lnTo>
                    <a:pt x="69" y="427"/>
                  </a:lnTo>
                  <a:lnTo>
                    <a:pt x="71" y="427"/>
                  </a:lnTo>
                  <a:lnTo>
                    <a:pt x="71" y="430"/>
                  </a:lnTo>
                  <a:lnTo>
                    <a:pt x="71" y="430"/>
                  </a:lnTo>
                  <a:lnTo>
                    <a:pt x="69" y="432"/>
                  </a:lnTo>
                  <a:lnTo>
                    <a:pt x="69" y="432"/>
                  </a:lnTo>
                  <a:lnTo>
                    <a:pt x="69" y="432"/>
                  </a:lnTo>
                  <a:lnTo>
                    <a:pt x="69" y="435"/>
                  </a:lnTo>
                  <a:lnTo>
                    <a:pt x="69" y="438"/>
                  </a:lnTo>
                  <a:lnTo>
                    <a:pt x="69" y="440"/>
                  </a:lnTo>
                  <a:lnTo>
                    <a:pt x="69" y="440"/>
                  </a:lnTo>
                  <a:lnTo>
                    <a:pt x="69" y="440"/>
                  </a:lnTo>
                  <a:lnTo>
                    <a:pt x="71" y="440"/>
                  </a:lnTo>
                  <a:lnTo>
                    <a:pt x="71" y="438"/>
                  </a:lnTo>
                  <a:lnTo>
                    <a:pt x="71" y="438"/>
                  </a:lnTo>
                  <a:lnTo>
                    <a:pt x="71" y="438"/>
                  </a:lnTo>
                  <a:lnTo>
                    <a:pt x="71" y="435"/>
                  </a:lnTo>
                  <a:lnTo>
                    <a:pt x="71" y="435"/>
                  </a:lnTo>
                  <a:lnTo>
                    <a:pt x="71" y="432"/>
                  </a:lnTo>
                  <a:lnTo>
                    <a:pt x="71" y="432"/>
                  </a:lnTo>
                  <a:lnTo>
                    <a:pt x="71" y="432"/>
                  </a:lnTo>
                  <a:lnTo>
                    <a:pt x="74" y="430"/>
                  </a:lnTo>
                  <a:lnTo>
                    <a:pt x="74" y="430"/>
                  </a:lnTo>
                  <a:lnTo>
                    <a:pt x="76" y="427"/>
                  </a:lnTo>
                  <a:lnTo>
                    <a:pt x="76" y="427"/>
                  </a:lnTo>
                  <a:lnTo>
                    <a:pt x="79" y="425"/>
                  </a:lnTo>
                  <a:lnTo>
                    <a:pt x="76" y="425"/>
                  </a:lnTo>
                  <a:lnTo>
                    <a:pt x="76" y="422"/>
                  </a:lnTo>
                  <a:close/>
                  <a:moveTo>
                    <a:pt x="84" y="399"/>
                  </a:moveTo>
                  <a:lnTo>
                    <a:pt x="81" y="399"/>
                  </a:lnTo>
                  <a:lnTo>
                    <a:pt x="81" y="399"/>
                  </a:lnTo>
                  <a:lnTo>
                    <a:pt x="84" y="402"/>
                  </a:lnTo>
                  <a:lnTo>
                    <a:pt x="84" y="404"/>
                  </a:lnTo>
                  <a:lnTo>
                    <a:pt x="84" y="404"/>
                  </a:lnTo>
                  <a:lnTo>
                    <a:pt x="84" y="402"/>
                  </a:lnTo>
                  <a:lnTo>
                    <a:pt x="84" y="402"/>
                  </a:lnTo>
                  <a:lnTo>
                    <a:pt x="84" y="399"/>
                  </a:lnTo>
                  <a:close/>
                  <a:moveTo>
                    <a:pt x="86" y="394"/>
                  </a:moveTo>
                  <a:lnTo>
                    <a:pt x="86" y="392"/>
                  </a:lnTo>
                  <a:lnTo>
                    <a:pt x="86" y="392"/>
                  </a:lnTo>
                  <a:lnTo>
                    <a:pt x="86" y="394"/>
                  </a:lnTo>
                  <a:lnTo>
                    <a:pt x="89" y="394"/>
                  </a:lnTo>
                  <a:lnTo>
                    <a:pt x="89" y="394"/>
                  </a:lnTo>
                  <a:lnTo>
                    <a:pt x="86" y="394"/>
                  </a:lnTo>
                  <a:close/>
                  <a:moveTo>
                    <a:pt x="94" y="384"/>
                  </a:moveTo>
                  <a:lnTo>
                    <a:pt x="91" y="387"/>
                  </a:lnTo>
                  <a:lnTo>
                    <a:pt x="91" y="387"/>
                  </a:lnTo>
                  <a:lnTo>
                    <a:pt x="91" y="387"/>
                  </a:lnTo>
                  <a:lnTo>
                    <a:pt x="91" y="387"/>
                  </a:lnTo>
                  <a:lnTo>
                    <a:pt x="89" y="387"/>
                  </a:lnTo>
                  <a:lnTo>
                    <a:pt x="86" y="389"/>
                  </a:lnTo>
                  <a:lnTo>
                    <a:pt x="86" y="389"/>
                  </a:lnTo>
                  <a:lnTo>
                    <a:pt x="86" y="389"/>
                  </a:lnTo>
                  <a:lnTo>
                    <a:pt x="86" y="392"/>
                  </a:lnTo>
                  <a:lnTo>
                    <a:pt x="84" y="392"/>
                  </a:lnTo>
                  <a:lnTo>
                    <a:pt x="86" y="392"/>
                  </a:lnTo>
                  <a:lnTo>
                    <a:pt x="89" y="394"/>
                  </a:lnTo>
                  <a:lnTo>
                    <a:pt x="91" y="392"/>
                  </a:lnTo>
                  <a:lnTo>
                    <a:pt x="89" y="392"/>
                  </a:lnTo>
                  <a:lnTo>
                    <a:pt x="91" y="392"/>
                  </a:lnTo>
                  <a:lnTo>
                    <a:pt x="91" y="389"/>
                  </a:lnTo>
                  <a:lnTo>
                    <a:pt x="91" y="389"/>
                  </a:lnTo>
                  <a:lnTo>
                    <a:pt x="94" y="387"/>
                  </a:lnTo>
                  <a:lnTo>
                    <a:pt x="94" y="387"/>
                  </a:lnTo>
                  <a:lnTo>
                    <a:pt x="94" y="387"/>
                  </a:lnTo>
                  <a:lnTo>
                    <a:pt x="94" y="384"/>
                  </a:lnTo>
                  <a:close/>
                  <a:moveTo>
                    <a:pt x="94" y="341"/>
                  </a:moveTo>
                  <a:lnTo>
                    <a:pt x="94" y="343"/>
                  </a:lnTo>
                  <a:lnTo>
                    <a:pt x="97" y="346"/>
                  </a:lnTo>
                  <a:lnTo>
                    <a:pt x="97" y="346"/>
                  </a:lnTo>
                  <a:lnTo>
                    <a:pt x="99" y="346"/>
                  </a:lnTo>
                  <a:lnTo>
                    <a:pt x="99" y="343"/>
                  </a:lnTo>
                  <a:lnTo>
                    <a:pt x="99" y="343"/>
                  </a:lnTo>
                  <a:lnTo>
                    <a:pt x="94" y="341"/>
                  </a:lnTo>
                  <a:close/>
                  <a:moveTo>
                    <a:pt x="104" y="333"/>
                  </a:moveTo>
                  <a:lnTo>
                    <a:pt x="104" y="333"/>
                  </a:lnTo>
                  <a:lnTo>
                    <a:pt x="102" y="333"/>
                  </a:lnTo>
                  <a:lnTo>
                    <a:pt x="102" y="333"/>
                  </a:lnTo>
                  <a:lnTo>
                    <a:pt x="102" y="336"/>
                  </a:lnTo>
                  <a:lnTo>
                    <a:pt x="102" y="338"/>
                  </a:lnTo>
                  <a:lnTo>
                    <a:pt x="102" y="341"/>
                  </a:lnTo>
                  <a:lnTo>
                    <a:pt x="102" y="343"/>
                  </a:lnTo>
                  <a:lnTo>
                    <a:pt x="104" y="343"/>
                  </a:lnTo>
                  <a:lnTo>
                    <a:pt x="104" y="338"/>
                  </a:lnTo>
                  <a:lnTo>
                    <a:pt x="104" y="336"/>
                  </a:lnTo>
                  <a:lnTo>
                    <a:pt x="104" y="333"/>
                  </a:lnTo>
                  <a:close/>
                  <a:moveTo>
                    <a:pt x="71" y="313"/>
                  </a:moveTo>
                  <a:lnTo>
                    <a:pt x="71" y="315"/>
                  </a:lnTo>
                  <a:lnTo>
                    <a:pt x="71" y="313"/>
                  </a:lnTo>
                  <a:lnTo>
                    <a:pt x="71" y="313"/>
                  </a:lnTo>
                  <a:lnTo>
                    <a:pt x="71" y="310"/>
                  </a:lnTo>
                  <a:lnTo>
                    <a:pt x="71" y="313"/>
                  </a:lnTo>
                  <a:close/>
                  <a:moveTo>
                    <a:pt x="76" y="298"/>
                  </a:moveTo>
                  <a:lnTo>
                    <a:pt x="76" y="298"/>
                  </a:lnTo>
                  <a:lnTo>
                    <a:pt x="79" y="295"/>
                  </a:lnTo>
                  <a:lnTo>
                    <a:pt x="79" y="295"/>
                  </a:lnTo>
                  <a:lnTo>
                    <a:pt x="76" y="295"/>
                  </a:lnTo>
                  <a:lnTo>
                    <a:pt x="74" y="295"/>
                  </a:lnTo>
                  <a:lnTo>
                    <a:pt x="74" y="298"/>
                  </a:lnTo>
                  <a:lnTo>
                    <a:pt x="76" y="298"/>
                  </a:lnTo>
                  <a:close/>
                  <a:moveTo>
                    <a:pt x="71" y="295"/>
                  </a:moveTo>
                  <a:lnTo>
                    <a:pt x="69" y="295"/>
                  </a:lnTo>
                  <a:lnTo>
                    <a:pt x="71" y="295"/>
                  </a:lnTo>
                  <a:lnTo>
                    <a:pt x="71" y="298"/>
                  </a:lnTo>
                  <a:lnTo>
                    <a:pt x="71" y="300"/>
                  </a:lnTo>
                  <a:lnTo>
                    <a:pt x="71" y="300"/>
                  </a:lnTo>
                  <a:lnTo>
                    <a:pt x="71" y="300"/>
                  </a:lnTo>
                  <a:lnTo>
                    <a:pt x="71" y="300"/>
                  </a:lnTo>
                  <a:lnTo>
                    <a:pt x="71" y="303"/>
                  </a:lnTo>
                  <a:lnTo>
                    <a:pt x="74" y="300"/>
                  </a:lnTo>
                  <a:lnTo>
                    <a:pt x="74" y="298"/>
                  </a:lnTo>
                  <a:lnTo>
                    <a:pt x="74" y="295"/>
                  </a:lnTo>
                  <a:lnTo>
                    <a:pt x="71" y="295"/>
                  </a:lnTo>
                  <a:close/>
                  <a:moveTo>
                    <a:pt x="46" y="290"/>
                  </a:moveTo>
                  <a:lnTo>
                    <a:pt x="43" y="287"/>
                  </a:lnTo>
                  <a:lnTo>
                    <a:pt x="43" y="290"/>
                  </a:lnTo>
                  <a:lnTo>
                    <a:pt x="43" y="290"/>
                  </a:lnTo>
                  <a:lnTo>
                    <a:pt x="40" y="287"/>
                  </a:lnTo>
                  <a:lnTo>
                    <a:pt x="43" y="293"/>
                  </a:lnTo>
                  <a:lnTo>
                    <a:pt x="43" y="293"/>
                  </a:lnTo>
                  <a:lnTo>
                    <a:pt x="43" y="293"/>
                  </a:lnTo>
                  <a:lnTo>
                    <a:pt x="46" y="293"/>
                  </a:lnTo>
                  <a:lnTo>
                    <a:pt x="46" y="293"/>
                  </a:lnTo>
                  <a:lnTo>
                    <a:pt x="46" y="293"/>
                  </a:lnTo>
                  <a:lnTo>
                    <a:pt x="46" y="293"/>
                  </a:lnTo>
                  <a:lnTo>
                    <a:pt x="46" y="290"/>
                  </a:lnTo>
                  <a:lnTo>
                    <a:pt x="46" y="290"/>
                  </a:lnTo>
                  <a:close/>
                  <a:moveTo>
                    <a:pt x="249" y="280"/>
                  </a:moveTo>
                  <a:lnTo>
                    <a:pt x="249" y="282"/>
                  </a:lnTo>
                  <a:lnTo>
                    <a:pt x="252" y="282"/>
                  </a:lnTo>
                  <a:lnTo>
                    <a:pt x="252" y="282"/>
                  </a:lnTo>
                  <a:lnTo>
                    <a:pt x="252" y="282"/>
                  </a:lnTo>
                  <a:lnTo>
                    <a:pt x="252" y="282"/>
                  </a:lnTo>
                  <a:lnTo>
                    <a:pt x="252" y="280"/>
                  </a:lnTo>
                  <a:lnTo>
                    <a:pt x="249" y="280"/>
                  </a:lnTo>
                  <a:close/>
                  <a:moveTo>
                    <a:pt x="48" y="282"/>
                  </a:moveTo>
                  <a:lnTo>
                    <a:pt x="48" y="280"/>
                  </a:lnTo>
                  <a:lnTo>
                    <a:pt x="48" y="285"/>
                  </a:lnTo>
                  <a:lnTo>
                    <a:pt x="46" y="285"/>
                  </a:lnTo>
                  <a:lnTo>
                    <a:pt x="48" y="285"/>
                  </a:lnTo>
                  <a:lnTo>
                    <a:pt x="48" y="287"/>
                  </a:lnTo>
                  <a:lnTo>
                    <a:pt x="48" y="287"/>
                  </a:lnTo>
                  <a:lnTo>
                    <a:pt x="48" y="285"/>
                  </a:lnTo>
                  <a:lnTo>
                    <a:pt x="48" y="285"/>
                  </a:lnTo>
                  <a:lnTo>
                    <a:pt x="51" y="285"/>
                  </a:lnTo>
                  <a:lnTo>
                    <a:pt x="48" y="282"/>
                  </a:lnTo>
                  <a:lnTo>
                    <a:pt x="48" y="282"/>
                  </a:lnTo>
                  <a:close/>
                  <a:moveTo>
                    <a:pt x="53" y="275"/>
                  </a:moveTo>
                  <a:lnTo>
                    <a:pt x="53" y="277"/>
                  </a:lnTo>
                  <a:lnTo>
                    <a:pt x="51" y="277"/>
                  </a:lnTo>
                  <a:lnTo>
                    <a:pt x="53" y="277"/>
                  </a:lnTo>
                  <a:lnTo>
                    <a:pt x="51" y="280"/>
                  </a:lnTo>
                  <a:lnTo>
                    <a:pt x="53" y="280"/>
                  </a:lnTo>
                  <a:lnTo>
                    <a:pt x="53" y="277"/>
                  </a:lnTo>
                  <a:lnTo>
                    <a:pt x="53" y="277"/>
                  </a:lnTo>
                  <a:lnTo>
                    <a:pt x="53" y="275"/>
                  </a:lnTo>
                  <a:lnTo>
                    <a:pt x="53" y="275"/>
                  </a:lnTo>
                  <a:close/>
                  <a:moveTo>
                    <a:pt x="53" y="267"/>
                  </a:moveTo>
                  <a:lnTo>
                    <a:pt x="56" y="267"/>
                  </a:lnTo>
                  <a:lnTo>
                    <a:pt x="53" y="265"/>
                  </a:lnTo>
                  <a:lnTo>
                    <a:pt x="53" y="265"/>
                  </a:lnTo>
                  <a:lnTo>
                    <a:pt x="53" y="265"/>
                  </a:lnTo>
                  <a:lnTo>
                    <a:pt x="53" y="267"/>
                  </a:lnTo>
                  <a:lnTo>
                    <a:pt x="53" y="267"/>
                  </a:lnTo>
                  <a:close/>
                  <a:moveTo>
                    <a:pt x="99" y="318"/>
                  </a:moveTo>
                  <a:lnTo>
                    <a:pt x="99" y="318"/>
                  </a:lnTo>
                  <a:lnTo>
                    <a:pt x="102" y="321"/>
                  </a:lnTo>
                  <a:lnTo>
                    <a:pt x="104" y="321"/>
                  </a:lnTo>
                  <a:lnTo>
                    <a:pt x="104" y="313"/>
                  </a:lnTo>
                  <a:lnTo>
                    <a:pt x="104" y="310"/>
                  </a:lnTo>
                  <a:lnTo>
                    <a:pt x="102" y="308"/>
                  </a:lnTo>
                  <a:lnTo>
                    <a:pt x="102" y="305"/>
                  </a:lnTo>
                  <a:lnTo>
                    <a:pt x="102" y="303"/>
                  </a:lnTo>
                  <a:lnTo>
                    <a:pt x="102" y="300"/>
                  </a:lnTo>
                  <a:lnTo>
                    <a:pt x="102" y="298"/>
                  </a:lnTo>
                  <a:lnTo>
                    <a:pt x="102" y="295"/>
                  </a:lnTo>
                  <a:lnTo>
                    <a:pt x="102" y="293"/>
                  </a:lnTo>
                  <a:lnTo>
                    <a:pt x="104" y="287"/>
                  </a:lnTo>
                  <a:lnTo>
                    <a:pt x="104" y="287"/>
                  </a:lnTo>
                  <a:lnTo>
                    <a:pt x="104" y="285"/>
                  </a:lnTo>
                  <a:lnTo>
                    <a:pt x="102" y="285"/>
                  </a:lnTo>
                  <a:lnTo>
                    <a:pt x="102" y="282"/>
                  </a:lnTo>
                  <a:lnTo>
                    <a:pt x="102" y="282"/>
                  </a:lnTo>
                  <a:lnTo>
                    <a:pt x="102" y="282"/>
                  </a:lnTo>
                  <a:lnTo>
                    <a:pt x="99" y="280"/>
                  </a:lnTo>
                  <a:lnTo>
                    <a:pt x="99" y="280"/>
                  </a:lnTo>
                  <a:lnTo>
                    <a:pt x="99" y="277"/>
                  </a:lnTo>
                  <a:lnTo>
                    <a:pt x="97" y="277"/>
                  </a:lnTo>
                  <a:lnTo>
                    <a:pt x="91" y="277"/>
                  </a:lnTo>
                  <a:lnTo>
                    <a:pt x="91" y="275"/>
                  </a:lnTo>
                  <a:lnTo>
                    <a:pt x="94" y="272"/>
                  </a:lnTo>
                  <a:lnTo>
                    <a:pt x="94" y="272"/>
                  </a:lnTo>
                  <a:lnTo>
                    <a:pt x="91" y="270"/>
                  </a:lnTo>
                  <a:lnTo>
                    <a:pt x="91" y="270"/>
                  </a:lnTo>
                  <a:lnTo>
                    <a:pt x="89" y="270"/>
                  </a:lnTo>
                  <a:lnTo>
                    <a:pt x="89" y="270"/>
                  </a:lnTo>
                  <a:lnTo>
                    <a:pt x="86" y="270"/>
                  </a:lnTo>
                  <a:lnTo>
                    <a:pt x="86" y="270"/>
                  </a:lnTo>
                  <a:lnTo>
                    <a:pt x="86" y="270"/>
                  </a:lnTo>
                  <a:lnTo>
                    <a:pt x="81" y="270"/>
                  </a:lnTo>
                  <a:lnTo>
                    <a:pt x="79" y="267"/>
                  </a:lnTo>
                  <a:lnTo>
                    <a:pt x="79" y="267"/>
                  </a:lnTo>
                  <a:lnTo>
                    <a:pt x="76" y="265"/>
                  </a:lnTo>
                  <a:lnTo>
                    <a:pt x="74" y="262"/>
                  </a:lnTo>
                  <a:lnTo>
                    <a:pt x="71" y="262"/>
                  </a:lnTo>
                  <a:lnTo>
                    <a:pt x="71" y="262"/>
                  </a:lnTo>
                  <a:lnTo>
                    <a:pt x="66" y="265"/>
                  </a:lnTo>
                  <a:lnTo>
                    <a:pt x="66" y="265"/>
                  </a:lnTo>
                  <a:lnTo>
                    <a:pt x="66" y="267"/>
                  </a:lnTo>
                  <a:lnTo>
                    <a:pt x="66" y="270"/>
                  </a:lnTo>
                  <a:lnTo>
                    <a:pt x="66" y="270"/>
                  </a:lnTo>
                  <a:lnTo>
                    <a:pt x="63" y="270"/>
                  </a:lnTo>
                  <a:lnTo>
                    <a:pt x="63" y="270"/>
                  </a:lnTo>
                  <a:lnTo>
                    <a:pt x="63" y="272"/>
                  </a:lnTo>
                  <a:lnTo>
                    <a:pt x="61" y="272"/>
                  </a:lnTo>
                  <a:lnTo>
                    <a:pt x="58" y="272"/>
                  </a:lnTo>
                  <a:lnTo>
                    <a:pt x="58" y="275"/>
                  </a:lnTo>
                  <a:lnTo>
                    <a:pt x="58" y="275"/>
                  </a:lnTo>
                  <a:lnTo>
                    <a:pt x="58" y="275"/>
                  </a:lnTo>
                  <a:lnTo>
                    <a:pt x="58" y="277"/>
                  </a:lnTo>
                  <a:lnTo>
                    <a:pt x="56" y="275"/>
                  </a:lnTo>
                  <a:lnTo>
                    <a:pt x="56" y="275"/>
                  </a:lnTo>
                  <a:lnTo>
                    <a:pt x="56" y="275"/>
                  </a:lnTo>
                  <a:lnTo>
                    <a:pt x="56" y="277"/>
                  </a:lnTo>
                  <a:lnTo>
                    <a:pt x="58" y="280"/>
                  </a:lnTo>
                  <a:lnTo>
                    <a:pt x="61" y="282"/>
                  </a:lnTo>
                  <a:lnTo>
                    <a:pt x="63" y="282"/>
                  </a:lnTo>
                  <a:lnTo>
                    <a:pt x="63" y="285"/>
                  </a:lnTo>
                  <a:lnTo>
                    <a:pt x="66" y="287"/>
                  </a:lnTo>
                  <a:lnTo>
                    <a:pt x="63" y="287"/>
                  </a:lnTo>
                  <a:lnTo>
                    <a:pt x="63" y="285"/>
                  </a:lnTo>
                  <a:lnTo>
                    <a:pt x="61" y="285"/>
                  </a:lnTo>
                  <a:lnTo>
                    <a:pt x="58" y="282"/>
                  </a:lnTo>
                  <a:lnTo>
                    <a:pt x="58" y="285"/>
                  </a:lnTo>
                  <a:lnTo>
                    <a:pt x="58" y="285"/>
                  </a:lnTo>
                  <a:lnTo>
                    <a:pt x="61" y="287"/>
                  </a:lnTo>
                  <a:lnTo>
                    <a:pt x="63" y="287"/>
                  </a:lnTo>
                  <a:lnTo>
                    <a:pt x="63" y="290"/>
                  </a:lnTo>
                  <a:lnTo>
                    <a:pt x="63" y="293"/>
                  </a:lnTo>
                  <a:lnTo>
                    <a:pt x="63" y="293"/>
                  </a:lnTo>
                  <a:lnTo>
                    <a:pt x="66" y="293"/>
                  </a:lnTo>
                  <a:lnTo>
                    <a:pt x="66" y="290"/>
                  </a:lnTo>
                  <a:lnTo>
                    <a:pt x="69" y="290"/>
                  </a:lnTo>
                  <a:lnTo>
                    <a:pt x="71" y="290"/>
                  </a:lnTo>
                  <a:lnTo>
                    <a:pt x="71" y="290"/>
                  </a:lnTo>
                  <a:lnTo>
                    <a:pt x="74" y="290"/>
                  </a:lnTo>
                  <a:lnTo>
                    <a:pt x="74" y="290"/>
                  </a:lnTo>
                  <a:lnTo>
                    <a:pt x="74" y="290"/>
                  </a:lnTo>
                  <a:lnTo>
                    <a:pt x="74" y="290"/>
                  </a:lnTo>
                  <a:lnTo>
                    <a:pt x="74" y="287"/>
                  </a:lnTo>
                  <a:lnTo>
                    <a:pt x="74" y="287"/>
                  </a:lnTo>
                  <a:lnTo>
                    <a:pt x="71" y="287"/>
                  </a:lnTo>
                  <a:lnTo>
                    <a:pt x="71" y="287"/>
                  </a:lnTo>
                  <a:lnTo>
                    <a:pt x="69" y="287"/>
                  </a:lnTo>
                  <a:lnTo>
                    <a:pt x="69" y="285"/>
                  </a:lnTo>
                  <a:lnTo>
                    <a:pt x="69" y="282"/>
                  </a:lnTo>
                  <a:lnTo>
                    <a:pt x="66" y="282"/>
                  </a:lnTo>
                  <a:lnTo>
                    <a:pt x="66" y="280"/>
                  </a:lnTo>
                  <a:lnTo>
                    <a:pt x="69" y="280"/>
                  </a:lnTo>
                  <a:lnTo>
                    <a:pt x="69" y="280"/>
                  </a:lnTo>
                  <a:lnTo>
                    <a:pt x="71" y="282"/>
                  </a:lnTo>
                  <a:lnTo>
                    <a:pt x="74" y="285"/>
                  </a:lnTo>
                  <a:lnTo>
                    <a:pt x="76" y="287"/>
                  </a:lnTo>
                  <a:lnTo>
                    <a:pt x="79" y="290"/>
                  </a:lnTo>
                  <a:lnTo>
                    <a:pt x="79" y="293"/>
                  </a:lnTo>
                  <a:lnTo>
                    <a:pt x="79" y="293"/>
                  </a:lnTo>
                  <a:lnTo>
                    <a:pt x="81" y="293"/>
                  </a:lnTo>
                  <a:lnTo>
                    <a:pt x="81" y="295"/>
                  </a:lnTo>
                  <a:lnTo>
                    <a:pt x="79" y="300"/>
                  </a:lnTo>
                  <a:lnTo>
                    <a:pt x="79" y="300"/>
                  </a:lnTo>
                  <a:lnTo>
                    <a:pt x="79" y="303"/>
                  </a:lnTo>
                  <a:lnTo>
                    <a:pt x="76" y="303"/>
                  </a:lnTo>
                  <a:lnTo>
                    <a:pt x="76" y="305"/>
                  </a:lnTo>
                  <a:lnTo>
                    <a:pt x="79" y="308"/>
                  </a:lnTo>
                  <a:lnTo>
                    <a:pt x="79" y="310"/>
                  </a:lnTo>
                  <a:lnTo>
                    <a:pt x="79" y="310"/>
                  </a:lnTo>
                  <a:lnTo>
                    <a:pt x="79" y="313"/>
                  </a:lnTo>
                  <a:lnTo>
                    <a:pt x="81" y="313"/>
                  </a:lnTo>
                  <a:lnTo>
                    <a:pt x="84" y="315"/>
                  </a:lnTo>
                  <a:lnTo>
                    <a:pt x="84" y="318"/>
                  </a:lnTo>
                  <a:lnTo>
                    <a:pt x="84" y="318"/>
                  </a:lnTo>
                  <a:lnTo>
                    <a:pt x="84" y="318"/>
                  </a:lnTo>
                  <a:lnTo>
                    <a:pt x="81" y="321"/>
                  </a:lnTo>
                  <a:lnTo>
                    <a:pt x="84" y="323"/>
                  </a:lnTo>
                  <a:lnTo>
                    <a:pt x="84" y="323"/>
                  </a:lnTo>
                  <a:lnTo>
                    <a:pt x="86" y="323"/>
                  </a:lnTo>
                  <a:lnTo>
                    <a:pt x="91" y="326"/>
                  </a:lnTo>
                  <a:lnTo>
                    <a:pt x="91" y="323"/>
                  </a:lnTo>
                  <a:lnTo>
                    <a:pt x="91" y="323"/>
                  </a:lnTo>
                  <a:lnTo>
                    <a:pt x="89" y="321"/>
                  </a:lnTo>
                  <a:lnTo>
                    <a:pt x="89" y="321"/>
                  </a:lnTo>
                  <a:lnTo>
                    <a:pt x="89" y="318"/>
                  </a:lnTo>
                  <a:lnTo>
                    <a:pt x="86" y="315"/>
                  </a:lnTo>
                  <a:lnTo>
                    <a:pt x="89" y="313"/>
                  </a:lnTo>
                  <a:lnTo>
                    <a:pt x="89" y="313"/>
                  </a:lnTo>
                  <a:lnTo>
                    <a:pt x="89" y="313"/>
                  </a:lnTo>
                  <a:lnTo>
                    <a:pt x="91" y="313"/>
                  </a:lnTo>
                  <a:lnTo>
                    <a:pt x="91" y="313"/>
                  </a:lnTo>
                  <a:lnTo>
                    <a:pt x="91" y="315"/>
                  </a:lnTo>
                  <a:lnTo>
                    <a:pt x="91" y="315"/>
                  </a:lnTo>
                  <a:lnTo>
                    <a:pt x="91" y="315"/>
                  </a:lnTo>
                  <a:lnTo>
                    <a:pt x="91" y="315"/>
                  </a:lnTo>
                  <a:lnTo>
                    <a:pt x="91" y="318"/>
                  </a:lnTo>
                  <a:lnTo>
                    <a:pt x="94" y="321"/>
                  </a:lnTo>
                  <a:lnTo>
                    <a:pt x="94" y="323"/>
                  </a:lnTo>
                  <a:lnTo>
                    <a:pt x="94" y="326"/>
                  </a:lnTo>
                  <a:lnTo>
                    <a:pt x="94" y="326"/>
                  </a:lnTo>
                  <a:lnTo>
                    <a:pt x="94" y="326"/>
                  </a:lnTo>
                  <a:lnTo>
                    <a:pt x="94" y="328"/>
                  </a:lnTo>
                  <a:lnTo>
                    <a:pt x="94" y="328"/>
                  </a:lnTo>
                  <a:lnTo>
                    <a:pt x="97" y="326"/>
                  </a:lnTo>
                  <a:lnTo>
                    <a:pt x="102" y="323"/>
                  </a:lnTo>
                  <a:lnTo>
                    <a:pt x="99" y="321"/>
                  </a:lnTo>
                  <a:lnTo>
                    <a:pt x="99" y="318"/>
                  </a:lnTo>
                  <a:close/>
                  <a:moveTo>
                    <a:pt x="99" y="262"/>
                  </a:moveTo>
                  <a:lnTo>
                    <a:pt x="99" y="262"/>
                  </a:lnTo>
                  <a:lnTo>
                    <a:pt x="99" y="262"/>
                  </a:lnTo>
                  <a:lnTo>
                    <a:pt x="99" y="265"/>
                  </a:lnTo>
                  <a:lnTo>
                    <a:pt x="102" y="265"/>
                  </a:lnTo>
                  <a:lnTo>
                    <a:pt x="102" y="265"/>
                  </a:lnTo>
                  <a:lnTo>
                    <a:pt x="104" y="265"/>
                  </a:lnTo>
                  <a:lnTo>
                    <a:pt x="104" y="262"/>
                  </a:lnTo>
                  <a:lnTo>
                    <a:pt x="104" y="262"/>
                  </a:lnTo>
                  <a:lnTo>
                    <a:pt x="102" y="262"/>
                  </a:lnTo>
                  <a:lnTo>
                    <a:pt x="99" y="262"/>
                  </a:lnTo>
                  <a:close/>
                  <a:moveTo>
                    <a:pt x="104" y="259"/>
                  </a:moveTo>
                  <a:lnTo>
                    <a:pt x="104" y="257"/>
                  </a:lnTo>
                  <a:lnTo>
                    <a:pt x="104" y="257"/>
                  </a:lnTo>
                  <a:lnTo>
                    <a:pt x="104" y="257"/>
                  </a:lnTo>
                  <a:lnTo>
                    <a:pt x="102" y="257"/>
                  </a:lnTo>
                  <a:lnTo>
                    <a:pt x="102" y="259"/>
                  </a:lnTo>
                  <a:lnTo>
                    <a:pt x="104" y="259"/>
                  </a:lnTo>
                  <a:lnTo>
                    <a:pt x="104" y="259"/>
                  </a:lnTo>
                  <a:close/>
                  <a:moveTo>
                    <a:pt x="40" y="254"/>
                  </a:moveTo>
                  <a:lnTo>
                    <a:pt x="40" y="254"/>
                  </a:lnTo>
                  <a:lnTo>
                    <a:pt x="38" y="254"/>
                  </a:lnTo>
                  <a:lnTo>
                    <a:pt x="40" y="257"/>
                  </a:lnTo>
                  <a:lnTo>
                    <a:pt x="40" y="259"/>
                  </a:lnTo>
                  <a:lnTo>
                    <a:pt x="40" y="257"/>
                  </a:lnTo>
                  <a:lnTo>
                    <a:pt x="40" y="254"/>
                  </a:lnTo>
                  <a:close/>
                  <a:moveTo>
                    <a:pt x="148" y="262"/>
                  </a:moveTo>
                  <a:lnTo>
                    <a:pt x="145" y="262"/>
                  </a:lnTo>
                  <a:lnTo>
                    <a:pt x="145" y="259"/>
                  </a:lnTo>
                  <a:lnTo>
                    <a:pt x="142" y="257"/>
                  </a:lnTo>
                  <a:lnTo>
                    <a:pt x="140" y="257"/>
                  </a:lnTo>
                  <a:lnTo>
                    <a:pt x="137" y="254"/>
                  </a:lnTo>
                  <a:lnTo>
                    <a:pt x="135" y="254"/>
                  </a:lnTo>
                  <a:lnTo>
                    <a:pt x="130" y="252"/>
                  </a:lnTo>
                  <a:lnTo>
                    <a:pt x="127" y="252"/>
                  </a:lnTo>
                  <a:lnTo>
                    <a:pt x="127" y="254"/>
                  </a:lnTo>
                  <a:lnTo>
                    <a:pt x="125" y="254"/>
                  </a:lnTo>
                  <a:lnTo>
                    <a:pt x="125" y="254"/>
                  </a:lnTo>
                  <a:lnTo>
                    <a:pt x="122" y="254"/>
                  </a:lnTo>
                  <a:lnTo>
                    <a:pt x="125" y="257"/>
                  </a:lnTo>
                  <a:lnTo>
                    <a:pt x="125" y="259"/>
                  </a:lnTo>
                  <a:lnTo>
                    <a:pt x="125" y="259"/>
                  </a:lnTo>
                  <a:lnTo>
                    <a:pt x="122" y="262"/>
                  </a:lnTo>
                  <a:lnTo>
                    <a:pt x="119" y="262"/>
                  </a:lnTo>
                  <a:lnTo>
                    <a:pt x="119" y="262"/>
                  </a:lnTo>
                  <a:lnTo>
                    <a:pt x="117" y="262"/>
                  </a:lnTo>
                  <a:lnTo>
                    <a:pt x="117" y="262"/>
                  </a:lnTo>
                  <a:lnTo>
                    <a:pt x="114" y="262"/>
                  </a:lnTo>
                  <a:lnTo>
                    <a:pt x="112" y="259"/>
                  </a:lnTo>
                  <a:lnTo>
                    <a:pt x="112" y="259"/>
                  </a:lnTo>
                  <a:lnTo>
                    <a:pt x="109" y="259"/>
                  </a:lnTo>
                  <a:lnTo>
                    <a:pt x="109" y="262"/>
                  </a:lnTo>
                  <a:lnTo>
                    <a:pt x="109" y="262"/>
                  </a:lnTo>
                  <a:lnTo>
                    <a:pt x="109" y="265"/>
                  </a:lnTo>
                  <a:lnTo>
                    <a:pt x="109" y="265"/>
                  </a:lnTo>
                  <a:lnTo>
                    <a:pt x="109" y="267"/>
                  </a:lnTo>
                  <a:lnTo>
                    <a:pt x="107" y="270"/>
                  </a:lnTo>
                  <a:lnTo>
                    <a:pt x="107" y="272"/>
                  </a:lnTo>
                  <a:lnTo>
                    <a:pt x="104" y="272"/>
                  </a:lnTo>
                  <a:lnTo>
                    <a:pt x="102" y="275"/>
                  </a:lnTo>
                  <a:lnTo>
                    <a:pt x="102" y="275"/>
                  </a:lnTo>
                  <a:lnTo>
                    <a:pt x="102" y="275"/>
                  </a:lnTo>
                  <a:lnTo>
                    <a:pt x="104" y="275"/>
                  </a:lnTo>
                  <a:lnTo>
                    <a:pt x="107" y="275"/>
                  </a:lnTo>
                  <a:lnTo>
                    <a:pt x="107" y="275"/>
                  </a:lnTo>
                  <a:lnTo>
                    <a:pt x="109" y="277"/>
                  </a:lnTo>
                  <a:lnTo>
                    <a:pt x="109" y="277"/>
                  </a:lnTo>
                  <a:lnTo>
                    <a:pt x="109" y="277"/>
                  </a:lnTo>
                  <a:lnTo>
                    <a:pt x="112" y="277"/>
                  </a:lnTo>
                  <a:lnTo>
                    <a:pt x="112" y="280"/>
                  </a:lnTo>
                  <a:lnTo>
                    <a:pt x="112" y="280"/>
                  </a:lnTo>
                  <a:lnTo>
                    <a:pt x="112" y="280"/>
                  </a:lnTo>
                  <a:lnTo>
                    <a:pt x="112" y="282"/>
                  </a:lnTo>
                  <a:lnTo>
                    <a:pt x="112" y="282"/>
                  </a:lnTo>
                  <a:lnTo>
                    <a:pt x="114" y="285"/>
                  </a:lnTo>
                  <a:lnTo>
                    <a:pt x="114" y="285"/>
                  </a:lnTo>
                  <a:lnTo>
                    <a:pt x="117" y="285"/>
                  </a:lnTo>
                  <a:lnTo>
                    <a:pt x="117" y="290"/>
                  </a:lnTo>
                  <a:lnTo>
                    <a:pt x="119" y="287"/>
                  </a:lnTo>
                  <a:lnTo>
                    <a:pt x="122" y="290"/>
                  </a:lnTo>
                  <a:lnTo>
                    <a:pt x="122" y="290"/>
                  </a:lnTo>
                  <a:lnTo>
                    <a:pt x="122" y="287"/>
                  </a:lnTo>
                  <a:lnTo>
                    <a:pt x="122" y="285"/>
                  </a:lnTo>
                  <a:lnTo>
                    <a:pt x="122" y="282"/>
                  </a:lnTo>
                  <a:lnTo>
                    <a:pt x="125" y="282"/>
                  </a:lnTo>
                  <a:lnTo>
                    <a:pt x="125" y="282"/>
                  </a:lnTo>
                  <a:lnTo>
                    <a:pt x="125" y="277"/>
                  </a:lnTo>
                  <a:lnTo>
                    <a:pt x="125" y="275"/>
                  </a:lnTo>
                  <a:lnTo>
                    <a:pt x="130" y="272"/>
                  </a:lnTo>
                  <a:lnTo>
                    <a:pt x="130" y="272"/>
                  </a:lnTo>
                  <a:lnTo>
                    <a:pt x="135" y="272"/>
                  </a:lnTo>
                  <a:lnTo>
                    <a:pt x="137" y="272"/>
                  </a:lnTo>
                  <a:lnTo>
                    <a:pt x="142" y="277"/>
                  </a:lnTo>
                  <a:lnTo>
                    <a:pt x="142" y="277"/>
                  </a:lnTo>
                  <a:lnTo>
                    <a:pt x="142" y="275"/>
                  </a:lnTo>
                  <a:lnTo>
                    <a:pt x="142" y="275"/>
                  </a:lnTo>
                  <a:lnTo>
                    <a:pt x="142" y="272"/>
                  </a:lnTo>
                  <a:lnTo>
                    <a:pt x="142" y="270"/>
                  </a:lnTo>
                  <a:lnTo>
                    <a:pt x="145" y="267"/>
                  </a:lnTo>
                  <a:lnTo>
                    <a:pt x="148" y="265"/>
                  </a:lnTo>
                  <a:lnTo>
                    <a:pt x="148" y="265"/>
                  </a:lnTo>
                  <a:lnTo>
                    <a:pt x="148" y="262"/>
                  </a:lnTo>
                  <a:close/>
                  <a:moveTo>
                    <a:pt x="132" y="252"/>
                  </a:moveTo>
                  <a:lnTo>
                    <a:pt x="135" y="249"/>
                  </a:lnTo>
                  <a:lnTo>
                    <a:pt x="135" y="249"/>
                  </a:lnTo>
                  <a:lnTo>
                    <a:pt x="135" y="249"/>
                  </a:lnTo>
                  <a:lnTo>
                    <a:pt x="135" y="249"/>
                  </a:lnTo>
                  <a:lnTo>
                    <a:pt x="135" y="249"/>
                  </a:lnTo>
                  <a:lnTo>
                    <a:pt x="132" y="249"/>
                  </a:lnTo>
                  <a:lnTo>
                    <a:pt x="132" y="249"/>
                  </a:lnTo>
                  <a:lnTo>
                    <a:pt x="132" y="249"/>
                  </a:lnTo>
                  <a:lnTo>
                    <a:pt x="132" y="252"/>
                  </a:lnTo>
                  <a:close/>
                  <a:moveTo>
                    <a:pt x="145" y="249"/>
                  </a:moveTo>
                  <a:lnTo>
                    <a:pt x="145" y="249"/>
                  </a:lnTo>
                  <a:lnTo>
                    <a:pt x="145" y="249"/>
                  </a:lnTo>
                  <a:lnTo>
                    <a:pt x="142" y="252"/>
                  </a:lnTo>
                  <a:lnTo>
                    <a:pt x="142" y="254"/>
                  </a:lnTo>
                  <a:lnTo>
                    <a:pt x="142" y="254"/>
                  </a:lnTo>
                  <a:lnTo>
                    <a:pt x="145" y="257"/>
                  </a:lnTo>
                  <a:lnTo>
                    <a:pt x="148" y="257"/>
                  </a:lnTo>
                  <a:lnTo>
                    <a:pt x="148" y="254"/>
                  </a:lnTo>
                  <a:lnTo>
                    <a:pt x="145" y="252"/>
                  </a:lnTo>
                  <a:lnTo>
                    <a:pt x="148" y="249"/>
                  </a:lnTo>
                  <a:lnTo>
                    <a:pt x="145" y="249"/>
                  </a:lnTo>
                  <a:close/>
                  <a:moveTo>
                    <a:pt x="38" y="252"/>
                  </a:moveTo>
                  <a:lnTo>
                    <a:pt x="40" y="252"/>
                  </a:lnTo>
                  <a:lnTo>
                    <a:pt x="40" y="254"/>
                  </a:lnTo>
                  <a:lnTo>
                    <a:pt x="40" y="252"/>
                  </a:lnTo>
                  <a:lnTo>
                    <a:pt x="40" y="252"/>
                  </a:lnTo>
                  <a:lnTo>
                    <a:pt x="40" y="249"/>
                  </a:lnTo>
                  <a:lnTo>
                    <a:pt x="40" y="247"/>
                  </a:lnTo>
                  <a:lnTo>
                    <a:pt x="40" y="247"/>
                  </a:lnTo>
                  <a:lnTo>
                    <a:pt x="40" y="247"/>
                  </a:lnTo>
                  <a:lnTo>
                    <a:pt x="40" y="244"/>
                  </a:lnTo>
                  <a:lnTo>
                    <a:pt x="38" y="247"/>
                  </a:lnTo>
                  <a:lnTo>
                    <a:pt x="38" y="247"/>
                  </a:lnTo>
                  <a:lnTo>
                    <a:pt x="38" y="249"/>
                  </a:lnTo>
                  <a:lnTo>
                    <a:pt x="38" y="252"/>
                  </a:lnTo>
                  <a:close/>
                  <a:moveTo>
                    <a:pt x="229" y="244"/>
                  </a:moveTo>
                  <a:lnTo>
                    <a:pt x="227" y="244"/>
                  </a:lnTo>
                  <a:lnTo>
                    <a:pt x="227" y="244"/>
                  </a:lnTo>
                  <a:lnTo>
                    <a:pt x="229" y="244"/>
                  </a:lnTo>
                  <a:lnTo>
                    <a:pt x="229" y="244"/>
                  </a:lnTo>
                  <a:lnTo>
                    <a:pt x="229" y="244"/>
                  </a:lnTo>
                  <a:lnTo>
                    <a:pt x="229" y="244"/>
                  </a:lnTo>
                  <a:close/>
                  <a:moveTo>
                    <a:pt x="97" y="211"/>
                  </a:moveTo>
                  <a:lnTo>
                    <a:pt x="99" y="211"/>
                  </a:lnTo>
                  <a:lnTo>
                    <a:pt x="99" y="211"/>
                  </a:lnTo>
                  <a:lnTo>
                    <a:pt x="99" y="209"/>
                  </a:lnTo>
                  <a:lnTo>
                    <a:pt x="97" y="206"/>
                  </a:lnTo>
                  <a:lnTo>
                    <a:pt x="97" y="209"/>
                  </a:lnTo>
                  <a:lnTo>
                    <a:pt x="97" y="209"/>
                  </a:lnTo>
                  <a:lnTo>
                    <a:pt x="97" y="211"/>
                  </a:lnTo>
                  <a:close/>
                  <a:moveTo>
                    <a:pt x="176" y="173"/>
                  </a:moveTo>
                  <a:lnTo>
                    <a:pt x="176" y="173"/>
                  </a:lnTo>
                  <a:lnTo>
                    <a:pt x="178" y="170"/>
                  </a:lnTo>
                  <a:lnTo>
                    <a:pt x="178" y="168"/>
                  </a:lnTo>
                  <a:lnTo>
                    <a:pt x="176" y="168"/>
                  </a:lnTo>
                  <a:lnTo>
                    <a:pt x="176" y="165"/>
                  </a:lnTo>
                  <a:lnTo>
                    <a:pt x="176" y="163"/>
                  </a:lnTo>
                  <a:lnTo>
                    <a:pt x="173" y="160"/>
                  </a:lnTo>
                  <a:lnTo>
                    <a:pt x="173" y="163"/>
                  </a:lnTo>
                  <a:lnTo>
                    <a:pt x="173" y="165"/>
                  </a:lnTo>
                  <a:lnTo>
                    <a:pt x="173" y="168"/>
                  </a:lnTo>
                  <a:lnTo>
                    <a:pt x="173" y="168"/>
                  </a:lnTo>
                  <a:lnTo>
                    <a:pt x="173" y="168"/>
                  </a:lnTo>
                  <a:lnTo>
                    <a:pt x="176" y="170"/>
                  </a:lnTo>
                  <a:lnTo>
                    <a:pt x="176" y="170"/>
                  </a:lnTo>
                  <a:lnTo>
                    <a:pt x="176" y="173"/>
                  </a:lnTo>
                  <a:lnTo>
                    <a:pt x="173" y="173"/>
                  </a:lnTo>
                  <a:lnTo>
                    <a:pt x="176" y="173"/>
                  </a:lnTo>
                  <a:close/>
                  <a:moveTo>
                    <a:pt x="242" y="219"/>
                  </a:moveTo>
                  <a:lnTo>
                    <a:pt x="237" y="214"/>
                  </a:lnTo>
                  <a:lnTo>
                    <a:pt x="237" y="211"/>
                  </a:lnTo>
                  <a:lnTo>
                    <a:pt x="234" y="209"/>
                  </a:lnTo>
                  <a:lnTo>
                    <a:pt x="234" y="209"/>
                  </a:lnTo>
                  <a:lnTo>
                    <a:pt x="234" y="206"/>
                  </a:lnTo>
                  <a:lnTo>
                    <a:pt x="234" y="203"/>
                  </a:lnTo>
                  <a:lnTo>
                    <a:pt x="234" y="203"/>
                  </a:lnTo>
                  <a:lnTo>
                    <a:pt x="234" y="198"/>
                  </a:lnTo>
                  <a:lnTo>
                    <a:pt x="232" y="196"/>
                  </a:lnTo>
                  <a:lnTo>
                    <a:pt x="234" y="193"/>
                  </a:lnTo>
                  <a:lnTo>
                    <a:pt x="234" y="193"/>
                  </a:lnTo>
                  <a:lnTo>
                    <a:pt x="234" y="191"/>
                  </a:lnTo>
                  <a:lnTo>
                    <a:pt x="234" y="188"/>
                  </a:lnTo>
                  <a:lnTo>
                    <a:pt x="232" y="181"/>
                  </a:lnTo>
                  <a:lnTo>
                    <a:pt x="227" y="175"/>
                  </a:lnTo>
                  <a:lnTo>
                    <a:pt x="227" y="173"/>
                  </a:lnTo>
                  <a:lnTo>
                    <a:pt x="224" y="170"/>
                  </a:lnTo>
                  <a:lnTo>
                    <a:pt x="221" y="168"/>
                  </a:lnTo>
                  <a:lnTo>
                    <a:pt x="221" y="165"/>
                  </a:lnTo>
                  <a:lnTo>
                    <a:pt x="221" y="160"/>
                  </a:lnTo>
                  <a:lnTo>
                    <a:pt x="221" y="160"/>
                  </a:lnTo>
                  <a:lnTo>
                    <a:pt x="224" y="160"/>
                  </a:lnTo>
                  <a:lnTo>
                    <a:pt x="227" y="160"/>
                  </a:lnTo>
                  <a:lnTo>
                    <a:pt x="229" y="160"/>
                  </a:lnTo>
                  <a:lnTo>
                    <a:pt x="229" y="158"/>
                  </a:lnTo>
                  <a:lnTo>
                    <a:pt x="227" y="155"/>
                  </a:lnTo>
                  <a:lnTo>
                    <a:pt x="227" y="150"/>
                  </a:lnTo>
                  <a:lnTo>
                    <a:pt x="227" y="150"/>
                  </a:lnTo>
                  <a:lnTo>
                    <a:pt x="227" y="147"/>
                  </a:lnTo>
                  <a:lnTo>
                    <a:pt x="227" y="147"/>
                  </a:lnTo>
                  <a:lnTo>
                    <a:pt x="227" y="145"/>
                  </a:lnTo>
                  <a:lnTo>
                    <a:pt x="227" y="145"/>
                  </a:lnTo>
                  <a:lnTo>
                    <a:pt x="227" y="145"/>
                  </a:lnTo>
                  <a:lnTo>
                    <a:pt x="227" y="145"/>
                  </a:lnTo>
                  <a:lnTo>
                    <a:pt x="227" y="145"/>
                  </a:lnTo>
                  <a:lnTo>
                    <a:pt x="227" y="142"/>
                  </a:lnTo>
                  <a:lnTo>
                    <a:pt x="229" y="142"/>
                  </a:lnTo>
                  <a:lnTo>
                    <a:pt x="227" y="140"/>
                  </a:lnTo>
                  <a:lnTo>
                    <a:pt x="227" y="135"/>
                  </a:lnTo>
                  <a:lnTo>
                    <a:pt x="224" y="132"/>
                  </a:lnTo>
                  <a:lnTo>
                    <a:pt x="224" y="130"/>
                  </a:lnTo>
                  <a:lnTo>
                    <a:pt x="221" y="130"/>
                  </a:lnTo>
                  <a:lnTo>
                    <a:pt x="221" y="127"/>
                  </a:lnTo>
                  <a:lnTo>
                    <a:pt x="221" y="127"/>
                  </a:lnTo>
                  <a:lnTo>
                    <a:pt x="219" y="125"/>
                  </a:lnTo>
                  <a:lnTo>
                    <a:pt x="216" y="122"/>
                  </a:lnTo>
                  <a:lnTo>
                    <a:pt x="211" y="117"/>
                  </a:lnTo>
                  <a:lnTo>
                    <a:pt x="206" y="114"/>
                  </a:lnTo>
                  <a:lnTo>
                    <a:pt x="204" y="112"/>
                  </a:lnTo>
                  <a:lnTo>
                    <a:pt x="201" y="112"/>
                  </a:lnTo>
                  <a:lnTo>
                    <a:pt x="198" y="109"/>
                  </a:lnTo>
                  <a:lnTo>
                    <a:pt x="198" y="107"/>
                  </a:lnTo>
                  <a:lnTo>
                    <a:pt x="193" y="99"/>
                  </a:lnTo>
                  <a:lnTo>
                    <a:pt x="193" y="97"/>
                  </a:lnTo>
                  <a:lnTo>
                    <a:pt x="191" y="94"/>
                  </a:lnTo>
                  <a:lnTo>
                    <a:pt x="188" y="94"/>
                  </a:lnTo>
                  <a:lnTo>
                    <a:pt x="188" y="94"/>
                  </a:lnTo>
                  <a:lnTo>
                    <a:pt x="183" y="92"/>
                  </a:lnTo>
                  <a:lnTo>
                    <a:pt x="183" y="92"/>
                  </a:lnTo>
                  <a:lnTo>
                    <a:pt x="181" y="92"/>
                  </a:lnTo>
                  <a:lnTo>
                    <a:pt x="181" y="92"/>
                  </a:lnTo>
                  <a:lnTo>
                    <a:pt x="181" y="94"/>
                  </a:lnTo>
                  <a:lnTo>
                    <a:pt x="181" y="97"/>
                  </a:lnTo>
                  <a:lnTo>
                    <a:pt x="183" y="99"/>
                  </a:lnTo>
                  <a:lnTo>
                    <a:pt x="188" y="99"/>
                  </a:lnTo>
                  <a:lnTo>
                    <a:pt x="188" y="97"/>
                  </a:lnTo>
                  <a:lnTo>
                    <a:pt x="188" y="97"/>
                  </a:lnTo>
                  <a:lnTo>
                    <a:pt x="188" y="97"/>
                  </a:lnTo>
                  <a:lnTo>
                    <a:pt x="191" y="97"/>
                  </a:lnTo>
                  <a:lnTo>
                    <a:pt x="191" y="99"/>
                  </a:lnTo>
                  <a:lnTo>
                    <a:pt x="193" y="102"/>
                  </a:lnTo>
                  <a:lnTo>
                    <a:pt x="193" y="104"/>
                  </a:lnTo>
                  <a:lnTo>
                    <a:pt x="191" y="104"/>
                  </a:lnTo>
                  <a:lnTo>
                    <a:pt x="188" y="104"/>
                  </a:lnTo>
                  <a:lnTo>
                    <a:pt x="186" y="104"/>
                  </a:lnTo>
                  <a:lnTo>
                    <a:pt x="186" y="104"/>
                  </a:lnTo>
                  <a:lnTo>
                    <a:pt x="186" y="107"/>
                  </a:lnTo>
                  <a:lnTo>
                    <a:pt x="186" y="107"/>
                  </a:lnTo>
                  <a:lnTo>
                    <a:pt x="186" y="104"/>
                  </a:lnTo>
                  <a:lnTo>
                    <a:pt x="183" y="104"/>
                  </a:lnTo>
                  <a:lnTo>
                    <a:pt x="181" y="99"/>
                  </a:lnTo>
                  <a:lnTo>
                    <a:pt x="178" y="99"/>
                  </a:lnTo>
                  <a:lnTo>
                    <a:pt x="178" y="97"/>
                  </a:lnTo>
                  <a:lnTo>
                    <a:pt x="176" y="97"/>
                  </a:lnTo>
                  <a:lnTo>
                    <a:pt x="176" y="97"/>
                  </a:lnTo>
                  <a:lnTo>
                    <a:pt x="173" y="97"/>
                  </a:lnTo>
                  <a:lnTo>
                    <a:pt x="173" y="97"/>
                  </a:lnTo>
                  <a:lnTo>
                    <a:pt x="173" y="99"/>
                  </a:lnTo>
                  <a:lnTo>
                    <a:pt x="176" y="102"/>
                  </a:lnTo>
                  <a:lnTo>
                    <a:pt x="176" y="104"/>
                  </a:lnTo>
                  <a:lnTo>
                    <a:pt x="178" y="107"/>
                  </a:lnTo>
                  <a:lnTo>
                    <a:pt x="178" y="107"/>
                  </a:lnTo>
                  <a:lnTo>
                    <a:pt x="176" y="107"/>
                  </a:lnTo>
                  <a:lnTo>
                    <a:pt x="176" y="107"/>
                  </a:lnTo>
                  <a:lnTo>
                    <a:pt x="176" y="107"/>
                  </a:lnTo>
                  <a:lnTo>
                    <a:pt x="173" y="109"/>
                  </a:lnTo>
                  <a:lnTo>
                    <a:pt x="173" y="109"/>
                  </a:lnTo>
                  <a:lnTo>
                    <a:pt x="173" y="112"/>
                  </a:lnTo>
                  <a:lnTo>
                    <a:pt x="173" y="112"/>
                  </a:lnTo>
                  <a:lnTo>
                    <a:pt x="176" y="114"/>
                  </a:lnTo>
                  <a:lnTo>
                    <a:pt x="178" y="117"/>
                  </a:lnTo>
                  <a:lnTo>
                    <a:pt x="178" y="120"/>
                  </a:lnTo>
                  <a:lnTo>
                    <a:pt x="181" y="122"/>
                  </a:lnTo>
                  <a:lnTo>
                    <a:pt x="181" y="125"/>
                  </a:lnTo>
                  <a:lnTo>
                    <a:pt x="181" y="122"/>
                  </a:lnTo>
                  <a:lnTo>
                    <a:pt x="181" y="125"/>
                  </a:lnTo>
                  <a:lnTo>
                    <a:pt x="178" y="125"/>
                  </a:lnTo>
                  <a:lnTo>
                    <a:pt x="178" y="125"/>
                  </a:lnTo>
                  <a:lnTo>
                    <a:pt x="181" y="125"/>
                  </a:lnTo>
                  <a:lnTo>
                    <a:pt x="181" y="125"/>
                  </a:lnTo>
                  <a:lnTo>
                    <a:pt x="183" y="125"/>
                  </a:lnTo>
                  <a:lnTo>
                    <a:pt x="183" y="127"/>
                  </a:lnTo>
                  <a:lnTo>
                    <a:pt x="186" y="130"/>
                  </a:lnTo>
                  <a:lnTo>
                    <a:pt x="188" y="132"/>
                  </a:lnTo>
                  <a:lnTo>
                    <a:pt x="188" y="135"/>
                  </a:lnTo>
                  <a:lnTo>
                    <a:pt x="191" y="137"/>
                  </a:lnTo>
                  <a:lnTo>
                    <a:pt x="191" y="137"/>
                  </a:lnTo>
                  <a:lnTo>
                    <a:pt x="191" y="137"/>
                  </a:lnTo>
                  <a:lnTo>
                    <a:pt x="191" y="140"/>
                  </a:lnTo>
                  <a:lnTo>
                    <a:pt x="191" y="140"/>
                  </a:lnTo>
                  <a:lnTo>
                    <a:pt x="191" y="142"/>
                  </a:lnTo>
                  <a:lnTo>
                    <a:pt x="191" y="147"/>
                  </a:lnTo>
                  <a:lnTo>
                    <a:pt x="191" y="150"/>
                  </a:lnTo>
                  <a:lnTo>
                    <a:pt x="191" y="153"/>
                  </a:lnTo>
                  <a:lnTo>
                    <a:pt x="191" y="155"/>
                  </a:lnTo>
                  <a:lnTo>
                    <a:pt x="191" y="158"/>
                  </a:lnTo>
                  <a:lnTo>
                    <a:pt x="191" y="160"/>
                  </a:lnTo>
                  <a:lnTo>
                    <a:pt x="191" y="163"/>
                  </a:lnTo>
                  <a:lnTo>
                    <a:pt x="193" y="165"/>
                  </a:lnTo>
                  <a:lnTo>
                    <a:pt x="193" y="165"/>
                  </a:lnTo>
                  <a:lnTo>
                    <a:pt x="191" y="168"/>
                  </a:lnTo>
                  <a:lnTo>
                    <a:pt x="186" y="173"/>
                  </a:lnTo>
                  <a:lnTo>
                    <a:pt x="186" y="173"/>
                  </a:lnTo>
                  <a:lnTo>
                    <a:pt x="186" y="175"/>
                  </a:lnTo>
                  <a:lnTo>
                    <a:pt x="186" y="178"/>
                  </a:lnTo>
                  <a:lnTo>
                    <a:pt x="186" y="181"/>
                  </a:lnTo>
                  <a:lnTo>
                    <a:pt x="186" y="183"/>
                  </a:lnTo>
                  <a:lnTo>
                    <a:pt x="183" y="186"/>
                  </a:lnTo>
                  <a:lnTo>
                    <a:pt x="181" y="188"/>
                  </a:lnTo>
                  <a:lnTo>
                    <a:pt x="178" y="188"/>
                  </a:lnTo>
                  <a:lnTo>
                    <a:pt x="176" y="191"/>
                  </a:lnTo>
                  <a:lnTo>
                    <a:pt x="170" y="193"/>
                  </a:lnTo>
                  <a:lnTo>
                    <a:pt x="170" y="193"/>
                  </a:lnTo>
                  <a:lnTo>
                    <a:pt x="168" y="196"/>
                  </a:lnTo>
                  <a:lnTo>
                    <a:pt x="168" y="198"/>
                  </a:lnTo>
                  <a:lnTo>
                    <a:pt x="168" y="198"/>
                  </a:lnTo>
                  <a:lnTo>
                    <a:pt x="165" y="196"/>
                  </a:lnTo>
                  <a:lnTo>
                    <a:pt x="163" y="196"/>
                  </a:lnTo>
                  <a:lnTo>
                    <a:pt x="160" y="193"/>
                  </a:lnTo>
                  <a:lnTo>
                    <a:pt x="160" y="193"/>
                  </a:lnTo>
                  <a:lnTo>
                    <a:pt x="160" y="191"/>
                  </a:lnTo>
                  <a:lnTo>
                    <a:pt x="158" y="188"/>
                  </a:lnTo>
                  <a:lnTo>
                    <a:pt x="158" y="188"/>
                  </a:lnTo>
                  <a:lnTo>
                    <a:pt x="158" y="188"/>
                  </a:lnTo>
                  <a:lnTo>
                    <a:pt x="158" y="186"/>
                  </a:lnTo>
                  <a:lnTo>
                    <a:pt x="160" y="186"/>
                  </a:lnTo>
                  <a:lnTo>
                    <a:pt x="163" y="181"/>
                  </a:lnTo>
                  <a:lnTo>
                    <a:pt x="160" y="181"/>
                  </a:lnTo>
                  <a:lnTo>
                    <a:pt x="160" y="181"/>
                  </a:lnTo>
                  <a:lnTo>
                    <a:pt x="158" y="181"/>
                  </a:lnTo>
                  <a:lnTo>
                    <a:pt x="155" y="183"/>
                  </a:lnTo>
                  <a:lnTo>
                    <a:pt x="153" y="183"/>
                  </a:lnTo>
                  <a:lnTo>
                    <a:pt x="153" y="188"/>
                  </a:lnTo>
                  <a:lnTo>
                    <a:pt x="155" y="193"/>
                  </a:lnTo>
                  <a:lnTo>
                    <a:pt x="158" y="198"/>
                  </a:lnTo>
                  <a:lnTo>
                    <a:pt x="155" y="201"/>
                  </a:lnTo>
                  <a:lnTo>
                    <a:pt x="155" y="206"/>
                  </a:lnTo>
                  <a:lnTo>
                    <a:pt x="153" y="209"/>
                  </a:lnTo>
                  <a:lnTo>
                    <a:pt x="153" y="209"/>
                  </a:lnTo>
                  <a:lnTo>
                    <a:pt x="153" y="211"/>
                  </a:lnTo>
                  <a:lnTo>
                    <a:pt x="153" y="216"/>
                  </a:lnTo>
                  <a:lnTo>
                    <a:pt x="153" y="219"/>
                  </a:lnTo>
                  <a:lnTo>
                    <a:pt x="155" y="221"/>
                  </a:lnTo>
                  <a:lnTo>
                    <a:pt x="155" y="221"/>
                  </a:lnTo>
                  <a:lnTo>
                    <a:pt x="153" y="224"/>
                  </a:lnTo>
                  <a:lnTo>
                    <a:pt x="153" y="226"/>
                  </a:lnTo>
                  <a:lnTo>
                    <a:pt x="150" y="226"/>
                  </a:lnTo>
                  <a:lnTo>
                    <a:pt x="148" y="226"/>
                  </a:lnTo>
                  <a:lnTo>
                    <a:pt x="142" y="226"/>
                  </a:lnTo>
                  <a:lnTo>
                    <a:pt x="142" y="226"/>
                  </a:lnTo>
                  <a:lnTo>
                    <a:pt x="140" y="224"/>
                  </a:lnTo>
                  <a:lnTo>
                    <a:pt x="140" y="224"/>
                  </a:lnTo>
                  <a:lnTo>
                    <a:pt x="140" y="221"/>
                  </a:lnTo>
                  <a:lnTo>
                    <a:pt x="140" y="221"/>
                  </a:lnTo>
                  <a:lnTo>
                    <a:pt x="137" y="221"/>
                  </a:lnTo>
                  <a:lnTo>
                    <a:pt x="135" y="224"/>
                  </a:lnTo>
                  <a:lnTo>
                    <a:pt x="125" y="224"/>
                  </a:lnTo>
                  <a:lnTo>
                    <a:pt x="125" y="224"/>
                  </a:lnTo>
                  <a:lnTo>
                    <a:pt x="122" y="226"/>
                  </a:lnTo>
                  <a:lnTo>
                    <a:pt x="117" y="226"/>
                  </a:lnTo>
                  <a:lnTo>
                    <a:pt x="117" y="226"/>
                  </a:lnTo>
                  <a:lnTo>
                    <a:pt x="114" y="226"/>
                  </a:lnTo>
                  <a:lnTo>
                    <a:pt x="112" y="226"/>
                  </a:lnTo>
                  <a:lnTo>
                    <a:pt x="109" y="226"/>
                  </a:lnTo>
                  <a:lnTo>
                    <a:pt x="109" y="226"/>
                  </a:lnTo>
                  <a:lnTo>
                    <a:pt x="107" y="226"/>
                  </a:lnTo>
                  <a:lnTo>
                    <a:pt x="104" y="224"/>
                  </a:lnTo>
                  <a:lnTo>
                    <a:pt x="102" y="224"/>
                  </a:lnTo>
                  <a:lnTo>
                    <a:pt x="99" y="226"/>
                  </a:lnTo>
                  <a:lnTo>
                    <a:pt x="94" y="226"/>
                  </a:lnTo>
                  <a:lnTo>
                    <a:pt x="94" y="229"/>
                  </a:lnTo>
                  <a:lnTo>
                    <a:pt x="94" y="231"/>
                  </a:lnTo>
                  <a:lnTo>
                    <a:pt x="91" y="234"/>
                  </a:lnTo>
                  <a:lnTo>
                    <a:pt x="89" y="237"/>
                  </a:lnTo>
                  <a:lnTo>
                    <a:pt x="89" y="239"/>
                  </a:lnTo>
                  <a:lnTo>
                    <a:pt x="86" y="239"/>
                  </a:lnTo>
                  <a:lnTo>
                    <a:pt x="86" y="242"/>
                  </a:lnTo>
                  <a:lnTo>
                    <a:pt x="86" y="244"/>
                  </a:lnTo>
                  <a:lnTo>
                    <a:pt x="84" y="247"/>
                  </a:lnTo>
                  <a:lnTo>
                    <a:pt x="81" y="247"/>
                  </a:lnTo>
                  <a:lnTo>
                    <a:pt x="81" y="249"/>
                  </a:lnTo>
                  <a:lnTo>
                    <a:pt x="79" y="249"/>
                  </a:lnTo>
                  <a:lnTo>
                    <a:pt x="79" y="252"/>
                  </a:lnTo>
                  <a:lnTo>
                    <a:pt x="76" y="252"/>
                  </a:lnTo>
                  <a:lnTo>
                    <a:pt x="74" y="252"/>
                  </a:lnTo>
                  <a:lnTo>
                    <a:pt x="71" y="252"/>
                  </a:lnTo>
                  <a:lnTo>
                    <a:pt x="71" y="252"/>
                  </a:lnTo>
                  <a:lnTo>
                    <a:pt x="71" y="254"/>
                  </a:lnTo>
                  <a:lnTo>
                    <a:pt x="71" y="254"/>
                  </a:lnTo>
                  <a:lnTo>
                    <a:pt x="74" y="262"/>
                  </a:lnTo>
                  <a:lnTo>
                    <a:pt x="76" y="259"/>
                  </a:lnTo>
                  <a:lnTo>
                    <a:pt x="76" y="259"/>
                  </a:lnTo>
                  <a:lnTo>
                    <a:pt x="79" y="262"/>
                  </a:lnTo>
                  <a:lnTo>
                    <a:pt x="81" y="262"/>
                  </a:lnTo>
                  <a:lnTo>
                    <a:pt x="81" y="262"/>
                  </a:lnTo>
                  <a:lnTo>
                    <a:pt x="84" y="262"/>
                  </a:lnTo>
                  <a:lnTo>
                    <a:pt x="84" y="259"/>
                  </a:lnTo>
                  <a:lnTo>
                    <a:pt x="89" y="259"/>
                  </a:lnTo>
                  <a:lnTo>
                    <a:pt x="89" y="259"/>
                  </a:lnTo>
                  <a:lnTo>
                    <a:pt x="97" y="265"/>
                  </a:lnTo>
                  <a:lnTo>
                    <a:pt x="99" y="265"/>
                  </a:lnTo>
                  <a:lnTo>
                    <a:pt x="99" y="262"/>
                  </a:lnTo>
                  <a:lnTo>
                    <a:pt x="99" y="259"/>
                  </a:lnTo>
                  <a:lnTo>
                    <a:pt x="97" y="257"/>
                  </a:lnTo>
                  <a:lnTo>
                    <a:pt x="97" y="254"/>
                  </a:lnTo>
                  <a:lnTo>
                    <a:pt x="99" y="252"/>
                  </a:lnTo>
                  <a:lnTo>
                    <a:pt x="102" y="254"/>
                  </a:lnTo>
                  <a:lnTo>
                    <a:pt x="104" y="254"/>
                  </a:lnTo>
                  <a:lnTo>
                    <a:pt x="107" y="254"/>
                  </a:lnTo>
                  <a:lnTo>
                    <a:pt x="112" y="254"/>
                  </a:lnTo>
                  <a:lnTo>
                    <a:pt x="114" y="254"/>
                  </a:lnTo>
                  <a:lnTo>
                    <a:pt x="114" y="252"/>
                  </a:lnTo>
                  <a:lnTo>
                    <a:pt x="117" y="252"/>
                  </a:lnTo>
                  <a:lnTo>
                    <a:pt x="117" y="252"/>
                  </a:lnTo>
                  <a:lnTo>
                    <a:pt x="119" y="252"/>
                  </a:lnTo>
                  <a:lnTo>
                    <a:pt x="119" y="249"/>
                  </a:lnTo>
                  <a:lnTo>
                    <a:pt x="122" y="249"/>
                  </a:lnTo>
                  <a:lnTo>
                    <a:pt x="125" y="249"/>
                  </a:lnTo>
                  <a:lnTo>
                    <a:pt x="127" y="249"/>
                  </a:lnTo>
                  <a:lnTo>
                    <a:pt x="130" y="247"/>
                  </a:lnTo>
                  <a:lnTo>
                    <a:pt x="130" y="244"/>
                  </a:lnTo>
                  <a:lnTo>
                    <a:pt x="130" y="244"/>
                  </a:lnTo>
                  <a:lnTo>
                    <a:pt x="132" y="244"/>
                  </a:lnTo>
                  <a:lnTo>
                    <a:pt x="135" y="244"/>
                  </a:lnTo>
                  <a:lnTo>
                    <a:pt x="137" y="244"/>
                  </a:lnTo>
                  <a:lnTo>
                    <a:pt x="140" y="244"/>
                  </a:lnTo>
                  <a:lnTo>
                    <a:pt x="140" y="244"/>
                  </a:lnTo>
                  <a:lnTo>
                    <a:pt x="145" y="247"/>
                  </a:lnTo>
                  <a:lnTo>
                    <a:pt x="148" y="247"/>
                  </a:lnTo>
                  <a:lnTo>
                    <a:pt x="150" y="247"/>
                  </a:lnTo>
                  <a:lnTo>
                    <a:pt x="153" y="247"/>
                  </a:lnTo>
                  <a:lnTo>
                    <a:pt x="153" y="247"/>
                  </a:lnTo>
                  <a:lnTo>
                    <a:pt x="155" y="249"/>
                  </a:lnTo>
                  <a:lnTo>
                    <a:pt x="155" y="249"/>
                  </a:lnTo>
                  <a:lnTo>
                    <a:pt x="153" y="252"/>
                  </a:lnTo>
                  <a:lnTo>
                    <a:pt x="153" y="252"/>
                  </a:lnTo>
                  <a:lnTo>
                    <a:pt x="150" y="254"/>
                  </a:lnTo>
                  <a:lnTo>
                    <a:pt x="150" y="254"/>
                  </a:lnTo>
                  <a:lnTo>
                    <a:pt x="153" y="257"/>
                  </a:lnTo>
                  <a:lnTo>
                    <a:pt x="155" y="259"/>
                  </a:lnTo>
                  <a:lnTo>
                    <a:pt x="155" y="262"/>
                  </a:lnTo>
                  <a:lnTo>
                    <a:pt x="158" y="265"/>
                  </a:lnTo>
                  <a:lnTo>
                    <a:pt x="160" y="267"/>
                  </a:lnTo>
                  <a:lnTo>
                    <a:pt x="163" y="270"/>
                  </a:lnTo>
                  <a:lnTo>
                    <a:pt x="165" y="272"/>
                  </a:lnTo>
                  <a:lnTo>
                    <a:pt x="170" y="272"/>
                  </a:lnTo>
                  <a:lnTo>
                    <a:pt x="173" y="270"/>
                  </a:lnTo>
                  <a:lnTo>
                    <a:pt x="173" y="267"/>
                  </a:lnTo>
                  <a:lnTo>
                    <a:pt x="176" y="259"/>
                  </a:lnTo>
                  <a:lnTo>
                    <a:pt x="176" y="257"/>
                  </a:lnTo>
                  <a:lnTo>
                    <a:pt x="178" y="254"/>
                  </a:lnTo>
                  <a:lnTo>
                    <a:pt x="183" y="254"/>
                  </a:lnTo>
                  <a:lnTo>
                    <a:pt x="183" y="254"/>
                  </a:lnTo>
                  <a:lnTo>
                    <a:pt x="183" y="252"/>
                  </a:lnTo>
                  <a:lnTo>
                    <a:pt x="183" y="252"/>
                  </a:lnTo>
                  <a:lnTo>
                    <a:pt x="183" y="249"/>
                  </a:lnTo>
                  <a:lnTo>
                    <a:pt x="176" y="247"/>
                  </a:lnTo>
                  <a:lnTo>
                    <a:pt x="176" y="244"/>
                  </a:lnTo>
                  <a:lnTo>
                    <a:pt x="173" y="242"/>
                  </a:lnTo>
                  <a:lnTo>
                    <a:pt x="176" y="239"/>
                  </a:lnTo>
                  <a:lnTo>
                    <a:pt x="176" y="237"/>
                  </a:lnTo>
                  <a:lnTo>
                    <a:pt x="176" y="237"/>
                  </a:lnTo>
                  <a:lnTo>
                    <a:pt x="176" y="237"/>
                  </a:lnTo>
                  <a:lnTo>
                    <a:pt x="178" y="237"/>
                  </a:lnTo>
                  <a:lnTo>
                    <a:pt x="178" y="239"/>
                  </a:lnTo>
                  <a:lnTo>
                    <a:pt x="178" y="239"/>
                  </a:lnTo>
                  <a:lnTo>
                    <a:pt x="181" y="242"/>
                  </a:lnTo>
                  <a:lnTo>
                    <a:pt x="181" y="244"/>
                  </a:lnTo>
                  <a:lnTo>
                    <a:pt x="181" y="244"/>
                  </a:lnTo>
                  <a:lnTo>
                    <a:pt x="181" y="244"/>
                  </a:lnTo>
                  <a:lnTo>
                    <a:pt x="181" y="242"/>
                  </a:lnTo>
                  <a:lnTo>
                    <a:pt x="181" y="242"/>
                  </a:lnTo>
                  <a:lnTo>
                    <a:pt x="183" y="242"/>
                  </a:lnTo>
                  <a:lnTo>
                    <a:pt x="183" y="244"/>
                  </a:lnTo>
                  <a:lnTo>
                    <a:pt x="183" y="244"/>
                  </a:lnTo>
                  <a:lnTo>
                    <a:pt x="186" y="244"/>
                  </a:lnTo>
                  <a:lnTo>
                    <a:pt x="188" y="244"/>
                  </a:lnTo>
                  <a:lnTo>
                    <a:pt x="188" y="244"/>
                  </a:lnTo>
                  <a:lnTo>
                    <a:pt x="188" y="244"/>
                  </a:lnTo>
                  <a:lnTo>
                    <a:pt x="186" y="247"/>
                  </a:lnTo>
                  <a:lnTo>
                    <a:pt x="186" y="247"/>
                  </a:lnTo>
                  <a:lnTo>
                    <a:pt x="191" y="247"/>
                  </a:lnTo>
                  <a:lnTo>
                    <a:pt x="193" y="247"/>
                  </a:lnTo>
                  <a:lnTo>
                    <a:pt x="198" y="247"/>
                  </a:lnTo>
                  <a:lnTo>
                    <a:pt x="201" y="247"/>
                  </a:lnTo>
                  <a:lnTo>
                    <a:pt x="201" y="247"/>
                  </a:lnTo>
                  <a:lnTo>
                    <a:pt x="206" y="247"/>
                  </a:lnTo>
                  <a:lnTo>
                    <a:pt x="206" y="244"/>
                  </a:lnTo>
                  <a:lnTo>
                    <a:pt x="206" y="242"/>
                  </a:lnTo>
                  <a:lnTo>
                    <a:pt x="209" y="239"/>
                  </a:lnTo>
                  <a:lnTo>
                    <a:pt x="209" y="239"/>
                  </a:lnTo>
                  <a:lnTo>
                    <a:pt x="209" y="237"/>
                  </a:lnTo>
                  <a:lnTo>
                    <a:pt x="209" y="237"/>
                  </a:lnTo>
                  <a:lnTo>
                    <a:pt x="211" y="234"/>
                  </a:lnTo>
                  <a:lnTo>
                    <a:pt x="214" y="237"/>
                  </a:lnTo>
                  <a:lnTo>
                    <a:pt x="216" y="237"/>
                  </a:lnTo>
                  <a:lnTo>
                    <a:pt x="214" y="239"/>
                  </a:lnTo>
                  <a:lnTo>
                    <a:pt x="216" y="242"/>
                  </a:lnTo>
                  <a:lnTo>
                    <a:pt x="216" y="244"/>
                  </a:lnTo>
                  <a:lnTo>
                    <a:pt x="216" y="247"/>
                  </a:lnTo>
                  <a:lnTo>
                    <a:pt x="219" y="247"/>
                  </a:lnTo>
                  <a:lnTo>
                    <a:pt x="219" y="247"/>
                  </a:lnTo>
                  <a:lnTo>
                    <a:pt x="221" y="244"/>
                  </a:lnTo>
                  <a:lnTo>
                    <a:pt x="221" y="244"/>
                  </a:lnTo>
                  <a:lnTo>
                    <a:pt x="221" y="242"/>
                  </a:lnTo>
                  <a:lnTo>
                    <a:pt x="221" y="239"/>
                  </a:lnTo>
                  <a:lnTo>
                    <a:pt x="219" y="237"/>
                  </a:lnTo>
                  <a:lnTo>
                    <a:pt x="219" y="234"/>
                  </a:lnTo>
                  <a:lnTo>
                    <a:pt x="219" y="234"/>
                  </a:lnTo>
                  <a:lnTo>
                    <a:pt x="219" y="231"/>
                  </a:lnTo>
                  <a:lnTo>
                    <a:pt x="221" y="231"/>
                  </a:lnTo>
                  <a:lnTo>
                    <a:pt x="224" y="231"/>
                  </a:lnTo>
                  <a:lnTo>
                    <a:pt x="227" y="231"/>
                  </a:lnTo>
                  <a:lnTo>
                    <a:pt x="229" y="234"/>
                  </a:lnTo>
                  <a:lnTo>
                    <a:pt x="229" y="234"/>
                  </a:lnTo>
                  <a:lnTo>
                    <a:pt x="229" y="234"/>
                  </a:lnTo>
                  <a:lnTo>
                    <a:pt x="229" y="231"/>
                  </a:lnTo>
                  <a:lnTo>
                    <a:pt x="229" y="231"/>
                  </a:lnTo>
                  <a:lnTo>
                    <a:pt x="227" y="231"/>
                  </a:lnTo>
                  <a:lnTo>
                    <a:pt x="227" y="229"/>
                  </a:lnTo>
                  <a:lnTo>
                    <a:pt x="227" y="226"/>
                  </a:lnTo>
                  <a:lnTo>
                    <a:pt x="227" y="226"/>
                  </a:lnTo>
                  <a:lnTo>
                    <a:pt x="227" y="226"/>
                  </a:lnTo>
                  <a:lnTo>
                    <a:pt x="227" y="224"/>
                  </a:lnTo>
                  <a:lnTo>
                    <a:pt x="227" y="224"/>
                  </a:lnTo>
                  <a:lnTo>
                    <a:pt x="229" y="221"/>
                  </a:lnTo>
                  <a:lnTo>
                    <a:pt x="229" y="221"/>
                  </a:lnTo>
                  <a:lnTo>
                    <a:pt x="232" y="224"/>
                  </a:lnTo>
                  <a:lnTo>
                    <a:pt x="232" y="224"/>
                  </a:lnTo>
                  <a:lnTo>
                    <a:pt x="234" y="226"/>
                  </a:lnTo>
                  <a:lnTo>
                    <a:pt x="232" y="226"/>
                  </a:lnTo>
                  <a:lnTo>
                    <a:pt x="232" y="229"/>
                  </a:lnTo>
                  <a:lnTo>
                    <a:pt x="232" y="229"/>
                  </a:lnTo>
                  <a:lnTo>
                    <a:pt x="232" y="231"/>
                  </a:lnTo>
                  <a:lnTo>
                    <a:pt x="232" y="231"/>
                  </a:lnTo>
                  <a:lnTo>
                    <a:pt x="234" y="237"/>
                  </a:lnTo>
                  <a:lnTo>
                    <a:pt x="234" y="237"/>
                  </a:lnTo>
                  <a:lnTo>
                    <a:pt x="234" y="239"/>
                  </a:lnTo>
                  <a:lnTo>
                    <a:pt x="234" y="239"/>
                  </a:lnTo>
                  <a:lnTo>
                    <a:pt x="237" y="239"/>
                  </a:lnTo>
                  <a:lnTo>
                    <a:pt x="237" y="239"/>
                  </a:lnTo>
                  <a:lnTo>
                    <a:pt x="237" y="237"/>
                  </a:lnTo>
                  <a:lnTo>
                    <a:pt x="239" y="237"/>
                  </a:lnTo>
                  <a:lnTo>
                    <a:pt x="242" y="234"/>
                  </a:lnTo>
                  <a:lnTo>
                    <a:pt x="242" y="234"/>
                  </a:lnTo>
                  <a:lnTo>
                    <a:pt x="242" y="234"/>
                  </a:lnTo>
                  <a:lnTo>
                    <a:pt x="242" y="231"/>
                  </a:lnTo>
                  <a:lnTo>
                    <a:pt x="242" y="229"/>
                  </a:lnTo>
                  <a:lnTo>
                    <a:pt x="239" y="226"/>
                  </a:lnTo>
                  <a:lnTo>
                    <a:pt x="242" y="224"/>
                  </a:lnTo>
                  <a:lnTo>
                    <a:pt x="242" y="224"/>
                  </a:lnTo>
                  <a:lnTo>
                    <a:pt x="247" y="221"/>
                  </a:lnTo>
                  <a:lnTo>
                    <a:pt x="244" y="219"/>
                  </a:lnTo>
                  <a:lnTo>
                    <a:pt x="242" y="219"/>
                  </a:lnTo>
                  <a:close/>
                  <a:moveTo>
                    <a:pt x="145" y="76"/>
                  </a:moveTo>
                  <a:lnTo>
                    <a:pt x="145" y="76"/>
                  </a:lnTo>
                  <a:lnTo>
                    <a:pt x="145" y="76"/>
                  </a:lnTo>
                  <a:lnTo>
                    <a:pt x="145" y="79"/>
                  </a:lnTo>
                  <a:lnTo>
                    <a:pt x="145" y="79"/>
                  </a:lnTo>
                  <a:lnTo>
                    <a:pt x="148" y="79"/>
                  </a:lnTo>
                  <a:lnTo>
                    <a:pt x="148" y="79"/>
                  </a:lnTo>
                  <a:lnTo>
                    <a:pt x="145" y="74"/>
                  </a:lnTo>
                  <a:lnTo>
                    <a:pt x="145" y="76"/>
                  </a:lnTo>
                  <a:close/>
                  <a:moveTo>
                    <a:pt x="137" y="10"/>
                  </a:moveTo>
                  <a:lnTo>
                    <a:pt x="137" y="10"/>
                  </a:lnTo>
                  <a:lnTo>
                    <a:pt x="137" y="10"/>
                  </a:lnTo>
                  <a:lnTo>
                    <a:pt x="137" y="8"/>
                  </a:lnTo>
                  <a:lnTo>
                    <a:pt x="135" y="8"/>
                  </a:lnTo>
                  <a:lnTo>
                    <a:pt x="135" y="8"/>
                  </a:lnTo>
                  <a:lnTo>
                    <a:pt x="135" y="8"/>
                  </a:lnTo>
                  <a:lnTo>
                    <a:pt x="135" y="10"/>
                  </a:lnTo>
                  <a:lnTo>
                    <a:pt x="137" y="10"/>
                  </a:lnTo>
                  <a:close/>
                  <a:moveTo>
                    <a:pt x="132" y="8"/>
                  </a:moveTo>
                  <a:lnTo>
                    <a:pt x="132" y="5"/>
                  </a:lnTo>
                  <a:lnTo>
                    <a:pt x="130" y="2"/>
                  </a:lnTo>
                  <a:lnTo>
                    <a:pt x="130" y="2"/>
                  </a:lnTo>
                  <a:lnTo>
                    <a:pt x="127" y="2"/>
                  </a:lnTo>
                  <a:lnTo>
                    <a:pt x="127" y="2"/>
                  </a:lnTo>
                  <a:lnTo>
                    <a:pt x="130" y="5"/>
                  </a:lnTo>
                  <a:lnTo>
                    <a:pt x="132" y="8"/>
                  </a:lnTo>
                  <a:close/>
                  <a:moveTo>
                    <a:pt x="142" y="5"/>
                  </a:moveTo>
                  <a:lnTo>
                    <a:pt x="142" y="8"/>
                  </a:lnTo>
                  <a:lnTo>
                    <a:pt x="142" y="10"/>
                  </a:lnTo>
                  <a:lnTo>
                    <a:pt x="145" y="10"/>
                  </a:lnTo>
                  <a:lnTo>
                    <a:pt x="148" y="15"/>
                  </a:lnTo>
                  <a:lnTo>
                    <a:pt x="153" y="20"/>
                  </a:lnTo>
                  <a:lnTo>
                    <a:pt x="155" y="25"/>
                  </a:lnTo>
                  <a:lnTo>
                    <a:pt x="155" y="28"/>
                  </a:lnTo>
                  <a:lnTo>
                    <a:pt x="158" y="30"/>
                  </a:lnTo>
                  <a:lnTo>
                    <a:pt x="160" y="36"/>
                  </a:lnTo>
                  <a:lnTo>
                    <a:pt x="160" y="38"/>
                  </a:lnTo>
                  <a:lnTo>
                    <a:pt x="160" y="41"/>
                  </a:lnTo>
                  <a:lnTo>
                    <a:pt x="160" y="43"/>
                  </a:lnTo>
                  <a:lnTo>
                    <a:pt x="163" y="46"/>
                  </a:lnTo>
                  <a:lnTo>
                    <a:pt x="165" y="51"/>
                  </a:lnTo>
                  <a:lnTo>
                    <a:pt x="165" y="51"/>
                  </a:lnTo>
                  <a:lnTo>
                    <a:pt x="165" y="53"/>
                  </a:lnTo>
                  <a:lnTo>
                    <a:pt x="163" y="53"/>
                  </a:lnTo>
                  <a:lnTo>
                    <a:pt x="163" y="53"/>
                  </a:lnTo>
                  <a:lnTo>
                    <a:pt x="158" y="53"/>
                  </a:lnTo>
                  <a:lnTo>
                    <a:pt x="155" y="53"/>
                  </a:lnTo>
                  <a:lnTo>
                    <a:pt x="155" y="53"/>
                  </a:lnTo>
                  <a:lnTo>
                    <a:pt x="150" y="51"/>
                  </a:lnTo>
                  <a:lnTo>
                    <a:pt x="148" y="51"/>
                  </a:lnTo>
                  <a:lnTo>
                    <a:pt x="148" y="51"/>
                  </a:lnTo>
                  <a:lnTo>
                    <a:pt x="148" y="53"/>
                  </a:lnTo>
                  <a:lnTo>
                    <a:pt x="148" y="53"/>
                  </a:lnTo>
                  <a:lnTo>
                    <a:pt x="153" y="56"/>
                  </a:lnTo>
                  <a:lnTo>
                    <a:pt x="153" y="58"/>
                  </a:lnTo>
                  <a:lnTo>
                    <a:pt x="153" y="61"/>
                  </a:lnTo>
                  <a:lnTo>
                    <a:pt x="150" y="64"/>
                  </a:lnTo>
                  <a:lnTo>
                    <a:pt x="150" y="64"/>
                  </a:lnTo>
                  <a:lnTo>
                    <a:pt x="148" y="66"/>
                  </a:lnTo>
                  <a:lnTo>
                    <a:pt x="148" y="66"/>
                  </a:lnTo>
                  <a:lnTo>
                    <a:pt x="148" y="66"/>
                  </a:lnTo>
                  <a:lnTo>
                    <a:pt x="148" y="66"/>
                  </a:lnTo>
                  <a:lnTo>
                    <a:pt x="148" y="71"/>
                  </a:lnTo>
                  <a:lnTo>
                    <a:pt x="148" y="71"/>
                  </a:lnTo>
                  <a:lnTo>
                    <a:pt x="150" y="74"/>
                  </a:lnTo>
                  <a:lnTo>
                    <a:pt x="153" y="76"/>
                  </a:lnTo>
                  <a:lnTo>
                    <a:pt x="155" y="79"/>
                  </a:lnTo>
                  <a:lnTo>
                    <a:pt x="158" y="79"/>
                  </a:lnTo>
                  <a:lnTo>
                    <a:pt x="160" y="81"/>
                  </a:lnTo>
                  <a:lnTo>
                    <a:pt x="160" y="84"/>
                  </a:lnTo>
                  <a:lnTo>
                    <a:pt x="160" y="86"/>
                  </a:lnTo>
                  <a:lnTo>
                    <a:pt x="163" y="89"/>
                  </a:lnTo>
                  <a:lnTo>
                    <a:pt x="163" y="92"/>
                  </a:lnTo>
                  <a:lnTo>
                    <a:pt x="165" y="92"/>
                  </a:lnTo>
                  <a:lnTo>
                    <a:pt x="165" y="92"/>
                  </a:lnTo>
                  <a:lnTo>
                    <a:pt x="168" y="94"/>
                  </a:lnTo>
                  <a:lnTo>
                    <a:pt x="168" y="92"/>
                  </a:lnTo>
                  <a:lnTo>
                    <a:pt x="170" y="92"/>
                  </a:lnTo>
                  <a:lnTo>
                    <a:pt x="170" y="89"/>
                  </a:lnTo>
                  <a:lnTo>
                    <a:pt x="170" y="86"/>
                  </a:lnTo>
                  <a:lnTo>
                    <a:pt x="170" y="86"/>
                  </a:lnTo>
                  <a:lnTo>
                    <a:pt x="170" y="84"/>
                  </a:lnTo>
                  <a:lnTo>
                    <a:pt x="176" y="86"/>
                  </a:lnTo>
                  <a:lnTo>
                    <a:pt x="178" y="86"/>
                  </a:lnTo>
                  <a:lnTo>
                    <a:pt x="178" y="86"/>
                  </a:lnTo>
                  <a:lnTo>
                    <a:pt x="181" y="86"/>
                  </a:lnTo>
                  <a:lnTo>
                    <a:pt x="181" y="84"/>
                  </a:lnTo>
                  <a:lnTo>
                    <a:pt x="178" y="84"/>
                  </a:lnTo>
                  <a:lnTo>
                    <a:pt x="173" y="81"/>
                  </a:lnTo>
                  <a:lnTo>
                    <a:pt x="168" y="79"/>
                  </a:lnTo>
                  <a:lnTo>
                    <a:pt x="168" y="76"/>
                  </a:lnTo>
                  <a:lnTo>
                    <a:pt x="165" y="79"/>
                  </a:lnTo>
                  <a:lnTo>
                    <a:pt x="165" y="76"/>
                  </a:lnTo>
                  <a:lnTo>
                    <a:pt x="163" y="76"/>
                  </a:lnTo>
                  <a:lnTo>
                    <a:pt x="160" y="74"/>
                  </a:lnTo>
                  <a:lnTo>
                    <a:pt x="158" y="74"/>
                  </a:lnTo>
                  <a:lnTo>
                    <a:pt x="158" y="71"/>
                  </a:lnTo>
                  <a:lnTo>
                    <a:pt x="158" y="71"/>
                  </a:lnTo>
                  <a:lnTo>
                    <a:pt x="158" y="69"/>
                  </a:lnTo>
                  <a:lnTo>
                    <a:pt x="158" y="69"/>
                  </a:lnTo>
                  <a:lnTo>
                    <a:pt x="160" y="69"/>
                  </a:lnTo>
                  <a:lnTo>
                    <a:pt x="160" y="69"/>
                  </a:lnTo>
                  <a:lnTo>
                    <a:pt x="163" y="69"/>
                  </a:lnTo>
                  <a:lnTo>
                    <a:pt x="165" y="69"/>
                  </a:lnTo>
                  <a:lnTo>
                    <a:pt x="170" y="71"/>
                  </a:lnTo>
                  <a:lnTo>
                    <a:pt x="170" y="74"/>
                  </a:lnTo>
                  <a:lnTo>
                    <a:pt x="176" y="69"/>
                  </a:lnTo>
                  <a:lnTo>
                    <a:pt x="183" y="69"/>
                  </a:lnTo>
                  <a:lnTo>
                    <a:pt x="188" y="69"/>
                  </a:lnTo>
                  <a:lnTo>
                    <a:pt x="198" y="74"/>
                  </a:lnTo>
                  <a:lnTo>
                    <a:pt x="209" y="79"/>
                  </a:lnTo>
                  <a:lnTo>
                    <a:pt x="214" y="79"/>
                  </a:lnTo>
                  <a:lnTo>
                    <a:pt x="216" y="81"/>
                  </a:lnTo>
                  <a:lnTo>
                    <a:pt x="216" y="79"/>
                  </a:lnTo>
                  <a:lnTo>
                    <a:pt x="216" y="79"/>
                  </a:lnTo>
                  <a:lnTo>
                    <a:pt x="216" y="76"/>
                  </a:lnTo>
                  <a:lnTo>
                    <a:pt x="216" y="76"/>
                  </a:lnTo>
                  <a:lnTo>
                    <a:pt x="214" y="74"/>
                  </a:lnTo>
                  <a:lnTo>
                    <a:pt x="214" y="71"/>
                  </a:lnTo>
                  <a:lnTo>
                    <a:pt x="214" y="66"/>
                  </a:lnTo>
                  <a:lnTo>
                    <a:pt x="216" y="64"/>
                  </a:lnTo>
                  <a:lnTo>
                    <a:pt x="219" y="61"/>
                  </a:lnTo>
                  <a:lnTo>
                    <a:pt x="221" y="58"/>
                  </a:lnTo>
                  <a:lnTo>
                    <a:pt x="221" y="58"/>
                  </a:lnTo>
                  <a:lnTo>
                    <a:pt x="227" y="58"/>
                  </a:lnTo>
                  <a:lnTo>
                    <a:pt x="229" y="58"/>
                  </a:lnTo>
                  <a:lnTo>
                    <a:pt x="232" y="58"/>
                  </a:lnTo>
                  <a:lnTo>
                    <a:pt x="234" y="58"/>
                  </a:lnTo>
                  <a:lnTo>
                    <a:pt x="234" y="58"/>
                  </a:lnTo>
                  <a:lnTo>
                    <a:pt x="237" y="56"/>
                  </a:lnTo>
                  <a:lnTo>
                    <a:pt x="237" y="56"/>
                  </a:lnTo>
                  <a:lnTo>
                    <a:pt x="239" y="53"/>
                  </a:lnTo>
                  <a:lnTo>
                    <a:pt x="239" y="53"/>
                  </a:lnTo>
                  <a:lnTo>
                    <a:pt x="242" y="53"/>
                  </a:lnTo>
                  <a:lnTo>
                    <a:pt x="242" y="53"/>
                  </a:lnTo>
                  <a:lnTo>
                    <a:pt x="242" y="51"/>
                  </a:lnTo>
                  <a:lnTo>
                    <a:pt x="244" y="51"/>
                  </a:lnTo>
                  <a:lnTo>
                    <a:pt x="244" y="51"/>
                  </a:lnTo>
                  <a:lnTo>
                    <a:pt x="242" y="48"/>
                  </a:lnTo>
                  <a:lnTo>
                    <a:pt x="242" y="51"/>
                  </a:lnTo>
                  <a:lnTo>
                    <a:pt x="242" y="51"/>
                  </a:lnTo>
                  <a:lnTo>
                    <a:pt x="239" y="51"/>
                  </a:lnTo>
                  <a:lnTo>
                    <a:pt x="239" y="51"/>
                  </a:lnTo>
                  <a:lnTo>
                    <a:pt x="237" y="51"/>
                  </a:lnTo>
                  <a:lnTo>
                    <a:pt x="234" y="48"/>
                  </a:lnTo>
                  <a:lnTo>
                    <a:pt x="232" y="46"/>
                  </a:lnTo>
                  <a:lnTo>
                    <a:pt x="229" y="43"/>
                  </a:lnTo>
                  <a:lnTo>
                    <a:pt x="227" y="41"/>
                  </a:lnTo>
                  <a:lnTo>
                    <a:pt x="224" y="38"/>
                  </a:lnTo>
                  <a:lnTo>
                    <a:pt x="224" y="36"/>
                  </a:lnTo>
                  <a:lnTo>
                    <a:pt x="224" y="30"/>
                  </a:lnTo>
                  <a:lnTo>
                    <a:pt x="224" y="30"/>
                  </a:lnTo>
                  <a:lnTo>
                    <a:pt x="224" y="28"/>
                  </a:lnTo>
                  <a:lnTo>
                    <a:pt x="221" y="28"/>
                  </a:lnTo>
                  <a:lnTo>
                    <a:pt x="221" y="33"/>
                  </a:lnTo>
                  <a:lnTo>
                    <a:pt x="219" y="36"/>
                  </a:lnTo>
                  <a:lnTo>
                    <a:pt x="219" y="38"/>
                  </a:lnTo>
                  <a:lnTo>
                    <a:pt x="216" y="38"/>
                  </a:lnTo>
                  <a:lnTo>
                    <a:pt x="214" y="38"/>
                  </a:lnTo>
                  <a:lnTo>
                    <a:pt x="211" y="38"/>
                  </a:lnTo>
                  <a:lnTo>
                    <a:pt x="204" y="33"/>
                  </a:lnTo>
                  <a:lnTo>
                    <a:pt x="201" y="33"/>
                  </a:lnTo>
                  <a:lnTo>
                    <a:pt x="201" y="33"/>
                  </a:lnTo>
                  <a:lnTo>
                    <a:pt x="198" y="33"/>
                  </a:lnTo>
                  <a:lnTo>
                    <a:pt x="196" y="33"/>
                  </a:lnTo>
                  <a:lnTo>
                    <a:pt x="193" y="30"/>
                  </a:lnTo>
                  <a:lnTo>
                    <a:pt x="191" y="30"/>
                  </a:lnTo>
                  <a:lnTo>
                    <a:pt x="183" y="28"/>
                  </a:lnTo>
                  <a:lnTo>
                    <a:pt x="178" y="25"/>
                  </a:lnTo>
                  <a:lnTo>
                    <a:pt x="173" y="20"/>
                  </a:lnTo>
                  <a:lnTo>
                    <a:pt x="168" y="18"/>
                  </a:lnTo>
                  <a:lnTo>
                    <a:pt x="158" y="10"/>
                  </a:lnTo>
                  <a:lnTo>
                    <a:pt x="150" y="5"/>
                  </a:lnTo>
                  <a:lnTo>
                    <a:pt x="148" y="2"/>
                  </a:lnTo>
                  <a:lnTo>
                    <a:pt x="145" y="2"/>
                  </a:lnTo>
                  <a:lnTo>
                    <a:pt x="145" y="0"/>
                  </a:lnTo>
                  <a:lnTo>
                    <a:pt x="142" y="2"/>
                  </a:lnTo>
                  <a:lnTo>
                    <a:pt x="142" y="2"/>
                  </a:lnTo>
                  <a:lnTo>
                    <a:pt x="142" y="2"/>
                  </a:lnTo>
                  <a:lnTo>
                    <a:pt x="140" y="2"/>
                  </a:lnTo>
                  <a:lnTo>
                    <a:pt x="140" y="5"/>
                  </a:lnTo>
                  <a:lnTo>
                    <a:pt x="142" y="5"/>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286" name="Freeform 1905">
              <a:extLst>
                <a:ext uri="{FF2B5EF4-FFF2-40B4-BE49-F238E27FC236}">
                  <a16:creationId xmlns:a16="http://schemas.microsoft.com/office/drawing/2014/main" id="{7EC856BA-AE9A-7A44-B8D5-4795F370BEDF}"/>
                </a:ext>
              </a:extLst>
            </p:cNvPr>
            <p:cNvSpPr>
              <a:spLocks/>
            </p:cNvSpPr>
            <p:nvPr/>
          </p:nvSpPr>
          <p:spPr bwMode="auto">
            <a:xfrm>
              <a:off x="3073207" y="3114120"/>
              <a:ext cx="71972" cy="29443"/>
            </a:xfrm>
            <a:custGeom>
              <a:avLst/>
              <a:gdLst>
                <a:gd name="T0" fmla="*/ 41 w 44"/>
                <a:gd name="T1" fmla="*/ 13 h 18"/>
                <a:gd name="T2" fmla="*/ 41 w 44"/>
                <a:gd name="T3" fmla="*/ 8 h 18"/>
                <a:gd name="T4" fmla="*/ 34 w 44"/>
                <a:gd name="T5" fmla="*/ 5 h 18"/>
                <a:gd name="T6" fmla="*/ 34 w 44"/>
                <a:gd name="T7" fmla="*/ 5 h 18"/>
                <a:gd name="T8" fmla="*/ 31 w 44"/>
                <a:gd name="T9" fmla="*/ 3 h 18"/>
                <a:gd name="T10" fmla="*/ 28 w 44"/>
                <a:gd name="T11" fmla="*/ 3 h 18"/>
                <a:gd name="T12" fmla="*/ 28 w 44"/>
                <a:gd name="T13" fmla="*/ 3 h 18"/>
                <a:gd name="T14" fmla="*/ 26 w 44"/>
                <a:gd name="T15" fmla="*/ 3 h 18"/>
                <a:gd name="T16" fmla="*/ 23 w 44"/>
                <a:gd name="T17" fmla="*/ 0 h 18"/>
                <a:gd name="T18" fmla="*/ 21 w 44"/>
                <a:gd name="T19" fmla="*/ 0 h 18"/>
                <a:gd name="T20" fmla="*/ 21 w 44"/>
                <a:gd name="T21" fmla="*/ 0 h 18"/>
                <a:gd name="T22" fmla="*/ 11 w 44"/>
                <a:gd name="T23" fmla="*/ 0 h 18"/>
                <a:gd name="T24" fmla="*/ 11 w 44"/>
                <a:gd name="T25" fmla="*/ 0 h 18"/>
                <a:gd name="T26" fmla="*/ 8 w 44"/>
                <a:gd name="T27" fmla="*/ 0 h 18"/>
                <a:gd name="T28" fmla="*/ 8 w 44"/>
                <a:gd name="T29" fmla="*/ 0 h 18"/>
                <a:gd name="T30" fmla="*/ 6 w 44"/>
                <a:gd name="T31" fmla="*/ 0 h 18"/>
                <a:gd name="T32" fmla="*/ 3 w 44"/>
                <a:gd name="T33" fmla="*/ 3 h 18"/>
                <a:gd name="T34" fmla="*/ 3 w 44"/>
                <a:gd name="T35" fmla="*/ 3 h 18"/>
                <a:gd name="T36" fmla="*/ 0 w 44"/>
                <a:gd name="T37" fmla="*/ 5 h 18"/>
                <a:gd name="T38" fmla="*/ 3 w 44"/>
                <a:gd name="T39" fmla="*/ 5 h 18"/>
                <a:gd name="T40" fmla="*/ 6 w 44"/>
                <a:gd name="T41" fmla="*/ 8 h 18"/>
                <a:gd name="T42" fmla="*/ 8 w 44"/>
                <a:gd name="T43" fmla="*/ 8 h 18"/>
                <a:gd name="T44" fmla="*/ 8 w 44"/>
                <a:gd name="T45" fmla="*/ 10 h 18"/>
                <a:gd name="T46" fmla="*/ 11 w 44"/>
                <a:gd name="T47" fmla="*/ 10 h 18"/>
                <a:gd name="T48" fmla="*/ 11 w 44"/>
                <a:gd name="T49" fmla="*/ 10 h 18"/>
                <a:gd name="T50" fmla="*/ 11 w 44"/>
                <a:gd name="T51" fmla="*/ 13 h 18"/>
                <a:gd name="T52" fmla="*/ 13 w 44"/>
                <a:gd name="T53" fmla="*/ 15 h 18"/>
                <a:gd name="T54" fmla="*/ 18 w 44"/>
                <a:gd name="T55" fmla="*/ 15 h 18"/>
                <a:gd name="T56" fmla="*/ 21 w 44"/>
                <a:gd name="T57" fmla="*/ 15 h 18"/>
                <a:gd name="T58" fmla="*/ 21 w 44"/>
                <a:gd name="T59" fmla="*/ 15 h 18"/>
                <a:gd name="T60" fmla="*/ 23 w 44"/>
                <a:gd name="T61" fmla="*/ 18 h 18"/>
                <a:gd name="T62" fmla="*/ 23 w 44"/>
                <a:gd name="T63" fmla="*/ 15 h 18"/>
                <a:gd name="T64" fmla="*/ 23 w 44"/>
                <a:gd name="T65" fmla="*/ 13 h 18"/>
                <a:gd name="T66" fmla="*/ 26 w 44"/>
                <a:gd name="T67" fmla="*/ 13 h 18"/>
                <a:gd name="T68" fmla="*/ 26 w 44"/>
                <a:gd name="T69" fmla="*/ 15 h 18"/>
                <a:gd name="T70" fmla="*/ 28 w 44"/>
                <a:gd name="T71" fmla="*/ 15 h 18"/>
                <a:gd name="T72" fmla="*/ 28 w 44"/>
                <a:gd name="T73" fmla="*/ 13 h 18"/>
                <a:gd name="T74" fmla="*/ 31 w 44"/>
                <a:gd name="T75" fmla="*/ 13 h 18"/>
                <a:gd name="T76" fmla="*/ 31 w 44"/>
                <a:gd name="T77" fmla="*/ 13 h 18"/>
                <a:gd name="T78" fmla="*/ 31 w 44"/>
                <a:gd name="T79" fmla="*/ 13 h 18"/>
                <a:gd name="T80" fmla="*/ 31 w 44"/>
                <a:gd name="T81" fmla="*/ 13 h 18"/>
                <a:gd name="T82" fmla="*/ 34 w 44"/>
                <a:gd name="T83" fmla="*/ 13 h 18"/>
                <a:gd name="T84" fmla="*/ 34 w 44"/>
                <a:gd name="T85" fmla="*/ 13 h 18"/>
                <a:gd name="T86" fmla="*/ 36 w 44"/>
                <a:gd name="T87" fmla="*/ 15 h 18"/>
                <a:gd name="T88" fmla="*/ 39 w 44"/>
                <a:gd name="T89" fmla="*/ 13 h 18"/>
                <a:gd name="T90" fmla="*/ 41 w 44"/>
                <a:gd name="T91" fmla="*/ 13 h 18"/>
                <a:gd name="T92" fmla="*/ 44 w 44"/>
                <a:gd name="T93" fmla="*/ 13 h 18"/>
                <a:gd name="T94" fmla="*/ 41 w 44"/>
                <a:gd name="T95" fmla="*/ 1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4" h="18">
                  <a:moveTo>
                    <a:pt x="41" y="13"/>
                  </a:moveTo>
                  <a:lnTo>
                    <a:pt x="41" y="8"/>
                  </a:lnTo>
                  <a:lnTo>
                    <a:pt x="34" y="5"/>
                  </a:lnTo>
                  <a:lnTo>
                    <a:pt x="34" y="5"/>
                  </a:lnTo>
                  <a:lnTo>
                    <a:pt x="31" y="3"/>
                  </a:lnTo>
                  <a:lnTo>
                    <a:pt x="28" y="3"/>
                  </a:lnTo>
                  <a:lnTo>
                    <a:pt x="28" y="3"/>
                  </a:lnTo>
                  <a:lnTo>
                    <a:pt x="26" y="3"/>
                  </a:lnTo>
                  <a:lnTo>
                    <a:pt x="23" y="0"/>
                  </a:lnTo>
                  <a:lnTo>
                    <a:pt x="21" y="0"/>
                  </a:lnTo>
                  <a:lnTo>
                    <a:pt x="21" y="0"/>
                  </a:lnTo>
                  <a:lnTo>
                    <a:pt x="11" y="0"/>
                  </a:lnTo>
                  <a:lnTo>
                    <a:pt x="11" y="0"/>
                  </a:lnTo>
                  <a:lnTo>
                    <a:pt x="8" y="0"/>
                  </a:lnTo>
                  <a:lnTo>
                    <a:pt x="8" y="0"/>
                  </a:lnTo>
                  <a:lnTo>
                    <a:pt x="6" y="0"/>
                  </a:lnTo>
                  <a:lnTo>
                    <a:pt x="3" y="3"/>
                  </a:lnTo>
                  <a:lnTo>
                    <a:pt x="3" y="3"/>
                  </a:lnTo>
                  <a:lnTo>
                    <a:pt x="0" y="5"/>
                  </a:lnTo>
                  <a:lnTo>
                    <a:pt x="3" y="5"/>
                  </a:lnTo>
                  <a:lnTo>
                    <a:pt x="6" y="8"/>
                  </a:lnTo>
                  <a:lnTo>
                    <a:pt x="8" y="8"/>
                  </a:lnTo>
                  <a:lnTo>
                    <a:pt x="8" y="10"/>
                  </a:lnTo>
                  <a:lnTo>
                    <a:pt x="11" y="10"/>
                  </a:lnTo>
                  <a:lnTo>
                    <a:pt x="11" y="10"/>
                  </a:lnTo>
                  <a:lnTo>
                    <a:pt x="11" y="13"/>
                  </a:lnTo>
                  <a:lnTo>
                    <a:pt x="13" y="15"/>
                  </a:lnTo>
                  <a:lnTo>
                    <a:pt x="18" y="15"/>
                  </a:lnTo>
                  <a:lnTo>
                    <a:pt x="21" y="15"/>
                  </a:lnTo>
                  <a:lnTo>
                    <a:pt x="21" y="15"/>
                  </a:lnTo>
                  <a:lnTo>
                    <a:pt x="23" y="18"/>
                  </a:lnTo>
                  <a:lnTo>
                    <a:pt x="23" y="15"/>
                  </a:lnTo>
                  <a:lnTo>
                    <a:pt x="23" y="13"/>
                  </a:lnTo>
                  <a:lnTo>
                    <a:pt x="26" y="13"/>
                  </a:lnTo>
                  <a:lnTo>
                    <a:pt x="26" y="15"/>
                  </a:lnTo>
                  <a:lnTo>
                    <a:pt x="28" y="15"/>
                  </a:lnTo>
                  <a:lnTo>
                    <a:pt x="28" y="13"/>
                  </a:lnTo>
                  <a:lnTo>
                    <a:pt x="31" y="13"/>
                  </a:lnTo>
                  <a:lnTo>
                    <a:pt x="31" y="13"/>
                  </a:lnTo>
                  <a:lnTo>
                    <a:pt x="31" y="13"/>
                  </a:lnTo>
                  <a:lnTo>
                    <a:pt x="31" y="13"/>
                  </a:lnTo>
                  <a:lnTo>
                    <a:pt x="34" y="13"/>
                  </a:lnTo>
                  <a:lnTo>
                    <a:pt x="34" y="13"/>
                  </a:lnTo>
                  <a:lnTo>
                    <a:pt x="36" y="15"/>
                  </a:lnTo>
                  <a:lnTo>
                    <a:pt x="39" y="13"/>
                  </a:lnTo>
                  <a:lnTo>
                    <a:pt x="41" y="13"/>
                  </a:lnTo>
                  <a:lnTo>
                    <a:pt x="44" y="13"/>
                  </a:lnTo>
                  <a:lnTo>
                    <a:pt x="41" y="13"/>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287" name="Freeform 1906">
              <a:extLst>
                <a:ext uri="{FF2B5EF4-FFF2-40B4-BE49-F238E27FC236}">
                  <a16:creationId xmlns:a16="http://schemas.microsoft.com/office/drawing/2014/main" id="{9236253C-89A6-D748-A5D2-F528DA24EA64}"/>
                </a:ext>
              </a:extLst>
            </p:cNvPr>
            <p:cNvSpPr>
              <a:spLocks noEditPoints="1"/>
            </p:cNvSpPr>
            <p:nvPr/>
          </p:nvSpPr>
          <p:spPr bwMode="auto">
            <a:xfrm>
              <a:off x="5325617" y="3402010"/>
              <a:ext cx="204468" cy="237182"/>
            </a:xfrm>
            <a:custGeom>
              <a:avLst/>
              <a:gdLst>
                <a:gd name="T0" fmla="*/ 107 w 125"/>
                <a:gd name="T1" fmla="*/ 127 h 145"/>
                <a:gd name="T2" fmla="*/ 119 w 125"/>
                <a:gd name="T3" fmla="*/ 40 h 145"/>
                <a:gd name="T4" fmla="*/ 119 w 125"/>
                <a:gd name="T5" fmla="*/ 33 h 145"/>
                <a:gd name="T6" fmla="*/ 119 w 125"/>
                <a:gd name="T7" fmla="*/ 30 h 145"/>
                <a:gd name="T8" fmla="*/ 114 w 125"/>
                <a:gd name="T9" fmla="*/ 25 h 145"/>
                <a:gd name="T10" fmla="*/ 109 w 125"/>
                <a:gd name="T11" fmla="*/ 20 h 145"/>
                <a:gd name="T12" fmla="*/ 96 w 125"/>
                <a:gd name="T13" fmla="*/ 20 h 145"/>
                <a:gd name="T14" fmla="*/ 86 w 125"/>
                <a:gd name="T15" fmla="*/ 25 h 145"/>
                <a:gd name="T16" fmla="*/ 79 w 125"/>
                <a:gd name="T17" fmla="*/ 20 h 145"/>
                <a:gd name="T18" fmla="*/ 71 w 125"/>
                <a:gd name="T19" fmla="*/ 12 h 145"/>
                <a:gd name="T20" fmla="*/ 63 w 125"/>
                <a:gd name="T21" fmla="*/ 7 h 145"/>
                <a:gd name="T22" fmla="*/ 56 w 125"/>
                <a:gd name="T23" fmla="*/ 10 h 145"/>
                <a:gd name="T24" fmla="*/ 51 w 125"/>
                <a:gd name="T25" fmla="*/ 12 h 145"/>
                <a:gd name="T26" fmla="*/ 51 w 125"/>
                <a:gd name="T27" fmla="*/ 7 h 145"/>
                <a:gd name="T28" fmla="*/ 48 w 125"/>
                <a:gd name="T29" fmla="*/ 0 h 145"/>
                <a:gd name="T30" fmla="*/ 46 w 125"/>
                <a:gd name="T31" fmla="*/ 5 h 145"/>
                <a:gd name="T32" fmla="*/ 40 w 125"/>
                <a:gd name="T33" fmla="*/ 2 h 145"/>
                <a:gd name="T34" fmla="*/ 38 w 125"/>
                <a:gd name="T35" fmla="*/ 10 h 145"/>
                <a:gd name="T36" fmla="*/ 33 w 125"/>
                <a:gd name="T37" fmla="*/ 10 h 145"/>
                <a:gd name="T38" fmla="*/ 33 w 125"/>
                <a:gd name="T39" fmla="*/ 12 h 145"/>
                <a:gd name="T40" fmla="*/ 25 w 125"/>
                <a:gd name="T41" fmla="*/ 10 h 145"/>
                <a:gd name="T42" fmla="*/ 20 w 125"/>
                <a:gd name="T43" fmla="*/ 7 h 145"/>
                <a:gd name="T44" fmla="*/ 15 w 125"/>
                <a:gd name="T45" fmla="*/ 12 h 145"/>
                <a:gd name="T46" fmla="*/ 10 w 125"/>
                <a:gd name="T47" fmla="*/ 20 h 145"/>
                <a:gd name="T48" fmla="*/ 15 w 125"/>
                <a:gd name="T49" fmla="*/ 30 h 145"/>
                <a:gd name="T50" fmla="*/ 17 w 125"/>
                <a:gd name="T51" fmla="*/ 38 h 145"/>
                <a:gd name="T52" fmla="*/ 15 w 125"/>
                <a:gd name="T53" fmla="*/ 46 h 145"/>
                <a:gd name="T54" fmla="*/ 20 w 125"/>
                <a:gd name="T55" fmla="*/ 53 h 145"/>
                <a:gd name="T56" fmla="*/ 15 w 125"/>
                <a:gd name="T57" fmla="*/ 51 h 145"/>
                <a:gd name="T58" fmla="*/ 7 w 125"/>
                <a:gd name="T59" fmla="*/ 53 h 145"/>
                <a:gd name="T60" fmla="*/ 12 w 125"/>
                <a:gd name="T61" fmla="*/ 58 h 145"/>
                <a:gd name="T62" fmla="*/ 10 w 125"/>
                <a:gd name="T63" fmla="*/ 66 h 145"/>
                <a:gd name="T64" fmla="*/ 5 w 125"/>
                <a:gd name="T65" fmla="*/ 71 h 145"/>
                <a:gd name="T66" fmla="*/ 5 w 125"/>
                <a:gd name="T67" fmla="*/ 76 h 145"/>
                <a:gd name="T68" fmla="*/ 7 w 125"/>
                <a:gd name="T69" fmla="*/ 89 h 145"/>
                <a:gd name="T70" fmla="*/ 2 w 125"/>
                <a:gd name="T71" fmla="*/ 96 h 145"/>
                <a:gd name="T72" fmla="*/ 10 w 125"/>
                <a:gd name="T73" fmla="*/ 102 h 145"/>
                <a:gd name="T74" fmla="*/ 15 w 125"/>
                <a:gd name="T75" fmla="*/ 104 h 145"/>
                <a:gd name="T76" fmla="*/ 20 w 125"/>
                <a:gd name="T77" fmla="*/ 109 h 145"/>
                <a:gd name="T78" fmla="*/ 25 w 125"/>
                <a:gd name="T79" fmla="*/ 117 h 145"/>
                <a:gd name="T80" fmla="*/ 23 w 125"/>
                <a:gd name="T81" fmla="*/ 124 h 145"/>
                <a:gd name="T82" fmla="*/ 20 w 125"/>
                <a:gd name="T83" fmla="*/ 132 h 145"/>
                <a:gd name="T84" fmla="*/ 25 w 125"/>
                <a:gd name="T85" fmla="*/ 145 h 145"/>
                <a:gd name="T86" fmla="*/ 40 w 125"/>
                <a:gd name="T87" fmla="*/ 137 h 145"/>
                <a:gd name="T88" fmla="*/ 71 w 125"/>
                <a:gd name="T89" fmla="*/ 127 h 145"/>
                <a:gd name="T90" fmla="*/ 71 w 125"/>
                <a:gd name="T91" fmla="*/ 127 h 145"/>
                <a:gd name="T92" fmla="*/ 91 w 125"/>
                <a:gd name="T93" fmla="*/ 124 h 145"/>
                <a:gd name="T94" fmla="*/ 91 w 125"/>
                <a:gd name="T95" fmla="*/ 124 h 145"/>
                <a:gd name="T96" fmla="*/ 109 w 125"/>
                <a:gd name="T97" fmla="*/ 122 h 145"/>
                <a:gd name="T98" fmla="*/ 112 w 125"/>
                <a:gd name="T99" fmla="*/ 127 h 145"/>
                <a:gd name="T100" fmla="*/ 117 w 125"/>
                <a:gd name="T101" fmla="*/ 127 h 145"/>
                <a:gd name="T102" fmla="*/ 117 w 125"/>
                <a:gd name="T103" fmla="*/ 117 h 145"/>
                <a:gd name="T104" fmla="*/ 112 w 125"/>
                <a:gd name="T105" fmla="*/ 112 h 145"/>
                <a:gd name="T106" fmla="*/ 109 w 125"/>
                <a:gd name="T107" fmla="*/ 96 h 145"/>
                <a:gd name="T108" fmla="*/ 109 w 125"/>
                <a:gd name="T109" fmla="*/ 86 h 145"/>
                <a:gd name="T110" fmla="*/ 114 w 125"/>
                <a:gd name="T111" fmla="*/ 74 h 145"/>
                <a:gd name="T112" fmla="*/ 117 w 125"/>
                <a:gd name="T113" fmla="*/ 63 h 145"/>
                <a:gd name="T114" fmla="*/ 122 w 125"/>
                <a:gd name="T115" fmla="*/ 58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5" h="145">
                  <a:moveTo>
                    <a:pt x="107" y="127"/>
                  </a:moveTo>
                  <a:lnTo>
                    <a:pt x="112" y="129"/>
                  </a:lnTo>
                  <a:lnTo>
                    <a:pt x="112" y="127"/>
                  </a:lnTo>
                  <a:lnTo>
                    <a:pt x="109" y="127"/>
                  </a:lnTo>
                  <a:lnTo>
                    <a:pt x="107" y="127"/>
                  </a:lnTo>
                  <a:close/>
                  <a:moveTo>
                    <a:pt x="122" y="51"/>
                  </a:moveTo>
                  <a:lnTo>
                    <a:pt x="122" y="46"/>
                  </a:lnTo>
                  <a:lnTo>
                    <a:pt x="122" y="43"/>
                  </a:lnTo>
                  <a:lnTo>
                    <a:pt x="122" y="43"/>
                  </a:lnTo>
                  <a:lnTo>
                    <a:pt x="119" y="40"/>
                  </a:lnTo>
                  <a:lnTo>
                    <a:pt x="119" y="38"/>
                  </a:lnTo>
                  <a:lnTo>
                    <a:pt x="119" y="38"/>
                  </a:lnTo>
                  <a:lnTo>
                    <a:pt x="119" y="38"/>
                  </a:lnTo>
                  <a:lnTo>
                    <a:pt x="119" y="35"/>
                  </a:lnTo>
                  <a:lnTo>
                    <a:pt x="119" y="33"/>
                  </a:lnTo>
                  <a:lnTo>
                    <a:pt x="119" y="33"/>
                  </a:lnTo>
                  <a:lnTo>
                    <a:pt x="119" y="33"/>
                  </a:lnTo>
                  <a:lnTo>
                    <a:pt x="119" y="30"/>
                  </a:lnTo>
                  <a:lnTo>
                    <a:pt x="119" y="28"/>
                  </a:lnTo>
                  <a:lnTo>
                    <a:pt x="119" y="30"/>
                  </a:lnTo>
                  <a:lnTo>
                    <a:pt x="119" y="30"/>
                  </a:lnTo>
                  <a:lnTo>
                    <a:pt x="117" y="30"/>
                  </a:lnTo>
                  <a:lnTo>
                    <a:pt x="117" y="28"/>
                  </a:lnTo>
                  <a:lnTo>
                    <a:pt x="117" y="28"/>
                  </a:lnTo>
                  <a:lnTo>
                    <a:pt x="114" y="25"/>
                  </a:lnTo>
                  <a:lnTo>
                    <a:pt x="114" y="25"/>
                  </a:lnTo>
                  <a:lnTo>
                    <a:pt x="112" y="23"/>
                  </a:lnTo>
                  <a:lnTo>
                    <a:pt x="112" y="23"/>
                  </a:lnTo>
                  <a:lnTo>
                    <a:pt x="112" y="20"/>
                  </a:lnTo>
                  <a:lnTo>
                    <a:pt x="109" y="20"/>
                  </a:lnTo>
                  <a:lnTo>
                    <a:pt x="107" y="20"/>
                  </a:lnTo>
                  <a:lnTo>
                    <a:pt x="107" y="20"/>
                  </a:lnTo>
                  <a:lnTo>
                    <a:pt x="102" y="18"/>
                  </a:lnTo>
                  <a:lnTo>
                    <a:pt x="99" y="18"/>
                  </a:lnTo>
                  <a:lnTo>
                    <a:pt x="96" y="20"/>
                  </a:lnTo>
                  <a:lnTo>
                    <a:pt x="94" y="20"/>
                  </a:lnTo>
                  <a:lnTo>
                    <a:pt x="89" y="23"/>
                  </a:lnTo>
                  <a:lnTo>
                    <a:pt x="89" y="23"/>
                  </a:lnTo>
                  <a:lnTo>
                    <a:pt x="86" y="25"/>
                  </a:lnTo>
                  <a:lnTo>
                    <a:pt x="86" y="25"/>
                  </a:lnTo>
                  <a:lnTo>
                    <a:pt x="84" y="25"/>
                  </a:lnTo>
                  <a:lnTo>
                    <a:pt x="84" y="23"/>
                  </a:lnTo>
                  <a:lnTo>
                    <a:pt x="81" y="23"/>
                  </a:lnTo>
                  <a:lnTo>
                    <a:pt x="79" y="23"/>
                  </a:lnTo>
                  <a:lnTo>
                    <a:pt x="79" y="20"/>
                  </a:lnTo>
                  <a:lnTo>
                    <a:pt x="76" y="20"/>
                  </a:lnTo>
                  <a:lnTo>
                    <a:pt x="74" y="18"/>
                  </a:lnTo>
                  <a:lnTo>
                    <a:pt x="74" y="15"/>
                  </a:lnTo>
                  <a:lnTo>
                    <a:pt x="74" y="15"/>
                  </a:lnTo>
                  <a:lnTo>
                    <a:pt x="71" y="12"/>
                  </a:lnTo>
                  <a:lnTo>
                    <a:pt x="71" y="10"/>
                  </a:lnTo>
                  <a:lnTo>
                    <a:pt x="68" y="10"/>
                  </a:lnTo>
                  <a:lnTo>
                    <a:pt x="66" y="10"/>
                  </a:lnTo>
                  <a:lnTo>
                    <a:pt x="63" y="10"/>
                  </a:lnTo>
                  <a:lnTo>
                    <a:pt x="63" y="7"/>
                  </a:lnTo>
                  <a:lnTo>
                    <a:pt x="63" y="7"/>
                  </a:lnTo>
                  <a:lnTo>
                    <a:pt x="61" y="7"/>
                  </a:lnTo>
                  <a:lnTo>
                    <a:pt x="56" y="7"/>
                  </a:lnTo>
                  <a:lnTo>
                    <a:pt x="56" y="10"/>
                  </a:lnTo>
                  <a:lnTo>
                    <a:pt x="56" y="10"/>
                  </a:lnTo>
                  <a:lnTo>
                    <a:pt x="56" y="10"/>
                  </a:lnTo>
                  <a:lnTo>
                    <a:pt x="53" y="12"/>
                  </a:lnTo>
                  <a:lnTo>
                    <a:pt x="53" y="12"/>
                  </a:lnTo>
                  <a:lnTo>
                    <a:pt x="51" y="12"/>
                  </a:lnTo>
                  <a:lnTo>
                    <a:pt x="51" y="12"/>
                  </a:lnTo>
                  <a:lnTo>
                    <a:pt x="48" y="10"/>
                  </a:lnTo>
                  <a:lnTo>
                    <a:pt x="48" y="10"/>
                  </a:lnTo>
                  <a:lnTo>
                    <a:pt x="51" y="10"/>
                  </a:lnTo>
                  <a:lnTo>
                    <a:pt x="51" y="7"/>
                  </a:lnTo>
                  <a:lnTo>
                    <a:pt x="51" y="7"/>
                  </a:lnTo>
                  <a:lnTo>
                    <a:pt x="51" y="5"/>
                  </a:lnTo>
                  <a:lnTo>
                    <a:pt x="48" y="5"/>
                  </a:lnTo>
                  <a:lnTo>
                    <a:pt x="48" y="2"/>
                  </a:lnTo>
                  <a:lnTo>
                    <a:pt x="48" y="0"/>
                  </a:lnTo>
                  <a:lnTo>
                    <a:pt x="48" y="0"/>
                  </a:lnTo>
                  <a:lnTo>
                    <a:pt x="46" y="2"/>
                  </a:lnTo>
                  <a:lnTo>
                    <a:pt x="46" y="2"/>
                  </a:lnTo>
                  <a:lnTo>
                    <a:pt x="46" y="2"/>
                  </a:lnTo>
                  <a:lnTo>
                    <a:pt x="46" y="2"/>
                  </a:lnTo>
                  <a:lnTo>
                    <a:pt x="46" y="5"/>
                  </a:lnTo>
                  <a:lnTo>
                    <a:pt x="46" y="5"/>
                  </a:lnTo>
                  <a:lnTo>
                    <a:pt x="43" y="5"/>
                  </a:lnTo>
                  <a:lnTo>
                    <a:pt x="43" y="5"/>
                  </a:lnTo>
                  <a:lnTo>
                    <a:pt x="40" y="2"/>
                  </a:lnTo>
                  <a:lnTo>
                    <a:pt x="40" y="2"/>
                  </a:lnTo>
                  <a:lnTo>
                    <a:pt x="40" y="5"/>
                  </a:lnTo>
                  <a:lnTo>
                    <a:pt x="40" y="5"/>
                  </a:lnTo>
                  <a:lnTo>
                    <a:pt x="40" y="7"/>
                  </a:lnTo>
                  <a:lnTo>
                    <a:pt x="40" y="10"/>
                  </a:lnTo>
                  <a:lnTo>
                    <a:pt x="38" y="10"/>
                  </a:lnTo>
                  <a:lnTo>
                    <a:pt x="38" y="10"/>
                  </a:lnTo>
                  <a:lnTo>
                    <a:pt x="35" y="10"/>
                  </a:lnTo>
                  <a:lnTo>
                    <a:pt x="35" y="10"/>
                  </a:lnTo>
                  <a:lnTo>
                    <a:pt x="35" y="10"/>
                  </a:lnTo>
                  <a:lnTo>
                    <a:pt x="33" y="10"/>
                  </a:lnTo>
                  <a:lnTo>
                    <a:pt x="35" y="12"/>
                  </a:lnTo>
                  <a:lnTo>
                    <a:pt x="35" y="12"/>
                  </a:lnTo>
                  <a:lnTo>
                    <a:pt x="33" y="12"/>
                  </a:lnTo>
                  <a:lnTo>
                    <a:pt x="33" y="12"/>
                  </a:lnTo>
                  <a:lnTo>
                    <a:pt x="33" y="12"/>
                  </a:lnTo>
                  <a:lnTo>
                    <a:pt x="33" y="12"/>
                  </a:lnTo>
                  <a:lnTo>
                    <a:pt x="30" y="12"/>
                  </a:lnTo>
                  <a:lnTo>
                    <a:pt x="28" y="10"/>
                  </a:lnTo>
                  <a:lnTo>
                    <a:pt x="25" y="10"/>
                  </a:lnTo>
                  <a:lnTo>
                    <a:pt x="25" y="10"/>
                  </a:lnTo>
                  <a:lnTo>
                    <a:pt x="25" y="7"/>
                  </a:lnTo>
                  <a:lnTo>
                    <a:pt x="25" y="7"/>
                  </a:lnTo>
                  <a:lnTo>
                    <a:pt x="23" y="7"/>
                  </a:lnTo>
                  <a:lnTo>
                    <a:pt x="23" y="7"/>
                  </a:lnTo>
                  <a:lnTo>
                    <a:pt x="20" y="7"/>
                  </a:lnTo>
                  <a:lnTo>
                    <a:pt x="20" y="10"/>
                  </a:lnTo>
                  <a:lnTo>
                    <a:pt x="17" y="12"/>
                  </a:lnTo>
                  <a:lnTo>
                    <a:pt x="15" y="12"/>
                  </a:lnTo>
                  <a:lnTo>
                    <a:pt x="15" y="12"/>
                  </a:lnTo>
                  <a:lnTo>
                    <a:pt x="15" y="12"/>
                  </a:lnTo>
                  <a:lnTo>
                    <a:pt x="12" y="15"/>
                  </a:lnTo>
                  <a:lnTo>
                    <a:pt x="12" y="15"/>
                  </a:lnTo>
                  <a:lnTo>
                    <a:pt x="10" y="18"/>
                  </a:lnTo>
                  <a:lnTo>
                    <a:pt x="10" y="18"/>
                  </a:lnTo>
                  <a:lnTo>
                    <a:pt x="10" y="20"/>
                  </a:lnTo>
                  <a:lnTo>
                    <a:pt x="10" y="25"/>
                  </a:lnTo>
                  <a:lnTo>
                    <a:pt x="10" y="28"/>
                  </a:lnTo>
                  <a:lnTo>
                    <a:pt x="12" y="30"/>
                  </a:lnTo>
                  <a:lnTo>
                    <a:pt x="12" y="30"/>
                  </a:lnTo>
                  <a:lnTo>
                    <a:pt x="15" y="30"/>
                  </a:lnTo>
                  <a:lnTo>
                    <a:pt x="15" y="30"/>
                  </a:lnTo>
                  <a:lnTo>
                    <a:pt x="15" y="33"/>
                  </a:lnTo>
                  <a:lnTo>
                    <a:pt x="15" y="35"/>
                  </a:lnTo>
                  <a:lnTo>
                    <a:pt x="17" y="35"/>
                  </a:lnTo>
                  <a:lnTo>
                    <a:pt x="17" y="38"/>
                  </a:lnTo>
                  <a:lnTo>
                    <a:pt x="17" y="38"/>
                  </a:lnTo>
                  <a:lnTo>
                    <a:pt x="15" y="40"/>
                  </a:lnTo>
                  <a:lnTo>
                    <a:pt x="15" y="40"/>
                  </a:lnTo>
                  <a:lnTo>
                    <a:pt x="15" y="43"/>
                  </a:lnTo>
                  <a:lnTo>
                    <a:pt x="15" y="46"/>
                  </a:lnTo>
                  <a:lnTo>
                    <a:pt x="17" y="46"/>
                  </a:lnTo>
                  <a:lnTo>
                    <a:pt x="20" y="48"/>
                  </a:lnTo>
                  <a:lnTo>
                    <a:pt x="20" y="51"/>
                  </a:lnTo>
                  <a:lnTo>
                    <a:pt x="20" y="53"/>
                  </a:lnTo>
                  <a:lnTo>
                    <a:pt x="20" y="53"/>
                  </a:lnTo>
                  <a:lnTo>
                    <a:pt x="17" y="53"/>
                  </a:lnTo>
                  <a:lnTo>
                    <a:pt x="17" y="53"/>
                  </a:lnTo>
                  <a:lnTo>
                    <a:pt x="17" y="51"/>
                  </a:lnTo>
                  <a:lnTo>
                    <a:pt x="15" y="51"/>
                  </a:lnTo>
                  <a:lnTo>
                    <a:pt x="15" y="51"/>
                  </a:lnTo>
                  <a:lnTo>
                    <a:pt x="12" y="51"/>
                  </a:lnTo>
                  <a:lnTo>
                    <a:pt x="10" y="51"/>
                  </a:lnTo>
                  <a:lnTo>
                    <a:pt x="10" y="51"/>
                  </a:lnTo>
                  <a:lnTo>
                    <a:pt x="7" y="53"/>
                  </a:lnTo>
                  <a:lnTo>
                    <a:pt x="7" y="53"/>
                  </a:lnTo>
                  <a:lnTo>
                    <a:pt x="7" y="56"/>
                  </a:lnTo>
                  <a:lnTo>
                    <a:pt x="10" y="58"/>
                  </a:lnTo>
                  <a:lnTo>
                    <a:pt x="10" y="58"/>
                  </a:lnTo>
                  <a:lnTo>
                    <a:pt x="12" y="58"/>
                  </a:lnTo>
                  <a:lnTo>
                    <a:pt x="12" y="58"/>
                  </a:lnTo>
                  <a:lnTo>
                    <a:pt x="12" y="58"/>
                  </a:lnTo>
                  <a:lnTo>
                    <a:pt x="12" y="61"/>
                  </a:lnTo>
                  <a:lnTo>
                    <a:pt x="12" y="61"/>
                  </a:lnTo>
                  <a:lnTo>
                    <a:pt x="12" y="63"/>
                  </a:lnTo>
                  <a:lnTo>
                    <a:pt x="10" y="66"/>
                  </a:lnTo>
                  <a:lnTo>
                    <a:pt x="10" y="66"/>
                  </a:lnTo>
                  <a:lnTo>
                    <a:pt x="10" y="68"/>
                  </a:lnTo>
                  <a:lnTo>
                    <a:pt x="10" y="71"/>
                  </a:lnTo>
                  <a:lnTo>
                    <a:pt x="7" y="74"/>
                  </a:lnTo>
                  <a:lnTo>
                    <a:pt x="5" y="71"/>
                  </a:lnTo>
                  <a:lnTo>
                    <a:pt x="5" y="71"/>
                  </a:lnTo>
                  <a:lnTo>
                    <a:pt x="2" y="74"/>
                  </a:lnTo>
                  <a:lnTo>
                    <a:pt x="5" y="74"/>
                  </a:lnTo>
                  <a:lnTo>
                    <a:pt x="5" y="74"/>
                  </a:lnTo>
                  <a:lnTo>
                    <a:pt x="5" y="76"/>
                  </a:lnTo>
                  <a:lnTo>
                    <a:pt x="7" y="84"/>
                  </a:lnTo>
                  <a:lnTo>
                    <a:pt x="7" y="86"/>
                  </a:lnTo>
                  <a:lnTo>
                    <a:pt x="7" y="86"/>
                  </a:lnTo>
                  <a:lnTo>
                    <a:pt x="7" y="89"/>
                  </a:lnTo>
                  <a:lnTo>
                    <a:pt x="7" y="89"/>
                  </a:lnTo>
                  <a:lnTo>
                    <a:pt x="5" y="91"/>
                  </a:lnTo>
                  <a:lnTo>
                    <a:pt x="0" y="96"/>
                  </a:lnTo>
                  <a:lnTo>
                    <a:pt x="2" y="96"/>
                  </a:lnTo>
                  <a:lnTo>
                    <a:pt x="2" y="96"/>
                  </a:lnTo>
                  <a:lnTo>
                    <a:pt x="2" y="96"/>
                  </a:lnTo>
                  <a:lnTo>
                    <a:pt x="5" y="96"/>
                  </a:lnTo>
                  <a:lnTo>
                    <a:pt x="5" y="99"/>
                  </a:lnTo>
                  <a:lnTo>
                    <a:pt x="5" y="99"/>
                  </a:lnTo>
                  <a:lnTo>
                    <a:pt x="7" y="102"/>
                  </a:lnTo>
                  <a:lnTo>
                    <a:pt x="10" y="102"/>
                  </a:lnTo>
                  <a:lnTo>
                    <a:pt x="10" y="102"/>
                  </a:lnTo>
                  <a:lnTo>
                    <a:pt x="12" y="102"/>
                  </a:lnTo>
                  <a:lnTo>
                    <a:pt x="12" y="102"/>
                  </a:lnTo>
                  <a:lnTo>
                    <a:pt x="15" y="102"/>
                  </a:lnTo>
                  <a:lnTo>
                    <a:pt x="15" y="104"/>
                  </a:lnTo>
                  <a:lnTo>
                    <a:pt x="15" y="107"/>
                  </a:lnTo>
                  <a:lnTo>
                    <a:pt x="17" y="107"/>
                  </a:lnTo>
                  <a:lnTo>
                    <a:pt x="17" y="109"/>
                  </a:lnTo>
                  <a:lnTo>
                    <a:pt x="17" y="109"/>
                  </a:lnTo>
                  <a:lnTo>
                    <a:pt x="20" y="109"/>
                  </a:lnTo>
                  <a:lnTo>
                    <a:pt x="23" y="112"/>
                  </a:lnTo>
                  <a:lnTo>
                    <a:pt x="23" y="112"/>
                  </a:lnTo>
                  <a:lnTo>
                    <a:pt x="23" y="112"/>
                  </a:lnTo>
                  <a:lnTo>
                    <a:pt x="23" y="112"/>
                  </a:lnTo>
                  <a:lnTo>
                    <a:pt x="25" y="117"/>
                  </a:lnTo>
                  <a:lnTo>
                    <a:pt x="25" y="117"/>
                  </a:lnTo>
                  <a:lnTo>
                    <a:pt x="25" y="119"/>
                  </a:lnTo>
                  <a:lnTo>
                    <a:pt x="25" y="119"/>
                  </a:lnTo>
                  <a:lnTo>
                    <a:pt x="25" y="122"/>
                  </a:lnTo>
                  <a:lnTo>
                    <a:pt x="23" y="124"/>
                  </a:lnTo>
                  <a:lnTo>
                    <a:pt x="23" y="127"/>
                  </a:lnTo>
                  <a:lnTo>
                    <a:pt x="23" y="127"/>
                  </a:lnTo>
                  <a:lnTo>
                    <a:pt x="20" y="129"/>
                  </a:lnTo>
                  <a:lnTo>
                    <a:pt x="20" y="129"/>
                  </a:lnTo>
                  <a:lnTo>
                    <a:pt x="20" y="132"/>
                  </a:lnTo>
                  <a:lnTo>
                    <a:pt x="20" y="135"/>
                  </a:lnTo>
                  <a:lnTo>
                    <a:pt x="20" y="140"/>
                  </a:lnTo>
                  <a:lnTo>
                    <a:pt x="20" y="145"/>
                  </a:lnTo>
                  <a:lnTo>
                    <a:pt x="23" y="145"/>
                  </a:lnTo>
                  <a:lnTo>
                    <a:pt x="25" y="145"/>
                  </a:lnTo>
                  <a:lnTo>
                    <a:pt x="28" y="142"/>
                  </a:lnTo>
                  <a:lnTo>
                    <a:pt x="30" y="140"/>
                  </a:lnTo>
                  <a:lnTo>
                    <a:pt x="33" y="140"/>
                  </a:lnTo>
                  <a:lnTo>
                    <a:pt x="35" y="137"/>
                  </a:lnTo>
                  <a:lnTo>
                    <a:pt x="40" y="137"/>
                  </a:lnTo>
                  <a:lnTo>
                    <a:pt x="51" y="132"/>
                  </a:lnTo>
                  <a:lnTo>
                    <a:pt x="53" y="129"/>
                  </a:lnTo>
                  <a:lnTo>
                    <a:pt x="61" y="129"/>
                  </a:lnTo>
                  <a:lnTo>
                    <a:pt x="71" y="127"/>
                  </a:lnTo>
                  <a:lnTo>
                    <a:pt x="71" y="127"/>
                  </a:lnTo>
                  <a:lnTo>
                    <a:pt x="68" y="127"/>
                  </a:lnTo>
                  <a:lnTo>
                    <a:pt x="66" y="127"/>
                  </a:lnTo>
                  <a:lnTo>
                    <a:pt x="66" y="127"/>
                  </a:lnTo>
                  <a:lnTo>
                    <a:pt x="66" y="127"/>
                  </a:lnTo>
                  <a:lnTo>
                    <a:pt x="71" y="127"/>
                  </a:lnTo>
                  <a:lnTo>
                    <a:pt x="74" y="127"/>
                  </a:lnTo>
                  <a:lnTo>
                    <a:pt x="74" y="127"/>
                  </a:lnTo>
                  <a:lnTo>
                    <a:pt x="79" y="127"/>
                  </a:lnTo>
                  <a:lnTo>
                    <a:pt x="91" y="124"/>
                  </a:lnTo>
                  <a:lnTo>
                    <a:pt x="91" y="124"/>
                  </a:lnTo>
                  <a:lnTo>
                    <a:pt x="91" y="124"/>
                  </a:lnTo>
                  <a:lnTo>
                    <a:pt x="81" y="124"/>
                  </a:lnTo>
                  <a:lnTo>
                    <a:pt x="81" y="124"/>
                  </a:lnTo>
                  <a:lnTo>
                    <a:pt x="86" y="124"/>
                  </a:lnTo>
                  <a:lnTo>
                    <a:pt x="91" y="124"/>
                  </a:lnTo>
                  <a:lnTo>
                    <a:pt x="94" y="124"/>
                  </a:lnTo>
                  <a:lnTo>
                    <a:pt x="96" y="124"/>
                  </a:lnTo>
                  <a:lnTo>
                    <a:pt x="107" y="127"/>
                  </a:lnTo>
                  <a:lnTo>
                    <a:pt x="107" y="127"/>
                  </a:lnTo>
                  <a:lnTo>
                    <a:pt x="109" y="122"/>
                  </a:lnTo>
                  <a:lnTo>
                    <a:pt x="109" y="122"/>
                  </a:lnTo>
                  <a:lnTo>
                    <a:pt x="109" y="122"/>
                  </a:lnTo>
                  <a:lnTo>
                    <a:pt x="109" y="127"/>
                  </a:lnTo>
                  <a:lnTo>
                    <a:pt x="112" y="127"/>
                  </a:lnTo>
                  <a:lnTo>
                    <a:pt x="112" y="127"/>
                  </a:lnTo>
                  <a:lnTo>
                    <a:pt x="112" y="127"/>
                  </a:lnTo>
                  <a:lnTo>
                    <a:pt x="114" y="127"/>
                  </a:lnTo>
                  <a:lnTo>
                    <a:pt x="114" y="127"/>
                  </a:lnTo>
                  <a:lnTo>
                    <a:pt x="117" y="127"/>
                  </a:lnTo>
                  <a:lnTo>
                    <a:pt x="117" y="127"/>
                  </a:lnTo>
                  <a:lnTo>
                    <a:pt x="117" y="124"/>
                  </a:lnTo>
                  <a:lnTo>
                    <a:pt x="117" y="122"/>
                  </a:lnTo>
                  <a:lnTo>
                    <a:pt x="117" y="122"/>
                  </a:lnTo>
                  <a:lnTo>
                    <a:pt x="117" y="122"/>
                  </a:lnTo>
                  <a:lnTo>
                    <a:pt x="117" y="117"/>
                  </a:lnTo>
                  <a:lnTo>
                    <a:pt x="117" y="117"/>
                  </a:lnTo>
                  <a:lnTo>
                    <a:pt x="114" y="117"/>
                  </a:lnTo>
                  <a:lnTo>
                    <a:pt x="114" y="114"/>
                  </a:lnTo>
                  <a:lnTo>
                    <a:pt x="112" y="114"/>
                  </a:lnTo>
                  <a:lnTo>
                    <a:pt x="112" y="112"/>
                  </a:lnTo>
                  <a:lnTo>
                    <a:pt x="112" y="109"/>
                  </a:lnTo>
                  <a:lnTo>
                    <a:pt x="112" y="107"/>
                  </a:lnTo>
                  <a:lnTo>
                    <a:pt x="109" y="99"/>
                  </a:lnTo>
                  <a:lnTo>
                    <a:pt x="109" y="99"/>
                  </a:lnTo>
                  <a:lnTo>
                    <a:pt x="109" y="96"/>
                  </a:lnTo>
                  <a:lnTo>
                    <a:pt x="109" y="94"/>
                  </a:lnTo>
                  <a:lnTo>
                    <a:pt x="109" y="91"/>
                  </a:lnTo>
                  <a:lnTo>
                    <a:pt x="109" y="91"/>
                  </a:lnTo>
                  <a:lnTo>
                    <a:pt x="109" y="89"/>
                  </a:lnTo>
                  <a:lnTo>
                    <a:pt x="109" y="86"/>
                  </a:lnTo>
                  <a:lnTo>
                    <a:pt x="112" y="84"/>
                  </a:lnTo>
                  <a:lnTo>
                    <a:pt x="112" y="81"/>
                  </a:lnTo>
                  <a:lnTo>
                    <a:pt x="114" y="81"/>
                  </a:lnTo>
                  <a:lnTo>
                    <a:pt x="114" y="79"/>
                  </a:lnTo>
                  <a:lnTo>
                    <a:pt x="114" y="74"/>
                  </a:lnTo>
                  <a:lnTo>
                    <a:pt x="114" y="68"/>
                  </a:lnTo>
                  <a:lnTo>
                    <a:pt x="117" y="68"/>
                  </a:lnTo>
                  <a:lnTo>
                    <a:pt x="117" y="66"/>
                  </a:lnTo>
                  <a:lnTo>
                    <a:pt x="117" y="66"/>
                  </a:lnTo>
                  <a:lnTo>
                    <a:pt x="117" y="63"/>
                  </a:lnTo>
                  <a:lnTo>
                    <a:pt x="119" y="61"/>
                  </a:lnTo>
                  <a:lnTo>
                    <a:pt x="122" y="61"/>
                  </a:lnTo>
                  <a:lnTo>
                    <a:pt x="122" y="61"/>
                  </a:lnTo>
                  <a:lnTo>
                    <a:pt x="122" y="61"/>
                  </a:lnTo>
                  <a:lnTo>
                    <a:pt x="122" y="58"/>
                  </a:lnTo>
                  <a:lnTo>
                    <a:pt x="122" y="58"/>
                  </a:lnTo>
                  <a:lnTo>
                    <a:pt x="122" y="58"/>
                  </a:lnTo>
                  <a:lnTo>
                    <a:pt x="125" y="58"/>
                  </a:lnTo>
                  <a:lnTo>
                    <a:pt x="122" y="51"/>
                  </a:lnTo>
                  <a:close/>
                </a:path>
              </a:pathLst>
            </a:custGeom>
            <a:solidFill>
              <a:srgbClr val="FFC000"/>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288" name="Freeform 1907">
              <a:extLst>
                <a:ext uri="{FF2B5EF4-FFF2-40B4-BE49-F238E27FC236}">
                  <a16:creationId xmlns:a16="http://schemas.microsoft.com/office/drawing/2014/main" id="{959A2F20-6619-D146-B0BD-F2E5FC18F73A}"/>
                </a:ext>
              </a:extLst>
            </p:cNvPr>
            <p:cNvSpPr>
              <a:spLocks noEditPoints="1"/>
            </p:cNvSpPr>
            <p:nvPr/>
          </p:nvSpPr>
          <p:spPr bwMode="auto">
            <a:xfrm>
              <a:off x="5842510" y="2057435"/>
              <a:ext cx="353319" cy="377856"/>
            </a:xfrm>
            <a:custGeom>
              <a:avLst/>
              <a:gdLst>
                <a:gd name="T0" fmla="*/ 160 w 216"/>
                <a:gd name="T1" fmla="*/ 196 h 231"/>
                <a:gd name="T2" fmla="*/ 142 w 216"/>
                <a:gd name="T3" fmla="*/ 201 h 231"/>
                <a:gd name="T4" fmla="*/ 122 w 216"/>
                <a:gd name="T5" fmla="*/ 198 h 231"/>
                <a:gd name="T6" fmla="*/ 109 w 216"/>
                <a:gd name="T7" fmla="*/ 198 h 231"/>
                <a:gd name="T8" fmla="*/ 112 w 216"/>
                <a:gd name="T9" fmla="*/ 211 h 231"/>
                <a:gd name="T10" fmla="*/ 132 w 216"/>
                <a:gd name="T11" fmla="*/ 221 h 231"/>
                <a:gd name="T12" fmla="*/ 153 w 216"/>
                <a:gd name="T13" fmla="*/ 231 h 231"/>
                <a:gd name="T14" fmla="*/ 158 w 216"/>
                <a:gd name="T15" fmla="*/ 221 h 231"/>
                <a:gd name="T16" fmla="*/ 158 w 216"/>
                <a:gd name="T17" fmla="*/ 208 h 231"/>
                <a:gd name="T18" fmla="*/ 28 w 216"/>
                <a:gd name="T19" fmla="*/ 175 h 231"/>
                <a:gd name="T20" fmla="*/ 130 w 216"/>
                <a:gd name="T21" fmla="*/ 142 h 231"/>
                <a:gd name="T22" fmla="*/ 28 w 216"/>
                <a:gd name="T23" fmla="*/ 135 h 231"/>
                <a:gd name="T24" fmla="*/ 51 w 216"/>
                <a:gd name="T25" fmla="*/ 135 h 231"/>
                <a:gd name="T26" fmla="*/ 40 w 216"/>
                <a:gd name="T27" fmla="*/ 132 h 231"/>
                <a:gd name="T28" fmla="*/ 25 w 216"/>
                <a:gd name="T29" fmla="*/ 140 h 231"/>
                <a:gd name="T30" fmla="*/ 30 w 216"/>
                <a:gd name="T31" fmla="*/ 158 h 231"/>
                <a:gd name="T32" fmla="*/ 30 w 216"/>
                <a:gd name="T33" fmla="*/ 163 h 231"/>
                <a:gd name="T34" fmla="*/ 35 w 216"/>
                <a:gd name="T35" fmla="*/ 180 h 231"/>
                <a:gd name="T36" fmla="*/ 48 w 216"/>
                <a:gd name="T37" fmla="*/ 175 h 231"/>
                <a:gd name="T38" fmla="*/ 56 w 216"/>
                <a:gd name="T39" fmla="*/ 150 h 231"/>
                <a:gd name="T40" fmla="*/ 61 w 216"/>
                <a:gd name="T41" fmla="*/ 97 h 231"/>
                <a:gd name="T42" fmla="*/ 214 w 216"/>
                <a:gd name="T43" fmla="*/ 150 h 231"/>
                <a:gd name="T44" fmla="*/ 170 w 216"/>
                <a:gd name="T45" fmla="*/ 119 h 231"/>
                <a:gd name="T46" fmla="*/ 137 w 216"/>
                <a:gd name="T47" fmla="*/ 102 h 231"/>
                <a:gd name="T48" fmla="*/ 104 w 216"/>
                <a:gd name="T49" fmla="*/ 66 h 231"/>
                <a:gd name="T50" fmla="*/ 104 w 216"/>
                <a:gd name="T51" fmla="*/ 46 h 231"/>
                <a:gd name="T52" fmla="*/ 107 w 216"/>
                <a:gd name="T53" fmla="*/ 35 h 231"/>
                <a:gd name="T54" fmla="*/ 127 w 216"/>
                <a:gd name="T55" fmla="*/ 30 h 231"/>
                <a:gd name="T56" fmla="*/ 125 w 216"/>
                <a:gd name="T57" fmla="*/ 25 h 231"/>
                <a:gd name="T58" fmla="*/ 125 w 216"/>
                <a:gd name="T59" fmla="*/ 20 h 231"/>
                <a:gd name="T60" fmla="*/ 125 w 216"/>
                <a:gd name="T61" fmla="*/ 13 h 231"/>
                <a:gd name="T62" fmla="*/ 102 w 216"/>
                <a:gd name="T63" fmla="*/ 7 h 231"/>
                <a:gd name="T64" fmla="*/ 91 w 216"/>
                <a:gd name="T65" fmla="*/ 2 h 231"/>
                <a:gd name="T66" fmla="*/ 76 w 216"/>
                <a:gd name="T67" fmla="*/ 5 h 231"/>
                <a:gd name="T68" fmla="*/ 68 w 216"/>
                <a:gd name="T69" fmla="*/ 10 h 231"/>
                <a:gd name="T70" fmla="*/ 61 w 216"/>
                <a:gd name="T71" fmla="*/ 15 h 231"/>
                <a:gd name="T72" fmla="*/ 53 w 216"/>
                <a:gd name="T73" fmla="*/ 18 h 231"/>
                <a:gd name="T74" fmla="*/ 46 w 216"/>
                <a:gd name="T75" fmla="*/ 18 h 231"/>
                <a:gd name="T76" fmla="*/ 40 w 216"/>
                <a:gd name="T77" fmla="*/ 25 h 231"/>
                <a:gd name="T78" fmla="*/ 33 w 216"/>
                <a:gd name="T79" fmla="*/ 13 h 231"/>
                <a:gd name="T80" fmla="*/ 25 w 216"/>
                <a:gd name="T81" fmla="*/ 23 h 231"/>
                <a:gd name="T82" fmla="*/ 5 w 216"/>
                <a:gd name="T83" fmla="*/ 25 h 231"/>
                <a:gd name="T84" fmla="*/ 10 w 216"/>
                <a:gd name="T85" fmla="*/ 38 h 231"/>
                <a:gd name="T86" fmla="*/ 0 w 216"/>
                <a:gd name="T87" fmla="*/ 46 h 231"/>
                <a:gd name="T88" fmla="*/ 5 w 216"/>
                <a:gd name="T89" fmla="*/ 53 h 231"/>
                <a:gd name="T90" fmla="*/ 12 w 216"/>
                <a:gd name="T91" fmla="*/ 66 h 231"/>
                <a:gd name="T92" fmla="*/ 15 w 216"/>
                <a:gd name="T93" fmla="*/ 74 h 231"/>
                <a:gd name="T94" fmla="*/ 48 w 216"/>
                <a:gd name="T95" fmla="*/ 63 h 231"/>
                <a:gd name="T96" fmla="*/ 68 w 216"/>
                <a:gd name="T97" fmla="*/ 91 h 231"/>
                <a:gd name="T98" fmla="*/ 81 w 216"/>
                <a:gd name="T99" fmla="*/ 104 h 231"/>
                <a:gd name="T100" fmla="*/ 99 w 216"/>
                <a:gd name="T101" fmla="*/ 117 h 231"/>
                <a:gd name="T102" fmla="*/ 127 w 216"/>
                <a:gd name="T103" fmla="*/ 130 h 231"/>
                <a:gd name="T104" fmla="*/ 142 w 216"/>
                <a:gd name="T105" fmla="*/ 142 h 231"/>
                <a:gd name="T106" fmla="*/ 153 w 216"/>
                <a:gd name="T107" fmla="*/ 150 h 231"/>
                <a:gd name="T108" fmla="*/ 170 w 216"/>
                <a:gd name="T109" fmla="*/ 170 h 231"/>
                <a:gd name="T110" fmla="*/ 168 w 216"/>
                <a:gd name="T111" fmla="*/ 196 h 231"/>
                <a:gd name="T112" fmla="*/ 183 w 216"/>
                <a:gd name="T113" fmla="*/ 191 h 231"/>
                <a:gd name="T114" fmla="*/ 186 w 216"/>
                <a:gd name="T115" fmla="*/ 165 h 231"/>
                <a:gd name="T116" fmla="*/ 193 w 216"/>
                <a:gd name="T117" fmla="*/ 147 h 231"/>
                <a:gd name="T118" fmla="*/ 216 w 216"/>
                <a:gd name="T119" fmla="*/ 155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6" h="231">
                  <a:moveTo>
                    <a:pt x="96" y="229"/>
                  </a:moveTo>
                  <a:lnTo>
                    <a:pt x="96" y="229"/>
                  </a:lnTo>
                  <a:lnTo>
                    <a:pt x="96" y="229"/>
                  </a:lnTo>
                  <a:lnTo>
                    <a:pt x="96" y="229"/>
                  </a:lnTo>
                  <a:lnTo>
                    <a:pt x="96" y="231"/>
                  </a:lnTo>
                  <a:lnTo>
                    <a:pt x="96" y="231"/>
                  </a:lnTo>
                  <a:lnTo>
                    <a:pt x="96" y="229"/>
                  </a:lnTo>
                  <a:lnTo>
                    <a:pt x="96" y="229"/>
                  </a:lnTo>
                  <a:close/>
                  <a:moveTo>
                    <a:pt x="163" y="196"/>
                  </a:moveTo>
                  <a:lnTo>
                    <a:pt x="160" y="196"/>
                  </a:lnTo>
                  <a:lnTo>
                    <a:pt x="158" y="196"/>
                  </a:lnTo>
                  <a:lnTo>
                    <a:pt x="158" y="196"/>
                  </a:lnTo>
                  <a:lnTo>
                    <a:pt x="155" y="198"/>
                  </a:lnTo>
                  <a:lnTo>
                    <a:pt x="155" y="198"/>
                  </a:lnTo>
                  <a:lnTo>
                    <a:pt x="153" y="198"/>
                  </a:lnTo>
                  <a:lnTo>
                    <a:pt x="150" y="198"/>
                  </a:lnTo>
                  <a:lnTo>
                    <a:pt x="150" y="198"/>
                  </a:lnTo>
                  <a:lnTo>
                    <a:pt x="147" y="198"/>
                  </a:lnTo>
                  <a:lnTo>
                    <a:pt x="145" y="201"/>
                  </a:lnTo>
                  <a:lnTo>
                    <a:pt x="142" y="201"/>
                  </a:lnTo>
                  <a:lnTo>
                    <a:pt x="142" y="201"/>
                  </a:lnTo>
                  <a:lnTo>
                    <a:pt x="140" y="201"/>
                  </a:lnTo>
                  <a:lnTo>
                    <a:pt x="135" y="201"/>
                  </a:lnTo>
                  <a:lnTo>
                    <a:pt x="132" y="201"/>
                  </a:lnTo>
                  <a:lnTo>
                    <a:pt x="130" y="201"/>
                  </a:lnTo>
                  <a:lnTo>
                    <a:pt x="130" y="201"/>
                  </a:lnTo>
                  <a:lnTo>
                    <a:pt x="127" y="201"/>
                  </a:lnTo>
                  <a:lnTo>
                    <a:pt x="125" y="198"/>
                  </a:lnTo>
                  <a:lnTo>
                    <a:pt x="125" y="198"/>
                  </a:lnTo>
                  <a:lnTo>
                    <a:pt x="122" y="198"/>
                  </a:lnTo>
                  <a:lnTo>
                    <a:pt x="122" y="198"/>
                  </a:lnTo>
                  <a:lnTo>
                    <a:pt x="122" y="198"/>
                  </a:lnTo>
                  <a:lnTo>
                    <a:pt x="119" y="198"/>
                  </a:lnTo>
                  <a:lnTo>
                    <a:pt x="117" y="198"/>
                  </a:lnTo>
                  <a:lnTo>
                    <a:pt x="117" y="201"/>
                  </a:lnTo>
                  <a:lnTo>
                    <a:pt x="114" y="201"/>
                  </a:lnTo>
                  <a:lnTo>
                    <a:pt x="114" y="201"/>
                  </a:lnTo>
                  <a:lnTo>
                    <a:pt x="112" y="201"/>
                  </a:lnTo>
                  <a:lnTo>
                    <a:pt x="109" y="198"/>
                  </a:lnTo>
                  <a:lnTo>
                    <a:pt x="109" y="198"/>
                  </a:lnTo>
                  <a:lnTo>
                    <a:pt x="109" y="198"/>
                  </a:lnTo>
                  <a:lnTo>
                    <a:pt x="107" y="201"/>
                  </a:lnTo>
                  <a:lnTo>
                    <a:pt x="107" y="201"/>
                  </a:lnTo>
                  <a:lnTo>
                    <a:pt x="107" y="203"/>
                  </a:lnTo>
                  <a:lnTo>
                    <a:pt x="104" y="206"/>
                  </a:lnTo>
                  <a:lnTo>
                    <a:pt x="104" y="206"/>
                  </a:lnTo>
                  <a:lnTo>
                    <a:pt x="107" y="208"/>
                  </a:lnTo>
                  <a:lnTo>
                    <a:pt x="109" y="211"/>
                  </a:lnTo>
                  <a:lnTo>
                    <a:pt x="109" y="211"/>
                  </a:lnTo>
                  <a:lnTo>
                    <a:pt x="112" y="211"/>
                  </a:lnTo>
                  <a:lnTo>
                    <a:pt x="112" y="211"/>
                  </a:lnTo>
                  <a:lnTo>
                    <a:pt x="114" y="211"/>
                  </a:lnTo>
                  <a:lnTo>
                    <a:pt x="117" y="214"/>
                  </a:lnTo>
                  <a:lnTo>
                    <a:pt x="119" y="214"/>
                  </a:lnTo>
                  <a:lnTo>
                    <a:pt x="119" y="214"/>
                  </a:lnTo>
                  <a:lnTo>
                    <a:pt x="119" y="216"/>
                  </a:lnTo>
                  <a:lnTo>
                    <a:pt x="122" y="216"/>
                  </a:lnTo>
                  <a:lnTo>
                    <a:pt x="127" y="219"/>
                  </a:lnTo>
                  <a:lnTo>
                    <a:pt x="130" y="221"/>
                  </a:lnTo>
                  <a:lnTo>
                    <a:pt x="132" y="221"/>
                  </a:lnTo>
                  <a:lnTo>
                    <a:pt x="135" y="221"/>
                  </a:lnTo>
                  <a:lnTo>
                    <a:pt x="137" y="221"/>
                  </a:lnTo>
                  <a:lnTo>
                    <a:pt x="140" y="224"/>
                  </a:lnTo>
                  <a:lnTo>
                    <a:pt x="142" y="226"/>
                  </a:lnTo>
                  <a:lnTo>
                    <a:pt x="145" y="229"/>
                  </a:lnTo>
                  <a:lnTo>
                    <a:pt x="145" y="229"/>
                  </a:lnTo>
                  <a:lnTo>
                    <a:pt x="145" y="229"/>
                  </a:lnTo>
                  <a:lnTo>
                    <a:pt x="150" y="231"/>
                  </a:lnTo>
                  <a:lnTo>
                    <a:pt x="150" y="231"/>
                  </a:lnTo>
                  <a:lnTo>
                    <a:pt x="153" y="231"/>
                  </a:lnTo>
                  <a:lnTo>
                    <a:pt x="155" y="231"/>
                  </a:lnTo>
                  <a:lnTo>
                    <a:pt x="155" y="231"/>
                  </a:lnTo>
                  <a:lnTo>
                    <a:pt x="155" y="229"/>
                  </a:lnTo>
                  <a:lnTo>
                    <a:pt x="155" y="229"/>
                  </a:lnTo>
                  <a:lnTo>
                    <a:pt x="155" y="226"/>
                  </a:lnTo>
                  <a:lnTo>
                    <a:pt x="158" y="226"/>
                  </a:lnTo>
                  <a:lnTo>
                    <a:pt x="158" y="224"/>
                  </a:lnTo>
                  <a:lnTo>
                    <a:pt x="158" y="224"/>
                  </a:lnTo>
                  <a:lnTo>
                    <a:pt x="158" y="221"/>
                  </a:lnTo>
                  <a:lnTo>
                    <a:pt x="158" y="221"/>
                  </a:lnTo>
                  <a:lnTo>
                    <a:pt x="155" y="219"/>
                  </a:lnTo>
                  <a:lnTo>
                    <a:pt x="158" y="219"/>
                  </a:lnTo>
                  <a:lnTo>
                    <a:pt x="158" y="219"/>
                  </a:lnTo>
                  <a:lnTo>
                    <a:pt x="155" y="219"/>
                  </a:lnTo>
                  <a:lnTo>
                    <a:pt x="155" y="216"/>
                  </a:lnTo>
                  <a:lnTo>
                    <a:pt x="155" y="216"/>
                  </a:lnTo>
                  <a:lnTo>
                    <a:pt x="155" y="214"/>
                  </a:lnTo>
                  <a:lnTo>
                    <a:pt x="155" y="214"/>
                  </a:lnTo>
                  <a:lnTo>
                    <a:pt x="155" y="211"/>
                  </a:lnTo>
                  <a:lnTo>
                    <a:pt x="158" y="208"/>
                  </a:lnTo>
                  <a:lnTo>
                    <a:pt x="158" y="208"/>
                  </a:lnTo>
                  <a:lnTo>
                    <a:pt x="158" y="206"/>
                  </a:lnTo>
                  <a:lnTo>
                    <a:pt x="163" y="201"/>
                  </a:lnTo>
                  <a:lnTo>
                    <a:pt x="163" y="198"/>
                  </a:lnTo>
                  <a:lnTo>
                    <a:pt x="163" y="196"/>
                  </a:lnTo>
                  <a:lnTo>
                    <a:pt x="165" y="196"/>
                  </a:lnTo>
                  <a:lnTo>
                    <a:pt x="163" y="196"/>
                  </a:lnTo>
                  <a:lnTo>
                    <a:pt x="163" y="196"/>
                  </a:lnTo>
                  <a:close/>
                  <a:moveTo>
                    <a:pt x="28" y="175"/>
                  </a:moveTo>
                  <a:lnTo>
                    <a:pt x="28" y="175"/>
                  </a:lnTo>
                  <a:lnTo>
                    <a:pt x="28" y="178"/>
                  </a:lnTo>
                  <a:lnTo>
                    <a:pt x="30" y="180"/>
                  </a:lnTo>
                  <a:lnTo>
                    <a:pt x="30" y="178"/>
                  </a:lnTo>
                  <a:lnTo>
                    <a:pt x="30" y="175"/>
                  </a:lnTo>
                  <a:lnTo>
                    <a:pt x="28" y="175"/>
                  </a:lnTo>
                  <a:close/>
                  <a:moveTo>
                    <a:pt x="132" y="142"/>
                  </a:moveTo>
                  <a:lnTo>
                    <a:pt x="132" y="142"/>
                  </a:lnTo>
                  <a:lnTo>
                    <a:pt x="132" y="142"/>
                  </a:lnTo>
                  <a:lnTo>
                    <a:pt x="132" y="140"/>
                  </a:lnTo>
                  <a:lnTo>
                    <a:pt x="130" y="142"/>
                  </a:lnTo>
                  <a:lnTo>
                    <a:pt x="130" y="142"/>
                  </a:lnTo>
                  <a:lnTo>
                    <a:pt x="132" y="142"/>
                  </a:lnTo>
                  <a:lnTo>
                    <a:pt x="132" y="142"/>
                  </a:lnTo>
                  <a:close/>
                  <a:moveTo>
                    <a:pt x="28" y="135"/>
                  </a:moveTo>
                  <a:lnTo>
                    <a:pt x="28" y="135"/>
                  </a:lnTo>
                  <a:lnTo>
                    <a:pt x="30" y="132"/>
                  </a:lnTo>
                  <a:lnTo>
                    <a:pt x="28" y="132"/>
                  </a:lnTo>
                  <a:lnTo>
                    <a:pt x="28" y="132"/>
                  </a:lnTo>
                  <a:lnTo>
                    <a:pt x="28" y="135"/>
                  </a:lnTo>
                  <a:lnTo>
                    <a:pt x="28" y="135"/>
                  </a:lnTo>
                  <a:lnTo>
                    <a:pt x="28" y="135"/>
                  </a:lnTo>
                  <a:lnTo>
                    <a:pt x="28" y="135"/>
                  </a:lnTo>
                  <a:close/>
                  <a:moveTo>
                    <a:pt x="53" y="140"/>
                  </a:moveTo>
                  <a:lnTo>
                    <a:pt x="53" y="137"/>
                  </a:lnTo>
                  <a:lnTo>
                    <a:pt x="51" y="137"/>
                  </a:lnTo>
                  <a:lnTo>
                    <a:pt x="51" y="137"/>
                  </a:lnTo>
                  <a:lnTo>
                    <a:pt x="53" y="135"/>
                  </a:lnTo>
                  <a:lnTo>
                    <a:pt x="53" y="135"/>
                  </a:lnTo>
                  <a:lnTo>
                    <a:pt x="53" y="135"/>
                  </a:lnTo>
                  <a:lnTo>
                    <a:pt x="51" y="135"/>
                  </a:lnTo>
                  <a:lnTo>
                    <a:pt x="51" y="135"/>
                  </a:lnTo>
                  <a:lnTo>
                    <a:pt x="51" y="132"/>
                  </a:lnTo>
                  <a:lnTo>
                    <a:pt x="51" y="132"/>
                  </a:lnTo>
                  <a:lnTo>
                    <a:pt x="48" y="132"/>
                  </a:lnTo>
                  <a:lnTo>
                    <a:pt x="46" y="130"/>
                  </a:lnTo>
                  <a:lnTo>
                    <a:pt x="46" y="130"/>
                  </a:lnTo>
                  <a:lnTo>
                    <a:pt x="46" y="130"/>
                  </a:lnTo>
                  <a:lnTo>
                    <a:pt x="43" y="132"/>
                  </a:lnTo>
                  <a:lnTo>
                    <a:pt x="43" y="132"/>
                  </a:lnTo>
                  <a:lnTo>
                    <a:pt x="40" y="132"/>
                  </a:lnTo>
                  <a:lnTo>
                    <a:pt x="38" y="137"/>
                  </a:lnTo>
                  <a:lnTo>
                    <a:pt x="35" y="137"/>
                  </a:lnTo>
                  <a:lnTo>
                    <a:pt x="33" y="140"/>
                  </a:lnTo>
                  <a:lnTo>
                    <a:pt x="30" y="140"/>
                  </a:lnTo>
                  <a:lnTo>
                    <a:pt x="30" y="140"/>
                  </a:lnTo>
                  <a:lnTo>
                    <a:pt x="28" y="137"/>
                  </a:lnTo>
                  <a:lnTo>
                    <a:pt x="28" y="137"/>
                  </a:lnTo>
                  <a:lnTo>
                    <a:pt x="28" y="137"/>
                  </a:lnTo>
                  <a:lnTo>
                    <a:pt x="25" y="137"/>
                  </a:lnTo>
                  <a:lnTo>
                    <a:pt x="25" y="140"/>
                  </a:lnTo>
                  <a:lnTo>
                    <a:pt x="25" y="142"/>
                  </a:lnTo>
                  <a:lnTo>
                    <a:pt x="28" y="145"/>
                  </a:lnTo>
                  <a:lnTo>
                    <a:pt x="28" y="145"/>
                  </a:lnTo>
                  <a:lnTo>
                    <a:pt x="30" y="147"/>
                  </a:lnTo>
                  <a:lnTo>
                    <a:pt x="30" y="147"/>
                  </a:lnTo>
                  <a:lnTo>
                    <a:pt x="30" y="150"/>
                  </a:lnTo>
                  <a:lnTo>
                    <a:pt x="30" y="150"/>
                  </a:lnTo>
                  <a:lnTo>
                    <a:pt x="30" y="155"/>
                  </a:lnTo>
                  <a:lnTo>
                    <a:pt x="30" y="155"/>
                  </a:lnTo>
                  <a:lnTo>
                    <a:pt x="30" y="158"/>
                  </a:lnTo>
                  <a:lnTo>
                    <a:pt x="30" y="158"/>
                  </a:lnTo>
                  <a:lnTo>
                    <a:pt x="30" y="158"/>
                  </a:lnTo>
                  <a:lnTo>
                    <a:pt x="33" y="158"/>
                  </a:lnTo>
                  <a:lnTo>
                    <a:pt x="33" y="160"/>
                  </a:lnTo>
                  <a:lnTo>
                    <a:pt x="33" y="160"/>
                  </a:lnTo>
                  <a:lnTo>
                    <a:pt x="33" y="163"/>
                  </a:lnTo>
                  <a:lnTo>
                    <a:pt x="33" y="163"/>
                  </a:lnTo>
                  <a:lnTo>
                    <a:pt x="30" y="163"/>
                  </a:lnTo>
                  <a:lnTo>
                    <a:pt x="30" y="163"/>
                  </a:lnTo>
                  <a:lnTo>
                    <a:pt x="30" y="163"/>
                  </a:lnTo>
                  <a:lnTo>
                    <a:pt x="30" y="165"/>
                  </a:lnTo>
                  <a:lnTo>
                    <a:pt x="30" y="168"/>
                  </a:lnTo>
                  <a:lnTo>
                    <a:pt x="30" y="168"/>
                  </a:lnTo>
                  <a:lnTo>
                    <a:pt x="30" y="173"/>
                  </a:lnTo>
                  <a:lnTo>
                    <a:pt x="30" y="173"/>
                  </a:lnTo>
                  <a:lnTo>
                    <a:pt x="30" y="175"/>
                  </a:lnTo>
                  <a:lnTo>
                    <a:pt x="33" y="178"/>
                  </a:lnTo>
                  <a:lnTo>
                    <a:pt x="33" y="180"/>
                  </a:lnTo>
                  <a:lnTo>
                    <a:pt x="35" y="180"/>
                  </a:lnTo>
                  <a:lnTo>
                    <a:pt x="35" y="180"/>
                  </a:lnTo>
                  <a:lnTo>
                    <a:pt x="38" y="180"/>
                  </a:lnTo>
                  <a:lnTo>
                    <a:pt x="38" y="180"/>
                  </a:lnTo>
                  <a:lnTo>
                    <a:pt x="40" y="180"/>
                  </a:lnTo>
                  <a:lnTo>
                    <a:pt x="40" y="178"/>
                  </a:lnTo>
                  <a:lnTo>
                    <a:pt x="43" y="173"/>
                  </a:lnTo>
                  <a:lnTo>
                    <a:pt x="43" y="173"/>
                  </a:lnTo>
                  <a:lnTo>
                    <a:pt x="43" y="173"/>
                  </a:lnTo>
                  <a:lnTo>
                    <a:pt x="46" y="173"/>
                  </a:lnTo>
                  <a:lnTo>
                    <a:pt x="46" y="173"/>
                  </a:lnTo>
                  <a:lnTo>
                    <a:pt x="48" y="175"/>
                  </a:lnTo>
                  <a:lnTo>
                    <a:pt x="51" y="175"/>
                  </a:lnTo>
                  <a:lnTo>
                    <a:pt x="51" y="175"/>
                  </a:lnTo>
                  <a:lnTo>
                    <a:pt x="51" y="173"/>
                  </a:lnTo>
                  <a:lnTo>
                    <a:pt x="53" y="170"/>
                  </a:lnTo>
                  <a:lnTo>
                    <a:pt x="53" y="158"/>
                  </a:lnTo>
                  <a:lnTo>
                    <a:pt x="53" y="158"/>
                  </a:lnTo>
                  <a:lnTo>
                    <a:pt x="53" y="155"/>
                  </a:lnTo>
                  <a:lnTo>
                    <a:pt x="53" y="155"/>
                  </a:lnTo>
                  <a:lnTo>
                    <a:pt x="53" y="153"/>
                  </a:lnTo>
                  <a:lnTo>
                    <a:pt x="56" y="150"/>
                  </a:lnTo>
                  <a:lnTo>
                    <a:pt x="56" y="147"/>
                  </a:lnTo>
                  <a:lnTo>
                    <a:pt x="56" y="147"/>
                  </a:lnTo>
                  <a:lnTo>
                    <a:pt x="56" y="145"/>
                  </a:lnTo>
                  <a:lnTo>
                    <a:pt x="53" y="140"/>
                  </a:lnTo>
                  <a:close/>
                  <a:moveTo>
                    <a:pt x="68" y="94"/>
                  </a:moveTo>
                  <a:lnTo>
                    <a:pt x="66" y="94"/>
                  </a:lnTo>
                  <a:lnTo>
                    <a:pt x="66" y="94"/>
                  </a:lnTo>
                  <a:lnTo>
                    <a:pt x="66" y="94"/>
                  </a:lnTo>
                  <a:lnTo>
                    <a:pt x="63" y="94"/>
                  </a:lnTo>
                  <a:lnTo>
                    <a:pt x="61" y="97"/>
                  </a:lnTo>
                  <a:lnTo>
                    <a:pt x="61" y="97"/>
                  </a:lnTo>
                  <a:lnTo>
                    <a:pt x="61" y="97"/>
                  </a:lnTo>
                  <a:lnTo>
                    <a:pt x="63" y="97"/>
                  </a:lnTo>
                  <a:lnTo>
                    <a:pt x="66" y="97"/>
                  </a:lnTo>
                  <a:lnTo>
                    <a:pt x="68" y="97"/>
                  </a:lnTo>
                  <a:lnTo>
                    <a:pt x="66" y="97"/>
                  </a:lnTo>
                  <a:lnTo>
                    <a:pt x="68" y="97"/>
                  </a:lnTo>
                  <a:lnTo>
                    <a:pt x="68" y="94"/>
                  </a:lnTo>
                  <a:close/>
                  <a:moveTo>
                    <a:pt x="216" y="153"/>
                  </a:moveTo>
                  <a:lnTo>
                    <a:pt x="214" y="150"/>
                  </a:lnTo>
                  <a:lnTo>
                    <a:pt x="209" y="145"/>
                  </a:lnTo>
                  <a:lnTo>
                    <a:pt x="206" y="142"/>
                  </a:lnTo>
                  <a:lnTo>
                    <a:pt x="198" y="140"/>
                  </a:lnTo>
                  <a:lnTo>
                    <a:pt x="193" y="135"/>
                  </a:lnTo>
                  <a:lnTo>
                    <a:pt x="191" y="135"/>
                  </a:lnTo>
                  <a:lnTo>
                    <a:pt x="181" y="130"/>
                  </a:lnTo>
                  <a:lnTo>
                    <a:pt x="170" y="125"/>
                  </a:lnTo>
                  <a:lnTo>
                    <a:pt x="168" y="125"/>
                  </a:lnTo>
                  <a:lnTo>
                    <a:pt x="168" y="122"/>
                  </a:lnTo>
                  <a:lnTo>
                    <a:pt x="170" y="119"/>
                  </a:lnTo>
                  <a:lnTo>
                    <a:pt x="173" y="119"/>
                  </a:lnTo>
                  <a:lnTo>
                    <a:pt x="173" y="117"/>
                  </a:lnTo>
                  <a:lnTo>
                    <a:pt x="173" y="114"/>
                  </a:lnTo>
                  <a:lnTo>
                    <a:pt x="170" y="114"/>
                  </a:lnTo>
                  <a:lnTo>
                    <a:pt x="168" y="114"/>
                  </a:lnTo>
                  <a:lnTo>
                    <a:pt x="158" y="114"/>
                  </a:lnTo>
                  <a:lnTo>
                    <a:pt x="155" y="114"/>
                  </a:lnTo>
                  <a:lnTo>
                    <a:pt x="150" y="112"/>
                  </a:lnTo>
                  <a:lnTo>
                    <a:pt x="142" y="107"/>
                  </a:lnTo>
                  <a:lnTo>
                    <a:pt x="137" y="102"/>
                  </a:lnTo>
                  <a:lnTo>
                    <a:pt x="132" y="99"/>
                  </a:lnTo>
                  <a:lnTo>
                    <a:pt x="132" y="94"/>
                  </a:lnTo>
                  <a:lnTo>
                    <a:pt x="130" y="86"/>
                  </a:lnTo>
                  <a:lnTo>
                    <a:pt x="127" y="84"/>
                  </a:lnTo>
                  <a:lnTo>
                    <a:pt x="125" y="79"/>
                  </a:lnTo>
                  <a:lnTo>
                    <a:pt x="125" y="79"/>
                  </a:lnTo>
                  <a:lnTo>
                    <a:pt x="119" y="76"/>
                  </a:lnTo>
                  <a:lnTo>
                    <a:pt x="112" y="71"/>
                  </a:lnTo>
                  <a:lnTo>
                    <a:pt x="109" y="69"/>
                  </a:lnTo>
                  <a:lnTo>
                    <a:pt x="104" y="66"/>
                  </a:lnTo>
                  <a:lnTo>
                    <a:pt x="104" y="63"/>
                  </a:lnTo>
                  <a:lnTo>
                    <a:pt x="102" y="61"/>
                  </a:lnTo>
                  <a:lnTo>
                    <a:pt x="102" y="53"/>
                  </a:lnTo>
                  <a:lnTo>
                    <a:pt x="102" y="51"/>
                  </a:lnTo>
                  <a:lnTo>
                    <a:pt x="102" y="51"/>
                  </a:lnTo>
                  <a:lnTo>
                    <a:pt x="104" y="51"/>
                  </a:lnTo>
                  <a:lnTo>
                    <a:pt x="104" y="51"/>
                  </a:lnTo>
                  <a:lnTo>
                    <a:pt x="104" y="48"/>
                  </a:lnTo>
                  <a:lnTo>
                    <a:pt x="104" y="48"/>
                  </a:lnTo>
                  <a:lnTo>
                    <a:pt x="104" y="46"/>
                  </a:lnTo>
                  <a:lnTo>
                    <a:pt x="102" y="41"/>
                  </a:lnTo>
                  <a:lnTo>
                    <a:pt x="99" y="41"/>
                  </a:lnTo>
                  <a:lnTo>
                    <a:pt x="102" y="38"/>
                  </a:lnTo>
                  <a:lnTo>
                    <a:pt x="102" y="35"/>
                  </a:lnTo>
                  <a:lnTo>
                    <a:pt x="102" y="35"/>
                  </a:lnTo>
                  <a:lnTo>
                    <a:pt x="104" y="33"/>
                  </a:lnTo>
                  <a:lnTo>
                    <a:pt x="107" y="33"/>
                  </a:lnTo>
                  <a:lnTo>
                    <a:pt x="104" y="35"/>
                  </a:lnTo>
                  <a:lnTo>
                    <a:pt x="104" y="35"/>
                  </a:lnTo>
                  <a:lnTo>
                    <a:pt x="107" y="35"/>
                  </a:lnTo>
                  <a:lnTo>
                    <a:pt x="109" y="33"/>
                  </a:lnTo>
                  <a:lnTo>
                    <a:pt x="112" y="33"/>
                  </a:lnTo>
                  <a:lnTo>
                    <a:pt x="114" y="30"/>
                  </a:lnTo>
                  <a:lnTo>
                    <a:pt x="117" y="30"/>
                  </a:lnTo>
                  <a:lnTo>
                    <a:pt x="117" y="28"/>
                  </a:lnTo>
                  <a:lnTo>
                    <a:pt x="117" y="28"/>
                  </a:lnTo>
                  <a:lnTo>
                    <a:pt x="122" y="30"/>
                  </a:lnTo>
                  <a:lnTo>
                    <a:pt x="125" y="28"/>
                  </a:lnTo>
                  <a:lnTo>
                    <a:pt x="125" y="28"/>
                  </a:lnTo>
                  <a:lnTo>
                    <a:pt x="127" y="30"/>
                  </a:lnTo>
                  <a:lnTo>
                    <a:pt x="127" y="33"/>
                  </a:lnTo>
                  <a:lnTo>
                    <a:pt x="127" y="33"/>
                  </a:lnTo>
                  <a:lnTo>
                    <a:pt x="130" y="33"/>
                  </a:lnTo>
                  <a:lnTo>
                    <a:pt x="130" y="33"/>
                  </a:lnTo>
                  <a:lnTo>
                    <a:pt x="130" y="30"/>
                  </a:lnTo>
                  <a:lnTo>
                    <a:pt x="127" y="28"/>
                  </a:lnTo>
                  <a:lnTo>
                    <a:pt x="125" y="28"/>
                  </a:lnTo>
                  <a:lnTo>
                    <a:pt x="125" y="28"/>
                  </a:lnTo>
                  <a:lnTo>
                    <a:pt x="125" y="28"/>
                  </a:lnTo>
                  <a:lnTo>
                    <a:pt x="125" y="25"/>
                  </a:lnTo>
                  <a:lnTo>
                    <a:pt x="125" y="23"/>
                  </a:lnTo>
                  <a:lnTo>
                    <a:pt x="122" y="23"/>
                  </a:lnTo>
                  <a:lnTo>
                    <a:pt x="122" y="23"/>
                  </a:lnTo>
                  <a:lnTo>
                    <a:pt x="122" y="23"/>
                  </a:lnTo>
                  <a:lnTo>
                    <a:pt x="122" y="23"/>
                  </a:lnTo>
                  <a:lnTo>
                    <a:pt x="125" y="20"/>
                  </a:lnTo>
                  <a:lnTo>
                    <a:pt x="125" y="20"/>
                  </a:lnTo>
                  <a:lnTo>
                    <a:pt x="125" y="20"/>
                  </a:lnTo>
                  <a:lnTo>
                    <a:pt x="125" y="20"/>
                  </a:lnTo>
                  <a:lnTo>
                    <a:pt x="125" y="20"/>
                  </a:lnTo>
                  <a:lnTo>
                    <a:pt x="122" y="18"/>
                  </a:lnTo>
                  <a:lnTo>
                    <a:pt x="122" y="18"/>
                  </a:lnTo>
                  <a:lnTo>
                    <a:pt x="122" y="18"/>
                  </a:lnTo>
                  <a:lnTo>
                    <a:pt x="122" y="18"/>
                  </a:lnTo>
                  <a:lnTo>
                    <a:pt x="119" y="18"/>
                  </a:lnTo>
                  <a:lnTo>
                    <a:pt x="122" y="15"/>
                  </a:lnTo>
                  <a:lnTo>
                    <a:pt x="122" y="15"/>
                  </a:lnTo>
                  <a:lnTo>
                    <a:pt x="125" y="15"/>
                  </a:lnTo>
                  <a:lnTo>
                    <a:pt x="125" y="13"/>
                  </a:lnTo>
                  <a:lnTo>
                    <a:pt x="125" y="13"/>
                  </a:lnTo>
                  <a:lnTo>
                    <a:pt x="127" y="13"/>
                  </a:lnTo>
                  <a:lnTo>
                    <a:pt x="122" y="10"/>
                  </a:lnTo>
                  <a:lnTo>
                    <a:pt x="119" y="10"/>
                  </a:lnTo>
                  <a:lnTo>
                    <a:pt x="117" y="10"/>
                  </a:lnTo>
                  <a:lnTo>
                    <a:pt x="109" y="10"/>
                  </a:lnTo>
                  <a:lnTo>
                    <a:pt x="109" y="10"/>
                  </a:lnTo>
                  <a:lnTo>
                    <a:pt x="107" y="10"/>
                  </a:lnTo>
                  <a:lnTo>
                    <a:pt x="104" y="7"/>
                  </a:lnTo>
                  <a:lnTo>
                    <a:pt x="102" y="7"/>
                  </a:lnTo>
                  <a:lnTo>
                    <a:pt x="102" y="7"/>
                  </a:lnTo>
                  <a:lnTo>
                    <a:pt x="102" y="5"/>
                  </a:lnTo>
                  <a:lnTo>
                    <a:pt x="99" y="2"/>
                  </a:lnTo>
                  <a:lnTo>
                    <a:pt x="99" y="2"/>
                  </a:lnTo>
                  <a:lnTo>
                    <a:pt x="99" y="0"/>
                  </a:lnTo>
                  <a:lnTo>
                    <a:pt x="99" y="0"/>
                  </a:lnTo>
                  <a:lnTo>
                    <a:pt x="99" y="0"/>
                  </a:lnTo>
                  <a:lnTo>
                    <a:pt x="99" y="0"/>
                  </a:lnTo>
                  <a:lnTo>
                    <a:pt x="94" y="0"/>
                  </a:lnTo>
                  <a:lnTo>
                    <a:pt x="91" y="2"/>
                  </a:lnTo>
                  <a:lnTo>
                    <a:pt x="91" y="2"/>
                  </a:lnTo>
                  <a:lnTo>
                    <a:pt x="89" y="2"/>
                  </a:lnTo>
                  <a:lnTo>
                    <a:pt x="86" y="2"/>
                  </a:lnTo>
                  <a:lnTo>
                    <a:pt x="86" y="2"/>
                  </a:lnTo>
                  <a:lnTo>
                    <a:pt x="81" y="2"/>
                  </a:lnTo>
                  <a:lnTo>
                    <a:pt x="81" y="2"/>
                  </a:lnTo>
                  <a:lnTo>
                    <a:pt x="79" y="5"/>
                  </a:lnTo>
                  <a:lnTo>
                    <a:pt x="79" y="5"/>
                  </a:lnTo>
                  <a:lnTo>
                    <a:pt x="79" y="5"/>
                  </a:lnTo>
                  <a:lnTo>
                    <a:pt x="76" y="7"/>
                  </a:lnTo>
                  <a:lnTo>
                    <a:pt x="76" y="5"/>
                  </a:lnTo>
                  <a:lnTo>
                    <a:pt x="74" y="5"/>
                  </a:lnTo>
                  <a:lnTo>
                    <a:pt x="74" y="5"/>
                  </a:lnTo>
                  <a:lnTo>
                    <a:pt x="71" y="5"/>
                  </a:lnTo>
                  <a:lnTo>
                    <a:pt x="68" y="5"/>
                  </a:lnTo>
                  <a:lnTo>
                    <a:pt x="68" y="5"/>
                  </a:lnTo>
                  <a:lnTo>
                    <a:pt x="68" y="7"/>
                  </a:lnTo>
                  <a:lnTo>
                    <a:pt x="68" y="7"/>
                  </a:lnTo>
                  <a:lnTo>
                    <a:pt x="68" y="10"/>
                  </a:lnTo>
                  <a:lnTo>
                    <a:pt x="68" y="10"/>
                  </a:lnTo>
                  <a:lnTo>
                    <a:pt x="68" y="10"/>
                  </a:lnTo>
                  <a:lnTo>
                    <a:pt x="66" y="10"/>
                  </a:lnTo>
                  <a:lnTo>
                    <a:pt x="66" y="10"/>
                  </a:lnTo>
                  <a:lnTo>
                    <a:pt x="63" y="10"/>
                  </a:lnTo>
                  <a:lnTo>
                    <a:pt x="63" y="10"/>
                  </a:lnTo>
                  <a:lnTo>
                    <a:pt x="61" y="10"/>
                  </a:lnTo>
                  <a:lnTo>
                    <a:pt x="61" y="10"/>
                  </a:lnTo>
                  <a:lnTo>
                    <a:pt x="61" y="13"/>
                  </a:lnTo>
                  <a:lnTo>
                    <a:pt x="61" y="13"/>
                  </a:lnTo>
                  <a:lnTo>
                    <a:pt x="61" y="15"/>
                  </a:lnTo>
                  <a:lnTo>
                    <a:pt x="61" y="15"/>
                  </a:lnTo>
                  <a:lnTo>
                    <a:pt x="63" y="18"/>
                  </a:lnTo>
                  <a:lnTo>
                    <a:pt x="63" y="18"/>
                  </a:lnTo>
                  <a:lnTo>
                    <a:pt x="63" y="18"/>
                  </a:lnTo>
                  <a:lnTo>
                    <a:pt x="61" y="18"/>
                  </a:lnTo>
                  <a:lnTo>
                    <a:pt x="61" y="18"/>
                  </a:lnTo>
                  <a:lnTo>
                    <a:pt x="61" y="15"/>
                  </a:lnTo>
                  <a:lnTo>
                    <a:pt x="58" y="15"/>
                  </a:lnTo>
                  <a:lnTo>
                    <a:pt x="58" y="15"/>
                  </a:lnTo>
                  <a:lnTo>
                    <a:pt x="56" y="15"/>
                  </a:lnTo>
                  <a:lnTo>
                    <a:pt x="53" y="18"/>
                  </a:lnTo>
                  <a:lnTo>
                    <a:pt x="53" y="18"/>
                  </a:lnTo>
                  <a:lnTo>
                    <a:pt x="51" y="18"/>
                  </a:lnTo>
                  <a:lnTo>
                    <a:pt x="51" y="15"/>
                  </a:lnTo>
                  <a:lnTo>
                    <a:pt x="51" y="13"/>
                  </a:lnTo>
                  <a:lnTo>
                    <a:pt x="51" y="13"/>
                  </a:lnTo>
                  <a:lnTo>
                    <a:pt x="51" y="13"/>
                  </a:lnTo>
                  <a:lnTo>
                    <a:pt x="48" y="13"/>
                  </a:lnTo>
                  <a:lnTo>
                    <a:pt x="48" y="13"/>
                  </a:lnTo>
                  <a:lnTo>
                    <a:pt x="48" y="15"/>
                  </a:lnTo>
                  <a:lnTo>
                    <a:pt x="46" y="18"/>
                  </a:lnTo>
                  <a:lnTo>
                    <a:pt x="46" y="18"/>
                  </a:lnTo>
                  <a:lnTo>
                    <a:pt x="43" y="20"/>
                  </a:lnTo>
                  <a:lnTo>
                    <a:pt x="43" y="23"/>
                  </a:lnTo>
                  <a:lnTo>
                    <a:pt x="43" y="23"/>
                  </a:lnTo>
                  <a:lnTo>
                    <a:pt x="43" y="23"/>
                  </a:lnTo>
                  <a:lnTo>
                    <a:pt x="43" y="25"/>
                  </a:lnTo>
                  <a:lnTo>
                    <a:pt x="43" y="25"/>
                  </a:lnTo>
                  <a:lnTo>
                    <a:pt x="43" y="28"/>
                  </a:lnTo>
                  <a:lnTo>
                    <a:pt x="40" y="28"/>
                  </a:lnTo>
                  <a:lnTo>
                    <a:pt x="40" y="25"/>
                  </a:lnTo>
                  <a:lnTo>
                    <a:pt x="40" y="25"/>
                  </a:lnTo>
                  <a:lnTo>
                    <a:pt x="38" y="23"/>
                  </a:lnTo>
                  <a:lnTo>
                    <a:pt x="38" y="23"/>
                  </a:lnTo>
                  <a:lnTo>
                    <a:pt x="38" y="23"/>
                  </a:lnTo>
                  <a:lnTo>
                    <a:pt x="35" y="20"/>
                  </a:lnTo>
                  <a:lnTo>
                    <a:pt x="35" y="20"/>
                  </a:lnTo>
                  <a:lnTo>
                    <a:pt x="33" y="18"/>
                  </a:lnTo>
                  <a:lnTo>
                    <a:pt x="33" y="18"/>
                  </a:lnTo>
                  <a:lnTo>
                    <a:pt x="33" y="15"/>
                  </a:lnTo>
                  <a:lnTo>
                    <a:pt x="33" y="13"/>
                  </a:lnTo>
                  <a:lnTo>
                    <a:pt x="33" y="13"/>
                  </a:lnTo>
                  <a:lnTo>
                    <a:pt x="30" y="13"/>
                  </a:lnTo>
                  <a:lnTo>
                    <a:pt x="30" y="15"/>
                  </a:lnTo>
                  <a:lnTo>
                    <a:pt x="28" y="15"/>
                  </a:lnTo>
                  <a:lnTo>
                    <a:pt x="25" y="18"/>
                  </a:lnTo>
                  <a:lnTo>
                    <a:pt x="25" y="18"/>
                  </a:lnTo>
                  <a:lnTo>
                    <a:pt x="28" y="20"/>
                  </a:lnTo>
                  <a:lnTo>
                    <a:pt x="28" y="20"/>
                  </a:lnTo>
                  <a:lnTo>
                    <a:pt x="25" y="23"/>
                  </a:lnTo>
                  <a:lnTo>
                    <a:pt x="25" y="23"/>
                  </a:lnTo>
                  <a:lnTo>
                    <a:pt x="23" y="25"/>
                  </a:lnTo>
                  <a:lnTo>
                    <a:pt x="20" y="25"/>
                  </a:lnTo>
                  <a:lnTo>
                    <a:pt x="17" y="23"/>
                  </a:lnTo>
                  <a:lnTo>
                    <a:pt x="15" y="23"/>
                  </a:lnTo>
                  <a:lnTo>
                    <a:pt x="15" y="25"/>
                  </a:lnTo>
                  <a:lnTo>
                    <a:pt x="12" y="25"/>
                  </a:lnTo>
                  <a:lnTo>
                    <a:pt x="7" y="25"/>
                  </a:lnTo>
                  <a:lnTo>
                    <a:pt x="7" y="25"/>
                  </a:lnTo>
                  <a:lnTo>
                    <a:pt x="7" y="25"/>
                  </a:lnTo>
                  <a:lnTo>
                    <a:pt x="5" y="25"/>
                  </a:lnTo>
                  <a:lnTo>
                    <a:pt x="2" y="28"/>
                  </a:lnTo>
                  <a:lnTo>
                    <a:pt x="2" y="28"/>
                  </a:lnTo>
                  <a:lnTo>
                    <a:pt x="2" y="28"/>
                  </a:lnTo>
                  <a:lnTo>
                    <a:pt x="2" y="30"/>
                  </a:lnTo>
                  <a:lnTo>
                    <a:pt x="5" y="30"/>
                  </a:lnTo>
                  <a:lnTo>
                    <a:pt x="5" y="33"/>
                  </a:lnTo>
                  <a:lnTo>
                    <a:pt x="7" y="35"/>
                  </a:lnTo>
                  <a:lnTo>
                    <a:pt x="7" y="35"/>
                  </a:lnTo>
                  <a:lnTo>
                    <a:pt x="10" y="35"/>
                  </a:lnTo>
                  <a:lnTo>
                    <a:pt x="10" y="38"/>
                  </a:lnTo>
                  <a:lnTo>
                    <a:pt x="7" y="38"/>
                  </a:lnTo>
                  <a:lnTo>
                    <a:pt x="7" y="41"/>
                  </a:lnTo>
                  <a:lnTo>
                    <a:pt x="7" y="41"/>
                  </a:lnTo>
                  <a:lnTo>
                    <a:pt x="5" y="41"/>
                  </a:lnTo>
                  <a:lnTo>
                    <a:pt x="2" y="43"/>
                  </a:lnTo>
                  <a:lnTo>
                    <a:pt x="2" y="43"/>
                  </a:lnTo>
                  <a:lnTo>
                    <a:pt x="0" y="43"/>
                  </a:lnTo>
                  <a:lnTo>
                    <a:pt x="0" y="43"/>
                  </a:lnTo>
                  <a:lnTo>
                    <a:pt x="0" y="43"/>
                  </a:lnTo>
                  <a:lnTo>
                    <a:pt x="0" y="46"/>
                  </a:lnTo>
                  <a:lnTo>
                    <a:pt x="0" y="48"/>
                  </a:lnTo>
                  <a:lnTo>
                    <a:pt x="2" y="48"/>
                  </a:lnTo>
                  <a:lnTo>
                    <a:pt x="2" y="51"/>
                  </a:lnTo>
                  <a:lnTo>
                    <a:pt x="5" y="51"/>
                  </a:lnTo>
                  <a:lnTo>
                    <a:pt x="5" y="51"/>
                  </a:lnTo>
                  <a:lnTo>
                    <a:pt x="5" y="51"/>
                  </a:lnTo>
                  <a:lnTo>
                    <a:pt x="5" y="51"/>
                  </a:lnTo>
                  <a:lnTo>
                    <a:pt x="7" y="53"/>
                  </a:lnTo>
                  <a:lnTo>
                    <a:pt x="5" y="53"/>
                  </a:lnTo>
                  <a:lnTo>
                    <a:pt x="5" y="53"/>
                  </a:lnTo>
                  <a:lnTo>
                    <a:pt x="5" y="56"/>
                  </a:lnTo>
                  <a:lnTo>
                    <a:pt x="2" y="56"/>
                  </a:lnTo>
                  <a:lnTo>
                    <a:pt x="2" y="58"/>
                  </a:lnTo>
                  <a:lnTo>
                    <a:pt x="2" y="58"/>
                  </a:lnTo>
                  <a:lnTo>
                    <a:pt x="5" y="61"/>
                  </a:lnTo>
                  <a:lnTo>
                    <a:pt x="2" y="61"/>
                  </a:lnTo>
                  <a:lnTo>
                    <a:pt x="5" y="61"/>
                  </a:lnTo>
                  <a:lnTo>
                    <a:pt x="5" y="63"/>
                  </a:lnTo>
                  <a:lnTo>
                    <a:pt x="7" y="66"/>
                  </a:lnTo>
                  <a:lnTo>
                    <a:pt x="12" y="66"/>
                  </a:lnTo>
                  <a:lnTo>
                    <a:pt x="12" y="66"/>
                  </a:lnTo>
                  <a:lnTo>
                    <a:pt x="17" y="66"/>
                  </a:lnTo>
                  <a:lnTo>
                    <a:pt x="17" y="66"/>
                  </a:lnTo>
                  <a:lnTo>
                    <a:pt x="17" y="66"/>
                  </a:lnTo>
                  <a:lnTo>
                    <a:pt x="17" y="69"/>
                  </a:lnTo>
                  <a:lnTo>
                    <a:pt x="17" y="69"/>
                  </a:lnTo>
                  <a:lnTo>
                    <a:pt x="15" y="71"/>
                  </a:lnTo>
                  <a:lnTo>
                    <a:pt x="15" y="71"/>
                  </a:lnTo>
                  <a:lnTo>
                    <a:pt x="15" y="71"/>
                  </a:lnTo>
                  <a:lnTo>
                    <a:pt x="15" y="74"/>
                  </a:lnTo>
                  <a:lnTo>
                    <a:pt x="15" y="74"/>
                  </a:lnTo>
                  <a:lnTo>
                    <a:pt x="17" y="74"/>
                  </a:lnTo>
                  <a:lnTo>
                    <a:pt x="23" y="71"/>
                  </a:lnTo>
                  <a:lnTo>
                    <a:pt x="25" y="71"/>
                  </a:lnTo>
                  <a:lnTo>
                    <a:pt x="28" y="66"/>
                  </a:lnTo>
                  <a:lnTo>
                    <a:pt x="33" y="61"/>
                  </a:lnTo>
                  <a:lnTo>
                    <a:pt x="38" y="61"/>
                  </a:lnTo>
                  <a:lnTo>
                    <a:pt x="40" y="61"/>
                  </a:lnTo>
                  <a:lnTo>
                    <a:pt x="46" y="61"/>
                  </a:lnTo>
                  <a:lnTo>
                    <a:pt x="48" y="63"/>
                  </a:lnTo>
                  <a:lnTo>
                    <a:pt x="56" y="66"/>
                  </a:lnTo>
                  <a:lnTo>
                    <a:pt x="61" y="69"/>
                  </a:lnTo>
                  <a:lnTo>
                    <a:pt x="63" y="71"/>
                  </a:lnTo>
                  <a:lnTo>
                    <a:pt x="63" y="74"/>
                  </a:lnTo>
                  <a:lnTo>
                    <a:pt x="66" y="79"/>
                  </a:lnTo>
                  <a:lnTo>
                    <a:pt x="68" y="84"/>
                  </a:lnTo>
                  <a:lnTo>
                    <a:pt x="68" y="86"/>
                  </a:lnTo>
                  <a:lnTo>
                    <a:pt x="68" y="89"/>
                  </a:lnTo>
                  <a:lnTo>
                    <a:pt x="68" y="89"/>
                  </a:lnTo>
                  <a:lnTo>
                    <a:pt x="68" y="91"/>
                  </a:lnTo>
                  <a:lnTo>
                    <a:pt x="71" y="91"/>
                  </a:lnTo>
                  <a:lnTo>
                    <a:pt x="71" y="91"/>
                  </a:lnTo>
                  <a:lnTo>
                    <a:pt x="74" y="91"/>
                  </a:lnTo>
                  <a:lnTo>
                    <a:pt x="74" y="94"/>
                  </a:lnTo>
                  <a:lnTo>
                    <a:pt x="74" y="94"/>
                  </a:lnTo>
                  <a:lnTo>
                    <a:pt x="74" y="97"/>
                  </a:lnTo>
                  <a:lnTo>
                    <a:pt x="76" y="97"/>
                  </a:lnTo>
                  <a:lnTo>
                    <a:pt x="81" y="102"/>
                  </a:lnTo>
                  <a:lnTo>
                    <a:pt x="81" y="104"/>
                  </a:lnTo>
                  <a:lnTo>
                    <a:pt x="81" y="104"/>
                  </a:lnTo>
                  <a:lnTo>
                    <a:pt x="79" y="104"/>
                  </a:lnTo>
                  <a:lnTo>
                    <a:pt x="81" y="104"/>
                  </a:lnTo>
                  <a:lnTo>
                    <a:pt x="81" y="104"/>
                  </a:lnTo>
                  <a:lnTo>
                    <a:pt x="84" y="104"/>
                  </a:lnTo>
                  <a:lnTo>
                    <a:pt x="84" y="104"/>
                  </a:lnTo>
                  <a:lnTo>
                    <a:pt x="86" y="104"/>
                  </a:lnTo>
                  <a:lnTo>
                    <a:pt x="89" y="107"/>
                  </a:lnTo>
                  <a:lnTo>
                    <a:pt x="94" y="112"/>
                  </a:lnTo>
                  <a:lnTo>
                    <a:pt x="96" y="114"/>
                  </a:lnTo>
                  <a:lnTo>
                    <a:pt x="99" y="117"/>
                  </a:lnTo>
                  <a:lnTo>
                    <a:pt x="107" y="125"/>
                  </a:lnTo>
                  <a:lnTo>
                    <a:pt x="112" y="127"/>
                  </a:lnTo>
                  <a:lnTo>
                    <a:pt x="114" y="130"/>
                  </a:lnTo>
                  <a:lnTo>
                    <a:pt x="114" y="130"/>
                  </a:lnTo>
                  <a:lnTo>
                    <a:pt x="117" y="130"/>
                  </a:lnTo>
                  <a:lnTo>
                    <a:pt x="117" y="130"/>
                  </a:lnTo>
                  <a:lnTo>
                    <a:pt x="119" y="130"/>
                  </a:lnTo>
                  <a:lnTo>
                    <a:pt x="122" y="130"/>
                  </a:lnTo>
                  <a:lnTo>
                    <a:pt x="125" y="130"/>
                  </a:lnTo>
                  <a:lnTo>
                    <a:pt x="127" y="130"/>
                  </a:lnTo>
                  <a:lnTo>
                    <a:pt x="127" y="130"/>
                  </a:lnTo>
                  <a:lnTo>
                    <a:pt x="130" y="132"/>
                  </a:lnTo>
                  <a:lnTo>
                    <a:pt x="135" y="137"/>
                  </a:lnTo>
                  <a:lnTo>
                    <a:pt x="135" y="140"/>
                  </a:lnTo>
                  <a:lnTo>
                    <a:pt x="135" y="140"/>
                  </a:lnTo>
                  <a:lnTo>
                    <a:pt x="135" y="140"/>
                  </a:lnTo>
                  <a:lnTo>
                    <a:pt x="137" y="140"/>
                  </a:lnTo>
                  <a:lnTo>
                    <a:pt x="140" y="140"/>
                  </a:lnTo>
                  <a:lnTo>
                    <a:pt x="142" y="140"/>
                  </a:lnTo>
                  <a:lnTo>
                    <a:pt x="142" y="142"/>
                  </a:lnTo>
                  <a:lnTo>
                    <a:pt x="140" y="145"/>
                  </a:lnTo>
                  <a:lnTo>
                    <a:pt x="140" y="145"/>
                  </a:lnTo>
                  <a:lnTo>
                    <a:pt x="142" y="142"/>
                  </a:lnTo>
                  <a:lnTo>
                    <a:pt x="142" y="145"/>
                  </a:lnTo>
                  <a:lnTo>
                    <a:pt x="145" y="142"/>
                  </a:lnTo>
                  <a:lnTo>
                    <a:pt x="147" y="142"/>
                  </a:lnTo>
                  <a:lnTo>
                    <a:pt x="150" y="142"/>
                  </a:lnTo>
                  <a:lnTo>
                    <a:pt x="150" y="145"/>
                  </a:lnTo>
                  <a:lnTo>
                    <a:pt x="150" y="147"/>
                  </a:lnTo>
                  <a:lnTo>
                    <a:pt x="153" y="150"/>
                  </a:lnTo>
                  <a:lnTo>
                    <a:pt x="150" y="150"/>
                  </a:lnTo>
                  <a:lnTo>
                    <a:pt x="150" y="153"/>
                  </a:lnTo>
                  <a:lnTo>
                    <a:pt x="150" y="153"/>
                  </a:lnTo>
                  <a:lnTo>
                    <a:pt x="158" y="155"/>
                  </a:lnTo>
                  <a:lnTo>
                    <a:pt x="160" y="158"/>
                  </a:lnTo>
                  <a:lnTo>
                    <a:pt x="163" y="158"/>
                  </a:lnTo>
                  <a:lnTo>
                    <a:pt x="165" y="155"/>
                  </a:lnTo>
                  <a:lnTo>
                    <a:pt x="165" y="158"/>
                  </a:lnTo>
                  <a:lnTo>
                    <a:pt x="168" y="165"/>
                  </a:lnTo>
                  <a:lnTo>
                    <a:pt x="170" y="170"/>
                  </a:lnTo>
                  <a:lnTo>
                    <a:pt x="173" y="175"/>
                  </a:lnTo>
                  <a:lnTo>
                    <a:pt x="173" y="178"/>
                  </a:lnTo>
                  <a:lnTo>
                    <a:pt x="175" y="180"/>
                  </a:lnTo>
                  <a:lnTo>
                    <a:pt x="175" y="183"/>
                  </a:lnTo>
                  <a:lnTo>
                    <a:pt x="173" y="186"/>
                  </a:lnTo>
                  <a:lnTo>
                    <a:pt x="170" y="186"/>
                  </a:lnTo>
                  <a:lnTo>
                    <a:pt x="170" y="186"/>
                  </a:lnTo>
                  <a:lnTo>
                    <a:pt x="168" y="188"/>
                  </a:lnTo>
                  <a:lnTo>
                    <a:pt x="170" y="191"/>
                  </a:lnTo>
                  <a:lnTo>
                    <a:pt x="168" y="196"/>
                  </a:lnTo>
                  <a:lnTo>
                    <a:pt x="165" y="196"/>
                  </a:lnTo>
                  <a:lnTo>
                    <a:pt x="165" y="198"/>
                  </a:lnTo>
                  <a:lnTo>
                    <a:pt x="165" y="201"/>
                  </a:lnTo>
                  <a:lnTo>
                    <a:pt x="165" y="203"/>
                  </a:lnTo>
                  <a:lnTo>
                    <a:pt x="173" y="203"/>
                  </a:lnTo>
                  <a:lnTo>
                    <a:pt x="173" y="201"/>
                  </a:lnTo>
                  <a:lnTo>
                    <a:pt x="173" y="201"/>
                  </a:lnTo>
                  <a:lnTo>
                    <a:pt x="175" y="196"/>
                  </a:lnTo>
                  <a:lnTo>
                    <a:pt x="181" y="193"/>
                  </a:lnTo>
                  <a:lnTo>
                    <a:pt x="183" y="191"/>
                  </a:lnTo>
                  <a:lnTo>
                    <a:pt x="181" y="186"/>
                  </a:lnTo>
                  <a:lnTo>
                    <a:pt x="183" y="183"/>
                  </a:lnTo>
                  <a:lnTo>
                    <a:pt x="186" y="180"/>
                  </a:lnTo>
                  <a:lnTo>
                    <a:pt x="188" y="180"/>
                  </a:lnTo>
                  <a:lnTo>
                    <a:pt x="191" y="180"/>
                  </a:lnTo>
                  <a:lnTo>
                    <a:pt x="193" y="178"/>
                  </a:lnTo>
                  <a:lnTo>
                    <a:pt x="191" y="175"/>
                  </a:lnTo>
                  <a:lnTo>
                    <a:pt x="191" y="170"/>
                  </a:lnTo>
                  <a:lnTo>
                    <a:pt x="188" y="168"/>
                  </a:lnTo>
                  <a:lnTo>
                    <a:pt x="186" y="165"/>
                  </a:lnTo>
                  <a:lnTo>
                    <a:pt x="181" y="165"/>
                  </a:lnTo>
                  <a:lnTo>
                    <a:pt x="181" y="163"/>
                  </a:lnTo>
                  <a:lnTo>
                    <a:pt x="181" y="160"/>
                  </a:lnTo>
                  <a:lnTo>
                    <a:pt x="183" y="155"/>
                  </a:lnTo>
                  <a:lnTo>
                    <a:pt x="186" y="150"/>
                  </a:lnTo>
                  <a:lnTo>
                    <a:pt x="188" y="147"/>
                  </a:lnTo>
                  <a:lnTo>
                    <a:pt x="188" y="147"/>
                  </a:lnTo>
                  <a:lnTo>
                    <a:pt x="193" y="147"/>
                  </a:lnTo>
                  <a:lnTo>
                    <a:pt x="193" y="147"/>
                  </a:lnTo>
                  <a:lnTo>
                    <a:pt x="193" y="147"/>
                  </a:lnTo>
                  <a:lnTo>
                    <a:pt x="193" y="150"/>
                  </a:lnTo>
                  <a:lnTo>
                    <a:pt x="196" y="150"/>
                  </a:lnTo>
                  <a:lnTo>
                    <a:pt x="198" y="150"/>
                  </a:lnTo>
                  <a:lnTo>
                    <a:pt x="206" y="153"/>
                  </a:lnTo>
                  <a:lnTo>
                    <a:pt x="209" y="158"/>
                  </a:lnTo>
                  <a:lnTo>
                    <a:pt x="211" y="160"/>
                  </a:lnTo>
                  <a:lnTo>
                    <a:pt x="214" y="160"/>
                  </a:lnTo>
                  <a:lnTo>
                    <a:pt x="214" y="158"/>
                  </a:lnTo>
                  <a:lnTo>
                    <a:pt x="216" y="155"/>
                  </a:lnTo>
                  <a:lnTo>
                    <a:pt x="216" y="155"/>
                  </a:lnTo>
                  <a:lnTo>
                    <a:pt x="216" y="153"/>
                  </a:lnTo>
                  <a:close/>
                  <a:moveTo>
                    <a:pt x="104" y="71"/>
                  </a:moveTo>
                  <a:lnTo>
                    <a:pt x="104" y="71"/>
                  </a:lnTo>
                  <a:lnTo>
                    <a:pt x="104" y="71"/>
                  </a:lnTo>
                  <a:lnTo>
                    <a:pt x="104" y="69"/>
                  </a:lnTo>
                  <a:lnTo>
                    <a:pt x="104" y="69"/>
                  </a:lnTo>
                  <a:lnTo>
                    <a:pt x="104" y="71"/>
                  </a:lnTo>
                  <a:lnTo>
                    <a:pt x="104" y="71"/>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289" name="Freeform 1908">
              <a:extLst>
                <a:ext uri="{FF2B5EF4-FFF2-40B4-BE49-F238E27FC236}">
                  <a16:creationId xmlns:a16="http://schemas.microsoft.com/office/drawing/2014/main" id="{BB76D144-065C-2E42-B6C2-DD8A0E5D0591}"/>
                </a:ext>
              </a:extLst>
            </p:cNvPr>
            <p:cNvSpPr>
              <a:spLocks/>
            </p:cNvSpPr>
            <p:nvPr/>
          </p:nvSpPr>
          <p:spPr bwMode="auto">
            <a:xfrm>
              <a:off x="6701271" y="2561242"/>
              <a:ext cx="45801" cy="145581"/>
            </a:xfrm>
            <a:custGeom>
              <a:avLst/>
              <a:gdLst>
                <a:gd name="T0" fmla="*/ 28 w 28"/>
                <a:gd name="T1" fmla="*/ 7 h 89"/>
                <a:gd name="T2" fmla="*/ 28 w 28"/>
                <a:gd name="T3" fmla="*/ 5 h 89"/>
                <a:gd name="T4" fmla="*/ 28 w 28"/>
                <a:gd name="T5" fmla="*/ 2 h 89"/>
                <a:gd name="T6" fmla="*/ 28 w 28"/>
                <a:gd name="T7" fmla="*/ 2 h 89"/>
                <a:gd name="T8" fmla="*/ 28 w 28"/>
                <a:gd name="T9" fmla="*/ 0 h 89"/>
                <a:gd name="T10" fmla="*/ 25 w 28"/>
                <a:gd name="T11" fmla="*/ 0 h 89"/>
                <a:gd name="T12" fmla="*/ 23 w 28"/>
                <a:gd name="T13" fmla="*/ 2 h 89"/>
                <a:gd name="T14" fmla="*/ 23 w 28"/>
                <a:gd name="T15" fmla="*/ 2 h 89"/>
                <a:gd name="T16" fmla="*/ 20 w 28"/>
                <a:gd name="T17" fmla="*/ 5 h 89"/>
                <a:gd name="T18" fmla="*/ 17 w 28"/>
                <a:gd name="T19" fmla="*/ 7 h 89"/>
                <a:gd name="T20" fmla="*/ 12 w 28"/>
                <a:gd name="T21" fmla="*/ 7 h 89"/>
                <a:gd name="T22" fmla="*/ 12 w 28"/>
                <a:gd name="T23" fmla="*/ 12 h 89"/>
                <a:gd name="T24" fmla="*/ 10 w 28"/>
                <a:gd name="T25" fmla="*/ 28 h 89"/>
                <a:gd name="T26" fmla="*/ 5 w 28"/>
                <a:gd name="T27" fmla="*/ 40 h 89"/>
                <a:gd name="T28" fmla="*/ 5 w 28"/>
                <a:gd name="T29" fmla="*/ 40 h 89"/>
                <a:gd name="T30" fmla="*/ 2 w 28"/>
                <a:gd name="T31" fmla="*/ 46 h 89"/>
                <a:gd name="T32" fmla="*/ 0 w 28"/>
                <a:gd name="T33" fmla="*/ 48 h 89"/>
                <a:gd name="T34" fmla="*/ 2 w 28"/>
                <a:gd name="T35" fmla="*/ 58 h 89"/>
                <a:gd name="T36" fmla="*/ 7 w 28"/>
                <a:gd name="T37" fmla="*/ 66 h 89"/>
                <a:gd name="T38" fmla="*/ 10 w 28"/>
                <a:gd name="T39" fmla="*/ 71 h 89"/>
                <a:gd name="T40" fmla="*/ 12 w 28"/>
                <a:gd name="T41" fmla="*/ 81 h 89"/>
                <a:gd name="T42" fmla="*/ 15 w 28"/>
                <a:gd name="T43" fmla="*/ 89 h 89"/>
                <a:gd name="T44" fmla="*/ 17 w 28"/>
                <a:gd name="T45" fmla="*/ 81 h 89"/>
                <a:gd name="T46" fmla="*/ 17 w 28"/>
                <a:gd name="T47" fmla="*/ 76 h 89"/>
                <a:gd name="T48" fmla="*/ 17 w 28"/>
                <a:gd name="T49" fmla="*/ 71 h 89"/>
                <a:gd name="T50" fmla="*/ 17 w 28"/>
                <a:gd name="T51" fmla="*/ 66 h 89"/>
                <a:gd name="T52" fmla="*/ 20 w 28"/>
                <a:gd name="T53" fmla="*/ 61 h 89"/>
                <a:gd name="T54" fmla="*/ 20 w 28"/>
                <a:gd name="T55" fmla="*/ 58 h 89"/>
                <a:gd name="T56" fmla="*/ 23 w 28"/>
                <a:gd name="T57" fmla="*/ 51 h 89"/>
                <a:gd name="T58" fmla="*/ 23 w 28"/>
                <a:gd name="T59" fmla="*/ 48 h 89"/>
                <a:gd name="T60" fmla="*/ 23 w 28"/>
                <a:gd name="T61" fmla="*/ 46 h 89"/>
                <a:gd name="T62" fmla="*/ 23 w 28"/>
                <a:gd name="T63" fmla="*/ 43 h 89"/>
                <a:gd name="T64" fmla="*/ 15 w 28"/>
                <a:gd name="T65" fmla="*/ 46 h 89"/>
                <a:gd name="T66" fmla="*/ 12 w 28"/>
                <a:gd name="T67" fmla="*/ 46 h 89"/>
                <a:gd name="T68" fmla="*/ 12 w 28"/>
                <a:gd name="T69" fmla="*/ 43 h 89"/>
                <a:gd name="T70" fmla="*/ 15 w 28"/>
                <a:gd name="T71" fmla="*/ 38 h 89"/>
                <a:gd name="T72" fmla="*/ 17 w 28"/>
                <a:gd name="T73" fmla="*/ 38 h 89"/>
                <a:gd name="T74" fmla="*/ 15 w 28"/>
                <a:gd name="T75" fmla="*/ 35 h 89"/>
                <a:gd name="T76" fmla="*/ 12 w 28"/>
                <a:gd name="T77" fmla="*/ 35 h 89"/>
                <a:gd name="T78" fmla="*/ 12 w 28"/>
                <a:gd name="T79" fmla="*/ 35 h 89"/>
                <a:gd name="T80" fmla="*/ 12 w 28"/>
                <a:gd name="T81" fmla="*/ 33 h 89"/>
                <a:gd name="T82" fmla="*/ 12 w 28"/>
                <a:gd name="T83" fmla="*/ 30 h 89"/>
                <a:gd name="T84" fmla="*/ 12 w 28"/>
                <a:gd name="T85" fmla="*/ 25 h 89"/>
                <a:gd name="T86" fmla="*/ 12 w 28"/>
                <a:gd name="T87" fmla="*/ 20 h 89"/>
                <a:gd name="T88" fmla="*/ 17 w 28"/>
                <a:gd name="T89" fmla="*/ 20 h 89"/>
                <a:gd name="T90" fmla="*/ 20 w 28"/>
                <a:gd name="T91" fmla="*/ 20 h 89"/>
                <a:gd name="T92" fmla="*/ 23 w 28"/>
                <a:gd name="T93" fmla="*/ 23 h 89"/>
                <a:gd name="T94" fmla="*/ 23 w 28"/>
                <a:gd name="T95" fmla="*/ 18 h 89"/>
                <a:gd name="T96" fmla="*/ 23 w 28"/>
                <a:gd name="T97" fmla="*/ 15 h 89"/>
                <a:gd name="T98" fmla="*/ 25 w 28"/>
                <a:gd name="T99" fmla="*/ 15 h 89"/>
                <a:gd name="T100" fmla="*/ 28 w 28"/>
                <a:gd name="T101" fmla="*/ 12 h 89"/>
                <a:gd name="T102" fmla="*/ 28 w 28"/>
                <a:gd name="T103" fmla="*/ 1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8" h="89">
                  <a:moveTo>
                    <a:pt x="28" y="10"/>
                  </a:moveTo>
                  <a:lnTo>
                    <a:pt x="28" y="7"/>
                  </a:lnTo>
                  <a:lnTo>
                    <a:pt x="28" y="7"/>
                  </a:lnTo>
                  <a:lnTo>
                    <a:pt x="28" y="5"/>
                  </a:lnTo>
                  <a:lnTo>
                    <a:pt x="28" y="5"/>
                  </a:lnTo>
                  <a:lnTo>
                    <a:pt x="28" y="2"/>
                  </a:lnTo>
                  <a:lnTo>
                    <a:pt x="28" y="2"/>
                  </a:lnTo>
                  <a:lnTo>
                    <a:pt x="28" y="2"/>
                  </a:lnTo>
                  <a:lnTo>
                    <a:pt x="28" y="0"/>
                  </a:lnTo>
                  <a:lnTo>
                    <a:pt x="28" y="0"/>
                  </a:lnTo>
                  <a:lnTo>
                    <a:pt x="28" y="0"/>
                  </a:lnTo>
                  <a:lnTo>
                    <a:pt x="25" y="0"/>
                  </a:lnTo>
                  <a:lnTo>
                    <a:pt x="25" y="2"/>
                  </a:lnTo>
                  <a:lnTo>
                    <a:pt x="23" y="2"/>
                  </a:lnTo>
                  <a:lnTo>
                    <a:pt x="23" y="2"/>
                  </a:lnTo>
                  <a:lnTo>
                    <a:pt x="23" y="2"/>
                  </a:lnTo>
                  <a:lnTo>
                    <a:pt x="20" y="2"/>
                  </a:lnTo>
                  <a:lnTo>
                    <a:pt x="20" y="5"/>
                  </a:lnTo>
                  <a:lnTo>
                    <a:pt x="20" y="7"/>
                  </a:lnTo>
                  <a:lnTo>
                    <a:pt x="17" y="7"/>
                  </a:lnTo>
                  <a:lnTo>
                    <a:pt x="15" y="7"/>
                  </a:lnTo>
                  <a:lnTo>
                    <a:pt x="12" y="7"/>
                  </a:lnTo>
                  <a:lnTo>
                    <a:pt x="12" y="10"/>
                  </a:lnTo>
                  <a:lnTo>
                    <a:pt x="12" y="12"/>
                  </a:lnTo>
                  <a:lnTo>
                    <a:pt x="10" y="18"/>
                  </a:lnTo>
                  <a:lnTo>
                    <a:pt x="10" y="28"/>
                  </a:lnTo>
                  <a:lnTo>
                    <a:pt x="7" y="33"/>
                  </a:lnTo>
                  <a:lnTo>
                    <a:pt x="5" y="40"/>
                  </a:lnTo>
                  <a:lnTo>
                    <a:pt x="5" y="40"/>
                  </a:lnTo>
                  <a:lnTo>
                    <a:pt x="5" y="40"/>
                  </a:lnTo>
                  <a:lnTo>
                    <a:pt x="5" y="43"/>
                  </a:lnTo>
                  <a:lnTo>
                    <a:pt x="2" y="46"/>
                  </a:lnTo>
                  <a:lnTo>
                    <a:pt x="2" y="48"/>
                  </a:lnTo>
                  <a:lnTo>
                    <a:pt x="0" y="48"/>
                  </a:lnTo>
                  <a:lnTo>
                    <a:pt x="2" y="53"/>
                  </a:lnTo>
                  <a:lnTo>
                    <a:pt x="2" y="58"/>
                  </a:lnTo>
                  <a:lnTo>
                    <a:pt x="5" y="63"/>
                  </a:lnTo>
                  <a:lnTo>
                    <a:pt x="7" y="66"/>
                  </a:lnTo>
                  <a:lnTo>
                    <a:pt x="7" y="66"/>
                  </a:lnTo>
                  <a:lnTo>
                    <a:pt x="10" y="71"/>
                  </a:lnTo>
                  <a:lnTo>
                    <a:pt x="10" y="76"/>
                  </a:lnTo>
                  <a:lnTo>
                    <a:pt x="12" y="81"/>
                  </a:lnTo>
                  <a:lnTo>
                    <a:pt x="15" y="86"/>
                  </a:lnTo>
                  <a:lnTo>
                    <a:pt x="15" y="89"/>
                  </a:lnTo>
                  <a:lnTo>
                    <a:pt x="17" y="86"/>
                  </a:lnTo>
                  <a:lnTo>
                    <a:pt x="17" y="81"/>
                  </a:lnTo>
                  <a:lnTo>
                    <a:pt x="17" y="79"/>
                  </a:lnTo>
                  <a:lnTo>
                    <a:pt x="17" y="76"/>
                  </a:lnTo>
                  <a:lnTo>
                    <a:pt x="17" y="74"/>
                  </a:lnTo>
                  <a:lnTo>
                    <a:pt x="17" y="71"/>
                  </a:lnTo>
                  <a:lnTo>
                    <a:pt x="17" y="68"/>
                  </a:lnTo>
                  <a:lnTo>
                    <a:pt x="17" y="66"/>
                  </a:lnTo>
                  <a:lnTo>
                    <a:pt x="17" y="66"/>
                  </a:lnTo>
                  <a:lnTo>
                    <a:pt x="20" y="61"/>
                  </a:lnTo>
                  <a:lnTo>
                    <a:pt x="20" y="58"/>
                  </a:lnTo>
                  <a:lnTo>
                    <a:pt x="20" y="58"/>
                  </a:lnTo>
                  <a:lnTo>
                    <a:pt x="23" y="53"/>
                  </a:lnTo>
                  <a:lnTo>
                    <a:pt x="23" y="51"/>
                  </a:lnTo>
                  <a:lnTo>
                    <a:pt x="23" y="48"/>
                  </a:lnTo>
                  <a:lnTo>
                    <a:pt x="23" y="48"/>
                  </a:lnTo>
                  <a:lnTo>
                    <a:pt x="23" y="46"/>
                  </a:lnTo>
                  <a:lnTo>
                    <a:pt x="23" y="46"/>
                  </a:lnTo>
                  <a:lnTo>
                    <a:pt x="23" y="43"/>
                  </a:lnTo>
                  <a:lnTo>
                    <a:pt x="23" y="43"/>
                  </a:lnTo>
                  <a:lnTo>
                    <a:pt x="20" y="46"/>
                  </a:lnTo>
                  <a:lnTo>
                    <a:pt x="15" y="46"/>
                  </a:lnTo>
                  <a:lnTo>
                    <a:pt x="12" y="46"/>
                  </a:lnTo>
                  <a:lnTo>
                    <a:pt x="12" y="46"/>
                  </a:lnTo>
                  <a:lnTo>
                    <a:pt x="12" y="46"/>
                  </a:lnTo>
                  <a:lnTo>
                    <a:pt x="12" y="43"/>
                  </a:lnTo>
                  <a:lnTo>
                    <a:pt x="12" y="40"/>
                  </a:lnTo>
                  <a:lnTo>
                    <a:pt x="15" y="38"/>
                  </a:lnTo>
                  <a:lnTo>
                    <a:pt x="17" y="38"/>
                  </a:lnTo>
                  <a:lnTo>
                    <a:pt x="17" y="38"/>
                  </a:lnTo>
                  <a:lnTo>
                    <a:pt x="17" y="35"/>
                  </a:lnTo>
                  <a:lnTo>
                    <a:pt x="15" y="35"/>
                  </a:lnTo>
                  <a:lnTo>
                    <a:pt x="15" y="35"/>
                  </a:lnTo>
                  <a:lnTo>
                    <a:pt x="12" y="35"/>
                  </a:lnTo>
                  <a:lnTo>
                    <a:pt x="12" y="35"/>
                  </a:lnTo>
                  <a:lnTo>
                    <a:pt x="12" y="35"/>
                  </a:lnTo>
                  <a:lnTo>
                    <a:pt x="12" y="35"/>
                  </a:lnTo>
                  <a:lnTo>
                    <a:pt x="12" y="33"/>
                  </a:lnTo>
                  <a:lnTo>
                    <a:pt x="12" y="30"/>
                  </a:lnTo>
                  <a:lnTo>
                    <a:pt x="12" y="30"/>
                  </a:lnTo>
                  <a:lnTo>
                    <a:pt x="12" y="28"/>
                  </a:lnTo>
                  <a:lnTo>
                    <a:pt x="12" y="25"/>
                  </a:lnTo>
                  <a:lnTo>
                    <a:pt x="12" y="23"/>
                  </a:lnTo>
                  <a:lnTo>
                    <a:pt x="12" y="20"/>
                  </a:lnTo>
                  <a:lnTo>
                    <a:pt x="15" y="20"/>
                  </a:lnTo>
                  <a:lnTo>
                    <a:pt x="17" y="20"/>
                  </a:lnTo>
                  <a:lnTo>
                    <a:pt x="20" y="20"/>
                  </a:lnTo>
                  <a:lnTo>
                    <a:pt x="20" y="20"/>
                  </a:lnTo>
                  <a:lnTo>
                    <a:pt x="20" y="20"/>
                  </a:lnTo>
                  <a:lnTo>
                    <a:pt x="23" y="23"/>
                  </a:lnTo>
                  <a:lnTo>
                    <a:pt x="23" y="23"/>
                  </a:lnTo>
                  <a:lnTo>
                    <a:pt x="23" y="18"/>
                  </a:lnTo>
                  <a:lnTo>
                    <a:pt x="23" y="18"/>
                  </a:lnTo>
                  <a:lnTo>
                    <a:pt x="23" y="15"/>
                  </a:lnTo>
                  <a:lnTo>
                    <a:pt x="23" y="15"/>
                  </a:lnTo>
                  <a:lnTo>
                    <a:pt x="25" y="15"/>
                  </a:lnTo>
                  <a:lnTo>
                    <a:pt x="28" y="15"/>
                  </a:lnTo>
                  <a:lnTo>
                    <a:pt x="28" y="12"/>
                  </a:lnTo>
                  <a:lnTo>
                    <a:pt x="28" y="12"/>
                  </a:lnTo>
                  <a:lnTo>
                    <a:pt x="28" y="10"/>
                  </a:lnTo>
                  <a:lnTo>
                    <a:pt x="28" y="1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290" name="Freeform 1909">
              <a:extLst>
                <a:ext uri="{FF2B5EF4-FFF2-40B4-BE49-F238E27FC236}">
                  <a16:creationId xmlns:a16="http://schemas.microsoft.com/office/drawing/2014/main" id="{78B7997C-F357-A544-AC6A-D14E9542DB3F}"/>
                </a:ext>
              </a:extLst>
            </p:cNvPr>
            <p:cNvSpPr>
              <a:spLocks/>
            </p:cNvSpPr>
            <p:nvPr/>
          </p:nvSpPr>
          <p:spPr bwMode="auto">
            <a:xfrm>
              <a:off x="5533355" y="1795717"/>
              <a:ext cx="13086" cy="11451"/>
            </a:xfrm>
            <a:custGeom>
              <a:avLst/>
              <a:gdLst>
                <a:gd name="T0" fmla="*/ 8 w 8"/>
                <a:gd name="T1" fmla="*/ 0 h 7"/>
                <a:gd name="T2" fmla="*/ 8 w 8"/>
                <a:gd name="T3" fmla="*/ 0 h 7"/>
                <a:gd name="T4" fmla="*/ 8 w 8"/>
                <a:gd name="T5" fmla="*/ 0 h 7"/>
                <a:gd name="T6" fmla="*/ 5 w 8"/>
                <a:gd name="T7" fmla="*/ 0 h 7"/>
                <a:gd name="T8" fmla="*/ 3 w 8"/>
                <a:gd name="T9" fmla="*/ 2 h 7"/>
                <a:gd name="T10" fmla="*/ 3 w 8"/>
                <a:gd name="T11" fmla="*/ 2 h 7"/>
                <a:gd name="T12" fmla="*/ 0 w 8"/>
                <a:gd name="T13" fmla="*/ 5 h 7"/>
                <a:gd name="T14" fmla="*/ 0 w 8"/>
                <a:gd name="T15" fmla="*/ 5 h 7"/>
                <a:gd name="T16" fmla="*/ 0 w 8"/>
                <a:gd name="T17" fmla="*/ 7 h 7"/>
                <a:gd name="T18" fmla="*/ 3 w 8"/>
                <a:gd name="T19" fmla="*/ 5 h 7"/>
                <a:gd name="T20" fmla="*/ 3 w 8"/>
                <a:gd name="T21" fmla="*/ 7 h 7"/>
                <a:gd name="T22" fmla="*/ 8 w 8"/>
                <a:gd name="T23" fmla="*/ 5 h 7"/>
                <a:gd name="T24" fmla="*/ 8 w 8"/>
                <a:gd name="T25" fmla="*/ 2 h 7"/>
                <a:gd name="T26" fmla="*/ 8 w 8"/>
                <a:gd name="T27" fmla="*/ 2 h 7"/>
                <a:gd name="T28" fmla="*/ 8 w 8"/>
                <a:gd name="T2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 h="7">
                  <a:moveTo>
                    <a:pt x="8" y="0"/>
                  </a:moveTo>
                  <a:lnTo>
                    <a:pt x="8" y="0"/>
                  </a:lnTo>
                  <a:lnTo>
                    <a:pt x="8" y="0"/>
                  </a:lnTo>
                  <a:lnTo>
                    <a:pt x="5" y="0"/>
                  </a:lnTo>
                  <a:lnTo>
                    <a:pt x="3" y="2"/>
                  </a:lnTo>
                  <a:lnTo>
                    <a:pt x="3" y="2"/>
                  </a:lnTo>
                  <a:lnTo>
                    <a:pt x="0" y="5"/>
                  </a:lnTo>
                  <a:lnTo>
                    <a:pt x="0" y="5"/>
                  </a:lnTo>
                  <a:lnTo>
                    <a:pt x="0" y="7"/>
                  </a:lnTo>
                  <a:lnTo>
                    <a:pt x="3" y="5"/>
                  </a:lnTo>
                  <a:lnTo>
                    <a:pt x="3" y="7"/>
                  </a:lnTo>
                  <a:lnTo>
                    <a:pt x="8" y="5"/>
                  </a:lnTo>
                  <a:lnTo>
                    <a:pt x="8" y="2"/>
                  </a:lnTo>
                  <a:lnTo>
                    <a:pt x="8" y="2"/>
                  </a:lnTo>
                  <a:lnTo>
                    <a:pt x="8"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291" name="Freeform 1910">
              <a:extLst>
                <a:ext uri="{FF2B5EF4-FFF2-40B4-BE49-F238E27FC236}">
                  <a16:creationId xmlns:a16="http://schemas.microsoft.com/office/drawing/2014/main" id="{8091B228-2978-B042-83CB-D528D3BA5017}"/>
                </a:ext>
              </a:extLst>
            </p:cNvPr>
            <p:cNvSpPr>
              <a:spLocks noEditPoints="1"/>
            </p:cNvSpPr>
            <p:nvPr/>
          </p:nvSpPr>
          <p:spPr bwMode="auto">
            <a:xfrm>
              <a:off x="5366510" y="1761366"/>
              <a:ext cx="129224" cy="137402"/>
            </a:xfrm>
            <a:custGeom>
              <a:avLst/>
              <a:gdLst>
                <a:gd name="T0" fmla="*/ 13 w 79"/>
                <a:gd name="T1" fmla="*/ 28 h 84"/>
                <a:gd name="T2" fmla="*/ 13 w 79"/>
                <a:gd name="T3" fmla="*/ 31 h 84"/>
                <a:gd name="T4" fmla="*/ 77 w 79"/>
                <a:gd name="T5" fmla="*/ 38 h 84"/>
                <a:gd name="T6" fmla="*/ 77 w 79"/>
                <a:gd name="T7" fmla="*/ 31 h 84"/>
                <a:gd name="T8" fmla="*/ 79 w 79"/>
                <a:gd name="T9" fmla="*/ 28 h 84"/>
                <a:gd name="T10" fmla="*/ 74 w 79"/>
                <a:gd name="T11" fmla="*/ 28 h 84"/>
                <a:gd name="T12" fmla="*/ 71 w 79"/>
                <a:gd name="T13" fmla="*/ 26 h 84"/>
                <a:gd name="T14" fmla="*/ 66 w 79"/>
                <a:gd name="T15" fmla="*/ 23 h 84"/>
                <a:gd name="T16" fmla="*/ 64 w 79"/>
                <a:gd name="T17" fmla="*/ 21 h 84"/>
                <a:gd name="T18" fmla="*/ 59 w 79"/>
                <a:gd name="T19" fmla="*/ 26 h 84"/>
                <a:gd name="T20" fmla="*/ 54 w 79"/>
                <a:gd name="T21" fmla="*/ 26 h 84"/>
                <a:gd name="T22" fmla="*/ 46 w 79"/>
                <a:gd name="T23" fmla="*/ 21 h 84"/>
                <a:gd name="T24" fmla="*/ 54 w 79"/>
                <a:gd name="T25" fmla="*/ 15 h 84"/>
                <a:gd name="T26" fmla="*/ 51 w 79"/>
                <a:gd name="T27" fmla="*/ 13 h 84"/>
                <a:gd name="T28" fmla="*/ 56 w 79"/>
                <a:gd name="T29" fmla="*/ 13 h 84"/>
                <a:gd name="T30" fmla="*/ 61 w 79"/>
                <a:gd name="T31" fmla="*/ 8 h 84"/>
                <a:gd name="T32" fmla="*/ 69 w 79"/>
                <a:gd name="T33" fmla="*/ 3 h 84"/>
                <a:gd name="T34" fmla="*/ 61 w 79"/>
                <a:gd name="T35" fmla="*/ 0 h 84"/>
                <a:gd name="T36" fmla="*/ 59 w 79"/>
                <a:gd name="T37" fmla="*/ 3 h 84"/>
                <a:gd name="T38" fmla="*/ 56 w 79"/>
                <a:gd name="T39" fmla="*/ 5 h 84"/>
                <a:gd name="T40" fmla="*/ 56 w 79"/>
                <a:gd name="T41" fmla="*/ 3 h 84"/>
                <a:gd name="T42" fmla="*/ 54 w 79"/>
                <a:gd name="T43" fmla="*/ 3 h 84"/>
                <a:gd name="T44" fmla="*/ 46 w 79"/>
                <a:gd name="T45" fmla="*/ 5 h 84"/>
                <a:gd name="T46" fmla="*/ 41 w 79"/>
                <a:gd name="T47" fmla="*/ 10 h 84"/>
                <a:gd name="T48" fmla="*/ 36 w 79"/>
                <a:gd name="T49" fmla="*/ 13 h 84"/>
                <a:gd name="T50" fmla="*/ 43 w 79"/>
                <a:gd name="T51" fmla="*/ 18 h 84"/>
                <a:gd name="T52" fmla="*/ 38 w 79"/>
                <a:gd name="T53" fmla="*/ 23 h 84"/>
                <a:gd name="T54" fmla="*/ 31 w 79"/>
                <a:gd name="T55" fmla="*/ 23 h 84"/>
                <a:gd name="T56" fmla="*/ 18 w 79"/>
                <a:gd name="T57" fmla="*/ 23 h 84"/>
                <a:gd name="T58" fmla="*/ 13 w 79"/>
                <a:gd name="T59" fmla="*/ 23 h 84"/>
                <a:gd name="T60" fmla="*/ 15 w 79"/>
                <a:gd name="T61" fmla="*/ 26 h 84"/>
                <a:gd name="T62" fmla="*/ 18 w 79"/>
                <a:gd name="T63" fmla="*/ 31 h 84"/>
                <a:gd name="T64" fmla="*/ 15 w 79"/>
                <a:gd name="T65" fmla="*/ 33 h 84"/>
                <a:gd name="T66" fmla="*/ 15 w 79"/>
                <a:gd name="T67" fmla="*/ 38 h 84"/>
                <a:gd name="T68" fmla="*/ 10 w 79"/>
                <a:gd name="T69" fmla="*/ 41 h 84"/>
                <a:gd name="T70" fmla="*/ 15 w 79"/>
                <a:gd name="T71" fmla="*/ 41 h 84"/>
                <a:gd name="T72" fmla="*/ 18 w 79"/>
                <a:gd name="T73" fmla="*/ 43 h 84"/>
                <a:gd name="T74" fmla="*/ 21 w 79"/>
                <a:gd name="T75" fmla="*/ 46 h 84"/>
                <a:gd name="T76" fmla="*/ 28 w 79"/>
                <a:gd name="T77" fmla="*/ 46 h 84"/>
                <a:gd name="T78" fmla="*/ 21 w 79"/>
                <a:gd name="T79" fmla="*/ 51 h 84"/>
                <a:gd name="T80" fmla="*/ 13 w 79"/>
                <a:gd name="T81" fmla="*/ 59 h 84"/>
                <a:gd name="T82" fmla="*/ 18 w 79"/>
                <a:gd name="T83" fmla="*/ 59 h 84"/>
                <a:gd name="T84" fmla="*/ 28 w 79"/>
                <a:gd name="T85" fmla="*/ 56 h 84"/>
                <a:gd name="T86" fmla="*/ 15 w 79"/>
                <a:gd name="T87" fmla="*/ 59 h 84"/>
                <a:gd name="T88" fmla="*/ 10 w 79"/>
                <a:gd name="T89" fmla="*/ 64 h 84"/>
                <a:gd name="T90" fmla="*/ 8 w 79"/>
                <a:gd name="T91" fmla="*/ 66 h 84"/>
                <a:gd name="T92" fmla="*/ 3 w 79"/>
                <a:gd name="T93" fmla="*/ 69 h 84"/>
                <a:gd name="T94" fmla="*/ 8 w 79"/>
                <a:gd name="T95" fmla="*/ 71 h 84"/>
                <a:gd name="T96" fmla="*/ 3 w 79"/>
                <a:gd name="T97" fmla="*/ 77 h 84"/>
                <a:gd name="T98" fmla="*/ 10 w 79"/>
                <a:gd name="T99" fmla="*/ 77 h 84"/>
                <a:gd name="T100" fmla="*/ 8 w 79"/>
                <a:gd name="T101" fmla="*/ 79 h 84"/>
                <a:gd name="T102" fmla="*/ 13 w 79"/>
                <a:gd name="T103" fmla="*/ 82 h 84"/>
                <a:gd name="T104" fmla="*/ 18 w 79"/>
                <a:gd name="T105" fmla="*/ 82 h 84"/>
                <a:gd name="T106" fmla="*/ 31 w 79"/>
                <a:gd name="T107" fmla="*/ 79 h 84"/>
                <a:gd name="T108" fmla="*/ 36 w 79"/>
                <a:gd name="T109" fmla="*/ 74 h 84"/>
                <a:gd name="T110" fmla="*/ 38 w 79"/>
                <a:gd name="T111" fmla="*/ 74 h 84"/>
                <a:gd name="T112" fmla="*/ 46 w 79"/>
                <a:gd name="T113" fmla="*/ 74 h 84"/>
                <a:gd name="T114" fmla="*/ 51 w 79"/>
                <a:gd name="T115" fmla="*/ 69 h 84"/>
                <a:gd name="T116" fmla="*/ 61 w 79"/>
                <a:gd name="T117" fmla="*/ 66 h 84"/>
                <a:gd name="T118" fmla="*/ 66 w 79"/>
                <a:gd name="T119" fmla="*/ 66 h 84"/>
                <a:gd name="T120" fmla="*/ 71 w 79"/>
                <a:gd name="T121" fmla="*/ 64 h 84"/>
                <a:gd name="T122" fmla="*/ 77 w 79"/>
                <a:gd name="T123" fmla="*/ 54 h 84"/>
                <a:gd name="T124" fmla="*/ 77 w 79"/>
                <a:gd name="T125" fmla="*/ 43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9" h="84">
                  <a:moveTo>
                    <a:pt x="13" y="31"/>
                  </a:moveTo>
                  <a:lnTo>
                    <a:pt x="13" y="31"/>
                  </a:lnTo>
                  <a:lnTo>
                    <a:pt x="13" y="31"/>
                  </a:lnTo>
                  <a:lnTo>
                    <a:pt x="15" y="28"/>
                  </a:lnTo>
                  <a:lnTo>
                    <a:pt x="13" y="28"/>
                  </a:lnTo>
                  <a:lnTo>
                    <a:pt x="10" y="28"/>
                  </a:lnTo>
                  <a:lnTo>
                    <a:pt x="10" y="28"/>
                  </a:lnTo>
                  <a:lnTo>
                    <a:pt x="8" y="28"/>
                  </a:lnTo>
                  <a:lnTo>
                    <a:pt x="13" y="28"/>
                  </a:lnTo>
                  <a:lnTo>
                    <a:pt x="13" y="31"/>
                  </a:lnTo>
                  <a:close/>
                  <a:moveTo>
                    <a:pt x="77" y="43"/>
                  </a:moveTo>
                  <a:lnTo>
                    <a:pt x="77" y="41"/>
                  </a:lnTo>
                  <a:lnTo>
                    <a:pt x="77" y="41"/>
                  </a:lnTo>
                  <a:lnTo>
                    <a:pt x="77" y="41"/>
                  </a:lnTo>
                  <a:lnTo>
                    <a:pt x="77" y="38"/>
                  </a:lnTo>
                  <a:lnTo>
                    <a:pt x="77" y="38"/>
                  </a:lnTo>
                  <a:lnTo>
                    <a:pt x="77" y="36"/>
                  </a:lnTo>
                  <a:lnTo>
                    <a:pt x="77" y="33"/>
                  </a:lnTo>
                  <a:lnTo>
                    <a:pt x="77" y="31"/>
                  </a:lnTo>
                  <a:lnTo>
                    <a:pt x="77" y="31"/>
                  </a:lnTo>
                  <a:lnTo>
                    <a:pt x="74" y="31"/>
                  </a:lnTo>
                  <a:lnTo>
                    <a:pt x="77" y="28"/>
                  </a:lnTo>
                  <a:lnTo>
                    <a:pt x="77" y="28"/>
                  </a:lnTo>
                  <a:lnTo>
                    <a:pt x="77" y="28"/>
                  </a:lnTo>
                  <a:lnTo>
                    <a:pt x="79" y="28"/>
                  </a:lnTo>
                  <a:lnTo>
                    <a:pt x="79" y="28"/>
                  </a:lnTo>
                  <a:lnTo>
                    <a:pt x="77" y="26"/>
                  </a:lnTo>
                  <a:lnTo>
                    <a:pt x="77" y="26"/>
                  </a:lnTo>
                  <a:lnTo>
                    <a:pt x="74" y="26"/>
                  </a:lnTo>
                  <a:lnTo>
                    <a:pt x="74" y="28"/>
                  </a:lnTo>
                  <a:lnTo>
                    <a:pt x="74" y="28"/>
                  </a:lnTo>
                  <a:lnTo>
                    <a:pt x="71" y="28"/>
                  </a:lnTo>
                  <a:lnTo>
                    <a:pt x="71" y="28"/>
                  </a:lnTo>
                  <a:lnTo>
                    <a:pt x="69" y="26"/>
                  </a:lnTo>
                  <a:lnTo>
                    <a:pt x="71" y="26"/>
                  </a:lnTo>
                  <a:lnTo>
                    <a:pt x="71" y="26"/>
                  </a:lnTo>
                  <a:lnTo>
                    <a:pt x="69" y="23"/>
                  </a:lnTo>
                  <a:lnTo>
                    <a:pt x="69" y="23"/>
                  </a:lnTo>
                  <a:lnTo>
                    <a:pt x="66" y="23"/>
                  </a:lnTo>
                  <a:lnTo>
                    <a:pt x="66" y="23"/>
                  </a:lnTo>
                  <a:lnTo>
                    <a:pt x="66" y="21"/>
                  </a:lnTo>
                  <a:lnTo>
                    <a:pt x="66" y="21"/>
                  </a:lnTo>
                  <a:lnTo>
                    <a:pt x="66" y="21"/>
                  </a:lnTo>
                  <a:lnTo>
                    <a:pt x="64" y="21"/>
                  </a:lnTo>
                  <a:lnTo>
                    <a:pt x="64" y="21"/>
                  </a:lnTo>
                  <a:lnTo>
                    <a:pt x="61" y="23"/>
                  </a:lnTo>
                  <a:lnTo>
                    <a:pt x="61" y="23"/>
                  </a:lnTo>
                  <a:lnTo>
                    <a:pt x="61" y="23"/>
                  </a:lnTo>
                  <a:lnTo>
                    <a:pt x="61" y="23"/>
                  </a:lnTo>
                  <a:lnTo>
                    <a:pt x="59" y="26"/>
                  </a:lnTo>
                  <a:lnTo>
                    <a:pt x="59" y="26"/>
                  </a:lnTo>
                  <a:lnTo>
                    <a:pt x="59" y="26"/>
                  </a:lnTo>
                  <a:lnTo>
                    <a:pt x="59" y="26"/>
                  </a:lnTo>
                  <a:lnTo>
                    <a:pt x="56" y="26"/>
                  </a:lnTo>
                  <a:lnTo>
                    <a:pt x="54" y="26"/>
                  </a:lnTo>
                  <a:lnTo>
                    <a:pt x="54" y="26"/>
                  </a:lnTo>
                  <a:lnTo>
                    <a:pt x="51" y="23"/>
                  </a:lnTo>
                  <a:lnTo>
                    <a:pt x="51" y="23"/>
                  </a:lnTo>
                  <a:lnTo>
                    <a:pt x="49" y="23"/>
                  </a:lnTo>
                  <a:lnTo>
                    <a:pt x="46" y="21"/>
                  </a:lnTo>
                  <a:lnTo>
                    <a:pt x="46" y="18"/>
                  </a:lnTo>
                  <a:lnTo>
                    <a:pt x="46" y="18"/>
                  </a:lnTo>
                  <a:lnTo>
                    <a:pt x="49" y="18"/>
                  </a:lnTo>
                  <a:lnTo>
                    <a:pt x="51" y="15"/>
                  </a:lnTo>
                  <a:lnTo>
                    <a:pt x="54" y="15"/>
                  </a:lnTo>
                  <a:lnTo>
                    <a:pt x="54" y="15"/>
                  </a:lnTo>
                  <a:lnTo>
                    <a:pt x="51" y="15"/>
                  </a:lnTo>
                  <a:lnTo>
                    <a:pt x="51" y="13"/>
                  </a:lnTo>
                  <a:lnTo>
                    <a:pt x="51" y="13"/>
                  </a:lnTo>
                  <a:lnTo>
                    <a:pt x="51" y="13"/>
                  </a:lnTo>
                  <a:lnTo>
                    <a:pt x="51" y="13"/>
                  </a:lnTo>
                  <a:lnTo>
                    <a:pt x="54" y="13"/>
                  </a:lnTo>
                  <a:lnTo>
                    <a:pt x="54" y="13"/>
                  </a:lnTo>
                  <a:lnTo>
                    <a:pt x="54" y="13"/>
                  </a:lnTo>
                  <a:lnTo>
                    <a:pt x="56" y="13"/>
                  </a:lnTo>
                  <a:lnTo>
                    <a:pt x="56" y="13"/>
                  </a:lnTo>
                  <a:lnTo>
                    <a:pt x="59" y="10"/>
                  </a:lnTo>
                  <a:lnTo>
                    <a:pt x="59" y="10"/>
                  </a:lnTo>
                  <a:lnTo>
                    <a:pt x="59" y="8"/>
                  </a:lnTo>
                  <a:lnTo>
                    <a:pt x="61" y="8"/>
                  </a:lnTo>
                  <a:lnTo>
                    <a:pt x="61" y="5"/>
                  </a:lnTo>
                  <a:lnTo>
                    <a:pt x="64" y="5"/>
                  </a:lnTo>
                  <a:lnTo>
                    <a:pt x="64" y="3"/>
                  </a:lnTo>
                  <a:lnTo>
                    <a:pt x="66" y="3"/>
                  </a:lnTo>
                  <a:lnTo>
                    <a:pt x="69" y="3"/>
                  </a:lnTo>
                  <a:lnTo>
                    <a:pt x="66" y="0"/>
                  </a:lnTo>
                  <a:lnTo>
                    <a:pt x="64" y="0"/>
                  </a:lnTo>
                  <a:lnTo>
                    <a:pt x="64" y="0"/>
                  </a:lnTo>
                  <a:lnTo>
                    <a:pt x="61" y="0"/>
                  </a:lnTo>
                  <a:lnTo>
                    <a:pt x="61" y="0"/>
                  </a:lnTo>
                  <a:lnTo>
                    <a:pt x="61" y="0"/>
                  </a:lnTo>
                  <a:lnTo>
                    <a:pt x="59" y="0"/>
                  </a:lnTo>
                  <a:lnTo>
                    <a:pt x="59" y="3"/>
                  </a:lnTo>
                  <a:lnTo>
                    <a:pt x="59" y="3"/>
                  </a:lnTo>
                  <a:lnTo>
                    <a:pt x="59" y="3"/>
                  </a:lnTo>
                  <a:lnTo>
                    <a:pt x="59" y="5"/>
                  </a:lnTo>
                  <a:lnTo>
                    <a:pt x="59" y="5"/>
                  </a:lnTo>
                  <a:lnTo>
                    <a:pt x="56" y="8"/>
                  </a:lnTo>
                  <a:lnTo>
                    <a:pt x="56" y="8"/>
                  </a:lnTo>
                  <a:lnTo>
                    <a:pt x="56" y="5"/>
                  </a:lnTo>
                  <a:lnTo>
                    <a:pt x="56" y="5"/>
                  </a:lnTo>
                  <a:lnTo>
                    <a:pt x="56" y="5"/>
                  </a:lnTo>
                  <a:lnTo>
                    <a:pt x="59" y="5"/>
                  </a:lnTo>
                  <a:lnTo>
                    <a:pt x="59" y="3"/>
                  </a:lnTo>
                  <a:lnTo>
                    <a:pt x="56" y="3"/>
                  </a:lnTo>
                  <a:lnTo>
                    <a:pt x="56" y="3"/>
                  </a:lnTo>
                  <a:lnTo>
                    <a:pt x="56" y="0"/>
                  </a:lnTo>
                  <a:lnTo>
                    <a:pt x="54" y="3"/>
                  </a:lnTo>
                  <a:lnTo>
                    <a:pt x="54" y="3"/>
                  </a:lnTo>
                  <a:lnTo>
                    <a:pt x="54" y="3"/>
                  </a:lnTo>
                  <a:lnTo>
                    <a:pt x="51" y="3"/>
                  </a:lnTo>
                  <a:lnTo>
                    <a:pt x="51" y="3"/>
                  </a:lnTo>
                  <a:lnTo>
                    <a:pt x="49" y="3"/>
                  </a:lnTo>
                  <a:lnTo>
                    <a:pt x="46" y="3"/>
                  </a:lnTo>
                  <a:lnTo>
                    <a:pt x="46" y="5"/>
                  </a:lnTo>
                  <a:lnTo>
                    <a:pt x="43" y="5"/>
                  </a:lnTo>
                  <a:lnTo>
                    <a:pt x="43" y="5"/>
                  </a:lnTo>
                  <a:lnTo>
                    <a:pt x="43" y="8"/>
                  </a:lnTo>
                  <a:lnTo>
                    <a:pt x="43" y="10"/>
                  </a:lnTo>
                  <a:lnTo>
                    <a:pt x="41" y="10"/>
                  </a:lnTo>
                  <a:lnTo>
                    <a:pt x="41" y="10"/>
                  </a:lnTo>
                  <a:lnTo>
                    <a:pt x="41" y="10"/>
                  </a:lnTo>
                  <a:lnTo>
                    <a:pt x="38" y="13"/>
                  </a:lnTo>
                  <a:lnTo>
                    <a:pt x="38" y="13"/>
                  </a:lnTo>
                  <a:lnTo>
                    <a:pt x="36" y="13"/>
                  </a:lnTo>
                  <a:lnTo>
                    <a:pt x="41" y="15"/>
                  </a:lnTo>
                  <a:lnTo>
                    <a:pt x="46" y="15"/>
                  </a:lnTo>
                  <a:lnTo>
                    <a:pt x="46" y="15"/>
                  </a:lnTo>
                  <a:lnTo>
                    <a:pt x="46" y="18"/>
                  </a:lnTo>
                  <a:lnTo>
                    <a:pt x="43" y="18"/>
                  </a:lnTo>
                  <a:lnTo>
                    <a:pt x="41" y="18"/>
                  </a:lnTo>
                  <a:lnTo>
                    <a:pt x="41" y="18"/>
                  </a:lnTo>
                  <a:lnTo>
                    <a:pt x="38" y="21"/>
                  </a:lnTo>
                  <a:lnTo>
                    <a:pt x="38" y="21"/>
                  </a:lnTo>
                  <a:lnTo>
                    <a:pt x="38" y="23"/>
                  </a:lnTo>
                  <a:lnTo>
                    <a:pt x="38" y="23"/>
                  </a:lnTo>
                  <a:lnTo>
                    <a:pt x="38" y="23"/>
                  </a:lnTo>
                  <a:lnTo>
                    <a:pt x="36" y="23"/>
                  </a:lnTo>
                  <a:lnTo>
                    <a:pt x="31" y="23"/>
                  </a:lnTo>
                  <a:lnTo>
                    <a:pt x="31" y="23"/>
                  </a:lnTo>
                  <a:lnTo>
                    <a:pt x="28" y="23"/>
                  </a:lnTo>
                  <a:lnTo>
                    <a:pt x="28" y="23"/>
                  </a:lnTo>
                  <a:lnTo>
                    <a:pt x="26" y="23"/>
                  </a:lnTo>
                  <a:lnTo>
                    <a:pt x="21" y="21"/>
                  </a:lnTo>
                  <a:lnTo>
                    <a:pt x="18" y="23"/>
                  </a:lnTo>
                  <a:lnTo>
                    <a:pt x="18" y="23"/>
                  </a:lnTo>
                  <a:lnTo>
                    <a:pt x="15" y="23"/>
                  </a:lnTo>
                  <a:lnTo>
                    <a:pt x="15" y="23"/>
                  </a:lnTo>
                  <a:lnTo>
                    <a:pt x="13" y="23"/>
                  </a:lnTo>
                  <a:lnTo>
                    <a:pt x="13" y="23"/>
                  </a:lnTo>
                  <a:lnTo>
                    <a:pt x="13" y="26"/>
                  </a:lnTo>
                  <a:lnTo>
                    <a:pt x="15" y="26"/>
                  </a:lnTo>
                  <a:lnTo>
                    <a:pt x="15" y="26"/>
                  </a:lnTo>
                  <a:lnTo>
                    <a:pt x="15" y="26"/>
                  </a:lnTo>
                  <a:lnTo>
                    <a:pt x="15" y="26"/>
                  </a:lnTo>
                  <a:lnTo>
                    <a:pt x="15" y="28"/>
                  </a:lnTo>
                  <a:lnTo>
                    <a:pt x="15" y="28"/>
                  </a:lnTo>
                  <a:lnTo>
                    <a:pt x="15" y="31"/>
                  </a:lnTo>
                  <a:lnTo>
                    <a:pt x="15" y="31"/>
                  </a:lnTo>
                  <a:lnTo>
                    <a:pt x="18" y="31"/>
                  </a:lnTo>
                  <a:lnTo>
                    <a:pt x="21" y="31"/>
                  </a:lnTo>
                  <a:lnTo>
                    <a:pt x="21" y="31"/>
                  </a:lnTo>
                  <a:lnTo>
                    <a:pt x="21" y="33"/>
                  </a:lnTo>
                  <a:lnTo>
                    <a:pt x="18" y="33"/>
                  </a:lnTo>
                  <a:lnTo>
                    <a:pt x="15" y="33"/>
                  </a:lnTo>
                  <a:lnTo>
                    <a:pt x="13" y="36"/>
                  </a:lnTo>
                  <a:lnTo>
                    <a:pt x="13" y="36"/>
                  </a:lnTo>
                  <a:lnTo>
                    <a:pt x="15" y="36"/>
                  </a:lnTo>
                  <a:lnTo>
                    <a:pt x="18" y="36"/>
                  </a:lnTo>
                  <a:lnTo>
                    <a:pt x="15" y="38"/>
                  </a:lnTo>
                  <a:lnTo>
                    <a:pt x="13" y="38"/>
                  </a:lnTo>
                  <a:lnTo>
                    <a:pt x="10" y="38"/>
                  </a:lnTo>
                  <a:lnTo>
                    <a:pt x="10" y="38"/>
                  </a:lnTo>
                  <a:lnTo>
                    <a:pt x="10" y="38"/>
                  </a:lnTo>
                  <a:lnTo>
                    <a:pt x="10" y="41"/>
                  </a:lnTo>
                  <a:lnTo>
                    <a:pt x="10" y="41"/>
                  </a:lnTo>
                  <a:lnTo>
                    <a:pt x="10" y="41"/>
                  </a:lnTo>
                  <a:lnTo>
                    <a:pt x="13" y="41"/>
                  </a:lnTo>
                  <a:lnTo>
                    <a:pt x="13" y="41"/>
                  </a:lnTo>
                  <a:lnTo>
                    <a:pt x="15" y="41"/>
                  </a:lnTo>
                  <a:lnTo>
                    <a:pt x="13" y="43"/>
                  </a:lnTo>
                  <a:lnTo>
                    <a:pt x="15" y="43"/>
                  </a:lnTo>
                  <a:lnTo>
                    <a:pt x="15" y="43"/>
                  </a:lnTo>
                  <a:lnTo>
                    <a:pt x="15" y="43"/>
                  </a:lnTo>
                  <a:lnTo>
                    <a:pt x="18" y="43"/>
                  </a:lnTo>
                  <a:lnTo>
                    <a:pt x="18" y="43"/>
                  </a:lnTo>
                  <a:lnTo>
                    <a:pt x="18" y="43"/>
                  </a:lnTo>
                  <a:lnTo>
                    <a:pt x="18" y="43"/>
                  </a:lnTo>
                  <a:lnTo>
                    <a:pt x="21" y="46"/>
                  </a:lnTo>
                  <a:lnTo>
                    <a:pt x="21" y="46"/>
                  </a:lnTo>
                  <a:lnTo>
                    <a:pt x="26" y="43"/>
                  </a:lnTo>
                  <a:lnTo>
                    <a:pt x="28" y="46"/>
                  </a:lnTo>
                  <a:lnTo>
                    <a:pt x="31" y="46"/>
                  </a:lnTo>
                  <a:lnTo>
                    <a:pt x="28" y="46"/>
                  </a:lnTo>
                  <a:lnTo>
                    <a:pt x="28" y="46"/>
                  </a:lnTo>
                  <a:lnTo>
                    <a:pt x="28" y="46"/>
                  </a:lnTo>
                  <a:lnTo>
                    <a:pt x="26" y="46"/>
                  </a:lnTo>
                  <a:lnTo>
                    <a:pt x="23" y="49"/>
                  </a:lnTo>
                  <a:lnTo>
                    <a:pt x="23" y="49"/>
                  </a:lnTo>
                  <a:lnTo>
                    <a:pt x="21" y="51"/>
                  </a:lnTo>
                  <a:lnTo>
                    <a:pt x="21" y="51"/>
                  </a:lnTo>
                  <a:lnTo>
                    <a:pt x="21" y="51"/>
                  </a:lnTo>
                  <a:lnTo>
                    <a:pt x="21" y="54"/>
                  </a:lnTo>
                  <a:lnTo>
                    <a:pt x="18" y="54"/>
                  </a:lnTo>
                  <a:lnTo>
                    <a:pt x="13" y="59"/>
                  </a:lnTo>
                  <a:lnTo>
                    <a:pt x="10" y="59"/>
                  </a:lnTo>
                  <a:lnTo>
                    <a:pt x="13" y="59"/>
                  </a:lnTo>
                  <a:lnTo>
                    <a:pt x="15" y="59"/>
                  </a:lnTo>
                  <a:lnTo>
                    <a:pt x="15" y="59"/>
                  </a:lnTo>
                  <a:lnTo>
                    <a:pt x="18" y="59"/>
                  </a:lnTo>
                  <a:lnTo>
                    <a:pt x="18" y="59"/>
                  </a:lnTo>
                  <a:lnTo>
                    <a:pt x="21" y="59"/>
                  </a:lnTo>
                  <a:lnTo>
                    <a:pt x="23" y="59"/>
                  </a:lnTo>
                  <a:lnTo>
                    <a:pt x="26" y="56"/>
                  </a:lnTo>
                  <a:lnTo>
                    <a:pt x="28" y="56"/>
                  </a:lnTo>
                  <a:lnTo>
                    <a:pt x="28" y="56"/>
                  </a:lnTo>
                  <a:lnTo>
                    <a:pt x="31" y="56"/>
                  </a:lnTo>
                  <a:lnTo>
                    <a:pt x="26" y="59"/>
                  </a:lnTo>
                  <a:lnTo>
                    <a:pt x="21" y="59"/>
                  </a:lnTo>
                  <a:lnTo>
                    <a:pt x="15" y="59"/>
                  </a:lnTo>
                  <a:lnTo>
                    <a:pt x="15" y="59"/>
                  </a:lnTo>
                  <a:lnTo>
                    <a:pt x="13" y="61"/>
                  </a:lnTo>
                  <a:lnTo>
                    <a:pt x="13" y="61"/>
                  </a:lnTo>
                  <a:lnTo>
                    <a:pt x="10" y="64"/>
                  </a:lnTo>
                  <a:lnTo>
                    <a:pt x="10" y="64"/>
                  </a:lnTo>
                  <a:lnTo>
                    <a:pt x="10" y="66"/>
                  </a:lnTo>
                  <a:lnTo>
                    <a:pt x="13" y="66"/>
                  </a:lnTo>
                  <a:lnTo>
                    <a:pt x="10" y="66"/>
                  </a:lnTo>
                  <a:lnTo>
                    <a:pt x="8" y="66"/>
                  </a:lnTo>
                  <a:lnTo>
                    <a:pt x="8" y="66"/>
                  </a:lnTo>
                  <a:lnTo>
                    <a:pt x="5" y="66"/>
                  </a:lnTo>
                  <a:lnTo>
                    <a:pt x="5" y="66"/>
                  </a:lnTo>
                  <a:lnTo>
                    <a:pt x="3" y="66"/>
                  </a:lnTo>
                  <a:lnTo>
                    <a:pt x="3" y="69"/>
                  </a:lnTo>
                  <a:lnTo>
                    <a:pt x="3" y="69"/>
                  </a:lnTo>
                  <a:lnTo>
                    <a:pt x="3" y="69"/>
                  </a:lnTo>
                  <a:lnTo>
                    <a:pt x="8" y="69"/>
                  </a:lnTo>
                  <a:lnTo>
                    <a:pt x="10" y="69"/>
                  </a:lnTo>
                  <a:lnTo>
                    <a:pt x="8" y="69"/>
                  </a:lnTo>
                  <a:lnTo>
                    <a:pt x="8" y="71"/>
                  </a:lnTo>
                  <a:lnTo>
                    <a:pt x="5" y="71"/>
                  </a:lnTo>
                  <a:lnTo>
                    <a:pt x="3" y="71"/>
                  </a:lnTo>
                  <a:lnTo>
                    <a:pt x="0" y="74"/>
                  </a:lnTo>
                  <a:lnTo>
                    <a:pt x="3" y="77"/>
                  </a:lnTo>
                  <a:lnTo>
                    <a:pt x="3" y="77"/>
                  </a:lnTo>
                  <a:lnTo>
                    <a:pt x="3" y="77"/>
                  </a:lnTo>
                  <a:lnTo>
                    <a:pt x="5" y="77"/>
                  </a:lnTo>
                  <a:lnTo>
                    <a:pt x="15" y="74"/>
                  </a:lnTo>
                  <a:lnTo>
                    <a:pt x="13" y="77"/>
                  </a:lnTo>
                  <a:lnTo>
                    <a:pt x="10" y="77"/>
                  </a:lnTo>
                  <a:lnTo>
                    <a:pt x="10" y="77"/>
                  </a:lnTo>
                  <a:lnTo>
                    <a:pt x="8" y="77"/>
                  </a:lnTo>
                  <a:lnTo>
                    <a:pt x="5" y="79"/>
                  </a:lnTo>
                  <a:lnTo>
                    <a:pt x="5" y="82"/>
                  </a:lnTo>
                  <a:lnTo>
                    <a:pt x="8" y="79"/>
                  </a:lnTo>
                  <a:lnTo>
                    <a:pt x="8" y="79"/>
                  </a:lnTo>
                  <a:lnTo>
                    <a:pt x="15" y="79"/>
                  </a:lnTo>
                  <a:lnTo>
                    <a:pt x="15" y="79"/>
                  </a:lnTo>
                  <a:lnTo>
                    <a:pt x="15" y="79"/>
                  </a:lnTo>
                  <a:lnTo>
                    <a:pt x="13" y="82"/>
                  </a:lnTo>
                  <a:lnTo>
                    <a:pt x="10" y="84"/>
                  </a:lnTo>
                  <a:lnTo>
                    <a:pt x="10" y="84"/>
                  </a:lnTo>
                  <a:lnTo>
                    <a:pt x="15" y="82"/>
                  </a:lnTo>
                  <a:lnTo>
                    <a:pt x="15" y="82"/>
                  </a:lnTo>
                  <a:lnTo>
                    <a:pt x="18" y="82"/>
                  </a:lnTo>
                  <a:lnTo>
                    <a:pt x="18" y="82"/>
                  </a:lnTo>
                  <a:lnTo>
                    <a:pt x="18" y="82"/>
                  </a:lnTo>
                  <a:lnTo>
                    <a:pt x="28" y="82"/>
                  </a:lnTo>
                  <a:lnTo>
                    <a:pt x="28" y="79"/>
                  </a:lnTo>
                  <a:lnTo>
                    <a:pt x="31" y="79"/>
                  </a:lnTo>
                  <a:lnTo>
                    <a:pt x="33" y="79"/>
                  </a:lnTo>
                  <a:lnTo>
                    <a:pt x="33" y="79"/>
                  </a:lnTo>
                  <a:lnTo>
                    <a:pt x="36" y="77"/>
                  </a:lnTo>
                  <a:lnTo>
                    <a:pt x="36" y="77"/>
                  </a:lnTo>
                  <a:lnTo>
                    <a:pt x="36" y="74"/>
                  </a:lnTo>
                  <a:lnTo>
                    <a:pt x="36" y="74"/>
                  </a:lnTo>
                  <a:lnTo>
                    <a:pt x="36" y="74"/>
                  </a:lnTo>
                  <a:lnTo>
                    <a:pt x="36" y="74"/>
                  </a:lnTo>
                  <a:lnTo>
                    <a:pt x="38" y="74"/>
                  </a:lnTo>
                  <a:lnTo>
                    <a:pt x="38" y="74"/>
                  </a:lnTo>
                  <a:lnTo>
                    <a:pt x="38" y="77"/>
                  </a:lnTo>
                  <a:lnTo>
                    <a:pt x="41" y="77"/>
                  </a:lnTo>
                  <a:lnTo>
                    <a:pt x="43" y="74"/>
                  </a:lnTo>
                  <a:lnTo>
                    <a:pt x="43" y="74"/>
                  </a:lnTo>
                  <a:lnTo>
                    <a:pt x="46" y="74"/>
                  </a:lnTo>
                  <a:lnTo>
                    <a:pt x="49" y="71"/>
                  </a:lnTo>
                  <a:lnTo>
                    <a:pt x="49" y="71"/>
                  </a:lnTo>
                  <a:lnTo>
                    <a:pt x="49" y="71"/>
                  </a:lnTo>
                  <a:lnTo>
                    <a:pt x="51" y="71"/>
                  </a:lnTo>
                  <a:lnTo>
                    <a:pt x="51" y="69"/>
                  </a:lnTo>
                  <a:lnTo>
                    <a:pt x="51" y="69"/>
                  </a:lnTo>
                  <a:lnTo>
                    <a:pt x="56" y="69"/>
                  </a:lnTo>
                  <a:lnTo>
                    <a:pt x="59" y="69"/>
                  </a:lnTo>
                  <a:lnTo>
                    <a:pt x="59" y="69"/>
                  </a:lnTo>
                  <a:lnTo>
                    <a:pt x="61" y="66"/>
                  </a:lnTo>
                  <a:lnTo>
                    <a:pt x="61" y="69"/>
                  </a:lnTo>
                  <a:lnTo>
                    <a:pt x="61" y="69"/>
                  </a:lnTo>
                  <a:lnTo>
                    <a:pt x="61" y="69"/>
                  </a:lnTo>
                  <a:lnTo>
                    <a:pt x="64" y="66"/>
                  </a:lnTo>
                  <a:lnTo>
                    <a:pt x="66" y="66"/>
                  </a:lnTo>
                  <a:lnTo>
                    <a:pt x="66" y="69"/>
                  </a:lnTo>
                  <a:lnTo>
                    <a:pt x="69" y="66"/>
                  </a:lnTo>
                  <a:lnTo>
                    <a:pt x="71" y="66"/>
                  </a:lnTo>
                  <a:lnTo>
                    <a:pt x="69" y="64"/>
                  </a:lnTo>
                  <a:lnTo>
                    <a:pt x="71" y="64"/>
                  </a:lnTo>
                  <a:lnTo>
                    <a:pt x="71" y="64"/>
                  </a:lnTo>
                  <a:lnTo>
                    <a:pt x="74" y="59"/>
                  </a:lnTo>
                  <a:lnTo>
                    <a:pt x="74" y="56"/>
                  </a:lnTo>
                  <a:lnTo>
                    <a:pt x="77" y="56"/>
                  </a:lnTo>
                  <a:lnTo>
                    <a:pt x="77" y="54"/>
                  </a:lnTo>
                  <a:lnTo>
                    <a:pt x="77" y="54"/>
                  </a:lnTo>
                  <a:lnTo>
                    <a:pt x="79" y="51"/>
                  </a:lnTo>
                  <a:lnTo>
                    <a:pt x="79" y="49"/>
                  </a:lnTo>
                  <a:lnTo>
                    <a:pt x="79" y="46"/>
                  </a:lnTo>
                  <a:lnTo>
                    <a:pt x="77" y="43"/>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292" name="Freeform 1911">
              <a:extLst>
                <a:ext uri="{FF2B5EF4-FFF2-40B4-BE49-F238E27FC236}">
                  <a16:creationId xmlns:a16="http://schemas.microsoft.com/office/drawing/2014/main" id="{72B1D92C-2F55-1949-8797-4417AA923C1D}"/>
                </a:ext>
              </a:extLst>
            </p:cNvPr>
            <p:cNvSpPr>
              <a:spLocks/>
            </p:cNvSpPr>
            <p:nvPr/>
          </p:nvSpPr>
          <p:spPr bwMode="auto">
            <a:xfrm>
              <a:off x="6838673" y="2410754"/>
              <a:ext cx="315698" cy="312426"/>
            </a:xfrm>
            <a:custGeom>
              <a:avLst/>
              <a:gdLst>
                <a:gd name="T0" fmla="*/ 191 w 193"/>
                <a:gd name="T1" fmla="*/ 166 h 191"/>
                <a:gd name="T2" fmla="*/ 188 w 193"/>
                <a:gd name="T3" fmla="*/ 160 h 191"/>
                <a:gd name="T4" fmla="*/ 183 w 193"/>
                <a:gd name="T5" fmla="*/ 158 h 191"/>
                <a:gd name="T6" fmla="*/ 181 w 193"/>
                <a:gd name="T7" fmla="*/ 145 h 191"/>
                <a:gd name="T8" fmla="*/ 173 w 193"/>
                <a:gd name="T9" fmla="*/ 138 h 191"/>
                <a:gd name="T10" fmla="*/ 171 w 193"/>
                <a:gd name="T11" fmla="*/ 122 h 191"/>
                <a:gd name="T12" fmla="*/ 165 w 193"/>
                <a:gd name="T13" fmla="*/ 112 h 191"/>
                <a:gd name="T14" fmla="*/ 153 w 193"/>
                <a:gd name="T15" fmla="*/ 107 h 191"/>
                <a:gd name="T16" fmla="*/ 140 w 193"/>
                <a:gd name="T17" fmla="*/ 102 h 191"/>
                <a:gd name="T18" fmla="*/ 140 w 193"/>
                <a:gd name="T19" fmla="*/ 97 h 191"/>
                <a:gd name="T20" fmla="*/ 135 w 193"/>
                <a:gd name="T21" fmla="*/ 89 h 191"/>
                <a:gd name="T22" fmla="*/ 132 w 193"/>
                <a:gd name="T23" fmla="*/ 87 h 191"/>
                <a:gd name="T24" fmla="*/ 125 w 193"/>
                <a:gd name="T25" fmla="*/ 79 h 191"/>
                <a:gd name="T26" fmla="*/ 125 w 193"/>
                <a:gd name="T27" fmla="*/ 74 h 191"/>
                <a:gd name="T28" fmla="*/ 125 w 193"/>
                <a:gd name="T29" fmla="*/ 66 h 191"/>
                <a:gd name="T30" fmla="*/ 127 w 193"/>
                <a:gd name="T31" fmla="*/ 64 h 191"/>
                <a:gd name="T32" fmla="*/ 130 w 193"/>
                <a:gd name="T33" fmla="*/ 54 h 191"/>
                <a:gd name="T34" fmla="*/ 135 w 193"/>
                <a:gd name="T35" fmla="*/ 48 h 191"/>
                <a:gd name="T36" fmla="*/ 130 w 193"/>
                <a:gd name="T37" fmla="*/ 43 h 191"/>
                <a:gd name="T38" fmla="*/ 135 w 193"/>
                <a:gd name="T39" fmla="*/ 38 h 191"/>
                <a:gd name="T40" fmla="*/ 130 w 193"/>
                <a:gd name="T41" fmla="*/ 36 h 191"/>
                <a:gd name="T42" fmla="*/ 122 w 193"/>
                <a:gd name="T43" fmla="*/ 33 h 191"/>
                <a:gd name="T44" fmla="*/ 117 w 193"/>
                <a:gd name="T45" fmla="*/ 31 h 191"/>
                <a:gd name="T46" fmla="*/ 112 w 193"/>
                <a:gd name="T47" fmla="*/ 23 h 191"/>
                <a:gd name="T48" fmla="*/ 109 w 193"/>
                <a:gd name="T49" fmla="*/ 18 h 191"/>
                <a:gd name="T50" fmla="*/ 107 w 193"/>
                <a:gd name="T51" fmla="*/ 15 h 191"/>
                <a:gd name="T52" fmla="*/ 104 w 193"/>
                <a:gd name="T53" fmla="*/ 5 h 191"/>
                <a:gd name="T54" fmla="*/ 99 w 193"/>
                <a:gd name="T55" fmla="*/ 5 h 191"/>
                <a:gd name="T56" fmla="*/ 94 w 193"/>
                <a:gd name="T57" fmla="*/ 10 h 191"/>
                <a:gd name="T58" fmla="*/ 91 w 193"/>
                <a:gd name="T59" fmla="*/ 5 h 191"/>
                <a:gd name="T60" fmla="*/ 89 w 193"/>
                <a:gd name="T61" fmla="*/ 3 h 191"/>
                <a:gd name="T62" fmla="*/ 81 w 193"/>
                <a:gd name="T63" fmla="*/ 3 h 191"/>
                <a:gd name="T64" fmla="*/ 74 w 193"/>
                <a:gd name="T65" fmla="*/ 0 h 191"/>
                <a:gd name="T66" fmla="*/ 66 w 193"/>
                <a:gd name="T67" fmla="*/ 0 h 191"/>
                <a:gd name="T68" fmla="*/ 61 w 193"/>
                <a:gd name="T69" fmla="*/ 5 h 191"/>
                <a:gd name="T70" fmla="*/ 56 w 193"/>
                <a:gd name="T71" fmla="*/ 10 h 191"/>
                <a:gd name="T72" fmla="*/ 46 w 193"/>
                <a:gd name="T73" fmla="*/ 18 h 191"/>
                <a:gd name="T74" fmla="*/ 41 w 193"/>
                <a:gd name="T75" fmla="*/ 26 h 191"/>
                <a:gd name="T76" fmla="*/ 43 w 193"/>
                <a:gd name="T77" fmla="*/ 36 h 191"/>
                <a:gd name="T78" fmla="*/ 41 w 193"/>
                <a:gd name="T79" fmla="*/ 46 h 191"/>
                <a:gd name="T80" fmla="*/ 41 w 193"/>
                <a:gd name="T81" fmla="*/ 61 h 191"/>
                <a:gd name="T82" fmla="*/ 33 w 193"/>
                <a:gd name="T83" fmla="*/ 71 h 191"/>
                <a:gd name="T84" fmla="*/ 12 w 193"/>
                <a:gd name="T85" fmla="*/ 84 h 191"/>
                <a:gd name="T86" fmla="*/ 0 w 193"/>
                <a:gd name="T87" fmla="*/ 97 h 191"/>
                <a:gd name="T88" fmla="*/ 5 w 193"/>
                <a:gd name="T89" fmla="*/ 112 h 191"/>
                <a:gd name="T90" fmla="*/ 10 w 193"/>
                <a:gd name="T91" fmla="*/ 117 h 191"/>
                <a:gd name="T92" fmla="*/ 25 w 193"/>
                <a:gd name="T93" fmla="*/ 122 h 191"/>
                <a:gd name="T94" fmla="*/ 46 w 193"/>
                <a:gd name="T95" fmla="*/ 132 h 191"/>
                <a:gd name="T96" fmla="*/ 66 w 193"/>
                <a:gd name="T97" fmla="*/ 145 h 191"/>
                <a:gd name="T98" fmla="*/ 89 w 193"/>
                <a:gd name="T99" fmla="*/ 160 h 191"/>
                <a:gd name="T100" fmla="*/ 114 w 193"/>
                <a:gd name="T101" fmla="*/ 181 h 191"/>
                <a:gd name="T102" fmla="*/ 137 w 193"/>
                <a:gd name="T103" fmla="*/ 188 h 191"/>
                <a:gd name="T104" fmla="*/ 160 w 193"/>
                <a:gd name="T105" fmla="*/ 186 h 191"/>
                <a:gd name="T106" fmla="*/ 165 w 193"/>
                <a:gd name="T107" fmla="*/ 173 h 191"/>
                <a:gd name="T108" fmla="*/ 168 w 193"/>
                <a:gd name="T109" fmla="*/ 168 h 191"/>
                <a:gd name="T110" fmla="*/ 176 w 193"/>
                <a:gd name="T111" fmla="*/ 166 h 191"/>
                <a:gd name="T112" fmla="*/ 183 w 193"/>
                <a:gd name="T113" fmla="*/ 168 h 191"/>
                <a:gd name="T114" fmla="*/ 193 w 193"/>
                <a:gd name="T115" fmla="*/ 171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93" h="191">
                  <a:moveTo>
                    <a:pt x="193" y="168"/>
                  </a:moveTo>
                  <a:lnTo>
                    <a:pt x="191" y="168"/>
                  </a:lnTo>
                  <a:lnTo>
                    <a:pt x="191" y="166"/>
                  </a:lnTo>
                  <a:lnTo>
                    <a:pt x="191" y="166"/>
                  </a:lnTo>
                  <a:lnTo>
                    <a:pt x="191" y="166"/>
                  </a:lnTo>
                  <a:lnTo>
                    <a:pt x="191" y="163"/>
                  </a:lnTo>
                  <a:lnTo>
                    <a:pt x="188" y="163"/>
                  </a:lnTo>
                  <a:lnTo>
                    <a:pt x="188" y="160"/>
                  </a:lnTo>
                  <a:lnTo>
                    <a:pt x="186" y="160"/>
                  </a:lnTo>
                  <a:lnTo>
                    <a:pt x="186" y="160"/>
                  </a:lnTo>
                  <a:lnTo>
                    <a:pt x="186" y="158"/>
                  </a:lnTo>
                  <a:lnTo>
                    <a:pt x="183" y="158"/>
                  </a:lnTo>
                  <a:lnTo>
                    <a:pt x="183" y="158"/>
                  </a:lnTo>
                  <a:lnTo>
                    <a:pt x="181" y="153"/>
                  </a:lnTo>
                  <a:lnTo>
                    <a:pt x="181" y="150"/>
                  </a:lnTo>
                  <a:lnTo>
                    <a:pt x="181" y="145"/>
                  </a:lnTo>
                  <a:lnTo>
                    <a:pt x="178" y="145"/>
                  </a:lnTo>
                  <a:lnTo>
                    <a:pt x="176" y="145"/>
                  </a:lnTo>
                  <a:lnTo>
                    <a:pt x="173" y="143"/>
                  </a:lnTo>
                  <a:lnTo>
                    <a:pt x="173" y="138"/>
                  </a:lnTo>
                  <a:lnTo>
                    <a:pt x="176" y="132"/>
                  </a:lnTo>
                  <a:lnTo>
                    <a:pt x="176" y="127"/>
                  </a:lnTo>
                  <a:lnTo>
                    <a:pt x="173" y="125"/>
                  </a:lnTo>
                  <a:lnTo>
                    <a:pt x="171" y="122"/>
                  </a:lnTo>
                  <a:lnTo>
                    <a:pt x="168" y="120"/>
                  </a:lnTo>
                  <a:lnTo>
                    <a:pt x="165" y="115"/>
                  </a:lnTo>
                  <a:lnTo>
                    <a:pt x="165" y="115"/>
                  </a:lnTo>
                  <a:lnTo>
                    <a:pt x="165" y="112"/>
                  </a:lnTo>
                  <a:lnTo>
                    <a:pt x="163" y="112"/>
                  </a:lnTo>
                  <a:lnTo>
                    <a:pt x="160" y="112"/>
                  </a:lnTo>
                  <a:lnTo>
                    <a:pt x="158" y="110"/>
                  </a:lnTo>
                  <a:lnTo>
                    <a:pt x="153" y="107"/>
                  </a:lnTo>
                  <a:lnTo>
                    <a:pt x="148" y="104"/>
                  </a:lnTo>
                  <a:lnTo>
                    <a:pt x="145" y="102"/>
                  </a:lnTo>
                  <a:lnTo>
                    <a:pt x="142" y="102"/>
                  </a:lnTo>
                  <a:lnTo>
                    <a:pt x="140" y="102"/>
                  </a:lnTo>
                  <a:lnTo>
                    <a:pt x="140" y="102"/>
                  </a:lnTo>
                  <a:lnTo>
                    <a:pt x="140" y="99"/>
                  </a:lnTo>
                  <a:lnTo>
                    <a:pt x="140" y="99"/>
                  </a:lnTo>
                  <a:lnTo>
                    <a:pt x="140" y="97"/>
                  </a:lnTo>
                  <a:lnTo>
                    <a:pt x="140" y="94"/>
                  </a:lnTo>
                  <a:lnTo>
                    <a:pt x="137" y="92"/>
                  </a:lnTo>
                  <a:lnTo>
                    <a:pt x="135" y="89"/>
                  </a:lnTo>
                  <a:lnTo>
                    <a:pt x="135" y="89"/>
                  </a:lnTo>
                  <a:lnTo>
                    <a:pt x="135" y="89"/>
                  </a:lnTo>
                  <a:lnTo>
                    <a:pt x="135" y="87"/>
                  </a:lnTo>
                  <a:lnTo>
                    <a:pt x="135" y="87"/>
                  </a:lnTo>
                  <a:lnTo>
                    <a:pt x="132" y="87"/>
                  </a:lnTo>
                  <a:lnTo>
                    <a:pt x="132" y="87"/>
                  </a:lnTo>
                  <a:lnTo>
                    <a:pt x="130" y="87"/>
                  </a:lnTo>
                  <a:lnTo>
                    <a:pt x="130" y="84"/>
                  </a:lnTo>
                  <a:lnTo>
                    <a:pt x="125" y="79"/>
                  </a:lnTo>
                  <a:lnTo>
                    <a:pt x="125" y="79"/>
                  </a:lnTo>
                  <a:lnTo>
                    <a:pt x="125" y="79"/>
                  </a:lnTo>
                  <a:lnTo>
                    <a:pt x="125" y="76"/>
                  </a:lnTo>
                  <a:lnTo>
                    <a:pt x="125" y="74"/>
                  </a:lnTo>
                  <a:lnTo>
                    <a:pt x="125" y="74"/>
                  </a:lnTo>
                  <a:lnTo>
                    <a:pt x="125" y="71"/>
                  </a:lnTo>
                  <a:lnTo>
                    <a:pt x="122" y="69"/>
                  </a:lnTo>
                  <a:lnTo>
                    <a:pt x="125" y="66"/>
                  </a:lnTo>
                  <a:lnTo>
                    <a:pt x="125" y="66"/>
                  </a:lnTo>
                  <a:lnTo>
                    <a:pt x="125" y="64"/>
                  </a:lnTo>
                  <a:lnTo>
                    <a:pt x="125" y="64"/>
                  </a:lnTo>
                  <a:lnTo>
                    <a:pt x="127" y="64"/>
                  </a:lnTo>
                  <a:lnTo>
                    <a:pt x="127" y="64"/>
                  </a:lnTo>
                  <a:lnTo>
                    <a:pt x="127" y="61"/>
                  </a:lnTo>
                  <a:lnTo>
                    <a:pt x="127" y="59"/>
                  </a:lnTo>
                  <a:lnTo>
                    <a:pt x="130" y="54"/>
                  </a:lnTo>
                  <a:lnTo>
                    <a:pt x="132" y="54"/>
                  </a:lnTo>
                  <a:lnTo>
                    <a:pt x="135" y="51"/>
                  </a:lnTo>
                  <a:lnTo>
                    <a:pt x="135" y="51"/>
                  </a:lnTo>
                  <a:lnTo>
                    <a:pt x="135" y="48"/>
                  </a:lnTo>
                  <a:lnTo>
                    <a:pt x="135" y="48"/>
                  </a:lnTo>
                  <a:lnTo>
                    <a:pt x="135" y="48"/>
                  </a:lnTo>
                  <a:lnTo>
                    <a:pt x="132" y="46"/>
                  </a:lnTo>
                  <a:lnTo>
                    <a:pt x="130" y="43"/>
                  </a:lnTo>
                  <a:lnTo>
                    <a:pt x="130" y="43"/>
                  </a:lnTo>
                  <a:lnTo>
                    <a:pt x="130" y="41"/>
                  </a:lnTo>
                  <a:lnTo>
                    <a:pt x="132" y="38"/>
                  </a:lnTo>
                  <a:lnTo>
                    <a:pt x="135" y="38"/>
                  </a:lnTo>
                  <a:lnTo>
                    <a:pt x="135" y="38"/>
                  </a:lnTo>
                  <a:lnTo>
                    <a:pt x="135" y="38"/>
                  </a:lnTo>
                  <a:lnTo>
                    <a:pt x="132" y="36"/>
                  </a:lnTo>
                  <a:lnTo>
                    <a:pt x="130" y="36"/>
                  </a:lnTo>
                  <a:lnTo>
                    <a:pt x="125" y="36"/>
                  </a:lnTo>
                  <a:lnTo>
                    <a:pt x="125" y="36"/>
                  </a:lnTo>
                  <a:lnTo>
                    <a:pt x="122" y="33"/>
                  </a:lnTo>
                  <a:lnTo>
                    <a:pt x="122" y="33"/>
                  </a:lnTo>
                  <a:lnTo>
                    <a:pt x="120" y="31"/>
                  </a:lnTo>
                  <a:lnTo>
                    <a:pt x="120" y="31"/>
                  </a:lnTo>
                  <a:lnTo>
                    <a:pt x="117" y="31"/>
                  </a:lnTo>
                  <a:lnTo>
                    <a:pt x="117" y="31"/>
                  </a:lnTo>
                  <a:lnTo>
                    <a:pt x="114" y="23"/>
                  </a:lnTo>
                  <a:lnTo>
                    <a:pt x="114" y="23"/>
                  </a:lnTo>
                  <a:lnTo>
                    <a:pt x="112" y="23"/>
                  </a:lnTo>
                  <a:lnTo>
                    <a:pt x="112" y="23"/>
                  </a:lnTo>
                  <a:lnTo>
                    <a:pt x="112" y="23"/>
                  </a:lnTo>
                  <a:lnTo>
                    <a:pt x="109" y="20"/>
                  </a:lnTo>
                  <a:lnTo>
                    <a:pt x="109" y="20"/>
                  </a:lnTo>
                  <a:lnTo>
                    <a:pt x="109" y="18"/>
                  </a:lnTo>
                  <a:lnTo>
                    <a:pt x="109" y="15"/>
                  </a:lnTo>
                  <a:lnTo>
                    <a:pt x="109" y="15"/>
                  </a:lnTo>
                  <a:lnTo>
                    <a:pt x="109" y="15"/>
                  </a:lnTo>
                  <a:lnTo>
                    <a:pt x="107" y="15"/>
                  </a:lnTo>
                  <a:lnTo>
                    <a:pt x="107" y="13"/>
                  </a:lnTo>
                  <a:lnTo>
                    <a:pt x="104" y="8"/>
                  </a:lnTo>
                  <a:lnTo>
                    <a:pt x="104" y="5"/>
                  </a:lnTo>
                  <a:lnTo>
                    <a:pt x="104" y="5"/>
                  </a:lnTo>
                  <a:lnTo>
                    <a:pt x="102" y="5"/>
                  </a:lnTo>
                  <a:lnTo>
                    <a:pt x="102" y="5"/>
                  </a:lnTo>
                  <a:lnTo>
                    <a:pt x="99" y="5"/>
                  </a:lnTo>
                  <a:lnTo>
                    <a:pt x="99" y="5"/>
                  </a:lnTo>
                  <a:lnTo>
                    <a:pt x="99" y="5"/>
                  </a:lnTo>
                  <a:lnTo>
                    <a:pt x="97" y="8"/>
                  </a:lnTo>
                  <a:lnTo>
                    <a:pt x="94" y="8"/>
                  </a:lnTo>
                  <a:lnTo>
                    <a:pt x="94" y="10"/>
                  </a:lnTo>
                  <a:lnTo>
                    <a:pt x="94" y="10"/>
                  </a:lnTo>
                  <a:lnTo>
                    <a:pt x="94" y="8"/>
                  </a:lnTo>
                  <a:lnTo>
                    <a:pt x="94" y="8"/>
                  </a:lnTo>
                  <a:lnTo>
                    <a:pt x="91" y="5"/>
                  </a:lnTo>
                  <a:lnTo>
                    <a:pt x="91" y="3"/>
                  </a:lnTo>
                  <a:lnTo>
                    <a:pt x="91" y="3"/>
                  </a:lnTo>
                  <a:lnTo>
                    <a:pt x="91" y="3"/>
                  </a:lnTo>
                  <a:lnTo>
                    <a:pt x="89" y="3"/>
                  </a:lnTo>
                  <a:lnTo>
                    <a:pt x="89" y="3"/>
                  </a:lnTo>
                  <a:lnTo>
                    <a:pt x="86" y="3"/>
                  </a:lnTo>
                  <a:lnTo>
                    <a:pt x="86" y="3"/>
                  </a:lnTo>
                  <a:lnTo>
                    <a:pt x="81" y="3"/>
                  </a:lnTo>
                  <a:lnTo>
                    <a:pt x="81" y="3"/>
                  </a:lnTo>
                  <a:lnTo>
                    <a:pt x="79" y="3"/>
                  </a:lnTo>
                  <a:lnTo>
                    <a:pt x="76" y="3"/>
                  </a:lnTo>
                  <a:lnTo>
                    <a:pt x="74" y="0"/>
                  </a:lnTo>
                  <a:lnTo>
                    <a:pt x="74" y="0"/>
                  </a:lnTo>
                  <a:lnTo>
                    <a:pt x="71" y="0"/>
                  </a:lnTo>
                  <a:lnTo>
                    <a:pt x="69" y="0"/>
                  </a:lnTo>
                  <a:lnTo>
                    <a:pt x="66" y="0"/>
                  </a:lnTo>
                  <a:lnTo>
                    <a:pt x="66" y="0"/>
                  </a:lnTo>
                  <a:lnTo>
                    <a:pt x="63" y="0"/>
                  </a:lnTo>
                  <a:lnTo>
                    <a:pt x="63" y="3"/>
                  </a:lnTo>
                  <a:lnTo>
                    <a:pt x="61" y="5"/>
                  </a:lnTo>
                  <a:lnTo>
                    <a:pt x="58" y="5"/>
                  </a:lnTo>
                  <a:lnTo>
                    <a:pt x="58" y="8"/>
                  </a:lnTo>
                  <a:lnTo>
                    <a:pt x="58" y="8"/>
                  </a:lnTo>
                  <a:lnTo>
                    <a:pt x="56" y="10"/>
                  </a:lnTo>
                  <a:lnTo>
                    <a:pt x="53" y="13"/>
                  </a:lnTo>
                  <a:lnTo>
                    <a:pt x="51" y="15"/>
                  </a:lnTo>
                  <a:lnTo>
                    <a:pt x="48" y="18"/>
                  </a:lnTo>
                  <a:lnTo>
                    <a:pt x="46" y="18"/>
                  </a:lnTo>
                  <a:lnTo>
                    <a:pt x="41" y="20"/>
                  </a:lnTo>
                  <a:lnTo>
                    <a:pt x="41" y="20"/>
                  </a:lnTo>
                  <a:lnTo>
                    <a:pt x="41" y="23"/>
                  </a:lnTo>
                  <a:lnTo>
                    <a:pt x="41" y="26"/>
                  </a:lnTo>
                  <a:lnTo>
                    <a:pt x="41" y="28"/>
                  </a:lnTo>
                  <a:lnTo>
                    <a:pt x="41" y="31"/>
                  </a:lnTo>
                  <a:lnTo>
                    <a:pt x="41" y="33"/>
                  </a:lnTo>
                  <a:lnTo>
                    <a:pt x="43" y="36"/>
                  </a:lnTo>
                  <a:lnTo>
                    <a:pt x="43" y="38"/>
                  </a:lnTo>
                  <a:lnTo>
                    <a:pt x="43" y="41"/>
                  </a:lnTo>
                  <a:lnTo>
                    <a:pt x="43" y="43"/>
                  </a:lnTo>
                  <a:lnTo>
                    <a:pt x="41" y="46"/>
                  </a:lnTo>
                  <a:lnTo>
                    <a:pt x="41" y="48"/>
                  </a:lnTo>
                  <a:lnTo>
                    <a:pt x="41" y="54"/>
                  </a:lnTo>
                  <a:lnTo>
                    <a:pt x="41" y="59"/>
                  </a:lnTo>
                  <a:lnTo>
                    <a:pt x="41" y="61"/>
                  </a:lnTo>
                  <a:lnTo>
                    <a:pt x="41" y="64"/>
                  </a:lnTo>
                  <a:lnTo>
                    <a:pt x="38" y="69"/>
                  </a:lnTo>
                  <a:lnTo>
                    <a:pt x="38" y="69"/>
                  </a:lnTo>
                  <a:lnTo>
                    <a:pt x="33" y="71"/>
                  </a:lnTo>
                  <a:lnTo>
                    <a:pt x="28" y="74"/>
                  </a:lnTo>
                  <a:lnTo>
                    <a:pt x="23" y="76"/>
                  </a:lnTo>
                  <a:lnTo>
                    <a:pt x="18" y="79"/>
                  </a:lnTo>
                  <a:lnTo>
                    <a:pt x="12" y="84"/>
                  </a:lnTo>
                  <a:lnTo>
                    <a:pt x="7" y="87"/>
                  </a:lnTo>
                  <a:lnTo>
                    <a:pt x="5" y="89"/>
                  </a:lnTo>
                  <a:lnTo>
                    <a:pt x="0" y="92"/>
                  </a:lnTo>
                  <a:lnTo>
                    <a:pt x="0" y="97"/>
                  </a:lnTo>
                  <a:lnTo>
                    <a:pt x="2" y="102"/>
                  </a:lnTo>
                  <a:lnTo>
                    <a:pt x="5" y="107"/>
                  </a:lnTo>
                  <a:lnTo>
                    <a:pt x="5" y="112"/>
                  </a:lnTo>
                  <a:lnTo>
                    <a:pt x="5" y="112"/>
                  </a:lnTo>
                  <a:lnTo>
                    <a:pt x="5" y="117"/>
                  </a:lnTo>
                  <a:lnTo>
                    <a:pt x="7" y="115"/>
                  </a:lnTo>
                  <a:lnTo>
                    <a:pt x="10" y="115"/>
                  </a:lnTo>
                  <a:lnTo>
                    <a:pt x="10" y="117"/>
                  </a:lnTo>
                  <a:lnTo>
                    <a:pt x="7" y="120"/>
                  </a:lnTo>
                  <a:lnTo>
                    <a:pt x="12" y="122"/>
                  </a:lnTo>
                  <a:lnTo>
                    <a:pt x="20" y="122"/>
                  </a:lnTo>
                  <a:lnTo>
                    <a:pt x="25" y="122"/>
                  </a:lnTo>
                  <a:lnTo>
                    <a:pt x="33" y="125"/>
                  </a:lnTo>
                  <a:lnTo>
                    <a:pt x="35" y="125"/>
                  </a:lnTo>
                  <a:lnTo>
                    <a:pt x="41" y="130"/>
                  </a:lnTo>
                  <a:lnTo>
                    <a:pt x="46" y="132"/>
                  </a:lnTo>
                  <a:lnTo>
                    <a:pt x="51" y="135"/>
                  </a:lnTo>
                  <a:lnTo>
                    <a:pt x="56" y="138"/>
                  </a:lnTo>
                  <a:lnTo>
                    <a:pt x="61" y="140"/>
                  </a:lnTo>
                  <a:lnTo>
                    <a:pt x="66" y="145"/>
                  </a:lnTo>
                  <a:lnTo>
                    <a:pt x="71" y="148"/>
                  </a:lnTo>
                  <a:lnTo>
                    <a:pt x="76" y="153"/>
                  </a:lnTo>
                  <a:lnTo>
                    <a:pt x="84" y="158"/>
                  </a:lnTo>
                  <a:lnTo>
                    <a:pt x="89" y="160"/>
                  </a:lnTo>
                  <a:lnTo>
                    <a:pt x="94" y="166"/>
                  </a:lnTo>
                  <a:lnTo>
                    <a:pt x="102" y="173"/>
                  </a:lnTo>
                  <a:lnTo>
                    <a:pt x="109" y="178"/>
                  </a:lnTo>
                  <a:lnTo>
                    <a:pt x="114" y="181"/>
                  </a:lnTo>
                  <a:lnTo>
                    <a:pt x="122" y="186"/>
                  </a:lnTo>
                  <a:lnTo>
                    <a:pt x="122" y="186"/>
                  </a:lnTo>
                  <a:lnTo>
                    <a:pt x="127" y="188"/>
                  </a:lnTo>
                  <a:lnTo>
                    <a:pt x="137" y="188"/>
                  </a:lnTo>
                  <a:lnTo>
                    <a:pt x="145" y="188"/>
                  </a:lnTo>
                  <a:lnTo>
                    <a:pt x="153" y="191"/>
                  </a:lnTo>
                  <a:lnTo>
                    <a:pt x="158" y="188"/>
                  </a:lnTo>
                  <a:lnTo>
                    <a:pt x="160" y="186"/>
                  </a:lnTo>
                  <a:lnTo>
                    <a:pt x="160" y="183"/>
                  </a:lnTo>
                  <a:lnTo>
                    <a:pt x="163" y="178"/>
                  </a:lnTo>
                  <a:lnTo>
                    <a:pt x="163" y="176"/>
                  </a:lnTo>
                  <a:lnTo>
                    <a:pt x="165" y="173"/>
                  </a:lnTo>
                  <a:lnTo>
                    <a:pt x="165" y="171"/>
                  </a:lnTo>
                  <a:lnTo>
                    <a:pt x="165" y="171"/>
                  </a:lnTo>
                  <a:lnTo>
                    <a:pt x="165" y="168"/>
                  </a:lnTo>
                  <a:lnTo>
                    <a:pt x="168" y="168"/>
                  </a:lnTo>
                  <a:lnTo>
                    <a:pt x="171" y="166"/>
                  </a:lnTo>
                  <a:lnTo>
                    <a:pt x="173" y="166"/>
                  </a:lnTo>
                  <a:lnTo>
                    <a:pt x="176" y="166"/>
                  </a:lnTo>
                  <a:lnTo>
                    <a:pt x="176" y="166"/>
                  </a:lnTo>
                  <a:lnTo>
                    <a:pt x="178" y="166"/>
                  </a:lnTo>
                  <a:lnTo>
                    <a:pt x="183" y="168"/>
                  </a:lnTo>
                  <a:lnTo>
                    <a:pt x="183" y="168"/>
                  </a:lnTo>
                  <a:lnTo>
                    <a:pt x="183" y="168"/>
                  </a:lnTo>
                  <a:lnTo>
                    <a:pt x="186" y="168"/>
                  </a:lnTo>
                  <a:lnTo>
                    <a:pt x="191" y="171"/>
                  </a:lnTo>
                  <a:lnTo>
                    <a:pt x="191" y="171"/>
                  </a:lnTo>
                  <a:lnTo>
                    <a:pt x="193" y="171"/>
                  </a:lnTo>
                  <a:lnTo>
                    <a:pt x="193" y="16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293" name="Freeform 1912">
              <a:extLst>
                <a:ext uri="{FF2B5EF4-FFF2-40B4-BE49-F238E27FC236}">
                  <a16:creationId xmlns:a16="http://schemas.microsoft.com/office/drawing/2014/main" id="{1CB9F520-5FC2-F04F-A09A-6334C60A7D39}"/>
                </a:ext>
              </a:extLst>
            </p:cNvPr>
            <p:cNvSpPr>
              <a:spLocks noEditPoints="1"/>
            </p:cNvSpPr>
            <p:nvPr/>
          </p:nvSpPr>
          <p:spPr bwMode="auto">
            <a:xfrm>
              <a:off x="6976075" y="2319153"/>
              <a:ext cx="659202" cy="549607"/>
            </a:xfrm>
            <a:custGeom>
              <a:avLst/>
              <a:gdLst>
                <a:gd name="T0" fmla="*/ 247 w 403"/>
                <a:gd name="T1" fmla="*/ 300 h 336"/>
                <a:gd name="T2" fmla="*/ 262 w 403"/>
                <a:gd name="T3" fmla="*/ 298 h 336"/>
                <a:gd name="T4" fmla="*/ 400 w 403"/>
                <a:gd name="T5" fmla="*/ 288 h 336"/>
                <a:gd name="T6" fmla="*/ 390 w 403"/>
                <a:gd name="T7" fmla="*/ 270 h 336"/>
                <a:gd name="T8" fmla="*/ 372 w 403"/>
                <a:gd name="T9" fmla="*/ 257 h 336"/>
                <a:gd name="T10" fmla="*/ 346 w 403"/>
                <a:gd name="T11" fmla="*/ 227 h 336"/>
                <a:gd name="T12" fmla="*/ 352 w 403"/>
                <a:gd name="T13" fmla="*/ 194 h 336"/>
                <a:gd name="T14" fmla="*/ 336 w 403"/>
                <a:gd name="T15" fmla="*/ 166 h 336"/>
                <a:gd name="T16" fmla="*/ 334 w 403"/>
                <a:gd name="T17" fmla="*/ 143 h 336"/>
                <a:gd name="T18" fmla="*/ 331 w 403"/>
                <a:gd name="T19" fmla="*/ 125 h 336"/>
                <a:gd name="T20" fmla="*/ 334 w 403"/>
                <a:gd name="T21" fmla="*/ 117 h 336"/>
                <a:gd name="T22" fmla="*/ 334 w 403"/>
                <a:gd name="T23" fmla="*/ 104 h 336"/>
                <a:gd name="T24" fmla="*/ 334 w 403"/>
                <a:gd name="T25" fmla="*/ 94 h 336"/>
                <a:gd name="T26" fmla="*/ 329 w 403"/>
                <a:gd name="T27" fmla="*/ 74 h 336"/>
                <a:gd name="T28" fmla="*/ 295 w 403"/>
                <a:gd name="T29" fmla="*/ 59 h 336"/>
                <a:gd name="T30" fmla="*/ 278 w 403"/>
                <a:gd name="T31" fmla="*/ 48 h 336"/>
                <a:gd name="T32" fmla="*/ 255 w 403"/>
                <a:gd name="T33" fmla="*/ 43 h 336"/>
                <a:gd name="T34" fmla="*/ 242 w 403"/>
                <a:gd name="T35" fmla="*/ 36 h 336"/>
                <a:gd name="T36" fmla="*/ 229 w 403"/>
                <a:gd name="T37" fmla="*/ 41 h 336"/>
                <a:gd name="T38" fmla="*/ 204 w 403"/>
                <a:gd name="T39" fmla="*/ 54 h 336"/>
                <a:gd name="T40" fmla="*/ 194 w 403"/>
                <a:gd name="T41" fmla="*/ 69 h 336"/>
                <a:gd name="T42" fmla="*/ 153 w 403"/>
                <a:gd name="T43" fmla="*/ 74 h 336"/>
                <a:gd name="T44" fmla="*/ 107 w 403"/>
                <a:gd name="T45" fmla="*/ 54 h 336"/>
                <a:gd name="T46" fmla="*/ 92 w 403"/>
                <a:gd name="T47" fmla="*/ 31 h 336"/>
                <a:gd name="T48" fmla="*/ 74 w 403"/>
                <a:gd name="T49" fmla="*/ 23 h 336"/>
                <a:gd name="T50" fmla="*/ 76 w 403"/>
                <a:gd name="T51" fmla="*/ 15 h 336"/>
                <a:gd name="T52" fmla="*/ 69 w 403"/>
                <a:gd name="T53" fmla="*/ 3 h 336"/>
                <a:gd name="T54" fmla="*/ 48 w 403"/>
                <a:gd name="T55" fmla="*/ 20 h 336"/>
                <a:gd name="T56" fmla="*/ 23 w 403"/>
                <a:gd name="T57" fmla="*/ 15 h 336"/>
                <a:gd name="T58" fmla="*/ 7 w 403"/>
                <a:gd name="T59" fmla="*/ 0 h 336"/>
                <a:gd name="T60" fmla="*/ 0 w 403"/>
                <a:gd name="T61" fmla="*/ 10 h 336"/>
                <a:gd name="T62" fmla="*/ 5 w 403"/>
                <a:gd name="T63" fmla="*/ 20 h 336"/>
                <a:gd name="T64" fmla="*/ 10 w 403"/>
                <a:gd name="T65" fmla="*/ 33 h 336"/>
                <a:gd name="T66" fmla="*/ 10 w 403"/>
                <a:gd name="T67" fmla="*/ 43 h 336"/>
                <a:gd name="T68" fmla="*/ 15 w 403"/>
                <a:gd name="T69" fmla="*/ 56 h 336"/>
                <a:gd name="T70" fmla="*/ 23 w 403"/>
                <a:gd name="T71" fmla="*/ 71 h 336"/>
                <a:gd name="T72" fmla="*/ 30 w 403"/>
                <a:gd name="T73" fmla="*/ 79 h 336"/>
                <a:gd name="T74" fmla="*/ 46 w 403"/>
                <a:gd name="T75" fmla="*/ 92 h 336"/>
                <a:gd name="T76" fmla="*/ 51 w 403"/>
                <a:gd name="T77" fmla="*/ 104 h 336"/>
                <a:gd name="T78" fmla="*/ 43 w 403"/>
                <a:gd name="T79" fmla="*/ 120 h 336"/>
                <a:gd name="T80" fmla="*/ 41 w 403"/>
                <a:gd name="T81" fmla="*/ 135 h 336"/>
                <a:gd name="T82" fmla="*/ 51 w 403"/>
                <a:gd name="T83" fmla="*/ 145 h 336"/>
                <a:gd name="T84" fmla="*/ 61 w 403"/>
                <a:gd name="T85" fmla="*/ 158 h 336"/>
                <a:gd name="T86" fmla="*/ 87 w 403"/>
                <a:gd name="T87" fmla="*/ 178 h 336"/>
                <a:gd name="T88" fmla="*/ 97 w 403"/>
                <a:gd name="T89" fmla="*/ 209 h 336"/>
                <a:gd name="T90" fmla="*/ 107 w 403"/>
                <a:gd name="T91" fmla="*/ 222 h 336"/>
                <a:gd name="T92" fmla="*/ 117 w 403"/>
                <a:gd name="T93" fmla="*/ 219 h 336"/>
                <a:gd name="T94" fmla="*/ 120 w 403"/>
                <a:gd name="T95" fmla="*/ 216 h 336"/>
                <a:gd name="T96" fmla="*/ 143 w 403"/>
                <a:gd name="T97" fmla="*/ 227 h 336"/>
                <a:gd name="T98" fmla="*/ 155 w 403"/>
                <a:gd name="T99" fmla="*/ 250 h 336"/>
                <a:gd name="T100" fmla="*/ 176 w 403"/>
                <a:gd name="T101" fmla="*/ 272 h 336"/>
                <a:gd name="T102" fmla="*/ 211 w 403"/>
                <a:gd name="T103" fmla="*/ 293 h 336"/>
                <a:gd name="T104" fmla="*/ 245 w 403"/>
                <a:gd name="T105" fmla="*/ 298 h 336"/>
                <a:gd name="T106" fmla="*/ 275 w 403"/>
                <a:gd name="T107" fmla="*/ 290 h 336"/>
                <a:gd name="T108" fmla="*/ 290 w 403"/>
                <a:gd name="T109" fmla="*/ 321 h 336"/>
                <a:gd name="T110" fmla="*/ 329 w 403"/>
                <a:gd name="T111" fmla="*/ 328 h 336"/>
                <a:gd name="T112" fmla="*/ 357 w 403"/>
                <a:gd name="T113" fmla="*/ 331 h 336"/>
                <a:gd name="T114" fmla="*/ 374 w 403"/>
                <a:gd name="T115" fmla="*/ 321 h 336"/>
                <a:gd name="T116" fmla="*/ 385 w 403"/>
                <a:gd name="T117" fmla="*/ 308 h 336"/>
                <a:gd name="T118" fmla="*/ 403 w 403"/>
                <a:gd name="T119" fmla="*/ 30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03" h="336">
                  <a:moveTo>
                    <a:pt x="262" y="293"/>
                  </a:moveTo>
                  <a:lnTo>
                    <a:pt x="260" y="295"/>
                  </a:lnTo>
                  <a:lnTo>
                    <a:pt x="257" y="293"/>
                  </a:lnTo>
                  <a:lnTo>
                    <a:pt x="257" y="295"/>
                  </a:lnTo>
                  <a:lnTo>
                    <a:pt x="257" y="295"/>
                  </a:lnTo>
                  <a:lnTo>
                    <a:pt x="257" y="298"/>
                  </a:lnTo>
                  <a:lnTo>
                    <a:pt x="252" y="300"/>
                  </a:lnTo>
                  <a:lnTo>
                    <a:pt x="250" y="300"/>
                  </a:lnTo>
                  <a:lnTo>
                    <a:pt x="247" y="300"/>
                  </a:lnTo>
                  <a:lnTo>
                    <a:pt x="247" y="300"/>
                  </a:lnTo>
                  <a:lnTo>
                    <a:pt x="250" y="303"/>
                  </a:lnTo>
                  <a:lnTo>
                    <a:pt x="250" y="303"/>
                  </a:lnTo>
                  <a:lnTo>
                    <a:pt x="250" y="303"/>
                  </a:lnTo>
                  <a:lnTo>
                    <a:pt x="252" y="300"/>
                  </a:lnTo>
                  <a:lnTo>
                    <a:pt x="255" y="300"/>
                  </a:lnTo>
                  <a:lnTo>
                    <a:pt x="257" y="300"/>
                  </a:lnTo>
                  <a:lnTo>
                    <a:pt x="260" y="298"/>
                  </a:lnTo>
                  <a:lnTo>
                    <a:pt x="260" y="298"/>
                  </a:lnTo>
                  <a:lnTo>
                    <a:pt x="260" y="300"/>
                  </a:lnTo>
                  <a:lnTo>
                    <a:pt x="262" y="298"/>
                  </a:lnTo>
                  <a:lnTo>
                    <a:pt x="265" y="295"/>
                  </a:lnTo>
                  <a:lnTo>
                    <a:pt x="267" y="293"/>
                  </a:lnTo>
                  <a:lnTo>
                    <a:pt x="265" y="293"/>
                  </a:lnTo>
                  <a:lnTo>
                    <a:pt x="262" y="293"/>
                  </a:lnTo>
                  <a:close/>
                  <a:moveTo>
                    <a:pt x="403" y="290"/>
                  </a:moveTo>
                  <a:lnTo>
                    <a:pt x="403" y="290"/>
                  </a:lnTo>
                  <a:lnTo>
                    <a:pt x="403" y="290"/>
                  </a:lnTo>
                  <a:lnTo>
                    <a:pt x="403" y="288"/>
                  </a:lnTo>
                  <a:lnTo>
                    <a:pt x="400" y="288"/>
                  </a:lnTo>
                  <a:lnTo>
                    <a:pt x="400" y="288"/>
                  </a:lnTo>
                  <a:lnTo>
                    <a:pt x="395" y="288"/>
                  </a:lnTo>
                  <a:lnTo>
                    <a:pt x="392" y="288"/>
                  </a:lnTo>
                  <a:lnTo>
                    <a:pt x="392" y="288"/>
                  </a:lnTo>
                  <a:lnTo>
                    <a:pt x="392" y="288"/>
                  </a:lnTo>
                  <a:lnTo>
                    <a:pt x="392" y="285"/>
                  </a:lnTo>
                  <a:lnTo>
                    <a:pt x="392" y="285"/>
                  </a:lnTo>
                  <a:lnTo>
                    <a:pt x="392" y="283"/>
                  </a:lnTo>
                  <a:lnTo>
                    <a:pt x="392" y="283"/>
                  </a:lnTo>
                  <a:lnTo>
                    <a:pt x="390" y="275"/>
                  </a:lnTo>
                  <a:lnTo>
                    <a:pt x="390" y="270"/>
                  </a:lnTo>
                  <a:lnTo>
                    <a:pt x="390" y="265"/>
                  </a:lnTo>
                  <a:lnTo>
                    <a:pt x="390" y="265"/>
                  </a:lnTo>
                  <a:lnTo>
                    <a:pt x="390" y="265"/>
                  </a:lnTo>
                  <a:lnTo>
                    <a:pt x="387" y="265"/>
                  </a:lnTo>
                  <a:lnTo>
                    <a:pt x="385" y="265"/>
                  </a:lnTo>
                  <a:lnTo>
                    <a:pt x="382" y="262"/>
                  </a:lnTo>
                  <a:lnTo>
                    <a:pt x="382" y="260"/>
                  </a:lnTo>
                  <a:lnTo>
                    <a:pt x="377" y="260"/>
                  </a:lnTo>
                  <a:lnTo>
                    <a:pt x="374" y="260"/>
                  </a:lnTo>
                  <a:lnTo>
                    <a:pt x="372" y="257"/>
                  </a:lnTo>
                  <a:lnTo>
                    <a:pt x="369" y="255"/>
                  </a:lnTo>
                  <a:lnTo>
                    <a:pt x="367" y="252"/>
                  </a:lnTo>
                  <a:lnTo>
                    <a:pt x="364" y="250"/>
                  </a:lnTo>
                  <a:lnTo>
                    <a:pt x="362" y="247"/>
                  </a:lnTo>
                  <a:lnTo>
                    <a:pt x="359" y="242"/>
                  </a:lnTo>
                  <a:lnTo>
                    <a:pt x="359" y="239"/>
                  </a:lnTo>
                  <a:lnTo>
                    <a:pt x="359" y="239"/>
                  </a:lnTo>
                  <a:lnTo>
                    <a:pt x="354" y="234"/>
                  </a:lnTo>
                  <a:lnTo>
                    <a:pt x="352" y="232"/>
                  </a:lnTo>
                  <a:lnTo>
                    <a:pt x="346" y="227"/>
                  </a:lnTo>
                  <a:lnTo>
                    <a:pt x="349" y="227"/>
                  </a:lnTo>
                  <a:lnTo>
                    <a:pt x="352" y="222"/>
                  </a:lnTo>
                  <a:lnTo>
                    <a:pt x="354" y="216"/>
                  </a:lnTo>
                  <a:lnTo>
                    <a:pt x="359" y="211"/>
                  </a:lnTo>
                  <a:lnTo>
                    <a:pt x="362" y="206"/>
                  </a:lnTo>
                  <a:lnTo>
                    <a:pt x="362" y="204"/>
                  </a:lnTo>
                  <a:lnTo>
                    <a:pt x="362" y="201"/>
                  </a:lnTo>
                  <a:lnTo>
                    <a:pt x="359" y="196"/>
                  </a:lnTo>
                  <a:lnTo>
                    <a:pt x="359" y="194"/>
                  </a:lnTo>
                  <a:lnTo>
                    <a:pt x="352" y="194"/>
                  </a:lnTo>
                  <a:lnTo>
                    <a:pt x="346" y="191"/>
                  </a:lnTo>
                  <a:lnTo>
                    <a:pt x="341" y="191"/>
                  </a:lnTo>
                  <a:lnTo>
                    <a:pt x="341" y="191"/>
                  </a:lnTo>
                  <a:lnTo>
                    <a:pt x="341" y="186"/>
                  </a:lnTo>
                  <a:lnTo>
                    <a:pt x="341" y="186"/>
                  </a:lnTo>
                  <a:lnTo>
                    <a:pt x="339" y="181"/>
                  </a:lnTo>
                  <a:lnTo>
                    <a:pt x="339" y="181"/>
                  </a:lnTo>
                  <a:lnTo>
                    <a:pt x="339" y="176"/>
                  </a:lnTo>
                  <a:lnTo>
                    <a:pt x="339" y="173"/>
                  </a:lnTo>
                  <a:lnTo>
                    <a:pt x="336" y="166"/>
                  </a:lnTo>
                  <a:lnTo>
                    <a:pt x="334" y="160"/>
                  </a:lnTo>
                  <a:lnTo>
                    <a:pt x="331" y="158"/>
                  </a:lnTo>
                  <a:lnTo>
                    <a:pt x="331" y="155"/>
                  </a:lnTo>
                  <a:lnTo>
                    <a:pt x="331" y="153"/>
                  </a:lnTo>
                  <a:lnTo>
                    <a:pt x="334" y="150"/>
                  </a:lnTo>
                  <a:lnTo>
                    <a:pt x="334" y="148"/>
                  </a:lnTo>
                  <a:lnTo>
                    <a:pt x="336" y="145"/>
                  </a:lnTo>
                  <a:lnTo>
                    <a:pt x="336" y="145"/>
                  </a:lnTo>
                  <a:lnTo>
                    <a:pt x="336" y="145"/>
                  </a:lnTo>
                  <a:lnTo>
                    <a:pt x="334" y="143"/>
                  </a:lnTo>
                  <a:lnTo>
                    <a:pt x="331" y="143"/>
                  </a:lnTo>
                  <a:lnTo>
                    <a:pt x="329" y="143"/>
                  </a:lnTo>
                  <a:lnTo>
                    <a:pt x="329" y="143"/>
                  </a:lnTo>
                  <a:lnTo>
                    <a:pt x="329" y="140"/>
                  </a:lnTo>
                  <a:lnTo>
                    <a:pt x="329" y="138"/>
                  </a:lnTo>
                  <a:lnTo>
                    <a:pt x="326" y="132"/>
                  </a:lnTo>
                  <a:lnTo>
                    <a:pt x="329" y="130"/>
                  </a:lnTo>
                  <a:lnTo>
                    <a:pt x="329" y="127"/>
                  </a:lnTo>
                  <a:lnTo>
                    <a:pt x="334" y="127"/>
                  </a:lnTo>
                  <a:lnTo>
                    <a:pt x="331" y="125"/>
                  </a:lnTo>
                  <a:lnTo>
                    <a:pt x="331" y="122"/>
                  </a:lnTo>
                  <a:lnTo>
                    <a:pt x="329" y="122"/>
                  </a:lnTo>
                  <a:lnTo>
                    <a:pt x="329" y="122"/>
                  </a:lnTo>
                  <a:lnTo>
                    <a:pt x="329" y="122"/>
                  </a:lnTo>
                  <a:lnTo>
                    <a:pt x="331" y="122"/>
                  </a:lnTo>
                  <a:lnTo>
                    <a:pt x="331" y="120"/>
                  </a:lnTo>
                  <a:lnTo>
                    <a:pt x="331" y="120"/>
                  </a:lnTo>
                  <a:lnTo>
                    <a:pt x="334" y="120"/>
                  </a:lnTo>
                  <a:lnTo>
                    <a:pt x="334" y="117"/>
                  </a:lnTo>
                  <a:lnTo>
                    <a:pt x="334" y="117"/>
                  </a:lnTo>
                  <a:lnTo>
                    <a:pt x="334" y="115"/>
                  </a:lnTo>
                  <a:lnTo>
                    <a:pt x="334" y="115"/>
                  </a:lnTo>
                  <a:lnTo>
                    <a:pt x="334" y="112"/>
                  </a:lnTo>
                  <a:lnTo>
                    <a:pt x="334" y="112"/>
                  </a:lnTo>
                  <a:lnTo>
                    <a:pt x="334" y="110"/>
                  </a:lnTo>
                  <a:lnTo>
                    <a:pt x="336" y="110"/>
                  </a:lnTo>
                  <a:lnTo>
                    <a:pt x="334" y="107"/>
                  </a:lnTo>
                  <a:lnTo>
                    <a:pt x="334" y="107"/>
                  </a:lnTo>
                  <a:lnTo>
                    <a:pt x="334" y="104"/>
                  </a:lnTo>
                  <a:lnTo>
                    <a:pt x="334" y="104"/>
                  </a:lnTo>
                  <a:lnTo>
                    <a:pt x="334" y="104"/>
                  </a:lnTo>
                  <a:lnTo>
                    <a:pt x="334" y="102"/>
                  </a:lnTo>
                  <a:lnTo>
                    <a:pt x="336" y="102"/>
                  </a:lnTo>
                  <a:lnTo>
                    <a:pt x="336" y="99"/>
                  </a:lnTo>
                  <a:lnTo>
                    <a:pt x="336" y="99"/>
                  </a:lnTo>
                  <a:lnTo>
                    <a:pt x="336" y="99"/>
                  </a:lnTo>
                  <a:lnTo>
                    <a:pt x="336" y="97"/>
                  </a:lnTo>
                  <a:lnTo>
                    <a:pt x="334" y="97"/>
                  </a:lnTo>
                  <a:lnTo>
                    <a:pt x="334" y="94"/>
                  </a:lnTo>
                  <a:lnTo>
                    <a:pt x="334" y="94"/>
                  </a:lnTo>
                  <a:lnTo>
                    <a:pt x="334" y="92"/>
                  </a:lnTo>
                  <a:lnTo>
                    <a:pt x="334" y="89"/>
                  </a:lnTo>
                  <a:lnTo>
                    <a:pt x="331" y="89"/>
                  </a:lnTo>
                  <a:lnTo>
                    <a:pt x="331" y="87"/>
                  </a:lnTo>
                  <a:lnTo>
                    <a:pt x="331" y="87"/>
                  </a:lnTo>
                  <a:lnTo>
                    <a:pt x="331" y="87"/>
                  </a:lnTo>
                  <a:lnTo>
                    <a:pt x="331" y="84"/>
                  </a:lnTo>
                  <a:lnTo>
                    <a:pt x="331" y="82"/>
                  </a:lnTo>
                  <a:lnTo>
                    <a:pt x="331" y="79"/>
                  </a:lnTo>
                  <a:lnTo>
                    <a:pt x="329" y="74"/>
                  </a:lnTo>
                  <a:lnTo>
                    <a:pt x="329" y="74"/>
                  </a:lnTo>
                  <a:lnTo>
                    <a:pt x="321" y="74"/>
                  </a:lnTo>
                  <a:lnTo>
                    <a:pt x="313" y="74"/>
                  </a:lnTo>
                  <a:lnTo>
                    <a:pt x="313" y="74"/>
                  </a:lnTo>
                  <a:lnTo>
                    <a:pt x="311" y="69"/>
                  </a:lnTo>
                  <a:lnTo>
                    <a:pt x="308" y="66"/>
                  </a:lnTo>
                  <a:lnTo>
                    <a:pt x="306" y="64"/>
                  </a:lnTo>
                  <a:lnTo>
                    <a:pt x="301" y="61"/>
                  </a:lnTo>
                  <a:lnTo>
                    <a:pt x="298" y="61"/>
                  </a:lnTo>
                  <a:lnTo>
                    <a:pt x="295" y="59"/>
                  </a:lnTo>
                  <a:lnTo>
                    <a:pt x="293" y="56"/>
                  </a:lnTo>
                  <a:lnTo>
                    <a:pt x="293" y="54"/>
                  </a:lnTo>
                  <a:lnTo>
                    <a:pt x="290" y="54"/>
                  </a:lnTo>
                  <a:lnTo>
                    <a:pt x="290" y="54"/>
                  </a:lnTo>
                  <a:lnTo>
                    <a:pt x="290" y="54"/>
                  </a:lnTo>
                  <a:lnTo>
                    <a:pt x="290" y="54"/>
                  </a:lnTo>
                  <a:lnTo>
                    <a:pt x="283" y="48"/>
                  </a:lnTo>
                  <a:lnTo>
                    <a:pt x="280" y="48"/>
                  </a:lnTo>
                  <a:lnTo>
                    <a:pt x="278" y="48"/>
                  </a:lnTo>
                  <a:lnTo>
                    <a:pt x="278" y="48"/>
                  </a:lnTo>
                  <a:lnTo>
                    <a:pt x="275" y="48"/>
                  </a:lnTo>
                  <a:lnTo>
                    <a:pt x="275" y="51"/>
                  </a:lnTo>
                  <a:lnTo>
                    <a:pt x="273" y="51"/>
                  </a:lnTo>
                  <a:lnTo>
                    <a:pt x="273" y="48"/>
                  </a:lnTo>
                  <a:lnTo>
                    <a:pt x="270" y="48"/>
                  </a:lnTo>
                  <a:lnTo>
                    <a:pt x="267" y="46"/>
                  </a:lnTo>
                  <a:lnTo>
                    <a:pt x="265" y="46"/>
                  </a:lnTo>
                  <a:lnTo>
                    <a:pt x="262" y="46"/>
                  </a:lnTo>
                  <a:lnTo>
                    <a:pt x="260" y="43"/>
                  </a:lnTo>
                  <a:lnTo>
                    <a:pt x="255" y="43"/>
                  </a:lnTo>
                  <a:lnTo>
                    <a:pt x="255" y="43"/>
                  </a:lnTo>
                  <a:lnTo>
                    <a:pt x="252" y="43"/>
                  </a:lnTo>
                  <a:lnTo>
                    <a:pt x="252" y="41"/>
                  </a:lnTo>
                  <a:lnTo>
                    <a:pt x="252" y="41"/>
                  </a:lnTo>
                  <a:lnTo>
                    <a:pt x="252" y="38"/>
                  </a:lnTo>
                  <a:lnTo>
                    <a:pt x="250" y="38"/>
                  </a:lnTo>
                  <a:lnTo>
                    <a:pt x="250" y="38"/>
                  </a:lnTo>
                  <a:lnTo>
                    <a:pt x="247" y="36"/>
                  </a:lnTo>
                  <a:lnTo>
                    <a:pt x="247" y="36"/>
                  </a:lnTo>
                  <a:lnTo>
                    <a:pt x="242" y="36"/>
                  </a:lnTo>
                  <a:lnTo>
                    <a:pt x="239" y="36"/>
                  </a:lnTo>
                  <a:lnTo>
                    <a:pt x="239" y="36"/>
                  </a:lnTo>
                  <a:lnTo>
                    <a:pt x="237" y="36"/>
                  </a:lnTo>
                  <a:lnTo>
                    <a:pt x="234" y="36"/>
                  </a:lnTo>
                  <a:lnTo>
                    <a:pt x="232" y="36"/>
                  </a:lnTo>
                  <a:lnTo>
                    <a:pt x="232" y="38"/>
                  </a:lnTo>
                  <a:lnTo>
                    <a:pt x="232" y="38"/>
                  </a:lnTo>
                  <a:lnTo>
                    <a:pt x="232" y="41"/>
                  </a:lnTo>
                  <a:lnTo>
                    <a:pt x="232" y="41"/>
                  </a:lnTo>
                  <a:lnTo>
                    <a:pt x="229" y="41"/>
                  </a:lnTo>
                  <a:lnTo>
                    <a:pt x="227" y="41"/>
                  </a:lnTo>
                  <a:lnTo>
                    <a:pt x="224" y="38"/>
                  </a:lnTo>
                  <a:lnTo>
                    <a:pt x="219" y="38"/>
                  </a:lnTo>
                  <a:lnTo>
                    <a:pt x="214" y="41"/>
                  </a:lnTo>
                  <a:lnTo>
                    <a:pt x="211" y="41"/>
                  </a:lnTo>
                  <a:lnTo>
                    <a:pt x="209" y="43"/>
                  </a:lnTo>
                  <a:lnTo>
                    <a:pt x="206" y="46"/>
                  </a:lnTo>
                  <a:lnTo>
                    <a:pt x="206" y="48"/>
                  </a:lnTo>
                  <a:lnTo>
                    <a:pt x="206" y="54"/>
                  </a:lnTo>
                  <a:lnTo>
                    <a:pt x="204" y="54"/>
                  </a:lnTo>
                  <a:lnTo>
                    <a:pt x="204" y="54"/>
                  </a:lnTo>
                  <a:lnTo>
                    <a:pt x="201" y="54"/>
                  </a:lnTo>
                  <a:lnTo>
                    <a:pt x="201" y="56"/>
                  </a:lnTo>
                  <a:lnTo>
                    <a:pt x="199" y="56"/>
                  </a:lnTo>
                  <a:lnTo>
                    <a:pt x="196" y="56"/>
                  </a:lnTo>
                  <a:lnTo>
                    <a:pt x="191" y="56"/>
                  </a:lnTo>
                  <a:lnTo>
                    <a:pt x="191" y="61"/>
                  </a:lnTo>
                  <a:lnTo>
                    <a:pt x="194" y="66"/>
                  </a:lnTo>
                  <a:lnTo>
                    <a:pt x="194" y="66"/>
                  </a:lnTo>
                  <a:lnTo>
                    <a:pt x="194" y="69"/>
                  </a:lnTo>
                  <a:lnTo>
                    <a:pt x="194" y="69"/>
                  </a:lnTo>
                  <a:lnTo>
                    <a:pt x="191" y="69"/>
                  </a:lnTo>
                  <a:lnTo>
                    <a:pt x="188" y="69"/>
                  </a:lnTo>
                  <a:lnTo>
                    <a:pt x="188" y="69"/>
                  </a:lnTo>
                  <a:lnTo>
                    <a:pt x="191" y="66"/>
                  </a:lnTo>
                  <a:lnTo>
                    <a:pt x="191" y="66"/>
                  </a:lnTo>
                  <a:lnTo>
                    <a:pt x="188" y="66"/>
                  </a:lnTo>
                  <a:lnTo>
                    <a:pt x="181" y="69"/>
                  </a:lnTo>
                  <a:lnTo>
                    <a:pt x="160" y="74"/>
                  </a:lnTo>
                  <a:lnTo>
                    <a:pt x="153" y="74"/>
                  </a:lnTo>
                  <a:lnTo>
                    <a:pt x="140" y="71"/>
                  </a:lnTo>
                  <a:lnTo>
                    <a:pt x="135" y="69"/>
                  </a:lnTo>
                  <a:lnTo>
                    <a:pt x="127" y="64"/>
                  </a:lnTo>
                  <a:lnTo>
                    <a:pt x="125" y="61"/>
                  </a:lnTo>
                  <a:lnTo>
                    <a:pt x="120" y="56"/>
                  </a:lnTo>
                  <a:lnTo>
                    <a:pt x="120" y="56"/>
                  </a:lnTo>
                  <a:lnTo>
                    <a:pt x="120" y="56"/>
                  </a:lnTo>
                  <a:lnTo>
                    <a:pt x="117" y="54"/>
                  </a:lnTo>
                  <a:lnTo>
                    <a:pt x="112" y="54"/>
                  </a:lnTo>
                  <a:lnTo>
                    <a:pt x="107" y="54"/>
                  </a:lnTo>
                  <a:lnTo>
                    <a:pt x="104" y="54"/>
                  </a:lnTo>
                  <a:lnTo>
                    <a:pt x="99" y="51"/>
                  </a:lnTo>
                  <a:lnTo>
                    <a:pt x="99" y="48"/>
                  </a:lnTo>
                  <a:lnTo>
                    <a:pt x="97" y="46"/>
                  </a:lnTo>
                  <a:lnTo>
                    <a:pt x="97" y="43"/>
                  </a:lnTo>
                  <a:lnTo>
                    <a:pt x="94" y="41"/>
                  </a:lnTo>
                  <a:lnTo>
                    <a:pt x="94" y="38"/>
                  </a:lnTo>
                  <a:lnTo>
                    <a:pt x="92" y="33"/>
                  </a:lnTo>
                  <a:lnTo>
                    <a:pt x="92" y="31"/>
                  </a:lnTo>
                  <a:lnTo>
                    <a:pt x="92" y="31"/>
                  </a:lnTo>
                  <a:lnTo>
                    <a:pt x="87" y="33"/>
                  </a:lnTo>
                  <a:lnTo>
                    <a:pt x="87" y="33"/>
                  </a:lnTo>
                  <a:lnTo>
                    <a:pt x="84" y="28"/>
                  </a:lnTo>
                  <a:lnTo>
                    <a:pt x="81" y="28"/>
                  </a:lnTo>
                  <a:lnTo>
                    <a:pt x="81" y="28"/>
                  </a:lnTo>
                  <a:lnTo>
                    <a:pt x="79" y="26"/>
                  </a:lnTo>
                  <a:lnTo>
                    <a:pt x="79" y="26"/>
                  </a:lnTo>
                  <a:lnTo>
                    <a:pt x="79" y="26"/>
                  </a:lnTo>
                  <a:lnTo>
                    <a:pt x="74" y="23"/>
                  </a:lnTo>
                  <a:lnTo>
                    <a:pt x="74" y="23"/>
                  </a:lnTo>
                  <a:lnTo>
                    <a:pt x="74" y="20"/>
                  </a:lnTo>
                  <a:lnTo>
                    <a:pt x="74" y="20"/>
                  </a:lnTo>
                  <a:lnTo>
                    <a:pt x="76" y="20"/>
                  </a:lnTo>
                  <a:lnTo>
                    <a:pt x="76" y="20"/>
                  </a:lnTo>
                  <a:lnTo>
                    <a:pt x="79" y="18"/>
                  </a:lnTo>
                  <a:lnTo>
                    <a:pt x="79" y="18"/>
                  </a:lnTo>
                  <a:lnTo>
                    <a:pt x="79" y="18"/>
                  </a:lnTo>
                  <a:lnTo>
                    <a:pt x="79" y="18"/>
                  </a:lnTo>
                  <a:lnTo>
                    <a:pt x="79" y="15"/>
                  </a:lnTo>
                  <a:lnTo>
                    <a:pt x="76" y="15"/>
                  </a:lnTo>
                  <a:lnTo>
                    <a:pt x="76" y="13"/>
                  </a:lnTo>
                  <a:lnTo>
                    <a:pt x="76" y="13"/>
                  </a:lnTo>
                  <a:lnTo>
                    <a:pt x="76" y="13"/>
                  </a:lnTo>
                  <a:lnTo>
                    <a:pt x="76" y="10"/>
                  </a:lnTo>
                  <a:lnTo>
                    <a:pt x="76" y="10"/>
                  </a:lnTo>
                  <a:lnTo>
                    <a:pt x="79" y="10"/>
                  </a:lnTo>
                  <a:lnTo>
                    <a:pt x="79" y="8"/>
                  </a:lnTo>
                  <a:lnTo>
                    <a:pt x="74" y="5"/>
                  </a:lnTo>
                  <a:lnTo>
                    <a:pt x="71" y="3"/>
                  </a:lnTo>
                  <a:lnTo>
                    <a:pt x="69" y="3"/>
                  </a:lnTo>
                  <a:lnTo>
                    <a:pt x="69" y="3"/>
                  </a:lnTo>
                  <a:lnTo>
                    <a:pt x="64" y="5"/>
                  </a:lnTo>
                  <a:lnTo>
                    <a:pt x="64" y="8"/>
                  </a:lnTo>
                  <a:lnTo>
                    <a:pt x="61" y="8"/>
                  </a:lnTo>
                  <a:lnTo>
                    <a:pt x="58" y="10"/>
                  </a:lnTo>
                  <a:lnTo>
                    <a:pt x="56" y="13"/>
                  </a:lnTo>
                  <a:lnTo>
                    <a:pt x="53" y="15"/>
                  </a:lnTo>
                  <a:lnTo>
                    <a:pt x="51" y="15"/>
                  </a:lnTo>
                  <a:lnTo>
                    <a:pt x="51" y="15"/>
                  </a:lnTo>
                  <a:lnTo>
                    <a:pt x="48" y="20"/>
                  </a:lnTo>
                  <a:lnTo>
                    <a:pt x="46" y="20"/>
                  </a:lnTo>
                  <a:lnTo>
                    <a:pt x="43" y="20"/>
                  </a:lnTo>
                  <a:lnTo>
                    <a:pt x="41" y="20"/>
                  </a:lnTo>
                  <a:lnTo>
                    <a:pt x="38" y="20"/>
                  </a:lnTo>
                  <a:lnTo>
                    <a:pt x="36" y="20"/>
                  </a:lnTo>
                  <a:lnTo>
                    <a:pt x="28" y="18"/>
                  </a:lnTo>
                  <a:lnTo>
                    <a:pt x="28" y="18"/>
                  </a:lnTo>
                  <a:lnTo>
                    <a:pt x="25" y="15"/>
                  </a:lnTo>
                  <a:lnTo>
                    <a:pt x="23" y="15"/>
                  </a:lnTo>
                  <a:lnTo>
                    <a:pt x="23" y="15"/>
                  </a:lnTo>
                  <a:lnTo>
                    <a:pt x="20" y="13"/>
                  </a:lnTo>
                  <a:lnTo>
                    <a:pt x="20" y="13"/>
                  </a:lnTo>
                  <a:lnTo>
                    <a:pt x="20" y="10"/>
                  </a:lnTo>
                  <a:lnTo>
                    <a:pt x="18" y="10"/>
                  </a:lnTo>
                  <a:lnTo>
                    <a:pt x="18" y="8"/>
                  </a:lnTo>
                  <a:lnTo>
                    <a:pt x="13" y="5"/>
                  </a:lnTo>
                  <a:lnTo>
                    <a:pt x="13" y="3"/>
                  </a:lnTo>
                  <a:lnTo>
                    <a:pt x="13" y="3"/>
                  </a:lnTo>
                  <a:lnTo>
                    <a:pt x="10" y="3"/>
                  </a:lnTo>
                  <a:lnTo>
                    <a:pt x="7" y="0"/>
                  </a:lnTo>
                  <a:lnTo>
                    <a:pt x="7" y="3"/>
                  </a:lnTo>
                  <a:lnTo>
                    <a:pt x="5" y="3"/>
                  </a:lnTo>
                  <a:lnTo>
                    <a:pt x="5" y="8"/>
                  </a:lnTo>
                  <a:lnTo>
                    <a:pt x="5" y="10"/>
                  </a:lnTo>
                  <a:lnTo>
                    <a:pt x="2" y="10"/>
                  </a:lnTo>
                  <a:lnTo>
                    <a:pt x="0" y="10"/>
                  </a:lnTo>
                  <a:lnTo>
                    <a:pt x="0" y="10"/>
                  </a:lnTo>
                  <a:lnTo>
                    <a:pt x="0" y="10"/>
                  </a:lnTo>
                  <a:lnTo>
                    <a:pt x="0" y="10"/>
                  </a:lnTo>
                  <a:lnTo>
                    <a:pt x="0" y="10"/>
                  </a:lnTo>
                  <a:lnTo>
                    <a:pt x="0" y="13"/>
                  </a:lnTo>
                  <a:lnTo>
                    <a:pt x="0" y="13"/>
                  </a:lnTo>
                  <a:lnTo>
                    <a:pt x="2" y="15"/>
                  </a:lnTo>
                  <a:lnTo>
                    <a:pt x="2" y="15"/>
                  </a:lnTo>
                  <a:lnTo>
                    <a:pt x="2" y="15"/>
                  </a:lnTo>
                  <a:lnTo>
                    <a:pt x="2" y="18"/>
                  </a:lnTo>
                  <a:lnTo>
                    <a:pt x="2" y="18"/>
                  </a:lnTo>
                  <a:lnTo>
                    <a:pt x="2" y="18"/>
                  </a:lnTo>
                  <a:lnTo>
                    <a:pt x="2" y="20"/>
                  </a:lnTo>
                  <a:lnTo>
                    <a:pt x="5" y="20"/>
                  </a:lnTo>
                  <a:lnTo>
                    <a:pt x="5" y="23"/>
                  </a:lnTo>
                  <a:lnTo>
                    <a:pt x="5" y="26"/>
                  </a:lnTo>
                  <a:lnTo>
                    <a:pt x="5" y="26"/>
                  </a:lnTo>
                  <a:lnTo>
                    <a:pt x="7" y="28"/>
                  </a:lnTo>
                  <a:lnTo>
                    <a:pt x="7" y="31"/>
                  </a:lnTo>
                  <a:lnTo>
                    <a:pt x="7" y="33"/>
                  </a:lnTo>
                  <a:lnTo>
                    <a:pt x="7" y="33"/>
                  </a:lnTo>
                  <a:lnTo>
                    <a:pt x="7" y="33"/>
                  </a:lnTo>
                  <a:lnTo>
                    <a:pt x="10" y="33"/>
                  </a:lnTo>
                  <a:lnTo>
                    <a:pt x="10" y="33"/>
                  </a:lnTo>
                  <a:lnTo>
                    <a:pt x="10" y="33"/>
                  </a:lnTo>
                  <a:lnTo>
                    <a:pt x="7" y="36"/>
                  </a:lnTo>
                  <a:lnTo>
                    <a:pt x="7" y="36"/>
                  </a:lnTo>
                  <a:lnTo>
                    <a:pt x="7" y="38"/>
                  </a:lnTo>
                  <a:lnTo>
                    <a:pt x="7" y="38"/>
                  </a:lnTo>
                  <a:lnTo>
                    <a:pt x="7" y="41"/>
                  </a:lnTo>
                  <a:lnTo>
                    <a:pt x="7" y="43"/>
                  </a:lnTo>
                  <a:lnTo>
                    <a:pt x="7" y="43"/>
                  </a:lnTo>
                  <a:lnTo>
                    <a:pt x="7" y="43"/>
                  </a:lnTo>
                  <a:lnTo>
                    <a:pt x="10" y="43"/>
                  </a:lnTo>
                  <a:lnTo>
                    <a:pt x="10" y="46"/>
                  </a:lnTo>
                  <a:lnTo>
                    <a:pt x="13" y="48"/>
                  </a:lnTo>
                  <a:lnTo>
                    <a:pt x="15" y="48"/>
                  </a:lnTo>
                  <a:lnTo>
                    <a:pt x="13" y="48"/>
                  </a:lnTo>
                  <a:lnTo>
                    <a:pt x="13" y="51"/>
                  </a:lnTo>
                  <a:lnTo>
                    <a:pt x="15" y="51"/>
                  </a:lnTo>
                  <a:lnTo>
                    <a:pt x="15" y="51"/>
                  </a:lnTo>
                  <a:lnTo>
                    <a:pt x="15" y="54"/>
                  </a:lnTo>
                  <a:lnTo>
                    <a:pt x="15" y="54"/>
                  </a:lnTo>
                  <a:lnTo>
                    <a:pt x="15" y="56"/>
                  </a:lnTo>
                  <a:lnTo>
                    <a:pt x="18" y="56"/>
                  </a:lnTo>
                  <a:lnTo>
                    <a:pt x="20" y="59"/>
                  </a:lnTo>
                  <a:lnTo>
                    <a:pt x="20" y="59"/>
                  </a:lnTo>
                  <a:lnTo>
                    <a:pt x="18" y="59"/>
                  </a:lnTo>
                  <a:lnTo>
                    <a:pt x="20" y="61"/>
                  </a:lnTo>
                  <a:lnTo>
                    <a:pt x="20" y="61"/>
                  </a:lnTo>
                  <a:lnTo>
                    <a:pt x="20" y="61"/>
                  </a:lnTo>
                  <a:lnTo>
                    <a:pt x="20" y="64"/>
                  </a:lnTo>
                  <a:lnTo>
                    <a:pt x="23" y="69"/>
                  </a:lnTo>
                  <a:lnTo>
                    <a:pt x="23" y="71"/>
                  </a:lnTo>
                  <a:lnTo>
                    <a:pt x="25" y="71"/>
                  </a:lnTo>
                  <a:lnTo>
                    <a:pt x="25" y="71"/>
                  </a:lnTo>
                  <a:lnTo>
                    <a:pt x="25" y="71"/>
                  </a:lnTo>
                  <a:lnTo>
                    <a:pt x="25" y="74"/>
                  </a:lnTo>
                  <a:lnTo>
                    <a:pt x="25" y="76"/>
                  </a:lnTo>
                  <a:lnTo>
                    <a:pt x="25" y="76"/>
                  </a:lnTo>
                  <a:lnTo>
                    <a:pt x="28" y="79"/>
                  </a:lnTo>
                  <a:lnTo>
                    <a:pt x="28" y="79"/>
                  </a:lnTo>
                  <a:lnTo>
                    <a:pt x="28" y="79"/>
                  </a:lnTo>
                  <a:lnTo>
                    <a:pt x="30" y="79"/>
                  </a:lnTo>
                  <a:lnTo>
                    <a:pt x="30" y="79"/>
                  </a:lnTo>
                  <a:lnTo>
                    <a:pt x="33" y="87"/>
                  </a:lnTo>
                  <a:lnTo>
                    <a:pt x="33" y="87"/>
                  </a:lnTo>
                  <a:lnTo>
                    <a:pt x="36" y="87"/>
                  </a:lnTo>
                  <a:lnTo>
                    <a:pt x="36" y="87"/>
                  </a:lnTo>
                  <a:lnTo>
                    <a:pt x="38" y="89"/>
                  </a:lnTo>
                  <a:lnTo>
                    <a:pt x="38" y="89"/>
                  </a:lnTo>
                  <a:lnTo>
                    <a:pt x="41" y="92"/>
                  </a:lnTo>
                  <a:lnTo>
                    <a:pt x="41" y="92"/>
                  </a:lnTo>
                  <a:lnTo>
                    <a:pt x="46" y="92"/>
                  </a:lnTo>
                  <a:lnTo>
                    <a:pt x="48" y="92"/>
                  </a:lnTo>
                  <a:lnTo>
                    <a:pt x="51" y="94"/>
                  </a:lnTo>
                  <a:lnTo>
                    <a:pt x="51" y="94"/>
                  </a:lnTo>
                  <a:lnTo>
                    <a:pt x="51" y="94"/>
                  </a:lnTo>
                  <a:lnTo>
                    <a:pt x="48" y="94"/>
                  </a:lnTo>
                  <a:lnTo>
                    <a:pt x="46" y="97"/>
                  </a:lnTo>
                  <a:lnTo>
                    <a:pt x="46" y="99"/>
                  </a:lnTo>
                  <a:lnTo>
                    <a:pt x="46" y="99"/>
                  </a:lnTo>
                  <a:lnTo>
                    <a:pt x="48" y="102"/>
                  </a:lnTo>
                  <a:lnTo>
                    <a:pt x="51" y="104"/>
                  </a:lnTo>
                  <a:lnTo>
                    <a:pt x="51" y="104"/>
                  </a:lnTo>
                  <a:lnTo>
                    <a:pt x="51" y="104"/>
                  </a:lnTo>
                  <a:lnTo>
                    <a:pt x="51" y="107"/>
                  </a:lnTo>
                  <a:lnTo>
                    <a:pt x="51" y="107"/>
                  </a:lnTo>
                  <a:lnTo>
                    <a:pt x="48" y="110"/>
                  </a:lnTo>
                  <a:lnTo>
                    <a:pt x="46" y="110"/>
                  </a:lnTo>
                  <a:lnTo>
                    <a:pt x="43" y="115"/>
                  </a:lnTo>
                  <a:lnTo>
                    <a:pt x="43" y="117"/>
                  </a:lnTo>
                  <a:lnTo>
                    <a:pt x="43" y="120"/>
                  </a:lnTo>
                  <a:lnTo>
                    <a:pt x="43" y="120"/>
                  </a:lnTo>
                  <a:lnTo>
                    <a:pt x="41" y="120"/>
                  </a:lnTo>
                  <a:lnTo>
                    <a:pt x="41" y="120"/>
                  </a:lnTo>
                  <a:lnTo>
                    <a:pt x="41" y="122"/>
                  </a:lnTo>
                  <a:lnTo>
                    <a:pt x="41" y="122"/>
                  </a:lnTo>
                  <a:lnTo>
                    <a:pt x="38" y="125"/>
                  </a:lnTo>
                  <a:lnTo>
                    <a:pt x="41" y="127"/>
                  </a:lnTo>
                  <a:lnTo>
                    <a:pt x="41" y="130"/>
                  </a:lnTo>
                  <a:lnTo>
                    <a:pt x="41" y="130"/>
                  </a:lnTo>
                  <a:lnTo>
                    <a:pt x="41" y="132"/>
                  </a:lnTo>
                  <a:lnTo>
                    <a:pt x="41" y="135"/>
                  </a:lnTo>
                  <a:lnTo>
                    <a:pt x="41" y="135"/>
                  </a:lnTo>
                  <a:lnTo>
                    <a:pt x="41" y="135"/>
                  </a:lnTo>
                  <a:lnTo>
                    <a:pt x="46" y="140"/>
                  </a:lnTo>
                  <a:lnTo>
                    <a:pt x="46" y="143"/>
                  </a:lnTo>
                  <a:lnTo>
                    <a:pt x="48" y="143"/>
                  </a:lnTo>
                  <a:lnTo>
                    <a:pt x="48" y="143"/>
                  </a:lnTo>
                  <a:lnTo>
                    <a:pt x="51" y="143"/>
                  </a:lnTo>
                  <a:lnTo>
                    <a:pt x="51" y="143"/>
                  </a:lnTo>
                  <a:lnTo>
                    <a:pt x="51" y="145"/>
                  </a:lnTo>
                  <a:lnTo>
                    <a:pt x="51" y="145"/>
                  </a:lnTo>
                  <a:lnTo>
                    <a:pt x="51" y="145"/>
                  </a:lnTo>
                  <a:lnTo>
                    <a:pt x="53" y="148"/>
                  </a:lnTo>
                  <a:lnTo>
                    <a:pt x="56" y="150"/>
                  </a:lnTo>
                  <a:lnTo>
                    <a:pt x="56" y="153"/>
                  </a:lnTo>
                  <a:lnTo>
                    <a:pt x="56" y="155"/>
                  </a:lnTo>
                  <a:lnTo>
                    <a:pt x="56" y="155"/>
                  </a:lnTo>
                  <a:lnTo>
                    <a:pt x="56" y="158"/>
                  </a:lnTo>
                  <a:lnTo>
                    <a:pt x="56" y="158"/>
                  </a:lnTo>
                  <a:lnTo>
                    <a:pt x="58" y="158"/>
                  </a:lnTo>
                  <a:lnTo>
                    <a:pt x="61" y="158"/>
                  </a:lnTo>
                  <a:lnTo>
                    <a:pt x="64" y="160"/>
                  </a:lnTo>
                  <a:lnTo>
                    <a:pt x="69" y="163"/>
                  </a:lnTo>
                  <a:lnTo>
                    <a:pt x="74" y="166"/>
                  </a:lnTo>
                  <a:lnTo>
                    <a:pt x="76" y="168"/>
                  </a:lnTo>
                  <a:lnTo>
                    <a:pt x="79" y="168"/>
                  </a:lnTo>
                  <a:lnTo>
                    <a:pt x="81" y="168"/>
                  </a:lnTo>
                  <a:lnTo>
                    <a:pt x="81" y="171"/>
                  </a:lnTo>
                  <a:lnTo>
                    <a:pt x="81" y="171"/>
                  </a:lnTo>
                  <a:lnTo>
                    <a:pt x="84" y="176"/>
                  </a:lnTo>
                  <a:lnTo>
                    <a:pt x="87" y="178"/>
                  </a:lnTo>
                  <a:lnTo>
                    <a:pt x="89" y="181"/>
                  </a:lnTo>
                  <a:lnTo>
                    <a:pt x="92" y="183"/>
                  </a:lnTo>
                  <a:lnTo>
                    <a:pt x="92" y="188"/>
                  </a:lnTo>
                  <a:lnTo>
                    <a:pt x="89" y="194"/>
                  </a:lnTo>
                  <a:lnTo>
                    <a:pt x="89" y="199"/>
                  </a:lnTo>
                  <a:lnTo>
                    <a:pt x="92" y="201"/>
                  </a:lnTo>
                  <a:lnTo>
                    <a:pt x="94" y="201"/>
                  </a:lnTo>
                  <a:lnTo>
                    <a:pt x="97" y="201"/>
                  </a:lnTo>
                  <a:lnTo>
                    <a:pt x="97" y="206"/>
                  </a:lnTo>
                  <a:lnTo>
                    <a:pt x="97" y="209"/>
                  </a:lnTo>
                  <a:lnTo>
                    <a:pt x="99" y="214"/>
                  </a:lnTo>
                  <a:lnTo>
                    <a:pt x="99" y="214"/>
                  </a:lnTo>
                  <a:lnTo>
                    <a:pt x="102" y="214"/>
                  </a:lnTo>
                  <a:lnTo>
                    <a:pt x="102" y="216"/>
                  </a:lnTo>
                  <a:lnTo>
                    <a:pt x="102" y="216"/>
                  </a:lnTo>
                  <a:lnTo>
                    <a:pt x="104" y="216"/>
                  </a:lnTo>
                  <a:lnTo>
                    <a:pt x="104" y="219"/>
                  </a:lnTo>
                  <a:lnTo>
                    <a:pt x="107" y="219"/>
                  </a:lnTo>
                  <a:lnTo>
                    <a:pt x="107" y="222"/>
                  </a:lnTo>
                  <a:lnTo>
                    <a:pt x="107" y="222"/>
                  </a:lnTo>
                  <a:lnTo>
                    <a:pt x="107" y="222"/>
                  </a:lnTo>
                  <a:lnTo>
                    <a:pt x="107" y="224"/>
                  </a:lnTo>
                  <a:lnTo>
                    <a:pt x="109" y="224"/>
                  </a:lnTo>
                  <a:lnTo>
                    <a:pt x="109" y="227"/>
                  </a:lnTo>
                  <a:lnTo>
                    <a:pt x="109" y="224"/>
                  </a:lnTo>
                  <a:lnTo>
                    <a:pt x="112" y="224"/>
                  </a:lnTo>
                  <a:lnTo>
                    <a:pt x="115" y="224"/>
                  </a:lnTo>
                  <a:lnTo>
                    <a:pt x="115" y="224"/>
                  </a:lnTo>
                  <a:lnTo>
                    <a:pt x="117" y="222"/>
                  </a:lnTo>
                  <a:lnTo>
                    <a:pt x="117" y="219"/>
                  </a:lnTo>
                  <a:lnTo>
                    <a:pt x="115" y="216"/>
                  </a:lnTo>
                  <a:lnTo>
                    <a:pt x="117" y="216"/>
                  </a:lnTo>
                  <a:lnTo>
                    <a:pt x="117" y="214"/>
                  </a:lnTo>
                  <a:lnTo>
                    <a:pt x="117" y="214"/>
                  </a:lnTo>
                  <a:lnTo>
                    <a:pt x="120" y="214"/>
                  </a:lnTo>
                  <a:lnTo>
                    <a:pt x="122" y="214"/>
                  </a:lnTo>
                  <a:lnTo>
                    <a:pt x="122" y="216"/>
                  </a:lnTo>
                  <a:lnTo>
                    <a:pt x="122" y="216"/>
                  </a:lnTo>
                  <a:lnTo>
                    <a:pt x="120" y="216"/>
                  </a:lnTo>
                  <a:lnTo>
                    <a:pt x="120" y="216"/>
                  </a:lnTo>
                  <a:lnTo>
                    <a:pt x="117" y="216"/>
                  </a:lnTo>
                  <a:lnTo>
                    <a:pt x="117" y="216"/>
                  </a:lnTo>
                  <a:lnTo>
                    <a:pt x="120" y="216"/>
                  </a:lnTo>
                  <a:lnTo>
                    <a:pt x="127" y="222"/>
                  </a:lnTo>
                  <a:lnTo>
                    <a:pt x="130" y="224"/>
                  </a:lnTo>
                  <a:lnTo>
                    <a:pt x="137" y="219"/>
                  </a:lnTo>
                  <a:lnTo>
                    <a:pt x="137" y="219"/>
                  </a:lnTo>
                  <a:lnTo>
                    <a:pt x="140" y="224"/>
                  </a:lnTo>
                  <a:lnTo>
                    <a:pt x="140" y="227"/>
                  </a:lnTo>
                  <a:lnTo>
                    <a:pt x="143" y="227"/>
                  </a:lnTo>
                  <a:lnTo>
                    <a:pt x="145" y="232"/>
                  </a:lnTo>
                  <a:lnTo>
                    <a:pt x="150" y="234"/>
                  </a:lnTo>
                  <a:lnTo>
                    <a:pt x="153" y="237"/>
                  </a:lnTo>
                  <a:lnTo>
                    <a:pt x="153" y="239"/>
                  </a:lnTo>
                  <a:lnTo>
                    <a:pt x="153" y="242"/>
                  </a:lnTo>
                  <a:lnTo>
                    <a:pt x="153" y="244"/>
                  </a:lnTo>
                  <a:lnTo>
                    <a:pt x="155" y="244"/>
                  </a:lnTo>
                  <a:lnTo>
                    <a:pt x="158" y="247"/>
                  </a:lnTo>
                  <a:lnTo>
                    <a:pt x="158" y="247"/>
                  </a:lnTo>
                  <a:lnTo>
                    <a:pt x="155" y="250"/>
                  </a:lnTo>
                  <a:lnTo>
                    <a:pt x="158" y="250"/>
                  </a:lnTo>
                  <a:lnTo>
                    <a:pt x="160" y="252"/>
                  </a:lnTo>
                  <a:lnTo>
                    <a:pt x="160" y="255"/>
                  </a:lnTo>
                  <a:lnTo>
                    <a:pt x="163" y="257"/>
                  </a:lnTo>
                  <a:lnTo>
                    <a:pt x="163" y="260"/>
                  </a:lnTo>
                  <a:lnTo>
                    <a:pt x="166" y="265"/>
                  </a:lnTo>
                  <a:lnTo>
                    <a:pt x="166" y="267"/>
                  </a:lnTo>
                  <a:lnTo>
                    <a:pt x="171" y="272"/>
                  </a:lnTo>
                  <a:lnTo>
                    <a:pt x="173" y="272"/>
                  </a:lnTo>
                  <a:lnTo>
                    <a:pt x="176" y="272"/>
                  </a:lnTo>
                  <a:lnTo>
                    <a:pt x="178" y="272"/>
                  </a:lnTo>
                  <a:lnTo>
                    <a:pt x="181" y="275"/>
                  </a:lnTo>
                  <a:lnTo>
                    <a:pt x="186" y="277"/>
                  </a:lnTo>
                  <a:lnTo>
                    <a:pt x="191" y="277"/>
                  </a:lnTo>
                  <a:lnTo>
                    <a:pt x="194" y="283"/>
                  </a:lnTo>
                  <a:lnTo>
                    <a:pt x="194" y="283"/>
                  </a:lnTo>
                  <a:lnTo>
                    <a:pt x="196" y="285"/>
                  </a:lnTo>
                  <a:lnTo>
                    <a:pt x="201" y="290"/>
                  </a:lnTo>
                  <a:lnTo>
                    <a:pt x="209" y="293"/>
                  </a:lnTo>
                  <a:lnTo>
                    <a:pt x="211" y="293"/>
                  </a:lnTo>
                  <a:lnTo>
                    <a:pt x="214" y="295"/>
                  </a:lnTo>
                  <a:lnTo>
                    <a:pt x="216" y="298"/>
                  </a:lnTo>
                  <a:lnTo>
                    <a:pt x="219" y="300"/>
                  </a:lnTo>
                  <a:lnTo>
                    <a:pt x="224" y="298"/>
                  </a:lnTo>
                  <a:lnTo>
                    <a:pt x="227" y="300"/>
                  </a:lnTo>
                  <a:lnTo>
                    <a:pt x="234" y="303"/>
                  </a:lnTo>
                  <a:lnTo>
                    <a:pt x="237" y="303"/>
                  </a:lnTo>
                  <a:lnTo>
                    <a:pt x="237" y="303"/>
                  </a:lnTo>
                  <a:lnTo>
                    <a:pt x="239" y="303"/>
                  </a:lnTo>
                  <a:lnTo>
                    <a:pt x="245" y="298"/>
                  </a:lnTo>
                  <a:lnTo>
                    <a:pt x="247" y="298"/>
                  </a:lnTo>
                  <a:lnTo>
                    <a:pt x="250" y="298"/>
                  </a:lnTo>
                  <a:lnTo>
                    <a:pt x="252" y="295"/>
                  </a:lnTo>
                  <a:lnTo>
                    <a:pt x="252" y="295"/>
                  </a:lnTo>
                  <a:lnTo>
                    <a:pt x="255" y="293"/>
                  </a:lnTo>
                  <a:lnTo>
                    <a:pt x="260" y="293"/>
                  </a:lnTo>
                  <a:lnTo>
                    <a:pt x="262" y="290"/>
                  </a:lnTo>
                  <a:lnTo>
                    <a:pt x="265" y="288"/>
                  </a:lnTo>
                  <a:lnTo>
                    <a:pt x="267" y="288"/>
                  </a:lnTo>
                  <a:lnTo>
                    <a:pt x="275" y="290"/>
                  </a:lnTo>
                  <a:lnTo>
                    <a:pt x="278" y="290"/>
                  </a:lnTo>
                  <a:lnTo>
                    <a:pt x="278" y="293"/>
                  </a:lnTo>
                  <a:lnTo>
                    <a:pt x="280" y="295"/>
                  </a:lnTo>
                  <a:lnTo>
                    <a:pt x="283" y="298"/>
                  </a:lnTo>
                  <a:lnTo>
                    <a:pt x="283" y="300"/>
                  </a:lnTo>
                  <a:lnTo>
                    <a:pt x="283" y="308"/>
                  </a:lnTo>
                  <a:lnTo>
                    <a:pt x="285" y="311"/>
                  </a:lnTo>
                  <a:lnTo>
                    <a:pt x="288" y="316"/>
                  </a:lnTo>
                  <a:lnTo>
                    <a:pt x="288" y="318"/>
                  </a:lnTo>
                  <a:lnTo>
                    <a:pt x="290" y="321"/>
                  </a:lnTo>
                  <a:lnTo>
                    <a:pt x="298" y="321"/>
                  </a:lnTo>
                  <a:lnTo>
                    <a:pt x="298" y="323"/>
                  </a:lnTo>
                  <a:lnTo>
                    <a:pt x="301" y="323"/>
                  </a:lnTo>
                  <a:lnTo>
                    <a:pt x="303" y="323"/>
                  </a:lnTo>
                  <a:lnTo>
                    <a:pt x="308" y="326"/>
                  </a:lnTo>
                  <a:lnTo>
                    <a:pt x="308" y="326"/>
                  </a:lnTo>
                  <a:lnTo>
                    <a:pt x="313" y="326"/>
                  </a:lnTo>
                  <a:lnTo>
                    <a:pt x="318" y="326"/>
                  </a:lnTo>
                  <a:lnTo>
                    <a:pt x="324" y="328"/>
                  </a:lnTo>
                  <a:lnTo>
                    <a:pt x="329" y="328"/>
                  </a:lnTo>
                  <a:lnTo>
                    <a:pt x="331" y="328"/>
                  </a:lnTo>
                  <a:lnTo>
                    <a:pt x="336" y="328"/>
                  </a:lnTo>
                  <a:lnTo>
                    <a:pt x="339" y="328"/>
                  </a:lnTo>
                  <a:lnTo>
                    <a:pt x="341" y="331"/>
                  </a:lnTo>
                  <a:lnTo>
                    <a:pt x="344" y="328"/>
                  </a:lnTo>
                  <a:lnTo>
                    <a:pt x="352" y="331"/>
                  </a:lnTo>
                  <a:lnTo>
                    <a:pt x="352" y="328"/>
                  </a:lnTo>
                  <a:lnTo>
                    <a:pt x="354" y="328"/>
                  </a:lnTo>
                  <a:lnTo>
                    <a:pt x="354" y="331"/>
                  </a:lnTo>
                  <a:lnTo>
                    <a:pt x="357" y="331"/>
                  </a:lnTo>
                  <a:lnTo>
                    <a:pt x="364" y="333"/>
                  </a:lnTo>
                  <a:lnTo>
                    <a:pt x="367" y="336"/>
                  </a:lnTo>
                  <a:lnTo>
                    <a:pt x="372" y="336"/>
                  </a:lnTo>
                  <a:lnTo>
                    <a:pt x="372" y="333"/>
                  </a:lnTo>
                  <a:lnTo>
                    <a:pt x="372" y="333"/>
                  </a:lnTo>
                  <a:lnTo>
                    <a:pt x="374" y="333"/>
                  </a:lnTo>
                  <a:lnTo>
                    <a:pt x="374" y="331"/>
                  </a:lnTo>
                  <a:lnTo>
                    <a:pt x="374" y="326"/>
                  </a:lnTo>
                  <a:lnTo>
                    <a:pt x="374" y="323"/>
                  </a:lnTo>
                  <a:lnTo>
                    <a:pt x="374" y="321"/>
                  </a:lnTo>
                  <a:lnTo>
                    <a:pt x="374" y="321"/>
                  </a:lnTo>
                  <a:lnTo>
                    <a:pt x="374" y="318"/>
                  </a:lnTo>
                  <a:lnTo>
                    <a:pt x="377" y="318"/>
                  </a:lnTo>
                  <a:lnTo>
                    <a:pt x="377" y="316"/>
                  </a:lnTo>
                  <a:lnTo>
                    <a:pt x="377" y="311"/>
                  </a:lnTo>
                  <a:lnTo>
                    <a:pt x="377" y="311"/>
                  </a:lnTo>
                  <a:lnTo>
                    <a:pt x="377" y="311"/>
                  </a:lnTo>
                  <a:lnTo>
                    <a:pt x="382" y="308"/>
                  </a:lnTo>
                  <a:lnTo>
                    <a:pt x="382" y="308"/>
                  </a:lnTo>
                  <a:lnTo>
                    <a:pt x="385" y="308"/>
                  </a:lnTo>
                  <a:lnTo>
                    <a:pt x="385" y="308"/>
                  </a:lnTo>
                  <a:lnTo>
                    <a:pt x="385" y="305"/>
                  </a:lnTo>
                  <a:lnTo>
                    <a:pt x="385" y="303"/>
                  </a:lnTo>
                  <a:lnTo>
                    <a:pt x="387" y="303"/>
                  </a:lnTo>
                  <a:lnTo>
                    <a:pt x="387" y="303"/>
                  </a:lnTo>
                  <a:lnTo>
                    <a:pt x="392" y="303"/>
                  </a:lnTo>
                  <a:lnTo>
                    <a:pt x="392" y="300"/>
                  </a:lnTo>
                  <a:lnTo>
                    <a:pt x="395" y="300"/>
                  </a:lnTo>
                  <a:lnTo>
                    <a:pt x="400" y="300"/>
                  </a:lnTo>
                  <a:lnTo>
                    <a:pt x="403" y="300"/>
                  </a:lnTo>
                  <a:lnTo>
                    <a:pt x="403" y="300"/>
                  </a:lnTo>
                  <a:lnTo>
                    <a:pt x="403" y="295"/>
                  </a:lnTo>
                  <a:lnTo>
                    <a:pt x="403" y="295"/>
                  </a:lnTo>
                  <a:lnTo>
                    <a:pt x="403" y="295"/>
                  </a:lnTo>
                  <a:lnTo>
                    <a:pt x="403" y="293"/>
                  </a:lnTo>
                  <a:lnTo>
                    <a:pt x="403" y="29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294" name="Freeform 1913">
              <a:extLst>
                <a:ext uri="{FF2B5EF4-FFF2-40B4-BE49-F238E27FC236}">
                  <a16:creationId xmlns:a16="http://schemas.microsoft.com/office/drawing/2014/main" id="{07644FCA-BC58-5E4A-A342-D069F1DB14A1}"/>
                </a:ext>
              </a:extLst>
            </p:cNvPr>
            <p:cNvSpPr>
              <a:spLocks noEditPoints="1"/>
            </p:cNvSpPr>
            <p:nvPr/>
          </p:nvSpPr>
          <p:spPr bwMode="auto">
            <a:xfrm>
              <a:off x="8734493" y="3580305"/>
              <a:ext cx="1509786" cy="624851"/>
            </a:xfrm>
            <a:custGeom>
              <a:avLst/>
              <a:gdLst>
                <a:gd name="T0" fmla="*/ 472 w 923"/>
                <a:gd name="T1" fmla="*/ 351 h 382"/>
                <a:gd name="T2" fmla="*/ 569 w 923"/>
                <a:gd name="T3" fmla="*/ 369 h 382"/>
                <a:gd name="T4" fmla="*/ 485 w 923"/>
                <a:gd name="T5" fmla="*/ 331 h 382"/>
                <a:gd name="T6" fmla="*/ 574 w 923"/>
                <a:gd name="T7" fmla="*/ 323 h 382"/>
                <a:gd name="T8" fmla="*/ 581 w 923"/>
                <a:gd name="T9" fmla="*/ 323 h 382"/>
                <a:gd name="T10" fmla="*/ 507 w 923"/>
                <a:gd name="T11" fmla="*/ 323 h 382"/>
                <a:gd name="T12" fmla="*/ 472 w 923"/>
                <a:gd name="T13" fmla="*/ 333 h 382"/>
                <a:gd name="T14" fmla="*/ 428 w 923"/>
                <a:gd name="T15" fmla="*/ 336 h 382"/>
                <a:gd name="T16" fmla="*/ 398 w 923"/>
                <a:gd name="T17" fmla="*/ 336 h 382"/>
                <a:gd name="T18" fmla="*/ 862 w 923"/>
                <a:gd name="T19" fmla="*/ 303 h 382"/>
                <a:gd name="T20" fmla="*/ 383 w 923"/>
                <a:gd name="T21" fmla="*/ 298 h 382"/>
                <a:gd name="T22" fmla="*/ 793 w 923"/>
                <a:gd name="T23" fmla="*/ 285 h 382"/>
                <a:gd name="T24" fmla="*/ 365 w 923"/>
                <a:gd name="T25" fmla="*/ 311 h 382"/>
                <a:gd name="T26" fmla="*/ 258 w 923"/>
                <a:gd name="T27" fmla="*/ 277 h 382"/>
                <a:gd name="T28" fmla="*/ 248 w 923"/>
                <a:gd name="T29" fmla="*/ 308 h 382"/>
                <a:gd name="T30" fmla="*/ 352 w 923"/>
                <a:gd name="T31" fmla="*/ 265 h 382"/>
                <a:gd name="T32" fmla="*/ 760 w 923"/>
                <a:gd name="T33" fmla="*/ 262 h 382"/>
                <a:gd name="T34" fmla="*/ 546 w 923"/>
                <a:gd name="T35" fmla="*/ 250 h 382"/>
                <a:gd name="T36" fmla="*/ 564 w 923"/>
                <a:gd name="T37" fmla="*/ 227 h 382"/>
                <a:gd name="T38" fmla="*/ 426 w 923"/>
                <a:gd name="T39" fmla="*/ 216 h 382"/>
                <a:gd name="T40" fmla="*/ 237 w 923"/>
                <a:gd name="T41" fmla="*/ 204 h 382"/>
                <a:gd name="T42" fmla="*/ 671 w 923"/>
                <a:gd name="T43" fmla="*/ 214 h 382"/>
                <a:gd name="T44" fmla="*/ 263 w 923"/>
                <a:gd name="T45" fmla="*/ 204 h 382"/>
                <a:gd name="T46" fmla="*/ 576 w 923"/>
                <a:gd name="T47" fmla="*/ 181 h 382"/>
                <a:gd name="T48" fmla="*/ 592 w 923"/>
                <a:gd name="T49" fmla="*/ 181 h 382"/>
                <a:gd name="T50" fmla="*/ 232 w 923"/>
                <a:gd name="T51" fmla="*/ 196 h 382"/>
                <a:gd name="T52" fmla="*/ 571 w 923"/>
                <a:gd name="T53" fmla="*/ 166 h 382"/>
                <a:gd name="T54" fmla="*/ 79 w 923"/>
                <a:gd name="T55" fmla="*/ 158 h 382"/>
                <a:gd name="T56" fmla="*/ 829 w 923"/>
                <a:gd name="T57" fmla="*/ 160 h 382"/>
                <a:gd name="T58" fmla="*/ 864 w 923"/>
                <a:gd name="T59" fmla="*/ 171 h 382"/>
                <a:gd name="T60" fmla="*/ 785 w 923"/>
                <a:gd name="T61" fmla="*/ 158 h 382"/>
                <a:gd name="T62" fmla="*/ 780 w 923"/>
                <a:gd name="T63" fmla="*/ 186 h 382"/>
                <a:gd name="T64" fmla="*/ 775 w 923"/>
                <a:gd name="T65" fmla="*/ 211 h 382"/>
                <a:gd name="T66" fmla="*/ 867 w 923"/>
                <a:gd name="T67" fmla="*/ 265 h 382"/>
                <a:gd name="T68" fmla="*/ 895 w 923"/>
                <a:gd name="T69" fmla="*/ 318 h 382"/>
                <a:gd name="T70" fmla="*/ 191 w 923"/>
                <a:gd name="T71" fmla="*/ 145 h 382"/>
                <a:gd name="T72" fmla="*/ 719 w 923"/>
                <a:gd name="T73" fmla="*/ 143 h 382"/>
                <a:gd name="T74" fmla="*/ 199 w 923"/>
                <a:gd name="T75" fmla="*/ 140 h 382"/>
                <a:gd name="T76" fmla="*/ 169 w 923"/>
                <a:gd name="T77" fmla="*/ 120 h 382"/>
                <a:gd name="T78" fmla="*/ 153 w 923"/>
                <a:gd name="T79" fmla="*/ 110 h 382"/>
                <a:gd name="T80" fmla="*/ 46 w 923"/>
                <a:gd name="T81" fmla="*/ 102 h 382"/>
                <a:gd name="T82" fmla="*/ 487 w 923"/>
                <a:gd name="T83" fmla="*/ 252 h 382"/>
                <a:gd name="T84" fmla="*/ 533 w 923"/>
                <a:gd name="T85" fmla="*/ 244 h 382"/>
                <a:gd name="T86" fmla="*/ 533 w 923"/>
                <a:gd name="T87" fmla="*/ 178 h 382"/>
                <a:gd name="T88" fmla="*/ 502 w 923"/>
                <a:gd name="T89" fmla="*/ 148 h 382"/>
                <a:gd name="T90" fmla="*/ 587 w 923"/>
                <a:gd name="T91" fmla="*/ 112 h 382"/>
                <a:gd name="T92" fmla="*/ 497 w 923"/>
                <a:gd name="T93" fmla="*/ 153 h 382"/>
                <a:gd name="T94" fmla="*/ 663 w 923"/>
                <a:gd name="T95" fmla="*/ 140 h 382"/>
                <a:gd name="T96" fmla="*/ 660 w 923"/>
                <a:gd name="T97" fmla="*/ 92 h 382"/>
                <a:gd name="T98" fmla="*/ 23 w 923"/>
                <a:gd name="T99" fmla="*/ 79 h 382"/>
                <a:gd name="T100" fmla="*/ 637 w 923"/>
                <a:gd name="T101" fmla="*/ 48 h 382"/>
                <a:gd name="T102" fmla="*/ 293 w 923"/>
                <a:gd name="T103" fmla="*/ 155 h 382"/>
                <a:gd name="T104" fmla="*/ 372 w 923"/>
                <a:gd name="T105" fmla="*/ 211 h 382"/>
                <a:gd name="T106" fmla="*/ 426 w 923"/>
                <a:gd name="T107" fmla="*/ 176 h 382"/>
                <a:gd name="T108" fmla="*/ 459 w 923"/>
                <a:gd name="T109" fmla="*/ 87 h 382"/>
                <a:gd name="T110" fmla="*/ 426 w 923"/>
                <a:gd name="T111" fmla="*/ 36 h 382"/>
                <a:gd name="T112" fmla="*/ 383 w 923"/>
                <a:gd name="T113" fmla="*/ 102 h 382"/>
                <a:gd name="T114" fmla="*/ 281 w 923"/>
                <a:gd name="T115" fmla="*/ 107 h 382"/>
                <a:gd name="T116" fmla="*/ 204 w 923"/>
                <a:gd name="T117" fmla="*/ 188 h 382"/>
                <a:gd name="T118" fmla="*/ 158 w 923"/>
                <a:gd name="T119" fmla="*/ 120 h 382"/>
                <a:gd name="T120" fmla="*/ 46 w 923"/>
                <a:gd name="T121" fmla="*/ 15 h 382"/>
                <a:gd name="T122" fmla="*/ 92 w 923"/>
                <a:gd name="T123" fmla="*/ 135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23" h="382">
                  <a:moveTo>
                    <a:pt x="558" y="374"/>
                  </a:moveTo>
                  <a:lnTo>
                    <a:pt x="558" y="374"/>
                  </a:lnTo>
                  <a:lnTo>
                    <a:pt x="558" y="374"/>
                  </a:lnTo>
                  <a:lnTo>
                    <a:pt x="558" y="374"/>
                  </a:lnTo>
                  <a:lnTo>
                    <a:pt x="556" y="374"/>
                  </a:lnTo>
                  <a:lnTo>
                    <a:pt x="553" y="377"/>
                  </a:lnTo>
                  <a:lnTo>
                    <a:pt x="551" y="379"/>
                  </a:lnTo>
                  <a:lnTo>
                    <a:pt x="546" y="379"/>
                  </a:lnTo>
                  <a:lnTo>
                    <a:pt x="546" y="382"/>
                  </a:lnTo>
                  <a:lnTo>
                    <a:pt x="546" y="382"/>
                  </a:lnTo>
                  <a:lnTo>
                    <a:pt x="546" y="382"/>
                  </a:lnTo>
                  <a:lnTo>
                    <a:pt x="548" y="382"/>
                  </a:lnTo>
                  <a:lnTo>
                    <a:pt x="551" y="382"/>
                  </a:lnTo>
                  <a:lnTo>
                    <a:pt x="553" y="382"/>
                  </a:lnTo>
                  <a:lnTo>
                    <a:pt x="556" y="379"/>
                  </a:lnTo>
                  <a:lnTo>
                    <a:pt x="558" y="377"/>
                  </a:lnTo>
                  <a:lnTo>
                    <a:pt x="558" y="377"/>
                  </a:lnTo>
                  <a:lnTo>
                    <a:pt x="558" y="374"/>
                  </a:lnTo>
                  <a:close/>
                  <a:moveTo>
                    <a:pt x="528" y="372"/>
                  </a:moveTo>
                  <a:lnTo>
                    <a:pt x="525" y="374"/>
                  </a:lnTo>
                  <a:lnTo>
                    <a:pt x="525" y="374"/>
                  </a:lnTo>
                  <a:lnTo>
                    <a:pt x="525" y="374"/>
                  </a:lnTo>
                  <a:lnTo>
                    <a:pt x="528" y="377"/>
                  </a:lnTo>
                  <a:lnTo>
                    <a:pt x="528" y="377"/>
                  </a:lnTo>
                  <a:lnTo>
                    <a:pt x="530" y="374"/>
                  </a:lnTo>
                  <a:lnTo>
                    <a:pt x="530" y="372"/>
                  </a:lnTo>
                  <a:lnTo>
                    <a:pt x="530" y="372"/>
                  </a:lnTo>
                  <a:lnTo>
                    <a:pt x="528" y="372"/>
                  </a:lnTo>
                  <a:close/>
                  <a:moveTo>
                    <a:pt x="561" y="367"/>
                  </a:moveTo>
                  <a:lnTo>
                    <a:pt x="561" y="367"/>
                  </a:lnTo>
                  <a:lnTo>
                    <a:pt x="558" y="367"/>
                  </a:lnTo>
                  <a:lnTo>
                    <a:pt x="558" y="369"/>
                  </a:lnTo>
                  <a:lnTo>
                    <a:pt x="558" y="369"/>
                  </a:lnTo>
                  <a:lnTo>
                    <a:pt x="558" y="369"/>
                  </a:lnTo>
                  <a:lnTo>
                    <a:pt x="558" y="367"/>
                  </a:lnTo>
                  <a:lnTo>
                    <a:pt x="561" y="367"/>
                  </a:lnTo>
                  <a:lnTo>
                    <a:pt x="561" y="367"/>
                  </a:lnTo>
                  <a:close/>
                  <a:moveTo>
                    <a:pt x="505" y="359"/>
                  </a:moveTo>
                  <a:lnTo>
                    <a:pt x="505" y="359"/>
                  </a:lnTo>
                  <a:lnTo>
                    <a:pt x="502" y="356"/>
                  </a:lnTo>
                  <a:lnTo>
                    <a:pt x="502" y="354"/>
                  </a:lnTo>
                  <a:lnTo>
                    <a:pt x="500" y="354"/>
                  </a:lnTo>
                  <a:lnTo>
                    <a:pt x="500" y="354"/>
                  </a:lnTo>
                  <a:lnTo>
                    <a:pt x="497" y="354"/>
                  </a:lnTo>
                  <a:lnTo>
                    <a:pt x="497" y="354"/>
                  </a:lnTo>
                  <a:lnTo>
                    <a:pt x="497" y="351"/>
                  </a:lnTo>
                  <a:lnTo>
                    <a:pt x="497" y="351"/>
                  </a:lnTo>
                  <a:lnTo>
                    <a:pt x="495" y="349"/>
                  </a:lnTo>
                  <a:lnTo>
                    <a:pt x="492" y="349"/>
                  </a:lnTo>
                  <a:lnTo>
                    <a:pt x="492" y="346"/>
                  </a:lnTo>
                  <a:lnTo>
                    <a:pt x="492" y="346"/>
                  </a:lnTo>
                  <a:lnTo>
                    <a:pt x="490" y="349"/>
                  </a:lnTo>
                  <a:lnTo>
                    <a:pt x="487" y="349"/>
                  </a:lnTo>
                  <a:lnTo>
                    <a:pt x="485" y="349"/>
                  </a:lnTo>
                  <a:lnTo>
                    <a:pt x="482" y="349"/>
                  </a:lnTo>
                  <a:lnTo>
                    <a:pt x="479" y="349"/>
                  </a:lnTo>
                  <a:lnTo>
                    <a:pt x="477" y="349"/>
                  </a:lnTo>
                  <a:lnTo>
                    <a:pt x="472" y="349"/>
                  </a:lnTo>
                  <a:lnTo>
                    <a:pt x="472" y="351"/>
                  </a:lnTo>
                  <a:lnTo>
                    <a:pt x="472" y="351"/>
                  </a:lnTo>
                  <a:lnTo>
                    <a:pt x="472" y="351"/>
                  </a:lnTo>
                  <a:lnTo>
                    <a:pt x="472" y="354"/>
                  </a:lnTo>
                  <a:lnTo>
                    <a:pt x="472" y="354"/>
                  </a:lnTo>
                  <a:lnTo>
                    <a:pt x="474" y="356"/>
                  </a:lnTo>
                  <a:lnTo>
                    <a:pt x="479" y="356"/>
                  </a:lnTo>
                  <a:lnTo>
                    <a:pt x="479" y="356"/>
                  </a:lnTo>
                  <a:lnTo>
                    <a:pt x="482" y="356"/>
                  </a:lnTo>
                  <a:lnTo>
                    <a:pt x="485" y="356"/>
                  </a:lnTo>
                  <a:lnTo>
                    <a:pt x="487" y="361"/>
                  </a:lnTo>
                  <a:lnTo>
                    <a:pt x="490" y="361"/>
                  </a:lnTo>
                  <a:lnTo>
                    <a:pt x="492" y="364"/>
                  </a:lnTo>
                  <a:lnTo>
                    <a:pt x="492" y="364"/>
                  </a:lnTo>
                  <a:lnTo>
                    <a:pt x="495" y="367"/>
                  </a:lnTo>
                  <a:lnTo>
                    <a:pt x="495" y="367"/>
                  </a:lnTo>
                  <a:lnTo>
                    <a:pt x="500" y="369"/>
                  </a:lnTo>
                  <a:lnTo>
                    <a:pt x="500" y="369"/>
                  </a:lnTo>
                  <a:lnTo>
                    <a:pt x="502" y="367"/>
                  </a:lnTo>
                  <a:lnTo>
                    <a:pt x="505" y="367"/>
                  </a:lnTo>
                  <a:lnTo>
                    <a:pt x="505" y="367"/>
                  </a:lnTo>
                  <a:lnTo>
                    <a:pt x="507" y="364"/>
                  </a:lnTo>
                  <a:lnTo>
                    <a:pt x="507" y="364"/>
                  </a:lnTo>
                  <a:lnTo>
                    <a:pt x="507" y="361"/>
                  </a:lnTo>
                  <a:lnTo>
                    <a:pt x="505" y="359"/>
                  </a:lnTo>
                  <a:close/>
                  <a:moveTo>
                    <a:pt x="594" y="339"/>
                  </a:moveTo>
                  <a:lnTo>
                    <a:pt x="592" y="341"/>
                  </a:lnTo>
                  <a:lnTo>
                    <a:pt x="592" y="341"/>
                  </a:lnTo>
                  <a:lnTo>
                    <a:pt x="592" y="341"/>
                  </a:lnTo>
                  <a:lnTo>
                    <a:pt x="592" y="339"/>
                  </a:lnTo>
                  <a:lnTo>
                    <a:pt x="592" y="339"/>
                  </a:lnTo>
                  <a:lnTo>
                    <a:pt x="587" y="341"/>
                  </a:lnTo>
                  <a:lnTo>
                    <a:pt x="587" y="341"/>
                  </a:lnTo>
                  <a:lnTo>
                    <a:pt x="584" y="344"/>
                  </a:lnTo>
                  <a:lnTo>
                    <a:pt x="581" y="344"/>
                  </a:lnTo>
                  <a:lnTo>
                    <a:pt x="581" y="346"/>
                  </a:lnTo>
                  <a:lnTo>
                    <a:pt x="581" y="346"/>
                  </a:lnTo>
                  <a:lnTo>
                    <a:pt x="579" y="349"/>
                  </a:lnTo>
                  <a:lnTo>
                    <a:pt x="579" y="349"/>
                  </a:lnTo>
                  <a:lnTo>
                    <a:pt x="579" y="349"/>
                  </a:lnTo>
                  <a:lnTo>
                    <a:pt x="576" y="349"/>
                  </a:lnTo>
                  <a:lnTo>
                    <a:pt x="574" y="349"/>
                  </a:lnTo>
                  <a:lnTo>
                    <a:pt x="574" y="349"/>
                  </a:lnTo>
                  <a:lnTo>
                    <a:pt x="574" y="349"/>
                  </a:lnTo>
                  <a:lnTo>
                    <a:pt x="574" y="346"/>
                  </a:lnTo>
                  <a:lnTo>
                    <a:pt x="571" y="349"/>
                  </a:lnTo>
                  <a:lnTo>
                    <a:pt x="569" y="349"/>
                  </a:lnTo>
                  <a:lnTo>
                    <a:pt x="566" y="354"/>
                  </a:lnTo>
                  <a:lnTo>
                    <a:pt x="566" y="356"/>
                  </a:lnTo>
                  <a:lnTo>
                    <a:pt x="564" y="359"/>
                  </a:lnTo>
                  <a:lnTo>
                    <a:pt x="564" y="361"/>
                  </a:lnTo>
                  <a:lnTo>
                    <a:pt x="564" y="361"/>
                  </a:lnTo>
                  <a:lnTo>
                    <a:pt x="566" y="364"/>
                  </a:lnTo>
                  <a:lnTo>
                    <a:pt x="566" y="364"/>
                  </a:lnTo>
                  <a:lnTo>
                    <a:pt x="564" y="367"/>
                  </a:lnTo>
                  <a:lnTo>
                    <a:pt x="564" y="367"/>
                  </a:lnTo>
                  <a:lnTo>
                    <a:pt x="564" y="369"/>
                  </a:lnTo>
                  <a:lnTo>
                    <a:pt x="564" y="369"/>
                  </a:lnTo>
                  <a:lnTo>
                    <a:pt x="566" y="369"/>
                  </a:lnTo>
                  <a:lnTo>
                    <a:pt x="569" y="369"/>
                  </a:lnTo>
                  <a:lnTo>
                    <a:pt x="571" y="369"/>
                  </a:lnTo>
                  <a:lnTo>
                    <a:pt x="574" y="367"/>
                  </a:lnTo>
                  <a:lnTo>
                    <a:pt x="579" y="367"/>
                  </a:lnTo>
                  <a:lnTo>
                    <a:pt x="579" y="367"/>
                  </a:lnTo>
                  <a:lnTo>
                    <a:pt x="581" y="364"/>
                  </a:lnTo>
                  <a:lnTo>
                    <a:pt x="584" y="361"/>
                  </a:lnTo>
                  <a:lnTo>
                    <a:pt x="587" y="361"/>
                  </a:lnTo>
                  <a:lnTo>
                    <a:pt x="589" y="356"/>
                  </a:lnTo>
                  <a:lnTo>
                    <a:pt x="592" y="354"/>
                  </a:lnTo>
                  <a:lnTo>
                    <a:pt x="592" y="351"/>
                  </a:lnTo>
                  <a:lnTo>
                    <a:pt x="594" y="351"/>
                  </a:lnTo>
                  <a:lnTo>
                    <a:pt x="594" y="349"/>
                  </a:lnTo>
                  <a:lnTo>
                    <a:pt x="592" y="346"/>
                  </a:lnTo>
                  <a:lnTo>
                    <a:pt x="592" y="346"/>
                  </a:lnTo>
                  <a:lnTo>
                    <a:pt x="592" y="346"/>
                  </a:lnTo>
                  <a:lnTo>
                    <a:pt x="592" y="344"/>
                  </a:lnTo>
                  <a:lnTo>
                    <a:pt x="592" y="344"/>
                  </a:lnTo>
                  <a:lnTo>
                    <a:pt x="594" y="344"/>
                  </a:lnTo>
                  <a:lnTo>
                    <a:pt x="597" y="341"/>
                  </a:lnTo>
                  <a:lnTo>
                    <a:pt x="597" y="341"/>
                  </a:lnTo>
                  <a:lnTo>
                    <a:pt x="597" y="341"/>
                  </a:lnTo>
                  <a:lnTo>
                    <a:pt x="594" y="339"/>
                  </a:lnTo>
                  <a:close/>
                  <a:moveTo>
                    <a:pt x="403" y="331"/>
                  </a:moveTo>
                  <a:lnTo>
                    <a:pt x="403" y="333"/>
                  </a:lnTo>
                  <a:lnTo>
                    <a:pt x="403" y="333"/>
                  </a:lnTo>
                  <a:lnTo>
                    <a:pt x="406" y="336"/>
                  </a:lnTo>
                  <a:lnTo>
                    <a:pt x="406" y="333"/>
                  </a:lnTo>
                  <a:lnTo>
                    <a:pt x="406" y="333"/>
                  </a:lnTo>
                  <a:lnTo>
                    <a:pt x="406" y="331"/>
                  </a:lnTo>
                  <a:lnTo>
                    <a:pt x="403" y="331"/>
                  </a:lnTo>
                  <a:close/>
                  <a:moveTo>
                    <a:pt x="553" y="326"/>
                  </a:moveTo>
                  <a:lnTo>
                    <a:pt x="553" y="328"/>
                  </a:lnTo>
                  <a:lnTo>
                    <a:pt x="551" y="328"/>
                  </a:lnTo>
                  <a:lnTo>
                    <a:pt x="551" y="331"/>
                  </a:lnTo>
                  <a:lnTo>
                    <a:pt x="553" y="331"/>
                  </a:lnTo>
                  <a:lnTo>
                    <a:pt x="553" y="328"/>
                  </a:lnTo>
                  <a:lnTo>
                    <a:pt x="553" y="328"/>
                  </a:lnTo>
                  <a:lnTo>
                    <a:pt x="556" y="328"/>
                  </a:lnTo>
                  <a:lnTo>
                    <a:pt x="556" y="328"/>
                  </a:lnTo>
                  <a:lnTo>
                    <a:pt x="556" y="326"/>
                  </a:lnTo>
                  <a:lnTo>
                    <a:pt x="553" y="326"/>
                  </a:lnTo>
                  <a:close/>
                  <a:moveTo>
                    <a:pt x="485" y="331"/>
                  </a:moveTo>
                  <a:lnTo>
                    <a:pt x="485" y="328"/>
                  </a:lnTo>
                  <a:lnTo>
                    <a:pt x="485" y="328"/>
                  </a:lnTo>
                  <a:lnTo>
                    <a:pt x="485" y="328"/>
                  </a:lnTo>
                  <a:lnTo>
                    <a:pt x="485" y="328"/>
                  </a:lnTo>
                  <a:lnTo>
                    <a:pt x="485" y="328"/>
                  </a:lnTo>
                  <a:lnTo>
                    <a:pt x="485" y="328"/>
                  </a:lnTo>
                  <a:lnTo>
                    <a:pt x="482" y="326"/>
                  </a:lnTo>
                  <a:lnTo>
                    <a:pt x="482" y="328"/>
                  </a:lnTo>
                  <a:lnTo>
                    <a:pt x="482" y="328"/>
                  </a:lnTo>
                  <a:lnTo>
                    <a:pt x="482" y="331"/>
                  </a:lnTo>
                  <a:lnTo>
                    <a:pt x="482" y="331"/>
                  </a:lnTo>
                  <a:lnTo>
                    <a:pt x="482" y="333"/>
                  </a:lnTo>
                  <a:lnTo>
                    <a:pt x="482" y="333"/>
                  </a:lnTo>
                  <a:lnTo>
                    <a:pt x="482" y="333"/>
                  </a:lnTo>
                  <a:lnTo>
                    <a:pt x="482" y="331"/>
                  </a:lnTo>
                  <a:lnTo>
                    <a:pt x="485" y="331"/>
                  </a:lnTo>
                  <a:lnTo>
                    <a:pt x="485" y="331"/>
                  </a:lnTo>
                  <a:close/>
                  <a:moveTo>
                    <a:pt x="561" y="326"/>
                  </a:moveTo>
                  <a:lnTo>
                    <a:pt x="561" y="323"/>
                  </a:lnTo>
                  <a:lnTo>
                    <a:pt x="558" y="323"/>
                  </a:lnTo>
                  <a:lnTo>
                    <a:pt x="556" y="323"/>
                  </a:lnTo>
                  <a:lnTo>
                    <a:pt x="556" y="323"/>
                  </a:lnTo>
                  <a:lnTo>
                    <a:pt x="556" y="323"/>
                  </a:lnTo>
                  <a:lnTo>
                    <a:pt x="553" y="326"/>
                  </a:lnTo>
                  <a:lnTo>
                    <a:pt x="561" y="326"/>
                  </a:lnTo>
                  <a:lnTo>
                    <a:pt x="561" y="326"/>
                  </a:lnTo>
                  <a:close/>
                  <a:moveTo>
                    <a:pt x="428" y="326"/>
                  </a:moveTo>
                  <a:lnTo>
                    <a:pt x="428" y="323"/>
                  </a:lnTo>
                  <a:lnTo>
                    <a:pt x="428" y="323"/>
                  </a:lnTo>
                  <a:lnTo>
                    <a:pt x="426" y="323"/>
                  </a:lnTo>
                  <a:lnTo>
                    <a:pt x="423" y="321"/>
                  </a:lnTo>
                  <a:lnTo>
                    <a:pt x="421" y="323"/>
                  </a:lnTo>
                  <a:lnTo>
                    <a:pt x="418" y="323"/>
                  </a:lnTo>
                  <a:lnTo>
                    <a:pt x="416" y="326"/>
                  </a:lnTo>
                  <a:lnTo>
                    <a:pt x="416" y="331"/>
                  </a:lnTo>
                  <a:lnTo>
                    <a:pt x="416" y="333"/>
                  </a:lnTo>
                  <a:lnTo>
                    <a:pt x="413" y="333"/>
                  </a:lnTo>
                  <a:lnTo>
                    <a:pt x="411" y="333"/>
                  </a:lnTo>
                  <a:lnTo>
                    <a:pt x="411" y="333"/>
                  </a:lnTo>
                  <a:lnTo>
                    <a:pt x="411" y="333"/>
                  </a:lnTo>
                  <a:lnTo>
                    <a:pt x="411" y="336"/>
                  </a:lnTo>
                  <a:lnTo>
                    <a:pt x="413" y="336"/>
                  </a:lnTo>
                  <a:lnTo>
                    <a:pt x="418" y="339"/>
                  </a:lnTo>
                  <a:lnTo>
                    <a:pt x="418" y="339"/>
                  </a:lnTo>
                  <a:lnTo>
                    <a:pt x="421" y="339"/>
                  </a:lnTo>
                  <a:lnTo>
                    <a:pt x="426" y="336"/>
                  </a:lnTo>
                  <a:lnTo>
                    <a:pt x="423" y="336"/>
                  </a:lnTo>
                  <a:lnTo>
                    <a:pt x="423" y="336"/>
                  </a:lnTo>
                  <a:lnTo>
                    <a:pt x="426" y="331"/>
                  </a:lnTo>
                  <a:lnTo>
                    <a:pt x="428" y="326"/>
                  </a:lnTo>
                  <a:close/>
                  <a:moveTo>
                    <a:pt x="574" y="326"/>
                  </a:moveTo>
                  <a:lnTo>
                    <a:pt x="576" y="328"/>
                  </a:lnTo>
                  <a:lnTo>
                    <a:pt x="576" y="328"/>
                  </a:lnTo>
                  <a:lnTo>
                    <a:pt x="579" y="328"/>
                  </a:lnTo>
                  <a:lnTo>
                    <a:pt x="579" y="326"/>
                  </a:lnTo>
                  <a:lnTo>
                    <a:pt x="579" y="323"/>
                  </a:lnTo>
                  <a:lnTo>
                    <a:pt x="581" y="321"/>
                  </a:lnTo>
                  <a:lnTo>
                    <a:pt x="581" y="321"/>
                  </a:lnTo>
                  <a:lnTo>
                    <a:pt x="579" y="321"/>
                  </a:lnTo>
                  <a:lnTo>
                    <a:pt x="579" y="321"/>
                  </a:lnTo>
                  <a:lnTo>
                    <a:pt x="576" y="326"/>
                  </a:lnTo>
                  <a:lnTo>
                    <a:pt x="576" y="326"/>
                  </a:lnTo>
                  <a:lnTo>
                    <a:pt x="576" y="323"/>
                  </a:lnTo>
                  <a:lnTo>
                    <a:pt x="574" y="323"/>
                  </a:lnTo>
                  <a:lnTo>
                    <a:pt x="574" y="326"/>
                  </a:lnTo>
                  <a:lnTo>
                    <a:pt x="574" y="326"/>
                  </a:lnTo>
                  <a:lnTo>
                    <a:pt x="574" y="326"/>
                  </a:lnTo>
                  <a:close/>
                  <a:moveTo>
                    <a:pt x="566" y="331"/>
                  </a:moveTo>
                  <a:lnTo>
                    <a:pt x="566" y="328"/>
                  </a:lnTo>
                  <a:lnTo>
                    <a:pt x="566" y="328"/>
                  </a:lnTo>
                  <a:lnTo>
                    <a:pt x="566" y="328"/>
                  </a:lnTo>
                  <a:lnTo>
                    <a:pt x="566" y="328"/>
                  </a:lnTo>
                  <a:lnTo>
                    <a:pt x="566" y="326"/>
                  </a:lnTo>
                  <a:lnTo>
                    <a:pt x="569" y="326"/>
                  </a:lnTo>
                  <a:lnTo>
                    <a:pt x="571" y="323"/>
                  </a:lnTo>
                  <a:lnTo>
                    <a:pt x="574" y="323"/>
                  </a:lnTo>
                  <a:lnTo>
                    <a:pt x="571" y="323"/>
                  </a:lnTo>
                  <a:lnTo>
                    <a:pt x="571" y="321"/>
                  </a:lnTo>
                  <a:lnTo>
                    <a:pt x="571" y="321"/>
                  </a:lnTo>
                  <a:lnTo>
                    <a:pt x="566" y="323"/>
                  </a:lnTo>
                  <a:lnTo>
                    <a:pt x="566" y="323"/>
                  </a:lnTo>
                  <a:lnTo>
                    <a:pt x="566" y="323"/>
                  </a:lnTo>
                  <a:lnTo>
                    <a:pt x="564" y="323"/>
                  </a:lnTo>
                  <a:lnTo>
                    <a:pt x="561" y="323"/>
                  </a:lnTo>
                  <a:lnTo>
                    <a:pt x="561" y="323"/>
                  </a:lnTo>
                  <a:lnTo>
                    <a:pt x="564" y="323"/>
                  </a:lnTo>
                  <a:lnTo>
                    <a:pt x="564" y="323"/>
                  </a:lnTo>
                  <a:lnTo>
                    <a:pt x="564" y="326"/>
                  </a:lnTo>
                  <a:lnTo>
                    <a:pt x="561" y="326"/>
                  </a:lnTo>
                  <a:lnTo>
                    <a:pt x="558" y="328"/>
                  </a:lnTo>
                  <a:lnTo>
                    <a:pt x="558" y="328"/>
                  </a:lnTo>
                  <a:lnTo>
                    <a:pt x="561" y="328"/>
                  </a:lnTo>
                  <a:lnTo>
                    <a:pt x="561" y="331"/>
                  </a:lnTo>
                  <a:lnTo>
                    <a:pt x="564" y="331"/>
                  </a:lnTo>
                  <a:lnTo>
                    <a:pt x="564" y="328"/>
                  </a:lnTo>
                  <a:lnTo>
                    <a:pt x="566" y="331"/>
                  </a:lnTo>
                  <a:close/>
                  <a:moveTo>
                    <a:pt x="869" y="321"/>
                  </a:moveTo>
                  <a:lnTo>
                    <a:pt x="869" y="321"/>
                  </a:lnTo>
                  <a:lnTo>
                    <a:pt x="867" y="323"/>
                  </a:lnTo>
                  <a:lnTo>
                    <a:pt x="867" y="323"/>
                  </a:lnTo>
                  <a:lnTo>
                    <a:pt x="867" y="323"/>
                  </a:lnTo>
                  <a:lnTo>
                    <a:pt x="867" y="326"/>
                  </a:lnTo>
                  <a:lnTo>
                    <a:pt x="872" y="326"/>
                  </a:lnTo>
                  <a:lnTo>
                    <a:pt x="872" y="326"/>
                  </a:lnTo>
                  <a:lnTo>
                    <a:pt x="872" y="323"/>
                  </a:lnTo>
                  <a:lnTo>
                    <a:pt x="872" y="321"/>
                  </a:lnTo>
                  <a:lnTo>
                    <a:pt x="869" y="321"/>
                  </a:lnTo>
                  <a:close/>
                  <a:moveTo>
                    <a:pt x="444" y="326"/>
                  </a:moveTo>
                  <a:lnTo>
                    <a:pt x="446" y="326"/>
                  </a:lnTo>
                  <a:lnTo>
                    <a:pt x="449" y="321"/>
                  </a:lnTo>
                  <a:lnTo>
                    <a:pt x="446" y="321"/>
                  </a:lnTo>
                  <a:lnTo>
                    <a:pt x="446" y="321"/>
                  </a:lnTo>
                  <a:lnTo>
                    <a:pt x="444" y="321"/>
                  </a:lnTo>
                  <a:lnTo>
                    <a:pt x="444" y="323"/>
                  </a:lnTo>
                  <a:lnTo>
                    <a:pt x="444" y="323"/>
                  </a:lnTo>
                  <a:lnTo>
                    <a:pt x="444" y="326"/>
                  </a:lnTo>
                  <a:lnTo>
                    <a:pt x="444" y="326"/>
                  </a:lnTo>
                  <a:close/>
                  <a:moveTo>
                    <a:pt x="477" y="321"/>
                  </a:moveTo>
                  <a:lnTo>
                    <a:pt x="474" y="321"/>
                  </a:lnTo>
                  <a:lnTo>
                    <a:pt x="474" y="321"/>
                  </a:lnTo>
                  <a:lnTo>
                    <a:pt x="474" y="323"/>
                  </a:lnTo>
                  <a:lnTo>
                    <a:pt x="477" y="323"/>
                  </a:lnTo>
                  <a:lnTo>
                    <a:pt x="477" y="321"/>
                  </a:lnTo>
                  <a:lnTo>
                    <a:pt x="477" y="321"/>
                  </a:lnTo>
                  <a:lnTo>
                    <a:pt x="477" y="321"/>
                  </a:lnTo>
                  <a:lnTo>
                    <a:pt x="477" y="321"/>
                  </a:lnTo>
                  <a:lnTo>
                    <a:pt x="477" y="321"/>
                  </a:lnTo>
                  <a:close/>
                  <a:moveTo>
                    <a:pt x="594" y="321"/>
                  </a:moveTo>
                  <a:lnTo>
                    <a:pt x="589" y="321"/>
                  </a:lnTo>
                  <a:lnTo>
                    <a:pt x="589" y="321"/>
                  </a:lnTo>
                  <a:lnTo>
                    <a:pt x="587" y="321"/>
                  </a:lnTo>
                  <a:lnTo>
                    <a:pt x="587" y="321"/>
                  </a:lnTo>
                  <a:lnTo>
                    <a:pt x="584" y="321"/>
                  </a:lnTo>
                  <a:lnTo>
                    <a:pt x="584" y="321"/>
                  </a:lnTo>
                  <a:lnTo>
                    <a:pt x="581" y="323"/>
                  </a:lnTo>
                  <a:lnTo>
                    <a:pt x="584" y="323"/>
                  </a:lnTo>
                  <a:lnTo>
                    <a:pt x="581" y="326"/>
                  </a:lnTo>
                  <a:lnTo>
                    <a:pt x="581" y="326"/>
                  </a:lnTo>
                  <a:lnTo>
                    <a:pt x="584" y="326"/>
                  </a:lnTo>
                  <a:lnTo>
                    <a:pt x="597" y="326"/>
                  </a:lnTo>
                  <a:lnTo>
                    <a:pt x="597" y="323"/>
                  </a:lnTo>
                  <a:lnTo>
                    <a:pt x="597" y="321"/>
                  </a:lnTo>
                  <a:lnTo>
                    <a:pt x="597" y="321"/>
                  </a:lnTo>
                  <a:lnTo>
                    <a:pt x="594" y="321"/>
                  </a:lnTo>
                  <a:close/>
                  <a:moveTo>
                    <a:pt x="655" y="321"/>
                  </a:moveTo>
                  <a:lnTo>
                    <a:pt x="650" y="318"/>
                  </a:lnTo>
                  <a:lnTo>
                    <a:pt x="650" y="321"/>
                  </a:lnTo>
                  <a:lnTo>
                    <a:pt x="650" y="321"/>
                  </a:lnTo>
                  <a:lnTo>
                    <a:pt x="655" y="323"/>
                  </a:lnTo>
                  <a:lnTo>
                    <a:pt x="658" y="321"/>
                  </a:lnTo>
                  <a:lnTo>
                    <a:pt x="658" y="321"/>
                  </a:lnTo>
                  <a:lnTo>
                    <a:pt x="655" y="321"/>
                  </a:lnTo>
                  <a:close/>
                  <a:moveTo>
                    <a:pt x="548" y="331"/>
                  </a:moveTo>
                  <a:lnTo>
                    <a:pt x="551" y="331"/>
                  </a:lnTo>
                  <a:lnTo>
                    <a:pt x="551" y="328"/>
                  </a:lnTo>
                  <a:lnTo>
                    <a:pt x="551" y="328"/>
                  </a:lnTo>
                  <a:lnTo>
                    <a:pt x="553" y="326"/>
                  </a:lnTo>
                  <a:lnTo>
                    <a:pt x="553" y="326"/>
                  </a:lnTo>
                  <a:lnTo>
                    <a:pt x="553" y="326"/>
                  </a:lnTo>
                  <a:lnTo>
                    <a:pt x="553" y="323"/>
                  </a:lnTo>
                  <a:lnTo>
                    <a:pt x="553" y="321"/>
                  </a:lnTo>
                  <a:lnTo>
                    <a:pt x="553" y="318"/>
                  </a:lnTo>
                  <a:lnTo>
                    <a:pt x="551" y="318"/>
                  </a:lnTo>
                  <a:lnTo>
                    <a:pt x="551" y="321"/>
                  </a:lnTo>
                  <a:lnTo>
                    <a:pt x="551" y="321"/>
                  </a:lnTo>
                  <a:lnTo>
                    <a:pt x="553" y="321"/>
                  </a:lnTo>
                  <a:lnTo>
                    <a:pt x="551" y="323"/>
                  </a:lnTo>
                  <a:lnTo>
                    <a:pt x="548" y="326"/>
                  </a:lnTo>
                  <a:lnTo>
                    <a:pt x="546" y="326"/>
                  </a:lnTo>
                  <a:lnTo>
                    <a:pt x="546" y="326"/>
                  </a:lnTo>
                  <a:lnTo>
                    <a:pt x="543" y="328"/>
                  </a:lnTo>
                  <a:lnTo>
                    <a:pt x="543" y="328"/>
                  </a:lnTo>
                  <a:lnTo>
                    <a:pt x="543" y="331"/>
                  </a:lnTo>
                  <a:lnTo>
                    <a:pt x="543" y="331"/>
                  </a:lnTo>
                  <a:lnTo>
                    <a:pt x="541" y="331"/>
                  </a:lnTo>
                  <a:lnTo>
                    <a:pt x="538" y="331"/>
                  </a:lnTo>
                  <a:lnTo>
                    <a:pt x="536" y="328"/>
                  </a:lnTo>
                  <a:lnTo>
                    <a:pt x="536" y="328"/>
                  </a:lnTo>
                  <a:lnTo>
                    <a:pt x="533" y="328"/>
                  </a:lnTo>
                  <a:lnTo>
                    <a:pt x="533" y="328"/>
                  </a:lnTo>
                  <a:lnTo>
                    <a:pt x="530" y="328"/>
                  </a:lnTo>
                  <a:lnTo>
                    <a:pt x="528" y="328"/>
                  </a:lnTo>
                  <a:lnTo>
                    <a:pt x="528" y="328"/>
                  </a:lnTo>
                  <a:lnTo>
                    <a:pt x="525" y="328"/>
                  </a:lnTo>
                  <a:lnTo>
                    <a:pt x="525" y="331"/>
                  </a:lnTo>
                  <a:lnTo>
                    <a:pt x="523" y="331"/>
                  </a:lnTo>
                  <a:lnTo>
                    <a:pt x="523" y="331"/>
                  </a:lnTo>
                  <a:lnTo>
                    <a:pt x="520" y="328"/>
                  </a:lnTo>
                  <a:lnTo>
                    <a:pt x="520" y="328"/>
                  </a:lnTo>
                  <a:lnTo>
                    <a:pt x="515" y="326"/>
                  </a:lnTo>
                  <a:lnTo>
                    <a:pt x="515" y="326"/>
                  </a:lnTo>
                  <a:lnTo>
                    <a:pt x="513" y="323"/>
                  </a:lnTo>
                  <a:lnTo>
                    <a:pt x="510" y="323"/>
                  </a:lnTo>
                  <a:lnTo>
                    <a:pt x="507" y="323"/>
                  </a:lnTo>
                  <a:lnTo>
                    <a:pt x="507" y="323"/>
                  </a:lnTo>
                  <a:lnTo>
                    <a:pt x="505" y="323"/>
                  </a:lnTo>
                  <a:lnTo>
                    <a:pt x="505" y="323"/>
                  </a:lnTo>
                  <a:lnTo>
                    <a:pt x="502" y="323"/>
                  </a:lnTo>
                  <a:lnTo>
                    <a:pt x="502" y="323"/>
                  </a:lnTo>
                  <a:lnTo>
                    <a:pt x="500" y="323"/>
                  </a:lnTo>
                  <a:lnTo>
                    <a:pt x="497" y="326"/>
                  </a:lnTo>
                  <a:lnTo>
                    <a:pt x="492" y="326"/>
                  </a:lnTo>
                  <a:lnTo>
                    <a:pt x="492" y="326"/>
                  </a:lnTo>
                  <a:lnTo>
                    <a:pt x="492" y="326"/>
                  </a:lnTo>
                  <a:lnTo>
                    <a:pt x="492" y="328"/>
                  </a:lnTo>
                  <a:lnTo>
                    <a:pt x="490" y="328"/>
                  </a:lnTo>
                  <a:lnTo>
                    <a:pt x="490" y="331"/>
                  </a:lnTo>
                  <a:lnTo>
                    <a:pt x="490" y="331"/>
                  </a:lnTo>
                  <a:lnTo>
                    <a:pt x="490" y="333"/>
                  </a:lnTo>
                  <a:lnTo>
                    <a:pt x="490" y="333"/>
                  </a:lnTo>
                  <a:lnTo>
                    <a:pt x="492" y="336"/>
                  </a:lnTo>
                  <a:lnTo>
                    <a:pt x="492" y="336"/>
                  </a:lnTo>
                  <a:lnTo>
                    <a:pt x="495" y="336"/>
                  </a:lnTo>
                  <a:lnTo>
                    <a:pt x="495" y="333"/>
                  </a:lnTo>
                  <a:lnTo>
                    <a:pt x="500" y="336"/>
                  </a:lnTo>
                  <a:lnTo>
                    <a:pt x="505" y="336"/>
                  </a:lnTo>
                  <a:lnTo>
                    <a:pt x="510" y="336"/>
                  </a:lnTo>
                  <a:lnTo>
                    <a:pt x="513" y="339"/>
                  </a:lnTo>
                  <a:lnTo>
                    <a:pt x="515" y="339"/>
                  </a:lnTo>
                  <a:lnTo>
                    <a:pt x="515" y="339"/>
                  </a:lnTo>
                  <a:lnTo>
                    <a:pt x="515" y="339"/>
                  </a:lnTo>
                  <a:lnTo>
                    <a:pt x="518" y="336"/>
                  </a:lnTo>
                  <a:lnTo>
                    <a:pt x="520" y="339"/>
                  </a:lnTo>
                  <a:lnTo>
                    <a:pt x="523" y="336"/>
                  </a:lnTo>
                  <a:lnTo>
                    <a:pt x="523" y="336"/>
                  </a:lnTo>
                  <a:lnTo>
                    <a:pt x="525" y="336"/>
                  </a:lnTo>
                  <a:lnTo>
                    <a:pt x="525" y="336"/>
                  </a:lnTo>
                  <a:lnTo>
                    <a:pt x="525" y="336"/>
                  </a:lnTo>
                  <a:lnTo>
                    <a:pt x="528" y="336"/>
                  </a:lnTo>
                  <a:lnTo>
                    <a:pt x="530" y="336"/>
                  </a:lnTo>
                  <a:lnTo>
                    <a:pt x="536" y="333"/>
                  </a:lnTo>
                  <a:lnTo>
                    <a:pt x="538" y="333"/>
                  </a:lnTo>
                  <a:lnTo>
                    <a:pt x="541" y="333"/>
                  </a:lnTo>
                  <a:lnTo>
                    <a:pt x="543" y="333"/>
                  </a:lnTo>
                  <a:lnTo>
                    <a:pt x="543" y="333"/>
                  </a:lnTo>
                  <a:lnTo>
                    <a:pt x="546" y="333"/>
                  </a:lnTo>
                  <a:lnTo>
                    <a:pt x="546" y="331"/>
                  </a:lnTo>
                  <a:lnTo>
                    <a:pt x="548" y="331"/>
                  </a:lnTo>
                  <a:close/>
                  <a:moveTo>
                    <a:pt x="716" y="318"/>
                  </a:moveTo>
                  <a:lnTo>
                    <a:pt x="711" y="323"/>
                  </a:lnTo>
                  <a:lnTo>
                    <a:pt x="709" y="326"/>
                  </a:lnTo>
                  <a:lnTo>
                    <a:pt x="711" y="323"/>
                  </a:lnTo>
                  <a:lnTo>
                    <a:pt x="714" y="323"/>
                  </a:lnTo>
                  <a:lnTo>
                    <a:pt x="716" y="321"/>
                  </a:lnTo>
                  <a:lnTo>
                    <a:pt x="719" y="321"/>
                  </a:lnTo>
                  <a:lnTo>
                    <a:pt x="716" y="321"/>
                  </a:lnTo>
                  <a:lnTo>
                    <a:pt x="716" y="318"/>
                  </a:lnTo>
                  <a:close/>
                  <a:moveTo>
                    <a:pt x="469" y="333"/>
                  </a:moveTo>
                  <a:lnTo>
                    <a:pt x="469" y="333"/>
                  </a:lnTo>
                  <a:lnTo>
                    <a:pt x="469" y="333"/>
                  </a:lnTo>
                  <a:lnTo>
                    <a:pt x="472" y="333"/>
                  </a:lnTo>
                  <a:lnTo>
                    <a:pt x="472" y="333"/>
                  </a:lnTo>
                  <a:lnTo>
                    <a:pt x="472" y="333"/>
                  </a:lnTo>
                  <a:lnTo>
                    <a:pt x="474" y="333"/>
                  </a:lnTo>
                  <a:lnTo>
                    <a:pt x="474" y="333"/>
                  </a:lnTo>
                  <a:lnTo>
                    <a:pt x="474" y="333"/>
                  </a:lnTo>
                  <a:lnTo>
                    <a:pt x="477" y="331"/>
                  </a:lnTo>
                  <a:lnTo>
                    <a:pt x="477" y="331"/>
                  </a:lnTo>
                  <a:lnTo>
                    <a:pt x="474" y="331"/>
                  </a:lnTo>
                  <a:lnTo>
                    <a:pt x="474" y="328"/>
                  </a:lnTo>
                  <a:lnTo>
                    <a:pt x="474" y="328"/>
                  </a:lnTo>
                  <a:lnTo>
                    <a:pt x="474" y="323"/>
                  </a:lnTo>
                  <a:lnTo>
                    <a:pt x="472" y="323"/>
                  </a:lnTo>
                  <a:lnTo>
                    <a:pt x="472" y="323"/>
                  </a:lnTo>
                  <a:lnTo>
                    <a:pt x="469" y="323"/>
                  </a:lnTo>
                  <a:lnTo>
                    <a:pt x="469" y="323"/>
                  </a:lnTo>
                  <a:lnTo>
                    <a:pt x="469" y="326"/>
                  </a:lnTo>
                  <a:lnTo>
                    <a:pt x="467" y="326"/>
                  </a:lnTo>
                  <a:lnTo>
                    <a:pt x="467" y="323"/>
                  </a:lnTo>
                  <a:lnTo>
                    <a:pt x="467" y="323"/>
                  </a:lnTo>
                  <a:lnTo>
                    <a:pt x="464" y="323"/>
                  </a:lnTo>
                  <a:lnTo>
                    <a:pt x="464" y="323"/>
                  </a:lnTo>
                  <a:lnTo>
                    <a:pt x="462" y="323"/>
                  </a:lnTo>
                  <a:lnTo>
                    <a:pt x="462" y="326"/>
                  </a:lnTo>
                  <a:lnTo>
                    <a:pt x="459" y="326"/>
                  </a:lnTo>
                  <a:lnTo>
                    <a:pt x="459" y="323"/>
                  </a:lnTo>
                  <a:lnTo>
                    <a:pt x="459" y="323"/>
                  </a:lnTo>
                  <a:lnTo>
                    <a:pt x="457" y="321"/>
                  </a:lnTo>
                  <a:lnTo>
                    <a:pt x="457" y="321"/>
                  </a:lnTo>
                  <a:lnTo>
                    <a:pt x="454" y="318"/>
                  </a:lnTo>
                  <a:lnTo>
                    <a:pt x="451" y="318"/>
                  </a:lnTo>
                  <a:lnTo>
                    <a:pt x="449" y="321"/>
                  </a:lnTo>
                  <a:lnTo>
                    <a:pt x="449" y="321"/>
                  </a:lnTo>
                  <a:lnTo>
                    <a:pt x="449" y="323"/>
                  </a:lnTo>
                  <a:lnTo>
                    <a:pt x="451" y="326"/>
                  </a:lnTo>
                  <a:lnTo>
                    <a:pt x="454" y="328"/>
                  </a:lnTo>
                  <a:lnTo>
                    <a:pt x="454" y="328"/>
                  </a:lnTo>
                  <a:lnTo>
                    <a:pt x="454" y="328"/>
                  </a:lnTo>
                  <a:lnTo>
                    <a:pt x="457" y="328"/>
                  </a:lnTo>
                  <a:lnTo>
                    <a:pt x="457" y="328"/>
                  </a:lnTo>
                  <a:lnTo>
                    <a:pt x="459" y="331"/>
                  </a:lnTo>
                  <a:lnTo>
                    <a:pt x="457" y="331"/>
                  </a:lnTo>
                  <a:lnTo>
                    <a:pt x="457" y="331"/>
                  </a:lnTo>
                  <a:lnTo>
                    <a:pt x="454" y="333"/>
                  </a:lnTo>
                  <a:lnTo>
                    <a:pt x="451" y="333"/>
                  </a:lnTo>
                  <a:lnTo>
                    <a:pt x="449" y="333"/>
                  </a:lnTo>
                  <a:lnTo>
                    <a:pt x="449" y="331"/>
                  </a:lnTo>
                  <a:lnTo>
                    <a:pt x="446" y="328"/>
                  </a:lnTo>
                  <a:lnTo>
                    <a:pt x="446" y="328"/>
                  </a:lnTo>
                  <a:lnTo>
                    <a:pt x="446" y="328"/>
                  </a:lnTo>
                  <a:lnTo>
                    <a:pt x="446" y="326"/>
                  </a:lnTo>
                  <a:lnTo>
                    <a:pt x="444" y="326"/>
                  </a:lnTo>
                  <a:lnTo>
                    <a:pt x="441" y="326"/>
                  </a:lnTo>
                  <a:lnTo>
                    <a:pt x="439" y="326"/>
                  </a:lnTo>
                  <a:lnTo>
                    <a:pt x="436" y="326"/>
                  </a:lnTo>
                  <a:lnTo>
                    <a:pt x="436" y="326"/>
                  </a:lnTo>
                  <a:lnTo>
                    <a:pt x="434" y="328"/>
                  </a:lnTo>
                  <a:lnTo>
                    <a:pt x="431" y="328"/>
                  </a:lnTo>
                  <a:lnTo>
                    <a:pt x="431" y="328"/>
                  </a:lnTo>
                  <a:lnTo>
                    <a:pt x="428" y="331"/>
                  </a:lnTo>
                  <a:lnTo>
                    <a:pt x="428" y="331"/>
                  </a:lnTo>
                  <a:lnTo>
                    <a:pt x="428" y="336"/>
                  </a:lnTo>
                  <a:lnTo>
                    <a:pt x="428" y="336"/>
                  </a:lnTo>
                  <a:lnTo>
                    <a:pt x="428" y="339"/>
                  </a:lnTo>
                  <a:lnTo>
                    <a:pt x="428" y="339"/>
                  </a:lnTo>
                  <a:lnTo>
                    <a:pt x="431" y="341"/>
                  </a:lnTo>
                  <a:lnTo>
                    <a:pt x="431" y="341"/>
                  </a:lnTo>
                  <a:lnTo>
                    <a:pt x="434" y="341"/>
                  </a:lnTo>
                  <a:lnTo>
                    <a:pt x="436" y="341"/>
                  </a:lnTo>
                  <a:lnTo>
                    <a:pt x="436" y="341"/>
                  </a:lnTo>
                  <a:lnTo>
                    <a:pt x="439" y="341"/>
                  </a:lnTo>
                  <a:lnTo>
                    <a:pt x="439" y="341"/>
                  </a:lnTo>
                  <a:lnTo>
                    <a:pt x="441" y="341"/>
                  </a:lnTo>
                  <a:lnTo>
                    <a:pt x="444" y="339"/>
                  </a:lnTo>
                  <a:lnTo>
                    <a:pt x="449" y="339"/>
                  </a:lnTo>
                  <a:lnTo>
                    <a:pt x="449" y="339"/>
                  </a:lnTo>
                  <a:lnTo>
                    <a:pt x="451" y="339"/>
                  </a:lnTo>
                  <a:lnTo>
                    <a:pt x="454" y="336"/>
                  </a:lnTo>
                  <a:lnTo>
                    <a:pt x="457" y="336"/>
                  </a:lnTo>
                  <a:lnTo>
                    <a:pt x="457" y="336"/>
                  </a:lnTo>
                  <a:lnTo>
                    <a:pt x="459" y="336"/>
                  </a:lnTo>
                  <a:lnTo>
                    <a:pt x="462" y="331"/>
                  </a:lnTo>
                  <a:lnTo>
                    <a:pt x="462" y="333"/>
                  </a:lnTo>
                  <a:lnTo>
                    <a:pt x="462" y="336"/>
                  </a:lnTo>
                  <a:lnTo>
                    <a:pt x="462" y="336"/>
                  </a:lnTo>
                  <a:lnTo>
                    <a:pt x="462" y="336"/>
                  </a:lnTo>
                  <a:lnTo>
                    <a:pt x="467" y="336"/>
                  </a:lnTo>
                  <a:lnTo>
                    <a:pt x="467" y="336"/>
                  </a:lnTo>
                  <a:lnTo>
                    <a:pt x="469" y="336"/>
                  </a:lnTo>
                  <a:lnTo>
                    <a:pt x="469" y="336"/>
                  </a:lnTo>
                  <a:lnTo>
                    <a:pt x="469" y="336"/>
                  </a:lnTo>
                  <a:lnTo>
                    <a:pt x="469" y="336"/>
                  </a:lnTo>
                  <a:lnTo>
                    <a:pt x="469" y="333"/>
                  </a:lnTo>
                  <a:close/>
                  <a:moveTo>
                    <a:pt x="406" y="321"/>
                  </a:moveTo>
                  <a:lnTo>
                    <a:pt x="403" y="321"/>
                  </a:lnTo>
                  <a:lnTo>
                    <a:pt x="400" y="318"/>
                  </a:lnTo>
                  <a:lnTo>
                    <a:pt x="398" y="318"/>
                  </a:lnTo>
                  <a:lnTo>
                    <a:pt x="398" y="318"/>
                  </a:lnTo>
                  <a:lnTo>
                    <a:pt x="395" y="321"/>
                  </a:lnTo>
                  <a:lnTo>
                    <a:pt x="393" y="321"/>
                  </a:lnTo>
                  <a:lnTo>
                    <a:pt x="390" y="321"/>
                  </a:lnTo>
                  <a:lnTo>
                    <a:pt x="388" y="321"/>
                  </a:lnTo>
                  <a:lnTo>
                    <a:pt x="385" y="318"/>
                  </a:lnTo>
                  <a:lnTo>
                    <a:pt x="383" y="321"/>
                  </a:lnTo>
                  <a:lnTo>
                    <a:pt x="383" y="321"/>
                  </a:lnTo>
                  <a:lnTo>
                    <a:pt x="383" y="321"/>
                  </a:lnTo>
                  <a:lnTo>
                    <a:pt x="385" y="323"/>
                  </a:lnTo>
                  <a:lnTo>
                    <a:pt x="385" y="326"/>
                  </a:lnTo>
                  <a:lnTo>
                    <a:pt x="385" y="326"/>
                  </a:lnTo>
                  <a:lnTo>
                    <a:pt x="388" y="326"/>
                  </a:lnTo>
                  <a:lnTo>
                    <a:pt x="390" y="326"/>
                  </a:lnTo>
                  <a:lnTo>
                    <a:pt x="393" y="328"/>
                  </a:lnTo>
                  <a:lnTo>
                    <a:pt x="395" y="331"/>
                  </a:lnTo>
                  <a:lnTo>
                    <a:pt x="395" y="331"/>
                  </a:lnTo>
                  <a:lnTo>
                    <a:pt x="395" y="333"/>
                  </a:lnTo>
                  <a:lnTo>
                    <a:pt x="395" y="333"/>
                  </a:lnTo>
                  <a:lnTo>
                    <a:pt x="395" y="336"/>
                  </a:lnTo>
                  <a:lnTo>
                    <a:pt x="395" y="336"/>
                  </a:lnTo>
                  <a:lnTo>
                    <a:pt x="398" y="336"/>
                  </a:lnTo>
                  <a:lnTo>
                    <a:pt x="398" y="336"/>
                  </a:lnTo>
                  <a:lnTo>
                    <a:pt x="398" y="336"/>
                  </a:lnTo>
                  <a:lnTo>
                    <a:pt x="398" y="333"/>
                  </a:lnTo>
                  <a:lnTo>
                    <a:pt x="400" y="331"/>
                  </a:lnTo>
                  <a:lnTo>
                    <a:pt x="400" y="331"/>
                  </a:lnTo>
                  <a:lnTo>
                    <a:pt x="406" y="328"/>
                  </a:lnTo>
                  <a:lnTo>
                    <a:pt x="408" y="326"/>
                  </a:lnTo>
                  <a:lnTo>
                    <a:pt x="408" y="326"/>
                  </a:lnTo>
                  <a:lnTo>
                    <a:pt x="408" y="326"/>
                  </a:lnTo>
                  <a:lnTo>
                    <a:pt x="406" y="321"/>
                  </a:lnTo>
                  <a:close/>
                  <a:moveTo>
                    <a:pt x="688" y="313"/>
                  </a:moveTo>
                  <a:lnTo>
                    <a:pt x="688" y="313"/>
                  </a:lnTo>
                  <a:lnTo>
                    <a:pt x="688" y="313"/>
                  </a:lnTo>
                  <a:lnTo>
                    <a:pt x="686" y="316"/>
                  </a:lnTo>
                  <a:lnTo>
                    <a:pt x="688" y="318"/>
                  </a:lnTo>
                  <a:lnTo>
                    <a:pt x="691" y="318"/>
                  </a:lnTo>
                  <a:lnTo>
                    <a:pt x="691" y="316"/>
                  </a:lnTo>
                  <a:lnTo>
                    <a:pt x="691" y="313"/>
                  </a:lnTo>
                  <a:lnTo>
                    <a:pt x="691" y="313"/>
                  </a:lnTo>
                  <a:lnTo>
                    <a:pt x="688" y="313"/>
                  </a:lnTo>
                  <a:close/>
                  <a:moveTo>
                    <a:pt x="630" y="308"/>
                  </a:moveTo>
                  <a:lnTo>
                    <a:pt x="627" y="308"/>
                  </a:lnTo>
                  <a:lnTo>
                    <a:pt x="625" y="308"/>
                  </a:lnTo>
                  <a:lnTo>
                    <a:pt x="622" y="311"/>
                  </a:lnTo>
                  <a:lnTo>
                    <a:pt x="620" y="311"/>
                  </a:lnTo>
                  <a:lnTo>
                    <a:pt x="617" y="311"/>
                  </a:lnTo>
                  <a:lnTo>
                    <a:pt x="615" y="308"/>
                  </a:lnTo>
                  <a:lnTo>
                    <a:pt x="612" y="313"/>
                  </a:lnTo>
                  <a:lnTo>
                    <a:pt x="612" y="313"/>
                  </a:lnTo>
                  <a:lnTo>
                    <a:pt x="612" y="316"/>
                  </a:lnTo>
                  <a:lnTo>
                    <a:pt x="612" y="316"/>
                  </a:lnTo>
                  <a:lnTo>
                    <a:pt x="615" y="316"/>
                  </a:lnTo>
                  <a:lnTo>
                    <a:pt x="617" y="313"/>
                  </a:lnTo>
                  <a:lnTo>
                    <a:pt x="617" y="313"/>
                  </a:lnTo>
                  <a:lnTo>
                    <a:pt x="620" y="316"/>
                  </a:lnTo>
                  <a:lnTo>
                    <a:pt x="622" y="316"/>
                  </a:lnTo>
                  <a:lnTo>
                    <a:pt x="625" y="316"/>
                  </a:lnTo>
                  <a:lnTo>
                    <a:pt x="625" y="313"/>
                  </a:lnTo>
                  <a:lnTo>
                    <a:pt x="627" y="313"/>
                  </a:lnTo>
                  <a:lnTo>
                    <a:pt x="630" y="311"/>
                  </a:lnTo>
                  <a:lnTo>
                    <a:pt x="632" y="311"/>
                  </a:lnTo>
                  <a:lnTo>
                    <a:pt x="632" y="311"/>
                  </a:lnTo>
                  <a:lnTo>
                    <a:pt x="632" y="308"/>
                  </a:lnTo>
                  <a:lnTo>
                    <a:pt x="630" y="308"/>
                  </a:lnTo>
                  <a:close/>
                  <a:moveTo>
                    <a:pt x="643" y="308"/>
                  </a:moveTo>
                  <a:lnTo>
                    <a:pt x="643" y="308"/>
                  </a:lnTo>
                  <a:lnTo>
                    <a:pt x="645" y="308"/>
                  </a:lnTo>
                  <a:lnTo>
                    <a:pt x="645" y="308"/>
                  </a:lnTo>
                  <a:lnTo>
                    <a:pt x="645" y="308"/>
                  </a:lnTo>
                  <a:lnTo>
                    <a:pt x="645" y="305"/>
                  </a:lnTo>
                  <a:lnTo>
                    <a:pt x="643" y="305"/>
                  </a:lnTo>
                  <a:lnTo>
                    <a:pt x="643" y="308"/>
                  </a:lnTo>
                  <a:close/>
                  <a:moveTo>
                    <a:pt x="872" y="318"/>
                  </a:moveTo>
                  <a:lnTo>
                    <a:pt x="874" y="313"/>
                  </a:lnTo>
                  <a:lnTo>
                    <a:pt x="874" y="311"/>
                  </a:lnTo>
                  <a:lnTo>
                    <a:pt x="874" y="308"/>
                  </a:lnTo>
                  <a:lnTo>
                    <a:pt x="874" y="305"/>
                  </a:lnTo>
                  <a:lnTo>
                    <a:pt x="872" y="303"/>
                  </a:lnTo>
                  <a:lnTo>
                    <a:pt x="872" y="303"/>
                  </a:lnTo>
                  <a:lnTo>
                    <a:pt x="867" y="303"/>
                  </a:lnTo>
                  <a:lnTo>
                    <a:pt x="862" y="303"/>
                  </a:lnTo>
                  <a:lnTo>
                    <a:pt x="859" y="305"/>
                  </a:lnTo>
                  <a:lnTo>
                    <a:pt x="857" y="308"/>
                  </a:lnTo>
                  <a:lnTo>
                    <a:pt x="857" y="308"/>
                  </a:lnTo>
                  <a:lnTo>
                    <a:pt x="852" y="316"/>
                  </a:lnTo>
                  <a:lnTo>
                    <a:pt x="849" y="323"/>
                  </a:lnTo>
                  <a:lnTo>
                    <a:pt x="846" y="326"/>
                  </a:lnTo>
                  <a:lnTo>
                    <a:pt x="849" y="326"/>
                  </a:lnTo>
                  <a:lnTo>
                    <a:pt x="852" y="326"/>
                  </a:lnTo>
                  <a:lnTo>
                    <a:pt x="854" y="326"/>
                  </a:lnTo>
                  <a:lnTo>
                    <a:pt x="862" y="326"/>
                  </a:lnTo>
                  <a:lnTo>
                    <a:pt x="867" y="323"/>
                  </a:lnTo>
                  <a:lnTo>
                    <a:pt x="867" y="321"/>
                  </a:lnTo>
                  <a:lnTo>
                    <a:pt x="872" y="318"/>
                  </a:lnTo>
                  <a:close/>
                  <a:moveTo>
                    <a:pt x="729" y="298"/>
                  </a:moveTo>
                  <a:lnTo>
                    <a:pt x="729" y="298"/>
                  </a:lnTo>
                  <a:lnTo>
                    <a:pt x="727" y="298"/>
                  </a:lnTo>
                  <a:lnTo>
                    <a:pt x="727" y="298"/>
                  </a:lnTo>
                  <a:lnTo>
                    <a:pt x="727" y="298"/>
                  </a:lnTo>
                  <a:lnTo>
                    <a:pt x="727" y="300"/>
                  </a:lnTo>
                  <a:lnTo>
                    <a:pt x="724" y="300"/>
                  </a:lnTo>
                  <a:lnTo>
                    <a:pt x="724" y="303"/>
                  </a:lnTo>
                  <a:lnTo>
                    <a:pt x="724" y="303"/>
                  </a:lnTo>
                  <a:lnTo>
                    <a:pt x="722" y="303"/>
                  </a:lnTo>
                  <a:lnTo>
                    <a:pt x="722" y="305"/>
                  </a:lnTo>
                  <a:lnTo>
                    <a:pt x="719" y="308"/>
                  </a:lnTo>
                  <a:lnTo>
                    <a:pt x="719" y="311"/>
                  </a:lnTo>
                  <a:lnTo>
                    <a:pt x="719" y="311"/>
                  </a:lnTo>
                  <a:lnTo>
                    <a:pt x="719" y="313"/>
                  </a:lnTo>
                  <a:lnTo>
                    <a:pt x="716" y="313"/>
                  </a:lnTo>
                  <a:lnTo>
                    <a:pt x="716" y="316"/>
                  </a:lnTo>
                  <a:lnTo>
                    <a:pt x="716" y="316"/>
                  </a:lnTo>
                  <a:lnTo>
                    <a:pt x="719" y="316"/>
                  </a:lnTo>
                  <a:lnTo>
                    <a:pt x="722" y="318"/>
                  </a:lnTo>
                  <a:lnTo>
                    <a:pt x="722" y="316"/>
                  </a:lnTo>
                  <a:lnTo>
                    <a:pt x="722" y="316"/>
                  </a:lnTo>
                  <a:lnTo>
                    <a:pt x="722" y="316"/>
                  </a:lnTo>
                  <a:lnTo>
                    <a:pt x="724" y="313"/>
                  </a:lnTo>
                  <a:lnTo>
                    <a:pt x="724" y="311"/>
                  </a:lnTo>
                  <a:lnTo>
                    <a:pt x="727" y="311"/>
                  </a:lnTo>
                  <a:lnTo>
                    <a:pt x="727" y="311"/>
                  </a:lnTo>
                  <a:lnTo>
                    <a:pt x="729" y="308"/>
                  </a:lnTo>
                  <a:lnTo>
                    <a:pt x="729" y="303"/>
                  </a:lnTo>
                  <a:lnTo>
                    <a:pt x="729" y="300"/>
                  </a:lnTo>
                  <a:lnTo>
                    <a:pt x="732" y="298"/>
                  </a:lnTo>
                  <a:lnTo>
                    <a:pt x="729" y="298"/>
                  </a:lnTo>
                  <a:close/>
                  <a:moveTo>
                    <a:pt x="732" y="298"/>
                  </a:moveTo>
                  <a:lnTo>
                    <a:pt x="732" y="298"/>
                  </a:lnTo>
                  <a:lnTo>
                    <a:pt x="732" y="298"/>
                  </a:lnTo>
                  <a:lnTo>
                    <a:pt x="734" y="298"/>
                  </a:lnTo>
                  <a:lnTo>
                    <a:pt x="734" y="300"/>
                  </a:lnTo>
                  <a:lnTo>
                    <a:pt x="737" y="300"/>
                  </a:lnTo>
                  <a:lnTo>
                    <a:pt x="737" y="298"/>
                  </a:lnTo>
                  <a:lnTo>
                    <a:pt x="734" y="295"/>
                  </a:lnTo>
                  <a:lnTo>
                    <a:pt x="732" y="298"/>
                  </a:lnTo>
                  <a:close/>
                  <a:moveTo>
                    <a:pt x="383" y="295"/>
                  </a:moveTo>
                  <a:lnTo>
                    <a:pt x="383" y="295"/>
                  </a:lnTo>
                  <a:lnTo>
                    <a:pt x="383" y="298"/>
                  </a:lnTo>
                  <a:lnTo>
                    <a:pt x="383" y="298"/>
                  </a:lnTo>
                  <a:lnTo>
                    <a:pt x="383" y="298"/>
                  </a:lnTo>
                  <a:lnTo>
                    <a:pt x="383" y="295"/>
                  </a:lnTo>
                  <a:lnTo>
                    <a:pt x="383" y="295"/>
                  </a:lnTo>
                  <a:lnTo>
                    <a:pt x="383" y="295"/>
                  </a:lnTo>
                  <a:close/>
                  <a:moveTo>
                    <a:pt x="668" y="295"/>
                  </a:moveTo>
                  <a:lnTo>
                    <a:pt x="668" y="295"/>
                  </a:lnTo>
                  <a:lnTo>
                    <a:pt x="668" y="298"/>
                  </a:lnTo>
                  <a:lnTo>
                    <a:pt x="668" y="298"/>
                  </a:lnTo>
                  <a:lnTo>
                    <a:pt x="668" y="298"/>
                  </a:lnTo>
                  <a:lnTo>
                    <a:pt x="671" y="298"/>
                  </a:lnTo>
                  <a:lnTo>
                    <a:pt x="671" y="298"/>
                  </a:lnTo>
                  <a:lnTo>
                    <a:pt x="671" y="298"/>
                  </a:lnTo>
                  <a:lnTo>
                    <a:pt x="671" y="295"/>
                  </a:lnTo>
                  <a:lnTo>
                    <a:pt x="668" y="295"/>
                  </a:lnTo>
                  <a:close/>
                  <a:moveTo>
                    <a:pt x="507" y="295"/>
                  </a:moveTo>
                  <a:lnTo>
                    <a:pt x="507" y="298"/>
                  </a:lnTo>
                  <a:lnTo>
                    <a:pt x="510" y="298"/>
                  </a:lnTo>
                  <a:lnTo>
                    <a:pt x="513" y="298"/>
                  </a:lnTo>
                  <a:lnTo>
                    <a:pt x="513" y="295"/>
                  </a:lnTo>
                  <a:lnTo>
                    <a:pt x="510" y="295"/>
                  </a:lnTo>
                  <a:lnTo>
                    <a:pt x="507" y="295"/>
                  </a:lnTo>
                  <a:close/>
                  <a:moveTo>
                    <a:pt x="357" y="298"/>
                  </a:moveTo>
                  <a:lnTo>
                    <a:pt x="357" y="300"/>
                  </a:lnTo>
                  <a:lnTo>
                    <a:pt x="357" y="298"/>
                  </a:lnTo>
                  <a:lnTo>
                    <a:pt x="360" y="298"/>
                  </a:lnTo>
                  <a:lnTo>
                    <a:pt x="360" y="298"/>
                  </a:lnTo>
                  <a:lnTo>
                    <a:pt x="365" y="298"/>
                  </a:lnTo>
                  <a:lnTo>
                    <a:pt x="367" y="298"/>
                  </a:lnTo>
                  <a:lnTo>
                    <a:pt x="370" y="298"/>
                  </a:lnTo>
                  <a:lnTo>
                    <a:pt x="372" y="298"/>
                  </a:lnTo>
                  <a:lnTo>
                    <a:pt x="372" y="295"/>
                  </a:lnTo>
                  <a:lnTo>
                    <a:pt x="372" y="295"/>
                  </a:lnTo>
                  <a:lnTo>
                    <a:pt x="378" y="293"/>
                  </a:lnTo>
                  <a:lnTo>
                    <a:pt x="378" y="293"/>
                  </a:lnTo>
                  <a:lnTo>
                    <a:pt x="375" y="290"/>
                  </a:lnTo>
                  <a:lnTo>
                    <a:pt x="357" y="290"/>
                  </a:lnTo>
                  <a:lnTo>
                    <a:pt x="352" y="293"/>
                  </a:lnTo>
                  <a:lnTo>
                    <a:pt x="352" y="295"/>
                  </a:lnTo>
                  <a:lnTo>
                    <a:pt x="349" y="295"/>
                  </a:lnTo>
                  <a:lnTo>
                    <a:pt x="349" y="298"/>
                  </a:lnTo>
                  <a:lnTo>
                    <a:pt x="357" y="298"/>
                  </a:lnTo>
                  <a:close/>
                  <a:moveTo>
                    <a:pt x="403" y="290"/>
                  </a:moveTo>
                  <a:lnTo>
                    <a:pt x="403" y="290"/>
                  </a:lnTo>
                  <a:lnTo>
                    <a:pt x="400" y="290"/>
                  </a:lnTo>
                  <a:lnTo>
                    <a:pt x="400" y="293"/>
                  </a:lnTo>
                  <a:lnTo>
                    <a:pt x="400" y="293"/>
                  </a:lnTo>
                  <a:lnTo>
                    <a:pt x="400" y="293"/>
                  </a:lnTo>
                  <a:lnTo>
                    <a:pt x="403" y="293"/>
                  </a:lnTo>
                  <a:lnTo>
                    <a:pt x="406" y="293"/>
                  </a:lnTo>
                  <a:lnTo>
                    <a:pt x="406" y="293"/>
                  </a:lnTo>
                  <a:lnTo>
                    <a:pt x="406" y="293"/>
                  </a:lnTo>
                  <a:lnTo>
                    <a:pt x="406" y="290"/>
                  </a:lnTo>
                  <a:lnTo>
                    <a:pt x="403" y="290"/>
                  </a:lnTo>
                  <a:close/>
                  <a:moveTo>
                    <a:pt x="790" y="285"/>
                  </a:moveTo>
                  <a:lnTo>
                    <a:pt x="790" y="288"/>
                  </a:lnTo>
                  <a:lnTo>
                    <a:pt x="790" y="288"/>
                  </a:lnTo>
                  <a:lnTo>
                    <a:pt x="790" y="288"/>
                  </a:lnTo>
                  <a:lnTo>
                    <a:pt x="790" y="288"/>
                  </a:lnTo>
                  <a:lnTo>
                    <a:pt x="793" y="288"/>
                  </a:lnTo>
                  <a:lnTo>
                    <a:pt x="793" y="285"/>
                  </a:lnTo>
                  <a:lnTo>
                    <a:pt x="790" y="285"/>
                  </a:lnTo>
                  <a:lnTo>
                    <a:pt x="790" y="285"/>
                  </a:lnTo>
                  <a:close/>
                  <a:moveTo>
                    <a:pt x="202" y="285"/>
                  </a:moveTo>
                  <a:lnTo>
                    <a:pt x="202" y="283"/>
                  </a:lnTo>
                  <a:lnTo>
                    <a:pt x="199" y="283"/>
                  </a:lnTo>
                  <a:lnTo>
                    <a:pt x="199" y="283"/>
                  </a:lnTo>
                  <a:lnTo>
                    <a:pt x="199" y="285"/>
                  </a:lnTo>
                  <a:lnTo>
                    <a:pt x="199" y="285"/>
                  </a:lnTo>
                  <a:lnTo>
                    <a:pt x="199" y="288"/>
                  </a:lnTo>
                  <a:lnTo>
                    <a:pt x="202" y="285"/>
                  </a:lnTo>
                  <a:lnTo>
                    <a:pt x="202" y="285"/>
                  </a:lnTo>
                  <a:close/>
                  <a:moveTo>
                    <a:pt x="790" y="283"/>
                  </a:moveTo>
                  <a:lnTo>
                    <a:pt x="790" y="285"/>
                  </a:lnTo>
                  <a:lnTo>
                    <a:pt x="793" y="285"/>
                  </a:lnTo>
                  <a:lnTo>
                    <a:pt x="793" y="283"/>
                  </a:lnTo>
                  <a:lnTo>
                    <a:pt x="790" y="283"/>
                  </a:lnTo>
                  <a:lnTo>
                    <a:pt x="790" y="283"/>
                  </a:lnTo>
                  <a:close/>
                  <a:moveTo>
                    <a:pt x="795" y="280"/>
                  </a:moveTo>
                  <a:lnTo>
                    <a:pt x="793" y="280"/>
                  </a:lnTo>
                  <a:lnTo>
                    <a:pt x="793" y="283"/>
                  </a:lnTo>
                  <a:lnTo>
                    <a:pt x="793" y="280"/>
                  </a:lnTo>
                  <a:lnTo>
                    <a:pt x="795" y="277"/>
                  </a:lnTo>
                  <a:lnTo>
                    <a:pt x="795" y="277"/>
                  </a:lnTo>
                  <a:lnTo>
                    <a:pt x="795" y="280"/>
                  </a:lnTo>
                  <a:close/>
                  <a:moveTo>
                    <a:pt x="785" y="277"/>
                  </a:moveTo>
                  <a:lnTo>
                    <a:pt x="783" y="277"/>
                  </a:lnTo>
                  <a:lnTo>
                    <a:pt x="780" y="275"/>
                  </a:lnTo>
                  <a:lnTo>
                    <a:pt x="780" y="275"/>
                  </a:lnTo>
                  <a:lnTo>
                    <a:pt x="780" y="277"/>
                  </a:lnTo>
                  <a:lnTo>
                    <a:pt x="780" y="280"/>
                  </a:lnTo>
                  <a:lnTo>
                    <a:pt x="780" y="283"/>
                  </a:lnTo>
                  <a:lnTo>
                    <a:pt x="780" y="283"/>
                  </a:lnTo>
                  <a:lnTo>
                    <a:pt x="780" y="283"/>
                  </a:lnTo>
                  <a:lnTo>
                    <a:pt x="780" y="283"/>
                  </a:lnTo>
                  <a:lnTo>
                    <a:pt x="778" y="288"/>
                  </a:lnTo>
                  <a:lnTo>
                    <a:pt x="778" y="290"/>
                  </a:lnTo>
                  <a:lnTo>
                    <a:pt x="780" y="293"/>
                  </a:lnTo>
                  <a:lnTo>
                    <a:pt x="783" y="290"/>
                  </a:lnTo>
                  <a:lnTo>
                    <a:pt x="785" y="290"/>
                  </a:lnTo>
                  <a:lnTo>
                    <a:pt x="785" y="288"/>
                  </a:lnTo>
                  <a:lnTo>
                    <a:pt x="788" y="285"/>
                  </a:lnTo>
                  <a:lnTo>
                    <a:pt x="788" y="283"/>
                  </a:lnTo>
                  <a:lnTo>
                    <a:pt x="788" y="283"/>
                  </a:lnTo>
                  <a:lnTo>
                    <a:pt x="785" y="280"/>
                  </a:lnTo>
                  <a:lnTo>
                    <a:pt x="785" y="277"/>
                  </a:lnTo>
                  <a:close/>
                  <a:moveTo>
                    <a:pt x="383" y="331"/>
                  </a:moveTo>
                  <a:lnTo>
                    <a:pt x="383" y="328"/>
                  </a:lnTo>
                  <a:lnTo>
                    <a:pt x="383" y="326"/>
                  </a:lnTo>
                  <a:lnTo>
                    <a:pt x="383" y="323"/>
                  </a:lnTo>
                  <a:lnTo>
                    <a:pt x="383" y="323"/>
                  </a:lnTo>
                  <a:lnTo>
                    <a:pt x="383" y="316"/>
                  </a:lnTo>
                  <a:lnTo>
                    <a:pt x="383" y="316"/>
                  </a:lnTo>
                  <a:lnTo>
                    <a:pt x="383" y="313"/>
                  </a:lnTo>
                  <a:lnTo>
                    <a:pt x="383" y="311"/>
                  </a:lnTo>
                  <a:lnTo>
                    <a:pt x="378" y="308"/>
                  </a:lnTo>
                  <a:lnTo>
                    <a:pt x="375" y="308"/>
                  </a:lnTo>
                  <a:lnTo>
                    <a:pt x="372" y="311"/>
                  </a:lnTo>
                  <a:lnTo>
                    <a:pt x="370" y="311"/>
                  </a:lnTo>
                  <a:lnTo>
                    <a:pt x="365" y="311"/>
                  </a:lnTo>
                  <a:lnTo>
                    <a:pt x="360" y="311"/>
                  </a:lnTo>
                  <a:lnTo>
                    <a:pt x="355" y="308"/>
                  </a:lnTo>
                  <a:lnTo>
                    <a:pt x="352" y="305"/>
                  </a:lnTo>
                  <a:lnTo>
                    <a:pt x="349" y="303"/>
                  </a:lnTo>
                  <a:lnTo>
                    <a:pt x="352" y="300"/>
                  </a:lnTo>
                  <a:lnTo>
                    <a:pt x="349" y="300"/>
                  </a:lnTo>
                  <a:lnTo>
                    <a:pt x="349" y="300"/>
                  </a:lnTo>
                  <a:lnTo>
                    <a:pt x="347" y="298"/>
                  </a:lnTo>
                  <a:lnTo>
                    <a:pt x="347" y="295"/>
                  </a:lnTo>
                  <a:lnTo>
                    <a:pt x="347" y="293"/>
                  </a:lnTo>
                  <a:lnTo>
                    <a:pt x="344" y="293"/>
                  </a:lnTo>
                  <a:lnTo>
                    <a:pt x="342" y="293"/>
                  </a:lnTo>
                  <a:lnTo>
                    <a:pt x="339" y="293"/>
                  </a:lnTo>
                  <a:lnTo>
                    <a:pt x="337" y="293"/>
                  </a:lnTo>
                  <a:lnTo>
                    <a:pt x="337" y="290"/>
                  </a:lnTo>
                  <a:lnTo>
                    <a:pt x="332" y="290"/>
                  </a:lnTo>
                  <a:lnTo>
                    <a:pt x="329" y="288"/>
                  </a:lnTo>
                  <a:lnTo>
                    <a:pt x="329" y="288"/>
                  </a:lnTo>
                  <a:lnTo>
                    <a:pt x="327" y="285"/>
                  </a:lnTo>
                  <a:lnTo>
                    <a:pt x="327" y="285"/>
                  </a:lnTo>
                  <a:lnTo>
                    <a:pt x="324" y="288"/>
                  </a:lnTo>
                  <a:lnTo>
                    <a:pt x="321" y="288"/>
                  </a:lnTo>
                  <a:lnTo>
                    <a:pt x="319" y="288"/>
                  </a:lnTo>
                  <a:lnTo>
                    <a:pt x="319" y="288"/>
                  </a:lnTo>
                  <a:lnTo>
                    <a:pt x="316" y="283"/>
                  </a:lnTo>
                  <a:lnTo>
                    <a:pt x="316" y="280"/>
                  </a:lnTo>
                  <a:lnTo>
                    <a:pt x="314" y="280"/>
                  </a:lnTo>
                  <a:lnTo>
                    <a:pt x="311" y="283"/>
                  </a:lnTo>
                  <a:lnTo>
                    <a:pt x="311" y="283"/>
                  </a:lnTo>
                  <a:lnTo>
                    <a:pt x="311" y="283"/>
                  </a:lnTo>
                  <a:lnTo>
                    <a:pt x="309" y="285"/>
                  </a:lnTo>
                  <a:lnTo>
                    <a:pt x="309" y="288"/>
                  </a:lnTo>
                  <a:lnTo>
                    <a:pt x="306" y="290"/>
                  </a:lnTo>
                  <a:lnTo>
                    <a:pt x="306" y="293"/>
                  </a:lnTo>
                  <a:lnTo>
                    <a:pt x="304" y="293"/>
                  </a:lnTo>
                  <a:lnTo>
                    <a:pt x="304" y="293"/>
                  </a:lnTo>
                  <a:lnTo>
                    <a:pt x="301" y="293"/>
                  </a:lnTo>
                  <a:lnTo>
                    <a:pt x="301" y="293"/>
                  </a:lnTo>
                  <a:lnTo>
                    <a:pt x="299" y="293"/>
                  </a:lnTo>
                  <a:lnTo>
                    <a:pt x="296" y="293"/>
                  </a:lnTo>
                  <a:lnTo>
                    <a:pt x="293" y="293"/>
                  </a:lnTo>
                  <a:lnTo>
                    <a:pt x="291" y="293"/>
                  </a:lnTo>
                  <a:lnTo>
                    <a:pt x="288" y="290"/>
                  </a:lnTo>
                  <a:lnTo>
                    <a:pt x="286" y="290"/>
                  </a:lnTo>
                  <a:lnTo>
                    <a:pt x="283" y="290"/>
                  </a:lnTo>
                  <a:lnTo>
                    <a:pt x="281" y="290"/>
                  </a:lnTo>
                  <a:lnTo>
                    <a:pt x="276" y="290"/>
                  </a:lnTo>
                  <a:lnTo>
                    <a:pt x="273" y="290"/>
                  </a:lnTo>
                  <a:lnTo>
                    <a:pt x="270" y="290"/>
                  </a:lnTo>
                  <a:lnTo>
                    <a:pt x="268" y="290"/>
                  </a:lnTo>
                  <a:lnTo>
                    <a:pt x="268" y="288"/>
                  </a:lnTo>
                  <a:lnTo>
                    <a:pt x="268" y="283"/>
                  </a:lnTo>
                  <a:lnTo>
                    <a:pt x="265" y="283"/>
                  </a:lnTo>
                  <a:lnTo>
                    <a:pt x="265" y="280"/>
                  </a:lnTo>
                  <a:lnTo>
                    <a:pt x="263" y="277"/>
                  </a:lnTo>
                  <a:lnTo>
                    <a:pt x="263" y="277"/>
                  </a:lnTo>
                  <a:lnTo>
                    <a:pt x="260" y="277"/>
                  </a:lnTo>
                  <a:lnTo>
                    <a:pt x="260" y="277"/>
                  </a:lnTo>
                  <a:lnTo>
                    <a:pt x="258" y="277"/>
                  </a:lnTo>
                  <a:lnTo>
                    <a:pt x="255" y="277"/>
                  </a:lnTo>
                  <a:lnTo>
                    <a:pt x="253" y="277"/>
                  </a:lnTo>
                  <a:lnTo>
                    <a:pt x="253" y="277"/>
                  </a:lnTo>
                  <a:lnTo>
                    <a:pt x="250" y="277"/>
                  </a:lnTo>
                  <a:lnTo>
                    <a:pt x="248" y="275"/>
                  </a:lnTo>
                  <a:lnTo>
                    <a:pt x="245" y="275"/>
                  </a:lnTo>
                  <a:lnTo>
                    <a:pt x="245" y="272"/>
                  </a:lnTo>
                  <a:lnTo>
                    <a:pt x="242" y="270"/>
                  </a:lnTo>
                  <a:lnTo>
                    <a:pt x="240" y="270"/>
                  </a:lnTo>
                  <a:lnTo>
                    <a:pt x="237" y="270"/>
                  </a:lnTo>
                  <a:lnTo>
                    <a:pt x="237" y="272"/>
                  </a:lnTo>
                  <a:lnTo>
                    <a:pt x="235" y="272"/>
                  </a:lnTo>
                  <a:lnTo>
                    <a:pt x="235" y="272"/>
                  </a:lnTo>
                  <a:lnTo>
                    <a:pt x="232" y="272"/>
                  </a:lnTo>
                  <a:lnTo>
                    <a:pt x="230" y="272"/>
                  </a:lnTo>
                  <a:lnTo>
                    <a:pt x="227" y="272"/>
                  </a:lnTo>
                  <a:lnTo>
                    <a:pt x="225" y="272"/>
                  </a:lnTo>
                  <a:lnTo>
                    <a:pt x="225" y="270"/>
                  </a:lnTo>
                  <a:lnTo>
                    <a:pt x="220" y="270"/>
                  </a:lnTo>
                  <a:lnTo>
                    <a:pt x="217" y="270"/>
                  </a:lnTo>
                  <a:lnTo>
                    <a:pt x="217" y="270"/>
                  </a:lnTo>
                  <a:lnTo>
                    <a:pt x="214" y="272"/>
                  </a:lnTo>
                  <a:lnTo>
                    <a:pt x="214" y="275"/>
                  </a:lnTo>
                  <a:lnTo>
                    <a:pt x="212" y="283"/>
                  </a:lnTo>
                  <a:lnTo>
                    <a:pt x="212" y="283"/>
                  </a:lnTo>
                  <a:lnTo>
                    <a:pt x="209" y="283"/>
                  </a:lnTo>
                  <a:lnTo>
                    <a:pt x="209" y="283"/>
                  </a:lnTo>
                  <a:lnTo>
                    <a:pt x="207" y="285"/>
                  </a:lnTo>
                  <a:lnTo>
                    <a:pt x="207" y="288"/>
                  </a:lnTo>
                  <a:lnTo>
                    <a:pt x="204" y="290"/>
                  </a:lnTo>
                  <a:lnTo>
                    <a:pt x="204" y="290"/>
                  </a:lnTo>
                  <a:lnTo>
                    <a:pt x="204" y="288"/>
                  </a:lnTo>
                  <a:lnTo>
                    <a:pt x="204" y="288"/>
                  </a:lnTo>
                  <a:lnTo>
                    <a:pt x="204" y="288"/>
                  </a:lnTo>
                  <a:lnTo>
                    <a:pt x="202" y="288"/>
                  </a:lnTo>
                  <a:lnTo>
                    <a:pt x="202" y="288"/>
                  </a:lnTo>
                  <a:lnTo>
                    <a:pt x="199" y="290"/>
                  </a:lnTo>
                  <a:lnTo>
                    <a:pt x="202" y="290"/>
                  </a:lnTo>
                  <a:lnTo>
                    <a:pt x="202" y="290"/>
                  </a:lnTo>
                  <a:lnTo>
                    <a:pt x="202" y="290"/>
                  </a:lnTo>
                  <a:lnTo>
                    <a:pt x="204" y="290"/>
                  </a:lnTo>
                  <a:lnTo>
                    <a:pt x="204" y="290"/>
                  </a:lnTo>
                  <a:lnTo>
                    <a:pt x="207" y="290"/>
                  </a:lnTo>
                  <a:lnTo>
                    <a:pt x="209" y="290"/>
                  </a:lnTo>
                  <a:lnTo>
                    <a:pt x="212" y="290"/>
                  </a:lnTo>
                  <a:lnTo>
                    <a:pt x="214" y="290"/>
                  </a:lnTo>
                  <a:lnTo>
                    <a:pt x="220" y="293"/>
                  </a:lnTo>
                  <a:lnTo>
                    <a:pt x="225" y="295"/>
                  </a:lnTo>
                  <a:lnTo>
                    <a:pt x="225" y="298"/>
                  </a:lnTo>
                  <a:lnTo>
                    <a:pt x="225" y="298"/>
                  </a:lnTo>
                  <a:lnTo>
                    <a:pt x="222" y="300"/>
                  </a:lnTo>
                  <a:lnTo>
                    <a:pt x="222" y="300"/>
                  </a:lnTo>
                  <a:lnTo>
                    <a:pt x="225" y="303"/>
                  </a:lnTo>
                  <a:lnTo>
                    <a:pt x="225" y="303"/>
                  </a:lnTo>
                  <a:lnTo>
                    <a:pt x="227" y="303"/>
                  </a:lnTo>
                  <a:lnTo>
                    <a:pt x="237" y="305"/>
                  </a:lnTo>
                  <a:lnTo>
                    <a:pt x="240" y="305"/>
                  </a:lnTo>
                  <a:lnTo>
                    <a:pt x="245" y="305"/>
                  </a:lnTo>
                  <a:lnTo>
                    <a:pt x="248" y="308"/>
                  </a:lnTo>
                  <a:lnTo>
                    <a:pt x="248" y="308"/>
                  </a:lnTo>
                  <a:lnTo>
                    <a:pt x="250" y="311"/>
                  </a:lnTo>
                  <a:lnTo>
                    <a:pt x="253" y="311"/>
                  </a:lnTo>
                  <a:lnTo>
                    <a:pt x="258" y="313"/>
                  </a:lnTo>
                  <a:lnTo>
                    <a:pt x="260" y="313"/>
                  </a:lnTo>
                  <a:lnTo>
                    <a:pt x="263" y="313"/>
                  </a:lnTo>
                  <a:lnTo>
                    <a:pt x="265" y="311"/>
                  </a:lnTo>
                  <a:lnTo>
                    <a:pt x="265" y="311"/>
                  </a:lnTo>
                  <a:lnTo>
                    <a:pt x="270" y="308"/>
                  </a:lnTo>
                  <a:lnTo>
                    <a:pt x="270" y="308"/>
                  </a:lnTo>
                  <a:lnTo>
                    <a:pt x="273" y="311"/>
                  </a:lnTo>
                  <a:lnTo>
                    <a:pt x="278" y="311"/>
                  </a:lnTo>
                  <a:lnTo>
                    <a:pt x="281" y="311"/>
                  </a:lnTo>
                  <a:lnTo>
                    <a:pt x="291" y="313"/>
                  </a:lnTo>
                  <a:lnTo>
                    <a:pt x="296" y="313"/>
                  </a:lnTo>
                  <a:lnTo>
                    <a:pt x="306" y="321"/>
                  </a:lnTo>
                  <a:lnTo>
                    <a:pt x="311" y="321"/>
                  </a:lnTo>
                  <a:lnTo>
                    <a:pt x="314" y="323"/>
                  </a:lnTo>
                  <a:lnTo>
                    <a:pt x="321" y="323"/>
                  </a:lnTo>
                  <a:lnTo>
                    <a:pt x="324" y="323"/>
                  </a:lnTo>
                  <a:lnTo>
                    <a:pt x="337" y="323"/>
                  </a:lnTo>
                  <a:lnTo>
                    <a:pt x="342" y="326"/>
                  </a:lnTo>
                  <a:lnTo>
                    <a:pt x="344" y="326"/>
                  </a:lnTo>
                  <a:lnTo>
                    <a:pt x="347" y="326"/>
                  </a:lnTo>
                  <a:lnTo>
                    <a:pt x="349" y="326"/>
                  </a:lnTo>
                  <a:lnTo>
                    <a:pt x="352" y="326"/>
                  </a:lnTo>
                  <a:lnTo>
                    <a:pt x="355" y="323"/>
                  </a:lnTo>
                  <a:lnTo>
                    <a:pt x="357" y="323"/>
                  </a:lnTo>
                  <a:lnTo>
                    <a:pt x="360" y="323"/>
                  </a:lnTo>
                  <a:lnTo>
                    <a:pt x="367" y="328"/>
                  </a:lnTo>
                  <a:lnTo>
                    <a:pt x="372" y="331"/>
                  </a:lnTo>
                  <a:lnTo>
                    <a:pt x="378" y="331"/>
                  </a:lnTo>
                  <a:lnTo>
                    <a:pt x="380" y="331"/>
                  </a:lnTo>
                  <a:lnTo>
                    <a:pt x="380" y="331"/>
                  </a:lnTo>
                  <a:lnTo>
                    <a:pt x="380" y="333"/>
                  </a:lnTo>
                  <a:lnTo>
                    <a:pt x="383" y="333"/>
                  </a:lnTo>
                  <a:lnTo>
                    <a:pt x="385" y="333"/>
                  </a:lnTo>
                  <a:lnTo>
                    <a:pt x="385" y="333"/>
                  </a:lnTo>
                  <a:lnTo>
                    <a:pt x="385" y="333"/>
                  </a:lnTo>
                  <a:lnTo>
                    <a:pt x="383" y="331"/>
                  </a:lnTo>
                  <a:close/>
                  <a:moveTo>
                    <a:pt x="576" y="270"/>
                  </a:moveTo>
                  <a:lnTo>
                    <a:pt x="579" y="270"/>
                  </a:lnTo>
                  <a:lnTo>
                    <a:pt x="579" y="272"/>
                  </a:lnTo>
                  <a:lnTo>
                    <a:pt x="579" y="270"/>
                  </a:lnTo>
                  <a:lnTo>
                    <a:pt x="579" y="270"/>
                  </a:lnTo>
                  <a:lnTo>
                    <a:pt x="576" y="270"/>
                  </a:lnTo>
                  <a:lnTo>
                    <a:pt x="576" y="270"/>
                  </a:lnTo>
                  <a:close/>
                  <a:moveTo>
                    <a:pt x="507" y="283"/>
                  </a:moveTo>
                  <a:lnTo>
                    <a:pt x="507" y="277"/>
                  </a:lnTo>
                  <a:lnTo>
                    <a:pt x="507" y="270"/>
                  </a:lnTo>
                  <a:lnTo>
                    <a:pt x="507" y="270"/>
                  </a:lnTo>
                  <a:lnTo>
                    <a:pt x="507" y="267"/>
                  </a:lnTo>
                  <a:lnTo>
                    <a:pt x="507" y="267"/>
                  </a:lnTo>
                  <a:lnTo>
                    <a:pt x="505" y="272"/>
                  </a:lnTo>
                  <a:lnTo>
                    <a:pt x="505" y="275"/>
                  </a:lnTo>
                  <a:lnTo>
                    <a:pt x="505" y="277"/>
                  </a:lnTo>
                  <a:lnTo>
                    <a:pt x="505" y="280"/>
                  </a:lnTo>
                  <a:lnTo>
                    <a:pt x="507" y="283"/>
                  </a:lnTo>
                  <a:close/>
                  <a:moveTo>
                    <a:pt x="352" y="265"/>
                  </a:moveTo>
                  <a:lnTo>
                    <a:pt x="352" y="265"/>
                  </a:lnTo>
                  <a:lnTo>
                    <a:pt x="349" y="265"/>
                  </a:lnTo>
                  <a:lnTo>
                    <a:pt x="349" y="267"/>
                  </a:lnTo>
                  <a:lnTo>
                    <a:pt x="349" y="267"/>
                  </a:lnTo>
                  <a:lnTo>
                    <a:pt x="352" y="267"/>
                  </a:lnTo>
                  <a:lnTo>
                    <a:pt x="352" y="267"/>
                  </a:lnTo>
                  <a:lnTo>
                    <a:pt x="352" y="265"/>
                  </a:lnTo>
                  <a:close/>
                  <a:moveTo>
                    <a:pt x="752" y="262"/>
                  </a:moveTo>
                  <a:lnTo>
                    <a:pt x="752" y="262"/>
                  </a:lnTo>
                  <a:lnTo>
                    <a:pt x="752" y="262"/>
                  </a:lnTo>
                  <a:lnTo>
                    <a:pt x="752" y="265"/>
                  </a:lnTo>
                  <a:lnTo>
                    <a:pt x="752" y="267"/>
                  </a:lnTo>
                  <a:lnTo>
                    <a:pt x="752" y="270"/>
                  </a:lnTo>
                  <a:lnTo>
                    <a:pt x="752" y="270"/>
                  </a:lnTo>
                  <a:lnTo>
                    <a:pt x="752" y="270"/>
                  </a:lnTo>
                  <a:lnTo>
                    <a:pt x="755" y="267"/>
                  </a:lnTo>
                  <a:lnTo>
                    <a:pt x="755" y="267"/>
                  </a:lnTo>
                  <a:lnTo>
                    <a:pt x="752" y="265"/>
                  </a:lnTo>
                  <a:lnTo>
                    <a:pt x="752" y="262"/>
                  </a:lnTo>
                  <a:close/>
                  <a:moveTo>
                    <a:pt x="793" y="267"/>
                  </a:moveTo>
                  <a:lnTo>
                    <a:pt x="793" y="265"/>
                  </a:lnTo>
                  <a:lnTo>
                    <a:pt x="793" y="265"/>
                  </a:lnTo>
                  <a:lnTo>
                    <a:pt x="793" y="262"/>
                  </a:lnTo>
                  <a:lnTo>
                    <a:pt x="793" y="262"/>
                  </a:lnTo>
                  <a:lnTo>
                    <a:pt x="793" y="260"/>
                  </a:lnTo>
                  <a:lnTo>
                    <a:pt x="793" y="260"/>
                  </a:lnTo>
                  <a:lnTo>
                    <a:pt x="790" y="260"/>
                  </a:lnTo>
                  <a:lnTo>
                    <a:pt x="790" y="257"/>
                  </a:lnTo>
                  <a:lnTo>
                    <a:pt x="788" y="260"/>
                  </a:lnTo>
                  <a:lnTo>
                    <a:pt x="788" y="260"/>
                  </a:lnTo>
                  <a:lnTo>
                    <a:pt x="788" y="262"/>
                  </a:lnTo>
                  <a:lnTo>
                    <a:pt x="785" y="265"/>
                  </a:lnTo>
                  <a:lnTo>
                    <a:pt x="783" y="265"/>
                  </a:lnTo>
                  <a:lnTo>
                    <a:pt x="783" y="265"/>
                  </a:lnTo>
                  <a:lnTo>
                    <a:pt x="783" y="265"/>
                  </a:lnTo>
                  <a:lnTo>
                    <a:pt x="785" y="267"/>
                  </a:lnTo>
                  <a:lnTo>
                    <a:pt x="785" y="270"/>
                  </a:lnTo>
                  <a:lnTo>
                    <a:pt x="785" y="272"/>
                  </a:lnTo>
                  <a:lnTo>
                    <a:pt x="783" y="272"/>
                  </a:lnTo>
                  <a:lnTo>
                    <a:pt x="780" y="272"/>
                  </a:lnTo>
                  <a:lnTo>
                    <a:pt x="780" y="272"/>
                  </a:lnTo>
                  <a:lnTo>
                    <a:pt x="783" y="272"/>
                  </a:lnTo>
                  <a:lnTo>
                    <a:pt x="783" y="275"/>
                  </a:lnTo>
                  <a:lnTo>
                    <a:pt x="783" y="275"/>
                  </a:lnTo>
                  <a:lnTo>
                    <a:pt x="785" y="277"/>
                  </a:lnTo>
                  <a:lnTo>
                    <a:pt x="788" y="280"/>
                  </a:lnTo>
                  <a:lnTo>
                    <a:pt x="790" y="280"/>
                  </a:lnTo>
                  <a:lnTo>
                    <a:pt x="790" y="280"/>
                  </a:lnTo>
                  <a:lnTo>
                    <a:pt x="790" y="280"/>
                  </a:lnTo>
                  <a:lnTo>
                    <a:pt x="793" y="277"/>
                  </a:lnTo>
                  <a:lnTo>
                    <a:pt x="793" y="275"/>
                  </a:lnTo>
                  <a:lnTo>
                    <a:pt x="793" y="275"/>
                  </a:lnTo>
                  <a:lnTo>
                    <a:pt x="793" y="272"/>
                  </a:lnTo>
                  <a:lnTo>
                    <a:pt x="793" y="272"/>
                  </a:lnTo>
                  <a:lnTo>
                    <a:pt x="793" y="270"/>
                  </a:lnTo>
                  <a:lnTo>
                    <a:pt x="793" y="270"/>
                  </a:lnTo>
                  <a:lnTo>
                    <a:pt x="793" y="267"/>
                  </a:lnTo>
                  <a:close/>
                  <a:moveTo>
                    <a:pt x="762" y="255"/>
                  </a:moveTo>
                  <a:lnTo>
                    <a:pt x="760" y="262"/>
                  </a:lnTo>
                  <a:lnTo>
                    <a:pt x="757" y="265"/>
                  </a:lnTo>
                  <a:lnTo>
                    <a:pt x="757" y="267"/>
                  </a:lnTo>
                  <a:lnTo>
                    <a:pt x="755" y="270"/>
                  </a:lnTo>
                  <a:lnTo>
                    <a:pt x="757" y="270"/>
                  </a:lnTo>
                  <a:lnTo>
                    <a:pt x="757" y="265"/>
                  </a:lnTo>
                  <a:lnTo>
                    <a:pt x="760" y="262"/>
                  </a:lnTo>
                  <a:lnTo>
                    <a:pt x="762" y="257"/>
                  </a:lnTo>
                  <a:lnTo>
                    <a:pt x="762" y="257"/>
                  </a:lnTo>
                  <a:lnTo>
                    <a:pt x="762" y="255"/>
                  </a:lnTo>
                  <a:close/>
                  <a:moveTo>
                    <a:pt x="141" y="255"/>
                  </a:moveTo>
                  <a:lnTo>
                    <a:pt x="141" y="255"/>
                  </a:lnTo>
                  <a:lnTo>
                    <a:pt x="138" y="257"/>
                  </a:lnTo>
                  <a:lnTo>
                    <a:pt x="141" y="257"/>
                  </a:lnTo>
                  <a:lnTo>
                    <a:pt x="143" y="260"/>
                  </a:lnTo>
                  <a:lnTo>
                    <a:pt x="143" y="260"/>
                  </a:lnTo>
                  <a:lnTo>
                    <a:pt x="146" y="257"/>
                  </a:lnTo>
                  <a:lnTo>
                    <a:pt x="143" y="257"/>
                  </a:lnTo>
                  <a:lnTo>
                    <a:pt x="141" y="255"/>
                  </a:lnTo>
                  <a:close/>
                  <a:moveTo>
                    <a:pt x="569" y="255"/>
                  </a:moveTo>
                  <a:lnTo>
                    <a:pt x="569" y="255"/>
                  </a:lnTo>
                  <a:lnTo>
                    <a:pt x="569" y="257"/>
                  </a:lnTo>
                  <a:lnTo>
                    <a:pt x="569" y="257"/>
                  </a:lnTo>
                  <a:lnTo>
                    <a:pt x="571" y="257"/>
                  </a:lnTo>
                  <a:lnTo>
                    <a:pt x="571" y="255"/>
                  </a:lnTo>
                  <a:lnTo>
                    <a:pt x="569" y="255"/>
                  </a:lnTo>
                  <a:lnTo>
                    <a:pt x="569" y="255"/>
                  </a:lnTo>
                  <a:close/>
                  <a:moveTo>
                    <a:pt x="536" y="252"/>
                  </a:moveTo>
                  <a:lnTo>
                    <a:pt x="536" y="255"/>
                  </a:lnTo>
                  <a:lnTo>
                    <a:pt x="536" y="257"/>
                  </a:lnTo>
                  <a:lnTo>
                    <a:pt x="538" y="260"/>
                  </a:lnTo>
                  <a:lnTo>
                    <a:pt x="538" y="260"/>
                  </a:lnTo>
                  <a:lnTo>
                    <a:pt x="541" y="255"/>
                  </a:lnTo>
                  <a:lnTo>
                    <a:pt x="538" y="252"/>
                  </a:lnTo>
                  <a:lnTo>
                    <a:pt x="538" y="252"/>
                  </a:lnTo>
                  <a:lnTo>
                    <a:pt x="538" y="250"/>
                  </a:lnTo>
                  <a:lnTo>
                    <a:pt x="536" y="250"/>
                  </a:lnTo>
                  <a:lnTo>
                    <a:pt x="536" y="252"/>
                  </a:lnTo>
                  <a:lnTo>
                    <a:pt x="536" y="252"/>
                  </a:lnTo>
                  <a:lnTo>
                    <a:pt x="536" y="252"/>
                  </a:lnTo>
                  <a:lnTo>
                    <a:pt x="536" y="252"/>
                  </a:lnTo>
                  <a:close/>
                  <a:moveTo>
                    <a:pt x="543" y="257"/>
                  </a:moveTo>
                  <a:lnTo>
                    <a:pt x="543" y="257"/>
                  </a:lnTo>
                  <a:lnTo>
                    <a:pt x="546" y="257"/>
                  </a:lnTo>
                  <a:lnTo>
                    <a:pt x="546" y="257"/>
                  </a:lnTo>
                  <a:lnTo>
                    <a:pt x="548" y="257"/>
                  </a:lnTo>
                  <a:lnTo>
                    <a:pt x="548" y="257"/>
                  </a:lnTo>
                  <a:lnTo>
                    <a:pt x="548" y="257"/>
                  </a:lnTo>
                  <a:lnTo>
                    <a:pt x="551" y="257"/>
                  </a:lnTo>
                  <a:lnTo>
                    <a:pt x="551" y="255"/>
                  </a:lnTo>
                  <a:lnTo>
                    <a:pt x="551" y="252"/>
                  </a:lnTo>
                  <a:lnTo>
                    <a:pt x="553" y="247"/>
                  </a:lnTo>
                  <a:lnTo>
                    <a:pt x="553" y="242"/>
                  </a:lnTo>
                  <a:lnTo>
                    <a:pt x="553" y="239"/>
                  </a:lnTo>
                  <a:lnTo>
                    <a:pt x="553" y="239"/>
                  </a:lnTo>
                  <a:lnTo>
                    <a:pt x="548" y="242"/>
                  </a:lnTo>
                  <a:lnTo>
                    <a:pt x="546" y="244"/>
                  </a:lnTo>
                  <a:lnTo>
                    <a:pt x="546" y="244"/>
                  </a:lnTo>
                  <a:lnTo>
                    <a:pt x="546" y="250"/>
                  </a:lnTo>
                  <a:lnTo>
                    <a:pt x="546" y="250"/>
                  </a:lnTo>
                  <a:lnTo>
                    <a:pt x="546" y="252"/>
                  </a:lnTo>
                  <a:lnTo>
                    <a:pt x="543" y="257"/>
                  </a:lnTo>
                  <a:close/>
                  <a:moveTo>
                    <a:pt x="558" y="247"/>
                  </a:moveTo>
                  <a:lnTo>
                    <a:pt x="558" y="244"/>
                  </a:lnTo>
                  <a:lnTo>
                    <a:pt x="561" y="242"/>
                  </a:lnTo>
                  <a:lnTo>
                    <a:pt x="561" y="242"/>
                  </a:lnTo>
                  <a:lnTo>
                    <a:pt x="561" y="242"/>
                  </a:lnTo>
                  <a:lnTo>
                    <a:pt x="561" y="242"/>
                  </a:lnTo>
                  <a:lnTo>
                    <a:pt x="561" y="242"/>
                  </a:lnTo>
                  <a:lnTo>
                    <a:pt x="564" y="244"/>
                  </a:lnTo>
                  <a:lnTo>
                    <a:pt x="564" y="244"/>
                  </a:lnTo>
                  <a:lnTo>
                    <a:pt x="564" y="239"/>
                  </a:lnTo>
                  <a:lnTo>
                    <a:pt x="561" y="237"/>
                  </a:lnTo>
                  <a:lnTo>
                    <a:pt x="561" y="234"/>
                  </a:lnTo>
                  <a:lnTo>
                    <a:pt x="561" y="234"/>
                  </a:lnTo>
                  <a:lnTo>
                    <a:pt x="558" y="237"/>
                  </a:lnTo>
                  <a:lnTo>
                    <a:pt x="556" y="239"/>
                  </a:lnTo>
                  <a:lnTo>
                    <a:pt x="556" y="244"/>
                  </a:lnTo>
                  <a:lnTo>
                    <a:pt x="556" y="247"/>
                  </a:lnTo>
                  <a:lnTo>
                    <a:pt x="556" y="250"/>
                  </a:lnTo>
                  <a:lnTo>
                    <a:pt x="553" y="250"/>
                  </a:lnTo>
                  <a:lnTo>
                    <a:pt x="553" y="252"/>
                  </a:lnTo>
                  <a:lnTo>
                    <a:pt x="553" y="255"/>
                  </a:lnTo>
                  <a:lnTo>
                    <a:pt x="553" y="255"/>
                  </a:lnTo>
                  <a:lnTo>
                    <a:pt x="551" y="257"/>
                  </a:lnTo>
                  <a:lnTo>
                    <a:pt x="551" y="257"/>
                  </a:lnTo>
                  <a:lnTo>
                    <a:pt x="551" y="257"/>
                  </a:lnTo>
                  <a:lnTo>
                    <a:pt x="551" y="260"/>
                  </a:lnTo>
                  <a:lnTo>
                    <a:pt x="551" y="262"/>
                  </a:lnTo>
                  <a:lnTo>
                    <a:pt x="551" y="265"/>
                  </a:lnTo>
                  <a:lnTo>
                    <a:pt x="551" y="265"/>
                  </a:lnTo>
                  <a:lnTo>
                    <a:pt x="553" y="262"/>
                  </a:lnTo>
                  <a:lnTo>
                    <a:pt x="553" y="265"/>
                  </a:lnTo>
                  <a:lnTo>
                    <a:pt x="556" y="262"/>
                  </a:lnTo>
                  <a:lnTo>
                    <a:pt x="556" y="260"/>
                  </a:lnTo>
                  <a:lnTo>
                    <a:pt x="556" y="260"/>
                  </a:lnTo>
                  <a:lnTo>
                    <a:pt x="556" y="260"/>
                  </a:lnTo>
                  <a:lnTo>
                    <a:pt x="558" y="257"/>
                  </a:lnTo>
                  <a:lnTo>
                    <a:pt x="558" y="257"/>
                  </a:lnTo>
                  <a:lnTo>
                    <a:pt x="558" y="257"/>
                  </a:lnTo>
                  <a:lnTo>
                    <a:pt x="561" y="257"/>
                  </a:lnTo>
                  <a:lnTo>
                    <a:pt x="561" y="257"/>
                  </a:lnTo>
                  <a:lnTo>
                    <a:pt x="564" y="255"/>
                  </a:lnTo>
                  <a:lnTo>
                    <a:pt x="561" y="255"/>
                  </a:lnTo>
                  <a:lnTo>
                    <a:pt x="558" y="252"/>
                  </a:lnTo>
                  <a:lnTo>
                    <a:pt x="558" y="252"/>
                  </a:lnTo>
                  <a:lnTo>
                    <a:pt x="558" y="252"/>
                  </a:lnTo>
                  <a:lnTo>
                    <a:pt x="558" y="252"/>
                  </a:lnTo>
                  <a:lnTo>
                    <a:pt x="558" y="247"/>
                  </a:lnTo>
                  <a:lnTo>
                    <a:pt x="558" y="247"/>
                  </a:lnTo>
                  <a:close/>
                  <a:moveTo>
                    <a:pt x="770" y="232"/>
                  </a:moveTo>
                  <a:lnTo>
                    <a:pt x="767" y="229"/>
                  </a:lnTo>
                  <a:lnTo>
                    <a:pt x="767" y="229"/>
                  </a:lnTo>
                  <a:lnTo>
                    <a:pt x="770" y="232"/>
                  </a:lnTo>
                  <a:lnTo>
                    <a:pt x="773" y="232"/>
                  </a:lnTo>
                  <a:lnTo>
                    <a:pt x="773" y="232"/>
                  </a:lnTo>
                  <a:lnTo>
                    <a:pt x="770" y="232"/>
                  </a:lnTo>
                  <a:close/>
                  <a:moveTo>
                    <a:pt x="564" y="227"/>
                  </a:moveTo>
                  <a:lnTo>
                    <a:pt x="564" y="227"/>
                  </a:lnTo>
                  <a:lnTo>
                    <a:pt x="561" y="227"/>
                  </a:lnTo>
                  <a:lnTo>
                    <a:pt x="558" y="227"/>
                  </a:lnTo>
                  <a:lnTo>
                    <a:pt x="558" y="227"/>
                  </a:lnTo>
                  <a:lnTo>
                    <a:pt x="558" y="229"/>
                  </a:lnTo>
                  <a:lnTo>
                    <a:pt x="561" y="232"/>
                  </a:lnTo>
                  <a:lnTo>
                    <a:pt x="561" y="232"/>
                  </a:lnTo>
                  <a:lnTo>
                    <a:pt x="564" y="229"/>
                  </a:lnTo>
                  <a:lnTo>
                    <a:pt x="564" y="227"/>
                  </a:lnTo>
                  <a:close/>
                  <a:moveTo>
                    <a:pt x="671" y="214"/>
                  </a:moveTo>
                  <a:lnTo>
                    <a:pt x="668" y="216"/>
                  </a:lnTo>
                  <a:lnTo>
                    <a:pt x="668" y="219"/>
                  </a:lnTo>
                  <a:lnTo>
                    <a:pt x="671" y="216"/>
                  </a:lnTo>
                  <a:lnTo>
                    <a:pt x="671" y="216"/>
                  </a:lnTo>
                  <a:lnTo>
                    <a:pt x="671" y="214"/>
                  </a:lnTo>
                  <a:close/>
                  <a:moveTo>
                    <a:pt x="666" y="214"/>
                  </a:moveTo>
                  <a:lnTo>
                    <a:pt x="663" y="216"/>
                  </a:lnTo>
                  <a:lnTo>
                    <a:pt x="660" y="216"/>
                  </a:lnTo>
                  <a:lnTo>
                    <a:pt x="658" y="219"/>
                  </a:lnTo>
                  <a:lnTo>
                    <a:pt x="658" y="219"/>
                  </a:lnTo>
                  <a:lnTo>
                    <a:pt x="658" y="219"/>
                  </a:lnTo>
                  <a:lnTo>
                    <a:pt x="660" y="222"/>
                  </a:lnTo>
                  <a:lnTo>
                    <a:pt x="660" y="219"/>
                  </a:lnTo>
                  <a:lnTo>
                    <a:pt x="663" y="219"/>
                  </a:lnTo>
                  <a:lnTo>
                    <a:pt x="663" y="219"/>
                  </a:lnTo>
                  <a:lnTo>
                    <a:pt x="663" y="219"/>
                  </a:lnTo>
                  <a:lnTo>
                    <a:pt x="663" y="219"/>
                  </a:lnTo>
                  <a:lnTo>
                    <a:pt x="663" y="219"/>
                  </a:lnTo>
                  <a:lnTo>
                    <a:pt x="666" y="219"/>
                  </a:lnTo>
                  <a:lnTo>
                    <a:pt x="666" y="219"/>
                  </a:lnTo>
                  <a:lnTo>
                    <a:pt x="666" y="216"/>
                  </a:lnTo>
                  <a:lnTo>
                    <a:pt x="666" y="216"/>
                  </a:lnTo>
                  <a:lnTo>
                    <a:pt x="666" y="216"/>
                  </a:lnTo>
                  <a:lnTo>
                    <a:pt x="668" y="214"/>
                  </a:lnTo>
                  <a:lnTo>
                    <a:pt x="666" y="214"/>
                  </a:lnTo>
                  <a:close/>
                  <a:moveTo>
                    <a:pt x="673" y="214"/>
                  </a:moveTo>
                  <a:lnTo>
                    <a:pt x="673" y="214"/>
                  </a:lnTo>
                  <a:lnTo>
                    <a:pt x="673" y="214"/>
                  </a:lnTo>
                  <a:lnTo>
                    <a:pt x="673" y="216"/>
                  </a:lnTo>
                  <a:lnTo>
                    <a:pt x="673" y="216"/>
                  </a:lnTo>
                  <a:lnTo>
                    <a:pt x="676" y="216"/>
                  </a:lnTo>
                  <a:lnTo>
                    <a:pt x="676" y="216"/>
                  </a:lnTo>
                  <a:lnTo>
                    <a:pt x="676" y="216"/>
                  </a:lnTo>
                  <a:lnTo>
                    <a:pt x="676" y="214"/>
                  </a:lnTo>
                  <a:lnTo>
                    <a:pt x="673" y="214"/>
                  </a:lnTo>
                  <a:close/>
                  <a:moveTo>
                    <a:pt x="426" y="216"/>
                  </a:moveTo>
                  <a:lnTo>
                    <a:pt x="426" y="216"/>
                  </a:lnTo>
                  <a:lnTo>
                    <a:pt x="428" y="214"/>
                  </a:lnTo>
                  <a:lnTo>
                    <a:pt x="428" y="211"/>
                  </a:lnTo>
                  <a:lnTo>
                    <a:pt x="428" y="214"/>
                  </a:lnTo>
                  <a:lnTo>
                    <a:pt x="426" y="216"/>
                  </a:lnTo>
                  <a:close/>
                  <a:moveTo>
                    <a:pt x="653" y="211"/>
                  </a:moveTo>
                  <a:lnTo>
                    <a:pt x="653" y="211"/>
                  </a:lnTo>
                  <a:lnTo>
                    <a:pt x="653" y="209"/>
                  </a:lnTo>
                  <a:lnTo>
                    <a:pt x="650" y="209"/>
                  </a:lnTo>
                  <a:lnTo>
                    <a:pt x="650" y="209"/>
                  </a:lnTo>
                  <a:lnTo>
                    <a:pt x="650" y="211"/>
                  </a:lnTo>
                  <a:lnTo>
                    <a:pt x="653" y="211"/>
                  </a:lnTo>
                  <a:close/>
                  <a:moveTo>
                    <a:pt x="426" y="219"/>
                  </a:moveTo>
                  <a:lnTo>
                    <a:pt x="426" y="216"/>
                  </a:lnTo>
                  <a:lnTo>
                    <a:pt x="426" y="214"/>
                  </a:lnTo>
                  <a:lnTo>
                    <a:pt x="426" y="214"/>
                  </a:lnTo>
                  <a:lnTo>
                    <a:pt x="426" y="211"/>
                  </a:lnTo>
                  <a:lnTo>
                    <a:pt x="426" y="209"/>
                  </a:lnTo>
                  <a:lnTo>
                    <a:pt x="423" y="209"/>
                  </a:lnTo>
                  <a:lnTo>
                    <a:pt x="421" y="211"/>
                  </a:lnTo>
                  <a:lnTo>
                    <a:pt x="421" y="214"/>
                  </a:lnTo>
                  <a:lnTo>
                    <a:pt x="421" y="216"/>
                  </a:lnTo>
                  <a:lnTo>
                    <a:pt x="421" y="219"/>
                  </a:lnTo>
                  <a:lnTo>
                    <a:pt x="421" y="222"/>
                  </a:lnTo>
                  <a:lnTo>
                    <a:pt x="421" y="227"/>
                  </a:lnTo>
                  <a:lnTo>
                    <a:pt x="421" y="227"/>
                  </a:lnTo>
                  <a:lnTo>
                    <a:pt x="426" y="224"/>
                  </a:lnTo>
                  <a:lnTo>
                    <a:pt x="426" y="222"/>
                  </a:lnTo>
                  <a:lnTo>
                    <a:pt x="426" y="222"/>
                  </a:lnTo>
                  <a:lnTo>
                    <a:pt x="426" y="219"/>
                  </a:lnTo>
                  <a:close/>
                  <a:moveTo>
                    <a:pt x="645" y="211"/>
                  </a:moveTo>
                  <a:lnTo>
                    <a:pt x="643" y="211"/>
                  </a:lnTo>
                  <a:lnTo>
                    <a:pt x="643" y="209"/>
                  </a:lnTo>
                  <a:lnTo>
                    <a:pt x="643" y="209"/>
                  </a:lnTo>
                  <a:lnTo>
                    <a:pt x="640" y="206"/>
                  </a:lnTo>
                  <a:lnTo>
                    <a:pt x="637" y="206"/>
                  </a:lnTo>
                  <a:lnTo>
                    <a:pt x="637" y="204"/>
                  </a:lnTo>
                  <a:lnTo>
                    <a:pt x="632" y="204"/>
                  </a:lnTo>
                  <a:lnTo>
                    <a:pt x="627" y="206"/>
                  </a:lnTo>
                  <a:lnTo>
                    <a:pt x="625" y="206"/>
                  </a:lnTo>
                  <a:lnTo>
                    <a:pt x="622" y="206"/>
                  </a:lnTo>
                  <a:lnTo>
                    <a:pt x="622" y="206"/>
                  </a:lnTo>
                  <a:lnTo>
                    <a:pt x="622" y="206"/>
                  </a:lnTo>
                  <a:lnTo>
                    <a:pt x="622" y="211"/>
                  </a:lnTo>
                  <a:lnTo>
                    <a:pt x="622" y="214"/>
                  </a:lnTo>
                  <a:lnTo>
                    <a:pt x="622" y="214"/>
                  </a:lnTo>
                  <a:lnTo>
                    <a:pt x="625" y="216"/>
                  </a:lnTo>
                  <a:lnTo>
                    <a:pt x="625" y="216"/>
                  </a:lnTo>
                  <a:lnTo>
                    <a:pt x="627" y="219"/>
                  </a:lnTo>
                  <a:lnTo>
                    <a:pt x="630" y="222"/>
                  </a:lnTo>
                  <a:lnTo>
                    <a:pt x="635" y="222"/>
                  </a:lnTo>
                  <a:lnTo>
                    <a:pt x="635" y="222"/>
                  </a:lnTo>
                  <a:lnTo>
                    <a:pt x="635" y="222"/>
                  </a:lnTo>
                  <a:lnTo>
                    <a:pt x="637" y="222"/>
                  </a:lnTo>
                  <a:lnTo>
                    <a:pt x="640" y="222"/>
                  </a:lnTo>
                  <a:lnTo>
                    <a:pt x="643" y="219"/>
                  </a:lnTo>
                  <a:lnTo>
                    <a:pt x="643" y="219"/>
                  </a:lnTo>
                  <a:lnTo>
                    <a:pt x="645" y="216"/>
                  </a:lnTo>
                  <a:lnTo>
                    <a:pt x="645" y="214"/>
                  </a:lnTo>
                  <a:lnTo>
                    <a:pt x="645" y="211"/>
                  </a:lnTo>
                  <a:lnTo>
                    <a:pt x="645" y="211"/>
                  </a:lnTo>
                  <a:close/>
                  <a:moveTo>
                    <a:pt x="660" y="201"/>
                  </a:moveTo>
                  <a:lnTo>
                    <a:pt x="660" y="201"/>
                  </a:lnTo>
                  <a:lnTo>
                    <a:pt x="658" y="204"/>
                  </a:lnTo>
                  <a:lnTo>
                    <a:pt x="658" y="204"/>
                  </a:lnTo>
                  <a:lnTo>
                    <a:pt x="660" y="204"/>
                  </a:lnTo>
                  <a:lnTo>
                    <a:pt x="660" y="201"/>
                  </a:lnTo>
                  <a:close/>
                  <a:moveTo>
                    <a:pt x="235" y="201"/>
                  </a:moveTo>
                  <a:lnTo>
                    <a:pt x="235" y="201"/>
                  </a:lnTo>
                  <a:lnTo>
                    <a:pt x="235" y="204"/>
                  </a:lnTo>
                  <a:lnTo>
                    <a:pt x="235" y="204"/>
                  </a:lnTo>
                  <a:lnTo>
                    <a:pt x="237" y="204"/>
                  </a:lnTo>
                  <a:lnTo>
                    <a:pt x="237" y="204"/>
                  </a:lnTo>
                  <a:lnTo>
                    <a:pt x="237" y="201"/>
                  </a:lnTo>
                  <a:lnTo>
                    <a:pt x="235" y="201"/>
                  </a:lnTo>
                  <a:lnTo>
                    <a:pt x="235" y="201"/>
                  </a:lnTo>
                  <a:close/>
                  <a:moveTo>
                    <a:pt x="248" y="201"/>
                  </a:moveTo>
                  <a:lnTo>
                    <a:pt x="248" y="201"/>
                  </a:lnTo>
                  <a:lnTo>
                    <a:pt x="250" y="199"/>
                  </a:lnTo>
                  <a:lnTo>
                    <a:pt x="248" y="199"/>
                  </a:lnTo>
                  <a:lnTo>
                    <a:pt x="248" y="199"/>
                  </a:lnTo>
                  <a:lnTo>
                    <a:pt x="248" y="201"/>
                  </a:lnTo>
                  <a:lnTo>
                    <a:pt x="248" y="201"/>
                  </a:lnTo>
                  <a:lnTo>
                    <a:pt x="248" y="201"/>
                  </a:lnTo>
                  <a:close/>
                  <a:moveTo>
                    <a:pt x="716" y="222"/>
                  </a:moveTo>
                  <a:lnTo>
                    <a:pt x="719" y="216"/>
                  </a:lnTo>
                  <a:lnTo>
                    <a:pt x="716" y="216"/>
                  </a:lnTo>
                  <a:lnTo>
                    <a:pt x="716" y="214"/>
                  </a:lnTo>
                  <a:lnTo>
                    <a:pt x="716" y="211"/>
                  </a:lnTo>
                  <a:lnTo>
                    <a:pt x="714" y="211"/>
                  </a:lnTo>
                  <a:lnTo>
                    <a:pt x="714" y="211"/>
                  </a:lnTo>
                  <a:lnTo>
                    <a:pt x="714" y="209"/>
                  </a:lnTo>
                  <a:lnTo>
                    <a:pt x="711" y="206"/>
                  </a:lnTo>
                  <a:lnTo>
                    <a:pt x="709" y="204"/>
                  </a:lnTo>
                  <a:lnTo>
                    <a:pt x="706" y="204"/>
                  </a:lnTo>
                  <a:lnTo>
                    <a:pt x="704" y="204"/>
                  </a:lnTo>
                  <a:lnTo>
                    <a:pt x="701" y="204"/>
                  </a:lnTo>
                  <a:lnTo>
                    <a:pt x="696" y="201"/>
                  </a:lnTo>
                  <a:lnTo>
                    <a:pt x="694" y="199"/>
                  </a:lnTo>
                  <a:lnTo>
                    <a:pt x="691" y="199"/>
                  </a:lnTo>
                  <a:lnTo>
                    <a:pt x="691" y="199"/>
                  </a:lnTo>
                  <a:lnTo>
                    <a:pt x="691" y="199"/>
                  </a:lnTo>
                  <a:lnTo>
                    <a:pt x="688" y="199"/>
                  </a:lnTo>
                  <a:lnTo>
                    <a:pt x="686" y="201"/>
                  </a:lnTo>
                  <a:lnTo>
                    <a:pt x="683" y="201"/>
                  </a:lnTo>
                  <a:lnTo>
                    <a:pt x="683" y="201"/>
                  </a:lnTo>
                  <a:lnTo>
                    <a:pt x="683" y="201"/>
                  </a:lnTo>
                  <a:lnTo>
                    <a:pt x="683" y="199"/>
                  </a:lnTo>
                  <a:lnTo>
                    <a:pt x="681" y="199"/>
                  </a:lnTo>
                  <a:lnTo>
                    <a:pt x="678" y="199"/>
                  </a:lnTo>
                  <a:lnTo>
                    <a:pt x="676" y="201"/>
                  </a:lnTo>
                  <a:lnTo>
                    <a:pt x="673" y="199"/>
                  </a:lnTo>
                  <a:lnTo>
                    <a:pt x="666" y="201"/>
                  </a:lnTo>
                  <a:lnTo>
                    <a:pt x="663" y="201"/>
                  </a:lnTo>
                  <a:lnTo>
                    <a:pt x="658" y="209"/>
                  </a:lnTo>
                  <a:lnTo>
                    <a:pt x="658" y="209"/>
                  </a:lnTo>
                  <a:lnTo>
                    <a:pt x="660" y="211"/>
                  </a:lnTo>
                  <a:lnTo>
                    <a:pt x="660" y="211"/>
                  </a:lnTo>
                  <a:lnTo>
                    <a:pt x="658" y="214"/>
                  </a:lnTo>
                  <a:lnTo>
                    <a:pt x="658" y="214"/>
                  </a:lnTo>
                  <a:lnTo>
                    <a:pt x="660" y="214"/>
                  </a:lnTo>
                  <a:lnTo>
                    <a:pt x="660" y="211"/>
                  </a:lnTo>
                  <a:lnTo>
                    <a:pt x="660" y="211"/>
                  </a:lnTo>
                  <a:lnTo>
                    <a:pt x="663" y="209"/>
                  </a:lnTo>
                  <a:lnTo>
                    <a:pt x="663" y="206"/>
                  </a:lnTo>
                  <a:lnTo>
                    <a:pt x="663" y="206"/>
                  </a:lnTo>
                  <a:lnTo>
                    <a:pt x="666" y="206"/>
                  </a:lnTo>
                  <a:lnTo>
                    <a:pt x="666" y="209"/>
                  </a:lnTo>
                  <a:lnTo>
                    <a:pt x="666" y="209"/>
                  </a:lnTo>
                  <a:lnTo>
                    <a:pt x="668" y="214"/>
                  </a:lnTo>
                  <a:lnTo>
                    <a:pt x="671" y="214"/>
                  </a:lnTo>
                  <a:lnTo>
                    <a:pt x="671" y="214"/>
                  </a:lnTo>
                  <a:lnTo>
                    <a:pt x="673" y="214"/>
                  </a:lnTo>
                  <a:lnTo>
                    <a:pt x="673" y="211"/>
                  </a:lnTo>
                  <a:lnTo>
                    <a:pt x="676" y="209"/>
                  </a:lnTo>
                  <a:lnTo>
                    <a:pt x="676" y="209"/>
                  </a:lnTo>
                  <a:lnTo>
                    <a:pt x="678" y="209"/>
                  </a:lnTo>
                  <a:lnTo>
                    <a:pt x="678" y="209"/>
                  </a:lnTo>
                  <a:lnTo>
                    <a:pt x="681" y="209"/>
                  </a:lnTo>
                  <a:lnTo>
                    <a:pt x="681" y="209"/>
                  </a:lnTo>
                  <a:lnTo>
                    <a:pt x="681" y="211"/>
                  </a:lnTo>
                  <a:lnTo>
                    <a:pt x="681" y="211"/>
                  </a:lnTo>
                  <a:lnTo>
                    <a:pt x="683" y="211"/>
                  </a:lnTo>
                  <a:lnTo>
                    <a:pt x="686" y="211"/>
                  </a:lnTo>
                  <a:lnTo>
                    <a:pt x="688" y="211"/>
                  </a:lnTo>
                  <a:lnTo>
                    <a:pt x="691" y="214"/>
                  </a:lnTo>
                  <a:lnTo>
                    <a:pt x="691" y="214"/>
                  </a:lnTo>
                  <a:lnTo>
                    <a:pt x="691" y="211"/>
                  </a:lnTo>
                  <a:lnTo>
                    <a:pt x="691" y="211"/>
                  </a:lnTo>
                  <a:lnTo>
                    <a:pt x="691" y="211"/>
                  </a:lnTo>
                  <a:lnTo>
                    <a:pt x="694" y="211"/>
                  </a:lnTo>
                  <a:lnTo>
                    <a:pt x="699" y="211"/>
                  </a:lnTo>
                  <a:lnTo>
                    <a:pt x="699" y="211"/>
                  </a:lnTo>
                  <a:lnTo>
                    <a:pt x="701" y="214"/>
                  </a:lnTo>
                  <a:lnTo>
                    <a:pt x="701" y="214"/>
                  </a:lnTo>
                  <a:lnTo>
                    <a:pt x="706" y="216"/>
                  </a:lnTo>
                  <a:lnTo>
                    <a:pt x="709" y="216"/>
                  </a:lnTo>
                  <a:lnTo>
                    <a:pt x="711" y="219"/>
                  </a:lnTo>
                  <a:lnTo>
                    <a:pt x="716" y="222"/>
                  </a:lnTo>
                  <a:close/>
                  <a:moveTo>
                    <a:pt x="102" y="199"/>
                  </a:moveTo>
                  <a:lnTo>
                    <a:pt x="102" y="199"/>
                  </a:lnTo>
                  <a:lnTo>
                    <a:pt x="102" y="199"/>
                  </a:lnTo>
                  <a:lnTo>
                    <a:pt x="102" y="204"/>
                  </a:lnTo>
                  <a:lnTo>
                    <a:pt x="102" y="204"/>
                  </a:lnTo>
                  <a:lnTo>
                    <a:pt x="105" y="206"/>
                  </a:lnTo>
                  <a:lnTo>
                    <a:pt x="105" y="206"/>
                  </a:lnTo>
                  <a:lnTo>
                    <a:pt x="105" y="209"/>
                  </a:lnTo>
                  <a:lnTo>
                    <a:pt x="107" y="211"/>
                  </a:lnTo>
                  <a:lnTo>
                    <a:pt x="107" y="206"/>
                  </a:lnTo>
                  <a:lnTo>
                    <a:pt x="107" y="206"/>
                  </a:lnTo>
                  <a:lnTo>
                    <a:pt x="107" y="206"/>
                  </a:lnTo>
                  <a:lnTo>
                    <a:pt x="107" y="204"/>
                  </a:lnTo>
                  <a:lnTo>
                    <a:pt x="107" y="204"/>
                  </a:lnTo>
                  <a:lnTo>
                    <a:pt x="102" y="199"/>
                  </a:lnTo>
                  <a:close/>
                  <a:moveTo>
                    <a:pt x="250" y="201"/>
                  </a:moveTo>
                  <a:lnTo>
                    <a:pt x="250" y="204"/>
                  </a:lnTo>
                  <a:lnTo>
                    <a:pt x="250" y="204"/>
                  </a:lnTo>
                  <a:lnTo>
                    <a:pt x="253" y="206"/>
                  </a:lnTo>
                  <a:lnTo>
                    <a:pt x="250" y="209"/>
                  </a:lnTo>
                  <a:lnTo>
                    <a:pt x="253" y="209"/>
                  </a:lnTo>
                  <a:lnTo>
                    <a:pt x="255" y="206"/>
                  </a:lnTo>
                  <a:lnTo>
                    <a:pt x="255" y="206"/>
                  </a:lnTo>
                  <a:lnTo>
                    <a:pt x="255" y="206"/>
                  </a:lnTo>
                  <a:lnTo>
                    <a:pt x="258" y="206"/>
                  </a:lnTo>
                  <a:lnTo>
                    <a:pt x="258" y="206"/>
                  </a:lnTo>
                  <a:lnTo>
                    <a:pt x="258" y="209"/>
                  </a:lnTo>
                  <a:lnTo>
                    <a:pt x="260" y="209"/>
                  </a:lnTo>
                  <a:lnTo>
                    <a:pt x="260" y="209"/>
                  </a:lnTo>
                  <a:lnTo>
                    <a:pt x="263" y="206"/>
                  </a:lnTo>
                  <a:lnTo>
                    <a:pt x="263" y="206"/>
                  </a:lnTo>
                  <a:lnTo>
                    <a:pt x="263" y="204"/>
                  </a:lnTo>
                  <a:lnTo>
                    <a:pt x="265" y="199"/>
                  </a:lnTo>
                  <a:lnTo>
                    <a:pt x="263" y="196"/>
                  </a:lnTo>
                  <a:lnTo>
                    <a:pt x="260" y="194"/>
                  </a:lnTo>
                  <a:lnTo>
                    <a:pt x="258" y="194"/>
                  </a:lnTo>
                  <a:lnTo>
                    <a:pt x="255" y="194"/>
                  </a:lnTo>
                  <a:lnTo>
                    <a:pt x="253" y="194"/>
                  </a:lnTo>
                  <a:lnTo>
                    <a:pt x="253" y="196"/>
                  </a:lnTo>
                  <a:lnTo>
                    <a:pt x="250" y="199"/>
                  </a:lnTo>
                  <a:lnTo>
                    <a:pt x="250" y="201"/>
                  </a:lnTo>
                  <a:lnTo>
                    <a:pt x="250" y="201"/>
                  </a:lnTo>
                  <a:lnTo>
                    <a:pt x="250" y="201"/>
                  </a:lnTo>
                  <a:close/>
                  <a:moveTo>
                    <a:pt x="102" y="196"/>
                  </a:moveTo>
                  <a:lnTo>
                    <a:pt x="100" y="191"/>
                  </a:lnTo>
                  <a:lnTo>
                    <a:pt x="97" y="194"/>
                  </a:lnTo>
                  <a:lnTo>
                    <a:pt x="97" y="194"/>
                  </a:lnTo>
                  <a:lnTo>
                    <a:pt x="97" y="194"/>
                  </a:lnTo>
                  <a:lnTo>
                    <a:pt x="100" y="196"/>
                  </a:lnTo>
                  <a:lnTo>
                    <a:pt x="97" y="199"/>
                  </a:lnTo>
                  <a:lnTo>
                    <a:pt x="100" y="199"/>
                  </a:lnTo>
                  <a:lnTo>
                    <a:pt x="102" y="199"/>
                  </a:lnTo>
                  <a:lnTo>
                    <a:pt x="102" y="199"/>
                  </a:lnTo>
                  <a:lnTo>
                    <a:pt x="102" y="196"/>
                  </a:lnTo>
                  <a:close/>
                  <a:moveTo>
                    <a:pt x="790" y="183"/>
                  </a:moveTo>
                  <a:lnTo>
                    <a:pt x="790" y="181"/>
                  </a:lnTo>
                  <a:lnTo>
                    <a:pt x="790" y="181"/>
                  </a:lnTo>
                  <a:lnTo>
                    <a:pt x="790" y="181"/>
                  </a:lnTo>
                  <a:lnTo>
                    <a:pt x="790" y="181"/>
                  </a:lnTo>
                  <a:lnTo>
                    <a:pt x="788" y="183"/>
                  </a:lnTo>
                  <a:lnTo>
                    <a:pt x="788" y="183"/>
                  </a:lnTo>
                  <a:lnTo>
                    <a:pt x="790" y="183"/>
                  </a:lnTo>
                  <a:close/>
                  <a:moveTo>
                    <a:pt x="95" y="186"/>
                  </a:moveTo>
                  <a:lnTo>
                    <a:pt x="95" y="183"/>
                  </a:lnTo>
                  <a:lnTo>
                    <a:pt x="92" y="181"/>
                  </a:lnTo>
                  <a:lnTo>
                    <a:pt x="92" y="181"/>
                  </a:lnTo>
                  <a:lnTo>
                    <a:pt x="90" y="181"/>
                  </a:lnTo>
                  <a:lnTo>
                    <a:pt x="90" y="181"/>
                  </a:lnTo>
                  <a:lnTo>
                    <a:pt x="90" y="183"/>
                  </a:lnTo>
                  <a:lnTo>
                    <a:pt x="90" y="183"/>
                  </a:lnTo>
                  <a:lnTo>
                    <a:pt x="92" y="186"/>
                  </a:lnTo>
                  <a:lnTo>
                    <a:pt x="92" y="186"/>
                  </a:lnTo>
                  <a:lnTo>
                    <a:pt x="95" y="188"/>
                  </a:lnTo>
                  <a:lnTo>
                    <a:pt x="95" y="188"/>
                  </a:lnTo>
                  <a:lnTo>
                    <a:pt x="95" y="186"/>
                  </a:lnTo>
                  <a:close/>
                  <a:moveTo>
                    <a:pt x="620" y="181"/>
                  </a:moveTo>
                  <a:lnTo>
                    <a:pt x="620" y="181"/>
                  </a:lnTo>
                  <a:lnTo>
                    <a:pt x="620" y="181"/>
                  </a:lnTo>
                  <a:lnTo>
                    <a:pt x="620" y="183"/>
                  </a:lnTo>
                  <a:lnTo>
                    <a:pt x="620" y="186"/>
                  </a:lnTo>
                  <a:lnTo>
                    <a:pt x="620" y="186"/>
                  </a:lnTo>
                  <a:lnTo>
                    <a:pt x="620" y="191"/>
                  </a:lnTo>
                  <a:lnTo>
                    <a:pt x="622" y="191"/>
                  </a:lnTo>
                  <a:lnTo>
                    <a:pt x="622" y="191"/>
                  </a:lnTo>
                  <a:lnTo>
                    <a:pt x="622" y="188"/>
                  </a:lnTo>
                  <a:lnTo>
                    <a:pt x="620" y="183"/>
                  </a:lnTo>
                  <a:lnTo>
                    <a:pt x="622" y="181"/>
                  </a:lnTo>
                  <a:lnTo>
                    <a:pt x="620" y="181"/>
                  </a:lnTo>
                  <a:close/>
                  <a:moveTo>
                    <a:pt x="576" y="178"/>
                  </a:moveTo>
                  <a:lnTo>
                    <a:pt x="576" y="178"/>
                  </a:lnTo>
                  <a:lnTo>
                    <a:pt x="576" y="181"/>
                  </a:lnTo>
                  <a:lnTo>
                    <a:pt x="579" y="181"/>
                  </a:lnTo>
                  <a:lnTo>
                    <a:pt x="579" y="178"/>
                  </a:lnTo>
                  <a:lnTo>
                    <a:pt x="576" y="178"/>
                  </a:lnTo>
                  <a:close/>
                  <a:moveTo>
                    <a:pt x="617" y="178"/>
                  </a:moveTo>
                  <a:lnTo>
                    <a:pt x="620" y="178"/>
                  </a:lnTo>
                  <a:lnTo>
                    <a:pt x="627" y="178"/>
                  </a:lnTo>
                  <a:lnTo>
                    <a:pt x="627" y="176"/>
                  </a:lnTo>
                  <a:lnTo>
                    <a:pt x="622" y="176"/>
                  </a:lnTo>
                  <a:lnTo>
                    <a:pt x="617" y="176"/>
                  </a:lnTo>
                  <a:lnTo>
                    <a:pt x="612" y="176"/>
                  </a:lnTo>
                  <a:lnTo>
                    <a:pt x="609" y="176"/>
                  </a:lnTo>
                  <a:lnTo>
                    <a:pt x="609" y="176"/>
                  </a:lnTo>
                  <a:lnTo>
                    <a:pt x="609" y="178"/>
                  </a:lnTo>
                  <a:lnTo>
                    <a:pt x="609" y="178"/>
                  </a:lnTo>
                  <a:lnTo>
                    <a:pt x="612" y="178"/>
                  </a:lnTo>
                  <a:lnTo>
                    <a:pt x="617" y="178"/>
                  </a:lnTo>
                  <a:close/>
                  <a:moveTo>
                    <a:pt x="564" y="176"/>
                  </a:moveTo>
                  <a:lnTo>
                    <a:pt x="564" y="176"/>
                  </a:lnTo>
                  <a:lnTo>
                    <a:pt x="564" y="176"/>
                  </a:lnTo>
                  <a:lnTo>
                    <a:pt x="564" y="178"/>
                  </a:lnTo>
                  <a:lnTo>
                    <a:pt x="564" y="178"/>
                  </a:lnTo>
                  <a:lnTo>
                    <a:pt x="564" y="176"/>
                  </a:lnTo>
                  <a:lnTo>
                    <a:pt x="564" y="176"/>
                  </a:lnTo>
                  <a:close/>
                  <a:moveTo>
                    <a:pt x="699" y="181"/>
                  </a:moveTo>
                  <a:lnTo>
                    <a:pt x="704" y="181"/>
                  </a:lnTo>
                  <a:lnTo>
                    <a:pt x="704" y="181"/>
                  </a:lnTo>
                  <a:lnTo>
                    <a:pt x="706" y="181"/>
                  </a:lnTo>
                  <a:lnTo>
                    <a:pt x="706" y="181"/>
                  </a:lnTo>
                  <a:lnTo>
                    <a:pt x="709" y="181"/>
                  </a:lnTo>
                  <a:lnTo>
                    <a:pt x="709" y="181"/>
                  </a:lnTo>
                  <a:lnTo>
                    <a:pt x="711" y="181"/>
                  </a:lnTo>
                  <a:lnTo>
                    <a:pt x="709" y="178"/>
                  </a:lnTo>
                  <a:lnTo>
                    <a:pt x="709" y="178"/>
                  </a:lnTo>
                  <a:lnTo>
                    <a:pt x="709" y="178"/>
                  </a:lnTo>
                  <a:lnTo>
                    <a:pt x="711" y="176"/>
                  </a:lnTo>
                  <a:lnTo>
                    <a:pt x="709" y="176"/>
                  </a:lnTo>
                  <a:lnTo>
                    <a:pt x="709" y="173"/>
                  </a:lnTo>
                  <a:lnTo>
                    <a:pt x="709" y="173"/>
                  </a:lnTo>
                  <a:lnTo>
                    <a:pt x="706" y="173"/>
                  </a:lnTo>
                  <a:lnTo>
                    <a:pt x="704" y="173"/>
                  </a:lnTo>
                  <a:lnTo>
                    <a:pt x="701" y="176"/>
                  </a:lnTo>
                  <a:lnTo>
                    <a:pt x="696" y="178"/>
                  </a:lnTo>
                  <a:lnTo>
                    <a:pt x="696" y="178"/>
                  </a:lnTo>
                  <a:lnTo>
                    <a:pt x="699" y="181"/>
                  </a:lnTo>
                  <a:close/>
                  <a:moveTo>
                    <a:pt x="607" y="176"/>
                  </a:moveTo>
                  <a:lnTo>
                    <a:pt x="604" y="176"/>
                  </a:lnTo>
                  <a:lnTo>
                    <a:pt x="604" y="173"/>
                  </a:lnTo>
                  <a:lnTo>
                    <a:pt x="604" y="173"/>
                  </a:lnTo>
                  <a:lnTo>
                    <a:pt x="604" y="173"/>
                  </a:lnTo>
                  <a:lnTo>
                    <a:pt x="604" y="176"/>
                  </a:lnTo>
                  <a:lnTo>
                    <a:pt x="602" y="176"/>
                  </a:lnTo>
                  <a:lnTo>
                    <a:pt x="602" y="173"/>
                  </a:lnTo>
                  <a:lnTo>
                    <a:pt x="594" y="173"/>
                  </a:lnTo>
                  <a:lnTo>
                    <a:pt x="592" y="173"/>
                  </a:lnTo>
                  <a:lnTo>
                    <a:pt x="589" y="173"/>
                  </a:lnTo>
                  <a:lnTo>
                    <a:pt x="589" y="173"/>
                  </a:lnTo>
                  <a:lnTo>
                    <a:pt x="589" y="178"/>
                  </a:lnTo>
                  <a:lnTo>
                    <a:pt x="589" y="181"/>
                  </a:lnTo>
                  <a:lnTo>
                    <a:pt x="592" y="181"/>
                  </a:lnTo>
                  <a:lnTo>
                    <a:pt x="594" y="181"/>
                  </a:lnTo>
                  <a:lnTo>
                    <a:pt x="599" y="178"/>
                  </a:lnTo>
                  <a:lnTo>
                    <a:pt x="602" y="178"/>
                  </a:lnTo>
                  <a:lnTo>
                    <a:pt x="604" y="178"/>
                  </a:lnTo>
                  <a:lnTo>
                    <a:pt x="607" y="178"/>
                  </a:lnTo>
                  <a:lnTo>
                    <a:pt x="607" y="176"/>
                  </a:lnTo>
                  <a:lnTo>
                    <a:pt x="607" y="176"/>
                  </a:lnTo>
                  <a:lnTo>
                    <a:pt x="607" y="176"/>
                  </a:lnTo>
                  <a:close/>
                  <a:moveTo>
                    <a:pt x="826" y="173"/>
                  </a:moveTo>
                  <a:lnTo>
                    <a:pt x="821" y="173"/>
                  </a:lnTo>
                  <a:lnTo>
                    <a:pt x="821" y="173"/>
                  </a:lnTo>
                  <a:lnTo>
                    <a:pt x="813" y="171"/>
                  </a:lnTo>
                  <a:lnTo>
                    <a:pt x="811" y="171"/>
                  </a:lnTo>
                  <a:lnTo>
                    <a:pt x="813" y="173"/>
                  </a:lnTo>
                  <a:lnTo>
                    <a:pt x="821" y="176"/>
                  </a:lnTo>
                  <a:lnTo>
                    <a:pt x="824" y="176"/>
                  </a:lnTo>
                  <a:lnTo>
                    <a:pt x="826" y="178"/>
                  </a:lnTo>
                  <a:lnTo>
                    <a:pt x="826" y="178"/>
                  </a:lnTo>
                  <a:lnTo>
                    <a:pt x="829" y="178"/>
                  </a:lnTo>
                  <a:lnTo>
                    <a:pt x="831" y="178"/>
                  </a:lnTo>
                  <a:lnTo>
                    <a:pt x="836" y="178"/>
                  </a:lnTo>
                  <a:lnTo>
                    <a:pt x="836" y="176"/>
                  </a:lnTo>
                  <a:lnTo>
                    <a:pt x="841" y="176"/>
                  </a:lnTo>
                  <a:lnTo>
                    <a:pt x="839" y="176"/>
                  </a:lnTo>
                  <a:lnTo>
                    <a:pt x="836" y="176"/>
                  </a:lnTo>
                  <a:lnTo>
                    <a:pt x="831" y="173"/>
                  </a:lnTo>
                  <a:lnTo>
                    <a:pt x="826" y="173"/>
                  </a:lnTo>
                  <a:close/>
                  <a:moveTo>
                    <a:pt x="276" y="173"/>
                  </a:moveTo>
                  <a:lnTo>
                    <a:pt x="278" y="171"/>
                  </a:lnTo>
                  <a:lnTo>
                    <a:pt x="278" y="171"/>
                  </a:lnTo>
                  <a:lnTo>
                    <a:pt x="278" y="171"/>
                  </a:lnTo>
                  <a:lnTo>
                    <a:pt x="276" y="171"/>
                  </a:lnTo>
                  <a:lnTo>
                    <a:pt x="276" y="173"/>
                  </a:lnTo>
                  <a:close/>
                  <a:moveTo>
                    <a:pt x="204" y="183"/>
                  </a:moveTo>
                  <a:lnTo>
                    <a:pt x="207" y="183"/>
                  </a:lnTo>
                  <a:lnTo>
                    <a:pt x="209" y="183"/>
                  </a:lnTo>
                  <a:lnTo>
                    <a:pt x="212" y="183"/>
                  </a:lnTo>
                  <a:lnTo>
                    <a:pt x="214" y="183"/>
                  </a:lnTo>
                  <a:lnTo>
                    <a:pt x="214" y="186"/>
                  </a:lnTo>
                  <a:lnTo>
                    <a:pt x="214" y="188"/>
                  </a:lnTo>
                  <a:lnTo>
                    <a:pt x="217" y="191"/>
                  </a:lnTo>
                  <a:lnTo>
                    <a:pt x="217" y="191"/>
                  </a:lnTo>
                  <a:lnTo>
                    <a:pt x="217" y="191"/>
                  </a:lnTo>
                  <a:lnTo>
                    <a:pt x="217" y="196"/>
                  </a:lnTo>
                  <a:lnTo>
                    <a:pt x="217" y="199"/>
                  </a:lnTo>
                  <a:lnTo>
                    <a:pt x="220" y="199"/>
                  </a:lnTo>
                  <a:lnTo>
                    <a:pt x="222" y="201"/>
                  </a:lnTo>
                  <a:lnTo>
                    <a:pt x="225" y="201"/>
                  </a:lnTo>
                  <a:lnTo>
                    <a:pt x="225" y="201"/>
                  </a:lnTo>
                  <a:lnTo>
                    <a:pt x="227" y="204"/>
                  </a:lnTo>
                  <a:lnTo>
                    <a:pt x="227" y="204"/>
                  </a:lnTo>
                  <a:lnTo>
                    <a:pt x="230" y="204"/>
                  </a:lnTo>
                  <a:lnTo>
                    <a:pt x="230" y="204"/>
                  </a:lnTo>
                  <a:lnTo>
                    <a:pt x="232" y="204"/>
                  </a:lnTo>
                  <a:lnTo>
                    <a:pt x="232" y="204"/>
                  </a:lnTo>
                  <a:lnTo>
                    <a:pt x="232" y="204"/>
                  </a:lnTo>
                  <a:lnTo>
                    <a:pt x="232" y="201"/>
                  </a:lnTo>
                  <a:lnTo>
                    <a:pt x="232" y="201"/>
                  </a:lnTo>
                  <a:lnTo>
                    <a:pt x="232" y="196"/>
                  </a:lnTo>
                  <a:lnTo>
                    <a:pt x="232" y="196"/>
                  </a:lnTo>
                  <a:lnTo>
                    <a:pt x="235" y="194"/>
                  </a:lnTo>
                  <a:lnTo>
                    <a:pt x="235" y="194"/>
                  </a:lnTo>
                  <a:lnTo>
                    <a:pt x="227" y="191"/>
                  </a:lnTo>
                  <a:lnTo>
                    <a:pt x="225" y="186"/>
                  </a:lnTo>
                  <a:lnTo>
                    <a:pt x="222" y="178"/>
                  </a:lnTo>
                  <a:lnTo>
                    <a:pt x="222" y="176"/>
                  </a:lnTo>
                  <a:lnTo>
                    <a:pt x="222" y="176"/>
                  </a:lnTo>
                  <a:lnTo>
                    <a:pt x="220" y="173"/>
                  </a:lnTo>
                  <a:lnTo>
                    <a:pt x="220" y="171"/>
                  </a:lnTo>
                  <a:lnTo>
                    <a:pt x="220" y="171"/>
                  </a:lnTo>
                  <a:lnTo>
                    <a:pt x="217" y="168"/>
                  </a:lnTo>
                  <a:lnTo>
                    <a:pt x="217" y="168"/>
                  </a:lnTo>
                  <a:lnTo>
                    <a:pt x="214" y="171"/>
                  </a:lnTo>
                  <a:lnTo>
                    <a:pt x="214" y="173"/>
                  </a:lnTo>
                  <a:lnTo>
                    <a:pt x="214" y="173"/>
                  </a:lnTo>
                  <a:lnTo>
                    <a:pt x="212" y="173"/>
                  </a:lnTo>
                  <a:lnTo>
                    <a:pt x="212" y="171"/>
                  </a:lnTo>
                  <a:lnTo>
                    <a:pt x="212" y="171"/>
                  </a:lnTo>
                  <a:lnTo>
                    <a:pt x="209" y="171"/>
                  </a:lnTo>
                  <a:lnTo>
                    <a:pt x="207" y="171"/>
                  </a:lnTo>
                  <a:lnTo>
                    <a:pt x="207" y="173"/>
                  </a:lnTo>
                  <a:lnTo>
                    <a:pt x="207" y="173"/>
                  </a:lnTo>
                  <a:lnTo>
                    <a:pt x="207" y="176"/>
                  </a:lnTo>
                  <a:lnTo>
                    <a:pt x="207" y="176"/>
                  </a:lnTo>
                  <a:lnTo>
                    <a:pt x="207" y="178"/>
                  </a:lnTo>
                  <a:lnTo>
                    <a:pt x="204" y="178"/>
                  </a:lnTo>
                  <a:lnTo>
                    <a:pt x="202" y="181"/>
                  </a:lnTo>
                  <a:lnTo>
                    <a:pt x="202" y="181"/>
                  </a:lnTo>
                  <a:lnTo>
                    <a:pt x="204" y="183"/>
                  </a:lnTo>
                  <a:lnTo>
                    <a:pt x="204" y="183"/>
                  </a:lnTo>
                  <a:close/>
                  <a:moveTo>
                    <a:pt x="574" y="173"/>
                  </a:moveTo>
                  <a:lnTo>
                    <a:pt x="574" y="173"/>
                  </a:lnTo>
                  <a:lnTo>
                    <a:pt x="574" y="171"/>
                  </a:lnTo>
                  <a:lnTo>
                    <a:pt x="574" y="171"/>
                  </a:lnTo>
                  <a:lnTo>
                    <a:pt x="571" y="168"/>
                  </a:lnTo>
                  <a:lnTo>
                    <a:pt x="571" y="168"/>
                  </a:lnTo>
                  <a:lnTo>
                    <a:pt x="571" y="171"/>
                  </a:lnTo>
                  <a:lnTo>
                    <a:pt x="571" y="173"/>
                  </a:lnTo>
                  <a:lnTo>
                    <a:pt x="571" y="173"/>
                  </a:lnTo>
                  <a:lnTo>
                    <a:pt x="574" y="173"/>
                  </a:lnTo>
                  <a:close/>
                  <a:moveTo>
                    <a:pt x="653" y="173"/>
                  </a:moveTo>
                  <a:lnTo>
                    <a:pt x="658" y="173"/>
                  </a:lnTo>
                  <a:lnTo>
                    <a:pt x="660" y="173"/>
                  </a:lnTo>
                  <a:lnTo>
                    <a:pt x="663" y="173"/>
                  </a:lnTo>
                  <a:lnTo>
                    <a:pt x="663" y="173"/>
                  </a:lnTo>
                  <a:lnTo>
                    <a:pt x="666" y="173"/>
                  </a:lnTo>
                  <a:lnTo>
                    <a:pt x="666" y="171"/>
                  </a:lnTo>
                  <a:lnTo>
                    <a:pt x="663" y="171"/>
                  </a:lnTo>
                  <a:lnTo>
                    <a:pt x="660" y="168"/>
                  </a:lnTo>
                  <a:lnTo>
                    <a:pt x="658" y="166"/>
                  </a:lnTo>
                  <a:lnTo>
                    <a:pt x="655" y="166"/>
                  </a:lnTo>
                  <a:lnTo>
                    <a:pt x="653" y="166"/>
                  </a:lnTo>
                  <a:lnTo>
                    <a:pt x="650" y="168"/>
                  </a:lnTo>
                  <a:lnTo>
                    <a:pt x="650" y="171"/>
                  </a:lnTo>
                  <a:lnTo>
                    <a:pt x="650" y="173"/>
                  </a:lnTo>
                  <a:lnTo>
                    <a:pt x="650" y="173"/>
                  </a:lnTo>
                  <a:lnTo>
                    <a:pt x="653" y="173"/>
                  </a:lnTo>
                  <a:close/>
                  <a:moveTo>
                    <a:pt x="571" y="166"/>
                  </a:moveTo>
                  <a:lnTo>
                    <a:pt x="571" y="166"/>
                  </a:lnTo>
                  <a:lnTo>
                    <a:pt x="571" y="163"/>
                  </a:lnTo>
                  <a:lnTo>
                    <a:pt x="571" y="163"/>
                  </a:lnTo>
                  <a:lnTo>
                    <a:pt x="569" y="163"/>
                  </a:lnTo>
                  <a:lnTo>
                    <a:pt x="566" y="166"/>
                  </a:lnTo>
                  <a:lnTo>
                    <a:pt x="566" y="166"/>
                  </a:lnTo>
                  <a:lnTo>
                    <a:pt x="566" y="163"/>
                  </a:lnTo>
                  <a:lnTo>
                    <a:pt x="566" y="160"/>
                  </a:lnTo>
                  <a:lnTo>
                    <a:pt x="564" y="160"/>
                  </a:lnTo>
                  <a:lnTo>
                    <a:pt x="561" y="163"/>
                  </a:lnTo>
                  <a:lnTo>
                    <a:pt x="558" y="163"/>
                  </a:lnTo>
                  <a:lnTo>
                    <a:pt x="558" y="163"/>
                  </a:lnTo>
                  <a:lnTo>
                    <a:pt x="558" y="168"/>
                  </a:lnTo>
                  <a:lnTo>
                    <a:pt x="558" y="171"/>
                  </a:lnTo>
                  <a:lnTo>
                    <a:pt x="558" y="171"/>
                  </a:lnTo>
                  <a:lnTo>
                    <a:pt x="561" y="171"/>
                  </a:lnTo>
                  <a:lnTo>
                    <a:pt x="564" y="166"/>
                  </a:lnTo>
                  <a:lnTo>
                    <a:pt x="564" y="166"/>
                  </a:lnTo>
                  <a:lnTo>
                    <a:pt x="566" y="168"/>
                  </a:lnTo>
                  <a:lnTo>
                    <a:pt x="564" y="171"/>
                  </a:lnTo>
                  <a:lnTo>
                    <a:pt x="564" y="171"/>
                  </a:lnTo>
                  <a:lnTo>
                    <a:pt x="564" y="171"/>
                  </a:lnTo>
                  <a:lnTo>
                    <a:pt x="566" y="171"/>
                  </a:lnTo>
                  <a:lnTo>
                    <a:pt x="566" y="171"/>
                  </a:lnTo>
                  <a:lnTo>
                    <a:pt x="566" y="168"/>
                  </a:lnTo>
                  <a:lnTo>
                    <a:pt x="569" y="168"/>
                  </a:lnTo>
                  <a:lnTo>
                    <a:pt x="569" y="168"/>
                  </a:lnTo>
                  <a:lnTo>
                    <a:pt x="571" y="168"/>
                  </a:lnTo>
                  <a:lnTo>
                    <a:pt x="571" y="168"/>
                  </a:lnTo>
                  <a:lnTo>
                    <a:pt x="571" y="166"/>
                  </a:lnTo>
                  <a:close/>
                  <a:moveTo>
                    <a:pt x="293" y="158"/>
                  </a:moveTo>
                  <a:lnTo>
                    <a:pt x="291" y="158"/>
                  </a:lnTo>
                  <a:lnTo>
                    <a:pt x="288" y="158"/>
                  </a:lnTo>
                  <a:lnTo>
                    <a:pt x="288" y="163"/>
                  </a:lnTo>
                  <a:lnTo>
                    <a:pt x="288" y="163"/>
                  </a:lnTo>
                  <a:lnTo>
                    <a:pt x="291" y="163"/>
                  </a:lnTo>
                  <a:lnTo>
                    <a:pt x="293" y="163"/>
                  </a:lnTo>
                  <a:lnTo>
                    <a:pt x="296" y="160"/>
                  </a:lnTo>
                  <a:lnTo>
                    <a:pt x="296" y="160"/>
                  </a:lnTo>
                  <a:lnTo>
                    <a:pt x="296" y="158"/>
                  </a:lnTo>
                  <a:lnTo>
                    <a:pt x="293" y="158"/>
                  </a:lnTo>
                  <a:lnTo>
                    <a:pt x="293" y="158"/>
                  </a:lnTo>
                  <a:close/>
                  <a:moveTo>
                    <a:pt x="801" y="160"/>
                  </a:moveTo>
                  <a:lnTo>
                    <a:pt x="803" y="160"/>
                  </a:lnTo>
                  <a:lnTo>
                    <a:pt x="803" y="158"/>
                  </a:lnTo>
                  <a:lnTo>
                    <a:pt x="803" y="158"/>
                  </a:lnTo>
                  <a:lnTo>
                    <a:pt x="801" y="158"/>
                  </a:lnTo>
                  <a:lnTo>
                    <a:pt x="801" y="155"/>
                  </a:lnTo>
                  <a:lnTo>
                    <a:pt x="801" y="158"/>
                  </a:lnTo>
                  <a:lnTo>
                    <a:pt x="798" y="158"/>
                  </a:lnTo>
                  <a:lnTo>
                    <a:pt x="801" y="160"/>
                  </a:lnTo>
                  <a:lnTo>
                    <a:pt x="801" y="160"/>
                  </a:lnTo>
                  <a:close/>
                  <a:moveTo>
                    <a:pt x="82" y="171"/>
                  </a:moveTo>
                  <a:lnTo>
                    <a:pt x="82" y="168"/>
                  </a:lnTo>
                  <a:lnTo>
                    <a:pt x="82" y="168"/>
                  </a:lnTo>
                  <a:lnTo>
                    <a:pt x="82" y="166"/>
                  </a:lnTo>
                  <a:lnTo>
                    <a:pt x="82" y="166"/>
                  </a:lnTo>
                  <a:lnTo>
                    <a:pt x="79" y="163"/>
                  </a:lnTo>
                  <a:lnTo>
                    <a:pt x="79" y="158"/>
                  </a:lnTo>
                  <a:lnTo>
                    <a:pt x="77" y="158"/>
                  </a:lnTo>
                  <a:lnTo>
                    <a:pt x="77" y="155"/>
                  </a:lnTo>
                  <a:lnTo>
                    <a:pt x="72" y="158"/>
                  </a:lnTo>
                  <a:lnTo>
                    <a:pt x="72" y="163"/>
                  </a:lnTo>
                  <a:lnTo>
                    <a:pt x="72" y="163"/>
                  </a:lnTo>
                  <a:lnTo>
                    <a:pt x="74" y="171"/>
                  </a:lnTo>
                  <a:lnTo>
                    <a:pt x="74" y="171"/>
                  </a:lnTo>
                  <a:lnTo>
                    <a:pt x="77" y="173"/>
                  </a:lnTo>
                  <a:lnTo>
                    <a:pt x="79" y="176"/>
                  </a:lnTo>
                  <a:lnTo>
                    <a:pt x="82" y="176"/>
                  </a:lnTo>
                  <a:lnTo>
                    <a:pt x="84" y="176"/>
                  </a:lnTo>
                  <a:lnTo>
                    <a:pt x="84" y="173"/>
                  </a:lnTo>
                  <a:lnTo>
                    <a:pt x="82" y="171"/>
                  </a:lnTo>
                  <a:close/>
                  <a:moveTo>
                    <a:pt x="716" y="160"/>
                  </a:moveTo>
                  <a:lnTo>
                    <a:pt x="716" y="160"/>
                  </a:lnTo>
                  <a:lnTo>
                    <a:pt x="719" y="163"/>
                  </a:lnTo>
                  <a:lnTo>
                    <a:pt x="719" y="166"/>
                  </a:lnTo>
                  <a:lnTo>
                    <a:pt x="722" y="166"/>
                  </a:lnTo>
                  <a:lnTo>
                    <a:pt x="722" y="166"/>
                  </a:lnTo>
                  <a:lnTo>
                    <a:pt x="724" y="163"/>
                  </a:lnTo>
                  <a:lnTo>
                    <a:pt x="724" y="158"/>
                  </a:lnTo>
                  <a:lnTo>
                    <a:pt x="724" y="155"/>
                  </a:lnTo>
                  <a:lnTo>
                    <a:pt x="722" y="155"/>
                  </a:lnTo>
                  <a:lnTo>
                    <a:pt x="722" y="155"/>
                  </a:lnTo>
                  <a:lnTo>
                    <a:pt x="716" y="158"/>
                  </a:lnTo>
                  <a:lnTo>
                    <a:pt x="716" y="158"/>
                  </a:lnTo>
                  <a:lnTo>
                    <a:pt x="716" y="158"/>
                  </a:lnTo>
                  <a:lnTo>
                    <a:pt x="716" y="160"/>
                  </a:lnTo>
                  <a:close/>
                  <a:moveTo>
                    <a:pt x="711" y="155"/>
                  </a:moveTo>
                  <a:lnTo>
                    <a:pt x="711" y="155"/>
                  </a:lnTo>
                  <a:lnTo>
                    <a:pt x="719" y="155"/>
                  </a:lnTo>
                  <a:lnTo>
                    <a:pt x="719" y="153"/>
                  </a:lnTo>
                  <a:lnTo>
                    <a:pt x="722" y="153"/>
                  </a:lnTo>
                  <a:lnTo>
                    <a:pt x="719" y="153"/>
                  </a:lnTo>
                  <a:lnTo>
                    <a:pt x="719" y="153"/>
                  </a:lnTo>
                  <a:lnTo>
                    <a:pt x="716" y="153"/>
                  </a:lnTo>
                  <a:lnTo>
                    <a:pt x="714" y="153"/>
                  </a:lnTo>
                  <a:lnTo>
                    <a:pt x="714" y="153"/>
                  </a:lnTo>
                  <a:lnTo>
                    <a:pt x="714" y="153"/>
                  </a:lnTo>
                  <a:lnTo>
                    <a:pt x="714" y="153"/>
                  </a:lnTo>
                  <a:lnTo>
                    <a:pt x="714" y="155"/>
                  </a:lnTo>
                  <a:lnTo>
                    <a:pt x="711" y="153"/>
                  </a:lnTo>
                  <a:lnTo>
                    <a:pt x="711" y="155"/>
                  </a:lnTo>
                  <a:lnTo>
                    <a:pt x="711" y="155"/>
                  </a:lnTo>
                  <a:close/>
                  <a:moveTo>
                    <a:pt x="811" y="153"/>
                  </a:moveTo>
                  <a:lnTo>
                    <a:pt x="813" y="153"/>
                  </a:lnTo>
                  <a:lnTo>
                    <a:pt x="813" y="153"/>
                  </a:lnTo>
                  <a:lnTo>
                    <a:pt x="813" y="153"/>
                  </a:lnTo>
                  <a:lnTo>
                    <a:pt x="816" y="155"/>
                  </a:lnTo>
                  <a:lnTo>
                    <a:pt x="818" y="153"/>
                  </a:lnTo>
                  <a:lnTo>
                    <a:pt x="818" y="158"/>
                  </a:lnTo>
                  <a:lnTo>
                    <a:pt x="818" y="160"/>
                  </a:lnTo>
                  <a:lnTo>
                    <a:pt x="821" y="163"/>
                  </a:lnTo>
                  <a:lnTo>
                    <a:pt x="824" y="160"/>
                  </a:lnTo>
                  <a:lnTo>
                    <a:pt x="826" y="163"/>
                  </a:lnTo>
                  <a:lnTo>
                    <a:pt x="826" y="163"/>
                  </a:lnTo>
                  <a:lnTo>
                    <a:pt x="829" y="163"/>
                  </a:lnTo>
                  <a:lnTo>
                    <a:pt x="831" y="160"/>
                  </a:lnTo>
                  <a:lnTo>
                    <a:pt x="829" y="160"/>
                  </a:lnTo>
                  <a:lnTo>
                    <a:pt x="826" y="158"/>
                  </a:lnTo>
                  <a:lnTo>
                    <a:pt x="824" y="155"/>
                  </a:lnTo>
                  <a:lnTo>
                    <a:pt x="821" y="153"/>
                  </a:lnTo>
                  <a:lnTo>
                    <a:pt x="821" y="150"/>
                  </a:lnTo>
                  <a:lnTo>
                    <a:pt x="818" y="153"/>
                  </a:lnTo>
                  <a:lnTo>
                    <a:pt x="816" y="150"/>
                  </a:lnTo>
                  <a:lnTo>
                    <a:pt x="816" y="150"/>
                  </a:lnTo>
                  <a:lnTo>
                    <a:pt x="811" y="150"/>
                  </a:lnTo>
                  <a:lnTo>
                    <a:pt x="811" y="150"/>
                  </a:lnTo>
                  <a:lnTo>
                    <a:pt x="811" y="153"/>
                  </a:lnTo>
                  <a:close/>
                  <a:moveTo>
                    <a:pt x="645" y="150"/>
                  </a:moveTo>
                  <a:lnTo>
                    <a:pt x="645" y="153"/>
                  </a:lnTo>
                  <a:lnTo>
                    <a:pt x="645" y="153"/>
                  </a:lnTo>
                  <a:lnTo>
                    <a:pt x="648" y="153"/>
                  </a:lnTo>
                  <a:lnTo>
                    <a:pt x="648" y="153"/>
                  </a:lnTo>
                  <a:lnTo>
                    <a:pt x="648" y="153"/>
                  </a:lnTo>
                  <a:lnTo>
                    <a:pt x="648" y="150"/>
                  </a:lnTo>
                  <a:lnTo>
                    <a:pt x="645" y="150"/>
                  </a:lnTo>
                  <a:close/>
                  <a:moveTo>
                    <a:pt x="714" y="148"/>
                  </a:moveTo>
                  <a:lnTo>
                    <a:pt x="716" y="145"/>
                  </a:lnTo>
                  <a:lnTo>
                    <a:pt x="716" y="145"/>
                  </a:lnTo>
                  <a:lnTo>
                    <a:pt x="714" y="145"/>
                  </a:lnTo>
                  <a:lnTo>
                    <a:pt x="714" y="145"/>
                  </a:lnTo>
                  <a:lnTo>
                    <a:pt x="714" y="145"/>
                  </a:lnTo>
                  <a:lnTo>
                    <a:pt x="714" y="145"/>
                  </a:lnTo>
                  <a:lnTo>
                    <a:pt x="711" y="145"/>
                  </a:lnTo>
                  <a:lnTo>
                    <a:pt x="714" y="148"/>
                  </a:lnTo>
                  <a:lnTo>
                    <a:pt x="714" y="148"/>
                  </a:lnTo>
                  <a:close/>
                  <a:moveTo>
                    <a:pt x="536" y="145"/>
                  </a:moveTo>
                  <a:lnTo>
                    <a:pt x="536" y="145"/>
                  </a:lnTo>
                  <a:lnTo>
                    <a:pt x="536" y="148"/>
                  </a:lnTo>
                  <a:lnTo>
                    <a:pt x="536" y="148"/>
                  </a:lnTo>
                  <a:lnTo>
                    <a:pt x="536" y="145"/>
                  </a:lnTo>
                  <a:lnTo>
                    <a:pt x="536" y="145"/>
                  </a:lnTo>
                  <a:lnTo>
                    <a:pt x="538" y="145"/>
                  </a:lnTo>
                  <a:lnTo>
                    <a:pt x="538" y="148"/>
                  </a:lnTo>
                  <a:lnTo>
                    <a:pt x="541" y="145"/>
                  </a:lnTo>
                  <a:lnTo>
                    <a:pt x="538" y="145"/>
                  </a:lnTo>
                  <a:lnTo>
                    <a:pt x="538" y="145"/>
                  </a:lnTo>
                  <a:lnTo>
                    <a:pt x="536" y="145"/>
                  </a:lnTo>
                  <a:close/>
                  <a:moveTo>
                    <a:pt x="918" y="194"/>
                  </a:moveTo>
                  <a:lnTo>
                    <a:pt x="918" y="191"/>
                  </a:lnTo>
                  <a:lnTo>
                    <a:pt x="915" y="191"/>
                  </a:lnTo>
                  <a:lnTo>
                    <a:pt x="915" y="191"/>
                  </a:lnTo>
                  <a:lnTo>
                    <a:pt x="908" y="191"/>
                  </a:lnTo>
                  <a:lnTo>
                    <a:pt x="908" y="191"/>
                  </a:lnTo>
                  <a:lnTo>
                    <a:pt x="908" y="188"/>
                  </a:lnTo>
                  <a:lnTo>
                    <a:pt x="905" y="188"/>
                  </a:lnTo>
                  <a:lnTo>
                    <a:pt x="900" y="188"/>
                  </a:lnTo>
                  <a:lnTo>
                    <a:pt x="897" y="188"/>
                  </a:lnTo>
                  <a:lnTo>
                    <a:pt x="892" y="186"/>
                  </a:lnTo>
                  <a:lnTo>
                    <a:pt x="887" y="183"/>
                  </a:lnTo>
                  <a:lnTo>
                    <a:pt x="885" y="181"/>
                  </a:lnTo>
                  <a:lnTo>
                    <a:pt x="885" y="181"/>
                  </a:lnTo>
                  <a:lnTo>
                    <a:pt x="882" y="181"/>
                  </a:lnTo>
                  <a:lnTo>
                    <a:pt x="880" y="178"/>
                  </a:lnTo>
                  <a:lnTo>
                    <a:pt x="877" y="178"/>
                  </a:lnTo>
                  <a:lnTo>
                    <a:pt x="877" y="176"/>
                  </a:lnTo>
                  <a:lnTo>
                    <a:pt x="864" y="171"/>
                  </a:lnTo>
                  <a:lnTo>
                    <a:pt x="864" y="171"/>
                  </a:lnTo>
                  <a:lnTo>
                    <a:pt x="862" y="168"/>
                  </a:lnTo>
                  <a:lnTo>
                    <a:pt x="859" y="168"/>
                  </a:lnTo>
                  <a:lnTo>
                    <a:pt x="854" y="171"/>
                  </a:lnTo>
                  <a:lnTo>
                    <a:pt x="852" y="173"/>
                  </a:lnTo>
                  <a:lnTo>
                    <a:pt x="846" y="176"/>
                  </a:lnTo>
                  <a:lnTo>
                    <a:pt x="844" y="176"/>
                  </a:lnTo>
                  <a:lnTo>
                    <a:pt x="844" y="178"/>
                  </a:lnTo>
                  <a:lnTo>
                    <a:pt x="846" y="181"/>
                  </a:lnTo>
                  <a:lnTo>
                    <a:pt x="846" y="181"/>
                  </a:lnTo>
                  <a:lnTo>
                    <a:pt x="844" y="183"/>
                  </a:lnTo>
                  <a:lnTo>
                    <a:pt x="839" y="186"/>
                  </a:lnTo>
                  <a:lnTo>
                    <a:pt x="834" y="186"/>
                  </a:lnTo>
                  <a:lnTo>
                    <a:pt x="831" y="186"/>
                  </a:lnTo>
                  <a:lnTo>
                    <a:pt x="829" y="188"/>
                  </a:lnTo>
                  <a:lnTo>
                    <a:pt x="829" y="191"/>
                  </a:lnTo>
                  <a:lnTo>
                    <a:pt x="829" y="194"/>
                  </a:lnTo>
                  <a:lnTo>
                    <a:pt x="826" y="194"/>
                  </a:lnTo>
                  <a:lnTo>
                    <a:pt x="821" y="196"/>
                  </a:lnTo>
                  <a:lnTo>
                    <a:pt x="821" y="199"/>
                  </a:lnTo>
                  <a:lnTo>
                    <a:pt x="821" y="201"/>
                  </a:lnTo>
                  <a:lnTo>
                    <a:pt x="818" y="204"/>
                  </a:lnTo>
                  <a:lnTo>
                    <a:pt x="813" y="206"/>
                  </a:lnTo>
                  <a:lnTo>
                    <a:pt x="813" y="209"/>
                  </a:lnTo>
                  <a:lnTo>
                    <a:pt x="811" y="211"/>
                  </a:lnTo>
                  <a:lnTo>
                    <a:pt x="808" y="211"/>
                  </a:lnTo>
                  <a:lnTo>
                    <a:pt x="806" y="211"/>
                  </a:lnTo>
                  <a:lnTo>
                    <a:pt x="803" y="211"/>
                  </a:lnTo>
                  <a:lnTo>
                    <a:pt x="803" y="211"/>
                  </a:lnTo>
                  <a:lnTo>
                    <a:pt x="801" y="209"/>
                  </a:lnTo>
                  <a:lnTo>
                    <a:pt x="798" y="209"/>
                  </a:lnTo>
                  <a:lnTo>
                    <a:pt x="798" y="206"/>
                  </a:lnTo>
                  <a:lnTo>
                    <a:pt x="798" y="204"/>
                  </a:lnTo>
                  <a:lnTo>
                    <a:pt x="798" y="201"/>
                  </a:lnTo>
                  <a:lnTo>
                    <a:pt x="798" y="201"/>
                  </a:lnTo>
                  <a:lnTo>
                    <a:pt x="795" y="201"/>
                  </a:lnTo>
                  <a:lnTo>
                    <a:pt x="795" y="196"/>
                  </a:lnTo>
                  <a:lnTo>
                    <a:pt x="795" y="194"/>
                  </a:lnTo>
                  <a:lnTo>
                    <a:pt x="795" y="194"/>
                  </a:lnTo>
                  <a:lnTo>
                    <a:pt x="793" y="191"/>
                  </a:lnTo>
                  <a:lnTo>
                    <a:pt x="793" y="194"/>
                  </a:lnTo>
                  <a:lnTo>
                    <a:pt x="790" y="194"/>
                  </a:lnTo>
                  <a:lnTo>
                    <a:pt x="790" y="196"/>
                  </a:lnTo>
                  <a:lnTo>
                    <a:pt x="790" y="199"/>
                  </a:lnTo>
                  <a:lnTo>
                    <a:pt x="788" y="194"/>
                  </a:lnTo>
                  <a:lnTo>
                    <a:pt x="785" y="188"/>
                  </a:lnTo>
                  <a:lnTo>
                    <a:pt x="785" y="186"/>
                  </a:lnTo>
                  <a:lnTo>
                    <a:pt x="785" y="183"/>
                  </a:lnTo>
                  <a:lnTo>
                    <a:pt x="785" y="181"/>
                  </a:lnTo>
                  <a:lnTo>
                    <a:pt x="785" y="176"/>
                  </a:lnTo>
                  <a:lnTo>
                    <a:pt x="785" y="173"/>
                  </a:lnTo>
                  <a:lnTo>
                    <a:pt x="785" y="171"/>
                  </a:lnTo>
                  <a:lnTo>
                    <a:pt x="788" y="171"/>
                  </a:lnTo>
                  <a:lnTo>
                    <a:pt x="788" y="168"/>
                  </a:lnTo>
                  <a:lnTo>
                    <a:pt x="788" y="166"/>
                  </a:lnTo>
                  <a:lnTo>
                    <a:pt x="788" y="166"/>
                  </a:lnTo>
                  <a:lnTo>
                    <a:pt x="785" y="163"/>
                  </a:lnTo>
                  <a:lnTo>
                    <a:pt x="785" y="160"/>
                  </a:lnTo>
                  <a:lnTo>
                    <a:pt x="785" y="158"/>
                  </a:lnTo>
                  <a:lnTo>
                    <a:pt x="785" y="155"/>
                  </a:lnTo>
                  <a:lnTo>
                    <a:pt x="785" y="155"/>
                  </a:lnTo>
                  <a:lnTo>
                    <a:pt x="783" y="153"/>
                  </a:lnTo>
                  <a:lnTo>
                    <a:pt x="783" y="153"/>
                  </a:lnTo>
                  <a:lnTo>
                    <a:pt x="780" y="153"/>
                  </a:lnTo>
                  <a:lnTo>
                    <a:pt x="778" y="153"/>
                  </a:lnTo>
                  <a:lnTo>
                    <a:pt x="773" y="153"/>
                  </a:lnTo>
                  <a:lnTo>
                    <a:pt x="767" y="150"/>
                  </a:lnTo>
                  <a:lnTo>
                    <a:pt x="765" y="148"/>
                  </a:lnTo>
                  <a:lnTo>
                    <a:pt x="760" y="145"/>
                  </a:lnTo>
                  <a:lnTo>
                    <a:pt x="755" y="143"/>
                  </a:lnTo>
                  <a:lnTo>
                    <a:pt x="752" y="143"/>
                  </a:lnTo>
                  <a:lnTo>
                    <a:pt x="750" y="143"/>
                  </a:lnTo>
                  <a:lnTo>
                    <a:pt x="745" y="145"/>
                  </a:lnTo>
                  <a:lnTo>
                    <a:pt x="745" y="145"/>
                  </a:lnTo>
                  <a:lnTo>
                    <a:pt x="745" y="148"/>
                  </a:lnTo>
                  <a:lnTo>
                    <a:pt x="742" y="148"/>
                  </a:lnTo>
                  <a:lnTo>
                    <a:pt x="739" y="150"/>
                  </a:lnTo>
                  <a:lnTo>
                    <a:pt x="739" y="150"/>
                  </a:lnTo>
                  <a:lnTo>
                    <a:pt x="732" y="153"/>
                  </a:lnTo>
                  <a:lnTo>
                    <a:pt x="729" y="153"/>
                  </a:lnTo>
                  <a:lnTo>
                    <a:pt x="727" y="155"/>
                  </a:lnTo>
                  <a:lnTo>
                    <a:pt x="727" y="155"/>
                  </a:lnTo>
                  <a:lnTo>
                    <a:pt x="727" y="158"/>
                  </a:lnTo>
                  <a:lnTo>
                    <a:pt x="727" y="158"/>
                  </a:lnTo>
                  <a:lnTo>
                    <a:pt x="727" y="160"/>
                  </a:lnTo>
                  <a:lnTo>
                    <a:pt x="724" y="163"/>
                  </a:lnTo>
                  <a:lnTo>
                    <a:pt x="724" y="163"/>
                  </a:lnTo>
                  <a:lnTo>
                    <a:pt x="724" y="163"/>
                  </a:lnTo>
                  <a:lnTo>
                    <a:pt x="722" y="166"/>
                  </a:lnTo>
                  <a:lnTo>
                    <a:pt x="722" y="168"/>
                  </a:lnTo>
                  <a:lnTo>
                    <a:pt x="724" y="168"/>
                  </a:lnTo>
                  <a:lnTo>
                    <a:pt x="724" y="168"/>
                  </a:lnTo>
                  <a:lnTo>
                    <a:pt x="727" y="168"/>
                  </a:lnTo>
                  <a:lnTo>
                    <a:pt x="727" y="168"/>
                  </a:lnTo>
                  <a:lnTo>
                    <a:pt x="729" y="166"/>
                  </a:lnTo>
                  <a:lnTo>
                    <a:pt x="737" y="171"/>
                  </a:lnTo>
                  <a:lnTo>
                    <a:pt x="739" y="171"/>
                  </a:lnTo>
                  <a:lnTo>
                    <a:pt x="742" y="171"/>
                  </a:lnTo>
                  <a:lnTo>
                    <a:pt x="742" y="173"/>
                  </a:lnTo>
                  <a:lnTo>
                    <a:pt x="742" y="178"/>
                  </a:lnTo>
                  <a:lnTo>
                    <a:pt x="742" y="181"/>
                  </a:lnTo>
                  <a:lnTo>
                    <a:pt x="745" y="181"/>
                  </a:lnTo>
                  <a:lnTo>
                    <a:pt x="745" y="183"/>
                  </a:lnTo>
                  <a:lnTo>
                    <a:pt x="747" y="183"/>
                  </a:lnTo>
                  <a:lnTo>
                    <a:pt x="747" y="186"/>
                  </a:lnTo>
                  <a:lnTo>
                    <a:pt x="750" y="186"/>
                  </a:lnTo>
                  <a:lnTo>
                    <a:pt x="752" y="186"/>
                  </a:lnTo>
                  <a:lnTo>
                    <a:pt x="755" y="186"/>
                  </a:lnTo>
                  <a:lnTo>
                    <a:pt x="760" y="186"/>
                  </a:lnTo>
                  <a:lnTo>
                    <a:pt x="762" y="186"/>
                  </a:lnTo>
                  <a:lnTo>
                    <a:pt x="767" y="186"/>
                  </a:lnTo>
                  <a:lnTo>
                    <a:pt x="770" y="186"/>
                  </a:lnTo>
                  <a:lnTo>
                    <a:pt x="773" y="186"/>
                  </a:lnTo>
                  <a:lnTo>
                    <a:pt x="775" y="186"/>
                  </a:lnTo>
                  <a:lnTo>
                    <a:pt x="780" y="183"/>
                  </a:lnTo>
                  <a:lnTo>
                    <a:pt x="780" y="183"/>
                  </a:lnTo>
                  <a:lnTo>
                    <a:pt x="780" y="186"/>
                  </a:lnTo>
                  <a:lnTo>
                    <a:pt x="780" y="186"/>
                  </a:lnTo>
                  <a:lnTo>
                    <a:pt x="778" y="188"/>
                  </a:lnTo>
                  <a:lnTo>
                    <a:pt x="780" y="188"/>
                  </a:lnTo>
                  <a:lnTo>
                    <a:pt x="780" y="188"/>
                  </a:lnTo>
                  <a:lnTo>
                    <a:pt x="780" y="191"/>
                  </a:lnTo>
                  <a:lnTo>
                    <a:pt x="778" y="191"/>
                  </a:lnTo>
                  <a:lnTo>
                    <a:pt x="778" y="191"/>
                  </a:lnTo>
                  <a:lnTo>
                    <a:pt x="775" y="194"/>
                  </a:lnTo>
                  <a:lnTo>
                    <a:pt x="775" y="194"/>
                  </a:lnTo>
                  <a:lnTo>
                    <a:pt x="775" y="194"/>
                  </a:lnTo>
                  <a:lnTo>
                    <a:pt x="775" y="194"/>
                  </a:lnTo>
                  <a:lnTo>
                    <a:pt x="773" y="194"/>
                  </a:lnTo>
                  <a:lnTo>
                    <a:pt x="770" y="191"/>
                  </a:lnTo>
                  <a:lnTo>
                    <a:pt x="767" y="191"/>
                  </a:lnTo>
                  <a:lnTo>
                    <a:pt x="765" y="191"/>
                  </a:lnTo>
                  <a:lnTo>
                    <a:pt x="765" y="191"/>
                  </a:lnTo>
                  <a:lnTo>
                    <a:pt x="762" y="191"/>
                  </a:lnTo>
                  <a:lnTo>
                    <a:pt x="760" y="196"/>
                  </a:lnTo>
                  <a:lnTo>
                    <a:pt x="757" y="199"/>
                  </a:lnTo>
                  <a:lnTo>
                    <a:pt x="755" y="199"/>
                  </a:lnTo>
                  <a:lnTo>
                    <a:pt x="752" y="196"/>
                  </a:lnTo>
                  <a:lnTo>
                    <a:pt x="747" y="196"/>
                  </a:lnTo>
                  <a:lnTo>
                    <a:pt x="747" y="196"/>
                  </a:lnTo>
                  <a:lnTo>
                    <a:pt x="742" y="199"/>
                  </a:lnTo>
                  <a:lnTo>
                    <a:pt x="742" y="199"/>
                  </a:lnTo>
                  <a:lnTo>
                    <a:pt x="742" y="201"/>
                  </a:lnTo>
                  <a:lnTo>
                    <a:pt x="742" y="201"/>
                  </a:lnTo>
                  <a:lnTo>
                    <a:pt x="745" y="201"/>
                  </a:lnTo>
                  <a:lnTo>
                    <a:pt x="747" y="201"/>
                  </a:lnTo>
                  <a:lnTo>
                    <a:pt x="750" y="204"/>
                  </a:lnTo>
                  <a:lnTo>
                    <a:pt x="752" y="206"/>
                  </a:lnTo>
                  <a:lnTo>
                    <a:pt x="757" y="209"/>
                  </a:lnTo>
                  <a:lnTo>
                    <a:pt x="757" y="214"/>
                  </a:lnTo>
                  <a:lnTo>
                    <a:pt x="757" y="216"/>
                  </a:lnTo>
                  <a:lnTo>
                    <a:pt x="755" y="219"/>
                  </a:lnTo>
                  <a:lnTo>
                    <a:pt x="757" y="222"/>
                  </a:lnTo>
                  <a:lnTo>
                    <a:pt x="757" y="224"/>
                  </a:lnTo>
                  <a:lnTo>
                    <a:pt x="757" y="227"/>
                  </a:lnTo>
                  <a:lnTo>
                    <a:pt x="760" y="227"/>
                  </a:lnTo>
                  <a:lnTo>
                    <a:pt x="760" y="229"/>
                  </a:lnTo>
                  <a:lnTo>
                    <a:pt x="762" y="227"/>
                  </a:lnTo>
                  <a:lnTo>
                    <a:pt x="765" y="227"/>
                  </a:lnTo>
                  <a:lnTo>
                    <a:pt x="765" y="227"/>
                  </a:lnTo>
                  <a:lnTo>
                    <a:pt x="767" y="224"/>
                  </a:lnTo>
                  <a:lnTo>
                    <a:pt x="770" y="222"/>
                  </a:lnTo>
                  <a:lnTo>
                    <a:pt x="770" y="222"/>
                  </a:lnTo>
                  <a:lnTo>
                    <a:pt x="770" y="219"/>
                  </a:lnTo>
                  <a:lnTo>
                    <a:pt x="770" y="216"/>
                  </a:lnTo>
                  <a:lnTo>
                    <a:pt x="773" y="214"/>
                  </a:lnTo>
                  <a:lnTo>
                    <a:pt x="773" y="211"/>
                  </a:lnTo>
                  <a:lnTo>
                    <a:pt x="773" y="214"/>
                  </a:lnTo>
                  <a:lnTo>
                    <a:pt x="775" y="211"/>
                  </a:lnTo>
                  <a:lnTo>
                    <a:pt x="775" y="206"/>
                  </a:lnTo>
                  <a:lnTo>
                    <a:pt x="775" y="206"/>
                  </a:lnTo>
                  <a:lnTo>
                    <a:pt x="775" y="206"/>
                  </a:lnTo>
                  <a:lnTo>
                    <a:pt x="778" y="204"/>
                  </a:lnTo>
                  <a:lnTo>
                    <a:pt x="778" y="204"/>
                  </a:lnTo>
                  <a:lnTo>
                    <a:pt x="778" y="206"/>
                  </a:lnTo>
                  <a:lnTo>
                    <a:pt x="775" y="209"/>
                  </a:lnTo>
                  <a:lnTo>
                    <a:pt x="775" y="211"/>
                  </a:lnTo>
                  <a:lnTo>
                    <a:pt x="775" y="214"/>
                  </a:lnTo>
                  <a:lnTo>
                    <a:pt x="775" y="216"/>
                  </a:lnTo>
                  <a:lnTo>
                    <a:pt x="778" y="219"/>
                  </a:lnTo>
                  <a:lnTo>
                    <a:pt x="778" y="219"/>
                  </a:lnTo>
                  <a:lnTo>
                    <a:pt x="778" y="219"/>
                  </a:lnTo>
                  <a:lnTo>
                    <a:pt x="780" y="222"/>
                  </a:lnTo>
                  <a:lnTo>
                    <a:pt x="780" y="222"/>
                  </a:lnTo>
                  <a:lnTo>
                    <a:pt x="783" y="222"/>
                  </a:lnTo>
                  <a:lnTo>
                    <a:pt x="783" y="222"/>
                  </a:lnTo>
                  <a:lnTo>
                    <a:pt x="783" y="222"/>
                  </a:lnTo>
                  <a:lnTo>
                    <a:pt x="785" y="222"/>
                  </a:lnTo>
                  <a:lnTo>
                    <a:pt x="785" y="224"/>
                  </a:lnTo>
                  <a:lnTo>
                    <a:pt x="785" y="224"/>
                  </a:lnTo>
                  <a:lnTo>
                    <a:pt x="788" y="224"/>
                  </a:lnTo>
                  <a:lnTo>
                    <a:pt x="790" y="224"/>
                  </a:lnTo>
                  <a:lnTo>
                    <a:pt x="790" y="227"/>
                  </a:lnTo>
                  <a:lnTo>
                    <a:pt x="793" y="227"/>
                  </a:lnTo>
                  <a:lnTo>
                    <a:pt x="795" y="224"/>
                  </a:lnTo>
                  <a:lnTo>
                    <a:pt x="795" y="224"/>
                  </a:lnTo>
                  <a:lnTo>
                    <a:pt x="798" y="224"/>
                  </a:lnTo>
                  <a:lnTo>
                    <a:pt x="795" y="224"/>
                  </a:lnTo>
                  <a:lnTo>
                    <a:pt x="795" y="227"/>
                  </a:lnTo>
                  <a:lnTo>
                    <a:pt x="793" y="227"/>
                  </a:lnTo>
                  <a:lnTo>
                    <a:pt x="795" y="229"/>
                  </a:lnTo>
                  <a:lnTo>
                    <a:pt x="803" y="237"/>
                  </a:lnTo>
                  <a:lnTo>
                    <a:pt x="806" y="237"/>
                  </a:lnTo>
                  <a:lnTo>
                    <a:pt x="808" y="237"/>
                  </a:lnTo>
                  <a:lnTo>
                    <a:pt x="808" y="237"/>
                  </a:lnTo>
                  <a:lnTo>
                    <a:pt x="813" y="237"/>
                  </a:lnTo>
                  <a:lnTo>
                    <a:pt x="821" y="237"/>
                  </a:lnTo>
                  <a:lnTo>
                    <a:pt x="821" y="239"/>
                  </a:lnTo>
                  <a:lnTo>
                    <a:pt x="824" y="242"/>
                  </a:lnTo>
                  <a:lnTo>
                    <a:pt x="829" y="242"/>
                  </a:lnTo>
                  <a:lnTo>
                    <a:pt x="831" y="244"/>
                  </a:lnTo>
                  <a:lnTo>
                    <a:pt x="836" y="247"/>
                  </a:lnTo>
                  <a:lnTo>
                    <a:pt x="839" y="247"/>
                  </a:lnTo>
                  <a:lnTo>
                    <a:pt x="839" y="247"/>
                  </a:lnTo>
                  <a:lnTo>
                    <a:pt x="841" y="247"/>
                  </a:lnTo>
                  <a:lnTo>
                    <a:pt x="841" y="247"/>
                  </a:lnTo>
                  <a:lnTo>
                    <a:pt x="841" y="247"/>
                  </a:lnTo>
                  <a:lnTo>
                    <a:pt x="844" y="250"/>
                  </a:lnTo>
                  <a:lnTo>
                    <a:pt x="844" y="247"/>
                  </a:lnTo>
                  <a:lnTo>
                    <a:pt x="846" y="247"/>
                  </a:lnTo>
                  <a:lnTo>
                    <a:pt x="846" y="250"/>
                  </a:lnTo>
                  <a:lnTo>
                    <a:pt x="854" y="255"/>
                  </a:lnTo>
                  <a:lnTo>
                    <a:pt x="854" y="255"/>
                  </a:lnTo>
                  <a:lnTo>
                    <a:pt x="857" y="257"/>
                  </a:lnTo>
                  <a:lnTo>
                    <a:pt x="857" y="257"/>
                  </a:lnTo>
                  <a:lnTo>
                    <a:pt x="857" y="257"/>
                  </a:lnTo>
                  <a:lnTo>
                    <a:pt x="859" y="257"/>
                  </a:lnTo>
                  <a:lnTo>
                    <a:pt x="859" y="260"/>
                  </a:lnTo>
                  <a:lnTo>
                    <a:pt x="862" y="262"/>
                  </a:lnTo>
                  <a:lnTo>
                    <a:pt x="859" y="262"/>
                  </a:lnTo>
                  <a:lnTo>
                    <a:pt x="859" y="265"/>
                  </a:lnTo>
                  <a:lnTo>
                    <a:pt x="862" y="265"/>
                  </a:lnTo>
                  <a:lnTo>
                    <a:pt x="862" y="265"/>
                  </a:lnTo>
                  <a:lnTo>
                    <a:pt x="862" y="265"/>
                  </a:lnTo>
                  <a:lnTo>
                    <a:pt x="864" y="265"/>
                  </a:lnTo>
                  <a:lnTo>
                    <a:pt x="867" y="265"/>
                  </a:lnTo>
                  <a:lnTo>
                    <a:pt x="864" y="265"/>
                  </a:lnTo>
                  <a:lnTo>
                    <a:pt x="862" y="267"/>
                  </a:lnTo>
                  <a:lnTo>
                    <a:pt x="864" y="267"/>
                  </a:lnTo>
                  <a:lnTo>
                    <a:pt x="867" y="267"/>
                  </a:lnTo>
                  <a:lnTo>
                    <a:pt x="864" y="270"/>
                  </a:lnTo>
                  <a:lnTo>
                    <a:pt x="864" y="270"/>
                  </a:lnTo>
                  <a:lnTo>
                    <a:pt x="867" y="275"/>
                  </a:lnTo>
                  <a:lnTo>
                    <a:pt x="867" y="280"/>
                  </a:lnTo>
                  <a:lnTo>
                    <a:pt x="869" y="283"/>
                  </a:lnTo>
                  <a:lnTo>
                    <a:pt x="869" y="285"/>
                  </a:lnTo>
                  <a:lnTo>
                    <a:pt x="872" y="285"/>
                  </a:lnTo>
                  <a:lnTo>
                    <a:pt x="872" y="288"/>
                  </a:lnTo>
                  <a:lnTo>
                    <a:pt x="874" y="290"/>
                  </a:lnTo>
                  <a:lnTo>
                    <a:pt x="874" y="290"/>
                  </a:lnTo>
                  <a:lnTo>
                    <a:pt x="872" y="293"/>
                  </a:lnTo>
                  <a:lnTo>
                    <a:pt x="869" y="293"/>
                  </a:lnTo>
                  <a:lnTo>
                    <a:pt x="869" y="293"/>
                  </a:lnTo>
                  <a:lnTo>
                    <a:pt x="872" y="295"/>
                  </a:lnTo>
                  <a:lnTo>
                    <a:pt x="874" y="298"/>
                  </a:lnTo>
                  <a:lnTo>
                    <a:pt x="877" y="298"/>
                  </a:lnTo>
                  <a:lnTo>
                    <a:pt x="880" y="298"/>
                  </a:lnTo>
                  <a:lnTo>
                    <a:pt x="880" y="298"/>
                  </a:lnTo>
                  <a:lnTo>
                    <a:pt x="877" y="300"/>
                  </a:lnTo>
                  <a:lnTo>
                    <a:pt x="877" y="300"/>
                  </a:lnTo>
                  <a:lnTo>
                    <a:pt x="874" y="298"/>
                  </a:lnTo>
                  <a:lnTo>
                    <a:pt x="874" y="298"/>
                  </a:lnTo>
                  <a:lnTo>
                    <a:pt x="872" y="298"/>
                  </a:lnTo>
                  <a:lnTo>
                    <a:pt x="872" y="300"/>
                  </a:lnTo>
                  <a:lnTo>
                    <a:pt x="872" y="300"/>
                  </a:lnTo>
                  <a:lnTo>
                    <a:pt x="874" y="303"/>
                  </a:lnTo>
                  <a:lnTo>
                    <a:pt x="874" y="303"/>
                  </a:lnTo>
                  <a:lnTo>
                    <a:pt x="874" y="305"/>
                  </a:lnTo>
                  <a:lnTo>
                    <a:pt x="877" y="305"/>
                  </a:lnTo>
                  <a:lnTo>
                    <a:pt x="877" y="305"/>
                  </a:lnTo>
                  <a:lnTo>
                    <a:pt x="877" y="308"/>
                  </a:lnTo>
                  <a:lnTo>
                    <a:pt x="877" y="308"/>
                  </a:lnTo>
                  <a:lnTo>
                    <a:pt x="877" y="311"/>
                  </a:lnTo>
                  <a:lnTo>
                    <a:pt x="877" y="313"/>
                  </a:lnTo>
                  <a:lnTo>
                    <a:pt x="874" y="316"/>
                  </a:lnTo>
                  <a:lnTo>
                    <a:pt x="874" y="318"/>
                  </a:lnTo>
                  <a:lnTo>
                    <a:pt x="872" y="318"/>
                  </a:lnTo>
                  <a:lnTo>
                    <a:pt x="872" y="321"/>
                  </a:lnTo>
                  <a:lnTo>
                    <a:pt x="872" y="321"/>
                  </a:lnTo>
                  <a:lnTo>
                    <a:pt x="872" y="323"/>
                  </a:lnTo>
                  <a:lnTo>
                    <a:pt x="874" y="323"/>
                  </a:lnTo>
                  <a:lnTo>
                    <a:pt x="877" y="321"/>
                  </a:lnTo>
                  <a:lnTo>
                    <a:pt x="880" y="318"/>
                  </a:lnTo>
                  <a:lnTo>
                    <a:pt x="880" y="316"/>
                  </a:lnTo>
                  <a:lnTo>
                    <a:pt x="880" y="318"/>
                  </a:lnTo>
                  <a:lnTo>
                    <a:pt x="880" y="318"/>
                  </a:lnTo>
                  <a:lnTo>
                    <a:pt x="882" y="321"/>
                  </a:lnTo>
                  <a:lnTo>
                    <a:pt x="882" y="321"/>
                  </a:lnTo>
                  <a:lnTo>
                    <a:pt x="885" y="321"/>
                  </a:lnTo>
                  <a:lnTo>
                    <a:pt x="887" y="321"/>
                  </a:lnTo>
                  <a:lnTo>
                    <a:pt x="892" y="318"/>
                  </a:lnTo>
                  <a:lnTo>
                    <a:pt x="895" y="318"/>
                  </a:lnTo>
                  <a:lnTo>
                    <a:pt x="895" y="318"/>
                  </a:lnTo>
                  <a:lnTo>
                    <a:pt x="897" y="316"/>
                  </a:lnTo>
                  <a:lnTo>
                    <a:pt x="895" y="318"/>
                  </a:lnTo>
                  <a:lnTo>
                    <a:pt x="895" y="321"/>
                  </a:lnTo>
                  <a:lnTo>
                    <a:pt x="895" y="321"/>
                  </a:lnTo>
                  <a:lnTo>
                    <a:pt x="895" y="321"/>
                  </a:lnTo>
                  <a:lnTo>
                    <a:pt x="897" y="323"/>
                  </a:lnTo>
                  <a:lnTo>
                    <a:pt x="905" y="331"/>
                  </a:lnTo>
                  <a:lnTo>
                    <a:pt x="905" y="333"/>
                  </a:lnTo>
                  <a:lnTo>
                    <a:pt x="908" y="336"/>
                  </a:lnTo>
                  <a:lnTo>
                    <a:pt x="910" y="339"/>
                  </a:lnTo>
                  <a:lnTo>
                    <a:pt x="913" y="341"/>
                  </a:lnTo>
                  <a:lnTo>
                    <a:pt x="913" y="341"/>
                  </a:lnTo>
                  <a:lnTo>
                    <a:pt x="913" y="341"/>
                  </a:lnTo>
                  <a:lnTo>
                    <a:pt x="913" y="339"/>
                  </a:lnTo>
                  <a:lnTo>
                    <a:pt x="913" y="333"/>
                  </a:lnTo>
                  <a:lnTo>
                    <a:pt x="915" y="328"/>
                  </a:lnTo>
                  <a:lnTo>
                    <a:pt x="915" y="323"/>
                  </a:lnTo>
                  <a:lnTo>
                    <a:pt x="915" y="318"/>
                  </a:lnTo>
                  <a:lnTo>
                    <a:pt x="915" y="313"/>
                  </a:lnTo>
                  <a:lnTo>
                    <a:pt x="915" y="311"/>
                  </a:lnTo>
                  <a:lnTo>
                    <a:pt x="915" y="305"/>
                  </a:lnTo>
                  <a:lnTo>
                    <a:pt x="915" y="300"/>
                  </a:lnTo>
                  <a:lnTo>
                    <a:pt x="918" y="295"/>
                  </a:lnTo>
                  <a:lnTo>
                    <a:pt x="918" y="293"/>
                  </a:lnTo>
                  <a:lnTo>
                    <a:pt x="915" y="290"/>
                  </a:lnTo>
                  <a:lnTo>
                    <a:pt x="915" y="288"/>
                  </a:lnTo>
                  <a:lnTo>
                    <a:pt x="915" y="285"/>
                  </a:lnTo>
                  <a:lnTo>
                    <a:pt x="918" y="283"/>
                  </a:lnTo>
                  <a:lnTo>
                    <a:pt x="918" y="280"/>
                  </a:lnTo>
                  <a:lnTo>
                    <a:pt x="918" y="277"/>
                  </a:lnTo>
                  <a:lnTo>
                    <a:pt x="918" y="272"/>
                  </a:lnTo>
                  <a:lnTo>
                    <a:pt x="918" y="267"/>
                  </a:lnTo>
                  <a:lnTo>
                    <a:pt x="918" y="262"/>
                  </a:lnTo>
                  <a:lnTo>
                    <a:pt x="918" y="260"/>
                  </a:lnTo>
                  <a:lnTo>
                    <a:pt x="920" y="255"/>
                  </a:lnTo>
                  <a:lnTo>
                    <a:pt x="920" y="250"/>
                  </a:lnTo>
                  <a:lnTo>
                    <a:pt x="920" y="244"/>
                  </a:lnTo>
                  <a:lnTo>
                    <a:pt x="920" y="239"/>
                  </a:lnTo>
                  <a:lnTo>
                    <a:pt x="920" y="237"/>
                  </a:lnTo>
                  <a:lnTo>
                    <a:pt x="920" y="232"/>
                  </a:lnTo>
                  <a:lnTo>
                    <a:pt x="920" y="227"/>
                  </a:lnTo>
                  <a:lnTo>
                    <a:pt x="920" y="222"/>
                  </a:lnTo>
                  <a:lnTo>
                    <a:pt x="920" y="216"/>
                  </a:lnTo>
                  <a:lnTo>
                    <a:pt x="920" y="214"/>
                  </a:lnTo>
                  <a:lnTo>
                    <a:pt x="920" y="209"/>
                  </a:lnTo>
                  <a:lnTo>
                    <a:pt x="923" y="204"/>
                  </a:lnTo>
                  <a:lnTo>
                    <a:pt x="923" y="199"/>
                  </a:lnTo>
                  <a:lnTo>
                    <a:pt x="923" y="194"/>
                  </a:lnTo>
                  <a:lnTo>
                    <a:pt x="918" y="194"/>
                  </a:lnTo>
                  <a:close/>
                  <a:moveTo>
                    <a:pt x="186" y="145"/>
                  </a:moveTo>
                  <a:lnTo>
                    <a:pt x="186" y="143"/>
                  </a:lnTo>
                  <a:lnTo>
                    <a:pt x="186" y="143"/>
                  </a:lnTo>
                  <a:lnTo>
                    <a:pt x="186" y="143"/>
                  </a:lnTo>
                  <a:lnTo>
                    <a:pt x="184" y="145"/>
                  </a:lnTo>
                  <a:lnTo>
                    <a:pt x="186" y="148"/>
                  </a:lnTo>
                  <a:lnTo>
                    <a:pt x="186" y="150"/>
                  </a:lnTo>
                  <a:lnTo>
                    <a:pt x="189" y="148"/>
                  </a:lnTo>
                  <a:lnTo>
                    <a:pt x="189" y="150"/>
                  </a:lnTo>
                  <a:lnTo>
                    <a:pt x="189" y="148"/>
                  </a:lnTo>
                  <a:lnTo>
                    <a:pt x="191" y="148"/>
                  </a:lnTo>
                  <a:lnTo>
                    <a:pt x="191" y="145"/>
                  </a:lnTo>
                  <a:lnTo>
                    <a:pt x="191" y="145"/>
                  </a:lnTo>
                  <a:lnTo>
                    <a:pt x="189" y="143"/>
                  </a:lnTo>
                  <a:lnTo>
                    <a:pt x="186" y="145"/>
                  </a:lnTo>
                  <a:close/>
                  <a:moveTo>
                    <a:pt x="653" y="150"/>
                  </a:moveTo>
                  <a:lnTo>
                    <a:pt x="650" y="153"/>
                  </a:lnTo>
                  <a:lnTo>
                    <a:pt x="650" y="153"/>
                  </a:lnTo>
                  <a:lnTo>
                    <a:pt x="653" y="153"/>
                  </a:lnTo>
                  <a:lnTo>
                    <a:pt x="655" y="153"/>
                  </a:lnTo>
                  <a:lnTo>
                    <a:pt x="655" y="153"/>
                  </a:lnTo>
                  <a:lnTo>
                    <a:pt x="655" y="153"/>
                  </a:lnTo>
                  <a:lnTo>
                    <a:pt x="658" y="155"/>
                  </a:lnTo>
                  <a:lnTo>
                    <a:pt x="658" y="155"/>
                  </a:lnTo>
                  <a:lnTo>
                    <a:pt x="660" y="153"/>
                  </a:lnTo>
                  <a:lnTo>
                    <a:pt x="660" y="153"/>
                  </a:lnTo>
                  <a:lnTo>
                    <a:pt x="658" y="150"/>
                  </a:lnTo>
                  <a:lnTo>
                    <a:pt x="658" y="150"/>
                  </a:lnTo>
                  <a:lnTo>
                    <a:pt x="655" y="150"/>
                  </a:lnTo>
                  <a:lnTo>
                    <a:pt x="655" y="148"/>
                  </a:lnTo>
                  <a:lnTo>
                    <a:pt x="655" y="145"/>
                  </a:lnTo>
                  <a:lnTo>
                    <a:pt x="653" y="143"/>
                  </a:lnTo>
                  <a:lnTo>
                    <a:pt x="653" y="143"/>
                  </a:lnTo>
                  <a:lnTo>
                    <a:pt x="653" y="143"/>
                  </a:lnTo>
                  <a:lnTo>
                    <a:pt x="650" y="145"/>
                  </a:lnTo>
                  <a:lnTo>
                    <a:pt x="650" y="143"/>
                  </a:lnTo>
                  <a:lnTo>
                    <a:pt x="648" y="143"/>
                  </a:lnTo>
                  <a:lnTo>
                    <a:pt x="648" y="145"/>
                  </a:lnTo>
                  <a:lnTo>
                    <a:pt x="648" y="145"/>
                  </a:lnTo>
                  <a:lnTo>
                    <a:pt x="648" y="145"/>
                  </a:lnTo>
                  <a:lnTo>
                    <a:pt x="650" y="148"/>
                  </a:lnTo>
                  <a:lnTo>
                    <a:pt x="653" y="150"/>
                  </a:lnTo>
                  <a:close/>
                  <a:moveTo>
                    <a:pt x="645" y="148"/>
                  </a:moveTo>
                  <a:lnTo>
                    <a:pt x="648" y="145"/>
                  </a:lnTo>
                  <a:lnTo>
                    <a:pt x="648" y="145"/>
                  </a:lnTo>
                  <a:lnTo>
                    <a:pt x="648" y="143"/>
                  </a:lnTo>
                  <a:lnTo>
                    <a:pt x="648" y="143"/>
                  </a:lnTo>
                  <a:lnTo>
                    <a:pt x="645" y="140"/>
                  </a:lnTo>
                  <a:lnTo>
                    <a:pt x="645" y="143"/>
                  </a:lnTo>
                  <a:lnTo>
                    <a:pt x="645" y="145"/>
                  </a:lnTo>
                  <a:lnTo>
                    <a:pt x="645" y="148"/>
                  </a:lnTo>
                  <a:lnTo>
                    <a:pt x="645" y="148"/>
                  </a:lnTo>
                  <a:close/>
                  <a:moveTo>
                    <a:pt x="171" y="140"/>
                  </a:moveTo>
                  <a:lnTo>
                    <a:pt x="169" y="143"/>
                  </a:lnTo>
                  <a:lnTo>
                    <a:pt x="169" y="143"/>
                  </a:lnTo>
                  <a:lnTo>
                    <a:pt x="171" y="143"/>
                  </a:lnTo>
                  <a:lnTo>
                    <a:pt x="174" y="143"/>
                  </a:lnTo>
                  <a:lnTo>
                    <a:pt x="176" y="143"/>
                  </a:lnTo>
                  <a:lnTo>
                    <a:pt x="174" y="140"/>
                  </a:lnTo>
                  <a:lnTo>
                    <a:pt x="171" y="140"/>
                  </a:lnTo>
                  <a:lnTo>
                    <a:pt x="171" y="140"/>
                  </a:lnTo>
                  <a:close/>
                  <a:moveTo>
                    <a:pt x="711" y="140"/>
                  </a:moveTo>
                  <a:lnTo>
                    <a:pt x="714" y="143"/>
                  </a:lnTo>
                  <a:lnTo>
                    <a:pt x="714" y="143"/>
                  </a:lnTo>
                  <a:lnTo>
                    <a:pt x="714" y="143"/>
                  </a:lnTo>
                  <a:lnTo>
                    <a:pt x="716" y="143"/>
                  </a:lnTo>
                  <a:lnTo>
                    <a:pt x="716" y="145"/>
                  </a:lnTo>
                  <a:lnTo>
                    <a:pt x="716" y="145"/>
                  </a:lnTo>
                  <a:lnTo>
                    <a:pt x="722" y="145"/>
                  </a:lnTo>
                  <a:lnTo>
                    <a:pt x="722" y="143"/>
                  </a:lnTo>
                  <a:lnTo>
                    <a:pt x="719" y="143"/>
                  </a:lnTo>
                  <a:lnTo>
                    <a:pt x="719" y="143"/>
                  </a:lnTo>
                  <a:lnTo>
                    <a:pt x="719" y="143"/>
                  </a:lnTo>
                  <a:lnTo>
                    <a:pt x="716" y="140"/>
                  </a:lnTo>
                  <a:lnTo>
                    <a:pt x="716" y="138"/>
                  </a:lnTo>
                  <a:lnTo>
                    <a:pt x="714" y="138"/>
                  </a:lnTo>
                  <a:lnTo>
                    <a:pt x="716" y="138"/>
                  </a:lnTo>
                  <a:lnTo>
                    <a:pt x="719" y="140"/>
                  </a:lnTo>
                  <a:lnTo>
                    <a:pt x="722" y="140"/>
                  </a:lnTo>
                  <a:lnTo>
                    <a:pt x="722" y="143"/>
                  </a:lnTo>
                  <a:lnTo>
                    <a:pt x="722" y="143"/>
                  </a:lnTo>
                  <a:lnTo>
                    <a:pt x="724" y="143"/>
                  </a:lnTo>
                  <a:lnTo>
                    <a:pt x="727" y="143"/>
                  </a:lnTo>
                  <a:lnTo>
                    <a:pt x="727" y="143"/>
                  </a:lnTo>
                  <a:lnTo>
                    <a:pt x="727" y="143"/>
                  </a:lnTo>
                  <a:lnTo>
                    <a:pt x="729" y="143"/>
                  </a:lnTo>
                  <a:lnTo>
                    <a:pt x="729" y="140"/>
                  </a:lnTo>
                  <a:lnTo>
                    <a:pt x="729" y="140"/>
                  </a:lnTo>
                  <a:lnTo>
                    <a:pt x="729" y="138"/>
                  </a:lnTo>
                  <a:lnTo>
                    <a:pt x="724" y="135"/>
                  </a:lnTo>
                  <a:lnTo>
                    <a:pt x="722" y="135"/>
                  </a:lnTo>
                  <a:lnTo>
                    <a:pt x="719" y="135"/>
                  </a:lnTo>
                  <a:lnTo>
                    <a:pt x="716" y="135"/>
                  </a:lnTo>
                  <a:lnTo>
                    <a:pt x="714" y="135"/>
                  </a:lnTo>
                  <a:lnTo>
                    <a:pt x="714" y="138"/>
                  </a:lnTo>
                  <a:lnTo>
                    <a:pt x="711" y="138"/>
                  </a:lnTo>
                  <a:lnTo>
                    <a:pt x="711" y="138"/>
                  </a:lnTo>
                  <a:lnTo>
                    <a:pt x="709" y="138"/>
                  </a:lnTo>
                  <a:lnTo>
                    <a:pt x="709" y="138"/>
                  </a:lnTo>
                  <a:lnTo>
                    <a:pt x="709" y="138"/>
                  </a:lnTo>
                  <a:lnTo>
                    <a:pt x="706" y="140"/>
                  </a:lnTo>
                  <a:lnTo>
                    <a:pt x="709" y="140"/>
                  </a:lnTo>
                  <a:lnTo>
                    <a:pt x="711" y="140"/>
                  </a:lnTo>
                  <a:close/>
                  <a:moveTo>
                    <a:pt x="67" y="135"/>
                  </a:moveTo>
                  <a:lnTo>
                    <a:pt x="67" y="135"/>
                  </a:lnTo>
                  <a:lnTo>
                    <a:pt x="67" y="135"/>
                  </a:lnTo>
                  <a:lnTo>
                    <a:pt x="67" y="140"/>
                  </a:lnTo>
                  <a:lnTo>
                    <a:pt x="67" y="143"/>
                  </a:lnTo>
                  <a:lnTo>
                    <a:pt x="67" y="143"/>
                  </a:lnTo>
                  <a:lnTo>
                    <a:pt x="67" y="145"/>
                  </a:lnTo>
                  <a:lnTo>
                    <a:pt x="64" y="148"/>
                  </a:lnTo>
                  <a:lnTo>
                    <a:pt x="67" y="148"/>
                  </a:lnTo>
                  <a:lnTo>
                    <a:pt x="69" y="148"/>
                  </a:lnTo>
                  <a:lnTo>
                    <a:pt x="69" y="143"/>
                  </a:lnTo>
                  <a:lnTo>
                    <a:pt x="69" y="140"/>
                  </a:lnTo>
                  <a:lnTo>
                    <a:pt x="69" y="140"/>
                  </a:lnTo>
                  <a:lnTo>
                    <a:pt x="67" y="135"/>
                  </a:lnTo>
                  <a:close/>
                  <a:moveTo>
                    <a:pt x="194" y="138"/>
                  </a:moveTo>
                  <a:lnTo>
                    <a:pt x="191" y="135"/>
                  </a:lnTo>
                  <a:lnTo>
                    <a:pt x="191" y="135"/>
                  </a:lnTo>
                  <a:lnTo>
                    <a:pt x="189" y="138"/>
                  </a:lnTo>
                  <a:lnTo>
                    <a:pt x="189" y="140"/>
                  </a:lnTo>
                  <a:lnTo>
                    <a:pt x="189" y="140"/>
                  </a:lnTo>
                  <a:lnTo>
                    <a:pt x="191" y="140"/>
                  </a:lnTo>
                  <a:lnTo>
                    <a:pt x="194" y="140"/>
                  </a:lnTo>
                  <a:lnTo>
                    <a:pt x="199" y="143"/>
                  </a:lnTo>
                  <a:lnTo>
                    <a:pt x="199" y="143"/>
                  </a:lnTo>
                  <a:lnTo>
                    <a:pt x="199" y="143"/>
                  </a:lnTo>
                  <a:lnTo>
                    <a:pt x="199" y="143"/>
                  </a:lnTo>
                  <a:lnTo>
                    <a:pt x="199" y="140"/>
                  </a:lnTo>
                  <a:lnTo>
                    <a:pt x="199" y="140"/>
                  </a:lnTo>
                  <a:lnTo>
                    <a:pt x="197" y="138"/>
                  </a:lnTo>
                  <a:lnTo>
                    <a:pt x="197" y="140"/>
                  </a:lnTo>
                  <a:lnTo>
                    <a:pt x="197" y="140"/>
                  </a:lnTo>
                  <a:lnTo>
                    <a:pt x="194" y="138"/>
                  </a:lnTo>
                  <a:lnTo>
                    <a:pt x="194" y="138"/>
                  </a:lnTo>
                  <a:lnTo>
                    <a:pt x="194" y="138"/>
                  </a:lnTo>
                  <a:close/>
                  <a:moveTo>
                    <a:pt x="691" y="138"/>
                  </a:moveTo>
                  <a:lnTo>
                    <a:pt x="694" y="140"/>
                  </a:lnTo>
                  <a:lnTo>
                    <a:pt x="694" y="140"/>
                  </a:lnTo>
                  <a:lnTo>
                    <a:pt x="694" y="138"/>
                  </a:lnTo>
                  <a:lnTo>
                    <a:pt x="688" y="135"/>
                  </a:lnTo>
                  <a:lnTo>
                    <a:pt x="691" y="138"/>
                  </a:lnTo>
                  <a:lnTo>
                    <a:pt x="691" y="138"/>
                  </a:lnTo>
                  <a:close/>
                  <a:moveTo>
                    <a:pt x="650" y="132"/>
                  </a:moveTo>
                  <a:lnTo>
                    <a:pt x="650" y="135"/>
                  </a:lnTo>
                  <a:lnTo>
                    <a:pt x="650" y="135"/>
                  </a:lnTo>
                  <a:lnTo>
                    <a:pt x="650" y="135"/>
                  </a:lnTo>
                  <a:lnTo>
                    <a:pt x="650" y="135"/>
                  </a:lnTo>
                  <a:lnTo>
                    <a:pt x="650" y="132"/>
                  </a:lnTo>
                  <a:lnTo>
                    <a:pt x="650" y="132"/>
                  </a:lnTo>
                  <a:lnTo>
                    <a:pt x="650" y="132"/>
                  </a:lnTo>
                  <a:close/>
                  <a:moveTo>
                    <a:pt x="189" y="130"/>
                  </a:moveTo>
                  <a:lnTo>
                    <a:pt x="191" y="132"/>
                  </a:lnTo>
                  <a:lnTo>
                    <a:pt x="191" y="132"/>
                  </a:lnTo>
                  <a:lnTo>
                    <a:pt x="194" y="132"/>
                  </a:lnTo>
                  <a:lnTo>
                    <a:pt x="194" y="135"/>
                  </a:lnTo>
                  <a:lnTo>
                    <a:pt x="194" y="132"/>
                  </a:lnTo>
                  <a:lnTo>
                    <a:pt x="194" y="132"/>
                  </a:lnTo>
                  <a:lnTo>
                    <a:pt x="191" y="130"/>
                  </a:lnTo>
                  <a:lnTo>
                    <a:pt x="189" y="130"/>
                  </a:lnTo>
                  <a:close/>
                  <a:moveTo>
                    <a:pt x="163" y="122"/>
                  </a:moveTo>
                  <a:lnTo>
                    <a:pt x="163" y="122"/>
                  </a:lnTo>
                  <a:lnTo>
                    <a:pt x="166" y="122"/>
                  </a:lnTo>
                  <a:lnTo>
                    <a:pt x="166" y="122"/>
                  </a:lnTo>
                  <a:lnTo>
                    <a:pt x="163" y="120"/>
                  </a:lnTo>
                  <a:lnTo>
                    <a:pt x="163" y="120"/>
                  </a:lnTo>
                  <a:lnTo>
                    <a:pt x="163" y="120"/>
                  </a:lnTo>
                  <a:lnTo>
                    <a:pt x="163" y="122"/>
                  </a:lnTo>
                  <a:close/>
                  <a:moveTo>
                    <a:pt x="650" y="120"/>
                  </a:moveTo>
                  <a:lnTo>
                    <a:pt x="650" y="120"/>
                  </a:lnTo>
                  <a:lnTo>
                    <a:pt x="650" y="120"/>
                  </a:lnTo>
                  <a:lnTo>
                    <a:pt x="650" y="120"/>
                  </a:lnTo>
                  <a:lnTo>
                    <a:pt x="650" y="117"/>
                  </a:lnTo>
                  <a:lnTo>
                    <a:pt x="650" y="117"/>
                  </a:lnTo>
                  <a:lnTo>
                    <a:pt x="650" y="117"/>
                  </a:lnTo>
                  <a:lnTo>
                    <a:pt x="650" y="120"/>
                  </a:lnTo>
                  <a:lnTo>
                    <a:pt x="650" y="120"/>
                  </a:lnTo>
                  <a:close/>
                  <a:moveTo>
                    <a:pt x="648" y="117"/>
                  </a:moveTo>
                  <a:lnTo>
                    <a:pt x="650" y="117"/>
                  </a:lnTo>
                  <a:lnTo>
                    <a:pt x="650" y="115"/>
                  </a:lnTo>
                  <a:lnTo>
                    <a:pt x="648" y="115"/>
                  </a:lnTo>
                  <a:lnTo>
                    <a:pt x="648" y="117"/>
                  </a:lnTo>
                  <a:lnTo>
                    <a:pt x="648" y="117"/>
                  </a:lnTo>
                  <a:lnTo>
                    <a:pt x="648" y="117"/>
                  </a:lnTo>
                  <a:lnTo>
                    <a:pt x="648" y="117"/>
                  </a:lnTo>
                  <a:close/>
                  <a:moveTo>
                    <a:pt x="166" y="115"/>
                  </a:moveTo>
                  <a:lnTo>
                    <a:pt x="166" y="117"/>
                  </a:lnTo>
                  <a:lnTo>
                    <a:pt x="169" y="120"/>
                  </a:lnTo>
                  <a:lnTo>
                    <a:pt x="169" y="120"/>
                  </a:lnTo>
                  <a:lnTo>
                    <a:pt x="169" y="120"/>
                  </a:lnTo>
                  <a:lnTo>
                    <a:pt x="169" y="117"/>
                  </a:lnTo>
                  <a:lnTo>
                    <a:pt x="169" y="117"/>
                  </a:lnTo>
                  <a:lnTo>
                    <a:pt x="169" y="115"/>
                  </a:lnTo>
                  <a:lnTo>
                    <a:pt x="166" y="115"/>
                  </a:lnTo>
                  <a:close/>
                  <a:moveTo>
                    <a:pt x="176" y="117"/>
                  </a:moveTo>
                  <a:lnTo>
                    <a:pt x="176" y="117"/>
                  </a:lnTo>
                  <a:lnTo>
                    <a:pt x="176" y="115"/>
                  </a:lnTo>
                  <a:lnTo>
                    <a:pt x="174" y="115"/>
                  </a:lnTo>
                  <a:lnTo>
                    <a:pt x="174" y="115"/>
                  </a:lnTo>
                  <a:lnTo>
                    <a:pt x="174" y="117"/>
                  </a:lnTo>
                  <a:lnTo>
                    <a:pt x="176" y="117"/>
                  </a:lnTo>
                  <a:close/>
                  <a:moveTo>
                    <a:pt x="181" y="115"/>
                  </a:moveTo>
                  <a:lnTo>
                    <a:pt x="181" y="115"/>
                  </a:lnTo>
                  <a:lnTo>
                    <a:pt x="181" y="115"/>
                  </a:lnTo>
                  <a:lnTo>
                    <a:pt x="184" y="117"/>
                  </a:lnTo>
                  <a:lnTo>
                    <a:pt x="184" y="117"/>
                  </a:lnTo>
                  <a:lnTo>
                    <a:pt x="184" y="115"/>
                  </a:lnTo>
                  <a:lnTo>
                    <a:pt x="184" y="115"/>
                  </a:lnTo>
                  <a:lnTo>
                    <a:pt x="181" y="115"/>
                  </a:lnTo>
                  <a:lnTo>
                    <a:pt x="181" y="115"/>
                  </a:lnTo>
                  <a:close/>
                  <a:moveTo>
                    <a:pt x="148" y="115"/>
                  </a:moveTo>
                  <a:lnTo>
                    <a:pt x="148" y="115"/>
                  </a:lnTo>
                  <a:lnTo>
                    <a:pt x="148" y="115"/>
                  </a:lnTo>
                  <a:lnTo>
                    <a:pt x="151" y="117"/>
                  </a:lnTo>
                  <a:lnTo>
                    <a:pt x="153" y="117"/>
                  </a:lnTo>
                  <a:lnTo>
                    <a:pt x="156" y="117"/>
                  </a:lnTo>
                  <a:lnTo>
                    <a:pt x="158" y="117"/>
                  </a:lnTo>
                  <a:lnTo>
                    <a:pt x="161" y="120"/>
                  </a:lnTo>
                  <a:lnTo>
                    <a:pt x="161" y="117"/>
                  </a:lnTo>
                  <a:lnTo>
                    <a:pt x="158" y="115"/>
                  </a:lnTo>
                  <a:lnTo>
                    <a:pt x="158" y="115"/>
                  </a:lnTo>
                  <a:lnTo>
                    <a:pt x="156" y="112"/>
                  </a:lnTo>
                  <a:lnTo>
                    <a:pt x="153" y="112"/>
                  </a:lnTo>
                  <a:lnTo>
                    <a:pt x="153" y="112"/>
                  </a:lnTo>
                  <a:lnTo>
                    <a:pt x="151" y="110"/>
                  </a:lnTo>
                  <a:lnTo>
                    <a:pt x="151" y="110"/>
                  </a:lnTo>
                  <a:lnTo>
                    <a:pt x="148" y="112"/>
                  </a:lnTo>
                  <a:lnTo>
                    <a:pt x="148" y="115"/>
                  </a:lnTo>
                  <a:close/>
                  <a:moveTo>
                    <a:pt x="169" y="112"/>
                  </a:moveTo>
                  <a:lnTo>
                    <a:pt x="169" y="112"/>
                  </a:lnTo>
                  <a:lnTo>
                    <a:pt x="169" y="110"/>
                  </a:lnTo>
                  <a:lnTo>
                    <a:pt x="166" y="110"/>
                  </a:lnTo>
                  <a:lnTo>
                    <a:pt x="166" y="110"/>
                  </a:lnTo>
                  <a:lnTo>
                    <a:pt x="166" y="110"/>
                  </a:lnTo>
                  <a:lnTo>
                    <a:pt x="166" y="112"/>
                  </a:lnTo>
                  <a:lnTo>
                    <a:pt x="169" y="112"/>
                  </a:lnTo>
                  <a:close/>
                  <a:moveTo>
                    <a:pt x="156" y="112"/>
                  </a:moveTo>
                  <a:lnTo>
                    <a:pt x="158" y="112"/>
                  </a:lnTo>
                  <a:lnTo>
                    <a:pt x="158" y="115"/>
                  </a:lnTo>
                  <a:lnTo>
                    <a:pt x="161" y="115"/>
                  </a:lnTo>
                  <a:lnTo>
                    <a:pt x="161" y="115"/>
                  </a:lnTo>
                  <a:lnTo>
                    <a:pt x="163" y="117"/>
                  </a:lnTo>
                  <a:lnTo>
                    <a:pt x="163" y="115"/>
                  </a:lnTo>
                  <a:lnTo>
                    <a:pt x="161" y="112"/>
                  </a:lnTo>
                  <a:lnTo>
                    <a:pt x="158" y="110"/>
                  </a:lnTo>
                  <a:lnTo>
                    <a:pt x="156" y="110"/>
                  </a:lnTo>
                  <a:lnTo>
                    <a:pt x="153" y="110"/>
                  </a:lnTo>
                  <a:lnTo>
                    <a:pt x="153" y="112"/>
                  </a:lnTo>
                  <a:lnTo>
                    <a:pt x="153" y="112"/>
                  </a:lnTo>
                  <a:lnTo>
                    <a:pt x="156" y="112"/>
                  </a:lnTo>
                  <a:close/>
                  <a:moveTo>
                    <a:pt x="179" y="112"/>
                  </a:moveTo>
                  <a:lnTo>
                    <a:pt x="181" y="112"/>
                  </a:lnTo>
                  <a:lnTo>
                    <a:pt x="181" y="110"/>
                  </a:lnTo>
                  <a:lnTo>
                    <a:pt x="181" y="110"/>
                  </a:lnTo>
                  <a:lnTo>
                    <a:pt x="181" y="110"/>
                  </a:lnTo>
                  <a:lnTo>
                    <a:pt x="181" y="110"/>
                  </a:lnTo>
                  <a:lnTo>
                    <a:pt x="181" y="107"/>
                  </a:lnTo>
                  <a:lnTo>
                    <a:pt x="179" y="110"/>
                  </a:lnTo>
                  <a:lnTo>
                    <a:pt x="179" y="110"/>
                  </a:lnTo>
                  <a:lnTo>
                    <a:pt x="179" y="110"/>
                  </a:lnTo>
                  <a:lnTo>
                    <a:pt x="179" y="110"/>
                  </a:lnTo>
                  <a:lnTo>
                    <a:pt x="179" y="112"/>
                  </a:lnTo>
                  <a:lnTo>
                    <a:pt x="179" y="112"/>
                  </a:lnTo>
                  <a:close/>
                  <a:moveTo>
                    <a:pt x="186" y="112"/>
                  </a:moveTo>
                  <a:lnTo>
                    <a:pt x="189" y="112"/>
                  </a:lnTo>
                  <a:lnTo>
                    <a:pt x="189" y="112"/>
                  </a:lnTo>
                  <a:lnTo>
                    <a:pt x="189" y="112"/>
                  </a:lnTo>
                  <a:lnTo>
                    <a:pt x="189" y="115"/>
                  </a:lnTo>
                  <a:lnTo>
                    <a:pt x="189" y="115"/>
                  </a:lnTo>
                  <a:lnTo>
                    <a:pt x="189" y="115"/>
                  </a:lnTo>
                  <a:lnTo>
                    <a:pt x="189" y="115"/>
                  </a:lnTo>
                  <a:lnTo>
                    <a:pt x="191" y="117"/>
                  </a:lnTo>
                  <a:lnTo>
                    <a:pt x="191" y="115"/>
                  </a:lnTo>
                  <a:lnTo>
                    <a:pt x="191" y="112"/>
                  </a:lnTo>
                  <a:lnTo>
                    <a:pt x="194" y="112"/>
                  </a:lnTo>
                  <a:lnTo>
                    <a:pt x="191" y="110"/>
                  </a:lnTo>
                  <a:lnTo>
                    <a:pt x="191" y="110"/>
                  </a:lnTo>
                  <a:lnTo>
                    <a:pt x="191" y="107"/>
                  </a:lnTo>
                  <a:lnTo>
                    <a:pt x="189" y="107"/>
                  </a:lnTo>
                  <a:lnTo>
                    <a:pt x="189" y="107"/>
                  </a:lnTo>
                  <a:lnTo>
                    <a:pt x="186" y="107"/>
                  </a:lnTo>
                  <a:lnTo>
                    <a:pt x="184" y="110"/>
                  </a:lnTo>
                  <a:lnTo>
                    <a:pt x="184" y="110"/>
                  </a:lnTo>
                  <a:lnTo>
                    <a:pt x="184" y="112"/>
                  </a:lnTo>
                  <a:lnTo>
                    <a:pt x="186" y="112"/>
                  </a:lnTo>
                  <a:close/>
                  <a:moveTo>
                    <a:pt x="146" y="104"/>
                  </a:moveTo>
                  <a:lnTo>
                    <a:pt x="146" y="104"/>
                  </a:lnTo>
                  <a:lnTo>
                    <a:pt x="146" y="104"/>
                  </a:lnTo>
                  <a:lnTo>
                    <a:pt x="143" y="104"/>
                  </a:lnTo>
                  <a:lnTo>
                    <a:pt x="143" y="107"/>
                  </a:lnTo>
                  <a:lnTo>
                    <a:pt x="146" y="110"/>
                  </a:lnTo>
                  <a:lnTo>
                    <a:pt x="146" y="110"/>
                  </a:lnTo>
                  <a:lnTo>
                    <a:pt x="146" y="112"/>
                  </a:lnTo>
                  <a:lnTo>
                    <a:pt x="148" y="112"/>
                  </a:lnTo>
                  <a:lnTo>
                    <a:pt x="148" y="112"/>
                  </a:lnTo>
                  <a:lnTo>
                    <a:pt x="148" y="112"/>
                  </a:lnTo>
                  <a:lnTo>
                    <a:pt x="148" y="110"/>
                  </a:lnTo>
                  <a:lnTo>
                    <a:pt x="148" y="107"/>
                  </a:lnTo>
                  <a:lnTo>
                    <a:pt x="148" y="107"/>
                  </a:lnTo>
                  <a:lnTo>
                    <a:pt x="146" y="104"/>
                  </a:lnTo>
                  <a:close/>
                  <a:moveTo>
                    <a:pt x="54" y="110"/>
                  </a:moveTo>
                  <a:lnTo>
                    <a:pt x="54" y="107"/>
                  </a:lnTo>
                  <a:lnTo>
                    <a:pt x="49" y="102"/>
                  </a:lnTo>
                  <a:lnTo>
                    <a:pt x="46" y="99"/>
                  </a:lnTo>
                  <a:lnTo>
                    <a:pt x="46" y="99"/>
                  </a:lnTo>
                  <a:lnTo>
                    <a:pt x="46" y="102"/>
                  </a:lnTo>
                  <a:lnTo>
                    <a:pt x="44" y="102"/>
                  </a:lnTo>
                  <a:lnTo>
                    <a:pt x="41" y="102"/>
                  </a:lnTo>
                  <a:lnTo>
                    <a:pt x="44" y="107"/>
                  </a:lnTo>
                  <a:lnTo>
                    <a:pt x="46" y="112"/>
                  </a:lnTo>
                  <a:lnTo>
                    <a:pt x="46" y="115"/>
                  </a:lnTo>
                  <a:lnTo>
                    <a:pt x="49" y="115"/>
                  </a:lnTo>
                  <a:lnTo>
                    <a:pt x="51" y="117"/>
                  </a:lnTo>
                  <a:lnTo>
                    <a:pt x="54" y="120"/>
                  </a:lnTo>
                  <a:lnTo>
                    <a:pt x="54" y="122"/>
                  </a:lnTo>
                  <a:lnTo>
                    <a:pt x="56" y="122"/>
                  </a:lnTo>
                  <a:lnTo>
                    <a:pt x="56" y="120"/>
                  </a:lnTo>
                  <a:lnTo>
                    <a:pt x="56" y="115"/>
                  </a:lnTo>
                  <a:lnTo>
                    <a:pt x="56" y="112"/>
                  </a:lnTo>
                  <a:lnTo>
                    <a:pt x="56" y="112"/>
                  </a:lnTo>
                  <a:lnTo>
                    <a:pt x="54" y="110"/>
                  </a:lnTo>
                  <a:close/>
                  <a:moveTo>
                    <a:pt x="141" y="102"/>
                  </a:moveTo>
                  <a:lnTo>
                    <a:pt x="143" y="102"/>
                  </a:lnTo>
                  <a:lnTo>
                    <a:pt x="146" y="102"/>
                  </a:lnTo>
                  <a:lnTo>
                    <a:pt x="146" y="102"/>
                  </a:lnTo>
                  <a:lnTo>
                    <a:pt x="148" y="104"/>
                  </a:lnTo>
                  <a:lnTo>
                    <a:pt x="148" y="104"/>
                  </a:lnTo>
                  <a:lnTo>
                    <a:pt x="148" y="102"/>
                  </a:lnTo>
                  <a:lnTo>
                    <a:pt x="148" y="102"/>
                  </a:lnTo>
                  <a:lnTo>
                    <a:pt x="141" y="99"/>
                  </a:lnTo>
                  <a:lnTo>
                    <a:pt x="141" y="99"/>
                  </a:lnTo>
                  <a:lnTo>
                    <a:pt x="141" y="99"/>
                  </a:lnTo>
                  <a:lnTo>
                    <a:pt x="141" y="99"/>
                  </a:lnTo>
                  <a:lnTo>
                    <a:pt x="141" y="102"/>
                  </a:lnTo>
                  <a:close/>
                  <a:moveTo>
                    <a:pt x="479" y="196"/>
                  </a:moveTo>
                  <a:lnTo>
                    <a:pt x="477" y="196"/>
                  </a:lnTo>
                  <a:lnTo>
                    <a:pt x="477" y="196"/>
                  </a:lnTo>
                  <a:lnTo>
                    <a:pt x="477" y="196"/>
                  </a:lnTo>
                  <a:lnTo>
                    <a:pt x="477" y="199"/>
                  </a:lnTo>
                  <a:lnTo>
                    <a:pt x="477" y="199"/>
                  </a:lnTo>
                  <a:lnTo>
                    <a:pt x="477" y="201"/>
                  </a:lnTo>
                  <a:lnTo>
                    <a:pt x="477" y="204"/>
                  </a:lnTo>
                  <a:lnTo>
                    <a:pt x="477" y="206"/>
                  </a:lnTo>
                  <a:lnTo>
                    <a:pt x="477" y="209"/>
                  </a:lnTo>
                  <a:lnTo>
                    <a:pt x="477" y="211"/>
                  </a:lnTo>
                  <a:lnTo>
                    <a:pt x="477" y="214"/>
                  </a:lnTo>
                  <a:lnTo>
                    <a:pt x="479" y="216"/>
                  </a:lnTo>
                  <a:lnTo>
                    <a:pt x="485" y="214"/>
                  </a:lnTo>
                  <a:lnTo>
                    <a:pt x="487" y="214"/>
                  </a:lnTo>
                  <a:lnTo>
                    <a:pt x="487" y="214"/>
                  </a:lnTo>
                  <a:lnTo>
                    <a:pt x="490" y="214"/>
                  </a:lnTo>
                  <a:lnTo>
                    <a:pt x="490" y="216"/>
                  </a:lnTo>
                  <a:lnTo>
                    <a:pt x="490" y="216"/>
                  </a:lnTo>
                  <a:lnTo>
                    <a:pt x="490" y="219"/>
                  </a:lnTo>
                  <a:lnTo>
                    <a:pt x="490" y="219"/>
                  </a:lnTo>
                  <a:lnTo>
                    <a:pt x="490" y="222"/>
                  </a:lnTo>
                  <a:lnTo>
                    <a:pt x="492" y="227"/>
                  </a:lnTo>
                  <a:lnTo>
                    <a:pt x="492" y="227"/>
                  </a:lnTo>
                  <a:lnTo>
                    <a:pt x="492" y="237"/>
                  </a:lnTo>
                  <a:lnTo>
                    <a:pt x="490" y="237"/>
                  </a:lnTo>
                  <a:lnTo>
                    <a:pt x="490" y="239"/>
                  </a:lnTo>
                  <a:lnTo>
                    <a:pt x="490" y="242"/>
                  </a:lnTo>
                  <a:lnTo>
                    <a:pt x="490" y="247"/>
                  </a:lnTo>
                  <a:lnTo>
                    <a:pt x="487" y="250"/>
                  </a:lnTo>
                  <a:lnTo>
                    <a:pt x="487" y="252"/>
                  </a:lnTo>
                  <a:lnTo>
                    <a:pt x="485" y="255"/>
                  </a:lnTo>
                  <a:lnTo>
                    <a:pt x="485" y="257"/>
                  </a:lnTo>
                  <a:lnTo>
                    <a:pt x="487" y="260"/>
                  </a:lnTo>
                  <a:lnTo>
                    <a:pt x="490" y="262"/>
                  </a:lnTo>
                  <a:lnTo>
                    <a:pt x="492" y="265"/>
                  </a:lnTo>
                  <a:lnTo>
                    <a:pt x="492" y="265"/>
                  </a:lnTo>
                  <a:lnTo>
                    <a:pt x="495" y="265"/>
                  </a:lnTo>
                  <a:lnTo>
                    <a:pt x="495" y="262"/>
                  </a:lnTo>
                  <a:lnTo>
                    <a:pt x="497" y="262"/>
                  </a:lnTo>
                  <a:lnTo>
                    <a:pt x="500" y="262"/>
                  </a:lnTo>
                  <a:lnTo>
                    <a:pt x="502" y="262"/>
                  </a:lnTo>
                  <a:lnTo>
                    <a:pt x="502" y="262"/>
                  </a:lnTo>
                  <a:lnTo>
                    <a:pt x="505" y="262"/>
                  </a:lnTo>
                  <a:lnTo>
                    <a:pt x="507" y="262"/>
                  </a:lnTo>
                  <a:lnTo>
                    <a:pt x="505" y="260"/>
                  </a:lnTo>
                  <a:lnTo>
                    <a:pt x="505" y="257"/>
                  </a:lnTo>
                  <a:lnTo>
                    <a:pt x="505" y="252"/>
                  </a:lnTo>
                  <a:lnTo>
                    <a:pt x="505" y="250"/>
                  </a:lnTo>
                  <a:lnTo>
                    <a:pt x="505" y="247"/>
                  </a:lnTo>
                  <a:lnTo>
                    <a:pt x="507" y="242"/>
                  </a:lnTo>
                  <a:lnTo>
                    <a:pt x="507" y="239"/>
                  </a:lnTo>
                  <a:lnTo>
                    <a:pt x="507" y="234"/>
                  </a:lnTo>
                  <a:lnTo>
                    <a:pt x="507" y="229"/>
                  </a:lnTo>
                  <a:lnTo>
                    <a:pt x="507" y="222"/>
                  </a:lnTo>
                  <a:lnTo>
                    <a:pt x="507" y="219"/>
                  </a:lnTo>
                  <a:lnTo>
                    <a:pt x="507" y="219"/>
                  </a:lnTo>
                  <a:lnTo>
                    <a:pt x="507" y="211"/>
                  </a:lnTo>
                  <a:lnTo>
                    <a:pt x="507" y="209"/>
                  </a:lnTo>
                  <a:lnTo>
                    <a:pt x="505" y="206"/>
                  </a:lnTo>
                  <a:lnTo>
                    <a:pt x="505" y="204"/>
                  </a:lnTo>
                  <a:lnTo>
                    <a:pt x="505" y="201"/>
                  </a:lnTo>
                  <a:lnTo>
                    <a:pt x="507" y="201"/>
                  </a:lnTo>
                  <a:lnTo>
                    <a:pt x="513" y="196"/>
                  </a:lnTo>
                  <a:lnTo>
                    <a:pt x="513" y="196"/>
                  </a:lnTo>
                  <a:lnTo>
                    <a:pt x="515" y="196"/>
                  </a:lnTo>
                  <a:lnTo>
                    <a:pt x="518" y="196"/>
                  </a:lnTo>
                  <a:lnTo>
                    <a:pt x="520" y="196"/>
                  </a:lnTo>
                  <a:lnTo>
                    <a:pt x="523" y="199"/>
                  </a:lnTo>
                  <a:lnTo>
                    <a:pt x="523" y="201"/>
                  </a:lnTo>
                  <a:lnTo>
                    <a:pt x="523" y="204"/>
                  </a:lnTo>
                  <a:lnTo>
                    <a:pt x="520" y="206"/>
                  </a:lnTo>
                  <a:lnTo>
                    <a:pt x="520" y="209"/>
                  </a:lnTo>
                  <a:lnTo>
                    <a:pt x="518" y="211"/>
                  </a:lnTo>
                  <a:lnTo>
                    <a:pt x="518" y="214"/>
                  </a:lnTo>
                  <a:lnTo>
                    <a:pt x="518" y="214"/>
                  </a:lnTo>
                  <a:lnTo>
                    <a:pt x="518" y="216"/>
                  </a:lnTo>
                  <a:lnTo>
                    <a:pt x="525" y="224"/>
                  </a:lnTo>
                  <a:lnTo>
                    <a:pt x="528" y="227"/>
                  </a:lnTo>
                  <a:lnTo>
                    <a:pt x="530" y="227"/>
                  </a:lnTo>
                  <a:lnTo>
                    <a:pt x="533" y="229"/>
                  </a:lnTo>
                  <a:lnTo>
                    <a:pt x="530" y="229"/>
                  </a:lnTo>
                  <a:lnTo>
                    <a:pt x="530" y="232"/>
                  </a:lnTo>
                  <a:lnTo>
                    <a:pt x="530" y="232"/>
                  </a:lnTo>
                  <a:lnTo>
                    <a:pt x="530" y="232"/>
                  </a:lnTo>
                  <a:lnTo>
                    <a:pt x="528" y="239"/>
                  </a:lnTo>
                  <a:lnTo>
                    <a:pt x="528" y="242"/>
                  </a:lnTo>
                  <a:lnTo>
                    <a:pt x="530" y="244"/>
                  </a:lnTo>
                  <a:lnTo>
                    <a:pt x="530" y="244"/>
                  </a:lnTo>
                  <a:lnTo>
                    <a:pt x="533" y="244"/>
                  </a:lnTo>
                  <a:lnTo>
                    <a:pt x="538" y="244"/>
                  </a:lnTo>
                  <a:lnTo>
                    <a:pt x="541" y="244"/>
                  </a:lnTo>
                  <a:lnTo>
                    <a:pt x="541" y="244"/>
                  </a:lnTo>
                  <a:lnTo>
                    <a:pt x="541" y="242"/>
                  </a:lnTo>
                  <a:lnTo>
                    <a:pt x="541" y="239"/>
                  </a:lnTo>
                  <a:lnTo>
                    <a:pt x="541" y="239"/>
                  </a:lnTo>
                  <a:lnTo>
                    <a:pt x="543" y="237"/>
                  </a:lnTo>
                  <a:lnTo>
                    <a:pt x="548" y="237"/>
                  </a:lnTo>
                  <a:lnTo>
                    <a:pt x="551" y="234"/>
                  </a:lnTo>
                  <a:lnTo>
                    <a:pt x="553" y="237"/>
                  </a:lnTo>
                  <a:lnTo>
                    <a:pt x="553" y="234"/>
                  </a:lnTo>
                  <a:lnTo>
                    <a:pt x="553" y="234"/>
                  </a:lnTo>
                  <a:lnTo>
                    <a:pt x="553" y="234"/>
                  </a:lnTo>
                  <a:lnTo>
                    <a:pt x="556" y="234"/>
                  </a:lnTo>
                  <a:lnTo>
                    <a:pt x="556" y="234"/>
                  </a:lnTo>
                  <a:lnTo>
                    <a:pt x="558" y="234"/>
                  </a:lnTo>
                  <a:lnTo>
                    <a:pt x="558" y="232"/>
                  </a:lnTo>
                  <a:lnTo>
                    <a:pt x="558" y="229"/>
                  </a:lnTo>
                  <a:lnTo>
                    <a:pt x="556" y="229"/>
                  </a:lnTo>
                  <a:lnTo>
                    <a:pt x="556" y="227"/>
                  </a:lnTo>
                  <a:lnTo>
                    <a:pt x="556" y="227"/>
                  </a:lnTo>
                  <a:lnTo>
                    <a:pt x="556" y="227"/>
                  </a:lnTo>
                  <a:lnTo>
                    <a:pt x="553" y="229"/>
                  </a:lnTo>
                  <a:lnTo>
                    <a:pt x="553" y="227"/>
                  </a:lnTo>
                  <a:lnTo>
                    <a:pt x="553" y="227"/>
                  </a:lnTo>
                  <a:lnTo>
                    <a:pt x="551" y="227"/>
                  </a:lnTo>
                  <a:lnTo>
                    <a:pt x="551" y="224"/>
                  </a:lnTo>
                  <a:lnTo>
                    <a:pt x="551" y="224"/>
                  </a:lnTo>
                  <a:lnTo>
                    <a:pt x="551" y="222"/>
                  </a:lnTo>
                  <a:lnTo>
                    <a:pt x="548" y="219"/>
                  </a:lnTo>
                  <a:lnTo>
                    <a:pt x="548" y="219"/>
                  </a:lnTo>
                  <a:lnTo>
                    <a:pt x="546" y="219"/>
                  </a:lnTo>
                  <a:lnTo>
                    <a:pt x="546" y="219"/>
                  </a:lnTo>
                  <a:lnTo>
                    <a:pt x="546" y="216"/>
                  </a:lnTo>
                  <a:lnTo>
                    <a:pt x="546" y="216"/>
                  </a:lnTo>
                  <a:lnTo>
                    <a:pt x="546" y="216"/>
                  </a:lnTo>
                  <a:lnTo>
                    <a:pt x="546" y="211"/>
                  </a:lnTo>
                  <a:lnTo>
                    <a:pt x="546" y="209"/>
                  </a:lnTo>
                  <a:lnTo>
                    <a:pt x="548" y="209"/>
                  </a:lnTo>
                  <a:lnTo>
                    <a:pt x="548" y="206"/>
                  </a:lnTo>
                  <a:lnTo>
                    <a:pt x="546" y="204"/>
                  </a:lnTo>
                  <a:lnTo>
                    <a:pt x="546" y="204"/>
                  </a:lnTo>
                  <a:lnTo>
                    <a:pt x="546" y="201"/>
                  </a:lnTo>
                  <a:lnTo>
                    <a:pt x="546" y="201"/>
                  </a:lnTo>
                  <a:lnTo>
                    <a:pt x="543" y="199"/>
                  </a:lnTo>
                  <a:lnTo>
                    <a:pt x="541" y="196"/>
                  </a:lnTo>
                  <a:lnTo>
                    <a:pt x="541" y="194"/>
                  </a:lnTo>
                  <a:lnTo>
                    <a:pt x="538" y="188"/>
                  </a:lnTo>
                  <a:lnTo>
                    <a:pt x="536" y="186"/>
                  </a:lnTo>
                  <a:lnTo>
                    <a:pt x="536" y="186"/>
                  </a:lnTo>
                  <a:lnTo>
                    <a:pt x="533" y="183"/>
                  </a:lnTo>
                  <a:lnTo>
                    <a:pt x="533" y="183"/>
                  </a:lnTo>
                  <a:lnTo>
                    <a:pt x="530" y="181"/>
                  </a:lnTo>
                  <a:lnTo>
                    <a:pt x="528" y="181"/>
                  </a:lnTo>
                  <a:lnTo>
                    <a:pt x="528" y="178"/>
                  </a:lnTo>
                  <a:lnTo>
                    <a:pt x="528" y="178"/>
                  </a:lnTo>
                  <a:lnTo>
                    <a:pt x="528" y="176"/>
                  </a:lnTo>
                  <a:lnTo>
                    <a:pt x="530" y="178"/>
                  </a:lnTo>
                  <a:lnTo>
                    <a:pt x="533" y="178"/>
                  </a:lnTo>
                  <a:lnTo>
                    <a:pt x="533" y="178"/>
                  </a:lnTo>
                  <a:lnTo>
                    <a:pt x="536" y="178"/>
                  </a:lnTo>
                  <a:lnTo>
                    <a:pt x="536" y="176"/>
                  </a:lnTo>
                  <a:lnTo>
                    <a:pt x="538" y="173"/>
                  </a:lnTo>
                  <a:lnTo>
                    <a:pt x="543" y="171"/>
                  </a:lnTo>
                  <a:lnTo>
                    <a:pt x="546" y="171"/>
                  </a:lnTo>
                  <a:lnTo>
                    <a:pt x="548" y="168"/>
                  </a:lnTo>
                  <a:lnTo>
                    <a:pt x="551" y="166"/>
                  </a:lnTo>
                  <a:lnTo>
                    <a:pt x="553" y="163"/>
                  </a:lnTo>
                  <a:lnTo>
                    <a:pt x="556" y="160"/>
                  </a:lnTo>
                  <a:lnTo>
                    <a:pt x="558" y="158"/>
                  </a:lnTo>
                  <a:lnTo>
                    <a:pt x="558" y="155"/>
                  </a:lnTo>
                  <a:lnTo>
                    <a:pt x="558" y="155"/>
                  </a:lnTo>
                  <a:lnTo>
                    <a:pt x="564" y="155"/>
                  </a:lnTo>
                  <a:lnTo>
                    <a:pt x="564" y="155"/>
                  </a:lnTo>
                  <a:lnTo>
                    <a:pt x="566" y="158"/>
                  </a:lnTo>
                  <a:lnTo>
                    <a:pt x="569" y="158"/>
                  </a:lnTo>
                  <a:lnTo>
                    <a:pt x="569" y="158"/>
                  </a:lnTo>
                  <a:lnTo>
                    <a:pt x="569" y="158"/>
                  </a:lnTo>
                  <a:lnTo>
                    <a:pt x="571" y="153"/>
                  </a:lnTo>
                  <a:lnTo>
                    <a:pt x="571" y="150"/>
                  </a:lnTo>
                  <a:lnTo>
                    <a:pt x="569" y="150"/>
                  </a:lnTo>
                  <a:lnTo>
                    <a:pt x="566" y="148"/>
                  </a:lnTo>
                  <a:lnTo>
                    <a:pt x="566" y="148"/>
                  </a:lnTo>
                  <a:lnTo>
                    <a:pt x="561" y="148"/>
                  </a:lnTo>
                  <a:lnTo>
                    <a:pt x="558" y="150"/>
                  </a:lnTo>
                  <a:lnTo>
                    <a:pt x="558" y="150"/>
                  </a:lnTo>
                  <a:lnTo>
                    <a:pt x="558" y="150"/>
                  </a:lnTo>
                  <a:lnTo>
                    <a:pt x="558" y="150"/>
                  </a:lnTo>
                  <a:lnTo>
                    <a:pt x="558" y="153"/>
                  </a:lnTo>
                  <a:lnTo>
                    <a:pt x="556" y="153"/>
                  </a:lnTo>
                  <a:lnTo>
                    <a:pt x="553" y="153"/>
                  </a:lnTo>
                  <a:lnTo>
                    <a:pt x="548" y="153"/>
                  </a:lnTo>
                  <a:lnTo>
                    <a:pt x="546" y="153"/>
                  </a:lnTo>
                  <a:lnTo>
                    <a:pt x="543" y="155"/>
                  </a:lnTo>
                  <a:lnTo>
                    <a:pt x="543" y="155"/>
                  </a:lnTo>
                  <a:lnTo>
                    <a:pt x="541" y="155"/>
                  </a:lnTo>
                  <a:lnTo>
                    <a:pt x="538" y="155"/>
                  </a:lnTo>
                  <a:lnTo>
                    <a:pt x="536" y="155"/>
                  </a:lnTo>
                  <a:lnTo>
                    <a:pt x="536" y="155"/>
                  </a:lnTo>
                  <a:lnTo>
                    <a:pt x="533" y="155"/>
                  </a:lnTo>
                  <a:lnTo>
                    <a:pt x="533" y="153"/>
                  </a:lnTo>
                  <a:lnTo>
                    <a:pt x="533" y="155"/>
                  </a:lnTo>
                  <a:lnTo>
                    <a:pt x="530" y="155"/>
                  </a:lnTo>
                  <a:lnTo>
                    <a:pt x="528" y="160"/>
                  </a:lnTo>
                  <a:lnTo>
                    <a:pt x="525" y="163"/>
                  </a:lnTo>
                  <a:lnTo>
                    <a:pt x="525" y="166"/>
                  </a:lnTo>
                  <a:lnTo>
                    <a:pt x="523" y="168"/>
                  </a:lnTo>
                  <a:lnTo>
                    <a:pt x="520" y="166"/>
                  </a:lnTo>
                  <a:lnTo>
                    <a:pt x="518" y="166"/>
                  </a:lnTo>
                  <a:lnTo>
                    <a:pt x="515" y="166"/>
                  </a:lnTo>
                  <a:lnTo>
                    <a:pt x="515" y="166"/>
                  </a:lnTo>
                  <a:lnTo>
                    <a:pt x="513" y="163"/>
                  </a:lnTo>
                  <a:lnTo>
                    <a:pt x="513" y="158"/>
                  </a:lnTo>
                  <a:lnTo>
                    <a:pt x="510" y="158"/>
                  </a:lnTo>
                  <a:lnTo>
                    <a:pt x="507" y="155"/>
                  </a:lnTo>
                  <a:lnTo>
                    <a:pt x="505" y="155"/>
                  </a:lnTo>
                  <a:lnTo>
                    <a:pt x="502" y="150"/>
                  </a:lnTo>
                  <a:lnTo>
                    <a:pt x="502" y="148"/>
                  </a:lnTo>
                  <a:lnTo>
                    <a:pt x="502" y="145"/>
                  </a:lnTo>
                  <a:lnTo>
                    <a:pt x="502" y="143"/>
                  </a:lnTo>
                  <a:lnTo>
                    <a:pt x="502" y="140"/>
                  </a:lnTo>
                  <a:lnTo>
                    <a:pt x="502" y="138"/>
                  </a:lnTo>
                  <a:lnTo>
                    <a:pt x="502" y="135"/>
                  </a:lnTo>
                  <a:lnTo>
                    <a:pt x="505" y="132"/>
                  </a:lnTo>
                  <a:lnTo>
                    <a:pt x="505" y="130"/>
                  </a:lnTo>
                  <a:lnTo>
                    <a:pt x="507" y="125"/>
                  </a:lnTo>
                  <a:lnTo>
                    <a:pt x="507" y="125"/>
                  </a:lnTo>
                  <a:lnTo>
                    <a:pt x="510" y="122"/>
                  </a:lnTo>
                  <a:lnTo>
                    <a:pt x="513" y="122"/>
                  </a:lnTo>
                  <a:lnTo>
                    <a:pt x="515" y="122"/>
                  </a:lnTo>
                  <a:lnTo>
                    <a:pt x="520" y="125"/>
                  </a:lnTo>
                  <a:lnTo>
                    <a:pt x="523" y="125"/>
                  </a:lnTo>
                  <a:lnTo>
                    <a:pt x="530" y="125"/>
                  </a:lnTo>
                  <a:lnTo>
                    <a:pt x="533" y="125"/>
                  </a:lnTo>
                  <a:lnTo>
                    <a:pt x="533" y="125"/>
                  </a:lnTo>
                  <a:lnTo>
                    <a:pt x="536" y="125"/>
                  </a:lnTo>
                  <a:lnTo>
                    <a:pt x="538" y="125"/>
                  </a:lnTo>
                  <a:lnTo>
                    <a:pt x="543" y="125"/>
                  </a:lnTo>
                  <a:lnTo>
                    <a:pt x="548" y="125"/>
                  </a:lnTo>
                  <a:lnTo>
                    <a:pt x="561" y="125"/>
                  </a:lnTo>
                  <a:lnTo>
                    <a:pt x="561" y="125"/>
                  </a:lnTo>
                  <a:lnTo>
                    <a:pt x="564" y="125"/>
                  </a:lnTo>
                  <a:lnTo>
                    <a:pt x="566" y="125"/>
                  </a:lnTo>
                  <a:lnTo>
                    <a:pt x="566" y="127"/>
                  </a:lnTo>
                  <a:lnTo>
                    <a:pt x="569" y="127"/>
                  </a:lnTo>
                  <a:lnTo>
                    <a:pt x="571" y="127"/>
                  </a:lnTo>
                  <a:lnTo>
                    <a:pt x="574" y="127"/>
                  </a:lnTo>
                  <a:lnTo>
                    <a:pt x="576" y="127"/>
                  </a:lnTo>
                  <a:lnTo>
                    <a:pt x="584" y="127"/>
                  </a:lnTo>
                  <a:lnTo>
                    <a:pt x="587" y="127"/>
                  </a:lnTo>
                  <a:lnTo>
                    <a:pt x="587" y="125"/>
                  </a:lnTo>
                  <a:lnTo>
                    <a:pt x="589" y="125"/>
                  </a:lnTo>
                  <a:lnTo>
                    <a:pt x="592" y="125"/>
                  </a:lnTo>
                  <a:lnTo>
                    <a:pt x="592" y="122"/>
                  </a:lnTo>
                  <a:lnTo>
                    <a:pt x="594" y="120"/>
                  </a:lnTo>
                  <a:lnTo>
                    <a:pt x="594" y="117"/>
                  </a:lnTo>
                  <a:lnTo>
                    <a:pt x="597" y="117"/>
                  </a:lnTo>
                  <a:lnTo>
                    <a:pt x="599" y="112"/>
                  </a:lnTo>
                  <a:lnTo>
                    <a:pt x="602" y="110"/>
                  </a:lnTo>
                  <a:lnTo>
                    <a:pt x="602" y="107"/>
                  </a:lnTo>
                  <a:lnTo>
                    <a:pt x="604" y="104"/>
                  </a:lnTo>
                  <a:lnTo>
                    <a:pt x="604" y="102"/>
                  </a:lnTo>
                  <a:lnTo>
                    <a:pt x="607" y="102"/>
                  </a:lnTo>
                  <a:lnTo>
                    <a:pt x="607" y="102"/>
                  </a:lnTo>
                  <a:lnTo>
                    <a:pt x="604" y="97"/>
                  </a:lnTo>
                  <a:lnTo>
                    <a:pt x="604" y="97"/>
                  </a:lnTo>
                  <a:lnTo>
                    <a:pt x="602" y="97"/>
                  </a:lnTo>
                  <a:lnTo>
                    <a:pt x="599" y="97"/>
                  </a:lnTo>
                  <a:lnTo>
                    <a:pt x="599" y="99"/>
                  </a:lnTo>
                  <a:lnTo>
                    <a:pt x="597" y="102"/>
                  </a:lnTo>
                  <a:lnTo>
                    <a:pt x="597" y="102"/>
                  </a:lnTo>
                  <a:lnTo>
                    <a:pt x="594" y="102"/>
                  </a:lnTo>
                  <a:lnTo>
                    <a:pt x="594" y="104"/>
                  </a:lnTo>
                  <a:lnTo>
                    <a:pt x="594" y="104"/>
                  </a:lnTo>
                  <a:lnTo>
                    <a:pt x="592" y="107"/>
                  </a:lnTo>
                  <a:lnTo>
                    <a:pt x="589" y="107"/>
                  </a:lnTo>
                  <a:lnTo>
                    <a:pt x="587" y="112"/>
                  </a:lnTo>
                  <a:lnTo>
                    <a:pt x="581" y="115"/>
                  </a:lnTo>
                  <a:lnTo>
                    <a:pt x="579" y="117"/>
                  </a:lnTo>
                  <a:lnTo>
                    <a:pt x="566" y="115"/>
                  </a:lnTo>
                  <a:lnTo>
                    <a:pt x="564" y="115"/>
                  </a:lnTo>
                  <a:lnTo>
                    <a:pt x="561" y="115"/>
                  </a:lnTo>
                  <a:lnTo>
                    <a:pt x="561" y="115"/>
                  </a:lnTo>
                  <a:lnTo>
                    <a:pt x="558" y="115"/>
                  </a:lnTo>
                  <a:lnTo>
                    <a:pt x="558" y="115"/>
                  </a:lnTo>
                  <a:lnTo>
                    <a:pt x="558" y="115"/>
                  </a:lnTo>
                  <a:lnTo>
                    <a:pt x="556" y="115"/>
                  </a:lnTo>
                  <a:lnTo>
                    <a:pt x="553" y="112"/>
                  </a:lnTo>
                  <a:lnTo>
                    <a:pt x="551" y="112"/>
                  </a:lnTo>
                  <a:lnTo>
                    <a:pt x="543" y="112"/>
                  </a:lnTo>
                  <a:lnTo>
                    <a:pt x="538" y="110"/>
                  </a:lnTo>
                  <a:lnTo>
                    <a:pt x="533" y="110"/>
                  </a:lnTo>
                  <a:lnTo>
                    <a:pt x="533" y="110"/>
                  </a:lnTo>
                  <a:lnTo>
                    <a:pt x="530" y="110"/>
                  </a:lnTo>
                  <a:lnTo>
                    <a:pt x="530" y="110"/>
                  </a:lnTo>
                  <a:lnTo>
                    <a:pt x="530" y="107"/>
                  </a:lnTo>
                  <a:lnTo>
                    <a:pt x="530" y="107"/>
                  </a:lnTo>
                  <a:lnTo>
                    <a:pt x="528" y="107"/>
                  </a:lnTo>
                  <a:lnTo>
                    <a:pt x="528" y="107"/>
                  </a:lnTo>
                  <a:lnTo>
                    <a:pt x="525" y="107"/>
                  </a:lnTo>
                  <a:lnTo>
                    <a:pt x="523" y="104"/>
                  </a:lnTo>
                  <a:lnTo>
                    <a:pt x="523" y="104"/>
                  </a:lnTo>
                  <a:lnTo>
                    <a:pt x="520" y="104"/>
                  </a:lnTo>
                  <a:lnTo>
                    <a:pt x="520" y="107"/>
                  </a:lnTo>
                  <a:lnTo>
                    <a:pt x="518" y="107"/>
                  </a:lnTo>
                  <a:lnTo>
                    <a:pt x="518" y="110"/>
                  </a:lnTo>
                  <a:lnTo>
                    <a:pt x="518" y="112"/>
                  </a:lnTo>
                  <a:lnTo>
                    <a:pt x="515" y="112"/>
                  </a:lnTo>
                  <a:lnTo>
                    <a:pt x="515" y="115"/>
                  </a:lnTo>
                  <a:lnTo>
                    <a:pt x="515" y="115"/>
                  </a:lnTo>
                  <a:lnTo>
                    <a:pt x="513" y="115"/>
                  </a:lnTo>
                  <a:lnTo>
                    <a:pt x="513" y="117"/>
                  </a:lnTo>
                  <a:lnTo>
                    <a:pt x="510" y="115"/>
                  </a:lnTo>
                  <a:lnTo>
                    <a:pt x="507" y="115"/>
                  </a:lnTo>
                  <a:lnTo>
                    <a:pt x="507" y="112"/>
                  </a:lnTo>
                  <a:lnTo>
                    <a:pt x="507" y="112"/>
                  </a:lnTo>
                  <a:lnTo>
                    <a:pt x="507" y="112"/>
                  </a:lnTo>
                  <a:lnTo>
                    <a:pt x="505" y="115"/>
                  </a:lnTo>
                  <a:lnTo>
                    <a:pt x="505" y="117"/>
                  </a:lnTo>
                  <a:lnTo>
                    <a:pt x="502" y="117"/>
                  </a:lnTo>
                  <a:lnTo>
                    <a:pt x="502" y="120"/>
                  </a:lnTo>
                  <a:lnTo>
                    <a:pt x="502" y="122"/>
                  </a:lnTo>
                  <a:lnTo>
                    <a:pt x="502" y="122"/>
                  </a:lnTo>
                  <a:lnTo>
                    <a:pt x="500" y="125"/>
                  </a:lnTo>
                  <a:lnTo>
                    <a:pt x="497" y="130"/>
                  </a:lnTo>
                  <a:lnTo>
                    <a:pt x="497" y="130"/>
                  </a:lnTo>
                  <a:lnTo>
                    <a:pt x="500" y="135"/>
                  </a:lnTo>
                  <a:lnTo>
                    <a:pt x="497" y="135"/>
                  </a:lnTo>
                  <a:lnTo>
                    <a:pt x="497" y="138"/>
                  </a:lnTo>
                  <a:lnTo>
                    <a:pt x="497" y="135"/>
                  </a:lnTo>
                  <a:lnTo>
                    <a:pt x="495" y="138"/>
                  </a:lnTo>
                  <a:lnTo>
                    <a:pt x="497" y="145"/>
                  </a:lnTo>
                  <a:lnTo>
                    <a:pt x="497" y="150"/>
                  </a:lnTo>
                  <a:lnTo>
                    <a:pt x="497" y="153"/>
                  </a:lnTo>
                  <a:lnTo>
                    <a:pt x="497" y="155"/>
                  </a:lnTo>
                  <a:lnTo>
                    <a:pt x="497" y="153"/>
                  </a:lnTo>
                  <a:lnTo>
                    <a:pt x="495" y="150"/>
                  </a:lnTo>
                  <a:lnTo>
                    <a:pt x="495" y="153"/>
                  </a:lnTo>
                  <a:lnTo>
                    <a:pt x="492" y="155"/>
                  </a:lnTo>
                  <a:lnTo>
                    <a:pt x="487" y="163"/>
                  </a:lnTo>
                  <a:lnTo>
                    <a:pt x="487" y="168"/>
                  </a:lnTo>
                  <a:lnTo>
                    <a:pt x="487" y="168"/>
                  </a:lnTo>
                  <a:lnTo>
                    <a:pt x="487" y="171"/>
                  </a:lnTo>
                  <a:lnTo>
                    <a:pt x="487" y="173"/>
                  </a:lnTo>
                  <a:lnTo>
                    <a:pt x="487" y="176"/>
                  </a:lnTo>
                  <a:lnTo>
                    <a:pt x="487" y="178"/>
                  </a:lnTo>
                  <a:lnTo>
                    <a:pt x="485" y="181"/>
                  </a:lnTo>
                  <a:lnTo>
                    <a:pt x="485" y="183"/>
                  </a:lnTo>
                  <a:lnTo>
                    <a:pt x="485" y="186"/>
                  </a:lnTo>
                  <a:lnTo>
                    <a:pt x="482" y="188"/>
                  </a:lnTo>
                  <a:lnTo>
                    <a:pt x="482" y="191"/>
                  </a:lnTo>
                  <a:lnTo>
                    <a:pt x="479" y="194"/>
                  </a:lnTo>
                  <a:lnTo>
                    <a:pt x="479" y="196"/>
                  </a:lnTo>
                  <a:close/>
                  <a:moveTo>
                    <a:pt x="130" y="97"/>
                  </a:moveTo>
                  <a:lnTo>
                    <a:pt x="130" y="97"/>
                  </a:lnTo>
                  <a:lnTo>
                    <a:pt x="133" y="94"/>
                  </a:lnTo>
                  <a:lnTo>
                    <a:pt x="133" y="92"/>
                  </a:lnTo>
                  <a:lnTo>
                    <a:pt x="135" y="92"/>
                  </a:lnTo>
                  <a:lnTo>
                    <a:pt x="135" y="89"/>
                  </a:lnTo>
                  <a:lnTo>
                    <a:pt x="133" y="87"/>
                  </a:lnTo>
                  <a:lnTo>
                    <a:pt x="133" y="87"/>
                  </a:lnTo>
                  <a:lnTo>
                    <a:pt x="130" y="89"/>
                  </a:lnTo>
                  <a:lnTo>
                    <a:pt x="128" y="89"/>
                  </a:lnTo>
                  <a:lnTo>
                    <a:pt x="128" y="89"/>
                  </a:lnTo>
                  <a:lnTo>
                    <a:pt x="128" y="92"/>
                  </a:lnTo>
                  <a:lnTo>
                    <a:pt x="128" y="94"/>
                  </a:lnTo>
                  <a:lnTo>
                    <a:pt x="130" y="97"/>
                  </a:lnTo>
                  <a:close/>
                  <a:moveTo>
                    <a:pt x="650" y="110"/>
                  </a:moveTo>
                  <a:lnTo>
                    <a:pt x="653" y="115"/>
                  </a:lnTo>
                  <a:lnTo>
                    <a:pt x="655" y="115"/>
                  </a:lnTo>
                  <a:lnTo>
                    <a:pt x="655" y="117"/>
                  </a:lnTo>
                  <a:lnTo>
                    <a:pt x="653" y="117"/>
                  </a:lnTo>
                  <a:lnTo>
                    <a:pt x="653" y="120"/>
                  </a:lnTo>
                  <a:lnTo>
                    <a:pt x="653" y="122"/>
                  </a:lnTo>
                  <a:lnTo>
                    <a:pt x="653" y="125"/>
                  </a:lnTo>
                  <a:lnTo>
                    <a:pt x="655" y="127"/>
                  </a:lnTo>
                  <a:lnTo>
                    <a:pt x="655" y="127"/>
                  </a:lnTo>
                  <a:lnTo>
                    <a:pt x="655" y="127"/>
                  </a:lnTo>
                  <a:lnTo>
                    <a:pt x="655" y="132"/>
                  </a:lnTo>
                  <a:lnTo>
                    <a:pt x="655" y="135"/>
                  </a:lnTo>
                  <a:lnTo>
                    <a:pt x="655" y="138"/>
                  </a:lnTo>
                  <a:lnTo>
                    <a:pt x="655" y="138"/>
                  </a:lnTo>
                  <a:lnTo>
                    <a:pt x="655" y="140"/>
                  </a:lnTo>
                  <a:lnTo>
                    <a:pt x="658" y="143"/>
                  </a:lnTo>
                  <a:lnTo>
                    <a:pt x="660" y="143"/>
                  </a:lnTo>
                  <a:lnTo>
                    <a:pt x="660" y="145"/>
                  </a:lnTo>
                  <a:lnTo>
                    <a:pt x="663" y="150"/>
                  </a:lnTo>
                  <a:lnTo>
                    <a:pt x="663" y="150"/>
                  </a:lnTo>
                  <a:lnTo>
                    <a:pt x="668" y="153"/>
                  </a:lnTo>
                  <a:lnTo>
                    <a:pt x="668" y="155"/>
                  </a:lnTo>
                  <a:lnTo>
                    <a:pt x="671" y="155"/>
                  </a:lnTo>
                  <a:lnTo>
                    <a:pt x="668" y="153"/>
                  </a:lnTo>
                  <a:lnTo>
                    <a:pt x="668" y="153"/>
                  </a:lnTo>
                  <a:lnTo>
                    <a:pt x="663" y="145"/>
                  </a:lnTo>
                  <a:lnTo>
                    <a:pt x="663" y="140"/>
                  </a:lnTo>
                  <a:lnTo>
                    <a:pt x="660" y="135"/>
                  </a:lnTo>
                  <a:lnTo>
                    <a:pt x="660" y="132"/>
                  </a:lnTo>
                  <a:lnTo>
                    <a:pt x="660" y="130"/>
                  </a:lnTo>
                  <a:lnTo>
                    <a:pt x="660" y="127"/>
                  </a:lnTo>
                  <a:lnTo>
                    <a:pt x="660" y="127"/>
                  </a:lnTo>
                  <a:lnTo>
                    <a:pt x="660" y="125"/>
                  </a:lnTo>
                  <a:lnTo>
                    <a:pt x="663" y="125"/>
                  </a:lnTo>
                  <a:lnTo>
                    <a:pt x="666" y="125"/>
                  </a:lnTo>
                  <a:lnTo>
                    <a:pt x="666" y="125"/>
                  </a:lnTo>
                  <a:lnTo>
                    <a:pt x="668" y="125"/>
                  </a:lnTo>
                  <a:lnTo>
                    <a:pt x="671" y="127"/>
                  </a:lnTo>
                  <a:lnTo>
                    <a:pt x="673" y="127"/>
                  </a:lnTo>
                  <a:lnTo>
                    <a:pt x="681" y="130"/>
                  </a:lnTo>
                  <a:lnTo>
                    <a:pt x="681" y="130"/>
                  </a:lnTo>
                  <a:lnTo>
                    <a:pt x="678" y="127"/>
                  </a:lnTo>
                  <a:lnTo>
                    <a:pt x="678" y="127"/>
                  </a:lnTo>
                  <a:lnTo>
                    <a:pt x="676" y="127"/>
                  </a:lnTo>
                  <a:lnTo>
                    <a:pt x="676" y="125"/>
                  </a:lnTo>
                  <a:lnTo>
                    <a:pt x="676" y="122"/>
                  </a:lnTo>
                  <a:lnTo>
                    <a:pt x="676" y="122"/>
                  </a:lnTo>
                  <a:lnTo>
                    <a:pt x="671" y="120"/>
                  </a:lnTo>
                  <a:lnTo>
                    <a:pt x="668" y="117"/>
                  </a:lnTo>
                  <a:lnTo>
                    <a:pt x="668" y="117"/>
                  </a:lnTo>
                  <a:lnTo>
                    <a:pt x="668" y="115"/>
                  </a:lnTo>
                  <a:lnTo>
                    <a:pt x="668" y="115"/>
                  </a:lnTo>
                  <a:lnTo>
                    <a:pt x="673" y="112"/>
                  </a:lnTo>
                  <a:lnTo>
                    <a:pt x="676" y="110"/>
                  </a:lnTo>
                  <a:lnTo>
                    <a:pt x="676" y="110"/>
                  </a:lnTo>
                  <a:lnTo>
                    <a:pt x="676" y="104"/>
                  </a:lnTo>
                  <a:lnTo>
                    <a:pt x="676" y="102"/>
                  </a:lnTo>
                  <a:lnTo>
                    <a:pt x="676" y="99"/>
                  </a:lnTo>
                  <a:lnTo>
                    <a:pt x="676" y="99"/>
                  </a:lnTo>
                  <a:lnTo>
                    <a:pt x="673" y="99"/>
                  </a:lnTo>
                  <a:lnTo>
                    <a:pt x="671" y="99"/>
                  </a:lnTo>
                  <a:lnTo>
                    <a:pt x="666" y="104"/>
                  </a:lnTo>
                  <a:lnTo>
                    <a:pt x="666" y="104"/>
                  </a:lnTo>
                  <a:lnTo>
                    <a:pt x="666" y="107"/>
                  </a:lnTo>
                  <a:lnTo>
                    <a:pt x="666" y="110"/>
                  </a:lnTo>
                  <a:lnTo>
                    <a:pt x="666" y="110"/>
                  </a:lnTo>
                  <a:lnTo>
                    <a:pt x="663" y="110"/>
                  </a:lnTo>
                  <a:lnTo>
                    <a:pt x="660" y="112"/>
                  </a:lnTo>
                  <a:lnTo>
                    <a:pt x="660" y="115"/>
                  </a:lnTo>
                  <a:lnTo>
                    <a:pt x="660" y="115"/>
                  </a:lnTo>
                  <a:lnTo>
                    <a:pt x="660" y="117"/>
                  </a:lnTo>
                  <a:lnTo>
                    <a:pt x="658" y="117"/>
                  </a:lnTo>
                  <a:lnTo>
                    <a:pt x="658" y="115"/>
                  </a:lnTo>
                  <a:lnTo>
                    <a:pt x="655" y="115"/>
                  </a:lnTo>
                  <a:lnTo>
                    <a:pt x="655" y="115"/>
                  </a:lnTo>
                  <a:lnTo>
                    <a:pt x="655" y="112"/>
                  </a:lnTo>
                  <a:lnTo>
                    <a:pt x="655" y="112"/>
                  </a:lnTo>
                  <a:lnTo>
                    <a:pt x="660" y="110"/>
                  </a:lnTo>
                  <a:lnTo>
                    <a:pt x="663" y="107"/>
                  </a:lnTo>
                  <a:lnTo>
                    <a:pt x="663" y="104"/>
                  </a:lnTo>
                  <a:lnTo>
                    <a:pt x="663" y="102"/>
                  </a:lnTo>
                  <a:lnTo>
                    <a:pt x="663" y="99"/>
                  </a:lnTo>
                  <a:lnTo>
                    <a:pt x="663" y="97"/>
                  </a:lnTo>
                  <a:lnTo>
                    <a:pt x="660" y="94"/>
                  </a:lnTo>
                  <a:lnTo>
                    <a:pt x="660" y="94"/>
                  </a:lnTo>
                  <a:lnTo>
                    <a:pt x="660" y="92"/>
                  </a:lnTo>
                  <a:lnTo>
                    <a:pt x="660" y="92"/>
                  </a:lnTo>
                  <a:lnTo>
                    <a:pt x="663" y="87"/>
                  </a:lnTo>
                  <a:lnTo>
                    <a:pt x="663" y="87"/>
                  </a:lnTo>
                  <a:lnTo>
                    <a:pt x="663" y="84"/>
                  </a:lnTo>
                  <a:lnTo>
                    <a:pt x="660" y="87"/>
                  </a:lnTo>
                  <a:lnTo>
                    <a:pt x="660" y="87"/>
                  </a:lnTo>
                  <a:lnTo>
                    <a:pt x="655" y="89"/>
                  </a:lnTo>
                  <a:lnTo>
                    <a:pt x="655" y="94"/>
                  </a:lnTo>
                  <a:lnTo>
                    <a:pt x="653" y="97"/>
                  </a:lnTo>
                  <a:lnTo>
                    <a:pt x="653" y="97"/>
                  </a:lnTo>
                  <a:lnTo>
                    <a:pt x="653" y="99"/>
                  </a:lnTo>
                  <a:lnTo>
                    <a:pt x="653" y="102"/>
                  </a:lnTo>
                  <a:lnTo>
                    <a:pt x="650" y="107"/>
                  </a:lnTo>
                  <a:lnTo>
                    <a:pt x="650" y="110"/>
                  </a:lnTo>
                  <a:close/>
                  <a:moveTo>
                    <a:pt x="46" y="87"/>
                  </a:moveTo>
                  <a:lnTo>
                    <a:pt x="46" y="87"/>
                  </a:lnTo>
                  <a:lnTo>
                    <a:pt x="44" y="84"/>
                  </a:lnTo>
                  <a:lnTo>
                    <a:pt x="44" y="84"/>
                  </a:lnTo>
                  <a:lnTo>
                    <a:pt x="41" y="84"/>
                  </a:lnTo>
                  <a:lnTo>
                    <a:pt x="41" y="84"/>
                  </a:lnTo>
                  <a:lnTo>
                    <a:pt x="44" y="87"/>
                  </a:lnTo>
                  <a:lnTo>
                    <a:pt x="46" y="89"/>
                  </a:lnTo>
                  <a:lnTo>
                    <a:pt x="46" y="87"/>
                  </a:lnTo>
                  <a:close/>
                  <a:moveTo>
                    <a:pt x="668" y="89"/>
                  </a:moveTo>
                  <a:lnTo>
                    <a:pt x="671" y="89"/>
                  </a:lnTo>
                  <a:lnTo>
                    <a:pt x="673" y="87"/>
                  </a:lnTo>
                  <a:lnTo>
                    <a:pt x="673" y="84"/>
                  </a:lnTo>
                  <a:lnTo>
                    <a:pt x="676" y="79"/>
                  </a:lnTo>
                  <a:lnTo>
                    <a:pt x="673" y="76"/>
                  </a:lnTo>
                  <a:lnTo>
                    <a:pt x="673" y="76"/>
                  </a:lnTo>
                  <a:lnTo>
                    <a:pt x="671" y="76"/>
                  </a:lnTo>
                  <a:lnTo>
                    <a:pt x="668" y="79"/>
                  </a:lnTo>
                  <a:lnTo>
                    <a:pt x="666" y="84"/>
                  </a:lnTo>
                  <a:lnTo>
                    <a:pt x="668" y="87"/>
                  </a:lnTo>
                  <a:lnTo>
                    <a:pt x="668" y="89"/>
                  </a:lnTo>
                  <a:close/>
                  <a:moveTo>
                    <a:pt x="609" y="71"/>
                  </a:moveTo>
                  <a:lnTo>
                    <a:pt x="609" y="71"/>
                  </a:lnTo>
                  <a:lnTo>
                    <a:pt x="609" y="71"/>
                  </a:lnTo>
                  <a:lnTo>
                    <a:pt x="607" y="74"/>
                  </a:lnTo>
                  <a:lnTo>
                    <a:pt x="609" y="76"/>
                  </a:lnTo>
                  <a:lnTo>
                    <a:pt x="609" y="74"/>
                  </a:lnTo>
                  <a:lnTo>
                    <a:pt x="609" y="74"/>
                  </a:lnTo>
                  <a:lnTo>
                    <a:pt x="609" y="71"/>
                  </a:lnTo>
                  <a:close/>
                  <a:moveTo>
                    <a:pt x="28" y="79"/>
                  </a:moveTo>
                  <a:lnTo>
                    <a:pt x="26" y="79"/>
                  </a:lnTo>
                  <a:lnTo>
                    <a:pt x="21" y="74"/>
                  </a:lnTo>
                  <a:lnTo>
                    <a:pt x="21" y="74"/>
                  </a:lnTo>
                  <a:lnTo>
                    <a:pt x="21" y="74"/>
                  </a:lnTo>
                  <a:lnTo>
                    <a:pt x="18" y="71"/>
                  </a:lnTo>
                  <a:lnTo>
                    <a:pt x="16" y="69"/>
                  </a:lnTo>
                  <a:lnTo>
                    <a:pt x="13" y="69"/>
                  </a:lnTo>
                  <a:lnTo>
                    <a:pt x="13" y="71"/>
                  </a:lnTo>
                  <a:lnTo>
                    <a:pt x="13" y="71"/>
                  </a:lnTo>
                  <a:lnTo>
                    <a:pt x="13" y="71"/>
                  </a:lnTo>
                  <a:lnTo>
                    <a:pt x="13" y="74"/>
                  </a:lnTo>
                  <a:lnTo>
                    <a:pt x="16" y="74"/>
                  </a:lnTo>
                  <a:lnTo>
                    <a:pt x="18" y="76"/>
                  </a:lnTo>
                  <a:lnTo>
                    <a:pt x="18" y="76"/>
                  </a:lnTo>
                  <a:lnTo>
                    <a:pt x="23" y="79"/>
                  </a:lnTo>
                  <a:lnTo>
                    <a:pt x="26" y="82"/>
                  </a:lnTo>
                  <a:lnTo>
                    <a:pt x="26" y="82"/>
                  </a:lnTo>
                  <a:lnTo>
                    <a:pt x="28" y="82"/>
                  </a:lnTo>
                  <a:lnTo>
                    <a:pt x="28" y="79"/>
                  </a:lnTo>
                  <a:lnTo>
                    <a:pt x="28" y="79"/>
                  </a:lnTo>
                  <a:close/>
                  <a:moveTo>
                    <a:pt x="278" y="69"/>
                  </a:moveTo>
                  <a:lnTo>
                    <a:pt x="278" y="66"/>
                  </a:lnTo>
                  <a:lnTo>
                    <a:pt x="276" y="66"/>
                  </a:lnTo>
                  <a:lnTo>
                    <a:pt x="276" y="69"/>
                  </a:lnTo>
                  <a:lnTo>
                    <a:pt x="276" y="71"/>
                  </a:lnTo>
                  <a:lnTo>
                    <a:pt x="278" y="69"/>
                  </a:lnTo>
                  <a:close/>
                  <a:moveTo>
                    <a:pt x="212" y="66"/>
                  </a:moveTo>
                  <a:lnTo>
                    <a:pt x="212" y="69"/>
                  </a:lnTo>
                  <a:lnTo>
                    <a:pt x="212" y="69"/>
                  </a:lnTo>
                  <a:lnTo>
                    <a:pt x="214" y="71"/>
                  </a:lnTo>
                  <a:lnTo>
                    <a:pt x="214" y="69"/>
                  </a:lnTo>
                  <a:lnTo>
                    <a:pt x="214" y="69"/>
                  </a:lnTo>
                  <a:lnTo>
                    <a:pt x="214" y="66"/>
                  </a:lnTo>
                  <a:lnTo>
                    <a:pt x="214" y="66"/>
                  </a:lnTo>
                  <a:lnTo>
                    <a:pt x="214" y="66"/>
                  </a:lnTo>
                  <a:lnTo>
                    <a:pt x="214" y="66"/>
                  </a:lnTo>
                  <a:lnTo>
                    <a:pt x="214" y="66"/>
                  </a:lnTo>
                  <a:lnTo>
                    <a:pt x="212" y="66"/>
                  </a:lnTo>
                  <a:lnTo>
                    <a:pt x="212" y="66"/>
                  </a:lnTo>
                  <a:lnTo>
                    <a:pt x="212" y="66"/>
                  </a:lnTo>
                  <a:close/>
                  <a:moveTo>
                    <a:pt x="225" y="64"/>
                  </a:moveTo>
                  <a:lnTo>
                    <a:pt x="225" y="64"/>
                  </a:lnTo>
                  <a:lnTo>
                    <a:pt x="225" y="61"/>
                  </a:lnTo>
                  <a:lnTo>
                    <a:pt x="222" y="61"/>
                  </a:lnTo>
                  <a:lnTo>
                    <a:pt x="222" y="61"/>
                  </a:lnTo>
                  <a:lnTo>
                    <a:pt x="222" y="64"/>
                  </a:lnTo>
                  <a:lnTo>
                    <a:pt x="225" y="64"/>
                  </a:lnTo>
                  <a:close/>
                  <a:moveTo>
                    <a:pt x="451" y="59"/>
                  </a:moveTo>
                  <a:lnTo>
                    <a:pt x="451" y="59"/>
                  </a:lnTo>
                  <a:lnTo>
                    <a:pt x="451" y="61"/>
                  </a:lnTo>
                  <a:lnTo>
                    <a:pt x="454" y="61"/>
                  </a:lnTo>
                  <a:lnTo>
                    <a:pt x="454" y="59"/>
                  </a:lnTo>
                  <a:lnTo>
                    <a:pt x="451" y="56"/>
                  </a:lnTo>
                  <a:lnTo>
                    <a:pt x="451" y="56"/>
                  </a:lnTo>
                  <a:lnTo>
                    <a:pt x="451" y="59"/>
                  </a:lnTo>
                  <a:close/>
                  <a:moveTo>
                    <a:pt x="609" y="54"/>
                  </a:moveTo>
                  <a:lnTo>
                    <a:pt x="609" y="54"/>
                  </a:lnTo>
                  <a:lnTo>
                    <a:pt x="609" y="56"/>
                  </a:lnTo>
                  <a:lnTo>
                    <a:pt x="612" y="59"/>
                  </a:lnTo>
                  <a:lnTo>
                    <a:pt x="615" y="56"/>
                  </a:lnTo>
                  <a:lnTo>
                    <a:pt x="612" y="56"/>
                  </a:lnTo>
                  <a:lnTo>
                    <a:pt x="612" y="54"/>
                  </a:lnTo>
                  <a:lnTo>
                    <a:pt x="612" y="51"/>
                  </a:lnTo>
                  <a:lnTo>
                    <a:pt x="609" y="51"/>
                  </a:lnTo>
                  <a:lnTo>
                    <a:pt x="609" y="51"/>
                  </a:lnTo>
                  <a:lnTo>
                    <a:pt x="609" y="54"/>
                  </a:lnTo>
                  <a:lnTo>
                    <a:pt x="609" y="54"/>
                  </a:lnTo>
                  <a:close/>
                  <a:moveTo>
                    <a:pt x="635" y="48"/>
                  </a:moveTo>
                  <a:lnTo>
                    <a:pt x="635" y="48"/>
                  </a:lnTo>
                  <a:lnTo>
                    <a:pt x="635" y="48"/>
                  </a:lnTo>
                  <a:lnTo>
                    <a:pt x="637" y="48"/>
                  </a:lnTo>
                  <a:lnTo>
                    <a:pt x="637" y="48"/>
                  </a:lnTo>
                  <a:lnTo>
                    <a:pt x="637" y="48"/>
                  </a:lnTo>
                  <a:lnTo>
                    <a:pt x="637" y="48"/>
                  </a:lnTo>
                  <a:lnTo>
                    <a:pt x="635" y="48"/>
                  </a:lnTo>
                  <a:lnTo>
                    <a:pt x="635" y="48"/>
                  </a:lnTo>
                  <a:close/>
                  <a:moveTo>
                    <a:pt x="635" y="48"/>
                  </a:moveTo>
                  <a:lnTo>
                    <a:pt x="635" y="46"/>
                  </a:lnTo>
                  <a:lnTo>
                    <a:pt x="635" y="46"/>
                  </a:lnTo>
                  <a:lnTo>
                    <a:pt x="632" y="43"/>
                  </a:lnTo>
                  <a:lnTo>
                    <a:pt x="632" y="43"/>
                  </a:lnTo>
                  <a:lnTo>
                    <a:pt x="632" y="46"/>
                  </a:lnTo>
                  <a:lnTo>
                    <a:pt x="635" y="48"/>
                  </a:lnTo>
                  <a:close/>
                  <a:moveTo>
                    <a:pt x="457" y="43"/>
                  </a:moveTo>
                  <a:lnTo>
                    <a:pt x="457" y="43"/>
                  </a:lnTo>
                  <a:lnTo>
                    <a:pt x="457" y="41"/>
                  </a:lnTo>
                  <a:lnTo>
                    <a:pt x="454" y="41"/>
                  </a:lnTo>
                  <a:lnTo>
                    <a:pt x="451" y="41"/>
                  </a:lnTo>
                  <a:lnTo>
                    <a:pt x="451" y="41"/>
                  </a:lnTo>
                  <a:lnTo>
                    <a:pt x="454" y="43"/>
                  </a:lnTo>
                  <a:lnTo>
                    <a:pt x="457" y="43"/>
                  </a:lnTo>
                  <a:close/>
                  <a:moveTo>
                    <a:pt x="260" y="46"/>
                  </a:moveTo>
                  <a:lnTo>
                    <a:pt x="260" y="48"/>
                  </a:lnTo>
                  <a:lnTo>
                    <a:pt x="263" y="48"/>
                  </a:lnTo>
                  <a:lnTo>
                    <a:pt x="263" y="48"/>
                  </a:lnTo>
                  <a:lnTo>
                    <a:pt x="263" y="48"/>
                  </a:lnTo>
                  <a:lnTo>
                    <a:pt x="263" y="48"/>
                  </a:lnTo>
                  <a:lnTo>
                    <a:pt x="260" y="51"/>
                  </a:lnTo>
                  <a:lnTo>
                    <a:pt x="263" y="51"/>
                  </a:lnTo>
                  <a:lnTo>
                    <a:pt x="265" y="51"/>
                  </a:lnTo>
                  <a:lnTo>
                    <a:pt x="265" y="48"/>
                  </a:lnTo>
                  <a:lnTo>
                    <a:pt x="265" y="46"/>
                  </a:lnTo>
                  <a:lnTo>
                    <a:pt x="265" y="43"/>
                  </a:lnTo>
                  <a:lnTo>
                    <a:pt x="263" y="41"/>
                  </a:lnTo>
                  <a:lnTo>
                    <a:pt x="263" y="38"/>
                  </a:lnTo>
                  <a:lnTo>
                    <a:pt x="263" y="41"/>
                  </a:lnTo>
                  <a:lnTo>
                    <a:pt x="258" y="43"/>
                  </a:lnTo>
                  <a:lnTo>
                    <a:pt x="258" y="43"/>
                  </a:lnTo>
                  <a:lnTo>
                    <a:pt x="260" y="46"/>
                  </a:lnTo>
                  <a:close/>
                  <a:moveTo>
                    <a:pt x="278" y="127"/>
                  </a:moveTo>
                  <a:lnTo>
                    <a:pt x="281" y="130"/>
                  </a:lnTo>
                  <a:lnTo>
                    <a:pt x="283" y="132"/>
                  </a:lnTo>
                  <a:lnTo>
                    <a:pt x="283" y="132"/>
                  </a:lnTo>
                  <a:lnTo>
                    <a:pt x="286" y="132"/>
                  </a:lnTo>
                  <a:lnTo>
                    <a:pt x="286" y="135"/>
                  </a:lnTo>
                  <a:lnTo>
                    <a:pt x="286" y="135"/>
                  </a:lnTo>
                  <a:lnTo>
                    <a:pt x="283" y="135"/>
                  </a:lnTo>
                  <a:lnTo>
                    <a:pt x="283" y="138"/>
                  </a:lnTo>
                  <a:lnTo>
                    <a:pt x="283" y="140"/>
                  </a:lnTo>
                  <a:lnTo>
                    <a:pt x="283" y="140"/>
                  </a:lnTo>
                  <a:lnTo>
                    <a:pt x="283" y="145"/>
                  </a:lnTo>
                  <a:lnTo>
                    <a:pt x="283" y="145"/>
                  </a:lnTo>
                  <a:lnTo>
                    <a:pt x="283" y="145"/>
                  </a:lnTo>
                  <a:lnTo>
                    <a:pt x="286" y="148"/>
                  </a:lnTo>
                  <a:lnTo>
                    <a:pt x="288" y="150"/>
                  </a:lnTo>
                  <a:lnTo>
                    <a:pt x="288" y="150"/>
                  </a:lnTo>
                  <a:lnTo>
                    <a:pt x="286" y="150"/>
                  </a:lnTo>
                  <a:lnTo>
                    <a:pt x="286" y="153"/>
                  </a:lnTo>
                  <a:lnTo>
                    <a:pt x="286" y="153"/>
                  </a:lnTo>
                  <a:lnTo>
                    <a:pt x="286" y="155"/>
                  </a:lnTo>
                  <a:lnTo>
                    <a:pt x="286" y="155"/>
                  </a:lnTo>
                  <a:lnTo>
                    <a:pt x="288" y="155"/>
                  </a:lnTo>
                  <a:lnTo>
                    <a:pt x="293" y="155"/>
                  </a:lnTo>
                  <a:lnTo>
                    <a:pt x="296" y="158"/>
                  </a:lnTo>
                  <a:lnTo>
                    <a:pt x="299" y="160"/>
                  </a:lnTo>
                  <a:lnTo>
                    <a:pt x="299" y="163"/>
                  </a:lnTo>
                  <a:lnTo>
                    <a:pt x="301" y="163"/>
                  </a:lnTo>
                  <a:lnTo>
                    <a:pt x="301" y="168"/>
                  </a:lnTo>
                  <a:lnTo>
                    <a:pt x="301" y="171"/>
                  </a:lnTo>
                  <a:lnTo>
                    <a:pt x="301" y="173"/>
                  </a:lnTo>
                  <a:lnTo>
                    <a:pt x="299" y="176"/>
                  </a:lnTo>
                  <a:lnTo>
                    <a:pt x="299" y="178"/>
                  </a:lnTo>
                  <a:lnTo>
                    <a:pt x="301" y="178"/>
                  </a:lnTo>
                  <a:lnTo>
                    <a:pt x="301" y="181"/>
                  </a:lnTo>
                  <a:lnTo>
                    <a:pt x="301" y="186"/>
                  </a:lnTo>
                  <a:lnTo>
                    <a:pt x="304" y="196"/>
                  </a:lnTo>
                  <a:lnTo>
                    <a:pt x="304" y="201"/>
                  </a:lnTo>
                  <a:lnTo>
                    <a:pt x="304" y="204"/>
                  </a:lnTo>
                  <a:lnTo>
                    <a:pt x="306" y="204"/>
                  </a:lnTo>
                  <a:lnTo>
                    <a:pt x="306" y="201"/>
                  </a:lnTo>
                  <a:lnTo>
                    <a:pt x="306" y="201"/>
                  </a:lnTo>
                  <a:lnTo>
                    <a:pt x="311" y="201"/>
                  </a:lnTo>
                  <a:lnTo>
                    <a:pt x="314" y="204"/>
                  </a:lnTo>
                  <a:lnTo>
                    <a:pt x="314" y="204"/>
                  </a:lnTo>
                  <a:lnTo>
                    <a:pt x="314" y="204"/>
                  </a:lnTo>
                  <a:lnTo>
                    <a:pt x="316" y="201"/>
                  </a:lnTo>
                  <a:lnTo>
                    <a:pt x="316" y="201"/>
                  </a:lnTo>
                  <a:lnTo>
                    <a:pt x="316" y="201"/>
                  </a:lnTo>
                  <a:lnTo>
                    <a:pt x="316" y="204"/>
                  </a:lnTo>
                  <a:lnTo>
                    <a:pt x="316" y="204"/>
                  </a:lnTo>
                  <a:lnTo>
                    <a:pt x="319" y="204"/>
                  </a:lnTo>
                  <a:lnTo>
                    <a:pt x="321" y="204"/>
                  </a:lnTo>
                  <a:lnTo>
                    <a:pt x="324" y="201"/>
                  </a:lnTo>
                  <a:lnTo>
                    <a:pt x="327" y="201"/>
                  </a:lnTo>
                  <a:lnTo>
                    <a:pt x="329" y="204"/>
                  </a:lnTo>
                  <a:lnTo>
                    <a:pt x="332" y="204"/>
                  </a:lnTo>
                  <a:lnTo>
                    <a:pt x="332" y="201"/>
                  </a:lnTo>
                  <a:lnTo>
                    <a:pt x="334" y="201"/>
                  </a:lnTo>
                  <a:lnTo>
                    <a:pt x="334" y="201"/>
                  </a:lnTo>
                  <a:lnTo>
                    <a:pt x="337" y="204"/>
                  </a:lnTo>
                  <a:lnTo>
                    <a:pt x="337" y="204"/>
                  </a:lnTo>
                  <a:lnTo>
                    <a:pt x="337" y="211"/>
                  </a:lnTo>
                  <a:lnTo>
                    <a:pt x="337" y="214"/>
                  </a:lnTo>
                  <a:lnTo>
                    <a:pt x="334" y="216"/>
                  </a:lnTo>
                  <a:lnTo>
                    <a:pt x="337" y="216"/>
                  </a:lnTo>
                  <a:lnTo>
                    <a:pt x="337" y="216"/>
                  </a:lnTo>
                  <a:lnTo>
                    <a:pt x="339" y="216"/>
                  </a:lnTo>
                  <a:lnTo>
                    <a:pt x="342" y="211"/>
                  </a:lnTo>
                  <a:lnTo>
                    <a:pt x="344" y="211"/>
                  </a:lnTo>
                  <a:lnTo>
                    <a:pt x="347" y="211"/>
                  </a:lnTo>
                  <a:lnTo>
                    <a:pt x="352" y="211"/>
                  </a:lnTo>
                  <a:lnTo>
                    <a:pt x="355" y="211"/>
                  </a:lnTo>
                  <a:lnTo>
                    <a:pt x="360" y="206"/>
                  </a:lnTo>
                  <a:lnTo>
                    <a:pt x="360" y="201"/>
                  </a:lnTo>
                  <a:lnTo>
                    <a:pt x="367" y="209"/>
                  </a:lnTo>
                  <a:lnTo>
                    <a:pt x="367" y="209"/>
                  </a:lnTo>
                  <a:lnTo>
                    <a:pt x="367" y="209"/>
                  </a:lnTo>
                  <a:lnTo>
                    <a:pt x="370" y="206"/>
                  </a:lnTo>
                  <a:lnTo>
                    <a:pt x="370" y="206"/>
                  </a:lnTo>
                  <a:lnTo>
                    <a:pt x="372" y="209"/>
                  </a:lnTo>
                  <a:lnTo>
                    <a:pt x="372" y="209"/>
                  </a:lnTo>
                  <a:lnTo>
                    <a:pt x="372" y="211"/>
                  </a:lnTo>
                  <a:lnTo>
                    <a:pt x="372" y="214"/>
                  </a:lnTo>
                  <a:lnTo>
                    <a:pt x="372" y="214"/>
                  </a:lnTo>
                  <a:lnTo>
                    <a:pt x="375" y="214"/>
                  </a:lnTo>
                  <a:lnTo>
                    <a:pt x="378" y="211"/>
                  </a:lnTo>
                  <a:lnTo>
                    <a:pt x="380" y="209"/>
                  </a:lnTo>
                  <a:lnTo>
                    <a:pt x="383" y="209"/>
                  </a:lnTo>
                  <a:lnTo>
                    <a:pt x="383" y="211"/>
                  </a:lnTo>
                  <a:lnTo>
                    <a:pt x="383" y="211"/>
                  </a:lnTo>
                  <a:lnTo>
                    <a:pt x="385" y="211"/>
                  </a:lnTo>
                  <a:lnTo>
                    <a:pt x="385" y="211"/>
                  </a:lnTo>
                  <a:lnTo>
                    <a:pt x="385" y="209"/>
                  </a:lnTo>
                  <a:lnTo>
                    <a:pt x="385" y="211"/>
                  </a:lnTo>
                  <a:lnTo>
                    <a:pt x="385" y="211"/>
                  </a:lnTo>
                  <a:lnTo>
                    <a:pt x="385" y="214"/>
                  </a:lnTo>
                  <a:lnTo>
                    <a:pt x="388" y="214"/>
                  </a:lnTo>
                  <a:lnTo>
                    <a:pt x="388" y="214"/>
                  </a:lnTo>
                  <a:lnTo>
                    <a:pt x="390" y="211"/>
                  </a:lnTo>
                  <a:lnTo>
                    <a:pt x="390" y="214"/>
                  </a:lnTo>
                  <a:lnTo>
                    <a:pt x="390" y="219"/>
                  </a:lnTo>
                  <a:lnTo>
                    <a:pt x="390" y="229"/>
                  </a:lnTo>
                  <a:lnTo>
                    <a:pt x="393" y="229"/>
                  </a:lnTo>
                  <a:lnTo>
                    <a:pt x="393" y="229"/>
                  </a:lnTo>
                  <a:lnTo>
                    <a:pt x="403" y="224"/>
                  </a:lnTo>
                  <a:lnTo>
                    <a:pt x="418" y="216"/>
                  </a:lnTo>
                  <a:lnTo>
                    <a:pt x="418" y="214"/>
                  </a:lnTo>
                  <a:lnTo>
                    <a:pt x="421" y="214"/>
                  </a:lnTo>
                  <a:lnTo>
                    <a:pt x="421" y="211"/>
                  </a:lnTo>
                  <a:lnTo>
                    <a:pt x="423" y="209"/>
                  </a:lnTo>
                  <a:lnTo>
                    <a:pt x="423" y="206"/>
                  </a:lnTo>
                  <a:lnTo>
                    <a:pt x="423" y="206"/>
                  </a:lnTo>
                  <a:lnTo>
                    <a:pt x="426" y="206"/>
                  </a:lnTo>
                  <a:lnTo>
                    <a:pt x="423" y="204"/>
                  </a:lnTo>
                  <a:lnTo>
                    <a:pt x="423" y="204"/>
                  </a:lnTo>
                  <a:lnTo>
                    <a:pt x="423" y="201"/>
                  </a:lnTo>
                  <a:lnTo>
                    <a:pt x="423" y="204"/>
                  </a:lnTo>
                  <a:lnTo>
                    <a:pt x="426" y="201"/>
                  </a:lnTo>
                  <a:lnTo>
                    <a:pt x="426" y="201"/>
                  </a:lnTo>
                  <a:lnTo>
                    <a:pt x="426" y="199"/>
                  </a:lnTo>
                  <a:lnTo>
                    <a:pt x="428" y="196"/>
                  </a:lnTo>
                  <a:lnTo>
                    <a:pt x="428" y="194"/>
                  </a:lnTo>
                  <a:lnTo>
                    <a:pt x="426" y="194"/>
                  </a:lnTo>
                  <a:lnTo>
                    <a:pt x="426" y="194"/>
                  </a:lnTo>
                  <a:lnTo>
                    <a:pt x="428" y="194"/>
                  </a:lnTo>
                  <a:lnTo>
                    <a:pt x="428" y="194"/>
                  </a:lnTo>
                  <a:lnTo>
                    <a:pt x="428" y="194"/>
                  </a:lnTo>
                  <a:lnTo>
                    <a:pt x="431" y="191"/>
                  </a:lnTo>
                  <a:lnTo>
                    <a:pt x="431" y="191"/>
                  </a:lnTo>
                  <a:lnTo>
                    <a:pt x="431" y="188"/>
                  </a:lnTo>
                  <a:lnTo>
                    <a:pt x="431" y="186"/>
                  </a:lnTo>
                  <a:lnTo>
                    <a:pt x="428" y="186"/>
                  </a:lnTo>
                  <a:lnTo>
                    <a:pt x="428" y="183"/>
                  </a:lnTo>
                  <a:lnTo>
                    <a:pt x="426" y="183"/>
                  </a:lnTo>
                  <a:lnTo>
                    <a:pt x="428" y="181"/>
                  </a:lnTo>
                  <a:lnTo>
                    <a:pt x="428" y="178"/>
                  </a:lnTo>
                  <a:lnTo>
                    <a:pt x="428" y="178"/>
                  </a:lnTo>
                  <a:lnTo>
                    <a:pt x="428" y="176"/>
                  </a:lnTo>
                  <a:lnTo>
                    <a:pt x="428" y="176"/>
                  </a:lnTo>
                  <a:lnTo>
                    <a:pt x="426" y="176"/>
                  </a:lnTo>
                  <a:lnTo>
                    <a:pt x="426" y="176"/>
                  </a:lnTo>
                  <a:lnTo>
                    <a:pt x="428" y="173"/>
                  </a:lnTo>
                  <a:lnTo>
                    <a:pt x="431" y="173"/>
                  </a:lnTo>
                  <a:lnTo>
                    <a:pt x="431" y="171"/>
                  </a:lnTo>
                  <a:lnTo>
                    <a:pt x="431" y="171"/>
                  </a:lnTo>
                  <a:lnTo>
                    <a:pt x="431" y="168"/>
                  </a:lnTo>
                  <a:lnTo>
                    <a:pt x="434" y="168"/>
                  </a:lnTo>
                  <a:lnTo>
                    <a:pt x="436" y="166"/>
                  </a:lnTo>
                  <a:lnTo>
                    <a:pt x="436" y="166"/>
                  </a:lnTo>
                  <a:lnTo>
                    <a:pt x="436" y="163"/>
                  </a:lnTo>
                  <a:lnTo>
                    <a:pt x="436" y="163"/>
                  </a:lnTo>
                  <a:lnTo>
                    <a:pt x="436" y="160"/>
                  </a:lnTo>
                  <a:lnTo>
                    <a:pt x="436" y="160"/>
                  </a:lnTo>
                  <a:lnTo>
                    <a:pt x="436" y="158"/>
                  </a:lnTo>
                  <a:lnTo>
                    <a:pt x="436" y="160"/>
                  </a:lnTo>
                  <a:lnTo>
                    <a:pt x="436" y="163"/>
                  </a:lnTo>
                  <a:lnTo>
                    <a:pt x="439" y="163"/>
                  </a:lnTo>
                  <a:lnTo>
                    <a:pt x="439" y="163"/>
                  </a:lnTo>
                  <a:lnTo>
                    <a:pt x="441" y="163"/>
                  </a:lnTo>
                  <a:lnTo>
                    <a:pt x="441" y="160"/>
                  </a:lnTo>
                  <a:lnTo>
                    <a:pt x="444" y="158"/>
                  </a:lnTo>
                  <a:lnTo>
                    <a:pt x="446" y="155"/>
                  </a:lnTo>
                  <a:lnTo>
                    <a:pt x="449" y="155"/>
                  </a:lnTo>
                  <a:lnTo>
                    <a:pt x="451" y="153"/>
                  </a:lnTo>
                  <a:lnTo>
                    <a:pt x="451" y="153"/>
                  </a:lnTo>
                  <a:lnTo>
                    <a:pt x="451" y="153"/>
                  </a:lnTo>
                  <a:lnTo>
                    <a:pt x="451" y="150"/>
                  </a:lnTo>
                  <a:lnTo>
                    <a:pt x="451" y="148"/>
                  </a:lnTo>
                  <a:lnTo>
                    <a:pt x="451" y="143"/>
                  </a:lnTo>
                  <a:lnTo>
                    <a:pt x="451" y="140"/>
                  </a:lnTo>
                  <a:lnTo>
                    <a:pt x="451" y="130"/>
                  </a:lnTo>
                  <a:lnTo>
                    <a:pt x="451" y="127"/>
                  </a:lnTo>
                  <a:lnTo>
                    <a:pt x="457" y="120"/>
                  </a:lnTo>
                  <a:lnTo>
                    <a:pt x="457" y="117"/>
                  </a:lnTo>
                  <a:lnTo>
                    <a:pt x="459" y="117"/>
                  </a:lnTo>
                  <a:lnTo>
                    <a:pt x="459" y="117"/>
                  </a:lnTo>
                  <a:lnTo>
                    <a:pt x="462" y="115"/>
                  </a:lnTo>
                  <a:lnTo>
                    <a:pt x="462" y="112"/>
                  </a:lnTo>
                  <a:lnTo>
                    <a:pt x="459" y="112"/>
                  </a:lnTo>
                  <a:lnTo>
                    <a:pt x="459" y="110"/>
                  </a:lnTo>
                  <a:lnTo>
                    <a:pt x="462" y="112"/>
                  </a:lnTo>
                  <a:lnTo>
                    <a:pt x="464" y="115"/>
                  </a:lnTo>
                  <a:lnTo>
                    <a:pt x="464" y="115"/>
                  </a:lnTo>
                  <a:lnTo>
                    <a:pt x="467" y="115"/>
                  </a:lnTo>
                  <a:lnTo>
                    <a:pt x="472" y="117"/>
                  </a:lnTo>
                  <a:lnTo>
                    <a:pt x="477" y="117"/>
                  </a:lnTo>
                  <a:lnTo>
                    <a:pt x="479" y="115"/>
                  </a:lnTo>
                  <a:lnTo>
                    <a:pt x="482" y="112"/>
                  </a:lnTo>
                  <a:lnTo>
                    <a:pt x="479" y="112"/>
                  </a:lnTo>
                  <a:lnTo>
                    <a:pt x="477" y="110"/>
                  </a:lnTo>
                  <a:lnTo>
                    <a:pt x="474" y="104"/>
                  </a:lnTo>
                  <a:lnTo>
                    <a:pt x="469" y="102"/>
                  </a:lnTo>
                  <a:lnTo>
                    <a:pt x="464" y="97"/>
                  </a:lnTo>
                  <a:lnTo>
                    <a:pt x="462" y="97"/>
                  </a:lnTo>
                  <a:lnTo>
                    <a:pt x="459" y="92"/>
                  </a:lnTo>
                  <a:lnTo>
                    <a:pt x="459" y="89"/>
                  </a:lnTo>
                  <a:lnTo>
                    <a:pt x="457" y="89"/>
                  </a:lnTo>
                  <a:lnTo>
                    <a:pt x="457" y="89"/>
                  </a:lnTo>
                  <a:lnTo>
                    <a:pt x="459" y="89"/>
                  </a:lnTo>
                  <a:lnTo>
                    <a:pt x="459" y="87"/>
                  </a:lnTo>
                  <a:lnTo>
                    <a:pt x="459" y="87"/>
                  </a:lnTo>
                  <a:lnTo>
                    <a:pt x="462" y="84"/>
                  </a:lnTo>
                  <a:lnTo>
                    <a:pt x="462" y="84"/>
                  </a:lnTo>
                  <a:lnTo>
                    <a:pt x="462" y="82"/>
                  </a:lnTo>
                  <a:lnTo>
                    <a:pt x="462" y="82"/>
                  </a:lnTo>
                  <a:lnTo>
                    <a:pt x="459" y="76"/>
                  </a:lnTo>
                  <a:lnTo>
                    <a:pt x="457" y="74"/>
                  </a:lnTo>
                  <a:lnTo>
                    <a:pt x="457" y="74"/>
                  </a:lnTo>
                  <a:lnTo>
                    <a:pt x="454" y="71"/>
                  </a:lnTo>
                  <a:lnTo>
                    <a:pt x="454" y="71"/>
                  </a:lnTo>
                  <a:lnTo>
                    <a:pt x="454" y="71"/>
                  </a:lnTo>
                  <a:lnTo>
                    <a:pt x="454" y="71"/>
                  </a:lnTo>
                  <a:lnTo>
                    <a:pt x="454" y="69"/>
                  </a:lnTo>
                  <a:lnTo>
                    <a:pt x="454" y="69"/>
                  </a:lnTo>
                  <a:lnTo>
                    <a:pt x="451" y="69"/>
                  </a:lnTo>
                  <a:lnTo>
                    <a:pt x="454" y="69"/>
                  </a:lnTo>
                  <a:lnTo>
                    <a:pt x="451" y="66"/>
                  </a:lnTo>
                  <a:lnTo>
                    <a:pt x="451" y="66"/>
                  </a:lnTo>
                  <a:lnTo>
                    <a:pt x="451" y="64"/>
                  </a:lnTo>
                  <a:lnTo>
                    <a:pt x="449" y="64"/>
                  </a:lnTo>
                  <a:lnTo>
                    <a:pt x="449" y="64"/>
                  </a:lnTo>
                  <a:lnTo>
                    <a:pt x="446" y="64"/>
                  </a:lnTo>
                  <a:lnTo>
                    <a:pt x="446" y="61"/>
                  </a:lnTo>
                  <a:lnTo>
                    <a:pt x="446" y="59"/>
                  </a:lnTo>
                  <a:lnTo>
                    <a:pt x="446" y="56"/>
                  </a:lnTo>
                  <a:lnTo>
                    <a:pt x="444" y="54"/>
                  </a:lnTo>
                  <a:lnTo>
                    <a:pt x="441" y="54"/>
                  </a:lnTo>
                  <a:lnTo>
                    <a:pt x="441" y="54"/>
                  </a:lnTo>
                  <a:lnTo>
                    <a:pt x="444" y="54"/>
                  </a:lnTo>
                  <a:lnTo>
                    <a:pt x="446" y="54"/>
                  </a:lnTo>
                  <a:lnTo>
                    <a:pt x="449" y="54"/>
                  </a:lnTo>
                  <a:lnTo>
                    <a:pt x="449" y="51"/>
                  </a:lnTo>
                  <a:lnTo>
                    <a:pt x="449" y="51"/>
                  </a:lnTo>
                  <a:lnTo>
                    <a:pt x="451" y="51"/>
                  </a:lnTo>
                  <a:lnTo>
                    <a:pt x="451" y="54"/>
                  </a:lnTo>
                  <a:lnTo>
                    <a:pt x="454" y="51"/>
                  </a:lnTo>
                  <a:lnTo>
                    <a:pt x="454" y="51"/>
                  </a:lnTo>
                  <a:lnTo>
                    <a:pt x="454" y="51"/>
                  </a:lnTo>
                  <a:lnTo>
                    <a:pt x="454" y="48"/>
                  </a:lnTo>
                  <a:lnTo>
                    <a:pt x="454" y="48"/>
                  </a:lnTo>
                  <a:lnTo>
                    <a:pt x="451" y="46"/>
                  </a:lnTo>
                  <a:lnTo>
                    <a:pt x="451" y="46"/>
                  </a:lnTo>
                  <a:lnTo>
                    <a:pt x="451" y="43"/>
                  </a:lnTo>
                  <a:lnTo>
                    <a:pt x="449" y="43"/>
                  </a:lnTo>
                  <a:lnTo>
                    <a:pt x="449" y="41"/>
                  </a:lnTo>
                  <a:lnTo>
                    <a:pt x="451" y="41"/>
                  </a:lnTo>
                  <a:lnTo>
                    <a:pt x="451" y="41"/>
                  </a:lnTo>
                  <a:lnTo>
                    <a:pt x="449" y="41"/>
                  </a:lnTo>
                  <a:lnTo>
                    <a:pt x="449" y="41"/>
                  </a:lnTo>
                  <a:lnTo>
                    <a:pt x="444" y="38"/>
                  </a:lnTo>
                  <a:lnTo>
                    <a:pt x="441" y="36"/>
                  </a:lnTo>
                  <a:lnTo>
                    <a:pt x="436" y="36"/>
                  </a:lnTo>
                  <a:lnTo>
                    <a:pt x="434" y="36"/>
                  </a:lnTo>
                  <a:lnTo>
                    <a:pt x="431" y="36"/>
                  </a:lnTo>
                  <a:lnTo>
                    <a:pt x="431" y="36"/>
                  </a:lnTo>
                  <a:lnTo>
                    <a:pt x="431" y="36"/>
                  </a:lnTo>
                  <a:lnTo>
                    <a:pt x="428" y="36"/>
                  </a:lnTo>
                  <a:lnTo>
                    <a:pt x="426" y="38"/>
                  </a:lnTo>
                  <a:lnTo>
                    <a:pt x="426" y="36"/>
                  </a:lnTo>
                  <a:lnTo>
                    <a:pt x="426" y="36"/>
                  </a:lnTo>
                  <a:lnTo>
                    <a:pt x="423" y="36"/>
                  </a:lnTo>
                  <a:lnTo>
                    <a:pt x="421" y="36"/>
                  </a:lnTo>
                  <a:lnTo>
                    <a:pt x="418" y="38"/>
                  </a:lnTo>
                  <a:lnTo>
                    <a:pt x="416" y="36"/>
                  </a:lnTo>
                  <a:lnTo>
                    <a:pt x="416" y="36"/>
                  </a:lnTo>
                  <a:lnTo>
                    <a:pt x="416" y="36"/>
                  </a:lnTo>
                  <a:lnTo>
                    <a:pt x="413" y="38"/>
                  </a:lnTo>
                  <a:lnTo>
                    <a:pt x="413" y="41"/>
                  </a:lnTo>
                  <a:lnTo>
                    <a:pt x="411" y="43"/>
                  </a:lnTo>
                  <a:lnTo>
                    <a:pt x="411" y="46"/>
                  </a:lnTo>
                  <a:lnTo>
                    <a:pt x="411" y="46"/>
                  </a:lnTo>
                  <a:lnTo>
                    <a:pt x="411" y="51"/>
                  </a:lnTo>
                  <a:lnTo>
                    <a:pt x="411" y="54"/>
                  </a:lnTo>
                  <a:lnTo>
                    <a:pt x="411" y="56"/>
                  </a:lnTo>
                  <a:lnTo>
                    <a:pt x="411" y="56"/>
                  </a:lnTo>
                  <a:lnTo>
                    <a:pt x="411" y="59"/>
                  </a:lnTo>
                  <a:lnTo>
                    <a:pt x="411" y="59"/>
                  </a:lnTo>
                  <a:lnTo>
                    <a:pt x="411" y="61"/>
                  </a:lnTo>
                  <a:lnTo>
                    <a:pt x="411" y="64"/>
                  </a:lnTo>
                  <a:lnTo>
                    <a:pt x="411" y="64"/>
                  </a:lnTo>
                  <a:lnTo>
                    <a:pt x="408" y="66"/>
                  </a:lnTo>
                  <a:lnTo>
                    <a:pt x="408" y="66"/>
                  </a:lnTo>
                  <a:lnTo>
                    <a:pt x="406" y="66"/>
                  </a:lnTo>
                  <a:lnTo>
                    <a:pt x="406" y="66"/>
                  </a:lnTo>
                  <a:lnTo>
                    <a:pt x="403" y="66"/>
                  </a:lnTo>
                  <a:lnTo>
                    <a:pt x="403" y="69"/>
                  </a:lnTo>
                  <a:lnTo>
                    <a:pt x="400" y="71"/>
                  </a:lnTo>
                  <a:lnTo>
                    <a:pt x="400" y="71"/>
                  </a:lnTo>
                  <a:lnTo>
                    <a:pt x="403" y="71"/>
                  </a:lnTo>
                  <a:lnTo>
                    <a:pt x="400" y="74"/>
                  </a:lnTo>
                  <a:lnTo>
                    <a:pt x="400" y="74"/>
                  </a:lnTo>
                  <a:lnTo>
                    <a:pt x="400" y="76"/>
                  </a:lnTo>
                  <a:lnTo>
                    <a:pt x="403" y="76"/>
                  </a:lnTo>
                  <a:lnTo>
                    <a:pt x="403" y="76"/>
                  </a:lnTo>
                  <a:lnTo>
                    <a:pt x="403" y="79"/>
                  </a:lnTo>
                  <a:lnTo>
                    <a:pt x="403" y="79"/>
                  </a:lnTo>
                  <a:lnTo>
                    <a:pt x="403" y="79"/>
                  </a:lnTo>
                  <a:lnTo>
                    <a:pt x="400" y="82"/>
                  </a:lnTo>
                  <a:lnTo>
                    <a:pt x="398" y="84"/>
                  </a:lnTo>
                  <a:lnTo>
                    <a:pt x="395" y="84"/>
                  </a:lnTo>
                  <a:lnTo>
                    <a:pt x="395" y="84"/>
                  </a:lnTo>
                  <a:lnTo>
                    <a:pt x="395" y="87"/>
                  </a:lnTo>
                  <a:lnTo>
                    <a:pt x="395" y="89"/>
                  </a:lnTo>
                  <a:lnTo>
                    <a:pt x="398" y="89"/>
                  </a:lnTo>
                  <a:lnTo>
                    <a:pt x="398" y="89"/>
                  </a:lnTo>
                  <a:lnTo>
                    <a:pt x="395" y="92"/>
                  </a:lnTo>
                  <a:lnTo>
                    <a:pt x="395" y="92"/>
                  </a:lnTo>
                  <a:lnTo>
                    <a:pt x="395" y="92"/>
                  </a:lnTo>
                  <a:lnTo>
                    <a:pt x="395" y="94"/>
                  </a:lnTo>
                  <a:lnTo>
                    <a:pt x="395" y="94"/>
                  </a:lnTo>
                  <a:lnTo>
                    <a:pt x="393" y="97"/>
                  </a:lnTo>
                  <a:lnTo>
                    <a:pt x="393" y="99"/>
                  </a:lnTo>
                  <a:lnTo>
                    <a:pt x="393" y="102"/>
                  </a:lnTo>
                  <a:lnTo>
                    <a:pt x="390" y="102"/>
                  </a:lnTo>
                  <a:lnTo>
                    <a:pt x="390" y="102"/>
                  </a:lnTo>
                  <a:lnTo>
                    <a:pt x="388" y="102"/>
                  </a:lnTo>
                  <a:lnTo>
                    <a:pt x="385" y="102"/>
                  </a:lnTo>
                  <a:lnTo>
                    <a:pt x="383" y="102"/>
                  </a:lnTo>
                  <a:lnTo>
                    <a:pt x="380" y="102"/>
                  </a:lnTo>
                  <a:lnTo>
                    <a:pt x="378" y="102"/>
                  </a:lnTo>
                  <a:lnTo>
                    <a:pt x="378" y="104"/>
                  </a:lnTo>
                  <a:lnTo>
                    <a:pt x="375" y="104"/>
                  </a:lnTo>
                  <a:lnTo>
                    <a:pt x="375" y="107"/>
                  </a:lnTo>
                  <a:lnTo>
                    <a:pt x="372" y="107"/>
                  </a:lnTo>
                  <a:lnTo>
                    <a:pt x="370" y="104"/>
                  </a:lnTo>
                  <a:lnTo>
                    <a:pt x="370" y="104"/>
                  </a:lnTo>
                  <a:lnTo>
                    <a:pt x="367" y="104"/>
                  </a:lnTo>
                  <a:lnTo>
                    <a:pt x="362" y="102"/>
                  </a:lnTo>
                  <a:lnTo>
                    <a:pt x="362" y="102"/>
                  </a:lnTo>
                  <a:lnTo>
                    <a:pt x="360" y="102"/>
                  </a:lnTo>
                  <a:lnTo>
                    <a:pt x="360" y="102"/>
                  </a:lnTo>
                  <a:lnTo>
                    <a:pt x="360" y="102"/>
                  </a:lnTo>
                  <a:lnTo>
                    <a:pt x="360" y="99"/>
                  </a:lnTo>
                  <a:lnTo>
                    <a:pt x="360" y="99"/>
                  </a:lnTo>
                  <a:lnTo>
                    <a:pt x="349" y="99"/>
                  </a:lnTo>
                  <a:lnTo>
                    <a:pt x="347" y="102"/>
                  </a:lnTo>
                  <a:lnTo>
                    <a:pt x="344" y="102"/>
                  </a:lnTo>
                  <a:lnTo>
                    <a:pt x="344" y="102"/>
                  </a:lnTo>
                  <a:lnTo>
                    <a:pt x="344" y="104"/>
                  </a:lnTo>
                  <a:lnTo>
                    <a:pt x="342" y="107"/>
                  </a:lnTo>
                  <a:lnTo>
                    <a:pt x="342" y="110"/>
                  </a:lnTo>
                  <a:lnTo>
                    <a:pt x="339" y="110"/>
                  </a:lnTo>
                  <a:lnTo>
                    <a:pt x="337" y="112"/>
                  </a:lnTo>
                  <a:lnTo>
                    <a:pt x="337" y="112"/>
                  </a:lnTo>
                  <a:lnTo>
                    <a:pt x="334" y="112"/>
                  </a:lnTo>
                  <a:lnTo>
                    <a:pt x="332" y="112"/>
                  </a:lnTo>
                  <a:lnTo>
                    <a:pt x="332" y="112"/>
                  </a:lnTo>
                  <a:lnTo>
                    <a:pt x="329" y="112"/>
                  </a:lnTo>
                  <a:lnTo>
                    <a:pt x="327" y="112"/>
                  </a:lnTo>
                  <a:lnTo>
                    <a:pt x="321" y="112"/>
                  </a:lnTo>
                  <a:lnTo>
                    <a:pt x="321" y="112"/>
                  </a:lnTo>
                  <a:lnTo>
                    <a:pt x="319" y="112"/>
                  </a:lnTo>
                  <a:lnTo>
                    <a:pt x="314" y="115"/>
                  </a:lnTo>
                  <a:lnTo>
                    <a:pt x="311" y="115"/>
                  </a:lnTo>
                  <a:lnTo>
                    <a:pt x="309" y="115"/>
                  </a:lnTo>
                  <a:lnTo>
                    <a:pt x="309" y="115"/>
                  </a:lnTo>
                  <a:lnTo>
                    <a:pt x="306" y="112"/>
                  </a:lnTo>
                  <a:lnTo>
                    <a:pt x="304" y="107"/>
                  </a:lnTo>
                  <a:lnTo>
                    <a:pt x="301" y="107"/>
                  </a:lnTo>
                  <a:lnTo>
                    <a:pt x="301" y="107"/>
                  </a:lnTo>
                  <a:lnTo>
                    <a:pt x="299" y="104"/>
                  </a:lnTo>
                  <a:lnTo>
                    <a:pt x="299" y="104"/>
                  </a:lnTo>
                  <a:lnTo>
                    <a:pt x="296" y="102"/>
                  </a:lnTo>
                  <a:lnTo>
                    <a:pt x="296" y="99"/>
                  </a:lnTo>
                  <a:lnTo>
                    <a:pt x="293" y="99"/>
                  </a:lnTo>
                  <a:lnTo>
                    <a:pt x="293" y="94"/>
                  </a:lnTo>
                  <a:lnTo>
                    <a:pt x="291" y="94"/>
                  </a:lnTo>
                  <a:lnTo>
                    <a:pt x="291" y="94"/>
                  </a:lnTo>
                  <a:lnTo>
                    <a:pt x="291" y="92"/>
                  </a:lnTo>
                  <a:lnTo>
                    <a:pt x="293" y="89"/>
                  </a:lnTo>
                  <a:lnTo>
                    <a:pt x="288" y="92"/>
                  </a:lnTo>
                  <a:lnTo>
                    <a:pt x="286" y="94"/>
                  </a:lnTo>
                  <a:lnTo>
                    <a:pt x="286" y="97"/>
                  </a:lnTo>
                  <a:lnTo>
                    <a:pt x="283" y="99"/>
                  </a:lnTo>
                  <a:lnTo>
                    <a:pt x="281" y="102"/>
                  </a:lnTo>
                  <a:lnTo>
                    <a:pt x="281" y="102"/>
                  </a:lnTo>
                  <a:lnTo>
                    <a:pt x="281" y="107"/>
                  </a:lnTo>
                  <a:lnTo>
                    <a:pt x="281" y="107"/>
                  </a:lnTo>
                  <a:lnTo>
                    <a:pt x="283" y="107"/>
                  </a:lnTo>
                  <a:lnTo>
                    <a:pt x="283" y="107"/>
                  </a:lnTo>
                  <a:lnTo>
                    <a:pt x="281" y="107"/>
                  </a:lnTo>
                  <a:lnTo>
                    <a:pt x="281" y="107"/>
                  </a:lnTo>
                  <a:lnTo>
                    <a:pt x="278" y="110"/>
                  </a:lnTo>
                  <a:lnTo>
                    <a:pt x="278" y="115"/>
                  </a:lnTo>
                  <a:lnTo>
                    <a:pt x="278" y="117"/>
                  </a:lnTo>
                  <a:lnTo>
                    <a:pt x="278" y="122"/>
                  </a:lnTo>
                  <a:lnTo>
                    <a:pt x="278" y="127"/>
                  </a:lnTo>
                  <a:close/>
                  <a:moveTo>
                    <a:pt x="635" y="38"/>
                  </a:moveTo>
                  <a:lnTo>
                    <a:pt x="635" y="38"/>
                  </a:lnTo>
                  <a:lnTo>
                    <a:pt x="635" y="41"/>
                  </a:lnTo>
                  <a:lnTo>
                    <a:pt x="635" y="43"/>
                  </a:lnTo>
                  <a:lnTo>
                    <a:pt x="635" y="43"/>
                  </a:lnTo>
                  <a:lnTo>
                    <a:pt x="635" y="43"/>
                  </a:lnTo>
                  <a:lnTo>
                    <a:pt x="637" y="43"/>
                  </a:lnTo>
                  <a:lnTo>
                    <a:pt x="637" y="41"/>
                  </a:lnTo>
                  <a:lnTo>
                    <a:pt x="637" y="38"/>
                  </a:lnTo>
                  <a:lnTo>
                    <a:pt x="637" y="36"/>
                  </a:lnTo>
                  <a:lnTo>
                    <a:pt x="637" y="33"/>
                  </a:lnTo>
                  <a:lnTo>
                    <a:pt x="635" y="33"/>
                  </a:lnTo>
                  <a:lnTo>
                    <a:pt x="635" y="31"/>
                  </a:lnTo>
                  <a:lnTo>
                    <a:pt x="635" y="36"/>
                  </a:lnTo>
                  <a:lnTo>
                    <a:pt x="635" y="36"/>
                  </a:lnTo>
                  <a:lnTo>
                    <a:pt x="635" y="38"/>
                  </a:lnTo>
                  <a:close/>
                  <a:moveTo>
                    <a:pt x="199" y="265"/>
                  </a:moveTo>
                  <a:lnTo>
                    <a:pt x="202" y="262"/>
                  </a:lnTo>
                  <a:lnTo>
                    <a:pt x="204" y="262"/>
                  </a:lnTo>
                  <a:lnTo>
                    <a:pt x="207" y="265"/>
                  </a:lnTo>
                  <a:lnTo>
                    <a:pt x="207" y="265"/>
                  </a:lnTo>
                  <a:lnTo>
                    <a:pt x="209" y="265"/>
                  </a:lnTo>
                  <a:lnTo>
                    <a:pt x="209" y="267"/>
                  </a:lnTo>
                  <a:lnTo>
                    <a:pt x="209" y="267"/>
                  </a:lnTo>
                  <a:lnTo>
                    <a:pt x="212" y="267"/>
                  </a:lnTo>
                  <a:lnTo>
                    <a:pt x="212" y="265"/>
                  </a:lnTo>
                  <a:lnTo>
                    <a:pt x="212" y="265"/>
                  </a:lnTo>
                  <a:lnTo>
                    <a:pt x="214" y="250"/>
                  </a:lnTo>
                  <a:lnTo>
                    <a:pt x="214" y="244"/>
                  </a:lnTo>
                  <a:lnTo>
                    <a:pt x="214" y="242"/>
                  </a:lnTo>
                  <a:lnTo>
                    <a:pt x="214" y="239"/>
                  </a:lnTo>
                  <a:lnTo>
                    <a:pt x="214" y="229"/>
                  </a:lnTo>
                  <a:lnTo>
                    <a:pt x="214" y="229"/>
                  </a:lnTo>
                  <a:lnTo>
                    <a:pt x="217" y="224"/>
                  </a:lnTo>
                  <a:lnTo>
                    <a:pt x="217" y="222"/>
                  </a:lnTo>
                  <a:lnTo>
                    <a:pt x="217" y="222"/>
                  </a:lnTo>
                  <a:lnTo>
                    <a:pt x="214" y="219"/>
                  </a:lnTo>
                  <a:lnTo>
                    <a:pt x="214" y="216"/>
                  </a:lnTo>
                  <a:lnTo>
                    <a:pt x="217" y="214"/>
                  </a:lnTo>
                  <a:lnTo>
                    <a:pt x="217" y="211"/>
                  </a:lnTo>
                  <a:lnTo>
                    <a:pt x="220" y="209"/>
                  </a:lnTo>
                  <a:lnTo>
                    <a:pt x="220" y="209"/>
                  </a:lnTo>
                  <a:lnTo>
                    <a:pt x="220" y="206"/>
                  </a:lnTo>
                  <a:lnTo>
                    <a:pt x="220" y="206"/>
                  </a:lnTo>
                  <a:lnTo>
                    <a:pt x="217" y="201"/>
                  </a:lnTo>
                  <a:lnTo>
                    <a:pt x="212" y="191"/>
                  </a:lnTo>
                  <a:lnTo>
                    <a:pt x="209" y="191"/>
                  </a:lnTo>
                  <a:lnTo>
                    <a:pt x="207" y="188"/>
                  </a:lnTo>
                  <a:lnTo>
                    <a:pt x="204" y="188"/>
                  </a:lnTo>
                  <a:lnTo>
                    <a:pt x="199" y="188"/>
                  </a:lnTo>
                  <a:lnTo>
                    <a:pt x="199" y="188"/>
                  </a:lnTo>
                  <a:lnTo>
                    <a:pt x="197" y="188"/>
                  </a:lnTo>
                  <a:lnTo>
                    <a:pt x="197" y="191"/>
                  </a:lnTo>
                  <a:lnTo>
                    <a:pt x="194" y="194"/>
                  </a:lnTo>
                  <a:lnTo>
                    <a:pt x="194" y="194"/>
                  </a:lnTo>
                  <a:lnTo>
                    <a:pt x="191" y="194"/>
                  </a:lnTo>
                  <a:lnTo>
                    <a:pt x="191" y="194"/>
                  </a:lnTo>
                  <a:lnTo>
                    <a:pt x="191" y="191"/>
                  </a:lnTo>
                  <a:lnTo>
                    <a:pt x="191" y="188"/>
                  </a:lnTo>
                  <a:lnTo>
                    <a:pt x="194" y="186"/>
                  </a:lnTo>
                  <a:lnTo>
                    <a:pt x="197" y="186"/>
                  </a:lnTo>
                  <a:lnTo>
                    <a:pt x="197" y="183"/>
                  </a:lnTo>
                  <a:lnTo>
                    <a:pt x="197" y="183"/>
                  </a:lnTo>
                  <a:lnTo>
                    <a:pt x="194" y="181"/>
                  </a:lnTo>
                  <a:lnTo>
                    <a:pt x="194" y="181"/>
                  </a:lnTo>
                  <a:lnTo>
                    <a:pt x="191" y="178"/>
                  </a:lnTo>
                  <a:lnTo>
                    <a:pt x="189" y="176"/>
                  </a:lnTo>
                  <a:lnTo>
                    <a:pt x="189" y="173"/>
                  </a:lnTo>
                  <a:lnTo>
                    <a:pt x="189" y="171"/>
                  </a:lnTo>
                  <a:lnTo>
                    <a:pt x="189" y="166"/>
                  </a:lnTo>
                  <a:lnTo>
                    <a:pt x="189" y="163"/>
                  </a:lnTo>
                  <a:lnTo>
                    <a:pt x="186" y="160"/>
                  </a:lnTo>
                  <a:lnTo>
                    <a:pt x="186" y="158"/>
                  </a:lnTo>
                  <a:lnTo>
                    <a:pt x="184" y="158"/>
                  </a:lnTo>
                  <a:lnTo>
                    <a:pt x="184" y="158"/>
                  </a:lnTo>
                  <a:lnTo>
                    <a:pt x="181" y="158"/>
                  </a:lnTo>
                  <a:lnTo>
                    <a:pt x="179" y="158"/>
                  </a:lnTo>
                  <a:lnTo>
                    <a:pt x="174" y="155"/>
                  </a:lnTo>
                  <a:lnTo>
                    <a:pt x="171" y="153"/>
                  </a:lnTo>
                  <a:lnTo>
                    <a:pt x="171" y="153"/>
                  </a:lnTo>
                  <a:lnTo>
                    <a:pt x="169" y="148"/>
                  </a:lnTo>
                  <a:lnTo>
                    <a:pt x="169" y="148"/>
                  </a:lnTo>
                  <a:lnTo>
                    <a:pt x="171" y="145"/>
                  </a:lnTo>
                  <a:lnTo>
                    <a:pt x="169" y="145"/>
                  </a:lnTo>
                  <a:lnTo>
                    <a:pt x="169" y="143"/>
                  </a:lnTo>
                  <a:lnTo>
                    <a:pt x="169" y="140"/>
                  </a:lnTo>
                  <a:lnTo>
                    <a:pt x="169" y="140"/>
                  </a:lnTo>
                  <a:lnTo>
                    <a:pt x="169" y="140"/>
                  </a:lnTo>
                  <a:lnTo>
                    <a:pt x="171" y="138"/>
                  </a:lnTo>
                  <a:lnTo>
                    <a:pt x="174" y="135"/>
                  </a:lnTo>
                  <a:lnTo>
                    <a:pt x="176" y="135"/>
                  </a:lnTo>
                  <a:lnTo>
                    <a:pt x="174" y="130"/>
                  </a:lnTo>
                  <a:lnTo>
                    <a:pt x="174" y="127"/>
                  </a:lnTo>
                  <a:lnTo>
                    <a:pt x="171" y="127"/>
                  </a:lnTo>
                  <a:lnTo>
                    <a:pt x="169" y="125"/>
                  </a:lnTo>
                  <a:lnTo>
                    <a:pt x="169" y="125"/>
                  </a:lnTo>
                  <a:lnTo>
                    <a:pt x="166" y="122"/>
                  </a:lnTo>
                  <a:lnTo>
                    <a:pt x="166" y="125"/>
                  </a:lnTo>
                  <a:lnTo>
                    <a:pt x="161" y="125"/>
                  </a:lnTo>
                  <a:lnTo>
                    <a:pt x="161" y="127"/>
                  </a:lnTo>
                  <a:lnTo>
                    <a:pt x="158" y="130"/>
                  </a:lnTo>
                  <a:lnTo>
                    <a:pt x="156" y="130"/>
                  </a:lnTo>
                  <a:lnTo>
                    <a:pt x="151" y="130"/>
                  </a:lnTo>
                  <a:lnTo>
                    <a:pt x="156" y="127"/>
                  </a:lnTo>
                  <a:lnTo>
                    <a:pt x="161" y="125"/>
                  </a:lnTo>
                  <a:lnTo>
                    <a:pt x="161" y="125"/>
                  </a:lnTo>
                  <a:lnTo>
                    <a:pt x="161" y="122"/>
                  </a:lnTo>
                  <a:lnTo>
                    <a:pt x="158" y="120"/>
                  </a:lnTo>
                  <a:lnTo>
                    <a:pt x="156" y="120"/>
                  </a:lnTo>
                  <a:lnTo>
                    <a:pt x="151" y="117"/>
                  </a:lnTo>
                  <a:lnTo>
                    <a:pt x="148" y="117"/>
                  </a:lnTo>
                  <a:lnTo>
                    <a:pt x="148" y="117"/>
                  </a:lnTo>
                  <a:lnTo>
                    <a:pt x="143" y="112"/>
                  </a:lnTo>
                  <a:lnTo>
                    <a:pt x="143" y="112"/>
                  </a:lnTo>
                  <a:lnTo>
                    <a:pt x="143" y="110"/>
                  </a:lnTo>
                  <a:lnTo>
                    <a:pt x="143" y="107"/>
                  </a:lnTo>
                  <a:lnTo>
                    <a:pt x="141" y="104"/>
                  </a:lnTo>
                  <a:lnTo>
                    <a:pt x="141" y="102"/>
                  </a:lnTo>
                  <a:lnTo>
                    <a:pt x="135" y="99"/>
                  </a:lnTo>
                  <a:lnTo>
                    <a:pt x="133" y="97"/>
                  </a:lnTo>
                  <a:lnTo>
                    <a:pt x="130" y="97"/>
                  </a:lnTo>
                  <a:lnTo>
                    <a:pt x="128" y="97"/>
                  </a:lnTo>
                  <a:lnTo>
                    <a:pt x="128" y="94"/>
                  </a:lnTo>
                  <a:lnTo>
                    <a:pt x="125" y="92"/>
                  </a:lnTo>
                  <a:lnTo>
                    <a:pt x="125" y="89"/>
                  </a:lnTo>
                  <a:lnTo>
                    <a:pt x="123" y="87"/>
                  </a:lnTo>
                  <a:lnTo>
                    <a:pt x="120" y="84"/>
                  </a:lnTo>
                  <a:lnTo>
                    <a:pt x="118" y="84"/>
                  </a:lnTo>
                  <a:lnTo>
                    <a:pt x="118" y="84"/>
                  </a:lnTo>
                  <a:lnTo>
                    <a:pt x="115" y="84"/>
                  </a:lnTo>
                  <a:lnTo>
                    <a:pt x="115" y="84"/>
                  </a:lnTo>
                  <a:lnTo>
                    <a:pt x="115" y="87"/>
                  </a:lnTo>
                  <a:lnTo>
                    <a:pt x="118" y="89"/>
                  </a:lnTo>
                  <a:lnTo>
                    <a:pt x="118" y="92"/>
                  </a:lnTo>
                  <a:lnTo>
                    <a:pt x="115" y="89"/>
                  </a:lnTo>
                  <a:lnTo>
                    <a:pt x="112" y="87"/>
                  </a:lnTo>
                  <a:lnTo>
                    <a:pt x="110" y="87"/>
                  </a:lnTo>
                  <a:lnTo>
                    <a:pt x="110" y="84"/>
                  </a:lnTo>
                  <a:lnTo>
                    <a:pt x="107" y="84"/>
                  </a:lnTo>
                  <a:lnTo>
                    <a:pt x="107" y="82"/>
                  </a:lnTo>
                  <a:lnTo>
                    <a:pt x="105" y="79"/>
                  </a:lnTo>
                  <a:lnTo>
                    <a:pt x="105" y="79"/>
                  </a:lnTo>
                  <a:lnTo>
                    <a:pt x="102" y="74"/>
                  </a:lnTo>
                  <a:lnTo>
                    <a:pt x="100" y="71"/>
                  </a:lnTo>
                  <a:lnTo>
                    <a:pt x="97" y="69"/>
                  </a:lnTo>
                  <a:lnTo>
                    <a:pt x="97" y="66"/>
                  </a:lnTo>
                  <a:lnTo>
                    <a:pt x="92" y="64"/>
                  </a:lnTo>
                  <a:lnTo>
                    <a:pt x="90" y="59"/>
                  </a:lnTo>
                  <a:lnTo>
                    <a:pt x="82" y="54"/>
                  </a:lnTo>
                  <a:lnTo>
                    <a:pt x="74" y="51"/>
                  </a:lnTo>
                  <a:lnTo>
                    <a:pt x="74" y="48"/>
                  </a:lnTo>
                  <a:lnTo>
                    <a:pt x="72" y="48"/>
                  </a:lnTo>
                  <a:lnTo>
                    <a:pt x="72" y="46"/>
                  </a:lnTo>
                  <a:lnTo>
                    <a:pt x="72" y="46"/>
                  </a:lnTo>
                  <a:lnTo>
                    <a:pt x="69" y="43"/>
                  </a:lnTo>
                  <a:lnTo>
                    <a:pt x="64" y="41"/>
                  </a:lnTo>
                  <a:lnTo>
                    <a:pt x="62" y="41"/>
                  </a:lnTo>
                  <a:lnTo>
                    <a:pt x="62" y="36"/>
                  </a:lnTo>
                  <a:lnTo>
                    <a:pt x="62" y="36"/>
                  </a:lnTo>
                  <a:lnTo>
                    <a:pt x="56" y="31"/>
                  </a:lnTo>
                  <a:lnTo>
                    <a:pt x="56" y="28"/>
                  </a:lnTo>
                  <a:lnTo>
                    <a:pt x="56" y="26"/>
                  </a:lnTo>
                  <a:lnTo>
                    <a:pt x="54" y="23"/>
                  </a:lnTo>
                  <a:lnTo>
                    <a:pt x="51" y="20"/>
                  </a:lnTo>
                  <a:lnTo>
                    <a:pt x="49" y="18"/>
                  </a:lnTo>
                  <a:lnTo>
                    <a:pt x="46" y="18"/>
                  </a:lnTo>
                  <a:lnTo>
                    <a:pt x="46" y="15"/>
                  </a:lnTo>
                  <a:lnTo>
                    <a:pt x="46" y="15"/>
                  </a:lnTo>
                  <a:lnTo>
                    <a:pt x="41" y="18"/>
                  </a:lnTo>
                  <a:lnTo>
                    <a:pt x="39" y="15"/>
                  </a:lnTo>
                  <a:lnTo>
                    <a:pt x="36" y="15"/>
                  </a:lnTo>
                  <a:lnTo>
                    <a:pt x="33" y="15"/>
                  </a:lnTo>
                  <a:lnTo>
                    <a:pt x="28" y="15"/>
                  </a:lnTo>
                  <a:lnTo>
                    <a:pt x="26" y="15"/>
                  </a:lnTo>
                  <a:lnTo>
                    <a:pt x="21" y="15"/>
                  </a:lnTo>
                  <a:lnTo>
                    <a:pt x="18" y="15"/>
                  </a:lnTo>
                  <a:lnTo>
                    <a:pt x="16" y="13"/>
                  </a:lnTo>
                  <a:lnTo>
                    <a:pt x="13" y="10"/>
                  </a:lnTo>
                  <a:lnTo>
                    <a:pt x="11" y="8"/>
                  </a:lnTo>
                  <a:lnTo>
                    <a:pt x="8" y="8"/>
                  </a:lnTo>
                  <a:lnTo>
                    <a:pt x="5" y="8"/>
                  </a:lnTo>
                  <a:lnTo>
                    <a:pt x="3" y="8"/>
                  </a:lnTo>
                  <a:lnTo>
                    <a:pt x="0" y="8"/>
                  </a:lnTo>
                  <a:lnTo>
                    <a:pt x="0" y="8"/>
                  </a:lnTo>
                  <a:lnTo>
                    <a:pt x="0" y="10"/>
                  </a:lnTo>
                  <a:lnTo>
                    <a:pt x="0" y="10"/>
                  </a:lnTo>
                  <a:lnTo>
                    <a:pt x="0" y="13"/>
                  </a:lnTo>
                  <a:lnTo>
                    <a:pt x="0" y="13"/>
                  </a:lnTo>
                  <a:lnTo>
                    <a:pt x="0" y="15"/>
                  </a:lnTo>
                  <a:lnTo>
                    <a:pt x="3" y="23"/>
                  </a:lnTo>
                  <a:lnTo>
                    <a:pt x="5" y="26"/>
                  </a:lnTo>
                  <a:lnTo>
                    <a:pt x="5" y="28"/>
                  </a:lnTo>
                  <a:lnTo>
                    <a:pt x="8" y="28"/>
                  </a:lnTo>
                  <a:lnTo>
                    <a:pt x="16" y="38"/>
                  </a:lnTo>
                  <a:lnTo>
                    <a:pt x="21" y="43"/>
                  </a:lnTo>
                  <a:lnTo>
                    <a:pt x="23" y="43"/>
                  </a:lnTo>
                  <a:lnTo>
                    <a:pt x="26" y="48"/>
                  </a:lnTo>
                  <a:lnTo>
                    <a:pt x="28" y="48"/>
                  </a:lnTo>
                  <a:lnTo>
                    <a:pt x="33" y="51"/>
                  </a:lnTo>
                  <a:lnTo>
                    <a:pt x="36" y="51"/>
                  </a:lnTo>
                  <a:lnTo>
                    <a:pt x="36" y="54"/>
                  </a:lnTo>
                  <a:lnTo>
                    <a:pt x="41" y="61"/>
                  </a:lnTo>
                  <a:lnTo>
                    <a:pt x="44" y="64"/>
                  </a:lnTo>
                  <a:lnTo>
                    <a:pt x="44" y="66"/>
                  </a:lnTo>
                  <a:lnTo>
                    <a:pt x="46" y="66"/>
                  </a:lnTo>
                  <a:lnTo>
                    <a:pt x="49" y="71"/>
                  </a:lnTo>
                  <a:lnTo>
                    <a:pt x="51" y="71"/>
                  </a:lnTo>
                  <a:lnTo>
                    <a:pt x="51" y="74"/>
                  </a:lnTo>
                  <a:lnTo>
                    <a:pt x="51" y="79"/>
                  </a:lnTo>
                  <a:lnTo>
                    <a:pt x="51" y="82"/>
                  </a:lnTo>
                  <a:lnTo>
                    <a:pt x="54" y="84"/>
                  </a:lnTo>
                  <a:lnTo>
                    <a:pt x="56" y="84"/>
                  </a:lnTo>
                  <a:lnTo>
                    <a:pt x="59" y="84"/>
                  </a:lnTo>
                  <a:lnTo>
                    <a:pt x="62" y="84"/>
                  </a:lnTo>
                  <a:lnTo>
                    <a:pt x="69" y="92"/>
                  </a:lnTo>
                  <a:lnTo>
                    <a:pt x="72" y="92"/>
                  </a:lnTo>
                  <a:lnTo>
                    <a:pt x="72" y="97"/>
                  </a:lnTo>
                  <a:lnTo>
                    <a:pt x="74" y="102"/>
                  </a:lnTo>
                  <a:lnTo>
                    <a:pt x="77" y="112"/>
                  </a:lnTo>
                  <a:lnTo>
                    <a:pt x="79" y="120"/>
                  </a:lnTo>
                  <a:lnTo>
                    <a:pt x="82" y="125"/>
                  </a:lnTo>
                  <a:lnTo>
                    <a:pt x="82" y="127"/>
                  </a:lnTo>
                  <a:lnTo>
                    <a:pt x="84" y="130"/>
                  </a:lnTo>
                  <a:lnTo>
                    <a:pt x="87" y="130"/>
                  </a:lnTo>
                  <a:lnTo>
                    <a:pt x="92" y="132"/>
                  </a:lnTo>
                  <a:lnTo>
                    <a:pt x="92" y="135"/>
                  </a:lnTo>
                  <a:lnTo>
                    <a:pt x="95" y="135"/>
                  </a:lnTo>
                  <a:lnTo>
                    <a:pt x="97" y="143"/>
                  </a:lnTo>
                  <a:lnTo>
                    <a:pt x="97" y="145"/>
                  </a:lnTo>
                  <a:lnTo>
                    <a:pt x="100" y="145"/>
                  </a:lnTo>
                  <a:lnTo>
                    <a:pt x="102" y="148"/>
                  </a:lnTo>
                  <a:lnTo>
                    <a:pt x="105" y="153"/>
                  </a:lnTo>
                  <a:lnTo>
                    <a:pt x="105" y="153"/>
                  </a:lnTo>
                  <a:lnTo>
                    <a:pt x="107" y="160"/>
                  </a:lnTo>
                  <a:lnTo>
                    <a:pt x="110" y="166"/>
                  </a:lnTo>
                  <a:lnTo>
                    <a:pt x="115" y="178"/>
                  </a:lnTo>
                  <a:lnTo>
                    <a:pt x="115" y="183"/>
                  </a:lnTo>
                  <a:lnTo>
                    <a:pt x="118" y="186"/>
                  </a:lnTo>
                  <a:lnTo>
                    <a:pt x="118" y="188"/>
                  </a:lnTo>
                  <a:lnTo>
                    <a:pt x="120" y="194"/>
                  </a:lnTo>
                  <a:lnTo>
                    <a:pt x="123" y="196"/>
                  </a:lnTo>
                  <a:lnTo>
                    <a:pt x="125" y="196"/>
                  </a:lnTo>
                  <a:lnTo>
                    <a:pt x="125" y="199"/>
                  </a:lnTo>
                  <a:lnTo>
                    <a:pt x="128" y="201"/>
                  </a:lnTo>
                  <a:lnTo>
                    <a:pt x="130" y="206"/>
                  </a:lnTo>
                  <a:lnTo>
                    <a:pt x="130" y="209"/>
                  </a:lnTo>
                  <a:lnTo>
                    <a:pt x="135" y="211"/>
                  </a:lnTo>
                  <a:lnTo>
                    <a:pt x="141" y="216"/>
                  </a:lnTo>
                  <a:lnTo>
                    <a:pt x="143" y="219"/>
                  </a:lnTo>
                  <a:lnTo>
                    <a:pt x="146" y="224"/>
                  </a:lnTo>
                  <a:lnTo>
                    <a:pt x="148" y="229"/>
                  </a:lnTo>
                  <a:lnTo>
                    <a:pt x="156" y="237"/>
                  </a:lnTo>
                  <a:lnTo>
                    <a:pt x="161" y="239"/>
                  </a:lnTo>
                  <a:lnTo>
                    <a:pt x="161" y="242"/>
                  </a:lnTo>
                  <a:lnTo>
                    <a:pt x="163" y="244"/>
                  </a:lnTo>
                  <a:lnTo>
                    <a:pt x="166" y="244"/>
                  </a:lnTo>
                  <a:lnTo>
                    <a:pt x="174" y="250"/>
                  </a:lnTo>
                  <a:lnTo>
                    <a:pt x="174" y="250"/>
                  </a:lnTo>
                  <a:lnTo>
                    <a:pt x="179" y="257"/>
                  </a:lnTo>
                  <a:lnTo>
                    <a:pt x="179" y="260"/>
                  </a:lnTo>
                  <a:lnTo>
                    <a:pt x="181" y="260"/>
                  </a:lnTo>
                  <a:lnTo>
                    <a:pt x="184" y="265"/>
                  </a:lnTo>
                  <a:lnTo>
                    <a:pt x="186" y="267"/>
                  </a:lnTo>
                  <a:lnTo>
                    <a:pt x="189" y="270"/>
                  </a:lnTo>
                  <a:lnTo>
                    <a:pt x="189" y="270"/>
                  </a:lnTo>
                  <a:lnTo>
                    <a:pt x="189" y="270"/>
                  </a:lnTo>
                  <a:lnTo>
                    <a:pt x="189" y="267"/>
                  </a:lnTo>
                  <a:lnTo>
                    <a:pt x="189" y="262"/>
                  </a:lnTo>
                  <a:lnTo>
                    <a:pt x="189" y="262"/>
                  </a:lnTo>
                  <a:lnTo>
                    <a:pt x="189" y="260"/>
                  </a:lnTo>
                  <a:lnTo>
                    <a:pt x="194" y="265"/>
                  </a:lnTo>
                  <a:lnTo>
                    <a:pt x="197" y="265"/>
                  </a:lnTo>
                  <a:lnTo>
                    <a:pt x="199" y="265"/>
                  </a:lnTo>
                  <a:lnTo>
                    <a:pt x="199" y="265"/>
                  </a:lnTo>
                  <a:close/>
                  <a:moveTo>
                    <a:pt x="3" y="3"/>
                  </a:moveTo>
                  <a:lnTo>
                    <a:pt x="3" y="3"/>
                  </a:lnTo>
                  <a:lnTo>
                    <a:pt x="3" y="3"/>
                  </a:lnTo>
                  <a:lnTo>
                    <a:pt x="3" y="3"/>
                  </a:lnTo>
                  <a:lnTo>
                    <a:pt x="0" y="0"/>
                  </a:lnTo>
                  <a:lnTo>
                    <a:pt x="0" y="0"/>
                  </a:lnTo>
                  <a:lnTo>
                    <a:pt x="0" y="0"/>
                  </a:lnTo>
                  <a:lnTo>
                    <a:pt x="0" y="3"/>
                  </a:lnTo>
                  <a:lnTo>
                    <a:pt x="3" y="3"/>
                  </a:lnTo>
                  <a:close/>
                </a:path>
              </a:pathLst>
            </a:custGeom>
            <a:solidFill>
              <a:schemeClr val="bg2">
                <a:lumMod val="60000"/>
                <a:lumOff val="40000"/>
              </a:schemeClr>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295" name="Freeform 1914">
              <a:extLst>
                <a:ext uri="{FF2B5EF4-FFF2-40B4-BE49-F238E27FC236}">
                  <a16:creationId xmlns:a16="http://schemas.microsoft.com/office/drawing/2014/main" id="{F3D0987B-5FE0-C64E-8FD0-95BD9027C07A}"/>
                </a:ext>
              </a:extLst>
            </p:cNvPr>
            <p:cNvSpPr>
              <a:spLocks noEditPoints="1"/>
            </p:cNvSpPr>
            <p:nvPr/>
          </p:nvSpPr>
          <p:spPr bwMode="auto">
            <a:xfrm>
              <a:off x="7805394" y="2477818"/>
              <a:ext cx="909470" cy="1073043"/>
            </a:xfrm>
            <a:custGeom>
              <a:avLst/>
              <a:gdLst>
                <a:gd name="T0" fmla="*/ 515 w 556"/>
                <a:gd name="T1" fmla="*/ 509 h 656"/>
                <a:gd name="T2" fmla="*/ 510 w 556"/>
                <a:gd name="T3" fmla="*/ 534 h 656"/>
                <a:gd name="T4" fmla="*/ 507 w 556"/>
                <a:gd name="T5" fmla="*/ 562 h 656"/>
                <a:gd name="T6" fmla="*/ 120 w 556"/>
                <a:gd name="T7" fmla="*/ 621 h 656"/>
                <a:gd name="T8" fmla="*/ 515 w 556"/>
                <a:gd name="T9" fmla="*/ 537 h 656"/>
                <a:gd name="T10" fmla="*/ 538 w 556"/>
                <a:gd name="T11" fmla="*/ 163 h 656"/>
                <a:gd name="T12" fmla="*/ 530 w 556"/>
                <a:gd name="T13" fmla="*/ 145 h 656"/>
                <a:gd name="T14" fmla="*/ 494 w 556"/>
                <a:gd name="T15" fmla="*/ 142 h 656"/>
                <a:gd name="T16" fmla="*/ 464 w 556"/>
                <a:gd name="T17" fmla="*/ 173 h 656"/>
                <a:gd name="T18" fmla="*/ 454 w 556"/>
                <a:gd name="T19" fmla="*/ 188 h 656"/>
                <a:gd name="T20" fmla="*/ 428 w 556"/>
                <a:gd name="T21" fmla="*/ 201 h 656"/>
                <a:gd name="T22" fmla="*/ 390 w 556"/>
                <a:gd name="T23" fmla="*/ 191 h 656"/>
                <a:gd name="T24" fmla="*/ 377 w 556"/>
                <a:gd name="T25" fmla="*/ 178 h 656"/>
                <a:gd name="T26" fmla="*/ 354 w 556"/>
                <a:gd name="T27" fmla="*/ 208 h 656"/>
                <a:gd name="T28" fmla="*/ 313 w 556"/>
                <a:gd name="T29" fmla="*/ 196 h 656"/>
                <a:gd name="T30" fmla="*/ 268 w 556"/>
                <a:gd name="T31" fmla="*/ 180 h 656"/>
                <a:gd name="T32" fmla="*/ 224 w 556"/>
                <a:gd name="T33" fmla="*/ 160 h 656"/>
                <a:gd name="T34" fmla="*/ 222 w 556"/>
                <a:gd name="T35" fmla="*/ 119 h 656"/>
                <a:gd name="T36" fmla="*/ 191 w 556"/>
                <a:gd name="T37" fmla="*/ 102 h 656"/>
                <a:gd name="T38" fmla="*/ 176 w 556"/>
                <a:gd name="T39" fmla="*/ 84 h 656"/>
                <a:gd name="T40" fmla="*/ 184 w 556"/>
                <a:gd name="T41" fmla="*/ 66 h 656"/>
                <a:gd name="T42" fmla="*/ 171 w 556"/>
                <a:gd name="T43" fmla="*/ 30 h 656"/>
                <a:gd name="T44" fmla="*/ 138 w 556"/>
                <a:gd name="T45" fmla="*/ 2 h 656"/>
                <a:gd name="T46" fmla="*/ 112 w 556"/>
                <a:gd name="T47" fmla="*/ 23 h 656"/>
                <a:gd name="T48" fmla="*/ 76 w 556"/>
                <a:gd name="T49" fmla="*/ 33 h 656"/>
                <a:gd name="T50" fmla="*/ 82 w 556"/>
                <a:gd name="T51" fmla="*/ 56 h 656"/>
                <a:gd name="T52" fmla="*/ 110 w 556"/>
                <a:gd name="T53" fmla="*/ 79 h 656"/>
                <a:gd name="T54" fmla="*/ 92 w 556"/>
                <a:gd name="T55" fmla="*/ 122 h 656"/>
                <a:gd name="T56" fmla="*/ 48 w 556"/>
                <a:gd name="T57" fmla="*/ 175 h 656"/>
                <a:gd name="T58" fmla="*/ 18 w 556"/>
                <a:gd name="T59" fmla="*/ 201 h 656"/>
                <a:gd name="T60" fmla="*/ 48 w 556"/>
                <a:gd name="T61" fmla="*/ 236 h 656"/>
                <a:gd name="T62" fmla="*/ 43 w 556"/>
                <a:gd name="T63" fmla="*/ 254 h 656"/>
                <a:gd name="T64" fmla="*/ 8 w 556"/>
                <a:gd name="T65" fmla="*/ 264 h 656"/>
                <a:gd name="T66" fmla="*/ 41 w 556"/>
                <a:gd name="T67" fmla="*/ 287 h 656"/>
                <a:gd name="T68" fmla="*/ 18 w 556"/>
                <a:gd name="T69" fmla="*/ 303 h 656"/>
                <a:gd name="T70" fmla="*/ 82 w 556"/>
                <a:gd name="T71" fmla="*/ 310 h 656"/>
                <a:gd name="T72" fmla="*/ 94 w 556"/>
                <a:gd name="T73" fmla="*/ 318 h 656"/>
                <a:gd name="T74" fmla="*/ 105 w 556"/>
                <a:gd name="T75" fmla="*/ 371 h 656"/>
                <a:gd name="T76" fmla="*/ 122 w 556"/>
                <a:gd name="T77" fmla="*/ 448 h 656"/>
                <a:gd name="T78" fmla="*/ 148 w 556"/>
                <a:gd name="T79" fmla="*/ 501 h 656"/>
                <a:gd name="T80" fmla="*/ 186 w 556"/>
                <a:gd name="T81" fmla="*/ 593 h 656"/>
                <a:gd name="T82" fmla="*/ 224 w 556"/>
                <a:gd name="T83" fmla="*/ 605 h 656"/>
                <a:gd name="T84" fmla="*/ 255 w 556"/>
                <a:gd name="T85" fmla="*/ 552 h 656"/>
                <a:gd name="T86" fmla="*/ 255 w 556"/>
                <a:gd name="T87" fmla="*/ 486 h 656"/>
                <a:gd name="T88" fmla="*/ 283 w 556"/>
                <a:gd name="T89" fmla="*/ 437 h 656"/>
                <a:gd name="T90" fmla="*/ 344 w 556"/>
                <a:gd name="T91" fmla="*/ 366 h 656"/>
                <a:gd name="T92" fmla="*/ 370 w 556"/>
                <a:gd name="T93" fmla="*/ 351 h 656"/>
                <a:gd name="T94" fmla="*/ 392 w 556"/>
                <a:gd name="T95" fmla="*/ 303 h 656"/>
                <a:gd name="T96" fmla="*/ 410 w 556"/>
                <a:gd name="T97" fmla="*/ 318 h 656"/>
                <a:gd name="T98" fmla="*/ 403 w 556"/>
                <a:gd name="T99" fmla="*/ 277 h 656"/>
                <a:gd name="T100" fmla="*/ 387 w 556"/>
                <a:gd name="T101" fmla="*/ 244 h 656"/>
                <a:gd name="T102" fmla="*/ 382 w 556"/>
                <a:gd name="T103" fmla="*/ 221 h 656"/>
                <a:gd name="T104" fmla="*/ 398 w 556"/>
                <a:gd name="T105" fmla="*/ 214 h 656"/>
                <a:gd name="T106" fmla="*/ 418 w 556"/>
                <a:gd name="T107" fmla="*/ 231 h 656"/>
                <a:gd name="T108" fmla="*/ 471 w 556"/>
                <a:gd name="T109" fmla="*/ 244 h 656"/>
                <a:gd name="T110" fmla="*/ 454 w 556"/>
                <a:gd name="T111" fmla="*/ 262 h 656"/>
                <a:gd name="T112" fmla="*/ 464 w 556"/>
                <a:gd name="T113" fmla="*/ 277 h 656"/>
                <a:gd name="T114" fmla="*/ 484 w 556"/>
                <a:gd name="T115" fmla="*/ 310 h 656"/>
                <a:gd name="T116" fmla="*/ 494 w 556"/>
                <a:gd name="T117" fmla="*/ 287 h 656"/>
                <a:gd name="T118" fmla="*/ 510 w 556"/>
                <a:gd name="T119" fmla="*/ 254 h 656"/>
                <a:gd name="T120" fmla="*/ 520 w 556"/>
                <a:gd name="T121" fmla="*/ 216 h 656"/>
                <a:gd name="T122" fmla="*/ 548 w 556"/>
                <a:gd name="T123" fmla="*/ 186 h 656"/>
                <a:gd name="T124" fmla="*/ 533 w 556"/>
                <a:gd name="T125" fmla="*/ 623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56" h="656">
                  <a:moveTo>
                    <a:pt x="510" y="549"/>
                  </a:moveTo>
                  <a:lnTo>
                    <a:pt x="510" y="547"/>
                  </a:lnTo>
                  <a:lnTo>
                    <a:pt x="510" y="549"/>
                  </a:lnTo>
                  <a:lnTo>
                    <a:pt x="510" y="549"/>
                  </a:lnTo>
                  <a:lnTo>
                    <a:pt x="510" y="552"/>
                  </a:lnTo>
                  <a:lnTo>
                    <a:pt x="510" y="549"/>
                  </a:lnTo>
                  <a:lnTo>
                    <a:pt x="510" y="549"/>
                  </a:lnTo>
                  <a:lnTo>
                    <a:pt x="510" y="549"/>
                  </a:lnTo>
                  <a:close/>
                  <a:moveTo>
                    <a:pt x="510" y="516"/>
                  </a:moveTo>
                  <a:lnTo>
                    <a:pt x="510" y="514"/>
                  </a:lnTo>
                  <a:lnTo>
                    <a:pt x="510" y="514"/>
                  </a:lnTo>
                  <a:lnTo>
                    <a:pt x="507" y="514"/>
                  </a:lnTo>
                  <a:lnTo>
                    <a:pt x="507" y="516"/>
                  </a:lnTo>
                  <a:lnTo>
                    <a:pt x="507" y="519"/>
                  </a:lnTo>
                  <a:lnTo>
                    <a:pt x="510" y="516"/>
                  </a:lnTo>
                  <a:close/>
                  <a:moveTo>
                    <a:pt x="515" y="524"/>
                  </a:moveTo>
                  <a:lnTo>
                    <a:pt x="515" y="516"/>
                  </a:lnTo>
                  <a:lnTo>
                    <a:pt x="512" y="514"/>
                  </a:lnTo>
                  <a:lnTo>
                    <a:pt x="512" y="514"/>
                  </a:lnTo>
                  <a:lnTo>
                    <a:pt x="512" y="511"/>
                  </a:lnTo>
                  <a:lnTo>
                    <a:pt x="515" y="511"/>
                  </a:lnTo>
                  <a:lnTo>
                    <a:pt x="515" y="511"/>
                  </a:lnTo>
                  <a:lnTo>
                    <a:pt x="515" y="509"/>
                  </a:lnTo>
                  <a:lnTo>
                    <a:pt x="515" y="509"/>
                  </a:lnTo>
                  <a:lnTo>
                    <a:pt x="515" y="506"/>
                  </a:lnTo>
                  <a:lnTo>
                    <a:pt x="515" y="504"/>
                  </a:lnTo>
                  <a:lnTo>
                    <a:pt x="515" y="504"/>
                  </a:lnTo>
                  <a:lnTo>
                    <a:pt x="515" y="501"/>
                  </a:lnTo>
                  <a:lnTo>
                    <a:pt x="515" y="501"/>
                  </a:lnTo>
                  <a:lnTo>
                    <a:pt x="512" y="504"/>
                  </a:lnTo>
                  <a:lnTo>
                    <a:pt x="510" y="506"/>
                  </a:lnTo>
                  <a:lnTo>
                    <a:pt x="510" y="509"/>
                  </a:lnTo>
                  <a:lnTo>
                    <a:pt x="510" y="514"/>
                  </a:lnTo>
                  <a:lnTo>
                    <a:pt x="510" y="514"/>
                  </a:lnTo>
                  <a:lnTo>
                    <a:pt x="510" y="516"/>
                  </a:lnTo>
                  <a:lnTo>
                    <a:pt x="510" y="519"/>
                  </a:lnTo>
                  <a:lnTo>
                    <a:pt x="510" y="519"/>
                  </a:lnTo>
                  <a:lnTo>
                    <a:pt x="510" y="521"/>
                  </a:lnTo>
                  <a:lnTo>
                    <a:pt x="510" y="521"/>
                  </a:lnTo>
                  <a:lnTo>
                    <a:pt x="510" y="524"/>
                  </a:lnTo>
                  <a:lnTo>
                    <a:pt x="510" y="529"/>
                  </a:lnTo>
                  <a:lnTo>
                    <a:pt x="510" y="529"/>
                  </a:lnTo>
                  <a:lnTo>
                    <a:pt x="510" y="529"/>
                  </a:lnTo>
                  <a:lnTo>
                    <a:pt x="512" y="532"/>
                  </a:lnTo>
                  <a:lnTo>
                    <a:pt x="510" y="532"/>
                  </a:lnTo>
                  <a:lnTo>
                    <a:pt x="510" y="532"/>
                  </a:lnTo>
                  <a:lnTo>
                    <a:pt x="510" y="532"/>
                  </a:lnTo>
                  <a:lnTo>
                    <a:pt x="510" y="534"/>
                  </a:lnTo>
                  <a:lnTo>
                    <a:pt x="510" y="537"/>
                  </a:lnTo>
                  <a:lnTo>
                    <a:pt x="507" y="537"/>
                  </a:lnTo>
                  <a:lnTo>
                    <a:pt x="507" y="539"/>
                  </a:lnTo>
                  <a:lnTo>
                    <a:pt x="507" y="539"/>
                  </a:lnTo>
                  <a:lnTo>
                    <a:pt x="507" y="539"/>
                  </a:lnTo>
                  <a:lnTo>
                    <a:pt x="507" y="542"/>
                  </a:lnTo>
                  <a:lnTo>
                    <a:pt x="510" y="547"/>
                  </a:lnTo>
                  <a:lnTo>
                    <a:pt x="510" y="547"/>
                  </a:lnTo>
                  <a:lnTo>
                    <a:pt x="512" y="547"/>
                  </a:lnTo>
                  <a:lnTo>
                    <a:pt x="512" y="544"/>
                  </a:lnTo>
                  <a:lnTo>
                    <a:pt x="512" y="542"/>
                  </a:lnTo>
                  <a:lnTo>
                    <a:pt x="512" y="539"/>
                  </a:lnTo>
                  <a:lnTo>
                    <a:pt x="512" y="539"/>
                  </a:lnTo>
                  <a:lnTo>
                    <a:pt x="512" y="537"/>
                  </a:lnTo>
                  <a:lnTo>
                    <a:pt x="510" y="537"/>
                  </a:lnTo>
                  <a:lnTo>
                    <a:pt x="512" y="537"/>
                  </a:lnTo>
                  <a:lnTo>
                    <a:pt x="512" y="534"/>
                  </a:lnTo>
                  <a:lnTo>
                    <a:pt x="512" y="532"/>
                  </a:lnTo>
                  <a:lnTo>
                    <a:pt x="512" y="532"/>
                  </a:lnTo>
                  <a:lnTo>
                    <a:pt x="512" y="527"/>
                  </a:lnTo>
                  <a:lnTo>
                    <a:pt x="515" y="527"/>
                  </a:lnTo>
                  <a:lnTo>
                    <a:pt x="515" y="524"/>
                  </a:lnTo>
                  <a:close/>
                  <a:moveTo>
                    <a:pt x="507" y="562"/>
                  </a:moveTo>
                  <a:lnTo>
                    <a:pt x="507" y="562"/>
                  </a:lnTo>
                  <a:lnTo>
                    <a:pt x="505" y="565"/>
                  </a:lnTo>
                  <a:lnTo>
                    <a:pt x="505" y="565"/>
                  </a:lnTo>
                  <a:lnTo>
                    <a:pt x="505" y="567"/>
                  </a:lnTo>
                  <a:lnTo>
                    <a:pt x="505" y="570"/>
                  </a:lnTo>
                  <a:lnTo>
                    <a:pt x="507" y="570"/>
                  </a:lnTo>
                  <a:lnTo>
                    <a:pt x="507" y="570"/>
                  </a:lnTo>
                  <a:lnTo>
                    <a:pt x="510" y="565"/>
                  </a:lnTo>
                  <a:lnTo>
                    <a:pt x="510" y="565"/>
                  </a:lnTo>
                  <a:lnTo>
                    <a:pt x="507" y="562"/>
                  </a:lnTo>
                  <a:close/>
                  <a:moveTo>
                    <a:pt x="515" y="598"/>
                  </a:moveTo>
                  <a:lnTo>
                    <a:pt x="515" y="600"/>
                  </a:lnTo>
                  <a:lnTo>
                    <a:pt x="515" y="600"/>
                  </a:lnTo>
                  <a:lnTo>
                    <a:pt x="515" y="600"/>
                  </a:lnTo>
                  <a:lnTo>
                    <a:pt x="515" y="603"/>
                  </a:lnTo>
                  <a:lnTo>
                    <a:pt x="515" y="600"/>
                  </a:lnTo>
                  <a:lnTo>
                    <a:pt x="517" y="600"/>
                  </a:lnTo>
                  <a:lnTo>
                    <a:pt x="515" y="600"/>
                  </a:lnTo>
                  <a:lnTo>
                    <a:pt x="515" y="598"/>
                  </a:lnTo>
                  <a:close/>
                  <a:moveTo>
                    <a:pt x="122" y="621"/>
                  </a:moveTo>
                  <a:lnTo>
                    <a:pt x="122" y="621"/>
                  </a:lnTo>
                  <a:lnTo>
                    <a:pt x="122" y="621"/>
                  </a:lnTo>
                  <a:lnTo>
                    <a:pt x="120" y="621"/>
                  </a:lnTo>
                  <a:lnTo>
                    <a:pt x="120" y="621"/>
                  </a:lnTo>
                  <a:lnTo>
                    <a:pt x="120" y="621"/>
                  </a:lnTo>
                  <a:lnTo>
                    <a:pt x="122" y="621"/>
                  </a:lnTo>
                  <a:lnTo>
                    <a:pt x="122" y="621"/>
                  </a:lnTo>
                  <a:lnTo>
                    <a:pt x="122" y="621"/>
                  </a:lnTo>
                  <a:lnTo>
                    <a:pt x="122" y="621"/>
                  </a:lnTo>
                  <a:lnTo>
                    <a:pt x="122" y="621"/>
                  </a:lnTo>
                  <a:lnTo>
                    <a:pt x="122" y="621"/>
                  </a:lnTo>
                  <a:lnTo>
                    <a:pt x="122" y="621"/>
                  </a:lnTo>
                  <a:close/>
                  <a:moveTo>
                    <a:pt x="112" y="555"/>
                  </a:moveTo>
                  <a:lnTo>
                    <a:pt x="112" y="555"/>
                  </a:lnTo>
                  <a:lnTo>
                    <a:pt x="112" y="555"/>
                  </a:lnTo>
                  <a:lnTo>
                    <a:pt x="112" y="555"/>
                  </a:lnTo>
                  <a:lnTo>
                    <a:pt x="112" y="555"/>
                  </a:lnTo>
                  <a:lnTo>
                    <a:pt x="112" y="555"/>
                  </a:lnTo>
                  <a:lnTo>
                    <a:pt x="112" y="552"/>
                  </a:lnTo>
                  <a:lnTo>
                    <a:pt x="112" y="552"/>
                  </a:lnTo>
                  <a:lnTo>
                    <a:pt x="112" y="555"/>
                  </a:lnTo>
                  <a:close/>
                  <a:moveTo>
                    <a:pt x="535" y="641"/>
                  </a:moveTo>
                  <a:lnTo>
                    <a:pt x="535" y="641"/>
                  </a:lnTo>
                  <a:lnTo>
                    <a:pt x="535" y="641"/>
                  </a:lnTo>
                  <a:lnTo>
                    <a:pt x="535" y="644"/>
                  </a:lnTo>
                  <a:lnTo>
                    <a:pt x="535" y="644"/>
                  </a:lnTo>
                  <a:lnTo>
                    <a:pt x="538" y="641"/>
                  </a:lnTo>
                  <a:lnTo>
                    <a:pt x="535" y="641"/>
                  </a:lnTo>
                  <a:close/>
                  <a:moveTo>
                    <a:pt x="515" y="537"/>
                  </a:moveTo>
                  <a:lnTo>
                    <a:pt x="515" y="537"/>
                  </a:lnTo>
                  <a:lnTo>
                    <a:pt x="515" y="537"/>
                  </a:lnTo>
                  <a:lnTo>
                    <a:pt x="517" y="539"/>
                  </a:lnTo>
                  <a:lnTo>
                    <a:pt x="517" y="537"/>
                  </a:lnTo>
                  <a:lnTo>
                    <a:pt x="515" y="537"/>
                  </a:lnTo>
                  <a:close/>
                  <a:moveTo>
                    <a:pt x="548" y="180"/>
                  </a:moveTo>
                  <a:lnTo>
                    <a:pt x="550" y="178"/>
                  </a:lnTo>
                  <a:lnTo>
                    <a:pt x="550" y="175"/>
                  </a:lnTo>
                  <a:lnTo>
                    <a:pt x="553" y="175"/>
                  </a:lnTo>
                  <a:lnTo>
                    <a:pt x="553" y="175"/>
                  </a:lnTo>
                  <a:lnTo>
                    <a:pt x="556" y="175"/>
                  </a:lnTo>
                  <a:lnTo>
                    <a:pt x="556" y="173"/>
                  </a:lnTo>
                  <a:lnTo>
                    <a:pt x="553" y="173"/>
                  </a:lnTo>
                  <a:lnTo>
                    <a:pt x="553" y="170"/>
                  </a:lnTo>
                  <a:lnTo>
                    <a:pt x="553" y="170"/>
                  </a:lnTo>
                  <a:lnTo>
                    <a:pt x="553" y="168"/>
                  </a:lnTo>
                  <a:lnTo>
                    <a:pt x="553" y="168"/>
                  </a:lnTo>
                  <a:lnTo>
                    <a:pt x="548" y="165"/>
                  </a:lnTo>
                  <a:lnTo>
                    <a:pt x="548" y="165"/>
                  </a:lnTo>
                  <a:lnTo>
                    <a:pt x="545" y="165"/>
                  </a:lnTo>
                  <a:lnTo>
                    <a:pt x="543" y="165"/>
                  </a:lnTo>
                  <a:lnTo>
                    <a:pt x="543" y="165"/>
                  </a:lnTo>
                  <a:lnTo>
                    <a:pt x="538" y="163"/>
                  </a:lnTo>
                  <a:lnTo>
                    <a:pt x="538" y="163"/>
                  </a:lnTo>
                  <a:lnTo>
                    <a:pt x="535" y="163"/>
                  </a:lnTo>
                  <a:lnTo>
                    <a:pt x="535" y="165"/>
                  </a:lnTo>
                  <a:lnTo>
                    <a:pt x="533" y="165"/>
                  </a:lnTo>
                  <a:lnTo>
                    <a:pt x="533" y="165"/>
                  </a:lnTo>
                  <a:lnTo>
                    <a:pt x="533" y="163"/>
                  </a:lnTo>
                  <a:lnTo>
                    <a:pt x="533" y="163"/>
                  </a:lnTo>
                  <a:lnTo>
                    <a:pt x="533" y="163"/>
                  </a:lnTo>
                  <a:lnTo>
                    <a:pt x="533" y="163"/>
                  </a:lnTo>
                  <a:lnTo>
                    <a:pt x="533" y="160"/>
                  </a:lnTo>
                  <a:lnTo>
                    <a:pt x="533" y="160"/>
                  </a:lnTo>
                  <a:lnTo>
                    <a:pt x="535" y="155"/>
                  </a:lnTo>
                  <a:lnTo>
                    <a:pt x="535" y="155"/>
                  </a:lnTo>
                  <a:lnTo>
                    <a:pt x="533" y="150"/>
                  </a:lnTo>
                  <a:lnTo>
                    <a:pt x="533" y="150"/>
                  </a:lnTo>
                  <a:lnTo>
                    <a:pt x="533" y="150"/>
                  </a:lnTo>
                  <a:lnTo>
                    <a:pt x="530" y="150"/>
                  </a:lnTo>
                  <a:lnTo>
                    <a:pt x="528" y="153"/>
                  </a:lnTo>
                  <a:lnTo>
                    <a:pt x="528" y="153"/>
                  </a:lnTo>
                  <a:lnTo>
                    <a:pt x="528" y="150"/>
                  </a:lnTo>
                  <a:lnTo>
                    <a:pt x="525" y="147"/>
                  </a:lnTo>
                  <a:lnTo>
                    <a:pt x="528" y="147"/>
                  </a:lnTo>
                  <a:lnTo>
                    <a:pt x="528" y="147"/>
                  </a:lnTo>
                  <a:lnTo>
                    <a:pt x="530" y="145"/>
                  </a:lnTo>
                  <a:lnTo>
                    <a:pt x="530" y="145"/>
                  </a:lnTo>
                  <a:lnTo>
                    <a:pt x="528" y="145"/>
                  </a:lnTo>
                  <a:lnTo>
                    <a:pt x="528" y="145"/>
                  </a:lnTo>
                  <a:lnTo>
                    <a:pt x="525" y="145"/>
                  </a:lnTo>
                  <a:lnTo>
                    <a:pt x="525" y="142"/>
                  </a:lnTo>
                  <a:lnTo>
                    <a:pt x="522" y="140"/>
                  </a:lnTo>
                  <a:lnTo>
                    <a:pt x="522" y="140"/>
                  </a:lnTo>
                  <a:lnTo>
                    <a:pt x="520" y="142"/>
                  </a:lnTo>
                  <a:lnTo>
                    <a:pt x="517" y="142"/>
                  </a:lnTo>
                  <a:lnTo>
                    <a:pt x="512" y="145"/>
                  </a:lnTo>
                  <a:lnTo>
                    <a:pt x="512" y="147"/>
                  </a:lnTo>
                  <a:lnTo>
                    <a:pt x="512" y="147"/>
                  </a:lnTo>
                  <a:lnTo>
                    <a:pt x="512" y="147"/>
                  </a:lnTo>
                  <a:lnTo>
                    <a:pt x="512" y="150"/>
                  </a:lnTo>
                  <a:lnTo>
                    <a:pt x="512" y="150"/>
                  </a:lnTo>
                  <a:lnTo>
                    <a:pt x="510" y="150"/>
                  </a:lnTo>
                  <a:lnTo>
                    <a:pt x="510" y="150"/>
                  </a:lnTo>
                  <a:lnTo>
                    <a:pt x="507" y="147"/>
                  </a:lnTo>
                  <a:lnTo>
                    <a:pt x="505" y="147"/>
                  </a:lnTo>
                  <a:lnTo>
                    <a:pt x="502" y="147"/>
                  </a:lnTo>
                  <a:lnTo>
                    <a:pt x="500" y="147"/>
                  </a:lnTo>
                  <a:lnTo>
                    <a:pt x="500" y="145"/>
                  </a:lnTo>
                  <a:lnTo>
                    <a:pt x="497" y="145"/>
                  </a:lnTo>
                  <a:lnTo>
                    <a:pt x="497" y="142"/>
                  </a:lnTo>
                  <a:lnTo>
                    <a:pt x="494" y="142"/>
                  </a:lnTo>
                  <a:lnTo>
                    <a:pt x="492" y="145"/>
                  </a:lnTo>
                  <a:lnTo>
                    <a:pt x="489" y="147"/>
                  </a:lnTo>
                  <a:lnTo>
                    <a:pt x="489" y="150"/>
                  </a:lnTo>
                  <a:lnTo>
                    <a:pt x="487" y="150"/>
                  </a:lnTo>
                  <a:lnTo>
                    <a:pt x="484" y="150"/>
                  </a:lnTo>
                  <a:lnTo>
                    <a:pt x="487" y="153"/>
                  </a:lnTo>
                  <a:lnTo>
                    <a:pt x="484" y="153"/>
                  </a:lnTo>
                  <a:lnTo>
                    <a:pt x="484" y="155"/>
                  </a:lnTo>
                  <a:lnTo>
                    <a:pt x="482" y="155"/>
                  </a:lnTo>
                  <a:lnTo>
                    <a:pt x="479" y="158"/>
                  </a:lnTo>
                  <a:lnTo>
                    <a:pt x="474" y="158"/>
                  </a:lnTo>
                  <a:lnTo>
                    <a:pt x="471" y="158"/>
                  </a:lnTo>
                  <a:lnTo>
                    <a:pt x="471" y="160"/>
                  </a:lnTo>
                  <a:lnTo>
                    <a:pt x="471" y="163"/>
                  </a:lnTo>
                  <a:lnTo>
                    <a:pt x="471" y="163"/>
                  </a:lnTo>
                  <a:lnTo>
                    <a:pt x="469" y="165"/>
                  </a:lnTo>
                  <a:lnTo>
                    <a:pt x="466" y="168"/>
                  </a:lnTo>
                  <a:lnTo>
                    <a:pt x="464" y="170"/>
                  </a:lnTo>
                  <a:lnTo>
                    <a:pt x="464" y="170"/>
                  </a:lnTo>
                  <a:lnTo>
                    <a:pt x="464" y="170"/>
                  </a:lnTo>
                  <a:lnTo>
                    <a:pt x="464" y="173"/>
                  </a:lnTo>
                  <a:lnTo>
                    <a:pt x="464" y="173"/>
                  </a:lnTo>
                  <a:lnTo>
                    <a:pt x="464" y="173"/>
                  </a:lnTo>
                  <a:lnTo>
                    <a:pt x="464" y="173"/>
                  </a:lnTo>
                  <a:lnTo>
                    <a:pt x="461" y="175"/>
                  </a:lnTo>
                  <a:lnTo>
                    <a:pt x="461" y="175"/>
                  </a:lnTo>
                  <a:lnTo>
                    <a:pt x="459" y="178"/>
                  </a:lnTo>
                  <a:lnTo>
                    <a:pt x="459" y="178"/>
                  </a:lnTo>
                  <a:lnTo>
                    <a:pt x="456" y="178"/>
                  </a:lnTo>
                  <a:lnTo>
                    <a:pt x="456" y="175"/>
                  </a:lnTo>
                  <a:lnTo>
                    <a:pt x="456" y="178"/>
                  </a:lnTo>
                  <a:lnTo>
                    <a:pt x="454" y="178"/>
                  </a:lnTo>
                  <a:lnTo>
                    <a:pt x="454" y="178"/>
                  </a:lnTo>
                  <a:lnTo>
                    <a:pt x="451" y="178"/>
                  </a:lnTo>
                  <a:lnTo>
                    <a:pt x="451" y="178"/>
                  </a:lnTo>
                  <a:lnTo>
                    <a:pt x="449" y="178"/>
                  </a:lnTo>
                  <a:lnTo>
                    <a:pt x="446" y="178"/>
                  </a:lnTo>
                  <a:lnTo>
                    <a:pt x="443" y="178"/>
                  </a:lnTo>
                  <a:lnTo>
                    <a:pt x="443" y="178"/>
                  </a:lnTo>
                  <a:lnTo>
                    <a:pt x="443" y="180"/>
                  </a:lnTo>
                  <a:lnTo>
                    <a:pt x="443" y="180"/>
                  </a:lnTo>
                  <a:lnTo>
                    <a:pt x="443" y="183"/>
                  </a:lnTo>
                  <a:lnTo>
                    <a:pt x="446" y="186"/>
                  </a:lnTo>
                  <a:lnTo>
                    <a:pt x="449" y="186"/>
                  </a:lnTo>
                  <a:lnTo>
                    <a:pt x="451" y="186"/>
                  </a:lnTo>
                  <a:lnTo>
                    <a:pt x="451" y="186"/>
                  </a:lnTo>
                  <a:lnTo>
                    <a:pt x="454" y="186"/>
                  </a:lnTo>
                  <a:lnTo>
                    <a:pt x="454" y="188"/>
                  </a:lnTo>
                  <a:lnTo>
                    <a:pt x="456" y="188"/>
                  </a:lnTo>
                  <a:lnTo>
                    <a:pt x="454" y="191"/>
                  </a:lnTo>
                  <a:lnTo>
                    <a:pt x="454" y="193"/>
                  </a:lnTo>
                  <a:lnTo>
                    <a:pt x="454" y="193"/>
                  </a:lnTo>
                  <a:lnTo>
                    <a:pt x="454" y="193"/>
                  </a:lnTo>
                  <a:lnTo>
                    <a:pt x="456" y="196"/>
                  </a:lnTo>
                  <a:lnTo>
                    <a:pt x="456" y="196"/>
                  </a:lnTo>
                  <a:lnTo>
                    <a:pt x="456" y="198"/>
                  </a:lnTo>
                  <a:lnTo>
                    <a:pt x="456" y="198"/>
                  </a:lnTo>
                  <a:lnTo>
                    <a:pt x="456" y="198"/>
                  </a:lnTo>
                  <a:lnTo>
                    <a:pt x="454" y="198"/>
                  </a:lnTo>
                  <a:lnTo>
                    <a:pt x="454" y="198"/>
                  </a:lnTo>
                  <a:lnTo>
                    <a:pt x="454" y="198"/>
                  </a:lnTo>
                  <a:lnTo>
                    <a:pt x="451" y="198"/>
                  </a:lnTo>
                  <a:lnTo>
                    <a:pt x="449" y="201"/>
                  </a:lnTo>
                  <a:lnTo>
                    <a:pt x="446" y="201"/>
                  </a:lnTo>
                  <a:lnTo>
                    <a:pt x="446" y="198"/>
                  </a:lnTo>
                  <a:lnTo>
                    <a:pt x="443" y="198"/>
                  </a:lnTo>
                  <a:lnTo>
                    <a:pt x="441" y="201"/>
                  </a:lnTo>
                  <a:lnTo>
                    <a:pt x="438" y="201"/>
                  </a:lnTo>
                  <a:lnTo>
                    <a:pt x="433" y="201"/>
                  </a:lnTo>
                  <a:lnTo>
                    <a:pt x="431" y="201"/>
                  </a:lnTo>
                  <a:lnTo>
                    <a:pt x="428" y="201"/>
                  </a:lnTo>
                  <a:lnTo>
                    <a:pt x="428" y="201"/>
                  </a:lnTo>
                  <a:lnTo>
                    <a:pt x="426" y="198"/>
                  </a:lnTo>
                  <a:lnTo>
                    <a:pt x="423" y="198"/>
                  </a:lnTo>
                  <a:lnTo>
                    <a:pt x="421" y="198"/>
                  </a:lnTo>
                  <a:lnTo>
                    <a:pt x="421" y="198"/>
                  </a:lnTo>
                  <a:lnTo>
                    <a:pt x="421" y="201"/>
                  </a:lnTo>
                  <a:lnTo>
                    <a:pt x="415" y="201"/>
                  </a:lnTo>
                  <a:lnTo>
                    <a:pt x="413" y="203"/>
                  </a:lnTo>
                  <a:lnTo>
                    <a:pt x="410" y="203"/>
                  </a:lnTo>
                  <a:lnTo>
                    <a:pt x="410" y="201"/>
                  </a:lnTo>
                  <a:lnTo>
                    <a:pt x="410" y="201"/>
                  </a:lnTo>
                  <a:lnTo>
                    <a:pt x="410" y="201"/>
                  </a:lnTo>
                  <a:lnTo>
                    <a:pt x="408" y="201"/>
                  </a:lnTo>
                  <a:lnTo>
                    <a:pt x="408" y="201"/>
                  </a:lnTo>
                  <a:lnTo>
                    <a:pt x="408" y="201"/>
                  </a:lnTo>
                  <a:lnTo>
                    <a:pt x="405" y="198"/>
                  </a:lnTo>
                  <a:lnTo>
                    <a:pt x="403" y="198"/>
                  </a:lnTo>
                  <a:lnTo>
                    <a:pt x="400" y="201"/>
                  </a:lnTo>
                  <a:lnTo>
                    <a:pt x="398" y="198"/>
                  </a:lnTo>
                  <a:lnTo>
                    <a:pt x="395" y="198"/>
                  </a:lnTo>
                  <a:lnTo>
                    <a:pt x="395" y="196"/>
                  </a:lnTo>
                  <a:lnTo>
                    <a:pt x="392" y="193"/>
                  </a:lnTo>
                  <a:lnTo>
                    <a:pt x="392" y="193"/>
                  </a:lnTo>
                  <a:lnTo>
                    <a:pt x="392" y="193"/>
                  </a:lnTo>
                  <a:lnTo>
                    <a:pt x="390" y="191"/>
                  </a:lnTo>
                  <a:lnTo>
                    <a:pt x="390" y="191"/>
                  </a:lnTo>
                  <a:lnTo>
                    <a:pt x="392" y="188"/>
                  </a:lnTo>
                  <a:lnTo>
                    <a:pt x="392" y="188"/>
                  </a:lnTo>
                  <a:lnTo>
                    <a:pt x="392" y="188"/>
                  </a:lnTo>
                  <a:lnTo>
                    <a:pt x="390" y="186"/>
                  </a:lnTo>
                  <a:lnTo>
                    <a:pt x="390" y="183"/>
                  </a:lnTo>
                  <a:lnTo>
                    <a:pt x="390" y="178"/>
                  </a:lnTo>
                  <a:lnTo>
                    <a:pt x="390" y="175"/>
                  </a:lnTo>
                  <a:lnTo>
                    <a:pt x="390" y="175"/>
                  </a:lnTo>
                  <a:lnTo>
                    <a:pt x="387" y="173"/>
                  </a:lnTo>
                  <a:lnTo>
                    <a:pt x="387" y="173"/>
                  </a:lnTo>
                  <a:lnTo>
                    <a:pt x="385" y="170"/>
                  </a:lnTo>
                  <a:lnTo>
                    <a:pt x="385" y="170"/>
                  </a:lnTo>
                  <a:lnTo>
                    <a:pt x="382" y="170"/>
                  </a:lnTo>
                  <a:lnTo>
                    <a:pt x="382" y="173"/>
                  </a:lnTo>
                  <a:lnTo>
                    <a:pt x="382" y="173"/>
                  </a:lnTo>
                  <a:lnTo>
                    <a:pt x="380" y="173"/>
                  </a:lnTo>
                  <a:lnTo>
                    <a:pt x="377" y="173"/>
                  </a:lnTo>
                  <a:lnTo>
                    <a:pt x="375" y="175"/>
                  </a:lnTo>
                  <a:lnTo>
                    <a:pt x="375" y="175"/>
                  </a:lnTo>
                  <a:lnTo>
                    <a:pt x="375" y="175"/>
                  </a:lnTo>
                  <a:lnTo>
                    <a:pt x="377" y="175"/>
                  </a:lnTo>
                  <a:lnTo>
                    <a:pt x="377" y="178"/>
                  </a:lnTo>
                  <a:lnTo>
                    <a:pt x="377" y="178"/>
                  </a:lnTo>
                  <a:lnTo>
                    <a:pt x="377" y="180"/>
                  </a:lnTo>
                  <a:lnTo>
                    <a:pt x="377" y="183"/>
                  </a:lnTo>
                  <a:lnTo>
                    <a:pt x="375" y="186"/>
                  </a:lnTo>
                  <a:lnTo>
                    <a:pt x="377" y="193"/>
                  </a:lnTo>
                  <a:lnTo>
                    <a:pt x="377" y="193"/>
                  </a:lnTo>
                  <a:lnTo>
                    <a:pt x="380" y="198"/>
                  </a:lnTo>
                  <a:lnTo>
                    <a:pt x="380" y="201"/>
                  </a:lnTo>
                  <a:lnTo>
                    <a:pt x="382" y="201"/>
                  </a:lnTo>
                  <a:lnTo>
                    <a:pt x="380" y="206"/>
                  </a:lnTo>
                  <a:lnTo>
                    <a:pt x="380" y="208"/>
                  </a:lnTo>
                  <a:lnTo>
                    <a:pt x="380" y="208"/>
                  </a:lnTo>
                  <a:lnTo>
                    <a:pt x="380" y="208"/>
                  </a:lnTo>
                  <a:lnTo>
                    <a:pt x="377" y="208"/>
                  </a:lnTo>
                  <a:lnTo>
                    <a:pt x="375" y="208"/>
                  </a:lnTo>
                  <a:lnTo>
                    <a:pt x="372" y="208"/>
                  </a:lnTo>
                  <a:lnTo>
                    <a:pt x="370" y="208"/>
                  </a:lnTo>
                  <a:lnTo>
                    <a:pt x="367" y="208"/>
                  </a:lnTo>
                  <a:lnTo>
                    <a:pt x="364" y="211"/>
                  </a:lnTo>
                  <a:lnTo>
                    <a:pt x="362" y="208"/>
                  </a:lnTo>
                  <a:lnTo>
                    <a:pt x="362" y="208"/>
                  </a:lnTo>
                  <a:lnTo>
                    <a:pt x="359" y="206"/>
                  </a:lnTo>
                  <a:lnTo>
                    <a:pt x="359" y="206"/>
                  </a:lnTo>
                  <a:lnTo>
                    <a:pt x="354" y="208"/>
                  </a:lnTo>
                  <a:lnTo>
                    <a:pt x="354" y="208"/>
                  </a:lnTo>
                  <a:lnTo>
                    <a:pt x="352" y="206"/>
                  </a:lnTo>
                  <a:lnTo>
                    <a:pt x="347" y="206"/>
                  </a:lnTo>
                  <a:lnTo>
                    <a:pt x="347" y="206"/>
                  </a:lnTo>
                  <a:lnTo>
                    <a:pt x="344" y="206"/>
                  </a:lnTo>
                  <a:lnTo>
                    <a:pt x="342" y="203"/>
                  </a:lnTo>
                  <a:lnTo>
                    <a:pt x="339" y="203"/>
                  </a:lnTo>
                  <a:lnTo>
                    <a:pt x="336" y="206"/>
                  </a:lnTo>
                  <a:lnTo>
                    <a:pt x="336" y="203"/>
                  </a:lnTo>
                  <a:lnTo>
                    <a:pt x="334" y="203"/>
                  </a:lnTo>
                  <a:lnTo>
                    <a:pt x="334" y="203"/>
                  </a:lnTo>
                  <a:lnTo>
                    <a:pt x="334" y="201"/>
                  </a:lnTo>
                  <a:lnTo>
                    <a:pt x="331" y="198"/>
                  </a:lnTo>
                  <a:lnTo>
                    <a:pt x="331" y="198"/>
                  </a:lnTo>
                  <a:lnTo>
                    <a:pt x="329" y="201"/>
                  </a:lnTo>
                  <a:lnTo>
                    <a:pt x="326" y="201"/>
                  </a:lnTo>
                  <a:lnTo>
                    <a:pt x="324" y="201"/>
                  </a:lnTo>
                  <a:lnTo>
                    <a:pt x="324" y="201"/>
                  </a:lnTo>
                  <a:lnTo>
                    <a:pt x="324" y="201"/>
                  </a:lnTo>
                  <a:lnTo>
                    <a:pt x="321" y="198"/>
                  </a:lnTo>
                  <a:lnTo>
                    <a:pt x="321" y="198"/>
                  </a:lnTo>
                  <a:lnTo>
                    <a:pt x="321" y="198"/>
                  </a:lnTo>
                  <a:lnTo>
                    <a:pt x="319" y="198"/>
                  </a:lnTo>
                  <a:lnTo>
                    <a:pt x="319" y="198"/>
                  </a:lnTo>
                  <a:lnTo>
                    <a:pt x="313" y="196"/>
                  </a:lnTo>
                  <a:lnTo>
                    <a:pt x="311" y="193"/>
                  </a:lnTo>
                  <a:lnTo>
                    <a:pt x="311" y="191"/>
                  </a:lnTo>
                  <a:lnTo>
                    <a:pt x="311" y="191"/>
                  </a:lnTo>
                  <a:lnTo>
                    <a:pt x="311" y="188"/>
                  </a:lnTo>
                  <a:lnTo>
                    <a:pt x="308" y="188"/>
                  </a:lnTo>
                  <a:lnTo>
                    <a:pt x="303" y="186"/>
                  </a:lnTo>
                  <a:lnTo>
                    <a:pt x="298" y="186"/>
                  </a:lnTo>
                  <a:lnTo>
                    <a:pt x="298" y="186"/>
                  </a:lnTo>
                  <a:lnTo>
                    <a:pt x="296" y="186"/>
                  </a:lnTo>
                  <a:lnTo>
                    <a:pt x="296" y="188"/>
                  </a:lnTo>
                  <a:lnTo>
                    <a:pt x="293" y="186"/>
                  </a:lnTo>
                  <a:lnTo>
                    <a:pt x="288" y="186"/>
                  </a:lnTo>
                  <a:lnTo>
                    <a:pt x="285" y="186"/>
                  </a:lnTo>
                  <a:lnTo>
                    <a:pt x="285" y="186"/>
                  </a:lnTo>
                  <a:lnTo>
                    <a:pt x="285" y="186"/>
                  </a:lnTo>
                  <a:lnTo>
                    <a:pt x="283" y="188"/>
                  </a:lnTo>
                  <a:lnTo>
                    <a:pt x="283" y="186"/>
                  </a:lnTo>
                  <a:lnTo>
                    <a:pt x="280" y="186"/>
                  </a:lnTo>
                  <a:lnTo>
                    <a:pt x="278" y="186"/>
                  </a:lnTo>
                  <a:lnTo>
                    <a:pt x="273" y="183"/>
                  </a:lnTo>
                  <a:lnTo>
                    <a:pt x="273" y="183"/>
                  </a:lnTo>
                  <a:lnTo>
                    <a:pt x="270" y="180"/>
                  </a:lnTo>
                  <a:lnTo>
                    <a:pt x="270" y="180"/>
                  </a:lnTo>
                  <a:lnTo>
                    <a:pt x="268" y="180"/>
                  </a:lnTo>
                  <a:lnTo>
                    <a:pt x="263" y="178"/>
                  </a:lnTo>
                  <a:lnTo>
                    <a:pt x="260" y="175"/>
                  </a:lnTo>
                  <a:lnTo>
                    <a:pt x="257" y="175"/>
                  </a:lnTo>
                  <a:lnTo>
                    <a:pt x="257" y="175"/>
                  </a:lnTo>
                  <a:lnTo>
                    <a:pt x="255" y="175"/>
                  </a:lnTo>
                  <a:lnTo>
                    <a:pt x="255" y="175"/>
                  </a:lnTo>
                  <a:lnTo>
                    <a:pt x="255" y="175"/>
                  </a:lnTo>
                  <a:lnTo>
                    <a:pt x="252" y="175"/>
                  </a:lnTo>
                  <a:lnTo>
                    <a:pt x="250" y="173"/>
                  </a:lnTo>
                  <a:lnTo>
                    <a:pt x="247" y="170"/>
                  </a:lnTo>
                  <a:lnTo>
                    <a:pt x="242" y="168"/>
                  </a:lnTo>
                  <a:lnTo>
                    <a:pt x="240" y="168"/>
                  </a:lnTo>
                  <a:lnTo>
                    <a:pt x="240" y="165"/>
                  </a:lnTo>
                  <a:lnTo>
                    <a:pt x="240" y="165"/>
                  </a:lnTo>
                  <a:lnTo>
                    <a:pt x="237" y="163"/>
                  </a:lnTo>
                  <a:lnTo>
                    <a:pt x="234" y="163"/>
                  </a:lnTo>
                  <a:lnTo>
                    <a:pt x="229" y="160"/>
                  </a:lnTo>
                  <a:lnTo>
                    <a:pt x="229" y="160"/>
                  </a:lnTo>
                  <a:lnTo>
                    <a:pt x="229" y="160"/>
                  </a:lnTo>
                  <a:lnTo>
                    <a:pt x="227" y="158"/>
                  </a:lnTo>
                  <a:lnTo>
                    <a:pt x="224" y="158"/>
                  </a:lnTo>
                  <a:lnTo>
                    <a:pt x="224" y="158"/>
                  </a:lnTo>
                  <a:lnTo>
                    <a:pt x="224" y="160"/>
                  </a:lnTo>
                  <a:lnTo>
                    <a:pt x="224" y="160"/>
                  </a:lnTo>
                  <a:lnTo>
                    <a:pt x="222" y="158"/>
                  </a:lnTo>
                  <a:lnTo>
                    <a:pt x="219" y="158"/>
                  </a:lnTo>
                  <a:lnTo>
                    <a:pt x="217" y="155"/>
                  </a:lnTo>
                  <a:lnTo>
                    <a:pt x="217" y="155"/>
                  </a:lnTo>
                  <a:lnTo>
                    <a:pt x="214" y="153"/>
                  </a:lnTo>
                  <a:lnTo>
                    <a:pt x="217" y="150"/>
                  </a:lnTo>
                  <a:lnTo>
                    <a:pt x="217" y="147"/>
                  </a:lnTo>
                  <a:lnTo>
                    <a:pt x="217" y="147"/>
                  </a:lnTo>
                  <a:lnTo>
                    <a:pt x="217" y="145"/>
                  </a:lnTo>
                  <a:lnTo>
                    <a:pt x="217" y="142"/>
                  </a:lnTo>
                  <a:lnTo>
                    <a:pt x="217" y="140"/>
                  </a:lnTo>
                  <a:lnTo>
                    <a:pt x="217" y="137"/>
                  </a:lnTo>
                  <a:lnTo>
                    <a:pt x="219" y="135"/>
                  </a:lnTo>
                  <a:lnTo>
                    <a:pt x="222" y="130"/>
                  </a:lnTo>
                  <a:lnTo>
                    <a:pt x="222" y="130"/>
                  </a:lnTo>
                  <a:lnTo>
                    <a:pt x="222" y="127"/>
                  </a:lnTo>
                  <a:lnTo>
                    <a:pt x="224" y="125"/>
                  </a:lnTo>
                  <a:lnTo>
                    <a:pt x="224" y="125"/>
                  </a:lnTo>
                  <a:lnTo>
                    <a:pt x="227" y="125"/>
                  </a:lnTo>
                  <a:lnTo>
                    <a:pt x="227" y="125"/>
                  </a:lnTo>
                  <a:lnTo>
                    <a:pt x="229" y="125"/>
                  </a:lnTo>
                  <a:lnTo>
                    <a:pt x="227" y="122"/>
                  </a:lnTo>
                  <a:lnTo>
                    <a:pt x="224" y="122"/>
                  </a:lnTo>
                  <a:lnTo>
                    <a:pt x="222" y="119"/>
                  </a:lnTo>
                  <a:lnTo>
                    <a:pt x="222" y="117"/>
                  </a:lnTo>
                  <a:lnTo>
                    <a:pt x="219" y="117"/>
                  </a:lnTo>
                  <a:lnTo>
                    <a:pt x="219" y="117"/>
                  </a:lnTo>
                  <a:lnTo>
                    <a:pt x="217" y="117"/>
                  </a:lnTo>
                  <a:lnTo>
                    <a:pt x="212" y="114"/>
                  </a:lnTo>
                  <a:lnTo>
                    <a:pt x="212" y="114"/>
                  </a:lnTo>
                  <a:lnTo>
                    <a:pt x="212" y="114"/>
                  </a:lnTo>
                  <a:lnTo>
                    <a:pt x="212" y="112"/>
                  </a:lnTo>
                  <a:lnTo>
                    <a:pt x="209" y="109"/>
                  </a:lnTo>
                  <a:lnTo>
                    <a:pt x="209" y="109"/>
                  </a:lnTo>
                  <a:lnTo>
                    <a:pt x="209" y="109"/>
                  </a:lnTo>
                  <a:lnTo>
                    <a:pt x="204" y="107"/>
                  </a:lnTo>
                  <a:lnTo>
                    <a:pt x="204" y="107"/>
                  </a:lnTo>
                  <a:lnTo>
                    <a:pt x="204" y="107"/>
                  </a:lnTo>
                  <a:lnTo>
                    <a:pt x="204" y="107"/>
                  </a:lnTo>
                  <a:lnTo>
                    <a:pt x="204" y="107"/>
                  </a:lnTo>
                  <a:lnTo>
                    <a:pt x="201" y="107"/>
                  </a:lnTo>
                  <a:lnTo>
                    <a:pt x="199" y="107"/>
                  </a:lnTo>
                  <a:lnTo>
                    <a:pt x="196" y="107"/>
                  </a:lnTo>
                  <a:lnTo>
                    <a:pt x="196" y="104"/>
                  </a:lnTo>
                  <a:lnTo>
                    <a:pt x="194" y="104"/>
                  </a:lnTo>
                  <a:lnTo>
                    <a:pt x="194" y="104"/>
                  </a:lnTo>
                  <a:lnTo>
                    <a:pt x="194" y="104"/>
                  </a:lnTo>
                  <a:lnTo>
                    <a:pt x="191" y="102"/>
                  </a:lnTo>
                  <a:lnTo>
                    <a:pt x="189" y="99"/>
                  </a:lnTo>
                  <a:lnTo>
                    <a:pt x="186" y="97"/>
                  </a:lnTo>
                  <a:lnTo>
                    <a:pt x="186" y="94"/>
                  </a:lnTo>
                  <a:lnTo>
                    <a:pt x="184" y="97"/>
                  </a:lnTo>
                  <a:lnTo>
                    <a:pt x="184" y="97"/>
                  </a:lnTo>
                  <a:lnTo>
                    <a:pt x="184" y="97"/>
                  </a:lnTo>
                  <a:lnTo>
                    <a:pt x="184" y="97"/>
                  </a:lnTo>
                  <a:lnTo>
                    <a:pt x="181" y="99"/>
                  </a:lnTo>
                  <a:lnTo>
                    <a:pt x="181" y="99"/>
                  </a:lnTo>
                  <a:lnTo>
                    <a:pt x="181" y="99"/>
                  </a:lnTo>
                  <a:lnTo>
                    <a:pt x="181" y="97"/>
                  </a:lnTo>
                  <a:lnTo>
                    <a:pt x="178" y="94"/>
                  </a:lnTo>
                  <a:lnTo>
                    <a:pt x="178" y="94"/>
                  </a:lnTo>
                  <a:lnTo>
                    <a:pt x="178" y="91"/>
                  </a:lnTo>
                  <a:lnTo>
                    <a:pt x="178" y="91"/>
                  </a:lnTo>
                  <a:lnTo>
                    <a:pt x="178" y="89"/>
                  </a:lnTo>
                  <a:lnTo>
                    <a:pt x="176" y="89"/>
                  </a:lnTo>
                  <a:lnTo>
                    <a:pt x="176" y="86"/>
                  </a:lnTo>
                  <a:lnTo>
                    <a:pt x="176" y="84"/>
                  </a:lnTo>
                  <a:lnTo>
                    <a:pt x="176" y="84"/>
                  </a:lnTo>
                  <a:lnTo>
                    <a:pt x="176" y="84"/>
                  </a:lnTo>
                  <a:lnTo>
                    <a:pt x="176" y="84"/>
                  </a:lnTo>
                  <a:lnTo>
                    <a:pt x="176" y="84"/>
                  </a:lnTo>
                  <a:lnTo>
                    <a:pt x="176" y="84"/>
                  </a:lnTo>
                  <a:lnTo>
                    <a:pt x="176" y="81"/>
                  </a:lnTo>
                  <a:lnTo>
                    <a:pt x="171" y="76"/>
                  </a:lnTo>
                  <a:lnTo>
                    <a:pt x="171" y="76"/>
                  </a:lnTo>
                  <a:lnTo>
                    <a:pt x="171" y="76"/>
                  </a:lnTo>
                  <a:lnTo>
                    <a:pt x="168" y="74"/>
                  </a:lnTo>
                  <a:lnTo>
                    <a:pt x="168" y="71"/>
                  </a:lnTo>
                  <a:lnTo>
                    <a:pt x="168" y="71"/>
                  </a:lnTo>
                  <a:lnTo>
                    <a:pt x="168" y="71"/>
                  </a:lnTo>
                  <a:lnTo>
                    <a:pt x="168" y="69"/>
                  </a:lnTo>
                  <a:lnTo>
                    <a:pt x="171" y="69"/>
                  </a:lnTo>
                  <a:lnTo>
                    <a:pt x="171" y="69"/>
                  </a:lnTo>
                  <a:lnTo>
                    <a:pt x="173" y="69"/>
                  </a:lnTo>
                  <a:lnTo>
                    <a:pt x="173" y="69"/>
                  </a:lnTo>
                  <a:lnTo>
                    <a:pt x="173" y="71"/>
                  </a:lnTo>
                  <a:lnTo>
                    <a:pt x="176" y="71"/>
                  </a:lnTo>
                  <a:lnTo>
                    <a:pt x="176" y="74"/>
                  </a:lnTo>
                  <a:lnTo>
                    <a:pt x="178" y="74"/>
                  </a:lnTo>
                  <a:lnTo>
                    <a:pt x="181" y="74"/>
                  </a:lnTo>
                  <a:lnTo>
                    <a:pt x="181" y="74"/>
                  </a:lnTo>
                  <a:lnTo>
                    <a:pt x="181" y="71"/>
                  </a:lnTo>
                  <a:lnTo>
                    <a:pt x="184" y="71"/>
                  </a:lnTo>
                  <a:lnTo>
                    <a:pt x="184" y="71"/>
                  </a:lnTo>
                  <a:lnTo>
                    <a:pt x="184" y="69"/>
                  </a:lnTo>
                  <a:lnTo>
                    <a:pt x="184" y="66"/>
                  </a:lnTo>
                  <a:lnTo>
                    <a:pt x="184" y="66"/>
                  </a:lnTo>
                  <a:lnTo>
                    <a:pt x="181" y="63"/>
                  </a:lnTo>
                  <a:lnTo>
                    <a:pt x="181" y="63"/>
                  </a:lnTo>
                  <a:lnTo>
                    <a:pt x="181" y="61"/>
                  </a:lnTo>
                  <a:lnTo>
                    <a:pt x="178" y="58"/>
                  </a:lnTo>
                  <a:lnTo>
                    <a:pt x="178" y="58"/>
                  </a:lnTo>
                  <a:lnTo>
                    <a:pt x="178" y="58"/>
                  </a:lnTo>
                  <a:lnTo>
                    <a:pt x="178" y="58"/>
                  </a:lnTo>
                  <a:lnTo>
                    <a:pt x="178" y="56"/>
                  </a:lnTo>
                  <a:lnTo>
                    <a:pt x="178" y="53"/>
                  </a:lnTo>
                  <a:lnTo>
                    <a:pt x="176" y="53"/>
                  </a:lnTo>
                  <a:lnTo>
                    <a:pt x="176" y="53"/>
                  </a:lnTo>
                  <a:lnTo>
                    <a:pt x="173" y="51"/>
                  </a:lnTo>
                  <a:lnTo>
                    <a:pt x="173" y="51"/>
                  </a:lnTo>
                  <a:lnTo>
                    <a:pt x="173" y="51"/>
                  </a:lnTo>
                  <a:lnTo>
                    <a:pt x="171" y="48"/>
                  </a:lnTo>
                  <a:lnTo>
                    <a:pt x="171" y="46"/>
                  </a:lnTo>
                  <a:lnTo>
                    <a:pt x="168" y="41"/>
                  </a:lnTo>
                  <a:lnTo>
                    <a:pt x="168" y="41"/>
                  </a:lnTo>
                  <a:lnTo>
                    <a:pt x="166" y="35"/>
                  </a:lnTo>
                  <a:lnTo>
                    <a:pt x="166" y="35"/>
                  </a:lnTo>
                  <a:lnTo>
                    <a:pt x="166" y="35"/>
                  </a:lnTo>
                  <a:lnTo>
                    <a:pt x="171" y="33"/>
                  </a:lnTo>
                  <a:lnTo>
                    <a:pt x="171" y="30"/>
                  </a:lnTo>
                  <a:lnTo>
                    <a:pt x="171" y="30"/>
                  </a:lnTo>
                  <a:lnTo>
                    <a:pt x="171" y="30"/>
                  </a:lnTo>
                  <a:lnTo>
                    <a:pt x="168" y="28"/>
                  </a:lnTo>
                  <a:lnTo>
                    <a:pt x="168" y="28"/>
                  </a:lnTo>
                  <a:lnTo>
                    <a:pt x="166" y="25"/>
                  </a:lnTo>
                  <a:lnTo>
                    <a:pt x="163" y="25"/>
                  </a:lnTo>
                  <a:lnTo>
                    <a:pt x="161" y="25"/>
                  </a:lnTo>
                  <a:lnTo>
                    <a:pt x="155" y="23"/>
                  </a:lnTo>
                  <a:lnTo>
                    <a:pt x="155" y="23"/>
                  </a:lnTo>
                  <a:lnTo>
                    <a:pt x="153" y="20"/>
                  </a:lnTo>
                  <a:lnTo>
                    <a:pt x="150" y="15"/>
                  </a:lnTo>
                  <a:lnTo>
                    <a:pt x="148" y="10"/>
                  </a:lnTo>
                  <a:lnTo>
                    <a:pt x="148" y="7"/>
                  </a:lnTo>
                  <a:lnTo>
                    <a:pt x="145" y="7"/>
                  </a:lnTo>
                  <a:lnTo>
                    <a:pt x="145" y="2"/>
                  </a:lnTo>
                  <a:lnTo>
                    <a:pt x="145" y="2"/>
                  </a:lnTo>
                  <a:lnTo>
                    <a:pt x="145" y="2"/>
                  </a:lnTo>
                  <a:lnTo>
                    <a:pt x="145" y="2"/>
                  </a:lnTo>
                  <a:lnTo>
                    <a:pt x="143" y="2"/>
                  </a:lnTo>
                  <a:lnTo>
                    <a:pt x="143" y="2"/>
                  </a:lnTo>
                  <a:lnTo>
                    <a:pt x="143" y="2"/>
                  </a:lnTo>
                  <a:lnTo>
                    <a:pt x="140" y="2"/>
                  </a:lnTo>
                  <a:lnTo>
                    <a:pt x="140" y="2"/>
                  </a:lnTo>
                  <a:lnTo>
                    <a:pt x="138" y="2"/>
                  </a:lnTo>
                  <a:lnTo>
                    <a:pt x="135" y="2"/>
                  </a:lnTo>
                  <a:lnTo>
                    <a:pt x="135" y="2"/>
                  </a:lnTo>
                  <a:lnTo>
                    <a:pt x="133" y="2"/>
                  </a:lnTo>
                  <a:lnTo>
                    <a:pt x="127" y="2"/>
                  </a:lnTo>
                  <a:lnTo>
                    <a:pt x="122" y="0"/>
                  </a:lnTo>
                  <a:lnTo>
                    <a:pt x="120" y="0"/>
                  </a:lnTo>
                  <a:lnTo>
                    <a:pt x="122" y="0"/>
                  </a:lnTo>
                  <a:lnTo>
                    <a:pt x="125" y="5"/>
                  </a:lnTo>
                  <a:lnTo>
                    <a:pt x="125" y="5"/>
                  </a:lnTo>
                  <a:lnTo>
                    <a:pt x="127" y="7"/>
                  </a:lnTo>
                  <a:lnTo>
                    <a:pt x="127" y="10"/>
                  </a:lnTo>
                  <a:lnTo>
                    <a:pt x="130" y="13"/>
                  </a:lnTo>
                  <a:lnTo>
                    <a:pt x="130" y="13"/>
                  </a:lnTo>
                  <a:lnTo>
                    <a:pt x="130" y="15"/>
                  </a:lnTo>
                  <a:lnTo>
                    <a:pt x="127" y="15"/>
                  </a:lnTo>
                  <a:lnTo>
                    <a:pt x="125" y="15"/>
                  </a:lnTo>
                  <a:lnTo>
                    <a:pt x="125" y="18"/>
                  </a:lnTo>
                  <a:lnTo>
                    <a:pt x="125" y="18"/>
                  </a:lnTo>
                  <a:lnTo>
                    <a:pt x="125" y="18"/>
                  </a:lnTo>
                  <a:lnTo>
                    <a:pt x="122" y="20"/>
                  </a:lnTo>
                  <a:lnTo>
                    <a:pt x="120" y="20"/>
                  </a:lnTo>
                  <a:lnTo>
                    <a:pt x="120" y="20"/>
                  </a:lnTo>
                  <a:lnTo>
                    <a:pt x="115" y="23"/>
                  </a:lnTo>
                  <a:lnTo>
                    <a:pt x="112" y="23"/>
                  </a:lnTo>
                  <a:lnTo>
                    <a:pt x="110" y="23"/>
                  </a:lnTo>
                  <a:lnTo>
                    <a:pt x="110" y="25"/>
                  </a:lnTo>
                  <a:lnTo>
                    <a:pt x="107" y="25"/>
                  </a:lnTo>
                  <a:lnTo>
                    <a:pt x="105" y="25"/>
                  </a:lnTo>
                  <a:lnTo>
                    <a:pt x="102" y="25"/>
                  </a:lnTo>
                  <a:lnTo>
                    <a:pt x="97" y="23"/>
                  </a:lnTo>
                  <a:lnTo>
                    <a:pt x="97" y="23"/>
                  </a:lnTo>
                  <a:lnTo>
                    <a:pt x="94" y="23"/>
                  </a:lnTo>
                  <a:lnTo>
                    <a:pt x="92" y="23"/>
                  </a:lnTo>
                  <a:lnTo>
                    <a:pt x="89" y="20"/>
                  </a:lnTo>
                  <a:lnTo>
                    <a:pt x="84" y="20"/>
                  </a:lnTo>
                  <a:lnTo>
                    <a:pt x="82" y="20"/>
                  </a:lnTo>
                  <a:lnTo>
                    <a:pt x="79" y="20"/>
                  </a:lnTo>
                  <a:lnTo>
                    <a:pt x="76" y="20"/>
                  </a:lnTo>
                  <a:lnTo>
                    <a:pt x="74" y="20"/>
                  </a:lnTo>
                  <a:lnTo>
                    <a:pt x="74" y="23"/>
                  </a:lnTo>
                  <a:lnTo>
                    <a:pt x="71" y="25"/>
                  </a:lnTo>
                  <a:lnTo>
                    <a:pt x="71" y="25"/>
                  </a:lnTo>
                  <a:lnTo>
                    <a:pt x="71" y="28"/>
                  </a:lnTo>
                  <a:lnTo>
                    <a:pt x="71" y="28"/>
                  </a:lnTo>
                  <a:lnTo>
                    <a:pt x="71" y="30"/>
                  </a:lnTo>
                  <a:lnTo>
                    <a:pt x="74" y="30"/>
                  </a:lnTo>
                  <a:lnTo>
                    <a:pt x="74" y="30"/>
                  </a:lnTo>
                  <a:lnTo>
                    <a:pt x="76" y="33"/>
                  </a:lnTo>
                  <a:lnTo>
                    <a:pt x="74" y="33"/>
                  </a:lnTo>
                  <a:lnTo>
                    <a:pt x="74" y="35"/>
                  </a:lnTo>
                  <a:lnTo>
                    <a:pt x="74" y="35"/>
                  </a:lnTo>
                  <a:lnTo>
                    <a:pt x="74" y="35"/>
                  </a:lnTo>
                  <a:lnTo>
                    <a:pt x="76" y="35"/>
                  </a:lnTo>
                  <a:lnTo>
                    <a:pt x="79" y="38"/>
                  </a:lnTo>
                  <a:lnTo>
                    <a:pt x="82" y="38"/>
                  </a:lnTo>
                  <a:lnTo>
                    <a:pt x="82" y="38"/>
                  </a:lnTo>
                  <a:lnTo>
                    <a:pt x="82" y="38"/>
                  </a:lnTo>
                  <a:lnTo>
                    <a:pt x="82" y="41"/>
                  </a:lnTo>
                  <a:lnTo>
                    <a:pt x="79" y="41"/>
                  </a:lnTo>
                  <a:lnTo>
                    <a:pt x="79" y="41"/>
                  </a:lnTo>
                  <a:lnTo>
                    <a:pt x="76" y="43"/>
                  </a:lnTo>
                  <a:lnTo>
                    <a:pt x="79" y="46"/>
                  </a:lnTo>
                  <a:lnTo>
                    <a:pt x="79" y="46"/>
                  </a:lnTo>
                  <a:lnTo>
                    <a:pt x="79" y="46"/>
                  </a:lnTo>
                  <a:lnTo>
                    <a:pt x="82" y="48"/>
                  </a:lnTo>
                  <a:lnTo>
                    <a:pt x="82" y="48"/>
                  </a:lnTo>
                  <a:lnTo>
                    <a:pt x="82" y="48"/>
                  </a:lnTo>
                  <a:lnTo>
                    <a:pt x="82" y="51"/>
                  </a:lnTo>
                  <a:lnTo>
                    <a:pt x="82" y="53"/>
                  </a:lnTo>
                  <a:lnTo>
                    <a:pt x="79" y="53"/>
                  </a:lnTo>
                  <a:lnTo>
                    <a:pt x="79" y="56"/>
                  </a:lnTo>
                  <a:lnTo>
                    <a:pt x="82" y="56"/>
                  </a:lnTo>
                  <a:lnTo>
                    <a:pt x="82" y="56"/>
                  </a:lnTo>
                  <a:lnTo>
                    <a:pt x="84" y="58"/>
                  </a:lnTo>
                  <a:lnTo>
                    <a:pt x="87" y="58"/>
                  </a:lnTo>
                  <a:lnTo>
                    <a:pt x="87" y="58"/>
                  </a:lnTo>
                  <a:lnTo>
                    <a:pt x="87" y="61"/>
                  </a:lnTo>
                  <a:lnTo>
                    <a:pt x="87" y="61"/>
                  </a:lnTo>
                  <a:lnTo>
                    <a:pt x="89" y="63"/>
                  </a:lnTo>
                  <a:lnTo>
                    <a:pt x="89" y="63"/>
                  </a:lnTo>
                  <a:lnTo>
                    <a:pt x="89" y="66"/>
                  </a:lnTo>
                  <a:lnTo>
                    <a:pt x="92" y="66"/>
                  </a:lnTo>
                  <a:lnTo>
                    <a:pt x="94" y="66"/>
                  </a:lnTo>
                  <a:lnTo>
                    <a:pt x="94" y="66"/>
                  </a:lnTo>
                  <a:lnTo>
                    <a:pt x="94" y="66"/>
                  </a:lnTo>
                  <a:lnTo>
                    <a:pt x="94" y="69"/>
                  </a:lnTo>
                  <a:lnTo>
                    <a:pt x="97" y="71"/>
                  </a:lnTo>
                  <a:lnTo>
                    <a:pt x="97" y="71"/>
                  </a:lnTo>
                  <a:lnTo>
                    <a:pt x="99" y="71"/>
                  </a:lnTo>
                  <a:lnTo>
                    <a:pt x="102" y="71"/>
                  </a:lnTo>
                  <a:lnTo>
                    <a:pt x="105" y="74"/>
                  </a:lnTo>
                  <a:lnTo>
                    <a:pt x="107" y="74"/>
                  </a:lnTo>
                  <a:lnTo>
                    <a:pt x="110" y="76"/>
                  </a:lnTo>
                  <a:lnTo>
                    <a:pt x="110" y="76"/>
                  </a:lnTo>
                  <a:lnTo>
                    <a:pt x="110" y="76"/>
                  </a:lnTo>
                  <a:lnTo>
                    <a:pt x="110" y="79"/>
                  </a:lnTo>
                  <a:lnTo>
                    <a:pt x="107" y="79"/>
                  </a:lnTo>
                  <a:lnTo>
                    <a:pt x="107" y="81"/>
                  </a:lnTo>
                  <a:lnTo>
                    <a:pt x="99" y="84"/>
                  </a:lnTo>
                  <a:lnTo>
                    <a:pt x="99" y="84"/>
                  </a:lnTo>
                  <a:lnTo>
                    <a:pt x="97" y="86"/>
                  </a:lnTo>
                  <a:lnTo>
                    <a:pt x="97" y="86"/>
                  </a:lnTo>
                  <a:lnTo>
                    <a:pt x="97" y="89"/>
                  </a:lnTo>
                  <a:lnTo>
                    <a:pt x="99" y="94"/>
                  </a:lnTo>
                  <a:lnTo>
                    <a:pt x="99" y="94"/>
                  </a:lnTo>
                  <a:lnTo>
                    <a:pt x="99" y="99"/>
                  </a:lnTo>
                  <a:lnTo>
                    <a:pt x="99" y="102"/>
                  </a:lnTo>
                  <a:lnTo>
                    <a:pt x="99" y="102"/>
                  </a:lnTo>
                  <a:lnTo>
                    <a:pt x="102" y="102"/>
                  </a:lnTo>
                  <a:lnTo>
                    <a:pt x="102" y="104"/>
                  </a:lnTo>
                  <a:lnTo>
                    <a:pt x="102" y="104"/>
                  </a:lnTo>
                  <a:lnTo>
                    <a:pt x="99" y="107"/>
                  </a:lnTo>
                  <a:lnTo>
                    <a:pt x="97" y="107"/>
                  </a:lnTo>
                  <a:lnTo>
                    <a:pt x="97" y="107"/>
                  </a:lnTo>
                  <a:lnTo>
                    <a:pt x="94" y="109"/>
                  </a:lnTo>
                  <a:lnTo>
                    <a:pt x="92" y="117"/>
                  </a:lnTo>
                  <a:lnTo>
                    <a:pt x="89" y="117"/>
                  </a:lnTo>
                  <a:lnTo>
                    <a:pt x="89" y="119"/>
                  </a:lnTo>
                  <a:lnTo>
                    <a:pt x="89" y="119"/>
                  </a:lnTo>
                  <a:lnTo>
                    <a:pt x="92" y="122"/>
                  </a:lnTo>
                  <a:lnTo>
                    <a:pt x="92" y="122"/>
                  </a:lnTo>
                  <a:lnTo>
                    <a:pt x="92" y="125"/>
                  </a:lnTo>
                  <a:lnTo>
                    <a:pt x="89" y="125"/>
                  </a:lnTo>
                  <a:lnTo>
                    <a:pt x="87" y="127"/>
                  </a:lnTo>
                  <a:lnTo>
                    <a:pt x="84" y="127"/>
                  </a:lnTo>
                  <a:lnTo>
                    <a:pt x="82" y="130"/>
                  </a:lnTo>
                  <a:lnTo>
                    <a:pt x="82" y="132"/>
                  </a:lnTo>
                  <a:lnTo>
                    <a:pt x="82" y="137"/>
                  </a:lnTo>
                  <a:lnTo>
                    <a:pt x="82" y="137"/>
                  </a:lnTo>
                  <a:lnTo>
                    <a:pt x="79" y="142"/>
                  </a:lnTo>
                  <a:lnTo>
                    <a:pt x="76" y="147"/>
                  </a:lnTo>
                  <a:lnTo>
                    <a:pt x="76" y="150"/>
                  </a:lnTo>
                  <a:lnTo>
                    <a:pt x="71" y="153"/>
                  </a:lnTo>
                  <a:lnTo>
                    <a:pt x="66" y="155"/>
                  </a:lnTo>
                  <a:lnTo>
                    <a:pt x="66" y="158"/>
                  </a:lnTo>
                  <a:lnTo>
                    <a:pt x="64" y="160"/>
                  </a:lnTo>
                  <a:lnTo>
                    <a:pt x="64" y="163"/>
                  </a:lnTo>
                  <a:lnTo>
                    <a:pt x="64" y="165"/>
                  </a:lnTo>
                  <a:lnTo>
                    <a:pt x="61" y="168"/>
                  </a:lnTo>
                  <a:lnTo>
                    <a:pt x="61" y="173"/>
                  </a:lnTo>
                  <a:lnTo>
                    <a:pt x="61" y="173"/>
                  </a:lnTo>
                  <a:lnTo>
                    <a:pt x="56" y="175"/>
                  </a:lnTo>
                  <a:lnTo>
                    <a:pt x="54" y="175"/>
                  </a:lnTo>
                  <a:lnTo>
                    <a:pt x="48" y="175"/>
                  </a:lnTo>
                  <a:lnTo>
                    <a:pt x="46" y="178"/>
                  </a:lnTo>
                  <a:lnTo>
                    <a:pt x="41" y="180"/>
                  </a:lnTo>
                  <a:lnTo>
                    <a:pt x="41" y="180"/>
                  </a:lnTo>
                  <a:lnTo>
                    <a:pt x="38" y="178"/>
                  </a:lnTo>
                  <a:lnTo>
                    <a:pt x="38" y="178"/>
                  </a:lnTo>
                  <a:lnTo>
                    <a:pt x="36" y="175"/>
                  </a:lnTo>
                  <a:lnTo>
                    <a:pt x="36" y="175"/>
                  </a:lnTo>
                  <a:lnTo>
                    <a:pt x="36" y="173"/>
                  </a:lnTo>
                  <a:lnTo>
                    <a:pt x="33" y="173"/>
                  </a:lnTo>
                  <a:lnTo>
                    <a:pt x="31" y="173"/>
                  </a:lnTo>
                  <a:lnTo>
                    <a:pt x="31" y="173"/>
                  </a:lnTo>
                  <a:lnTo>
                    <a:pt x="28" y="175"/>
                  </a:lnTo>
                  <a:lnTo>
                    <a:pt x="28" y="175"/>
                  </a:lnTo>
                  <a:lnTo>
                    <a:pt x="28" y="175"/>
                  </a:lnTo>
                  <a:lnTo>
                    <a:pt x="25" y="180"/>
                  </a:lnTo>
                  <a:lnTo>
                    <a:pt x="23" y="186"/>
                  </a:lnTo>
                  <a:lnTo>
                    <a:pt x="20" y="188"/>
                  </a:lnTo>
                  <a:lnTo>
                    <a:pt x="20" y="191"/>
                  </a:lnTo>
                  <a:lnTo>
                    <a:pt x="18" y="191"/>
                  </a:lnTo>
                  <a:lnTo>
                    <a:pt x="18" y="191"/>
                  </a:lnTo>
                  <a:lnTo>
                    <a:pt x="18" y="193"/>
                  </a:lnTo>
                  <a:lnTo>
                    <a:pt x="18" y="196"/>
                  </a:lnTo>
                  <a:lnTo>
                    <a:pt x="18" y="201"/>
                  </a:lnTo>
                  <a:lnTo>
                    <a:pt x="18" y="201"/>
                  </a:lnTo>
                  <a:lnTo>
                    <a:pt x="18" y="201"/>
                  </a:lnTo>
                  <a:lnTo>
                    <a:pt x="20" y="203"/>
                  </a:lnTo>
                  <a:lnTo>
                    <a:pt x="23" y="203"/>
                  </a:lnTo>
                  <a:lnTo>
                    <a:pt x="25" y="206"/>
                  </a:lnTo>
                  <a:lnTo>
                    <a:pt x="28" y="206"/>
                  </a:lnTo>
                  <a:lnTo>
                    <a:pt x="31" y="206"/>
                  </a:lnTo>
                  <a:lnTo>
                    <a:pt x="31" y="206"/>
                  </a:lnTo>
                  <a:lnTo>
                    <a:pt x="31" y="208"/>
                  </a:lnTo>
                  <a:lnTo>
                    <a:pt x="31" y="211"/>
                  </a:lnTo>
                  <a:lnTo>
                    <a:pt x="31" y="214"/>
                  </a:lnTo>
                  <a:lnTo>
                    <a:pt x="31" y="216"/>
                  </a:lnTo>
                  <a:lnTo>
                    <a:pt x="31" y="219"/>
                  </a:lnTo>
                  <a:lnTo>
                    <a:pt x="31" y="221"/>
                  </a:lnTo>
                  <a:lnTo>
                    <a:pt x="36" y="226"/>
                  </a:lnTo>
                  <a:lnTo>
                    <a:pt x="36" y="226"/>
                  </a:lnTo>
                  <a:lnTo>
                    <a:pt x="38" y="226"/>
                  </a:lnTo>
                  <a:lnTo>
                    <a:pt x="41" y="226"/>
                  </a:lnTo>
                  <a:lnTo>
                    <a:pt x="41" y="226"/>
                  </a:lnTo>
                  <a:lnTo>
                    <a:pt x="43" y="226"/>
                  </a:lnTo>
                  <a:lnTo>
                    <a:pt x="43" y="226"/>
                  </a:lnTo>
                  <a:lnTo>
                    <a:pt x="43" y="226"/>
                  </a:lnTo>
                  <a:lnTo>
                    <a:pt x="43" y="231"/>
                  </a:lnTo>
                  <a:lnTo>
                    <a:pt x="46" y="234"/>
                  </a:lnTo>
                  <a:lnTo>
                    <a:pt x="48" y="236"/>
                  </a:lnTo>
                  <a:lnTo>
                    <a:pt x="48" y="239"/>
                  </a:lnTo>
                  <a:lnTo>
                    <a:pt x="51" y="244"/>
                  </a:lnTo>
                  <a:lnTo>
                    <a:pt x="54" y="247"/>
                  </a:lnTo>
                  <a:lnTo>
                    <a:pt x="54" y="249"/>
                  </a:lnTo>
                  <a:lnTo>
                    <a:pt x="54" y="249"/>
                  </a:lnTo>
                  <a:lnTo>
                    <a:pt x="51" y="249"/>
                  </a:lnTo>
                  <a:lnTo>
                    <a:pt x="51" y="252"/>
                  </a:lnTo>
                  <a:lnTo>
                    <a:pt x="54" y="252"/>
                  </a:lnTo>
                  <a:lnTo>
                    <a:pt x="54" y="252"/>
                  </a:lnTo>
                  <a:lnTo>
                    <a:pt x="54" y="254"/>
                  </a:lnTo>
                  <a:lnTo>
                    <a:pt x="54" y="254"/>
                  </a:lnTo>
                  <a:lnTo>
                    <a:pt x="54" y="254"/>
                  </a:lnTo>
                  <a:lnTo>
                    <a:pt x="54" y="257"/>
                  </a:lnTo>
                  <a:lnTo>
                    <a:pt x="51" y="257"/>
                  </a:lnTo>
                  <a:lnTo>
                    <a:pt x="51" y="257"/>
                  </a:lnTo>
                  <a:lnTo>
                    <a:pt x="51" y="257"/>
                  </a:lnTo>
                  <a:lnTo>
                    <a:pt x="48" y="259"/>
                  </a:lnTo>
                  <a:lnTo>
                    <a:pt x="48" y="259"/>
                  </a:lnTo>
                  <a:lnTo>
                    <a:pt x="46" y="259"/>
                  </a:lnTo>
                  <a:lnTo>
                    <a:pt x="46" y="257"/>
                  </a:lnTo>
                  <a:lnTo>
                    <a:pt x="46" y="257"/>
                  </a:lnTo>
                  <a:lnTo>
                    <a:pt x="46" y="254"/>
                  </a:lnTo>
                  <a:lnTo>
                    <a:pt x="43" y="254"/>
                  </a:lnTo>
                  <a:lnTo>
                    <a:pt x="43" y="254"/>
                  </a:lnTo>
                  <a:lnTo>
                    <a:pt x="38" y="257"/>
                  </a:lnTo>
                  <a:lnTo>
                    <a:pt x="36" y="257"/>
                  </a:lnTo>
                  <a:lnTo>
                    <a:pt x="36" y="259"/>
                  </a:lnTo>
                  <a:lnTo>
                    <a:pt x="36" y="259"/>
                  </a:lnTo>
                  <a:lnTo>
                    <a:pt x="33" y="259"/>
                  </a:lnTo>
                  <a:lnTo>
                    <a:pt x="31" y="259"/>
                  </a:lnTo>
                  <a:lnTo>
                    <a:pt x="28" y="259"/>
                  </a:lnTo>
                  <a:lnTo>
                    <a:pt x="28" y="259"/>
                  </a:lnTo>
                  <a:lnTo>
                    <a:pt x="25" y="257"/>
                  </a:lnTo>
                  <a:lnTo>
                    <a:pt x="23" y="257"/>
                  </a:lnTo>
                  <a:lnTo>
                    <a:pt x="18" y="257"/>
                  </a:lnTo>
                  <a:lnTo>
                    <a:pt x="18" y="257"/>
                  </a:lnTo>
                  <a:lnTo>
                    <a:pt x="15" y="257"/>
                  </a:lnTo>
                  <a:lnTo>
                    <a:pt x="15" y="257"/>
                  </a:lnTo>
                  <a:lnTo>
                    <a:pt x="13" y="257"/>
                  </a:lnTo>
                  <a:lnTo>
                    <a:pt x="13" y="257"/>
                  </a:lnTo>
                  <a:lnTo>
                    <a:pt x="10" y="257"/>
                  </a:lnTo>
                  <a:lnTo>
                    <a:pt x="10" y="257"/>
                  </a:lnTo>
                  <a:lnTo>
                    <a:pt x="10" y="257"/>
                  </a:lnTo>
                  <a:lnTo>
                    <a:pt x="10" y="257"/>
                  </a:lnTo>
                  <a:lnTo>
                    <a:pt x="10" y="257"/>
                  </a:lnTo>
                  <a:lnTo>
                    <a:pt x="10" y="257"/>
                  </a:lnTo>
                  <a:lnTo>
                    <a:pt x="10" y="264"/>
                  </a:lnTo>
                  <a:lnTo>
                    <a:pt x="8" y="264"/>
                  </a:lnTo>
                  <a:lnTo>
                    <a:pt x="5" y="264"/>
                  </a:lnTo>
                  <a:lnTo>
                    <a:pt x="3" y="264"/>
                  </a:lnTo>
                  <a:lnTo>
                    <a:pt x="0" y="264"/>
                  </a:lnTo>
                  <a:lnTo>
                    <a:pt x="0" y="267"/>
                  </a:lnTo>
                  <a:lnTo>
                    <a:pt x="0" y="267"/>
                  </a:lnTo>
                  <a:lnTo>
                    <a:pt x="0" y="270"/>
                  </a:lnTo>
                  <a:lnTo>
                    <a:pt x="0" y="272"/>
                  </a:lnTo>
                  <a:lnTo>
                    <a:pt x="3" y="272"/>
                  </a:lnTo>
                  <a:lnTo>
                    <a:pt x="5" y="270"/>
                  </a:lnTo>
                  <a:lnTo>
                    <a:pt x="5" y="270"/>
                  </a:lnTo>
                  <a:lnTo>
                    <a:pt x="8" y="267"/>
                  </a:lnTo>
                  <a:lnTo>
                    <a:pt x="10" y="267"/>
                  </a:lnTo>
                  <a:lnTo>
                    <a:pt x="8" y="270"/>
                  </a:lnTo>
                  <a:lnTo>
                    <a:pt x="5" y="272"/>
                  </a:lnTo>
                  <a:lnTo>
                    <a:pt x="5" y="275"/>
                  </a:lnTo>
                  <a:lnTo>
                    <a:pt x="8" y="277"/>
                  </a:lnTo>
                  <a:lnTo>
                    <a:pt x="10" y="282"/>
                  </a:lnTo>
                  <a:lnTo>
                    <a:pt x="13" y="285"/>
                  </a:lnTo>
                  <a:lnTo>
                    <a:pt x="23" y="290"/>
                  </a:lnTo>
                  <a:lnTo>
                    <a:pt x="31" y="292"/>
                  </a:lnTo>
                  <a:lnTo>
                    <a:pt x="33" y="292"/>
                  </a:lnTo>
                  <a:lnTo>
                    <a:pt x="33" y="290"/>
                  </a:lnTo>
                  <a:lnTo>
                    <a:pt x="38" y="287"/>
                  </a:lnTo>
                  <a:lnTo>
                    <a:pt x="41" y="287"/>
                  </a:lnTo>
                  <a:lnTo>
                    <a:pt x="41" y="287"/>
                  </a:lnTo>
                  <a:lnTo>
                    <a:pt x="43" y="287"/>
                  </a:lnTo>
                  <a:lnTo>
                    <a:pt x="43" y="287"/>
                  </a:lnTo>
                  <a:lnTo>
                    <a:pt x="43" y="285"/>
                  </a:lnTo>
                  <a:lnTo>
                    <a:pt x="46" y="285"/>
                  </a:lnTo>
                  <a:lnTo>
                    <a:pt x="46" y="285"/>
                  </a:lnTo>
                  <a:lnTo>
                    <a:pt x="46" y="285"/>
                  </a:lnTo>
                  <a:lnTo>
                    <a:pt x="46" y="287"/>
                  </a:lnTo>
                  <a:lnTo>
                    <a:pt x="46" y="287"/>
                  </a:lnTo>
                  <a:lnTo>
                    <a:pt x="43" y="290"/>
                  </a:lnTo>
                  <a:lnTo>
                    <a:pt x="41" y="295"/>
                  </a:lnTo>
                  <a:lnTo>
                    <a:pt x="38" y="298"/>
                  </a:lnTo>
                  <a:lnTo>
                    <a:pt x="38" y="298"/>
                  </a:lnTo>
                  <a:lnTo>
                    <a:pt x="36" y="300"/>
                  </a:lnTo>
                  <a:lnTo>
                    <a:pt x="33" y="298"/>
                  </a:lnTo>
                  <a:lnTo>
                    <a:pt x="31" y="300"/>
                  </a:lnTo>
                  <a:lnTo>
                    <a:pt x="28" y="300"/>
                  </a:lnTo>
                  <a:lnTo>
                    <a:pt x="23" y="303"/>
                  </a:lnTo>
                  <a:lnTo>
                    <a:pt x="23" y="303"/>
                  </a:lnTo>
                  <a:lnTo>
                    <a:pt x="23" y="303"/>
                  </a:lnTo>
                  <a:lnTo>
                    <a:pt x="20" y="300"/>
                  </a:lnTo>
                  <a:lnTo>
                    <a:pt x="20" y="300"/>
                  </a:lnTo>
                  <a:lnTo>
                    <a:pt x="18" y="300"/>
                  </a:lnTo>
                  <a:lnTo>
                    <a:pt x="18" y="303"/>
                  </a:lnTo>
                  <a:lnTo>
                    <a:pt x="18" y="305"/>
                  </a:lnTo>
                  <a:lnTo>
                    <a:pt x="23" y="310"/>
                  </a:lnTo>
                  <a:lnTo>
                    <a:pt x="28" y="313"/>
                  </a:lnTo>
                  <a:lnTo>
                    <a:pt x="31" y="315"/>
                  </a:lnTo>
                  <a:lnTo>
                    <a:pt x="36" y="320"/>
                  </a:lnTo>
                  <a:lnTo>
                    <a:pt x="41" y="328"/>
                  </a:lnTo>
                  <a:lnTo>
                    <a:pt x="43" y="331"/>
                  </a:lnTo>
                  <a:lnTo>
                    <a:pt x="51" y="336"/>
                  </a:lnTo>
                  <a:lnTo>
                    <a:pt x="56" y="338"/>
                  </a:lnTo>
                  <a:lnTo>
                    <a:pt x="59" y="338"/>
                  </a:lnTo>
                  <a:lnTo>
                    <a:pt x="61" y="338"/>
                  </a:lnTo>
                  <a:lnTo>
                    <a:pt x="69" y="336"/>
                  </a:lnTo>
                  <a:lnTo>
                    <a:pt x="71" y="333"/>
                  </a:lnTo>
                  <a:lnTo>
                    <a:pt x="82" y="328"/>
                  </a:lnTo>
                  <a:lnTo>
                    <a:pt x="82" y="328"/>
                  </a:lnTo>
                  <a:lnTo>
                    <a:pt x="84" y="320"/>
                  </a:lnTo>
                  <a:lnTo>
                    <a:pt x="84" y="318"/>
                  </a:lnTo>
                  <a:lnTo>
                    <a:pt x="84" y="315"/>
                  </a:lnTo>
                  <a:lnTo>
                    <a:pt x="82" y="315"/>
                  </a:lnTo>
                  <a:lnTo>
                    <a:pt x="82" y="313"/>
                  </a:lnTo>
                  <a:lnTo>
                    <a:pt x="79" y="313"/>
                  </a:lnTo>
                  <a:lnTo>
                    <a:pt x="79" y="313"/>
                  </a:lnTo>
                  <a:lnTo>
                    <a:pt x="82" y="310"/>
                  </a:lnTo>
                  <a:lnTo>
                    <a:pt x="82" y="310"/>
                  </a:lnTo>
                  <a:lnTo>
                    <a:pt x="84" y="308"/>
                  </a:lnTo>
                  <a:lnTo>
                    <a:pt x="84" y="308"/>
                  </a:lnTo>
                  <a:lnTo>
                    <a:pt x="84" y="305"/>
                  </a:lnTo>
                  <a:lnTo>
                    <a:pt x="82" y="303"/>
                  </a:lnTo>
                  <a:lnTo>
                    <a:pt x="82" y="303"/>
                  </a:lnTo>
                  <a:lnTo>
                    <a:pt x="84" y="303"/>
                  </a:lnTo>
                  <a:lnTo>
                    <a:pt x="87" y="303"/>
                  </a:lnTo>
                  <a:lnTo>
                    <a:pt x="89" y="303"/>
                  </a:lnTo>
                  <a:lnTo>
                    <a:pt x="92" y="303"/>
                  </a:lnTo>
                  <a:lnTo>
                    <a:pt x="94" y="305"/>
                  </a:lnTo>
                  <a:lnTo>
                    <a:pt x="92" y="305"/>
                  </a:lnTo>
                  <a:lnTo>
                    <a:pt x="89" y="305"/>
                  </a:lnTo>
                  <a:lnTo>
                    <a:pt x="89" y="305"/>
                  </a:lnTo>
                  <a:lnTo>
                    <a:pt x="89" y="310"/>
                  </a:lnTo>
                  <a:lnTo>
                    <a:pt x="92" y="310"/>
                  </a:lnTo>
                  <a:lnTo>
                    <a:pt x="92" y="310"/>
                  </a:lnTo>
                  <a:lnTo>
                    <a:pt x="92" y="310"/>
                  </a:lnTo>
                  <a:lnTo>
                    <a:pt x="89" y="313"/>
                  </a:lnTo>
                  <a:lnTo>
                    <a:pt x="89" y="315"/>
                  </a:lnTo>
                  <a:lnTo>
                    <a:pt x="94" y="315"/>
                  </a:lnTo>
                  <a:lnTo>
                    <a:pt x="99" y="315"/>
                  </a:lnTo>
                  <a:lnTo>
                    <a:pt x="102" y="315"/>
                  </a:lnTo>
                  <a:lnTo>
                    <a:pt x="99" y="315"/>
                  </a:lnTo>
                  <a:lnTo>
                    <a:pt x="94" y="318"/>
                  </a:lnTo>
                  <a:lnTo>
                    <a:pt x="94" y="320"/>
                  </a:lnTo>
                  <a:lnTo>
                    <a:pt x="92" y="320"/>
                  </a:lnTo>
                  <a:lnTo>
                    <a:pt x="92" y="320"/>
                  </a:lnTo>
                  <a:lnTo>
                    <a:pt x="94" y="320"/>
                  </a:lnTo>
                  <a:lnTo>
                    <a:pt x="94" y="323"/>
                  </a:lnTo>
                  <a:lnTo>
                    <a:pt x="92" y="323"/>
                  </a:lnTo>
                  <a:lnTo>
                    <a:pt x="94" y="328"/>
                  </a:lnTo>
                  <a:lnTo>
                    <a:pt x="94" y="328"/>
                  </a:lnTo>
                  <a:lnTo>
                    <a:pt x="97" y="328"/>
                  </a:lnTo>
                  <a:lnTo>
                    <a:pt x="97" y="331"/>
                  </a:lnTo>
                  <a:lnTo>
                    <a:pt x="97" y="333"/>
                  </a:lnTo>
                  <a:lnTo>
                    <a:pt x="99" y="336"/>
                  </a:lnTo>
                  <a:lnTo>
                    <a:pt x="99" y="338"/>
                  </a:lnTo>
                  <a:lnTo>
                    <a:pt x="99" y="341"/>
                  </a:lnTo>
                  <a:lnTo>
                    <a:pt x="97" y="354"/>
                  </a:lnTo>
                  <a:lnTo>
                    <a:pt x="97" y="359"/>
                  </a:lnTo>
                  <a:lnTo>
                    <a:pt x="97" y="359"/>
                  </a:lnTo>
                  <a:lnTo>
                    <a:pt x="97" y="361"/>
                  </a:lnTo>
                  <a:lnTo>
                    <a:pt x="97" y="364"/>
                  </a:lnTo>
                  <a:lnTo>
                    <a:pt x="99" y="366"/>
                  </a:lnTo>
                  <a:lnTo>
                    <a:pt x="99" y="366"/>
                  </a:lnTo>
                  <a:lnTo>
                    <a:pt x="99" y="369"/>
                  </a:lnTo>
                  <a:lnTo>
                    <a:pt x="99" y="369"/>
                  </a:lnTo>
                  <a:lnTo>
                    <a:pt x="105" y="371"/>
                  </a:lnTo>
                  <a:lnTo>
                    <a:pt x="99" y="371"/>
                  </a:lnTo>
                  <a:lnTo>
                    <a:pt x="99" y="371"/>
                  </a:lnTo>
                  <a:lnTo>
                    <a:pt x="99" y="371"/>
                  </a:lnTo>
                  <a:lnTo>
                    <a:pt x="99" y="376"/>
                  </a:lnTo>
                  <a:lnTo>
                    <a:pt x="102" y="379"/>
                  </a:lnTo>
                  <a:lnTo>
                    <a:pt x="102" y="376"/>
                  </a:lnTo>
                  <a:lnTo>
                    <a:pt x="105" y="374"/>
                  </a:lnTo>
                  <a:lnTo>
                    <a:pt x="105" y="376"/>
                  </a:lnTo>
                  <a:lnTo>
                    <a:pt x="105" y="379"/>
                  </a:lnTo>
                  <a:lnTo>
                    <a:pt x="102" y="382"/>
                  </a:lnTo>
                  <a:lnTo>
                    <a:pt x="102" y="384"/>
                  </a:lnTo>
                  <a:lnTo>
                    <a:pt x="102" y="387"/>
                  </a:lnTo>
                  <a:lnTo>
                    <a:pt x="105" y="387"/>
                  </a:lnTo>
                  <a:lnTo>
                    <a:pt x="105" y="392"/>
                  </a:lnTo>
                  <a:lnTo>
                    <a:pt x="105" y="394"/>
                  </a:lnTo>
                  <a:lnTo>
                    <a:pt x="107" y="397"/>
                  </a:lnTo>
                  <a:lnTo>
                    <a:pt x="107" y="402"/>
                  </a:lnTo>
                  <a:lnTo>
                    <a:pt x="110" y="410"/>
                  </a:lnTo>
                  <a:lnTo>
                    <a:pt x="110" y="412"/>
                  </a:lnTo>
                  <a:lnTo>
                    <a:pt x="112" y="417"/>
                  </a:lnTo>
                  <a:lnTo>
                    <a:pt x="117" y="435"/>
                  </a:lnTo>
                  <a:lnTo>
                    <a:pt x="120" y="443"/>
                  </a:lnTo>
                  <a:lnTo>
                    <a:pt x="120" y="445"/>
                  </a:lnTo>
                  <a:lnTo>
                    <a:pt x="122" y="448"/>
                  </a:lnTo>
                  <a:lnTo>
                    <a:pt x="125" y="453"/>
                  </a:lnTo>
                  <a:lnTo>
                    <a:pt x="125" y="453"/>
                  </a:lnTo>
                  <a:lnTo>
                    <a:pt x="127" y="453"/>
                  </a:lnTo>
                  <a:lnTo>
                    <a:pt x="127" y="455"/>
                  </a:lnTo>
                  <a:lnTo>
                    <a:pt x="127" y="455"/>
                  </a:lnTo>
                  <a:lnTo>
                    <a:pt x="127" y="458"/>
                  </a:lnTo>
                  <a:lnTo>
                    <a:pt x="130" y="460"/>
                  </a:lnTo>
                  <a:lnTo>
                    <a:pt x="127" y="460"/>
                  </a:lnTo>
                  <a:lnTo>
                    <a:pt x="130" y="460"/>
                  </a:lnTo>
                  <a:lnTo>
                    <a:pt x="130" y="465"/>
                  </a:lnTo>
                  <a:lnTo>
                    <a:pt x="133" y="471"/>
                  </a:lnTo>
                  <a:lnTo>
                    <a:pt x="135" y="471"/>
                  </a:lnTo>
                  <a:lnTo>
                    <a:pt x="138" y="476"/>
                  </a:lnTo>
                  <a:lnTo>
                    <a:pt x="138" y="476"/>
                  </a:lnTo>
                  <a:lnTo>
                    <a:pt x="140" y="478"/>
                  </a:lnTo>
                  <a:lnTo>
                    <a:pt x="140" y="481"/>
                  </a:lnTo>
                  <a:lnTo>
                    <a:pt x="140" y="481"/>
                  </a:lnTo>
                  <a:lnTo>
                    <a:pt x="143" y="486"/>
                  </a:lnTo>
                  <a:lnTo>
                    <a:pt x="143" y="488"/>
                  </a:lnTo>
                  <a:lnTo>
                    <a:pt x="143" y="491"/>
                  </a:lnTo>
                  <a:lnTo>
                    <a:pt x="145" y="493"/>
                  </a:lnTo>
                  <a:lnTo>
                    <a:pt x="148" y="499"/>
                  </a:lnTo>
                  <a:lnTo>
                    <a:pt x="148" y="501"/>
                  </a:lnTo>
                  <a:lnTo>
                    <a:pt x="148" y="501"/>
                  </a:lnTo>
                  <a:lnTo>
                    <a:pt x="150" y="511"/>
                  </a:lnTo>
                  <a:lnTo>
                    <a:pt x="150" y="514"/>
                  </a:lnTo>
                  <a:lnTo>
                    <a:pt x="153" y="516"/>
                  </a:lnTo>
                  <a:lnTo>
                    <a:pt x="155" y="524"/>
                  </a:lnTo>
                  <a:lnTo>
                    <a:pt x="161" y="534"/>
                  </a:lnTo>
                  <a:lnTo>
                    <a:pt x="161" y="537"/>
                  </a:lnTo>
                  <a:lnTo>
                    <a:pt x="163" y="537"/>
                  </a:lnTo>
                  <a:lnTo>
                    <a:pt x="166" y="542"/>
                  </a:lnTo>
                  <a:lnTo>
                    <a:pt x="168" y="544"/>
                  </a:lnTo>
                  <a:lnTo>
                    <a:pt x="171" y="549"/>
                  </a:lnTo>
                  <a:lnTo>
                    <a:pt x="171" y="552"/>
                  </a:lnTo>
                  <a:lnTo>
                    <a:pt x="173" y="557"/>
                  </a:lnTo>
                  <a:lnTo>
                    <a:pt x="176" y="565"/>
                  </a:lnTo>
                  <a:lnTo>
                    <a:pt x="181" y="572"/>
                  </a:lnTo>
                  <a:lnTo>
                    <a:pt x="181" y="575"/>
                  </a:lnTo>
                  <a:lnTo>
                    <a:pt x="184" y="577"/>
                  </a:lnTo>
                  <a:lnTo>
                    <a:pt x="184" y="577"/>
                  </a:lnTo>
                  <a:lnTo>
                    <a:pt x="184" y="580"/>
                  </a:lnTo>
                  <a:lnTo>
                    <a:pt x="184" y="583"/>
                  </a:lnTo>
                  <a:lnTo>
                    <a:pt x="184" y="583"/>
                  </a:lnTo>
                  <a:lnTo>
                    <a:pt x="186" y="583"/>
                  </a:lnTo>
                  <a:lnTo>
                    <a:pt x="189" y="593"/>
                  </a:lnTo>
                  <a:lnTo>
                    <a:pt x="189" y="593"/>
                  </a:lnTo>
                  <a:lnTo>
                    <a:pt x="186" y="593"/>
                  </a:lnTo>
                  <a:lnTo>
                    <a:pt x="186" y="588"/>
                  </a:lnTo>
                  <a:lnTo>
                    <a:pt x="186" y="585"/>
                  </a:lnTo>
                  <a:lnTo>
                    <a:pt x="184" y="585"/>
                  </a:lnTo>
                  <a:lnTo>
                    <a:pt x="184" y="583"/>
                  </a:lnTo>
                  <a:lnTo>
                    <a:pt x="186" y="590"/>
                  </a:lnTo>
                  <a:lnTo>
                    <a:pt x="186" y="595"/>
                  </a:lnTo>
                  <a:lnTo>
                    <a:pt x="189" y="600"/>
                  </a:lnTo>
                  <a:lnTo>
                    <a:pt x="189" y="600"/>
                  </a:lnTo>
                  <a:lnTo>
                    <a:pt x="189" y="600"/>
                  </a:lnTo>
                  <a:lnTo>
                    <a:pt x="189" y="600"/>
                  </a:lnTo>
                  <a:lnTo>
                    <a:pt x="189" y="603"/>
                  </a:lnTo>
                  <a:lnTo>
                    <a:pt x="191" y="608"/>
                  </a:lnTo>
                  <a:lnTo>
                    <a:pt x="191" y="608"/>
                  </a:lnTo>
                  <a:lnTo>
                    <a:pt x="199" y="618"/>
                  </a:lnTo>
                  <a:lnTo>
                    <a:pt x="201" y="621"/>
                  </a:lnTo>
                  <a:lnTo>
                    <a:pt x="206" y="623"/>
                  </a:lnTo>
                  <a:lnTo>
                    <a:pt x="212" y="626"/>
                  </a:lnTo>
                  <a:lnTo>
                    <a:pt x="212" y="623"/>
                  </a:lnTo>
                  <a:lnTo>
                    <a:pt x="217" y="623"/>
                  </a:lnTo>
                  <a:lnTo>
                    <a:pt x="222" y="618"/>
                  </a:lnTo>
                  <a:lnTo>
                    <a:pt x="222" y="616"/>
                  </a:lnTo>
                  <a:lnTo>
                    <a:pt x="222" y="613"/>
                  </a:lnTo>
                  <a:lnTo>
                    <a:pt x="224" y="608"/>
                  </a:lnTo>
                  <a:lnTo>
                    <a:pt x="224" y="605"/>
                  </a:lnTo>
                  <a:lnTo>
                    <a:pt x="229" y="603"/>
                  </a:lnTo>
                  <a:lnTo>
                    <a:pt x="240" y="598"/>
                  </a:lnTo>
                  <a:lnTo>
                    <a:pt x="245" y="598"/>
                  </a:lnTo>
                  <a:lnTo>
                    <a:pt x="247" y="600"/>
                  </a:lnTo>
                  <a:lnTo>
                    <a:pt x="247" y="598"/>
                  </a:lnTo>
                  <a:lnTo>
                    <a:pt x="245" y="598"/>
                  </a:lnTo>
                  <a:lnTo>
                    <a:pt x="242" y="598"/>
                  </a:lnTo>
                  <a:lnTo>
                    <a:pt x="240" y="598"/>
                  </a:lnTo>
                  <a:lnTo>
                    <a:pt x="240" y="595"/>
                  </a:lnTo>
                  <a:lnTo>
                    <a:pt x="237" y="595"/>
                  </a:lnTo>
                  <a:lnTo>
                    <a:pt x="237" y="593"/>
                  </a:lnTo>
                  <a:lnTo>
                    <a:pt x="240" y="590"/>
                  </a:lnTo>
                  <a:lnTo>
                    <a:pt x="245" y="580"/>
                  </a:lnTo>
                  <a:lnTo>
                    <a:pt x="245" y="577"/>
                  </a:lnTo>
                  <a:lnTo>
                    <a:pt x="245" y="575"/>
                  </a:lnTo>
                  <a:lnTo>
                    <a:pt x="247" y="575"/>
                  </a:lnTo>
                  <a:lnTo>
                    <a:pt x="250" y="575"/>
                  </a:lnTo>
                  <a:lnTo>
                    <a:pt x="250" y="575"/>
                  </a:lnTo>
                  <a:lnTo>
                    <a:pt x="252" y="575"/>
                  </a:lnTo>
                  <a:lnTo>
                    <a:pt x="255" y="575"/>
                  </a:lnTo>
                  <a:lnTo>
                    <a:pt x="255" y="575"/>
                  </a:lnTo>
                  <a:lnTo>
                    <a:pt x="255" y="565"/>
                  </a:lnTo>
                  <a:lnTo>
                    <a:pt x="255" y="555"/>
                  </a:lnTo>
                  <a:lnTo>
                    <a:pt x="255" y="552"/>
                  </a:lnTo>
                  <a:lnTo>
                    <a:pt x="252" y="552"/>
                  </a:lnTo>
                  <a:lnTo>
                    <a:pt x="252" y="552"/>
                  </a:lnTo>
                  <a:lnTo>
                    <a:pt x="252" y="552"/>
                  </a:lnTo>
                  <a:lnTo>
                    <a:pt x="252" y="549"/>
                  </a:lnTo>
                  <a:lnTo>
                    <a:pt x="252" y="547"/>
                  </a:lnTo>
                  <a:lnTo>
                    <a:pt x="252" y="544"/>
                  </a:lnTo>
                  <a:lnTo>
                    <a:pt x="252" y="537"/>
                  </a:lnTo>
                  <a:lnTo>
                    <a:pt x="255" y="532"/>
                  </a:lnTo>
                  <a:lnTo>
                    <a:pt x="257" y="529"/>
                  </a:lnTo>
                  <a:lnTo>
                    <a:pt x="257" y="527"/>
                  </a:lnTo>
                  <a:lnTo>
                    <a:pt x="260" y="521"/>
                  </a:lnTo>
                  <a:lnTo>
                    <a:pt x="260" y="506"/>
                  </a:lnTo>
                  <a:lnTo>
                    <a:pt x="260" y="504"/>
                  </a:lnTo>
                  <a:lnTo>
                    <a:pt x="257" y="501"/>
                  </a:lnTo>
                  <a:lnTo>
                    <a:pt x="255" y="501"/>
                  </a:lnTo>
                  <a:lnTo>
                    <a:pt x="257" y="499"/>
                  </a:lnTo>
                  <a:lnTo>
                    <a:pt x="257" y="501"/>
                  </a:lnTo>
                  <a:lnTo>
                    <a:pt x="260" y="501"/>
                  </a:lnTo>
                  <a:lnTo>
                    <a:pt x="260" y="504"/>
                  </a:lnTo>
                  <a:lnTo>
                    <a:pt x="257" y="499"/>
                  </a:lnTo>
                  <a:lnTo>
                    <a:pt x="257" y="496"/>
                  </a:lnTo>
                  <a:lnTo>
                    <a:pt x="257" y="493"/>
                  </a:lnTo>
                  <a:lnTo>
                    <a:pt x="255" y="491"/>
                  </a:lnTo>
                  <a:lnTo>
                    <a:pt x="255" y="486"/>
                  </a:lnTo>
                  <a:lnTo>
                    <a:pt x="255" y="483"/>
                  </a:lnTo>
                  <a:lnTo>
                    <a:pt x="255" y="483"/>
                  </a:lnTo>
                  <a:lnTo>
                    <a:pt x="255" y="481"/>
                  </a:lnTo>
                  <a:lnTo>
                    <a:pt x="255" y="478"/>
                  </a:lnTo>
                  <a:lnTo>
                    <a:pt x="255" y="473"/>
                  </a:lnTo>
                  <a:lnTo>
                    <a:pt x="252" y="465"/>
                  </a:lnTo>
                  <a:lnTo>
                    <a:pt x="252" y="460"/>
                  </a:lnTo>
                  <a:lnTo>
                    <a:pt x="255" y="453"/>
                  </a:lnTo>
                  <a:lnTo>
                    <a:pt x="257" y="450"/>
                  </a:lnTo>
                  <a:lnTo>
                    <a:pt x="263" y="448"/>
                  </a:lnTo>
                  <a:lnTo>
                    <a:pt x="263" y="448"/>
                  </a:lnTo>
                  <a:lnTo>
                    <a:pt x="265" y="448"/>
                  </a:lnTo>
                  <a:lnTo>
                    <a:pt x="265" y="450"/>
                  </a:lnTo>
                  <a:lnTo>
                    <a:pt x="268" y="450"/>
                  </a:lnTo>
                  <a:lnTo>
                    <a:pt x="268" y="450"/>
                  </a:lnTo>
                  <a:lnTo>
                    <a:pt x="270" y="450"/>
                  </a:lnTo>
                  <a:lnTo>
                    <a:pt x="270" y="450"/>
                  </a:lnTo>
                  <a:lnTo>
                    <a:pt x="270" y="448"/>
                  </a:lnTo>
                  <a:lnTo>
                    <a:pt x="273" y="448"/>
                  </a:lnTo>
                  <a:lnTo>
                    <a:pt x="273" y="440"/>
                  </a:lnTo>
                  <a:lnTo>
                    <a:pt x="275" y="437"/>
                  </a:lnTo>
                  <a:lnTo>
                    <a:pt x="275" y="437"/>
                  </a:lnTo>
                  <a:lnTo>
                    <a:pt x="283" y="437"/>
                  </a:lnTo>
                  <a:lnTo>
                    <a:pt x="283" y="437"/>
                  </a:lnTo>
                  <a:lnTo>
                    <a:pt x="291" y="435"/>
                  </a:lnTo>
                  <a:lnTo>
                    <a:pt x="293" y="432"/>
                  </a:lnTo>
                  <a:lnTo>
                    <a:pt x="293" y="430"/>
                  </a:lnTo>
                  <a:lnTo>
                    <a:pt x="293" y="430"/>
                  </a:lnTo>
                  <a:lnTo>
                    <a:pt x="296" y="427"/>
                  </a:lnTo>
                  <a:lnTo>
                    <a:pt x="293" y="427"/>
                  </a:lnTo>
                  <a:lnTo>
                    <a:pt x="293" y="425"/>
                  </a:lnTo>
                  <a:lnTo>
                    <a:pt x="293" y="425"/>
                  </a:lnTo>
                  <a:lnTo>
                    <a:pt x="293" y="422"/>
                  </a:lnTo>
                  <a:lnTo>
                    <a:pt x="293" y="420"/>
                  </a:lnTo>
                  <a:lnTo>
                    <a:pt x="298" y="417"/>
                  </a:lnTo>
                  <a:lnTo>
                    <a:pt x="306" y="412"/>
                  </a:lnTo>
                  <a:lnTo>
                    <a:pt x="308" y="410"/>
                  </a:lnTo>
                  <a:lnTo>
                    <a:pt x="313" y="404"/>
                  </a:lnTo>
                  <a:lnTo>
                    <a:pt x="316" y="399"/>
                  </a:lnTo>
                  <a:lnTo>
                    <a:pt x="319" y="399"/>
                  </a:lnTo>
                  <a:lnTo>
                    <a:pt x="326" y="394"/>
                  </a:lnTo>
                  <a:lnTo>
                    <a:pt x="326" y="392"/>
                  </a:lnTo>
                  <a:lnTo>
                    <a:pt x="331" y="384"/>
                  </a:lnTo>
                  <a:lnTo>
                    <a:pt x="334" y="379"/>
                  </a:lnTo>
                  <a:lnTo>
                    <a:pt x="336" y="379"/>
                  </a:lnTo>
                  <a:lnTo>
                    <a:pt x="336" y="376"/>
                  </a:lnTo>
                  <a:lnTo>
                    <a:pt x="336" y="374"/>
                  </a:lnTo>
                  <a:lnTo>
                    <a:pt x="344" y="366"/>
                  </a:lnTo>
                  <a:lnTo>
                    <a:pt x="349" y="364"/>
                  </a:lnTo>
                  <a:lnTo>
                    <a:pt x="349" y="364"/>
                  </a:lnTo>
                  <a:lnTo>
                    <a:pt x="347" y="361"/>
                  </a:lnTo>
                  <a:lnTo>
                    <a:pt x="344" y="364"/>
                  </a:lnTo>
                  <a:lnTo>
                    <a:pt x="344" y="364"/>
                  </a:lnTo>
                  <a:lnTo>
                    <a:pt x="344" y="364"/>
                  </a:lnTo>
                  <a:lnTo>
                    <a:pt x="344" y="361"/>
                  </a:lnTo>
                  <a:lnTo>
                    <a:pt x="349" y="356"/>
                  </a:lnTo>
                  <a:lnTo>
                    <a:pt x="349" y="356"/>
                  </a:lnTo>
                  <a:lnTo>
                    <a:pt x="352" y="359"/>
                  </a:lnTo>
                  <a:lnTo>
                    <a:pt x="352" y="361"/>
                  </a:lnTo>
                  <a:lnTo>
                    <a:pt x="349" y="361"/>
                  </a:lnTo>
                  <a:lnTo>
                    <a:pt x="349" y="361"/>
                  </a:lnTo>
                  <a:lnTo>
                    <a:pt x="352" y="361"/>
                  </a:lnTo>
                  <a:lnTo>
                    <a:pt x="357" y="359"/>
                  </a:lnTo>
                  <a:lnTo>
                    <a:pt x="364" y="356"/>
                  </a:lnTo>
                  <a:lnTo>
                    <a:pt x="364" y="356"/>
                  </a:lnTo>
                  <a:lnTo>
                    <a:pt x="364" y="356"/>
                  </a:lnTo>
                  <a:lnTo>
                    <a:pt x="364" y="356"/>
                  </a:lnTo>
                  <a:lnTo>
                    <a:pt x="364" y="354"/>
                  </a:lnTo>
                  <a:lnTo>
                    <a:pt x="364" y="354"/>
                  </a:lnTo>
                  <a:lnTo>
                    <a:pt x="367" y="354"/>
                  </a:lnTo>
                  <a:lnTo>
                    <a:pt x="367" y="354"/>
                  </a:lnTo>
                  <a:lnTo>
                    <a:pt x="370" y="351"/>
                  </a:lnTo>
                  <a:lnTo>
                    <a:pt x="372" y="348"/>
                  </a:lnTo>
                  <a:lnTo>
                    <a:pt x="372" y="346"/>
                  </a:lnTo>
                  <a:lnTo>
                    <a:pt x="372" y="346"/>
                  </a:lnTo>
                  <a:lnTo>
                    <a:pt x="375" y="343"/>
                  </a:lnTo>
                  <a:lnTo>
                    <a:pt x="375" y="341"/>
                  </a:lnTo>
                  <a:lnTo>
                    <a:pt x="377" y="338"/>
                  </a:lnTo>
                  <a:lnTo>
                    <a:pt x="375" y="338"/>
                  </a:lnTo>
                  <a:lnTo>
                    <a:pt x="375" y="333"/>
                  </a:lnTo>
                  <a:lnTo>
                    <a:pt x="372" y="331"/>
                  </a:lnTo>
                  <a:lnTo>
                    <a:pt x="372" y="326"/>
                  </a:lnTo>
                  <a:lnTo>
                    <a:pt x="375" y="323"/>
                  </a:lnTo>
                  <a:lnTo>
                    <a:pt x="377" y="320"/>
                  </a:lnTo>
                  <a:lnTo>
                    <a:pt x="380" y="320"/>
                  </a:lnTo>
                  <a:lnTo>
                    <a:pt x="387" y="318"/>
                  </a:lnTo>
                  <a:lnTo>
                    <a:pt x="390" y="315"/>
                  </a:lnTo>
                  <a:lnTo>
                    <a:pt x="392" y="313"/>
                  </a:lnTo>
                  <a:lnTo>
                    <a:pt x="395" y="310"/>
                  </a:lnTo>
                  <a:lnTo>
                    <a:pt x="395" y="308"/>
                  </a:lnTo>
                  <a:lnTo>
                    <a:pt x="395" y="308"/>
                  </a:lnTo>
                  <a:lnTo>
                    <a:pt x="395" y="305"/>
                  </a:lnTo>
                  <a:lnTo>
                    <a:pt x="392" y="305"/>
                  </a:lnTo>
                  <a:lnTo>
                    <a:pt x="392" y="303"/>
                  </a:lnTo>
                  <a:lnTo>
                    <a:pt x="390" y="300"/>
                  </a:lnTo>
                  <a:lnTo>
                    <a:pt x="392" y="303"/>
                  </a:lnTo>
                  <a:lnTo>
                    <a:pt x="395" y="305"/>
                  </a:lnTo>
                  <a:lnTo>
                    <a:pt x="398" y="305"/>
                  </a:lnTo>
                  <a:lnTo>
                    <a:pt x="398" y="308"/>
                  </a:lnTo>
                  <a:lnTo>
                    <a:pt x="395" y="313"/>
                  </a:lnTo>
                  <a:lnTo>
                    <a:pt x="395" y="315"/>
                  </a:lnTo>
                  <a:lnTo>
                    <a:pt x="398" y="318"/>
                  </a:lnTo>
                  <a:lnTo>
                    <a:pt x="400" y="318"/>
                  </a:lnTo>
                  <a:lnTo>
                    <a:pt x="400" y="315"/>
                  </a:lnTo>
                  <a:lnTo>
                    <a:pt x="400" y="315"/>
                  </a:lnTo>
                  <a:lnTo>
                    <a:pt x="400" y="315"/>
                  </a:lnTo>
                  <a:lnTo>
                    <a:pt x="403" y="318"/>
                  </a:lnTo>
                  <a:lnTo>
                    <a:pt x="405" y="318"/>
                  </a:lnTo>
                  <a:lnTo>
                    <a:pt x="405" y="315"/>
                  </a:lnTo>
                  <a:lnTo>
                    <a:pt x="405" y="313"/>
                  </a:lnTo>
                  <a:lnTo>
                    <a:pt x="405" y="308"/>
                  </a:lnTo>
                  <a:lnTo>
                    <a:pt x="405" y="308"/>
                  </a:lnTo>
                  <a:lnTo>
                    <a:pt x="408" y="308"/>
                  </a:lnTo>
                  <a:lnTo>
                    <a:pt x="408" y="308"/>
                  </a:lnTo>
                  <a:lnTo>
                    <a:pt x="408" y="310"/>
                  </a:lnTo>
                  <a:lnTo>
                    <a:pt x="408" y="315"/>
                  </a:lnTo>
                  <a:lnTo>
                    <a:pt x="408" y="318"/>
                  </a:lnTo>
                  <a:lnTo>
                    <a:pt x="408" y="318"/>
                  </a:lnTo>
                  <a:lnTo>
                    <a:pt x="408" y="318"/>
                  </a:lnTo>
                  <a:lnTo>
                    <a:pt x="410" y="318"/>
                  </a:lnTo>
                  <a:lnTo>
                    <a:pt x="410" y="315"/>
                  </a:lnTo>
                  <a:lnTo>
                    <a:pt x="413" y="318"/>
                  </a:lnTo>
                  <a:lnTo>
                    <a:pt x="413" y="318"/>
                  </a:lnTo>
                  <a:lnTo>
                    <a:pt x="415" y="318"/>
                  </a:lnTo>
                  <a:lnTo>
                    <a:pt x="415" y="315"/>
                  </a:lnTo>
                  <a:lnTo>
                    <a:pt x="413" y="313"/>
                  </a:lnTo>
                  <a:lnTo>
                    <a:pt x="413" y="310"/>
                  </a:lnTo>
                  <a:lnTo>
                    <a:pt x="413" y="310"/>
                  </a:lnTo>
                  <a:lnTo>
                    <a:pt x="413" y="308"/>
                  </a:lnTo>
                  <a:lnTo>
                    <a:pt x="413" y="305"/>
                  </a:lnTo>
                  <a:lnTo>
                    <a:pt x="413" y="303"/>
                  </a:lnTo>
                  <a:lnTo>
                    <a:pt x="410" y="298"/>
                  </a:lnTo>
                  <a:lnTo>
                    <a:pt x="410" y="295"/>
                  </a:lnTo>
                  <a:lnTo>
                    <a:pt x="410" y="295"/>
                  </a:lnTo>
                  <a:lnTo>
                    <a:pt x="410" y="292"/>
                  </a:lnTo>
                  <a:lnTo>
                    <a:pt x="408" y="290"/>
                  </a:lnTo>
                  <a:lnTo>
                    <a:pt x="408" y="287"/>
                  </a:lnTo>
                  <a:lnTo>
                    <a:pt x="408" y="285"/>
                  </a:lnTo>
                  <a:lnTo>
                    <a:pt x="408" y="282"/>
                  </a:lnTo>
                  <a:lnTo>
                    <a:pt x="408" y="282"/>
                  </a:lnTo>
                  <a:lnTo>
                    <a:pt x="405" y="282"/>
                  </a:lnTo>
                  <a:lnTo>
                    <a:pt x="403" y="280"/>
                  </a:lnTo>
                  <a:lnTo>
                    <a:pt x="403" y="280"/>
                  </a:lnTo>
                  <a:lnTo>
                    <a:pt x="403" y="277"/>
                  </a:lnTo>
                  <a:lnTo>
                    <a:pt x="403" y="275"/>
                  </a:lnTo>
                  <a:lnTo>
                    <a:pt x="400" y="275"/>
                  </a:lnTo>
                  <a:lnTo>
                    <a:pt x="400" y="275"/>
                  </a:lnTo>
                  <a:lnTo>
                    <a:pt x="400" y="272"/>
                  </a:lnTo>
                  <a:lnTo>
                    <a:pt x="400" y="272"/>
                  </a:lnTo>
                  <a:lnTo>
                    <a:pt x="400" y="267"/>
                  </a:lnTo>
                  <a:lnTo>
                    <a:pt x="400" y="264"/>
                  </a:lnTo>
                  <a:lnTo>
                    <a:pt x="400" y="262"/>
                  </a:lnTo>
                  <a:lnTo>
                    <a:pt x="400" y="259"/>
                  </a:lnTo>
                  <a:lnTo>
                    <a:pt x="400" y="259"/>
                  </a:lnTo>
                  <a:lnTo>
                    <a:pt x="400" y="257"/>
                  </a:lnTo>
                  <a:lnTo>
                    <a:pt x="400" y="257"/>
                  </a:lnTo>
                  <a:lnTo>
                    <a:pt x="395" y="257"/>
                  </a:lnTo>
                  <a:lnTo>
                    <a:pt x="395" y="254"/>
                  </a:lnTo>
                  <a:lnTo>
                    <a:pt x="392" y="254"/>
                  </a:lnTo>
                  <a:lnTo>
                    <a:pt x="392" y="252"/>
                  </a:lnTo>
                  <a:lnTo>
                    <a:pt x="390" y="254"/>
                  </a:lnTo>
                  <a:lnTo>
                    <a:pt x="390" y="252"/>
                  </a:lnTo>
                  <a:lnTo>
                    <a:pt x="387" y="252"/>
                  </a:lnTo>
                  <a:lnTo>
                    <a:pt x="385" y="249"/>
                  </a:lnTo>
                  <a:lnTo>
                    <a:pt x="385" y="249"/>
                  </a:lnTo>
                  <a:lnTo>
                    <a:pt x="385" y="247"/>
                  </a:lnTo>
                  <a:lnTo>
                    <a:pt x="387" y="244"/>
                  </a:lnTo>
                  <a:lnTo>
                    <a:pt x="387" y="244"/>
                  </a:lnTo>
                  <a:lnTo>
                    <a:pt x="390" y="244"/>
                  </a:lnTo>
                  <a:lnTo>
                    <a:pt x="390" y="244"/>
                  </a:lnTo>
                  <a:lnTo>
                    <a:pt x="392" y="242"/>
                  </a:lnTo>
                  <a:lnTo>
                    <a:pt x="392" y="236"/>
                  </a:lnTo>
                  <a:lnTo>
                    <a:pt x="395" y="236"/>
                  </a:lnTo>
                  <a:lnTo>
                    <a:pt x="398" y="236"/>
                  </a:lnTo>
                  <a:lnTo>
                    <a:pt x="398" y="236"/>
                  </a:lnTo>
                  <a:lnTo>
                    <a:pt x="400" y="236"/>
                  </a:lnTo>
                  <a:lnTo>
                    <a:pt x="400" y="236"/>
                  </a:lnTo>
                  <a:lnTo>
                    <a:pt x="403" y="236"/>
                  </a:lnTo>
                  <a:lnTo>
                    <a:pt x="403" y="236"/>
                  </a:lnTo>
                  <a:lnTo>
                    <a:pt x="403" y="234"/>
                  </a:lnTo>
                  <a:lnTo>
                    <a:pt x="400" y="234"/>
                  </a:lnTo>
                  <a:lnTo>
                    <a:pt x="400" y="234"/>
                  </a:lnTo>
                  <a:lnTo>
                    <a:pt x="398" y="231"/>
                  </a:lnTo>
                  <a:lnTo>
                    <a:pt x="398" y="229"/>
                  </a:lnTo>
                  <a:lnTo>
                    <a:pt x="395" y="229"/>
                  </a:lnTo>
                  <a:lnTo>
                    <a:pt x="392" y="229"/>
                  </a:lnTo>
                  <a:lnTo>
                    <a:pt x="390" y="229"/>
                  </a:lnTo>
                  <a:lnTo>
                    <a:pt x="390" y="226"/>
                  </a:lnTo>
                  <a:lnTo>
                    <a:pt x="387" y="224"/>
                  </a:lnTo>
                  <a:lnTo>
                    <a:pt x="385" y="224"/>
                  </a:lnTo>
                  <a:lnTo>
                    <a:pt x="382" y="221"/>
                  </a:lnTo>
                  <a:lnTo>
                    <a:pt x="382" y="221"/>
                  </a:lnTo>
                  <a:lnTo>
                    <a:pt x="382" y="219"/>
                  </a:lnTo>
                  <a:lnTo>
                    <a:pt x="382" y="219"/>
                  </a:lnTo>
                  <a:lnTo>
                    <a:pt x="382" y="216"/>
                  </a:lnTo>
                  <a:lnTo>
                    <a:pt x="385" y="214"/>
                  </a:lnTo>
                  <a:lnTo>
                    <a:pt x="387" y="214"/>
                  </a:lnTo>
                  <a:lnTo>
                    <a:pt x="387" y="211"/>
                  </a:lnTo>
                  <a:lnTo>
                    <a:pt x="387" y="211"/>
                  </a:lnTo>
                  <a:lnTo>
                    <a:pt x="387" y="208"/>
                  </a:lnTo>
                  <a:lnTo>
                    <a:pt x="387" y="208"/>
                  </a:lnTo>
                  <a:lnTo>
                    <a:pt x="387" y="208"/>
                  </a:lnTo>
                  <a:lnTo>
                    <a:pt x="385" y="208"/>
                  </a:lnTo>
                  <a:lnTo>
                    <a:pt x="385" y="206"/>
                  </a:lnTo>
                  <a:lnTo>
                    <a:pt x="385" y="206"/>
                  </a:lnTo>
                  <a:lnTo>
                    <a:pt x="387" y="206"/>
                  </a:lnTo>
                  <a:lnTo>
                    <a:pt x="390" y="206"/>
                  </a:lnTo>
                  <a:lnTo>
                    <a:pt x="392" y="208"/>
                  </a:lnTo>
                  <a:lnTo>
                    <a:pt x="392" y="211"/>
                  </a:lnTo>
                  <a:lnTo>
                    <a:pt x="392" y="211"/>
                  </a:lnTo>
                  <a:lnTo>
                    <a:pt x="395" y="211"/>
                  </a:lnTo>
                  <a:lnTo>
                    <a:pt x="395" y="211"/>
                  </a:lnTo>
                  <a:lnTo>
                    <a:pt x="395" y="214"/>
                  </a:lnTo>
                  <a:lnTo>
                    <a:pt x="398" y="214"/>
                  </a:lnTo>
                  <a:lnTo>
                    <a:pt x="398" y="214"/>
                  </a:lnTo>
                  <a:lnTo>
                    <a:pt x="398" y="214"/>
                  </a:lnTo>
                  <a:lnTo>
                    <a:pt x="400" y="211"/>
                  </a:lnTo>
                  <a:lnTo>
                    <a:pt x="398" y="211"/>
                  </a:lnTo>
                  <a:lnTo>
                    <a:pt x="398" y="211"/>
                  </a:lnTo>
                  <a:lnTo>
                    <a:pt x="398" y="208"/>
                  </a:lnTo>
                  <a:lnTo>
                    <a:pt x="398" y="208"/>
                  </a:lnTo>
                  <a:lnTo>
                    <a:pt x="400" y="208"/>
                  </a:lnTo>
                  <a:lnTo>
                    <a:pt x="400" y="211"/>
                  </a:lnTo>
                  <a:lnTo>
                    <a:pt x="400" y="211"/>
                  </a:lnTo>
                  <a:lnTo>
                    <a:pt x="403" y="214"/>
                  </a:lnTo>
                  <a:lnTo>
                    <a:pt x="403" y="216"/>
                  </a:lnTo>
                  <a:lnTo>
                    <a:pt x="405" y="219"/>
                  </a:lnTo>
                  <a:lnTo>
                    <a:pt x="408" y="219"/>
                  </a:lnTo>
                  <a:lnTo>
                    <a:pt x="410" y="219"/>
                  </a:lnTo>
                  <a:lnTo>
                    <a:pt x="410" y="219"/>
                  </a:lnTo>
                  <a:lnTo>
                    <a:pt x="410" y="216"/>
                  </a:lnTo>
                  <a:lnTo>
                    <a:pt x="410" y="216"/>
                  </a:lnTo>
                  <a:lnTo>
                    <a:pt x="410" y="214"/>
                  </a:lnTo>
                  <a:lnTo>
                    <a:pt x="410" y="214"/>
                  </a:lnTo>
                  <a:lnTo>
                    <a:pt x="413" y="214"/>
                  </a:lnTo>
                  <a:lnTo>
                    <a:pt x="413" y="214"/>
                  </a:lnTo>
                  <a:lnTo>
                    <a:pt x="415" y="219"/>
                  </a:lnTo>
                  <a:lnTo>
                    <a:pt x="415" y="221"/>
                  </a:lnTo>
                  <a:lnTo>
                    <a:pt x="418" y="229"/>
                  </a:lnTo>
                  <a:lnTo>
                    <a:pt x="418" y="231"/>
                  </a:lnTo>
                  <a:lnTo>
                    <a:pt x="418" y="234"/>
                  </a:lnTo>
                  <a:lnTo>
                    <a:pt x="418" y="234"/>
                  </a:lnTo>
                  <a:lnTo>
                    <a:pt x="418" y="234"/>
                  </a:lnTo>
                  <a:lnTo>
                    <a:pt x="421" y="234"/>
                  </a:lnTo>
                  <a:lnTo>
                    <a:pt x="423" y="236"/>
                  </a:lnTo>
                  <a:lnTo>
                    <a:pt x="426" y="236"/>
                  </a:lnTo>
                  <a:lnTo>
                    <a:pt x="428" y="236"/>
                  </a:lnTo>
                  <a:lnTo>
                    <a:pt x="431" y="236"/>
                  </a:lnTo>
                  <a:lnTo>
                    <a:pt x="433" y="236"/>
                  </a:lnTo>
                  <a:lnTo>
                    <a:pt x="436" y="236"/>
                  </a:lnTo>
                  <a:lnTo>
                    <a:pt x="438" y="236"/>
                  </a:lnTo>
                  <a:lnTo>
                    <a:pt x="443" y="236"/>
                  </a:lnTo>
                  <a:lnTo>
                    <a:pt x="449" y="236"/>
                  </a:lnTo>
                  <a:lnTo>
                    <a:pt x="451" y="236"/>
                  </a:lnTo>
                  <a:lnTo>
                    <a:pt x="451" y="239"/>
                  </a:lnTo>
                  <a:lnTo>
                    <a:pt x="456" y="236"/>
                  </a:lnTo>
                  <a:lnTo>
                    <a:pt x="464" y="236"/>
                  </a:lnTo>
                  <a:lnTo>
                    <a:pt x="466" y="239"/>
                  </a:lnTo>
                  <a:lnTo>
                    <a:pt x="469" y="242"/>
                  </a:lnTo>
                  <a:lnTo>
                    <a:pt x="471" y="242"/>
                  </a:lnTo>
                  <a:lnTo>
                    <a:pt x="471" y="244"/>
                  </a:lnTo>
                  <a:lnTo>
                    <a:pt x="471" y="244"/>
                  </a:lnTo>
                  <a:lnTo>
                    <a:pt x="471" y="244"/>
                  </a:lnTo>
                  <a:lnTo>
                    <a:pt x="471" y="244"/>
                  </a:lnTo>
                  <a:lnTo>
                    <a:pt x="469" y="244"/>
                  </a:lnTo>
                  <a:lnTo>
                    <a:pt x="466" y="244"/>
                  </a:lnTo>
                  <a:lnTo>
                    <a:pt x="469" y="247"/>
                  </a:lnTo>
                  <a:lnTo>
                    <a:pt x="469" y="247"/>
                  </a:lnTo>
                  <a:lnTo>
                    <a:pt x="466" y="249"/>
                  </a:lnTo>
                  <a:lnTo>
                    <a:pt x="466" y="252"/>
                  </a:lnTo>
                  <a:lnTo>
                    <a:pt x="466" y="254"/>
                  </a:lnTo>
                  <a:lnTo>
                    <a:pt x="466" y="254"/>
                  </a:lnTo>
                  <a:lnTo>
                    <a:pt x="466" y="254"/>
                  </a:lnTo>
                  <a:lnTo>
                    <a:pt x="464" y="254"/>
                  </a:lnTo>
                  <a:lnTo>
                    <a:pt x="464" y="257"/>
                  </a:lnTo>
                  <a:lnTo>
                    <a:pt x="464" y="257"/>
                  </a:lnTo>
                  <a:lnTo>
                    <a:pt x="464" y="257"/>
                  </a:lnTo>
                  <a:lnTo>
                    <a:pt x="464" y="259"/>
                  </a:lnTo>
                  <a:lnTo>
                    <a:pt x="461" y="259"/>
                  </a:lnTo>
                  <a:lnTo>
                    <a:pt x="461" y="259"/>
                  </a:lnTo>
                  <a:lnTo>
                    <a:pt x="459" y="259"/>
                  </a:lnTo>
                  <a:lnTo>
                    <a:pt x="459" y="259"/>
                  </a:lnTo>
                  <a:lnTo>
                    <a:pt x="459" y="259"/>
                  </a:lnTo>
                  <a:lnTo>
                    <a:pt x="456" y="262"/>
                  </a:lnTo>
                  <a:lnTo>
                    <a:pt x="456" y="262"/>
                  </a:lnTo>
                  <a:lnTo>
                    <a:pt x="454" y="262"/>
                  </a:lnTo>
                  <a:lnTo>
                    <a:pt x="454" y="262"/>
                  </a:lnTo>
                  <a:lnTo>
                    <a:pt x="454" y="262"/>
                  </a:lnTo>
                  <a:lnTo>
                    <a:pt x="454" y="264"/>
                  </a:lnTo>
                  <a:lnTo>
                    <a:pt x="451" y="264"/>
                  </a:lnTo>
                  <a:lnTo>
                    <a:pt x="451" y="270"/>
                  </a:lnTo>
                  <a:lnTo>
                    <a:pt x="451" y="272"/>
                  </a:lnTo>
                  <a:lnTo>
                    <a:pt x="451" y="272"/>
                  </a:lnTo>
                  <a:lnTo>
                    <a:pt x="454" y="277"/>
                  </a:lnTo>
                  <a:lnTo>
                    <a:pt x="456" y="285"/>
                  </a:lnTo>
                  <a:lnTo>
                    <a:pt x="456" y="285"/>
                  </a:lnTo>
                  <a:lnTo>
                    <a:pt x="456" y="285"/>
                  </a:lnTo>
                  <a:lnTo>
                    <a:pt x="456" y="285"/>
                  </a:lnTo>
                  <a:lnTo>
                    <a:pt x="456" y="285"/>
                  </a:lnTo>
                  <a:lnTo>
                    <a:pt x="456" y="282"/>
                  </a:lnTo>
                  <a:lnTo>
                    <a:pt x="456" y="282"/>
                  </a:lnTo>
                  <a:lnTo>
                    <a:pt x="456" y="282"/>
                  </a:lnTo>
                  <a:lnTo>
                    <a:pt x="459" y="282"/>
                  </a:lnTo>
                  <a:lnTo>
                    <a:pt x="459" y="285"/>
                  </a:lnTo>
                  <a:lnTo>
                    <a:pt x="461" y="287"/>
                  </a:lnTo>
                  <a:lnTo>
                    <a:pt x="461" y="287"/>
                  </a:lnTo>
                  <a:lnTo>
                    <a:pt x="464" y="287"/>
                  </a:lnTo>
                  <a:lnTo>
                    <a:pt x="464" y="285"/>
                  </a:lnTo>
                  <a:lnTo>
                    <a:pt x="464" y="285"/>
                  </a:lnTo>
                  <a:lnTo>
                    <a:pt x="464" y="282"/>
                  </a:lnTo>
                  <a:lnTo>
                    <a:pt x="464" y="280"/>
                  </a:lnTo>
                  <a:lnTo>
                    <a:pt x="464" y="277"/>
                  </a:lnTo>
                  <a:lnTo>
                    <a:pt x="466" y="275"/>
                  </a:lnTo>
                  <a:lnTo>
                    <a:pt x="466" y="275"/>
                  </a:lnTo>
                  <a:lnTo>
                    <a:pt x="466" y="272"/>
                  </a:lnTo>
                  <a:lnTo>
                    <a:pt x="466" y="272"/>
                  </a:lnTo>
                  <a:lnTo>
                    <a:pt x="466" y="272"/>
                  </a:lnTo>
                  <a:lnTo>
                    <a:pt x="469" y="272"/>
                  </a:lnTo>
                  <a:lnTo>
                    <a:pt x="469" y="270"/>
                  </a:lnTo>
                  <a:lnTo>
                    <a:pt x="469" y="270"/>
                  </a:lnTo>
                  <a:lnTo>
                    <a:pt x="471" y="272"/>
                  </a:lnTo>
                  <a:lnTo>
                    <a:pt x="471" y="272"/>
                  </a:lnTo>
                  <a:lnTo>
                    <a:pt x="474" y="275"/>
                  </a:lnTo>
                  <a:lnTo>
                    <a:pt x="474" y="280"/>
                  </a:lnTo>
                  <a:lnTo>
                    <a:pt x="474" y="282"/>
                  </a:lnTo>
                  <a:lnTo>
                    <a:pt x="477" y="285"/>
                  </a:lnTo>
                  <a:lnTo>
                    <a:pt x="477" y="287"/>
                  </a:lnTo>
                  <a:lnTo>
                    <a:pt x="477" y="290"/>
                  </a:lnTo>
                  <a:lnTo>
                    <a:pt x="479" y="290"/>
                  </a:lnTo>
                  <a:lnTo>
                    <a:pt x="479" y="292"/>
                  </a:lnTo>
                  <a:lnTo>
                    <a:pt x="479" y="292"/>
                  </a:lnTo>
                  <a:lnTo>
                    <a:pt x="482" y="298"/>
                  </a:lnTo>
                  <a:lnTo>
                    <a:pt x="482" y="300"/>
                  </a:lnTo>
                  <a:lnTo>
                    <a:pt x="482" y="308"/>
                  </a:lnTo>
                  <a:lnTo>
                    <a:pt x="484" y="310"/>
                  </a:lnTo>
                  <a:lnTo>
                    <a:pt x="484" y="310"/>
                  </a:lnTo>
                  <a:lnTo>
                    <a:pt x="484" y="308"/>
                  </a:lnTo>
                  <a:lnTo>
                    <a:pt x="484" y="308"/>
                  </a:lnTo>
                  <a:lnTo>
                    <a:pt x="484" y="305"/>
                  </a:lnTo>
                  <a:lnTo>
                    <a:pt x="487" y="305"/>
                  </a:lnTo>
                  <a:lnTo>
                    <a:pt x="487" y="308"/>
                  </a:lnTo>
                  <a:lnTo>
                    <a:pt x="489" y="310"/>
                  </a:lnTo>
                  <a:lnTo>
                    <a:pt x="489" y="310"/>
                  </a:lnTo>
                  <a:lnTo>
                    <a:pt x="492" y="310"/>
                  </a:lnTo>
                  <a:lnTo>
                    <a:pt x="492" y="305"/>
                  </a:lnTo>
                  <a:lnTo>
                    <a:pt x="492" y="305"/>
                  </a:lnTo>
                  <a:lnTo>
                    <a:pt x="492" y="305"/>
                  </a:lnTo>
                  <a:lnTo>
                    <a:pt x="494" y="305"/>
                  </a:lnTo>
                  <a:lnTo>
                    <a:pt x="494" y="305"/>
                  </a:lnTo>
                  <a:lnTo>
                    <a:pt x="494" y="303"/>
                  </a:lnTo>
                  <a:lnTo>
                    <a:pt x="494" y="300"/>
                  </a:lnTo>
                  <a:lnTo>
                    <a:pt x="492" y="298"/>
                  </a:lnTo>
                  <a:lnTo>
                    <a:pt x="492" y="295"/>
                  </a:lnTo>
                  <a:lnTo>
                    <a:pt x="492" y="292"/>
                  </a:lnTo>
                  <a:lnTo>
                    <a:pt x="492" y="290"/>
                  </a:lnTo>
                  <a:lnTo>
                    <a:pt x="492" y="290"/>
                  </a:lnTo>
                  <a:lnTo>
                    <a:pt x="492" y="287"/>
                  </a:lnTo>
                  <a:lnTo>
                    <a:pt x="492" y="285"/>
                  </a:lnTo>
                  <a:lnTo>
                    <a:pt x="492" y="285"/>
                  </a:lnTo>
                  <a:lnTo>
                    <a:pt x="494" y="287"/>
                  </a:lnTo>
                  <a:lnTo>
                    <a:pt x="494" y="285"/>
                  </a:lnTo>
                  <a:lnTo>
                    <a:pt x="494" y="285"/>
                  </a:lnTo>
                  <a:lnTo>
                    <a:pt x="494" y="285"/>
                  </a:lnTo>
                  <a:lnTo>
                    <a:pt x="494" y="280"/>
                  </a:lnTo>
                  <a:lnTo>
                    <a:pt x="494" y="275"/>
                  </a:lnTo>
                  <a:lnTo>
                    <a:pt x="494" y="272"/>
                  </a:lnTo>
                  <a:lnTo>
                    <a:pt x="494" y="270"/>
                  </a:lnTo>
                  <a:lnTo>
                    <a:pt x="492" y="264"/>
                  </a:lnTo>
                  <a:lnTo>
                    <a:pt x="492" y="262"/>
                  </a:lnTo>
                  <a:lnTo>
                    <a:pt x="492" y="262"/>
                  </a:lnTo>
                  <a:lnTo>
                    <a:pt x="494" y="264"/>
                  </a:lnTo>
                  <a:lnTo>
                    <a:pt x="494" y="264"/>
                  </a:lnTo>
                  <a:lnTo>
                    <a:pt x="497" y="264"/>
                  </a:lnTo>
                  <a:lnTo>
                    <a:pt x="497" y="264"/>
                  </a:lnTo>
                  <a:lnTo>
                    <a:pt x="500" y="264"/>
                  </a:lnTo>
                  <a:lnTo>
                    <a:pt x="500" y="264"/>
                  </a:lnTo>
                  <a:lnTo>
                    <a:pt x="502" y="264"/>
                  </a:lnTo>
                  <a:lnTo>
                    <a:pt x="505" y="267"/>
                  </a:lnTo>
                  <a:lnTo>
                    <a:pt x="507" y="267"/>
                  </a:lnTo>
                  <a:lnTo>
                    <a:pt x="507" y="267"/>
                  </a:lnTo>
                  <a:lnTo>
                    <a:pt x="510" y="264"/>
                  </a:lnTo>
                  <a:lnTo>
                    <a:pt x="510" y="262"/>
                  </a:lnTo>
                  <a:lnTo>
                    <a:pt x="510" y="257"/>
                  </a:lnTo>
                  <a:lnTo>
                    <a:pt x="510" y="254"/>
                  </a:lnTo>
                  <a:lnTo>
                    <a:pt x="512" y="252"/>
                  </a:lnTo>
                  <a:lnTo>
                    <a:pt x="512" y="249"/>
                  </a:lnTo>
                  <a:lnTo>
                    <a:pt x="515" y="247"/>
                  </a:lnTo>
                  <a:lnTo>
                    <a:pt x="515" y="242"/>
                  </a:lnTo>
                  <a:lnTo>
                    <a:pt x="515" y="239"/>
                  </a:lnTo>
                  <a:lnTo>
                    <a:pt x="515" y="239"/>
                  </a:lnTo>
                  <a:lnTo>
                    <a:pt x="515" y="239"/>
                  </a:lnTo>
                  <a:lnTo>
                    <a:pt x="512" y="236"/>
                  </a:lnTo>
                  <a:lnTo>
                    <a:pt x="512" y="236"/>
                  </a:lnTo>
                  <a:lnTo>
                    <a:pt x="512" y="236"/>
                  </a:lnTo>
                  <a:lnTo>
                    <a:pt x="512" y="236"/>
                  </a:lnTo>
                  <a:lnTo>
                    <a:pt x="512" y="234"/>
                  </a:lnTo>
                  <a:lnTo>
                    <a:pt x="512" y="231"/>
                  </a:lnTo>
                  <a:lnTo>
                    <a:pt x="512" y="231"/>
                  </a:lnTo>
                  <a:lnTo>
                    <a:pt x="515" y="229"/>
                  </a:lnTo>
                  <a:lnTo>
                    <a:pt x="517" y="226"/>
                  </a:lnTo>
                  <a:lnTo>
                    <a:pt x="517" y="226"/>
                  </a:lnTo>
                  <a:lnTo>
                    <a:pt x="517" y="224"/>
                  </a:lnTo>
                  <a:lnTo>
                    <a:pt x="517" y="221"/>
                  </a:lnTo>
                  <a:lnTo>
                    <a:pt x="517" y="219"/>
                  </a:lnTo>
                  <a:lnTo>
                    <a:pt x="520" y="219"/>
                  </a:lnTo>
                  <a:lnTo>
                    <a:pt x="520" y="219"/>
                  </a:lnTo>
                  <a:lnTo>
                    <a:pt x="520" y="216"/>
                  </a:lnTo>
                  <a:lnTo>
                    <a:pt x="520" y="216"/>
                  </a:lnTo>
                  <a:lnTo>
                    <a:pt x="517" y="214"/>
                  </a:lnTo>
                  <a:lnTo>
                    <a:pt x="517" y="211"/>
                  </a:lnTo>
                  <a:lnTo>
                    <a:pt x="517" y="208"/>
                  </a:lnTo>
                  <a:lnTo>
                    <a:pt x="517" y="206"/>
                  </a:lnTo>
                  <a:lnTo>
                    <a:pt x="517" y="206"/>
                  </a:lnTo>
                  <a:lnTo>
                    <a:pt x="520" y="203"/>
                  </a:lnTo>
                  <a:lnTo>
                    <a:pt x="520" y="203"/>
                  </a:lnTo>
                  <a:lnTo>
                    <a:pt x="522" y="201"/>
                  </a:lnTo>
                  <a:lnTo>
                    <a:pt x="528" y="196"/>
                  </a:lnTo>
                  <a:lnTo>
                    <a:pt x="530" y="196"/>
                  </a:lnTo>
                  <a:lnTo>
                    <a:pt x="530" y="196"/>
                  </a:lnTo>
                  <a:lnTo>
                    <a:pt x="533" y="193"/>
                  </a:lnTo>
                  <a:lnTo>
                    <a:pt x="533" y="191"/>
                  </a:lnTo>
                  <a:lnTo>
                    <a:pt x="535" y="191"/>
                  </a:lnTo>
                  <a:lnTo>
                    <a:pt x="538" y="188"/>
                  </a:lnTo>
                  <a:lnTo>
                    <a:pt x="545" y="188"/>
                  </a:lnTo>
                  <a:lnTo>
                    <a:pt x="545" y="188"/>
                  </a:lnTo>
                  <a:lnTo>
                    <a:pt x="548" y="188"/>
                  </a:lnTo>
                  <a:lnTo>
                    <a:pt x="548" y="191"/>
                  </a:lnTo>
                  <a:lnTo>
                    <a:pt x="550" y="193"/>
                  </a:lnTo>
                  <a:lnTo>
                    <a:pt x="553" y="193"/>
                  </a:lnTo>
                  <a:lnTo>
                    <a:pt x="553" y="193"/>
                  </a:lnTo>
                  <a:lnTo>
                    <a:pt x="553" y="191"/>
                  </a:lnTo>
                  <a:lnTo>
                    <a:pt x="548" y="186"/>
                  </a:lnTo>
                  <a:lnTo>
                    <a:pt x="548" y="183"/>
                  </a:lnTo>
                  <a:lnTo>
                    <a:pt x="548" y="183"/>
                  </a:lnTo>
                  <a:lnTo>
                    <a:pt x="548" y="180"/>
                  </a:lnTo>
                  <a:lnTo>
                    <a:pt x="548" y="180"/>
                  </a:lnTo>
                  <a:close/>
                  <a:moveTo>
                    <a:pt x="538" y="644"/>
                  </a:moveTo>
                  <a:lnTo>
                    <a:pt x="535" y="646"/>
                  </a:lnTo>
                  <a:lnTo>
                    <a:pt x="535" y="646"/>
                  </a:lnTo>
                  <a:lnTo>
                    <a:pt x="535" y="649"/>
                  </a:lnTo>
                  <a:lnTo>
                    <a:pt x="538" y="651"/>
                  </a:lnTo>
                  <a:lnTo>
                    <a:pt x="540" y="656"/>
                  </a:lnTo>
                  <a:lnTo>
                    <a:pt x="540" y="654"/>
                  </a:lnTo>
                  <a:lnTo>
                    <a:pt x="540" y="651"/>
                  </a:lnTo>
                  <a:lnTo>
                    <a:pt x="540" y="646"/>
                  </a:lnTo>
                  <a:lnTo>
                    <a:pt x="538" y="644"/>
                  </a:lnTo>
                  <a:close/>
                  <a:moveTo>
                    <a:pt x="533" y="623"/>
                  </a:moveTo>
                  <a:lnTo>
                    <a:pt x="530" y="623"/>
                  </a:lnTo>
                  <a:lnTo>
                    <a:pt x="530" y="623"/>
                  </a:lnTo>
                  <a:lnTo>
                    <a:pt x="530" y="626"/>
                  </a:lnTo>
                  <a:lnTo>
                    <a:pt x="530" y="626"/>
                  </a:lnTo>
                  <a:lnTo>
                    <a:pt x="530" y="626"/>
                  </a:lnTo>
                  <a:lnTo>
                    <a:pt x="530" y="626"/>
                  </a:lnTo>
                  <a:lnTo>
                    <a:pt x="530" y="626"/>
                  </a:lnTo>
                  <a:lnTo>
                    <a:pt x="533" y="626"/>
                  </a:lnTo>
                  <a:lnTo>
                    <a:pt x="533" y="623"/>
                  </a:lnTo>
                  <a:lnTo>
                    <a:pt x="533" y="623"/>
                  </a:lnTo>
                  <a:close/>
                  <a:moveTo>
                    <a:pt x="522" y="618"/>
                  </a:moveTo>
                  <a:lnTo>
                    <a:pt x="522" y="621"/>
                  </a:lnTo>
                  <a:lnTo>
                    <a:pt x="522" y="621"/>
                  </a:lnTo>
                  <a:lnTo>
                    <a:pt x="522" y="623"/>
                  </a:lnTo>
                  <a:lnTo>
                    <a:pt x="525" y="623"/>
                  </a:lnTo>
                  <a:lnTo>
                    <a:pt x="525" y="621"/>
                  </a:lnTo>
                  <a:lnTo>
                    <a:pt x="522" y="618"/>
                  </a:lnTo>
                  <a:close/>
                  <a:moveTo>
                    <a:pt x="530" y="626"/>
                  </a:moveTo>
                  <a:lnTo>
                    <a:pt x="528" y="628"/>
                  </a:lnTo>
                  <a:lnTo>
                    <a:pt x="528" y="628"/>
                  </a:lnTo>
                  <a:lnTo>
                    <a:pt x="528" y="628"/>
                  </a:lnTo>
                  <a:lnTo>
                    <a:pt x="530" y="631"/>
                  </a:lnTo>
                  <a:lnTo>
                    <a:pt x="530" y="631"/>
                  </a:lnTo>
                  <a:lnTo>
                    <a:pt x="530" y="631"/>
                  </a:lnTo>
                  <a:lnTo>
                    <a:pt x="530" y="628"/>
                  </a:lnTo>
                  <a:lnTo>
                    <a:pt x="530" y="626"/>
                  </a:lnTo>
                  <a:close/>
                </a:path>
              </a:pathLst>
            </a:custGeom>
            <a:solidFill>
              <a:srgbClr val="FFC000"/>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296" name="Freeform 1915">
              <a:extLst>
                <a:ext uri="{FF2B5EF4-FFF2-40B4-BE49-F238E27FC236}">
                  <a16:creationId xmlns:a16="http://schemas.microsoft.com/office/drawing/2014/main" id="{4EC2E2D0-D878-0E43-A979-1BA822FC68DF}"/>
                </a:ext>
              </a:extLst>
            </p:cNvPr>
            <p:cNvSpPr>
              <a:spLocks/>
            </p:cNvSpPr>
            <p:nvPr/>
          </p:nvSpPr>
          <p:spPr bwMode="auto">
            <a:xfrm>
              <a:off x="5086800" y="1383511"/>
              <a:ext cx="271532" cy="103052"/>
            </a:xfrm>
            <a:custGeom>
              <a:avLst/>
              <a:gdLst>
                <a:gd name="T0" fmla="*/ 163 w 166"/>
                <a:gd name="T1" fmla="*/ 20 h 63"/>
                <a:gd name="T2" fmla="*/ 156 w 166"/>
                <a:gd name="T3" fmla="*/ 15 h 63"/>
                <a:gd name="T4" fmla="*/ 151 w 166"/>
                <a:gd name="T5" fmla="*/ 12 h 63"/>
                <a:gd name="T6" fmla="*/ 148 w 166"/>
                <a:gd name="T7" fmla="*/ 10 h 63"/>
                <a:gd name="T8" fmla="*/ 156 w 166"/>
                <a:gd name="T9" fmla="*/ 2 h 63"/>
                <a:gd name="T10" fmla="*/ 138 w 166"/>
                <a:gd name="T11" fmla="*/ 5 h 63"/>
                <a:gd name="T12" fmla="*/ 128 w 166"/>
                <a:gd name="T13" fmla="*/ 0 h 63"/>
                <a:gd name="T14" fmla="*/ 118 w 166"/>
                <a:gd name="T15" fmla="*/ 7 h 63"/>
                <a:gd name="T16" fmla="*/ 107 w 166"/>
                <a:gd name="T17" fmla="*/ 10 h 63"/>
                <a:gd name="T18" fmla="*/ 97 w 166"/>
                <a:gd name="T19" fmla="*/ 7 h 63"/>
                <a:gd name="T20" fmla="*/ 97 w 166"/>
                <a:gd name="T21" fmla="*/ 15 h 63"/>
                <a:gd name="T22" fmla="*/ 87 w 166"/>
                <a:gd name="T23" fmla="*/ 7 h 63"/>
                <a:gd name="T24" fmla="*/ 79 w 166"/>
                <a:gd name="T25" fmla="*/ 15 h 63"/>
                <a:gd name="T26" fmla="*/ 69 w 166"/>
                <a:gd name="T27" fmla="*/ 7 h 63"/>
                <a:gd name="T28" fmla="*/ 62 w 166"/>
                <a:gd name="T29" fmla="*/ 20 h 63"/>
                <a:gd name="T30" fmla="*/ 54 w 166"/>
                <a:gd name="T31" fmla="*/ 23 h 63"/>
                <a:gd name="T32" fmla="*/ 49 w 166"/>
                <a:gd name="T33" fmla="*/ 20 h 63"/>
                <a:gd name="T34" fmla="*/ 46 w 166"/>
                <a:gd name="T35" fmla="*/ 17 h 63"/>
                <a:gd name="T36" fmla="*/ 49 w 166"/>
                <a:gd name="T37" fmla="*/ 15 h 63"/>
                <a:gd name="T38" fmla="*/ 51 w 166"/>
                <a:gd name="T39" fmla="*/ 10 h 63"/>
                <a:gd name="T40" fmla="*/ 36 w 166"/>
                <a:gd name="T41" fmla="*/ 2 h 63"/>
                <a:gd name="T42" fmla="*/ 31 w 166"/>
                <a:gd name="T43" fmla="*/ 5 h 63"/>
                <a:gd name="T44" fmla="*/ 28 w 166"/>
                <a:gd name="T45" fmla="*/ 5 h 63"/>
                <a:gd name="T46" fmla="*/ 33 w 166"/>
                <a:gd name="T47" fmla="*/ 12 h 63"/>
                <a:gd name="T48" fmla="*/ 31 w 166"/>
                <a:gd name="T49" fmla="*/ 10 h 63"/>
                <a:gd name="T50" fmla="*/ 26 w 166"/>
                <a:gd name="T51" fmla="*/ 10 h 63"/>
                <a:gd name="T52" fmla="*/ 18 w 166"/>
                <a:gd name="T53" fmla="*/ 7 h 63"/>
                <a:gd name="T54" fmla="*/ 16 w 166"/>
                <a:gd name="T55" fmla="*/ 10 h 63"/>
                <a:gd name="T56" fmla="*/ 13 w 166"/>
                <a:gd name="T57" fmla="*/ 15 h 63"/>
                <a:gd name="T58" fmla="*/ 8 w 166"/>
                <a:gd name="T59" fmla="*/ 15 h 63"/>
                <a:gd name="T60" fmla="*/ 8 w 166"/>
                <a:gd name="T61" fmla="*/ 20 h 63"/>
                <a:gd name="T62" fmla="*/ 8 w 166"/>
                <a:gd name="T63" fmla="*/ 23 h 63"/>
                <a:gd name="T64" fmla="*/ 33 w 166"/>
                <a:gd name="T65" fmla="*/ 20 h 63"/>
                <a:gd name="T66" fmla="*/ 28 w 166"/>
                <a:gd name="T67" fmla="*/ 25 h 63"/>
                <a:gd name="T68" fmla="*/ 39 w 166"/>
                <a:gd name="T69" fmla="*/ 30 h 63"/>
                <a:gd name="T70" fmla="*/ 23 w 166"/>
                <a:gd name="T71" fmla="*/ 30 h 63"/>
                <a:gd name="T72" fmla="*/ 11 w 166"/>
                <a:gd name="T73" fmla="*/ 33 h 63"/>
                <a:gd name="T74" fmla="*/ 5 w 166"/>
                <a:gd name="T75" fmla="*/ 35 h 63"/>
                <a:gd name="T76" fmla="*/ 31 w 166"/>
                <a:gd name="T77" fmla="*/ 35 h 63"/>
                <a:gd name="T78" fmla="*/ 39 w 166"/>
                <a:gd name="T79" fmla="*/ 38 h 63"/>
                <a:gd name="T80" fmla="*/ 33 w 166"/>
                <a:gd name="T81" fmla="*/ 43 h 63"/>
                <a:gd name="T82" fmla="*/ 41 w 166"/>
                <a:gd name="T83" fmla="*/ 43 h 63"/>
                <a:gd name="T84" fmla="*/ 31 w 166"/>
                <a:gd name="T85" fmla="*/ 48 h 63"/>
                <a:gd name="T86" fmla="*/ 21 w 166"/>
                <a:gd name="T87" fmla="*/ 48 h 63"/>
                <a:gd name="T88" fmla="*/ 39 w 166"/>
                <a:gd name="T89" fmla="*/ 53 h 63"/>
                <a:gd name="T90" fmla="*/ 46 w 166"/>
                <a:gd name="T91" fmla="*/ 53 h 63"/>
                <a:gd name="T92" fmla="*/ 54 w 166"/>
                <a:gd name="T93" fmla="*/ 56 h 63"/>
                <a:gd name="T94" fmla="*/ 59 w 166"/>
                <a:gd name="T95" fmla="*/ 58 h 63"/>
                <a:gd name="T96" fmla="*/ 87 w 166"/>
                <a:gd name="T97" fmla="*/ 61 h 63"/>
                <a:gd name="T98" fmla="*/ 92 w 166"/>
                <a:gd name="T99" fmla="*/ 58 h 63"/>
                <a:gd name="T100" fmla="*/ 112 w 166"/>
                <a:gd name="T101" fmla="*/ 53 h 63"/>
                <a:gd name="T102" fmla="*/ 141 w 166"/>
                <a:gd name="T103" fmla="*/ 43 h 63"/>
                <a:gd name="T104" fmla="*/ 151 w 166"/>
                <a:gd name="T105" fmla="*/ 38 h 63"/>
                <a:gd name="T106" fmla="*/ 161 w 166"/>
                <a:gd name="T107" fmla="*/ 33 h 63"/>
                <a:gd name="T108" fmla="*/ 166 w 166"/>
                <a:gd name="T109" fmla="*/ 28 h 63"/>
                <a:gd name="T110" fmla="*/ 163 w 166"/>
                <a:gd name="T111" fmla="*/ 2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66" h="63">
                  <a:moveTo>
                    <a:pt x="163" y="23"/>
                  </a:moveTo>
                  <a:lnTo>
                    <a:pt x="163" y="23"/>
                  </a:lnTo>
                  <a:lnTo>
                    <a:pt x="166" y="23"/>
                  </a:lnTo>
                  <a:lnTo>
                    <a:pt x="166" y="20"/>
                  </a:lnTo>
                  <a:lnTo>
                    <a:pt x="166" y="20"/>
                  </a:lnTo>
                  <a:lnTo>
                    <a:pt x="166" y="20"/>
                  </a:lnTo>
                  <a:lnTo>
                    <a:pt x="166" y="20"/>
                  </a:lnTo>
                  <a:lnTo>
                    <a:pt x="163" y="20"/>
                  </a:lnTo>
                  <a:lnTo>
                    <a:pt x="163" y="17"/>
                  </a:lnTo>
                  <a:lnTo>
                    <a:pt x="161" y="17"/>
                  </a:lnTo>
                  <a:lnTo>
                    <a:pt x="158" y="17"/>
                  </a:lnTo>
                  <a:lnTo>
                    <a:pt x="156" y="17"/>
                  </a:lnTo>
                  <a:lnTo>
                    <a:pt x="153" y="17"/>
                  </a:lnTo>
                  <a:lnTo>
                    <a:pt x="156" y="17"/>
                  </a:lnTo>
                  <a:lnTo>
                    <a:pt x="156" y="17"/>
                  </a:lnTo>
                  <a:lnTo>
                    <a:pt x="156" y="15"/>
                  </a:lnTo>
                  <a:lnTo>
                    <a:pt x="156" y="15"/>
                  </a:lnTo>
                  <a:lnTo>
                    <a:pt x="156" y="15"/>
                  </a:lnTo>
                  <a:lnTo>
                    <a:pt x="156" y="15"/>
                  </a:lnTo>
                  <a:lnTo>
                    <a:pt x="156" y="15"/>
                  </a:lnTo>
                  <a:lnTo>
                    <a:pt x="151" y="15"/>
                  </a:lnTo>
                  <a:lnTo>
                    <a:pt x="148" y="15"/>
                  </a:lnTo>
                  <a:lnTo>
                    <a:pt x="148" y="15"/>
                  </a:lnTo>
                  <a:lnTo>
                    <a:pt x="151" y="12"/>
                  </a:lnTo>
                  <a:lnTo>
                    <a:pt x="151" y="12"/>
                  </a:lnTo>
                  <a:lnTo>
                    <a:pt x="151" y="10"/>
                  </a:lnTo>
                  <a:lnTo>
                    <a:pt x="151" y="10"/>
                  </a:lnTo>
                  <a:lnTo>
                    <a:pt x="151" y="10"/>
                  </a:lnTo>
                  <a:lnTo>
                    <a:pt x="151" y="10"/>
                  </a:lnTo>
                  <a:lnTo>
                    <a:pt x="151" y="10"/>
                  </a:lnTo>
                  <a:lnTo>
                    <a:pt x="148" y="10"/>
                  </a:lnTo>
                  <a:lnTo>
                    <a:pt x="148" y="10"/>
                  </a:lnTo>
                  <a:lnTo>
                    <a:pt x="146" y="7"/>
                  </a:lnTo>
                  <a:lnTo>
                    <a:pt x="146" y="7"/>
                  </a:lnTo>
                  <a:lnTo>
                    <a:pt x="148" y="7"/>
                  </a:lnTo>
                  <a:lnTo>
                    <a:pt x="151" y="5"/>
                  </a:lnTo>
                  <a:lnTo>
                    <a:pt x="151" y="5"/>
                  </a:lnTo>
                  <a:lnTo>
                    <a:pt x="153" y="5"/>
                  </a:lnTo>
                  <a:lnTo>
                    <a:pt x="156" y="2"/>
                  </a:lnTo>
                  <a:lnTo>
                    <a:pt x="156" y="2"/>
                  </a:lnTo>
                  <a:lnTo>
                    <a:pt x="153" y="2"/>
                  </a:lnTo>
                  <a:lnTo>
                    <a:pt x="151" y="2"/>
                  </a:lnTo>
                  <a:lnTo>
                    <a:pt x="148" y="2"/>
                  </a:lnTo>
                  <a:lnTo>
                    <a:pt x="146" y="5"/>
                  </a:lnTo>
                  <a:lnTo>
                    <a:pt x="146" y="5"/>
                  </a:lnTo>
                  <a:lnTo>
                    <a:pt x="141" y="5"/>
                  </a:lnTo>
                  <a:lnTo>
                    <a:pt x="141" y="5"/>
                  </a:lnTo>
                  <a:lnTo>
                    <a:pt x="138" y="5"/>
                  </a:lnTo>
                  <a:lnTo>
                    <a:pt x="138" y="5"/>
                  </a:lnTo>
                  <a:lnTo>
                    <a:pt x="138" y="2"/>
                  </a:lnTo>
                  <a:lnTo>
                    <a:pt x="138" y="2"/>
                  </a:lnTo>
                  <a:lnTo>
                    <a:pt x="135" y="2"/>
                  </a:lnTo>
                  <a:lnTo>
                    <a:pt x="135" y="0"/>
                  </a:lnTo>
                  <a:lnTo>
                    <a:pt x="133" y="0"/>
                  </a:lnTo>
                  <a:lnTo>
                    <a:pt x="130" y="0"/>
                  </a:lnTo>
                  <a:lnTo>
                    <a:pt x="128" y="0"/>
                  </a:lnTo>
                  <a:lnTo>
                    <a:pt x="125" y="2"/>
                  </a:lnTo>
                  <a:lnTo>
                    <a:pt x="128" y="5"/>
                  </a:lnTo>
                  <a:lnTo>
                    <a:pt x="125" y="5"/>
                  </a:lnTo>
                  <a:lnTo>
                    <a:pt x="125" y="7"/>
                  </a:lnTo>
                  <a:lnTo>
                    <a:pt x="123" y="7"/>
                  </a:lnTo>
                  <a:lnTo>
                    <a:pt x="120" y="7"/>
                  </a:lnTo>
                  <a:lnTo>
                    <a:pt x="120" y="7"/>
                  </a:lnTo>
                  <a:lnTo>
                    <a:pt x="118" y="7"/>
                  </a:lnTo>
                  <a:lnTo>
                    <a:pt x="118" y="7"/>
                  </a:lnTo>
                  <a:lnTo>
                    <a:pt x="118" y="7"/>
                  </a:lnTo>
                  <a:lnTo>
                    <a:pt x="115" y="7"/>
                  </a:lnTo>
                  <a:lnTo>
                    <a:pt x="115" y="7"/>
                  </a:lnTo>
                  <a:lnTo>
                    <a:pt x="112" y="7"/>
                  </a:lnTo>
                  <a:lnTo>
                    <a:pt x="110" y="10"/>
                  </a:lnTo>
                  <a:lnTo>
                    <a:pt x="110" y="10"/>
                  </a:lnTo>
                  <a:lnTo>
                    <a:pt x="107" y="10"/>
                  </a:lnTo>
                  <a:lnTo>
                    <a:pt x="107" y="10"/>
                  </a:lnTo>
                  <a:lnTo>
                    <a:pt x="107" y="10"/>
                  </a:lnTo>
                  <a:lnTo>
                    <a:pt x="107" y="10"/>
                  </a:lnTo>
                  <a:lnTo>
                    <a:pt x="105" y="7"/>
                  </a:lnTo>
                  <a:lnTo>
                    <a:pt x="105" y="7"/>
                  </a:lnTo>
                  <a:lnTo>
                    <a:pt x="100" y="7"/>
                  </a:lnTo>
                  <a:lnTo>
                    <a:pt x="97" y="7"/>
                  </a:lnTo>
                  <a:lnTo>
                    <a:pt x="97" y="7"/>
                  </a:lnTo>
                  <a:lnTo>
                    <a:pt x="97" y="7"/>
                  </a:lnTo>
                  <a:lnTo>
                    <a:pt x="100" y="12"/>
                  </a:lnTo>
                  <a:lnTo>
                    <a:pt x="100" y="12"/>
                  </a:lnTo>
                  <a:lnTo>
                    <a:pt x="100" y="15"/>
                  </a:lnTo>
                  <a:lnTo>
                    <a:pt x="100" y="15"/>
                  </a:lnTo>
                  <a:lnTo>
                    <a:pt x="97" y="15"/>
                  </a:lnTo>
                  <a:lnTo>
                    <a:pt x="97" y="15"/>
                  </a:lnTo>
                  <a:lnTo>
                    <a:pt x="97" y="15"/>
                  </a:lnTo>
                  <a:lnTo>
                    <a:pt x="97" y="12"/>
                  </a:lnTo>
                  <a:lnTo>
                    <a:pt x="95" y="10"/>
                  </a:lnTo>
                  <a:lnTo>
                    <a:pt x="92" y="10"/>
                  </a:lnTo>
                  <a:lnTo>
                    <a:pt x="92" y="7"/>
                  </a:lnTo>
                  <a:lnTo>
                    <a:pt x="90" y="7"/>
                  </a:lnTo>
                  <a:lnTo>
                    <a:pt x="90" y="7"/>
                  </a:lnTo>
                  <a:lnTo>
                    <a:pt x="90" y="7"/>
                  </a:lnTo>
                  <a:lnTo>
                    <a:pt x="87" y="7"/>
                  </a:lnTo>
                  <a:lnTo>
                    <a:pt x="84" y="7"/>
                  </a:lnTo>
                  <a:lnTo>
                    <a:pt x="84" y="7"/>
                  </a:lnTo>
                  <a:lnTo>
                    <a:pt x="82" y="10"/>
                  </a:lnTo>
                  <a:lnTo>
                    <a:pt x="79" y="10"/>
                  </a:lnTo>
                  <a:lnTo>
                    <a:pt x="79" y="10"/>
                  </a:lnTo>
                  <a:lnTo>
                    <a:pt x="79" y="15"/>
                  </a:lnTo>
                  <a:lnTo>
                    <a:pt x="79" y="15"/>
                  </a:lnTo>
                  <a:lnTo>
                    <a:pt x="79" y="15"/>
                  </a:lnTo>
                  <a:lnTo>
                    <a:pt x="77" y="15"/>
                  </a:lnTo>
                  <a:lnTo>
                    <a:pt x="77" y="15"/>
                  </a:lnTo>
                  <a:lnTo>
                    <a:pt x="77" y="15"/>
                  </a:lnTo>
                  <a:lnTo>
                    <a:pt x="74" y="12"/>
                  </a:lnTo>
                  <a:lnTo>
                    <a:pt x="72" y="12"/>
                  </a:lnTo>
                  <a:lnTo>
                    <a:pt x="72" y="10"/>
                  </a:lnTo>
                  <a:lnTo>
                    <a:pt x="69" y="10"/>
                  </a:lnTo>
                  <a:lnTo>
                    <a:pt x="69" y="7"/>
                  </a:lnTo>
                  <a:lnTo>
                    <a:pt x="67" y="10"/>
                  </a:lnTo>
                  <a:lnTo>
                    <a:pt x="67" y="10"/>
                  </a:lnTo>
                  <a:lnTo>
                    <a:pt x="67" y="12"/>
                  </a:lnTo>
                  <a:lnTo>
                    <a:pt x="67" y="15"/>
                  </a:lnTo>
                  <a:lnTo>
                    <a:pt x="64" y="15"/>
                  </a:lnTo>
                  <a:lnTo>
                    <a:pt x="64" y="17"/>
                  </a:lnTo>
                  <a:lnTo>
                    <a:pt x="62" y="20"/>
                  </a:lnTo>
                  <a:lnTo>
                    <a:pt x="62" y="20"/>
                  </a:lnTo>
                  <a:lnTo>
                    <a:pt x="62" y="17"/>
                  </a:lnTo>
                  <a:lnTo>
                    <a:pt x="59" y="17"/>
                  </a:lnTo>
                  <a:lnTo>
                    <a:pt x="59" y="17"/>
                  </a:lnTo>
                  <a:lnTo>
                    <a:pt x="59" y="17"/>
                  </a:lnTo>
                  <a:lnTo>
                    <a:pt x="56" y="17"/>
                  </a:lnTo>
                  <a:lnTo>
                    <a:pt x="54" y="20"/>
                  </a:lnTo>
                  <a:lnTo>
                    <a:pt x="54" y="20"/>
                  </a:lnTo>
                  <a:lnTo>
                    <a:pt x="54" y="23"/>
                  </a:lnTo>
                  <a:lnTo>
                    <a:pt x="54" y="23"/>
                  </a:lnTo>
                  <a:lnTo>
                    <a:pt x="54" y="23"/>
                  </a:lnTo>
                  <a:lnTo>
                    <a:pt x="51" y="23"/>
                  </a:lnTo>
                  <a:lnTo>
                    <a:pt x="51" y="25"/>
                  </a:lnTo>
                  <a:lnTo>
                    <a:pt x="51" y="25"/>
                  </a:lnTo>
                  <a:lnTo>
                    <a:pt x="51" y="25"/>
                  </a:lnTo>
                  <a:lnTo>
                    <a:pt x="49" y="23"/>
                  </a:lnTo>
                  <a:lnTo>
                    <a:pt x="49" y="20"/>
                  </a:lnTo>
                  <a:lnTo>
                    <a:pt x="49" y="20"/>
                  </a:lnTo>
                  <a:lnTo>
                    <a:pt x="46" y="20"/>
                  </a:lnTo>
                  <a:lnTo>
                    <a:pt x="46" y="20"/>
                  </a:lnTo>
                  <a:lnTo>
                    <a:pt x="49" y="20"/>
                  </a:lnTo>
                  <a:lnTo>
                    <a:pt x="49" y="20"/>
                  </a:lnTo>
                  <a:lnTo>
                    <a:pt x="49" y="17"/>
                  </a:lnTo>
                  <a:lnTo>
                    <a:pt x="49" y="17"/>
                  </a:lnTo>
                  <a:lnTo>
                    <a:pt x="46" y="17"/>
                  </a:lnTo>
                  <a:lnTo>
                    <a:pt x="46" y="17"/>
                  </a:lnTo>
                  <a:lnTo>
                    <a:pt x="49" y="17"/>
                  </a:lnTo>
                  <a:lnTo>
                    <a:pt x="46" y="17"/>
                  </a:lnTo>
                  <a:lnTo>
                    <a:pt x="46" y="17"/>
                  </a:lnTo>
                  <a:lnTo>
                    <a:pt x="44" y="15"/>
                  </a:lnTo>
                  <a:lnTo>
                    <a:pt x="49" y="17"/>
                  </a:lnTo>
                  <a:lnTo>
                    <a:pt x="49" y="15"/>
                  </a:lnTo>
                  <a:lnTo>
                    <a:pt x="49" y="15"/>
                  </a:lnTo>
                  <a:lnTo>
                    <a:pt x="51" y="12"/>
                  </a:lnTo>
                  <a:lnTo>
                    <a:pt x="51" y="12"/>
                  </a:lnTo>
                  <a:lnTo>
                    <a:pt x="51" y="12"/>
                  </a:lnTo>
                  <a:lnTo>
                    <a:pt x="49" y="12"/>
                  </a:lnTo>
                  <a:lnTo>
                    <a:pt x="49" y="10"/>
                  </a:lnTo>
                  <a:lnTo>
                    <a:pt x="49" y="10"/>
                  </a:lnTo>
                  <a:lnTo>
                    <a:pt x="51" y="10"/>
                  </a:lnTo>
                  <a:lnTo>
                    <a:pt x="51" y="10"/>
                  </a:lnTo>
                  <a:lnTo>
                    <a:pt x="46" y="7"/>
                  </a:lnTo>
                  <a:lnTo>
                    <a:pt x="44" y="7"/>
                  </a:lnTo>
                  <a:lnTo>
                    <a:pt x="44" y="5"/>
                  </a:lnTo>
                  <a:lnTo>
                    <a:pt x="44" y="5"/>
                  </a:lnTo>
                  <a:lnTo>
                    <a:pt x="41" y="5"/>
                  </a:lnTo>
                  <a:lnTo>
                    <a:pt x="39" y="2"/>
                  </a:lnTo>
                  <a:lnTo>
                    <a:pt x="36" y="2"/>
                  </a:lnTo>
                  <a:lnTo>
                    <a:pt x="36" y="2"/>
                  </a:lnTo>
                  <a:lnTo>
                    <a:pt x="33" y="2"/>
                  </a:lnTo>
                  <a:lnTo>
                    <a:pt x="31" y="2"/>
                  </a:lnTo>
                  <a:lnTo>
                    <a:pt x="28" y="2"/>
                  </a:lnTo>
                  <a:lnTo>
                    <a:pt x="28" y="2"/>
                  </a:lnTo>
                  <a:lnTo>
                    <a:pt x="26" y="2"/>
                  </a:lnTo>
                  <a:lnTo>
                    <a:pt x="26" y="5"/>
                  </a:lnTo>
                  <a:lnTo>
                    <a:pt x="28" y="5"/>
                  </a:lnTo>
                  <a:lnTo>
                    <a:pt x="31" y="5"/>
                  </a:lnTo>
                  <a:lnTo>
                    <a:pt x="33" y="5"/>
                  </a:lnTo>
                  <a:lnTo>
                    <a:pt x="33" y="5"/>
                  </a:lnTo>
                  <a:lnTo>
                    <a:pt x="33" y="5"/>
                  </a:lnTo>
                  <a:lnTo>
                    <a:pt x="33" y="5"/>
                  </a:lnTo>
                  <a:lnTo>
                    <a:pt x="36" y="5"/>
                  </a:lnTo>
                  <a:lnTo>
                    <a:pt x="36" y="5"/>
                  </a:lnTo>
                  <a:lnTo>
                    <a:pt x="31" y="5"/>
                  </a:lnTo>
                  <a:lnTo>
                    <a:pt x="28" y="5"/>
                  </a:lnTo>
                  <a:lnTo>
                    <a:pt x="28" y="5"/>
                  </a:lnTo>
                  <a:lnTo>
                    <a:pt x="28" y="7"/>
                  </a:lnTo>
                  <a:lnTo>
                    <a:pt x="28" y="7"/>
                  </a:lnTo>
                  <a:lnTo>
                    <a:pt x="31" y="7"/>
                  </a:lnTo>
                  <a:lnTo>
                    <a:pt x="36" y="10"/>
                  </a:lnTo>
                  <a:lnTo>
                    <a:pt x="36" y="10"/>
                  </a:lnTo>
                  <a:lnTo>
                    <a:pt x="36" y="10"/>
                  </a:lnTo>
                  <a:lnTo>
                    <a:pt x="33" y="12"/>
                  </a:lnTo>
                  <a:lnTo>
                    <a:pt x="33" y="12"/>
                  </a:lnTo>
                  <a:lnTo>
                    <a:pt x="33" y="12"/>
                  </a:lnTo>
                  <a:lnTo>
                    <a:pt x="31" y="12"/>
                  </a:lnTo>
                  <a:lnTo>
                    <a:pt x="31" y="12"/>
                  </a:lnTo>
                  <a:lnTo>
                    <a:pt x="31" y="12"/>
                  </a:lnTo>
                  <a:lnTo>
                    <a:pt x="31" y="10"/>
                  </a:lnTo>
                  <a:lnTo>
                    <a:pt x="31" y="10"/>
                  </a:lnTo>
                  <a:lnTo>
                    <a:pt x="31" y="10"/>
                  </a:lnTo>
                  <a:lnTo>
                    <a:pt x="31" y="10"/>
                  </a:lnTo>
                  <a:lnTo>
                    <a:pt x="28" y="10"/>
                  </a:lnTo>
                  <a:lnTo>
                    <a:pt x="28" y="10"/>
                  </a:lnTo>
                  <a:lnTo>
                    <a:pt x="28" y="10"/>
                  </a:lnTo>
                  <a:lnTo>
                    <a:pt x="26" y="10"/>
                  </a:lnTo>
                  <a:lnTo>
                    <a:pt x="26" y="10"/>
                  </a:lnTo>
                  <a:lnTo>
                    <a:pt x="26" y="10"/>
                  </a:lnTo>
                  <a:lnTo>
                    <a:pt x="26" y="10"/>
                  </a:lnTo>
                  <a:lnTo>
                    <a:pt x="26" y="10"/>
                  </a:lnTo>
                  <a:lnTo>
                    <a:pt x="23" y="7"/>
                  </a:lnTo>
                  <a:lnTo>
                    <a:pt x="21" y="7"/>
                  </a:lnTo>
                  <a:lnTo>
                    <a:pt x="21" y="7"/>
                  </a:lnTo>
                  <a:lnTo>
                    <a:pt x="18" y="7"/>
                  </a:lnTo>
                  <a:lnTo>
                    <a:pt x="18" y="7"/>
                  </a:lnTo>
                  <a:lnTo>
                    <a:pt x="18" y="7"/>
                  </a:lnTo>
                  <a:lnTo>
                    <a:pt x="18" y="7"/>
                  </a:lnTo>
                  <a:lnTo>
                    <a:pt x="18" y="7"/>
                  </a:lnTo>
                  <a:lnTo>
                    <a:pt x="18" y="10"/>
                  </a:lnTo>
                  <a:lnTo>
                    <a:pt x="21" y="10"/>
                  </a:lnTo>
                  <a:lnTo>
                    <a:pt x="18" y="10"/>
                  </a:lnTo>
                  <a:lnTo>
                    <a:pt x="16" y="10"/>
                  </a:lnTo>
                  <a:lnTo>
                    <a:pt x="16" y="10"/>
                  </a:lnTo>
                  <a:lnTo>
                    <a:pt x="16" y="10"/>
                  </a:lnTo>
                  <a:lnTo>
                    <a:pt x="16" y="10"/>
                  </a:lnTo>
                  <a:lnTo>
                    <a:pt x="16" y="10"/>
                  </a:lnTo>
                  <a:lnTo>
                    <a:pt x="16" y="12"/>
                  </a:lnTo>
                  <a:lnTo>
                    <a:pt x="18" y="12"/>
                  </a:lnTo>
                  <a:lnTo>
                    <a:pt x="13" y="12"/>
                  </a:lnTo>
                  <a:lnTo>
                    <a:pt x="13" y="12"/>
                  </a:lnTo>
                  <a:lnTo>
                    <a:pt x="13" y="12"/>
                  </a:lnTo>
                  <a:lnTo>
                    <a:pt x="13" y="15"/>
                  </a:lnTo>
                  <a:lnTo>
                    <a:pt x="13" y="15"/>
                  </a:lnTo>
                  <a:lnTo>
                    <a:pt x="16" y="15"/>
                  </a:lnTo>
                  <a:lnTo>
                    <a:pt x="21" y="15"/>
                  </a:lnTo>
                  <a:lnTo>
                    <a:pt x="21" y="15"/>
                  </a:lnTo>
                  <a:lnTo>
                    <a:pt x="18" y="15"/>
                  </a:lnTo>
                  <a:lnTo>
                    <a:pt x="18" y="17"/>
                  </a:lnTo>
                  <a:lnTo>
                    <a:pt x="16" y="17"/>
                  </a:lnTo>
                  <a:lnTo>
                    <a:pt x="11" y="15"/>
                  </a:lnTo>
                  <a:lnTo>
                    <a:pt x="8" y="15"/>
                  </a:lnTo>
                  <a:lnTo>
                    <a:pt x="8" y="15"/>
                  </a:lnTo>
                  <a:lnTo>
                    <a:pt x="8" y="15"/>
                  </a:lnTo>
                  <a:lnTo>
                    <a:pt x="8" y="15"/>
                  </a:lnTo>
                  <a:lnTo>
                    <a:pt x="8" y="17"/>
                  </a:lnTo>
                  <a:lnTo>
                    <a:pt x="8" y="17"/>
                  </a:lnTo>
                  <a:lnTo>
                    <a:pt x="8" y="17"/>
                  </a:lnTo>
                  <a:lnTo>
                    <a:pt x="11" y="20"/>
                  </a:lnTo>
                  <a:lnTo>
                    <a:pt x="8" y="20"/>
                  </a:lnTo>
                  <a:lnTo>
                    <a:pt x="5" y="17"/>
                  </a:lnTo>
                  <a:lnTo>
                    <a:pt x="5" y="17"/>
                  </a:lnTo>
                  <a:lnTo>
                    <a:pt x="3" y="17"/>
                  </a:lnTo>
                  <a:lnTo>
                    <a:pt x="0" y="20"/>
                  </a:lnTo>
                  <a:lnTo>
                    <a:pt x="0" y="20"/>
                  </a:lnTo>
                  <a:lnTo>
                    <a:pt x="5" y="20"/>
                  </a:lnTo>
                  <a:lnTo>
                    <a:pt x="8" y="23"/>
                  </a:lnTo>
                  <a:lnTo>
                    <a:pt x="8" y="23"/>
                  </a:lnTo>
                  <a:lnTo>
                    <a:pt x="11" y="23"/>
                  </a:lnTo>
                  <a:lnTo>
                    <a:pt x="13" y="20"/>
                  </a:lnTo>
                  <a:lnTo>
                    <a:pt x="21" y="20"/>
                  </a:lnTo>
                  <a:lnTo>
                    <a:pt x="26" y="17"/>
                  </a:lnTo>
                  <a:lnTo>
                    <a:pt x="26" y="20"/>
                  </a:lnTo>
                  <a:lnTo>
                    <a:pt x="28" y="20"/>
                  </a:lnTo>
                  <a:lnTo>
                    <a:pt x="33" y="20"/>
                  </a:lnTo>
                  <a:lnTo>
                    <a:pt x="33" y="20"/>
                  </a:lnTo>
                  <a:lnTo>
                    <a:pt x="39" y="20"/>
                  </a:lnTo>
                  <a:lnTo>
                    <a:pt x="41" y="20"/>
                  </a:lnTo>
                  <a:lnTo>
                    <a:pt x="41" y="23"/>
                  </a:lnTo>
                  <a:lnTo>
                    <a:pt x="39" y="23"/>
                  </a:lnTo>
                  <a:lnTo>
                    <a:pt x="36" y="23"/>
                  </a:lnTo>
                  <a:lnTo>
                    <a:pt x="33" y="25"/>
                  </a:lnTo>
                  <a:lnTo>
                    <a:pt x="31" y="25"/>
                  </a:lnTo>
                  <a:lnTo>
                    <a:pt x="28" y="25"/>
                  </a:lnTo>
                  <a:lnTo>
                    <a:pt x="31" y="28"/>
                  </a:lnTo>
                  <a:lnTo>
                    <a:pt x="36" y="28"/>
                  </a:lnTo>
                  <a:lnTo>
                    <a:pt x="36" y="28"/>
                  </a:lnTo>
                  <a:lnTo>
                    <a:pt x="41" y="28"/>
                  </a:lnTo>
                  <a:lnTo>
                    <a:pt x="41" y="28"/>
                  </a:lnTo>
                  <a:lnTo>
                    <a:pt x="39" y="28"/>
                  </a:lnTo>
                  <a:lnTo>
                    <a:pt x="39" y="28"/>
                  </a:lnTo>
                  <a:lnTo>
                    <a:pt x="39" y="30"/>
                  </a:lnTo>
                  <a:lnTo>
                    <a:pt x="31" y="30"/>
                  </a:lnTo>
                  <a:lnTo>
                    <a:pt x="28" y="30"/>
                  </a:lnTo>
                  <a:lnTo>
                    <a:pt x="26" y="30"/>
                  </a:lnTo>
                  <a:lnTo>
                    <a:pt x="26" y="30"/>
                  </a:lnTo>
                  <a:lnTo>
                    <a:pt x="23" y="30"/>
                  </a:lnTo>
                  <a:lnTo>
                    <a:pt x="23" y="30"/>
                  </a:lnTo>
                  <a:lnTo>
                    <a:pt x="23" y="30"/>
                  </a:lnTo>
                  <a:lnTo>
                    <a:pt x="23" y="30"/>
                  </a:lnTo>
                  <a:lnTo>
                    <a:pt x="18" y="30"/>
                  </a:lnTo>
                  <a:lnTo>
                    <a:pt x="18" y="30"/>
                  </a:lnTo>
                  <a:lnTo>
                    <a:pt x="18" y="30"/>
                  </a:lnTo>
                  <a:lnTo>
                    <a:pt x="18" y="30"/>
                  </a:lnTo>
                  <a:lnTo>
                    <a:pt x="16" y="30"/>
                  </a:lnTo>
                  <a:lnTo>
                    <a:pt x="16" y="30"/>
                  </a:lnTo>
                  <a:lnTo>
                    <a:pt x="13" y="30"/>
                  </a:lnTo>
                  <a:lnTo>
                    <a:pt x="11" y="33"/>
                  </a:lnTo>
                  <a:lnTo>
                    <a:pt x="8" y="33"/>
                  </a:lnTo>
                  <a:lnTo>
                    <a:pt x="5" y="33"/>
                  </a:lnTo>
                  <a:lnTo>
                    <a:pt x="5" y="33"/>
                  </a:lnTo>
                  <a:lnTo>
                    <a:pt x="3" y="33"/>
                  </a:lnTo>
                  <a:lnTo>
                    <a:pt x="5" y="33"/>
                  </a:lnTo>
                  <a:lnTo>
                    <a:pt x="5" y="35"/>
                  </a:lnTo>
                  <a:lnTo>
                    <a:pt x="5" y="35"/>
                  </a:lnTo>
                  <a:lnTo>
                    <a:pt x="5" y="35"/>
                  </a:lnTo>
                  <a:lnTo>
                    <a:pt x="8" y="35"/>
                  </a:lnTo>
                  <a:lnTo>
                    <a:pt x="13" y="33"/>
                  </a:lnTo>
                  <a:lnTo>
                    <a:pt x="13" y="33"/>
                  </a:lnTo>
                  <a:lnTo>
                    <a:pt x="23" y="35"/>
                  </a:lnTo>
                  <a:lnTo>
                    <a:pt x="28" y="35"/>
                  </a:lnTo>
                  <a:lnTo>
                    <a:pt x="31" y="35"/>
                  </a:lnTo>
                  <a:lnTo>
                    <a:pt x="31" y="35"/>
                  </a:lnTo>
                  <a:lnTo>
                    <a:pt x="31" y="35"/>
                  </a:lnTo>
                  <a:lnTo>
                    <a:pt x="28" y="38"/>
                  </a:lnTo>
                  <a:lnTo>
                    <a:pt x="28" y="38"/>
                  </a:lnTo>
                  <a:lnTo>
                    <a:pt x="28" y="38"/>
                  </a:lnTo>
                  <a:lnTo>
                    <a:pt x="31" y="38"/>
                  </a:lnTo>
                  <a:lnTo>
                    <a:pt x="31" y="40"/>
                  </a:lnTo>
                  <a:lnTo>
                    <a:pt x="31" y="40"/>
                  </a:lnTo>
                  <a:lnTo>
                    <a:pt x="33" y="38"/>
                  </a:lnTo>
                  <a:lnTo>
                    <a:pt x="39" y="38"/>
                  </a:lnTo>
                  <a:lnTo>
                    <a:pt x="39" y="38"/>
                  </a:lnTo>
                  <a:lnTo>
                    <a:pt x="41" y="38"/>
                  </a:lnTo>
                  <a:lnTo>
                    <a:pt x="39" y="38"/>
                  </a:lnTo>
                  <a:lnTo>
                    <a:pt x="39" y="38"/>
                  </a:lnTo>
                  <a:lnTo>
                    <a:pt x="33" y="40"/>
                  </a:lnTo>
                  <a:lnTo>
                    <a:pt x="33" y="40"/>
                  </a:lnTo>
                  <a:lnTo>
                    <a:pt x="33" y="43"/>
                  </a:lnTo>
                  <a:lnTo>
                    <a:pt x="33" y="43"/>
                  </a:lnTo>
                  <a:lnTo>
                    <a:pt x="33" y="43"/>
                  </a:lnTo>
                  <a:lnTo>
                    <a:pt x="33" y="43"/>
                  </a:lnTo>
                  <a:lnTo>
                    <a:pt x="31" y="43"/>
                  </a:lnTo>
                  <a:lnTo>
                    <a:pt x="31" y="43"/>
                  </a:lnTo>
                  <a:lnTo>
                    <a:pt x="33" y="43"/>
                  </a:lnTo>
                  <a:lnTo>
                    <a:pt x="39" y="43"/>
                  </a:lnTo>
                  <a:lnTo>
                    <a:pt x="39" y="43"/>
                  </a:lnTo>
                  <a:lnTo>
                    <a:pt x="41" y="43"/>
                  </a:lnTo>
                  <a:lnTo>
                    <a:pt x="39" y="43"/>
                  </a:lnTo>
                  <a:lnTo>
                    <a:pt x="39" y="43"/>
                  </a:lnTo>
                  <a:lnTo>
                    <a:pt x="36" y="43"/>
                  </a:lnTo>
                  <a:lnTo>
                    <a:pt x="36" y="45"/>
                  </a:lnTo>
                  <a:lnTo>
                    <a:pt x="33" y="45"/>
                  </a:lnTo>
                  <a:lnTo>
                    <a:pt x="33" y="45"/>
                  </a:lnTo>
                  <a:lnTo>
                    <a:pt x="33" y="48"/>
                  </a:lnTo>
                  <a:lnTo>
                    <a:pt x="31" y="48"/>
                  </a:lnTo>
                  <a:lnTo>
                    <a:pt x="31" y="48"/>
                  </a:lnTo>
                  <a:lnTo>
                    <a:pt x="28" y="51"/>
                  </a:lnTo>
                  <a:lnTo>
                    <a:pt x="23" y="51"/>
                  </a:lnTo>
                  <a:lnTo>
                    <a:pt x="23" y="51"/>
                  </a:lnTo>
                  <a:lnTo>
                    <a:pt x="21" y="48"/>
                  </a:lnTo>
                  <a:lnTo>
                    <a:pt x="21" y="48"/>
                  </a:lnTo>
                  <a:lnTo>
                    <a:pt x="21" y="48"/>
                  </a:lnTo>
                  <a:lnTo>
                    <a:pt x="21" y="48"/>
                  </a:lnTo>
                  <a:lnTo>
                    <a:pt x="18" y="51"/>
                  </a:lnTo>
                  <a:lnTo>
                    <a:pt x="18" y="51"/>
                  </a:lnTo>
                  <a:lnTo>
                    <a:pt x="18" y="53"/>
                  </a:lnTo>
                  <a:lnTo>
                    <a:pt x="21" y="53"/>
                  </a:lnTo>
                  <a:lnTo>
                    <a:pt x="21" y="53"/>
                  </a:lnTo>
                  <a:lnTo>
                    <a:pt x="23" y="53"/>
                  </a:lnTo>
                  <a:lnTo>
                    <a:pt x="39" y="53"/>
                  </a:lnTo>
                  <a:lnTo>
                    <a:pt x="39" y="53"/>
                  </a:lnTo>
                  <a:lnTo>
                    <a:pt x="41" y="51"/>
                  </a:lnTo>
                  <a:lnTo>
                    <a:pt x="44" y="51"/>
                  </a:lnTo>
                  <a:lnTo>
                    <a:pt x="44" y="51"/>
                  </a:lnTo>
                  <a:lnTo>
                    <a:pt x="44" y="51"/>
                  </a:lnTo>
                  <a:lnTo>
                    <a:pt x="44" y="53"/>
                  </a:lnTo>
                  <a:lnTo>
                    <a:pt x="44" y="53"/>
                  </a:lnTo>
                  <a:lnTo>
                    <a:pt x="46" y="53"/>
                  </a:lnTo>
                  <a:lnTo>
                    <a:pt x="46" y="53"/>
                  </a:lnTo>
                  <a:lnTo>
                    <a:pt x="49" y="56"/>
                  </a:lnTo>
                  <a:lnTo>
                    <a:pt x="49" y="56"/>
                  </a:lnTo>
                  <a:lnTo>
                    <a:pt x="51" y="56"/>
                  </a:lnTo>
                  <a:lnTo>
                    <a:pt x="51" y="56"/>
                  </a:lnTo>
                  <a:lnTo>
                    <a:pt x="54" y="56"/>
                  </a:lnTo>
                  <a:lnTo>
                    <a:pt x="54" y="53"/>
                  </a:lnTo>
                  <a:lnTo>
                    <a:pt x="54" y="56"/>
                  </a:lnTo>
                  <a:lnTo>
                    <a:pt x="54" y="56"/>
                  </a:lnTo>
                  <a:lnTo>
                    <a:pt x="54" y="56"/>
                  </a:lnTo>
                  <a:lnTo>
                    <a:pt x="54" y="56"/>
                  </a:lnTo>
                  <a:lnTo>
                    <a:pt x="51" y="56"/>
                  </a:lnTo>
                  <a:lnTo>
                    <a:pt x="51" y="56"/>
                  </a:lnTo>
                  <a:lnTo>
                    <a:pt x="51" y="56"/>
                  </a:lnTo>
                  <a:lnTo>
                    <a:pt x="54" y="58"/>
                  </a:lnTo>
                  <a:lnTo>
                    <a:pt x="56" y="58"/>
                  </a:lnTo>
                  <a:lnTo>
                    <a:pt x="59" y="58"/>
                  </a:lnTo>
                  <a:lnTo>
                    <a:pt x="62" y="61"/>
                  </a:lnTo>
                  <a:lnTo>
                    <a:pt x="67" y="61"/>
                  </a:lnTo>
                  <a:lnTo>
                    <a:pt x="69" y="61"/>
                  </a:lnTo>
                  <a:lnTo>
                    <a:pt x="79" y="63"/>
                  </a:lnTo>
                  <a:lnTo>
                    <a:pt x="84" y="61"/>
                  </a:lnTo>
                  <a:lnTo>
                    <a:pt x="87" y="61"/>
                  </a:lnTo>
                  <a:lnTo>
                    <a:pt x="87" y="61"/>
                  </a:lnTo>
                  <a:lnTo>
                    <a:pt x="87" y="61"/>
                  </a:lnTo>
                  <a:lnTo>
                    <a:pt x="87" y="61"/>
                  </a:lnTo>
                  <a:lnTo>
                    <a:pt x="87" y="61"/>
                  </a:lnTo>
                  <a:lnTo>
                    <a:pt x="87" y="61"/>
                  </a:lnTo>
                  <a:lnTo>
                    <a:pt x="90" y="61"/>
                  </a:lnTo>
                  <a:lnTo>
                    <a:pt x="92" y="61"/>
                  </a:lnTo>
                  <a:lnTo>
                    <a:pt x="92" y="58"/>
                  </a:lnTo>
                  <a:lnTo>
                    <a:pt x="92" y="58"/>
                  </a:lnTo>
                  <a:lnTo>
                    <a:pt x="92" y="58"/>
                  </a:lnTo>
                  <a:lnTo>
                    <a:pt x="92" y="58"/>
                  </a:lnTo>
                  <a:lnTo>
                    <a:pt x="92" y="56"/>
                  </a:lnTo>
                  <a:lnTo>
                    <a:pt x="95" y="56"/>
                  </a:lnTo>
                  <a:lnTo>
                    <a:pt x="97" y="56"/>
                  </a:lnTo>
                  <a:lnTo>
                    <a:pt x="105" y="53"/>
                  </a:lnTo>
                  <a:lnTo>
                    <a:pt x="107" y="53"/>
                  </a:lnTo>
                  <a:lnTo>
                    <a:pt x="110" y="53"/>
                  </a:lnTo>
                  <a:lnTo>
                    <a:pt x="112" y="53"/>
                  </a:lnTo>
                  <a:lnTo>
                    <a:pt x="115" y="53"/>
                  </a:lnTo>
                  <a:lnTo>
                    <a:pt x="120" y="51"/>
                  </a:lnTo>
                  <a:lnTo>
                    <a:pt x="123" y="48"/>
                  </a:lnTo>
                  <a:lnTo>
                    <a:pt x="128" y="45"/>
                  </a:lnTo>
                  <a:lnTo>
                    <a:pt x="133" y="45"/>
                  </a:lnTo>
                  <a:lnTo>
                    <a:pt x="135" y="45"/>
                  </a:lnTo>
                  <a:lnTo>
                    <a:pt x="141" y="45"/>
                  </a:lnTo>
                  <a:lnTo>
                    <a:pt x="141" y="43"/>
                  </a:lnTo>
                  <a:lnTo>
                    <a:pt x="143" y="43"/>
                  </a:lnTo>
                  <a:lnTo>
                    <a:pt x="146" y="43"/>
                  </a:lnTo>
                  <a:lnTo>
                    <a:pt x="148" y="40"/>
                  </a:lnTo>
                  <a:lnTo>
                    <a:pt x="148" y="40"/>
                  </a:lnTo>
                  <a:lnTo>
                    <a:pt x="151" y="40"/>
                  </a:lnTo>
                  <a:lnTo>
                    <a:pt x="151" y="38"/>
                  </a:lnTo>
                  <a:lnTo>
                    <a:pt x="151" y="38"/>
                  </a:lnTo>
                  <a:lnTo>
                    <a:pt x="151" y="38"/>
                  </a:lnTo>
                  <a:lnTo>
                    <a:pt x="151" y="38"/>
                  </a:lnTo>
                  <a:lnTo>
                    <a:pt x="151" y="35"/>
                  </a:lnTo>
                  <a:lnTo>
                    <a:pt x="153" y="35"/>
                  </a:lnTo>
                  <a:lnTo>
                    <a:pt x="156" y="35"/>
                  </a:lnTo>
                  <a:lnTo>
                    <a:pt x="156" y="35"/>
                  </a:lnTo>
                  <a:lnTo>
                    <a:pt x="158" y="35"/>
                  </a:lnTo>
                  <a:lnTo>
                    <a:pt x="161" y="33"/>
                  </a:lnTo>
                  <a:lnTo>
                    <a:pt x="161" y="33"/>
                  </a:lnTo>
                  <a:lnTo>
                    <a:pt x="161" y="30"/>
                  </a:lnTo>
                  <a:lnTo>
                    <a:pt x="161" y="30"/>
                  </a:lnTo>
                  <a:lnTo>
                    <a:pt x="161" y="30"/>
                  </a:lnTo>
                  <a:lnTo>
                    <a:pt x="163" y="30"/>
                  </a:lnTo>
                  <a:lnTo>
                    <a:pt x="163" y="30"/>
                  </a:lnTo>
                  <a:lnTo>
                    <a:pt x="166" y="28"/>
                  </a:lnTo>
                  <a:lnTo>
                    <a:pt x="166" y="28"/>
                  </a:lnTo>
                  <a:lnTo>
                    <a:pt x="166" y="28"/>
                  </a:lnTo>
                  <a:lnTo>
                    <a:pt x="166" y="28"/>
                  </a:lnTo>
                  <a:lnTo>
                    <a:pt x="163" y="25"/>
                  </a:lnTo>
                  <a:lnTo>
                    <a:pt x="163" y="25"/>
                  </a:lnTo>
                  <a:lnTo>
                    <a:pt x="163" y="25"/>
                  </a:lnTo>
                  <a:lnTo>
                    <a:pt x="163" y="25"/>
                  </a:lnTo>
                  <a:lnTo>
                    <a:pt x="163" y="25"/>
                  </a:lnTo>
                  <a:lnTo>
                    <a:pt x="163" y="25"/>
                  </a:lnTo>
                  <a:lnTo>
                    <a:pt x="163" y="25"/>
                  </a:lnTo>
                  <a:lnTo>
                    <a:pt x="163" y="25"/>
                  </a:lnTo>
                  <a:lnTo>
                    <a:pt x="163" y="23"/>
                  </a:lnTo>
                  <a:lnTo>
                    <a:pt x="163" y="23"/>
                  </a:lnTo>
                  <a:lnTo>
                    <a:pt x="163" y="23"/>
                  </a:lnTo>
                  <a:lnTo>
                    <a:pt x="163" y="23"/>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297" name="Freeform 1916">
              <a:extLst>
                <a:ext uri="{FF2B5EF4-FFF2-40B4-BE49-F238E27FC236}">
                  <a16:creationId xmlns:a16="http://schemas.microsoft.com/office/drawing/2014/main" id="{19229E11-9C0E-3244-A177-0E94CFECA242}"/>
                </a:ext>
              </a:extLst>
            </p:cNvPr>
            <p:cNvSpPr>
              <a:spLocks/>
            </p:cNvSpPr>
            <p:nvPr/>
          </p:nvSpPr>
          <p:spPr bwMode="auto">
            <a:xfrm>
              <a:off x="6117314" y="2003455"/>
              <a:ext cx="196288" cy="99780"/>
            </a:xfrm>
            <a:custGeom>
              <a:avLst/>
              <a:gdLst>
                <a:gd name="T0" fmla="*/ 120 w 120"/>
                <a:gd name="T1" fmla="*/ 10 h 61"/>
                <a:gd name="T2" fmla="*/ 117 w 120"/>
                <a:gd name="T3" fmla="*/ 10 h 61"/>
                <a:gd name="T4" fmla="*/ 112 w 120"/>
                <a:gd name="T5" fmla="*/ 7 h 61"/>
                <a:gd name="T6" fmla="*/ 109 w 120"/>
                <a:gd name="T7" fmla="*/ 5 h 61"/>
                <a:gd name="T8" fmla="*/ 107 w 120"/>
                <a:gd name="T9" fmla="*/ 2 h 61"/>
                <a:gd name="T10" fmla="*/ 99 w 120"/>
                <a:gd name="T11" fmla="*/ 5 h 61"/>
                <a:gd name="T12" fmla="*/ 97 w 120"/>
                <a:gd name="T13" fmla="*/ 2 h 61"/>
                <a:gd name="T14" fmla="*/ 94 w 120"/>
                <a:gd name="T15" fmla="*/ 0 h 61"/>
                <a:gd name="T16" fmla="*/ 84 w 120"/>
                <a:gd name="T17" fmla="*/ 0 h 61"/>
                <a:gd name="T18" fmla="*/ 74 w 120"/>
                <a:gd name="T19" fmla="*/ 5 h 61"/>
                <a:gd name="T20" fmla="*/ 66 w 120"/>
                <a:gd name="T21" fmla="*/ 7 h 61"/>
                <a:gd name="T22" fmla="*/ 61 w 120"/>
                <a:gd name="T23" fmla="*/ 7 h 61"/>
                <a:gd name="T24" fmla="*/ 48 w 120"/>
                <a:gd name="T25" fmla="*/ 12 h 61"/>
                <a:gd name="T26" fmla="*/ 48 w 120"/>
                <a:gd name="T27" fmla="*/ 15 h 61"/>
                <a:gd name="T28" fmla="*/ 33 w 120"/>
                <a:gd name="T29" fmla="*/ 18 h 61"/>
                <a:gd name="T30" fmla="*/ 23 w 120"/>
                <a:gd name="T31" fmla="*/ 12 h 61"/>
                <a:gd name="T32" fmla="*/ 18 w 120"/>
                <a:gd name="T33" fmla="*/ 12 h 61"/>
                <a:gd name="T34" fmla="*/ 18 w 120"/>
                <a:gd name="T35" fmla="*/ 15 h 61"/>
                <a:gd name="T36" fmla="*/ 15 w 120"/>
                <a:gd name="T37" fmla="*/ 18 h 61"/>
                <a:gd name="T38" fmla="*/ 13 w 120"/>
                <a:gd name="T39" fmla="*/ 18 h 61"/>
                <a:gd name="T40" fmla="*/ 7 w 120"/>
                <a:gd name="T41" fmla="*/ 18 h 61"/>
                <a:gd name="T42" fmla="*/ 10 w 120"/>
                <a:gd name="T43" fmla="*/ 20 h 61"/>
                <a:gd name="T44" fmla="*/ 10 w 120"/>
                <a:gd name="T45" fmla="*/ 25 h 61"/>
                <a:gd name="T46" fmla="*/ 7 w 120"/>
                <a:gd name="T47" fmla="*/ 28 h 61"/>
                <a:gd name="T48" fmla="*/ 7 w 120"/>
                <a:gd name="T49" fmla="*/ 30 h 61"/>
                <a:gd name="T50" fmla="*/ 7 w 120"/>
                <a:gd name="T51" fmla="*/ 33 h 61"/>
                <a:gd name="T52" fmla="*/ 2 w 120"/>
                <a:gd name="T53" fmla="*/ 35 h 61"/>
                <a:gd name="T54" fmla="*/ 5 w 120"/>
                <a:gd name="T55" fmla="*/ 38 h 61"/>
                <a:gd name="T56" fmla="*/ 5 w 120"/>
                <a:gd name="T57" fmla="*/ 43 h 61"/>
                <a:gd name="T58" fmla="*/ 10 w 120"/>
                <a:gd name="T59" fmla="*/ 46 h 61"/>
                <a:gd name="T60" fmla="*/ 18 w 120"/>
                <a:gd name="T61" fmla="*/ 53 h 61"/>
                <a:gd name="T62" fmla="*/ 25 w 120"/>
                <a:gd name="T63" fmla="*/ 58 h 61"/>
                <a:gd name="T64" fmla="*/ 30 w 120"/>
                <a:gd name="T65" fmla="*/ 61 h 61"/>
                <a:gd name="T66" fmla="*/ 41 w 120"/>
                <a:gd name="T67" fmla="*/ 61 h 61"/>
                <a:gd name="T68" fmla="*/ 46 w 120"/>
                <a:gd name="T69" fmla="*/ 61 h 61"/>
                <a:gd name="T70" fmla="*/ 51 w 120"/>
                <a:gd name="T71" fmla="*/ 58 h 61"/>
                <a:gd name="T72" fmla="*/ 53 w 120"/>
                <a:gd name="T73" fmla="*/ 56 h 61"/>
                <a:gd name="T74" fmla="*/ 56 w 120"/>
                <a:gd name="T75" fmla="*/ 56 h 61"/>
                <a:gd name="T76" fmla="*/ 61 w 120"/>
                <a:gd name="T77" fmla="*/ 56 h 61"/>
                <a:gd name="T78" fmla="*/ 66 w 120"/>
                <a:gd name="T79" fmla="*/ 53 h 61"/>
                <a:gd name="T80" fmla="*/ 74 w 120"/>
                <a:gd name="T81" fmla="*/ 53 h 61"/>
                <a:gd name="T82" fmla="*/ 81 w 120"/>
                <a:gd name="T83" fmla="*/ 53 h 61"/>
                <a:gd name="T84" fmla="*/ 84 w 120"/>
                <a:gd name="T85" fmla="*/ 51 h 61"/>
                <a:gd name="T86" fmla="*/ 92 w 120"/>
                <a:gd name="T87" fmla="*/ 51 h 61"/>
                <a:gd name="T88" fmla="*/ 94 w 120"/>
                <a:gd name="T89" fmla="*/ 48 h 61"/>
                <a:gd name="T90" fmla="*/ 94 w 120"/>
                <a:gd name="T91" fmla="*/ 43 h 61"/>
                <a:gd name="T92" fmla="*/ 97 w 120"/>
                <a:gd name="T93" fmla="*/ 40 h 61"/>
                <a:gd name="T94" fmla="*/ 99 w 120"/>
                <a:gd name="T95" fmla="*/ 33 h 61"/>
                <a:gd name="T96" fmla="*/ 102 w 120"/>
                <a:gd name="T97" fmla="*/ 28 h 61"/>
                <a:gd name="T98" fmla="*/ 104 w 120"/>
                <a:gd name="T99" fmla="*/ 23 h 61"/>
                <a:gd name="T100" fmla="*/ 109 w 120"/>
                <a:gd name="T101" fmla="*/ 18 h 61"/>
                <a:gd name="T102" fmla="*/ 115 w 120"/>
                <a:gd name="T103" fmla="*/ 18 h 61"/>
                <a:gd name="T104" fmla="*/ 120 w 120"/>
                <a:gd name="T105" fmla="*/ 12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0" h="61">
                  <a:moveTo>
                    <a:pt x="120" y="12"/>
                  </a:moveTo>
                  <a:lnTo>
                    <a:pt x="120" y="12"/>
                  </a:lnTo>
                  <a:lnTo>
                    <a:pt x="120" y="10"/>
                  </a:lnTo>
                  <a:lnTo>
                    <a:pt x="120" y="10"/>
                  </a:lnTo>
                  <a:lnTo>
                    <a:pt x="117" y="10"/>
                  </a:lnTo>
                  <a:lnTo>
                    <a:pt x="117" y="10"/>
                  </a:lnTo>
                  <a:lnTo>
                    <a:pt x="117" y="10"/>
                  </a:lnTo>
                  <a:lnTo>
                    <a:pt x="117" y="10"/>
                  </a:lnTo>
                  <a:lnTo>
                    <a:pt x="117" y="10"/>
                  </a:lnTo>
                  <a:lnTo>
                    <a:pt x="115" y="10"/>
                  </a:lnTo>
                  <a:lnTo>
                    <a:pt x="115" y="7"/>
                  </a:lnTo>
                  <a:lnTo>
                    <a:pt x="112" y="7"/>
                  </a:lnTo>
                  <a:lnTo>
                    <a:pt x="109" y="7"/>
                  </a:lnTo>
                  <a:lnTo>
                    <a:pt x="109" y="5"/>
                  </a:lnTo>
                  <a:lnTo>
                    <a:pt x="109" y="5"/>
                  </a:lnTo>
                  <a:lnTo>
                    <a:pt x="109" y="5"/>
                  </a:lnTo>
                  <a:lnTo>
                    <a:pt x="109" y="5"/>
                  </a:lnTo>
                  <a:lnTo>
                    <a:pt x="109" y="2"/>
                  </a:lnTo>
                  <a:lnTo>
                    <a:pt x="107" y="2"/>
                  </a:lnTo>
                  <a:lnTo>
                    <a:pt x="107" y="2"/>
                  </a:lnTo>
                  <a:lnTo>
                    <a:pt x="107" y="2"/>
                  </a:lnTo>
                  <a:lnTo>
                    <a:pt x="107" y="2"/>
                  </a:lnTo>
                  <a:lnTo>
                    <a:pt x="99" y="5"/>
                  </a:lnTo>
                  <a:lnTo>
                    <a:pt x="99" y="5"/>
                  </a:lnTo>
                  <a:lnTo>
                    <a:pt x="99" y="2"/>
                  </a:lnTo>
                  <a:lnTo>
                    <a:pt x="97" y="2"/>
                  </a:lnTo>
                  <a:lnTo>
                    <a:pt x="97" y="2"/>
                  </a:lnTo>
                  <a:lnTo>
                    <a:pt x="97" y="2"/>
                  </a:lnTo>
                  <a:lnTo>
                    <a:pt x="97" y="0"/>
                  </a:lnTo>
                  <a:lnTo>
                    <a:pt x="94" y="0"/>
                  </a:lnTo>
                  <a:lnTo>
                    <a:pt x="94" y="0"/>
                  </a:lnTo>
                  <a:lnTo>
                    <a:pt x="94" y="0"/>
                  </a:lnTo>
                  <a:lnTo>
                    <a:pt x="89" y="0"/>
                  </a:lnTo>
                  <a:lnTo>
                    <a:pt x="87" y="0"/>
                  </a:lnTo>
                  <a:lnTo>
                    <a:pt x="87" y="0"/>
                  </a:lnTo>
                  <a:lnTo>
                    <a:pt x="84" y="0"/>
                  </a:lnTo>
                  <a:lnTo>
                    <a:pt x="79" y="0"/>
                  </a:lnTo>
                  <a:lnTo>
                    <a:pt x="76" y="0"/>
                  </a:lnTo>
                  <a:lnTo>
                    <a:pt x="76" y="0"/>
                  </a:lnTo>
                  <a:lnTo>
                    <a:pt x="74" y="5"/>
                  </a:lnTo>
                  <a:lnTo>
                    <a:pt x="71" y="7"/>
                  </a:lnTo>
                  <a:lnTo>
                    <a:pt x="69" y="7"/>
                  </a:lnTo>
                  <a:lnTo>
                    <a:pt x="66" y="10"/>
                  </a:lnTo>
                  <a:lnTo>
                    <a:pt x="66" y="7"/>
                  </a:lnTo>
                  <a:lnTo>
                    <a:pt x="64" y="7"/>
                  </a:lnTo>
                  <a:lnTo>
                    <a:pt x="61" y="7"/>
                  </a:lnTo>
                  <a:lnTo>
                    <a:pt x="61" y="7"/>
                  </a:lnTo>
                  <a:lnTo>
                    <a:pt x="61" y="7"/>
                  </a:lnTo>
                  <a:lnTo>
                    <a:pt x="58" y="10"/>
                  </a:lnTo>
                  <a:lnTo>
                    <a:pt x="56" y="10"/>
                  </a:lnTo>
                  <a:lnTo>
                    <a:pt x="51" y="10"/>
                  </a:lnTo>
                  <a:lnTo>
                    <a:pt x="48" y="12"/>
                  </a:lnTo>
                  <a:lnTo>
                    <a:pt x="48" y="12"/>
                  </a:lnTo>
                  <a:lnTo>
                    <a:pt x="48" y="15"/>
                  </a:lnTo>
                  <a:lnTo>
                    <a:pt x="48" y="15"/>
                  </a:lnTo>
                  <a:lnTo>
                    <a:pt x="48" y="15"/>
                  </a:lnTo>
                  <a:lnTo>
                    <a:pt x="46" y="18"/>
                  </a:lnTo>
                  <a:lnTo>
                    <a:pt x="43" y="18"/>
                  </a:lnTo>
                  <a:lnTo>
                    <a:pt x="36" y="18"/>
                  </a:lnTo>
                  <a:lnTo>
                    <a:pt x="33" y="18"/>
                  </a:lnTo>
                  <a:lnTo>
                    <a:pt x="30" y="18"/>
                  </a:lnTo>
                  <a:lnTo>
                    <a:pt x="28" y="15"/>
                  </a:lnTo>
                  <a:lnTo>
                    <a:pt x="25" y="15"/>
                  </a:lnTo>
                  <a:lnTo>
                    <a:pt x="23" y="12"/>
                  </a:lnTo>
                  <a:lnTo>
                    <a:pt x="20" y="12"/>
                  </a:lnTo>
                  <a:lnTo>
                    <a:pt x="20" y="12"/>
                  </a:lnTo>
                  <a:lnTo>
                    <a:pt x="20" y="12"/>
                  </a:lnTo>
                  <a:lnTo>
                    <a:pt x="18" y="12"/>
                  </a:lnTo>
                  <a:lnTo>
                    <a:pt x="18" y="12"/>
                  </a:lnTo>
                  <a:lnTo>
                    <a:pt x="18" y="15"/>
                  </a:lnTo>
                  <a:lnTo>
                    <a:pt x="18" y="15"/>
                  </a:lnTo>
                  <a:lnTo>
                    <a:pt x="18" y="15"/>
                  </a:lnTo>
                  <a:lnTo>
                    <a:pt x="18" y="15"/>
                  </a:lnTo>
                  <a:lnTo>
                    <a:pt x="18" y="18"/>
                  </a:lnTo>
                  <a:lnTo>
                    <a:pt x="18" y="18"/>
                  </a:lnTo>
                  <a:lnTo>
                    <a:pt x="15" y="18"/>
                  </a:lnTo>
                  <a:lnTo>
                    <a:pt x="13" y="18"/>
                  </a:lnTo>
                  <a:lnTo>
                    <a:pt x="13" y="18"/>
                  </a:lnTo>
                  <a:lnTo>
                    <a:pt x="13" y="20"/>
                  </a:lnTo>
                  <a:lnTo>
                    <a:pt x="13" y="18"/>
                  </a:lnTo>
                  <a:lnTo>
                    <a:pt x="10" y="18"/>
                  </a:lnTo>
                  <a:lnTo>
                    <a:pt x="10" y="18"/>
                  </a:lnTo>
                  <a:lnTo>
                    <a:pt x="7" y="18"/>
                  </a:lnTo>
                  <a:lnTo>
                    <a:pt x="7" y="18"/>
                  </a:lnTo>
                  <a:lnTo>
                    <a:pt x="7" y="18"/>
                  </a:lnTo>
                  <a:lnTo>
                    <a:pt x="5" y="20"/>
                  </a:lnTo>
                  <a:lnTo>
                    <a:pt x="7" y="20"/>
                  </a:lnTo>
                  <a:lnTo>
                    <a:pt x="10" y="20"/>
                  </a:lnTo>
                  <a:lnTo>
                    <a:pt x="10" y="23"/>
                  </a:lnTo>
                  <a:lnTo>
                    <a:pt x="10" y="23"/>
                  </a:lnTo>
                  <a:lnTo>
                    <a:pt x="10" y="25"/>
                  </a:lnTo>
                  <a:lnTo>
                    <a:pt x="10" y="25"/>
                  </a:lnTo>
                  <a:lnTo>
                    <a:pt x="7" y="25"/>
                  </a:lnTo>
                  <a:lnTo>
                    <a:pt x="7" y="25"/>
                  </a:lnTo>
                  <a:lnTo>
                    <a:pt x="7" y="25"/>
                  </a:lnTo>
                  <a:lnTo>
                    <a:pt x="7" y="28"/>
                  </a:lnTo>
                  <a:lnTo>
                    <a:pt x="7" y="28"/>
                  </a:lnTo>
                  <a:lnTo>
                    <a:pt x="5" y="30"/>
                  </a:lnTo>
                  <a:lnTo>
                    <a:pt x="7" y="30"/>
                  </a:lnTo>
                  <a:lnTo>
                    <a:pt x="7" y="30"/>
                  </a:lnTo>
                  <a:lnTo>
                    <a:pt x="7" y="30"/>
                  </a:lnTo>
                  <a:lnTo>
                    <a:pt x="7" y="33"/>
                  </a:lnTo>
                  <a:lnTo>
                    <a:pt x="7" y="33"/>
                  </a:lnTo>
                  <a:lnTo>
                    <a:pt x="7" y="33"/>
                  </a:lnTo>
                  <a:lnTo>
                    <a:pt x="7" y="33"/>
                  </a:lnTo>
                  <a:lnTo>
                    <a:pt x="7" y="35"/>
                  </a:lnTo>
                  <a:lnTo>
                    <a:pt x="5" y="33"/>
                  </a:lnTo>
                  <a:lnTo>
                    <a:pt x="2" y="35"/>
                  </a:lnTo>
                  <a:lnTo>
                    <a:pt x="0" y="38"/>
                  </a:lnTo>
                  <a:lnTo>
                    <a:pt x="5" y="38"/>
                  </a:lnTo>
                  <a:lnTo>
                    <a:pt x="5" y="38"/>
                  </a:lnTo>
                  <a:lnTo>
                    <a:pt x="5" y="38"/>
                  </a:lnTo>
                  <a:lnTo>
                    <a:pt x="5" y="40"/>
                  </a:lnTo>
                  <a:lnTo>
                    <a:pt x="5" y="40"/>
                  </a:lnTo>
                  <a:lnTo>
                    <a:pt x="5" y="40"/>
                  </a:lnTo>
                  <a:lnTo>
                    <a:pt x="5" y="43"/>
                  </a:lnTo>
                  <a:lnTo>
                    <a:pt x="7" y="43"/>
                  </a:lnTo>
                  <a:lnTo>
                    <a:pt x="7" y="46"/>
                  </a:lnTo>
                  <a:lnTo>
                    <a:pt x="7" y="46"/>
                  </a:lnTo>
                  <a:lnTo>
                    <a:pt x="10" y="46"/>
                  </a:lnTo>
                  <a:lnTo>
                    <a:pt x="13" y="48"/>
                  </a:lnTo>
                  <a:lnTo>
                    <a:pt x="15" y="48"/>
                  </a:lnTo>
                  <a:lnTo>
                    <a:pt x="15" y="51"/>
                  </a:lnTo>
                  <a:lnTo>
                    <a:pt x="18" y="53"/>
                  </a:lnTo>
                  <a:lnTo>
                    <a:pt x="20" y="53"/>
                  </a:lnTo>
                  <a:lnTo>
                    <a:pt x="23" y="56"/>
                  </a:lnTo>
                  <a:lnTo>
                    <a:pt x="23" y="56"/>
                  </a:lnTo>
                  <a:lnTo>
                    <a:pt x="25" y="58"/>
                  </a:lnTo>
                  <a:lnTo>
                    <a:pt x="28" y="58"/>
                  </a:lnTo>
                  <a:lnTo>
                    <a:pt x="28" y="58"/>
                  </a:lnTo>
                  <a:lnTo>
                    <a:pt x="28" y="58"/>
                  </a:lnTo>
                  <a:lnTo>
                    <a:pt x="30" y="61"/>
                  </a:lnTo>
                  <a:lnTo>
                    <a:pt x="33" y="61"/>
                  </a:lnTo>
                  <a:lnTo>
                    <a:pt x="36" y="61"/>
                  </a:lnTo>
                  <a:lnTo>
                    <a:pt x="41" y="61"/>
                  </a:lnTo>
                  <a:lnTo>
                    <a:pt x="41" y="61"/>
                  </a:lnTo>
                  <a:lnTo>
                    <a:pt x="43" y="61"/>
                  </a:lnTo>
                  <a:lnTo>
                    <a:pt x="43" y="61"/>
                  </a:lnTo>
                  <a:lnTo>
                    <a:pt x="46" y="61"/>
                  </a:lnTo>
                  <a:lnTo>
                    <a:pt x="46" y="61"/>
                  </a:lnTo>
                  <a:lnTo>
                    <a:pt x="48" y="58"/>
                  </a:lnTo>
                  <a:lnTo>
                    <a:pt x="48" y="58"/>
                  </a:lnTo>
                  <a:lnTo>
                    <a:pt x="51" y="58"/>
                  </a:lnTo>
                  <a:lnTo>
                    <a:pt x="51" y="58"/>
                  </a:lnTo>
                  <a:lnTo>
                    <a:pt x="51" y="58"/>
                  </a:lnTo>
                  <a:lnTo>
                    <a:pt x="51" y="58"/>
                  </a:lnTo>
                  <a:lnTo>
                    <a:pt x="53" y="58"/>
                  </a:lnTo>
                  <a:lnTo>
                    <a:pt x="53" y="56"/>
                  </a:lnTo>
                  <a:lnTo>
                    <a:pt x="53" y="56"/>
                  </a:lnTo>
                  <a:lnTo>
                    <a:pt x="56" y="56"/>
                  </a:lnTo>
                  <a:lnTo>
                    <a:pt x="56" y="56"/>
                  </a:lnTo>
                  <a:lnTo>
                    <a:pt x="56" y="56"/>
                  </a:lnTo>
                  <a:lnTo>
                    <a:pt x="58" y="56"/>
                  </a:lnTo>
                  <a:lnTo>
                    <a:pt x="58" y="56"/>
                  </a:lnTo>
                  <a:lnTo>
                    <a:pt x="61" y="56"/>
                  </a:lnTo>
                  <a:lnTo>
                    <a:pt x="61" y="56"/>
                  </a:lnTo>
                  <a:lnTo>
                    <a:pt x="61" y="53"/>
                  </a:lnTo>
                  <a:lnTo>
                    <a:pt x="64" y="53"/>
                  </a:lnTo>
                  <a:lnTo>
                    <a:pt x="64" y="53"/>
                  </a:lnTo>
                  <a:lnTo>
                    <a:pt x="66" y="53"/>
                  </a:lnTo>
                  <a:lnTo>
                    <a:pt x="69" y="53"/>
                  </a:lnTo>
                  <a:lnTo>
                    <a:pt x="69" y="53"/>
                  </a:lnTo>
                  <a:lnTo>
                    <a:pt x="74" y="53"/>
                  </a:lnTo>
                  <a:lnTo>
                    <a:pt x="74" y="53"/>
                  </a:lnTo>
                  <a:lnTo>
                    <a:pt x="76" y="53"/>
                  </a:lnTo>
                  <a:lnTo>
                    <a:pt x="76" y="53"/>
                  </a:lnTo>
                  <a:lnTo>
                    <a:pt x="79" y="53"/>
                  </a:lnTo>
                  <a:lnTo>
                    <a:pt x="81" y="53"/>
                  </a:lnTo>
                  <a:lnTo>
                    <a:pt x="84" y="53"/>
                  </a:lnTo>
                  <a:lnTo>
                    <a:pt x="84" y="53"/>
                  </a:lnTo>
                  <a:lnTo>
                    <a:pt x="84" y="53"/>
                  </a:lnTo>
                  <a:lnTo>
                    <a:pt x="84" y="51"/>
                  </a:lnTo>
                  <a:lnTo>
                    <a:pt x="84" y="51"/>
                  </a:lnTo>
                  <a:lnTo>
                    <a:pt x="87" y="51"/>
                  </a:lnTo>
                  <a:lnTo>
                    <a:pt x="89" y="51"/>
                  </a:lnTo>
                  <a:lnTo>
                    <a:pt x="92" y="51"/>
                  </a:lnTo>
                  <a:lnTo>
                    <a:pt x="92" y="51"/>
                  </a:lnTo>
                  <a:lnTo>
                    <a:pt x="92" y="48"/>
                  </a:lnTo>
                  <a:lnTo>
                    <a:pt x="92" y="48"/>
                  </a:lnTo>
                  <a:lnTo>
                    <a:pt x="94" y="48"/>
                  </a:lnTo>
                  <a:lnTo>
                    <a:pt x="94" y="46"/>
                  </a:lnTo>
                  <a:lnTo>
                    <a:pt x="94" y="46"/>
                  </a:lnTo>
                  <a:lnTo>
                    <a:pt x="94" y="43"/>
                  </a:lnTo>
                  <a:lnTo>
                    <a:pt x="94" y="43"/>
                  </a:lnTo>
                  <a:lnTo>
                    <a:pt x="94" y="43"/>
                  </a:lnTo>
                  <a:lnTo>
                    <a:pt x="97" y="43"/>
                  </a:lnTo>
                  <a:lnTo>
                    <a:pt x="97" y="40"/>
                  </a:lnTo>
                  <a:lnTo>
                    <a:pt x="97" y="40"/>
                  </a:lnTo>
                  <a:lnTo>
                    <a:pt x="97" y="38"/>
                  </a:lnTo>
                  <a:lnTo>
                    <a:pt x="99" y="38"/>
                  </a:lnTo>
                  <a:lnTo>
                    <a:pt x="99" y="35"/>
                  </a:lnTo>
                  <a:lnTo>
                    <a:pt x="99" y="33"/>
                  </a:lnTo>
                  <a:lnTo>
                    <a:pt x="99" y="33"/>
                  </a:lnTo>
                  <a:lnTo>
                    <a:pt x="102" y="33"/>
                  </a:lnTo>
                  <a:lnTo>
                    <a:pt x="102" y="30"/>
                  </a:lnTo>
                  <a:lnTo>
                    <a:pt x="102" y="28"/>
                  </a:lnTo>
                  <a:lnTo>
                    <a:pt x="104" y="28"/>
                  </a:lnTo>
                  <a:lnTo>
                    <a:pt x="104" y="25"/>
                  </a:lnTo>
                  <a:lnTo>
                    <a:pt x="104" y="25"/>
                  </a:lnTo>
                  <a:lnTo>
                    <a:pt x="104" y="23"/>
                  </a:lnTo>
                  <a:lnTo>
                    <a:pt x="107" y="23"/>
                  </a:lnTo>
                  <a:lnTo>
                    <a:pt x="107" y="20"/>
                  </a:lnTo>
                  <a:lnTo>
                    <a:pt x="109" y="20"/>
                  </a:lnTo>
                  <a:lnTo>
                    <a:pt x="109" y="18"/>
                  </a:lnTo>
                  <a:lnTo>
                    <a:pt x="109" y="18"/>
                  </a:lnTo>
                  <a:lnTo>
                    <a:pt x="112" y="18"/>
                  </a:lnTo>
                  <a:lnTo>
                    <a:pt x="112" y="18"/>
                  </a:lnTo>
                  <a:lnTo>
                    <a:pt x="115" y="18"/>
                  </a:lnTo>
                  <a:lnTo>
                    <a:pt x="115" y="18"/>
                  </a:lnTo>
                  <a:lnTo>
                    <a:pt x="115" y="18"/>
                  </a:lnTo>
                  <a:lnTo>
                    <a:pt x="117" y="18"/>
                  </a:lnTo>
                  <a:lnTo>
                    <a:pt x="120" y="12"/>
                  </a:lnTo>
                  <a:lnTo>
                    <a:pt x="120" y="12"/>
                  </a:lnTo>
                  <a:lnTo>
                    <a:pt x="120" y="1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298" name="Freeform 1917">
              <a:extLst>
                <a:ext uri="{FF2B5EF4-FFF2-40B4-BE49-F238E27FC236}">
                  <a16:creationId xmlns:a16="http://schemas.microsoft.com/office/drawing/2014/main" id="{D8A9C48A-E27F-614D-B779-CA034D1EA683}"/>
                </a:ext>
              </a:extLst>
            </p:cNvPr>
            <p:cNvSpPr>
              <a:spLocks noEditPoints="1"/>
            </p:cNvSpPr>
            <p:nvPr/>
          </p:nvSpPr>
          <p:spPr bwMode="auto">
            <a:xfrm>
              <a:off x="9277557" y="2965268"/>
              <a:ext cx="16357" cy="11451"/>
            </a:xfrm>
            <a:custGeom>
              <a:avLst/>
              <a:gdLst>
                <a:gd name="T0" fmla="*/ 7 w 10"/>
                <a:gd name="T1" fmla="*/ 5 h 7"/>
                <a:gd name="T2" fmla="*/ 7 w 10"/>
                <a:gd name="T3" fmla="*/ 5 h 7"/>
                <a:gd name="T4" fmla="*/ 7 w 10"/>
                <a:gd name="T5" fmla="*/ 5 h 7"/>
                <a:gd name="T6" fmla="*/ 7 w 10"/>
                <a:gd name="T7" fmla="*/ 7 h 7"/>
                <a:gd name="T8" fmla="*/ 10 w 10"/>
                <a:gd name="T9" fmla="*/ 7 h 7"/>
                <a:gd name="T10" fmla="*/ 10 w 10"/>
                <a:gd name="T11" fmla="*/ 7 h 7"/>
                <a:gd name="T12" fmla="*/ 10 w 10"/>
                <a:gd name="T13" fmla="*/ 5 h 7"/>
                <a:gd name="T14" fmla="*/ 7 w 10"/>
                <a:gd name="T15" fmla="*/ 5 h 7"/>
                <a:gd name="T16" fmla="*/ 2 w 10"/>
                <a:gd name="T17" fmla="*/ 5 h 7"/>
                <a:gd name="T18" fmla="*/ 0 w 10"/>
                <a:gd name="T19" fmla="*/ 5 h 7"/>
                <a:gd name="T20" fmla="*/ 2 w 10"/>
                <a:gd name="T21" fmla="*/ 7 h 7"/>
                <a:gd name="T22" fmla="*/ 2 w 10"/>
                <a:gd name="T23" fmla="*/ 7 h 7"/>
                <a:gd name="T24" fmla="*/ 5 w 10"/>
                <a:gd name="T25" fmla="*/ 7 h 7"/>
                <a:gd name="T26" fmla="*/ 5 w 10"/>
                <a:gd name="T27" fmla="*/ 5 h 7"/>
                <a:gd name="T28" fmla="*/ 5 w 10"/>
                <a:gd name="T29" fmla="*/ 5 h 7"/>
                <a:gd name="T30" fmla="*/ 2 w 10"/>
                <a:gd name="T31" fmla="*/ 5 h 7"/>
                <a:gd name="T32" fmla="*/ 10 w 10"/>
                <a:gd name="T33" fmla="*/ 2 h 7"/>
                <a:gd name="T34" fmla="*/ 10 w 10"/>
                <a:gd name="T35" fmla="*/ 2 h 7"/>
                <a:gd name="T36" fmla="*/ 10 w 10"/>
                <a:gd name="T37" fmla="*/ 2 h 7"/>
                <a:gd name="T38" fmla="*/ 10 w 10"/>
                <a:gd name="T39" fmla="*/ 0 h 7"/>
                <a:gd name="T40" fmla="*/ 7 w 10"/>
                <a:gd name="T41" fmla="*/ 0 h 7"/>
                <a:gd name="T42" fmla="*/ 7 w 10"/>
                <a:gd name="T43" fmla="*/ 0 h 7"/>
                <a:gd name="T44" fmla="*/ 7 w 10"/>
                <a:gd name="T45" fmla="*/ 0 h 7"/>
                <a:gd name="T46" fmla="*/ 7 w 10"/>
                <a:gd name="T47" fmla="*/ 0 h 7"/>
                <a:gd name="T48" fmla="*/ 5 w 10"/>
                <a:gd name="T49" fmla="*/ 0 h 7"/>
                <a:gd name="T50" fmla="*/ 5 w 10"/>
                <a:gd name="T51" fmla="*/ 0 h 7"/>
                <a:gd name="T52" fmla="*/ 5 w 10"/>
                <a:gd name="T53" fmla="*/ 0 h 7"/>
                <a:gd name="T54" fmla="*/ 2 w 10"/>
                <a:gd name="T55" fmla="*/ 0 h 7"/>
                <a:gd name="T56" fmla="*/ 2 w 10"/>
                <a:gd name="T57" fmla="*/ 0 h 7"/>
                <a:gd name="T58" fmla="*/ 2 w 10"/>
                <a:gd name="T59" fmla="*/ 0 h 7"/>
                <a:gd name="T60" fmla="*/ 2 w 10"/>
                <a:gd name="T61" fmla="*/ 2 h 7"/>
                <a:gd name="T62" fmla="*/ 2 w 10"/>
                <a:gd name="T63" fmla="*/ 2 h 7"/>
                <a:gd name="T64" fmla="*/ 2 w 10"/>
                <a:gd name="T65" fmla="*/ 2 h 7"/>
                <a:gd name="T66" fmla="*/ 5 w 10"/>
                <a:gd name="T67" fmla="*/ 2 h 7"/>
                <a:gd name="T68" fmla="*/ 7 w 10"/>
                <a:gd name="T69" fmla="*/ 5 h 7"/>
                <a:gd name="T70" fmla="*/ 10 w 10"/>
                <a:gd name="T71" fmla="*/ 5 h 7"/>
                <a:gd name="T72" fmla="*/ 10 w 10"/>
                <a:gd name="T73" fmla="*/ 5 h 7"/>
                <a:gd name="T74" fmla="*/ 10 w 10"/>
                <a:gd name="T75" fmla="*/ 2 h 7"/>
                <a:gd name="T76" fmla="*/ 10 w 10"/>
                <a:gd name="T77"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0" h="7">
                  <a:moveTo>
                    <a:pt x="7" y="5"/>
                  </a:moveTo>
                  <a:lnTo>
                    <a:pt x="7" y="5"/>
                  </a:lnTo>
                  <a:lnTo>
                    <a:pt x="7" y="5"/>
                  </a:lnTo>
                  <a:lnTo>
                    <a:pt x="7" y="7"/>
                  </a:lnTo>
                  <a:lnTo>
                    <a:pt x="10" y="7"/>
                  </a:lnTo>
                  <a:lnTo>
                    <a:pt x="10" y="7"/>
                  </a:lnTo>
                  <a:lnTo>
                    <a:pt x="10" y="5"/>
                  </a:lnTo>
                  <a:lnTo>
                    <a:pt x="7" y="5"/>
                  </a:lnTo>
                  <a:close/>
                  <a:moveTo>
                    <a:pt x="2" y="5"/>
                  </a:moveTo>
                  <a:lnTo>
                    <a:pt x="0" y="5"/>
                  </a:lnTo>
                  <a:lnTo>
                    <a:pt x="2" y="7"/>
                  </a:lnTo>
                  <a:lnTo>
                    <a:pt x="2" y="7"/>
                  </a:lnTo>
                  <a:lnTo>
                    <a:pt x="5" y="7"/>
                  </a:lnTo>
                  <a:lnTo>
                    <a:pt x="5" y="5"/>
                  </a:lnTo>
                  <a:lnTo>
                    <a:pt x="5" y="5"/>
                  </a:lnTo>
                  <a:lnTo>
                    <a:pt x="2" y="5"/>
                  </a:lnTo>
                  <a:close/>
                  <a:moveTo>
                    <a:pt x="10" y="2"/>
                  </a:moveTo>
                  <a:lnTo>
                    <a:pt x="10" y="2"/>
                  </a:lnTo>
                  <a:lnTo>
                    <a:pt x="10" y="2"/>
                  </a:lnTo>
                  <a:lnTo>
                    <a:pt x="10" y="0"/>
                  </a:lnTo>
                  <a:lnTo>
                    <a:pt x="7" y="0"/>
                  </a:lnTo>
                  <a:lnTo>
                    <a:pt x="7" y="0"/>
                  </a:lnTo>
                  <a:lnTo>
                    <a:pt x="7" y="0"/>
                  </a:lnTo>
                  <a:lnTo>
                    <a:pt x="7" y="0"/>
                  </a:lnTo>
                  <a:lnTo>
                    <a:pt x="5" y="0"/>
                  </a:lnTo>
                  <a:lnTo>
                    <a:pt x="5" y="0"/>
                  </a:lnTo>
                  <a:lnTo>
                    <a:pt x="5" y="0"/>
                  </a:lnTo>
                  <a:lnTo>
                    <a:pt x="2" y="0"/>
                  </a:lnTo>
                  <a:lnTo>
                    <a:pt x="2" y="0"/>
                  </a:lnTo>
                  <a:lnTo>
                    <a:pt x="2" y="0"/>
                  </a:lnTo>
                  <a:lnTo>
                    <a:pt x="2" y="2"/>
                  </a:lnTo>
                  <a:lnTo>
                    <a:pt x="2" y="2"/>
                  </a:lnTo>
                  <a:lnTo>
                    <a:pt x="2" y="2"/>
                  </a:lnTo>
                  <a:lnTo>
                    <a:pt x="5" y="2"/>
                  </a:lnTo>
                  <a:lnTo>
                    <a:pt x="7" y="5"/>
                  </a:lnTo>
                  <a:lnTo>
                    <a:pt x="10" y="5"/>
                  </a:lnTo>
                  <a:lnTo>
                    <a:pt x="10" y="5"/>
                  </a:lnTo>
                  <a:lnTo>
                    <a:pt x="10" y="2"/>
                  </a:lnTo>
                  <a:lnTo>
                    <a:pt x="10" y="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299" name="Freeform 1918">
              <a:extLst>
                <a:ext uri="{FF2B5EF4-FFF2-40B4-BE49-F238E27FC236}">
                  <a16:creationId xmlns:a16="http://schemas.microsoft.com/office/drawing/2014/main" id="{E4D45CD8-8F86-F14B-81CE-80A5BD78A171}"/>
                </a:ext>
              </a:extLst>
            </p:cNvPr>
            <p:cNvSpPr>
              <a:spLocks noEditPoints="1"/>
            </p:cNvSpPr>
            <p:nvPr/>
          </p:nvSpPr>
          <p:spPr bwMode="auto">
            <a:xfrm>
              <a:off x="2698624" y="3189364"/>
              <a:ext cx="204468" cy="129224"/>
            </a:xfrm>
            <a:custGeom>
              <a:avLst/>
              <a:gdLst>
                <a:gd name="T0" fmla="*/ 117 w 125"/>
                <a:gd name="T1" fmla="*/ 25 h 79"/>
                <a:gd name="T2" fmla="*/ 120 w 125"/>
                <a:gd name="T3" fmla="*/ 28 h 79"/>
                <a:gd name="T4" fmla="*/ 115 w 125"/>
                <a:gd name="T5" fmla="*/ 28 h 79"/>
                <a:gd name="T6" fmla="*/ 110 w 125"/>
                <a:gd name="T7" fmla="*/ 23 h 79"/>
                <a:gd name="T8" fmla="*/ 107 w 125"/>
                <a:gd name="T9" fmla="*/ 23 h 79"/>
                <a:gd name="T10" fmla="*/ 115 w 125"/>
                <a:gd name="T11" fmla="*/ 23 h 79"/>
                <a:gd name="T12" fmla="*/ 102 w 125"/>
                <a:gd name="T13" fmla="*/ 15 h 79"/>
                <a:gd name="T14" fmla="*/ 99 w 125"/>
                <a:gd name="T15" fmla="*/ 13 h 79"/>
                <a:gd name="T16" fmla="*/ 82 w 125"/>
                <a:gd name="T17" fmla="*/ 13 h 79"/>
                <a:gd name="T18" fmla="*/ 74 w 125"/>
                <a:gd name="T19" fmla="*/ 13 h 79"/>
                <a:gd name="T20" fmla="*/ 61 w 125"/>
                <a:gd name="T21" fmla="*/ 15 h 79"/>
                <a:gd name="T22" fmla="*/ 43 w 125"/>
                <a:gd name="T23" fmla="*/ 15 h 79"/>
                <a:gd name="T24" fmla="*/ 38 w 125"/>
                <a:gd name="T25" fmla="*/ 13 h 79"/>
                <a:gd name="T26" fmla="*/ 31 w 125"/>
                <a:gd name="T27" fmla="*/ 15 h 79"/>
                <a:gd name="T28" fmla="*/ 23 w 125"/>
                <a:gd name="T29" fmla="*/ 20 h 79"/>
                <a:gd name="T30" fmla="*/ 10 w 125"/>
                <a:gd name="T31" fmla="*/ 30 h 79"/>
                <a:gd name="T32" fmla="*/ 5 w 125"/>
                <a:gd name="T33" fmla="*/ 36 h 79"/>
                <a:gd name="T34" fmla="*/ 5 w 125"/>
                <a:gd name="T35" fmla="*/ 43 h 79"/>
                <a:gd name="T36" fmla="*/ 0 w 125"/>
                <a:gd name="T37" fmla="*/ 46 h 79"/>
                <a:gd name="T38" fmla="*/ 8 w 125"/>
                <a:gd name="T39" fmla="*/ 48 h 79"/>
                <a:gd name="T40" fmla="*/ 13 w 125"/>
                <a:gd name="T41" fmla="*/ 53 h 79"/>
                <a:gd name="T42" fmla="*/ 15 w 125"/>
                <a:gd name="T43" fmla="*/ 56 h 79"/>
                <a:gd name="T44" fmla="*/ 18 w 125"/>
                <a:gd name="T45" fmla="*/ 58 h 79"/>
                <a:gd name="T46" fmla="*/ 26 w 125"/>
                <a:gd name="T47" fmla="*/ 56 h 79"/>
                <a:gd name="T48" fmla="*/ 31 w 125"/>
                <a:gd name="T49" fmla="*/ 58 h 79"/>
                <a:gd name="T50" fmla="*/ 31 w 125"/>
                <a:gd name="T51" fmla="*/ 66 h 79"/>
                <a:gd name="T52" fmla="*/ 31 w 125"/>
                <a:gd name="T53" fmla="*/ 69 h 79"/>
                <a:gd name="T54" fmla="*/ 33 w 125"/>
                <a:gd name="T55" fmla="*/ 71 h 79"/>
                <a:gd name="T56" fmla="*/ 36 w 125"/>
                <a:gd name="T57" fmla="*/ 74 h 79"/>
                <a:gd name="T58" fmla="*/ 43 w 125"/>
                <a:gd name="T59" fmla="*/ 79 h 79"/>
                <a:gd name="T60" fmla="*/ 46 w 125"/>
                <a:gd name="T61" fmla="*/ 74 h 79"/>
                <a:gd name="T62" fmla="*/ 51 w 125"/>
                <a:gd name="T63" fmla="*/ 71 h 79"/>
                <a:gd name="T64" fmla="*/ 51 w 125"/>
                <a:gd name="T65" fmla="*/ 64 h 79"/>
                <a:gd name="T66" fmla="*/ 59 w 125"/>
                <a:gd name="T67" fmla="*/ 61 h 79"/>
                <a:gd name="T68" fmla="*/ 64 w 125"/>
                <a:gd name="T69" fmla="*/ 56 h 79"/>
                <a:gd name="T70" fmla="*/ 71 w 125"/>
                <a:gd name="T71" fmla="*/ 58 h 79"/>
                <a:gd name="T72" fmla="*/ 74 w 125"/>
                <a:gd name="T73" fmla="*/ 56 h 79"/>
                <a:gd name="T74" fmla="*/ 82 w 125"/>
                <a:gd name="T75" fmla="*/ 48 h 79"/>
                <a:gd name="T76" fmla="*/ 84 w 125"/>
                <a:gd name="T77" fmla="*/ 46 h 79"/>
                <a:gd name="T78" fmla="*/ 87 w 125"/>
                <a:gd name="T79" fmla="*/ 43 h 79"/>
                <a:gd name="T80" fmla="*/ 92 w 125"/>
                <a:gd name="T81" fmla="*/ 38 h 79"/>
                <a:gd name="T82" fmla="*/ 97 w 125"/>
                <a:gd name="T83" fmla="*/ 41 h 79"/>
                <a:gd name="T84" fmla="*/ 102 w 125"/>
                <a:gd name="T85" fmla="*/ 41 h 79"/>
                <a:gd name="T86" fmla="*/ 105 w 125"/>
                <a:gd name="T87" fmla="*/ 41 h 79"/>
                <a:gd name="T88" fmla="*/ 107 w 125"/>
                <a:gd name="T89" fmla="*/ 38 h 79"/>
                <a:gd name="T90" fmla="*/ 115 w 125"/>
                <a:gd name="T91" fmla="*/ 36 h 79"/>
                <a:gd name="T92" fmla="*/ 117 w 125"/>
                <a:gd name="T93" fmla="*/ 33 h 79"/>
                <a:gd name="T94" fmla="*/ 64 w 125"/>
                <a:gd name="T95" fmla="*/ 2 h 79"/>
                <a:gd name="T96" fmla="*/ 61 w 125"/>
                <a:gd name="T97" fmla="*/ 2 h 79"/>
                <a:gd name="T98" fmla="*/ 77 w 125"/>
                <a:gd name="T99" fmla="*/ 0 h 79"/>
                <a:gd name="T100" fmla="*/ 74 w 125"/>
                <a:gd name="T101"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25" h="79">
                  <a:moveTo>
                    <a:pt x="125" y="33"/>
                  </a:moveTo>
                  <a:lnTo>
                    <a:pt x="122" y="30"/>
                  </a:lnTo>
                  <a:lnTo>
                    <a:pt x="122" y="28"/>
                  </a:lnTo>
                  <a:lnTo>
                    <a:pt x="117" y="25"/>
                  </a:lnTo>
                  <a:lnTo>
                    <a:pt x="117" y="25"/>
                  </a:lnTo>
                  <a:lnTo>
                    <a:pt x="120" y="25"/>
                  </a:lnTo>
                  <a:lnTo>
                    <a:pt x="120" y="28"/>
                  </a:lnTo>
                  <a:lnTo>
                    <a:pt x="120" y="28"/>
                  </a:lnTo>
                  <a:lnTo>
                    <a:pt x="117" y="28"/>
                  </a:lnTo>
                  <a:lnTo>
                    <a:pt x="117" y="28"/>
                  </a:lnTo>
                  <a:lnTo>
                    <a:pt x="115" y="28"/>
                  </a:lnTo>
                  <a:lnTo>
                    <a:pt x="115" y="28"/>
                  </a:lnTo>
                  <a:lnTo>
                    <a:pt x="115" y="28"/>
                  </a:lnTo>
                  <a:lnTo>
                    <a:pt x="112" y="25"/>
                  </a:lnTo>
                  <a:lnTo>
                    <a:pt x="112" y="25"/>
                  </a:lnTo>
                  <a:lnTo>
                    <a:pt x="110" y="23"/>
                  </a:lnTo>
                  <a:lnTo>
                    <a:pt x="110" y="25"/>
                  </a:lnTo>
                  <a:lnTo>
                    <a:pt x="107" y="25"/>
                  </a:lnTo>
                  <a:lnTo>
                    <a:pt x="107" y="23"/>
                  </a:lnTo>
                  <a:lnTo>
                    <a:pt x="107" y="23"/>
                  </a:lnTo>
                  <a:lnTo>
                    <a:pt x="110" y="23"/>
                  </a:lnTo>
                  <a:lnTo>
                    <a:pt x="112" y="20"/>
                  </a:lnTo>
                  <a:lnTo>
                    <a:pt x="115" y="23"/>
                  </a:lnTo>
                  <a:lnTo>
                    <a:pt x="115" y="23"/>
                  </a:lnTo>
                  <a:lnTo>
                    <a:pt x="107" y="15"/>
                  </a:lnTo>
                  <a:lnTo>
                    <a:pt x="102" y="13"/>
                  </a:lnTo>
                  <a:lnTo>
                    <a:pt x="102" y="15"/>
                  </a:lnTo>
                  <a:lnTo>
                    <a:pt x="102" y="15"/>
                  </a:lnTo>
                  <a:lnTo>
                    <a:pt x="102" y="15"/>
                  </a:lnTo>
                  <a:lnTo>
                    <a:pt x="102" y="15"/>
                  </a:lnTo>
                  <a:lnTo>
                    <a:pt x="99" y="15"/>
                  </a:lnTo>
                  <a:lnTo>
                    <a:pt x="99" y="13"/>
                  </a:lnTo>
                  <a:lnTo>
                    <a:pt x="92" y="10"/>
                  </a:lnTo>
                  <a:lnTo>
                    <a:pt x="92" y="10"/>
                  </a:lnTo>
                  <a:lnTo>
                    <a:pt x="89" y="13"/>
                  </a:lnTo>
                  <a:lnTo>
                    <a:pt x="82" y="13"/>
                  </a:lnTo>
                  <a:lnTo>
                    <a:pt x="77" y="10"/>
                  </a:lnTo>
                  <a:lnTo>
                    <a:pt x="71" y="10"/>
                  </a:lnTo>
                  <a:lnTo>
                    <a:pt x="74" y="10"/>
                  </a:lnTo>
                  <a:lnTo>
                    <a:pt x="74" y="13"/>
                  </a:lnTo>
                  <a:lnTo>
                    <a:pt x="71" y="13"/>
                  </a:lnTo>
                  <a:lnTo>
                    <a:pt x="69" y="13"/>
                  </a:lnTo>
                  <a:lnTo>
                    <a:pt x="64" y="15"/>
                  </a:lnTo>
                  <a:lnTo>
                    <a:pt x="61" y="15"/>
                  </a:lnTo>
                  <a:lnTo>
                    <a:pt x="56" y="15"/>
                  </a:lnTo>
                  <a:lnTo>
                    <a:pt x="54" y="15"/>
                  </a:lnTo>
                  <a:lnTo>
                    <a:pt x="46" y="15"/>
                  </a:lnTo>
                  <a:lnTo>
                    <a:pt x="43" y="15"/>
                  </a:lnTo>
                  <a:lnTo>
                    <a:pt x="41" y="15"/>
                  </a:lnTo>
                  <a:lnTo>
                    <a:pt x="41" y="15"/>
                  </a:lnTo>
                  <a:lnTo>
                    <a:pt x="38" y="13"/>
                  </a:lnTo>
                  <a:lnTo>
                    <a:pt x="38" y="13"/>
                  </a:lnTo>
                  <a:lnTo>
                    <a:pt x="33" y="13"/>
                  </a:lnTo>
                  <a:lnTo>
                    <a:pt x="33" y="13"/>
                  </a:lnTo>
                  <a:lnTo>
                    <a:pt x="31" y="15"/>
                  </a:lnTo>
                  <a:lnTo>
                    <a:pt x="31" y="15"/>
                  </a:lnTo>
                  <a:lnTo>
                    <a:pt x="28" y="18"/>
                  </a:lnTo>
                  <a:lnTo>
                    <a:pt x="28" y="18"/>
                  </a:lnTo>
                  <a:lnTo>
                    <a:pt x="26" y="18"/>
                  </a:lnTo>
                  <a:lnTo>
                    <a:pt x="23" y="20"/>
                  </a:lnTo>
                  <a:lnTo>
                    <a:pt x="20" y="23"/>
                  </a:lnTo>
                  <a:lnTo>
                    <a:pt x="18" y="25"/>
                  </a:lnTo>
                  <a:lnTo>
                    <a:pt x="13" y="28"/>
                  </a:lnTo>
                  <a:lnTo>
                    <a:pt x="10" y="30"/>
                  </a:lnTo>
                  <a:lnTo>
                    <a:pt x="10" y="30"/>
                  </a:lnTo>
                  <a:lnTo>
                    <a:pt x="8" y="30"/>
                  </a:lnTo>
                  <a:lnTo>
                    <a:pt x="5" y="33"/>
                  </a:lnTo>
                  <a:lnTo>
                    <a:pt x="5" y="36"/>
                  </a:lnTo>
                  <a:lnTo>
                    <a:pt x="5" y="36"/>
                  </a:lnTo>
                  <a:lnTo>
                    <a:pt x="5" y="38"/>
                  </a:lnTo>
                  <a:lnTo>
                    <a:pt x="5" y="41"/>
                  </a:lnTo>
                  <a:lnTo>
                    <a:pt x="5" y="43"/>
                  </a:lnTo>
                  <a:lnTo>
                    <a:pt x="3" y="43"/>
                  </a:lnTo>
                  <a:lnTo>
                    <a:pt x="0" y="46"/>
                  </a:lnTo>
                  <a:lnTo>
                    <a:pt x="0" y="46"/>
                  </a:lnTo>
                  <a:lnTo>
                    <a:pt x="0" y="46"/>
                  </a:lnTo>
                  <a:lnTo>
                    <a:pt x="5" y="48"/>
                  </a:lnTo>
                  <a:lnTo>
                    <a:pt x="5" y="48"/>
                  </a:lnTo>
                  <a:lnTo>
                    <a:pt x="8" y="48"/>
                  </a:lnTo>
                  <a:lnTo>
                    <a:pt x="8" y="48"/>
                  </a:lnTo>
                  <a:lnTo>
                    <a:pt x="8" y="51"/>
                  </a:lnTo>
                  <a:lnTo>
                    <a:pt x="10" y="53"/>
                  </a:lnTo>
                  <a:lnTo>
                    <a:pt x="10" y="53"/>
                  </a:lnTo>
                  <a:lnTo>
                    <a:pt x="13" y="53"/>
                  </a:lnTo>
                  <a:lnTo>
                    <a:pt x="13" y="56"/>
                  </a:lnTo>
                  <a:lnTo>
                    <a:pt x="13" y="56"/>
                  </a:lnTo>
                  <a:lnTo>
                    <a:pt x="15" y="56"/>
                  </a:lnTo>
                  <a:lnTo>
                    <a:pt x="15" y="56"/>
                  </a:lnTo>
                  <a:lnTo>
                    <a:pt x="18" y="56"/>
                  </a:lnTo>
                  <a:lnTo>
                    <a:pt x="18" y="58"/>
                  </a:lnTo>
                  <a:lnTo>
                    <a:pt x="18" y="58"/>
                  </a:lnTo>
                  <a:lnTo>
                    <a:pt x="18" y="58"/>
                  </a:lnTo>
                  <a:lnTo>
                    <a:pt x="18" y="58"/>
                  </a:lnTo>
                  <a:lnTo>
                    <a:pt x="20" y="58"/>
                  </a:lnTo>
                  <a:lnTo>
                    <a:pt x="23" y="56"/>
                  </a:lnTo>
                  <a:lnTo>
                    <a:pt x="26" y="56"/>
                  </a:lnTo>
                  <a:lnTo>
                    <a:pt x="26" y="58"/>
                  </a:lnTo>
                  <a:lnTo>
                    <a:pt x="26" y="58"/>
                  </a:lnTo>
                  <a:lnTo>
                    <a:pt x="28" y="58"/>
                  </a:lnTo>
                  <a:lnTo>
                    <a:pt x="31" y="58"/>
                  </a:lnTo>
                  <a:lnTo>
                    <a:pt x="31" y="58"/>
                  </a:lnTo>
                  <a:lnTo>
                    <a:pt x="33" y="61"/>
                  </a:lnTo>
                  <a:lnTo>
                    <a:pt x="31" y="64"/>
                  </a:lnTo>
                  <a:lnTo>
                    <a:pt x="31" y="66"/>
                  </a:lnTo>
                  <a:lnTo>
                    <a:pt x="31" y="66"/>
                  </a:lnTo>
                  <a:lnTo>
                    <a:pt x="31" y="66"/>
                  </a:lnTo>
                  <a:lnTo>
                    <a:pt x="31" y="69"/>
                  </a:lnTo>
                  <a:lnTo>
                    <a:pt x="31" y="69"/>
                  </a:lnTo>
                  <a:lnTo>
                    <a:pt x="28" y="69"/>
                  </a:lnTo>
                  <a:lnTo>
                    <a:pt x="31" y="71"/>
                  </a:lnTo>
                  <a:lnTo>
                    <a:pt x="31" y="71"/>
                  </a:lnTo>
                  <a:lnTo>
                    <a:pt x="33" y="71"/>
                  </a:lnTo>
                  <a:lnTo>
                    <a:pt x="36" y="71"/>
                  </a:lnTo>
                  <a:lnTo>
                    <a:pt x="36" y="71"/>
                  </a:lnTo>
                  <a:lnTo>
                    <a:pt x="36" y="74"/>
                  </a:lnTo>
                  <a:lnTo>
                    <a:pt x="36" y="74"/>
                  </a:lnTo>
                  <a:lnTo>
                    <a:pt x="36" y="76"/>
                  </a:lnTo>
                  <a:lnTo>
                    <a:pt x="38" y="76"/>
                  </a:lnTo>
                  <a:lnTo>
                    <a:pt x="38" y="79"/>
                  </a:lnTo>
                  <a:lnTo>
                    <a:pt x="43" y="79"/>
                  </a:lnTo>
                  <a:lnTo>
                    <a:pt x="43" y="79"/>
                  </a:lnTo>
                  <a:lnTo>
                    <a:pt x="46" y="76"/>
                  </a:lnTo>
                  <a:lnTo>
                    <a:pt x="46" y="76"/>
                  </a:lnTo>
                  <a:lnTo>
                    <a:pt x="46" y="74"/>
                  </a:lnTo>
                  <a:lnTo>
                    <a:pt x="46" y="74"/>
                  </a:lnTo>
                  <a:lnTo>
                    <a:pt x="48" y="74"/>
                  </a:lnTo>
                  <a:lnTo>
                    <a:pt x="48" y="71"/>
                  </a:lnTo>
                  <a:lnTo>
                    <a:pt x="51" y="71"/>
                  </a:lnTo>
                  <a:lnTo>
                    <a:pt x="51" y="71"/>
                  </a:lnTo>
                  <a:lnTo>
                    <a:pt x="51" y="69"/>
                  </a:lnTo>
                  <a:lnTo>
                    <a:pt x="51" y="64"/>
                  </a:lnTo>
                  <a:lnTo>
                    <a:pt x="51" y="64"/>
                  </a:lnTo>
                  <a:lnTo>
                    <a:pt x="51" y="61"/>
                  </a:lnTo>
                  <a:lnTo>
                    <a:pt x="51" y="61"/>
                  </a:lnTo>
                  <a:lnTo>
                    <a:pt x="54" y="61"/>
                  </a:lnTo>
                  <a:lnTo>
                    <a:pt x="59" y="61"/>
                  </a:lnTo>
                  <a:lnTo>
                    <a:pt x="59" y="61"/>
                  </a:lnTo>
                  <a:lnTo>
                    <a:pt x="61" y="58"/>
                  </a:lnTo>
                  <a:lnTo>
                    <a:pt x="64" y="56"/>
                  </a:lnTo>
                  <a:lnTo>
                    <a:pt x="64" y="56"/>
                  </a:lnTo>
                  <a:lnTo>
                    <a:pt x="66" y="56"/>
                  </a:lnTo>
                  <a:lnTo>
                    <a:pt x="66" y="56"/>
                  </a:lnTo>
                  <a:lnTo>
                    <a:pt x="71" y="58"/>
                  </a:lnTo>
                  <a:lnTo>
                    <a:pt x="71" y="58"/>
                  </a:lnTo>
                  <a:lnTo>
                    <a:pt x="71" y="58"/>
                  </a:lnTo>
                  <a:lnTo>
                    <a:pt x="71" y="58"/>
                  </a:lnTo>
                  <a:lnTo>
                    <a:pt x="71" y="58"/>
                  </a:lnTo>
                  <a:lnTo>
                    <a:pt x="74" y="56"/>
                  </a:lnTo>
                  <a:lnTo>
                    <a:pt x="74" y="56"/>
                  </a:lnTo>
                  <a:lnTo>
                    <a:pt x="77" y="53"/>
                  </a:lnTo>
                  <a:lnTo>
                    <a:pt x="79" y="51"/>
                  </a:lnTo>
                  <a:lnTo>
                    <a:pt x="82" y="48"/>
                  </a:lnTo>
                  <a:lnTo>
                    <a:pt x="84" y="48"/>
                  </a:lnTo>
                  <a:lnTo>
                    <a:pt x="84" y="48"/>
                  </a:lnTo>
                  <a:lnTo>
                    <a:pt x="84" y="48"/>
                  </a:lnTo>
                  <a:lnTo>
                    <a:pt x="84" y="46"/>
                  </a:lnTo>
                  <a:lnTo>
                    <a:pt x="84" y="43"/>
                  </a:lnTo>
                  <a:lnTo>
                    <a:pt x="87" y="43"/>
                  </a:lnTo>
                  <a:lnTo>
                    <a:pt x="87" y="43"/>
                  </a:lnTo>
                  <a:lnTo>
                    <a:pt x="87" y="43"/>
                  </a:lnTo>
                  <a:lnTo>
                    <a:pt x="87" y="41"/>
                  </a:lnTo>
                  <a:lnTo>
                    <a:pt x="87" y="41"/>
                  </a:lnTo>
                  <a:lnTo>
                    <a:pt x="89" y="38"/>
                  </a:lnTo>
                  <a:lnTo>
                    <a:pt x="92" y="38"/>
                  </a:lnTo>
                  <a:lnTo>
                    <a:pt x="92" y="38"/>
                  </a:lnTo>
                  <a:lnTo>
                    <a:pt x="94" y="41"/>
                  </a:lnTo>
                  <a:lnTo>
                    <a:pt x="94" y="41"/>
                  </a:lnTo>
                  <a:lnTo>
                    <a:pt x="97" y="41"/>
                  </a:lnTo>
                  <a:lnTo>
                    <a:pt x="99" y="41"/>
                  </a:lnTo>
                  <a:lnTo>
                    <a:pt x="99" y="41"/>
                  </a:lnTo>
                  <a:lnTo>
                    <a:pt x="102" y="41"/>
                  </a:lnTo>
                  <a:lnTo>
                    <a:pt x="102" y="41"/>
                  </a:lnTo>
                  <a:lnTo>
                    <a:pt x="102" y="41"/>
                  </a:lnTo>
                  <a:lnTo>
                    <a:pt x="102" y="38"/>
                  </a:lnTo>
                  <a:lnTo>
                    <a:pt x="105" y="38"/>
                  </a:lnTo>
                  <a:lnTo>
                    <a:pt x="105" y="41"/>
                  </a:lnTo>
                  <a:lnTo>
                    <a:pt x="105" y="41"/>
                  </a:lnTo>
                  <a:lnTo>
                    <a:pt x="107" y="41"/>
                  </a:lnTo>
                  <a:lnTo>
                    <a:pt x="107" y="38"/>
                  </a:lnTo>
                  <a:lnTo>
                    <a:pt x="107" y="38"/>
                  </a:lnTo>
                  <a:lnTo>
                    <a:pt x="107" y="38"/>
                  </a:lnTo>
                  <a:lnTo>
                    <a:pt x="110" y="38"/>
                  </a:lnTo>
                  <a:lnTo>
                    <a:pt x="112" y="38"/>
                  </a:lnTo>
                  <a:lnTo>
                    <a:pt x="115" y="36"/>
                  </a:lnTo>
                  <a:lnTo>
                    <a:pt x="115" y="36"/>
                  </a:lnTo>
                  <a:lnTo>
                    <a:pt x="115" y="36"/>
                  </a:lnTo>
                  <a:lnTo>
                    <a:pt x="117" y="36"/>
                  </a:lnTo>
                  <a:lnTo>
                    <a:pt x="117" y="33"/>
                  </a:lnTo>
                  <a:lnTo>
                    <a:pt x="120" y="33"/>
                  </a:lnTo>
                  <a:lnTo>
                    <a:pt x="125" y="33"/>
                  </a:lnTo>
                  <a:lnTo>
                    <a:pt x="125" y="33"/>
                  </a:lnTo>
                  <a:close/>
                  <a:moveTo>
                    <a:pt x="64" y="2"/>
                  </a:moveTo>
                  <a:lnTo>
                    <a:pt x="69" y="0"/>
                  </a:lnTo>
                  <a:lnTo>
                    <a:pt x="66" y="0"/>
                  </a:lnTo>
                  <a:lnTo>
                    <a:pt x="64" y="0"/>
                  </a:lnTo>
                  <a:lnTo>
                    <a:pt x="61" y="2"/>
                  </a:lnTo>
                  <a:lnTo>
                    <a:pt x="61" y="2"/>
                  </a:lnTo>
                  <a:lnTo>
                    <a:pt x="61" y="2"/>
                  </a:lnTo>
                  <a:lnTo>
                    <a:pt x="64" y="2"/>
                  </a:lnTo>
                  <a:close/>
                  <a:moveTo>
                    <a:pt x="77" y="0"/>
                  </a:moveTo>
                  <a:lnTo>
                    <a:pt x="77" y="0"/>
                  </a:lnTo>
                  <a:lnTo>
                    <a:pt x="77" y="0"/>
                  </a:lnTo>
                  <a:lnTo>
                    <a:pt x="77" y="0"/>
                  </a:lnTo>
                  <a:lnTo>
                    <a:pt x="74" y="0"/>
                  </a:lnTo>
                  <a:lnTo>
                    <a:pt x="74" y="0"/>
                  </a:lnTo>
                  <a:lnTo>
                    <a:pt x="74" y="2"/>
                  </a:lnTo>
                  <a:lnTo>
                    <a:pt x="77" y="0"/>
                  </a:lnTo>
                  <a:close/>
                </a:path>
              </a:pathLst>
            </a:custGeom>
            <a:solidFill>
              <a:schemeClr val="bg2">
                <a:lumMod val="60000"/>
                <a:lumOff val="40000"/>
              </a:schemeClr>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300" name="Freeform 1919">
              <a:extLst>
                <a:ext uri="{FF2B5EF4-FFF2-40B4-BE49-F238E27FC236}">
                  <a16:creationId xmlns:a16="http://schemas.microsoft.com/office/drawing/2014/main" id="{78A748BE-47A2-4547-B44B-27AA749B57EE}"/>
                </a:ext>
              </a:extLst>
            </p:cNvPr>
            <p:cNvSpPr>
              <a:spLocks noEditPoints="1"/>
            </p:cNvSpPr>
            <p:nvPr/>
          </p:nvSpPr>
          <p:spPr bwMode="auto">
            <a:xfrm>
              <a:off x="3202431" y="3056869"/>
              <a:ext cx="91601" cy="73609"/>
            </a:xfrm>
            <a:custGeom>
              <a:avLst/>
              <a:gdLst>
                <a:gd name="T0" fmla="*/ 31 w 56"/>
                <a:gd name="T1" fmla="*/ 28 h 45"/>
                <a:gd name="T2" fmla="*/ 26 w 56"/>
                <a:gd name="T3" fmla="*/ 25 h 45"/>
                <a:gd name="T4" fmla="*/ 23 w 56"/>
                <a:gd name="T5" fmla="*/ 25 h 45"/>
                <a:gd name="T6" fmla="*/ 34 w 56"/>
                <a:gd name="T7" fmla="*/ 30 h 45"/>
                <a:gd name="T8" fmla="*/ 56 w 56"/>
                <a:gd name="T9" fmla="*/ 17 h 45"/>
                <a:gd name="T10" fmla="*/ 56 w 56"/>
                <a:gd name="T11" fmla="*/ 15 h 45"/>
                <a:gd name="T12" fmla="*/ 56 w 56"/>
                <a:gd name="T13" fmla="*/ 7 h 45"/>
                <a:gd name="T14" fmla="*/ 56 w 56"/>
                <a:gd name="T15" fmla="*/ 7 h 45"/>
                <a:gd name="T16" fmla="*/ 49 w 56"/>
                <a:gd name="T17" fmla="*/ 7 h 45"/>
                <a:gd name="T18" fmla="*/ 41 w 56"/>
                <a:gd name="T19" fmla="*/ 2 h 45"/>
                <a:gd name="T20" fmla="*/ 31 w 56"/>
                <a:gd name="T21" fmla="*/ 2 h 45"/>
                <a:gd name="T22" fmla="*/ 26 w 56"/>
                <a:gd name="T23" fmla="*/ 5 h 45"/>
                <a:gd name="T24" fmla="*/ 23 w 56"/>
                <a:gd name="T25" fmla="*/ 7 h 45"/>
                <a:gd name="T26" fmla="*/ 26 w 56"/>
                <a:gd name="T27" fmla="*/ 10 h 45"/>
                <a:gd name="T28" fmla="*/ 34 w 56"/>
                <a:gd name="T29" fmla="*/ 12 h 45"/>
                <a:gd name="T30" fmla="*/ 36 w 56"/>
                <a:gd name="T31" fmla="*/ 15 h 45"/>
                <a:gd name="T32" fmla="*/ 36 w 56"/>
                <a:gd name="T33" fmla="*/ 20 h 45"/>
                <a:gd name="T34" fmla="*/ 36 w 56"/>
                <a:gd name="T35" fmla="*/ 25 h 45"/>
                <a:gd name="T36" fmla="*/ 41 w 56"/>
                <a:gd name="T37" fmla="*/ 30 h 45"/>
                <a:gd name="T38" fmla="*/ 41 w 56"/>
                <a:gd name="T39" fmla="*/ 33 h 45"/>
                <a:gd name="T40" fmla="*/ 36 w 56"/>
                <a:gd name="T41" fmla="*/ 33 h 45"/>
                <a:gd name="T42" fmla="*/ 36 w 56"/>
                <a:gd name="T43" fmla="*/ 35 h 45"/>
                <a:gd name="T44" fmla="*/ 34 w 56"/>
                <a:gd name="T45" fmla="*/ 35 h 45"/>
                <a:gd name="T46" fmla="*/ 18 w 56"/>
                <a:gd name="T47" fmla="*/ 35 h 45"/>
                <a:gd name="T48" fmla="*/ 13 w 56"/>
                <a:gd name="T49" fmla="*/ 33 h 45"/>
                <a:gd name="T50" fmla="*/ 8 w 56"/>
                <a:gd name="T51" fmla="*/ 33 h 45"/>
                <a:gd name="T52" fmla="*/ 3 w 56"/>
                <a:gd name="T53" fmla="*/ 30 h 45"/>
                <a:gd name="T54" fmla="*/ 0 w 56"/>
                <a:gd name="T55" fmla="*/ 35 h 45"/>
                <a:gd name="T56" fmla="*/ 0 w 56"/>
                <a:gd name="T57" fmla="*/ 38 h 45"/>
                <a:gd name="T58" fmla="*/ 6 w 56"/>
                <a:gd name="T59" fmla="*/ 40 h 45"/>
                <a:gd name="T60" fmla="*/ 11 w 56"/>
                <a:gd name="T61" fmla="*/ 45 h 45"/>
                <a:gd name="T62" fmla="*/ 11 w 56"/>
                <a:gd name="T63" fmla="*/ 43 h 45"/>
                <a:gd name="T64" fmla="*/ 16 w 56"/>
                <a:gd name="T65" fmla="*/ 40 h 45"/>
                <a:gd name="T66" fmla="*/ 21 w 56"/>
                <a:gd name="T67" fmla="*/ 40 h 45"/>
                <a:gd name="T68" fmla="*/ 26 w 56"/>
                <a:gd name="T69" fmla="*/ 40 h 45"/>
                <a:gd name="T70" fmla="*/ 34 w 56"/>
                <a:gd name="T71" fmla="*/ 43 h 45"/>
                <a:gd name="T72" fmla="*/ 36 w 56"/>
                <a:gd name="T73" fmla="*/ 43 h 45"/>
                <a:gd name="T74" fmla="*/ 39 w 56"/>
                <a:gd name="T75" fmla="*/ 40 h 45"/>
                <a:gd name="T76" fmla="*/ 49 w 56"/>
                <a:gd name="T77" fmla="*/ 40 h 45"/>
                <a:gd name="T78" fmla="*/ 51 w 56"/>
                <a:gd name="T79" fmla="*/ 43 h 45"/>
                <a:gd name="T80" fmla="*/ 51 w 56"/>
                <a:gd name="T81" fmla="*/ 40 h 45"/>
                <a:gd name="T82" fmla="*/ 54 w 56"/>
                <a:gd name="T83" fmla="*/ 38 h 45"/>
                <a:gd name="T84" fmla="*/ 49 w 56"/>
                <a:gd name="T85" fmla="*/ 35 h 45"/>
                <a:gd name="T86" fmla="*/ 49 w 56"/>
                <a:gd name="T87" fmla="*/ 33 h 45"/>
                <a:gd name="T88" fmla="*/ 51 w 56"/>
                <a:gd name="T89" fmla="*/ 33 h 45"/>
                <a:gd name="T90" fmla="*/ 54 w 56"/>
                <a:gd name="T91" fmla="*/ 28 h 45"/>
                <a:gd name="T92" fmla="*/ 54 w 56"/>
                <a:gd name="T93" fmla="*/ 25 h 45"/>
                <a:gd name="T94" fmla="*/ 56 w 56"/>
                <a:gd name="T95" fmla="*/ 22 h 45"/>
                <a:gd name="T96" fmla="*/ 56 w 56"/>
                <a:gd name="T97" fmla="*/ 20 h 45"/>
                <a:gd name="T98" fmla="*/ 56 w 56"/>
                <a:gd name="T99" fmla="*/ 17 h 45"/>
                <a:gd name="T100" fmla="*/ 36 w 56"/>
                <a:gd name="T101" fmla="*/ 0 h 45"/>
                <a:gd name="T102" fmla="*/ 41 w 56"/>
                <a:gd name="T103" fmla="*/ 2 h 45"/>
                <a:gd name="T104" fmla="*/ 39 w 56"/>
                <a:gd name="T105" fmla="*/ 0 h 45"/>
                <a:gd name="T106" fmla="*/ 36 w 56"/>
                <a:gd name="T107" fmla="*/ 0 h 45"/>
                <a:gd name="T108" fmla="*/ 34 w 56"/>
                <a:gd name="T109" fmla="*/ 0 h 45"/>
                <a:gd name="T110" fmla="*/ 36 w 56"/>
                <a:gd name="T111"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6" h="45">
                  <a:moveTo>
                    <a:pt x="34" y="28"/>
                  </a:moveTo>
                  <a:lnTo>
                    <a:pt x="31" y="28"/>
                  </a:lnTo>
                  <a:lnTo>
                    <a:pt x="28" y="25"/>
                  </a:lnTo>
                  <a:lnTo>
                    <a:pt x="26" y="25"/>
                  </a:lnTo>
                  <a:lnTo>
                    <a:pt x="26" y="25"/>
                  </a:lnTo>
                  <a:lnTo>
                    <a:pt x="23" y="25"/>
                  </a:lnTo>
                  <a:lnTo>
                    <a:pt x="28" y="28"/>
                  </a:lnTo>
                  <a:lnTo>
                    <a:pt x="34" y="30"/>
                  </a:lnTo>
                  <a:lnTo>
                    <a:pt x="34" y="28"/>
                  </a:lnTo>
                  <a:close/>
                  <a:moveTo>
                    <a:pt x="56" y="17"/>
                  </a:moveTo>
                  <a:lnTo>
                    <a:pt x="56" y="15"/>
                  </a:lnTo>
                  <a:lnTo>
                    <a:pt x="56" y="15"/>
                  </a:lnTo>
                  <a:lnTo>
                    <a:pt x="56" y="12"/>
                  </a:lnTo>
                  <a:lnTo>
                    <a:pt x="56" y="7"/>
                  </a:lnTo>
                  <a:lnTo>
                    <a:pt x="56" y="7"/>
                  </a:lnTo>
                  <a:lnTo>
                    <a:pt x="56" y="7"/>
                  </a:lnTo>
                  <a:lnTo>
                    <a:pt x="54" y="7"/>
                  </a:lnTo>
                  <a:lnTo>
                    <a:pt x="49" y="7"/>
                  </a:lnTo>
                  <a:lnTo>
                    <a:pt x="44" y="5"/>
                  </a:lnTo>
                  <a:lnTo>
                    <a:pt x="41" y="2"/>
                  </a:lnTo>
                  <a:lnTo>
                    <a:pt x="36" y="2"/>
                  </a:lnTo>
                  <a:lnTo>
                    <a:pt x="31" y="2"/>
                  </a:lnTo>
                  <a:lnTo>
                    <a:pt x="28" y="5"/>
                  </a:lnTo>
                  <a:lnTo>
                    <a:pt x="26" y="5"/>
                  </a:lnTo>
                  <a:lnTo>
                    <a:pt x="26" y="5"/>
                  </a:lnTo>
                  <a:lnTo>
                    <a:pt x="23" y="7"/>
                  </a:lnTo>
                  <a:lnTo>
                    <a:pt x="23" y="10"/>
                  </a:lnTo>
                  <a:lnTo>
                    <a:pt x="26" y="10"/>
                  </a:lnTo>
                  <a:lnTo>
                    <a:pt x="31" y="10"/>
                  </a:lnTo>
                  <a:lnTo>
                    <a:pt x="34" y="12"/>
                  </a:lnTo>
                  <a:lnTo>
                    <a:pt x="39" y="12"/>
                  </a:lnTo>
                  <a:lnTo>
                    <a:pt x="36" y="15"/>
                  </a:lnTo>
                  <a:lnTo>
                    <a:pt x="36" y="17"/>
                  </a:lnTo>
                  <a:lnTo>
                    <a:pt x="36" y="20"/>
                  </a:lnTo>
                  <a:lnTo>
                    <a:pt x="34" y="22"/>
                  </a:lnTo>
                  <a:lnTo>
                    <a:pt x="36" y="25"/>
                  </a:lnTo>
                  <a:lnTo>
                    <a:pt x="41" y="30"/>
                  </a:lnTo>
                  <a:lnTo>
                    <a:pt x="41" y="30"/>
                  </a:lnTo>
                  <a:lnTo>
                    <a:pt x="41" y="33"/>
                  </a:lnTo>
                  <a:lnTo>
                    <a:pt x="41" y="33"/>
                  </a:lnTo>
                  <a:lnTo>
                    <a:pt x="41" y="33"/>
                  </a:lnTo>
                  <a:lnTo>
                    <a:pt x="36" y="33"/>
                  </a:lnTo>
                  <a:lnTo>
                    <a:pt x="36" y="35"/>
                  </a:lnTo>
                  <a:lnTo>
                    <a:pt x="36" y="35"/>
                  </a:lnTo>
                  <a:lnTo>
                    <a:pt x="34" y="35"/>
                  </a:lnTo>
                  <a:lnTo>
                    <a:pt x="34" y="35"/>
                  </a:lnTo>
                  <a:lnTo>
                    <a:pt x="31" y="35"/>
                  </a:lnTo>
                  <a:lnTo>
                    <a:pt x="18" y="35"/>
                  </a:lnTo>
                  <a:lnTo>
                    <a:pt x="16" y="33"/>
                  </a:lnTo>
                  <a:lnTo>
                    <a:pt x="13" y="33"/>
                  </a:lnTo>
                  <a:lnTo>
                    <a:pt x="11" y="33"/>
                  </a:lnTo>
                  <a:lnTo>
                    <a:pt x="8" y="33"/>
                  </a:lnTo>
                  <a:lnTo>
                    <a:pt x="6" y="30"/>
                  </a:lnTo>
                  <a:lnTo>
                    <a:pt x="3" y="30"/>
                  </a:lnTo>
                  <a:lnTo>
                    <a:pt x="3" y="33"/>
                  </a:lnTo>
                  <a:lnTo>
                    <a:pt x="0" y="35"/>
                  </a:lnTo>
                  <a:lnTo>
                    <a:pt x="0" y="38"/>
                  </a:lnTo>
                  <a:lnTo>
                    <a:pt x="0" y="38"/>
                  </a:lnTo>
                  <a:lnTo>
                    <a:pt x="6" y="40"/>
                  </a:lnTo>
                  <a:lnTo>
                    <a:pt x="6" y="40"/>
                  </a:lnTo>
                  <a:lnTo>
                    <a:pt x="8" y="43"/>
                  </a:lnTo>
                  <a:lnTo>
                    <a:pt x="11" y="45"/>
                  </a:lnTo>
                  <a:lnTo>
                    <a:pt x="11" y="45"/>
                  </a:lnTo>
                  <a:lnTo>
                    <a:pt x="11" y="43"/>
                  </a:lnTo>
                  <a:lnTo>
                    <a:pt x="13" y="43"/>
                  </a:lnTo>
                  <a:lnTo>
                    <a:pt x="16" y="40"/>
                  </a:lnTo>
                  <a:lnTo>
                    <a:pt x="18" y="40"/>
                  </a:lnTo>
                  <a:lnTo>
                    <a:pt x="21" y="40"/>
                  </a:lnTo>
                  <a:lnTo>
                    <a:pt x="23" y="40"/>
                  </a:lnTo>
                  <a:lnTo>
                    <a:pt x="26" y="40"/>
                  </a:lnTo>
                  <a:lnTo>
                    <a:pt x="31" y="43"/>
                  </a:lnTo>
                  <a:lnTo>
                    <a:pt x="34" y="43"/>
                  </a:lnTo>
                  <a:lnTo>
                    <a:pt x="36" y="43"/>
                  </a:lnTo>
                  <a:lnTo>
                    <a:pt x="36" y="43"/>
                  </a:lnTo>
                  <a:lnTo>
                    <a:pt x="36" y="40"/>
                  </a:lnTo>
                  <a:lnTo>
                    <a:pt x="39" y="40"/>
                  </a:lnTo>
                  <a:lnTo>
                    <a:pt x="46" y="40"/>
                  </a:lnTo>
                  <a:lnTo>
                    <a:pt x="49" y="40"/>
                  </a:lnTo>
                  <a:lnTo>
                    <a:pt x="49" y="43"/>
                  </a:lnTo>
                  <a:lnTo>
                    <a:pt x="51" y="43"/>
                  </a:lnTo>
                  <a:lnTo>
                    <a:pt x="51" y="45"/>
                  </a:lnTo>
                  <a:lnTo>
                    <a:pt x="51" y="40"/>
                  </a:lnTo>
                  <a:lnTo>
                    <a:pt x="54" y="40"/>
                  </a:lnTo>
                  <a:lnTo>
                    <a:pt x="54" y="38"/>
                  </a:lnTo>
                  <a:lnTo>
                    <a:pt x="51" y="38"/>
                  </a:lnTo>
                  <a:lnTo>
                    <a:pt x="49" y="35"/>
                  </a:lnTo>
                  <a:lnTo>
                    <a:pt x="49" y="33"/>
                  </a:lnTo>
                  <a:lnTo>
                    <a:pt x="49" y="33"/>
                  </a:lnTo>
                  <a:lnTo>
                    <a:pt x="51" y="33"/>
                  </a:lnTo>
                  <a:lnTo>
                    <a:pt x="51" y="33"/>
                  </a:lnTo>
                  <a:lnTo>
                    <a:pt x="54" y="30"/>
                  </a:lnTo>
                  <a:lnTo>
                    <a:pt x="54" y="28"/>
                  </a:lnTo>
                  <a:lnTo>
                    <a:pt x="54" y="28"/>
                  </a:lnTo>
                  <a:lnTo>
                    <a:pt x="54" y="25"/>
                  </a:lnTo>
                  <a:lnTo>
                    <a:pt x="54" y="25"/>
                  </a:lnTo>
                  <a:lnTo>
                    <a:pt x="56" y="22"/>
                  </a:lnTo>
                  <a:lnTo>
                    <a:pt x="56" y="20"/>
                  </a:lnTo>
                  <a:lnTo>
                    <a:pt x="56" y="20"/>
                  </a:lnTo>
                  <a:lnTo>
                    <a:pt x="56" y="20"/>
                  </a:lnTo>
                  <a:lnTo>
                    <a:pt x="56" y="17"/>
                  </a:lnTo>
                  <a:close/>
                  <a:moveTo>
                    <a:pt x="36" y="0"/>
                  </a:moveTo>
                  <a:lnTo>
                    <a:pt x="36" y="0"/>
                  </a:lnTo>
                  <a:lnTo>
                    <a:pt x="39" y="0"/>
                  </a:lnTo>
                  <a:lnTo>
                    <a:pt x="41" y="2"/>
                  </a:lnTo>
                  <a:lnTo>
                    <a:pt x="41" y="0"/>
                  </a:lnTo>
                  <a:lnTo>
                    <a:pt x="39" y="0"/>
                  </a:lnTo>
                  <a:lnTo>
                    <a:pt x="39" y="0"/>
                  </a:lnTo>
                  <a:lnTo>
                    <a:pt x="36" y="0"/>
                  </a:lnTo>
                  <a:lnTo>
                    <a:pt x="36" y="0"/>
                  </a:lnTo>
                  <a:lnTo>
                    <a:pt x="34" y="0"/>
                  </a:lnTo>
                  <a:lnTo>
                    <a:pt x="36" y="0"/>
                  </a:lnTo>
                  <a:lnTo>
                    <a:pt x="36" y="0"/>
                  </a:lnTo>
                  <a:close/>
                </a:path>
              </a:pathLst>
            </a:custGeom>
            <a:solidFill>
              <a:schemeClr val="bg2">
                <a:lumMod val="60000"/>
                <a:lumOff val="40000"/>
              </a:schemeClr>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301" name="Freeform 1920">
              <a:extLst>
                <a:ext uri="{FF2B5EF4-FFF2-40B4-BE49-F238E27FC236}">
                  <a16:creationId xmlns:a16="http://schemas.microsoft.com/office/drawing/2014/main" id="{E707D0FC-A260-DF4E-9AE5-7E5DFA70F475}"/>
                </a:ext>
              </a:extLst>
            </p:cNvPr>
            <p:cNvSpPr>
              <a:spLocks/>
            </p:cNvSpPr>
            <p:nvPr/>
          </p:nvSpPr>
          <p:spPr bwMode="auto">
            <a:xfrm>
              <a:off x="3595008" y="3485432"/>
              <a:ext cx="153759" cy="269897"/>
            </a:xfrm>
            <a:custGeom>
              <a:avLst/>
              <a:gdLst>
                <a:gd name="T0" fmla="*/ 89 w 94"/>
                <a:gd name="T1" fmla="*/ 145 h 165"/>
                <a:gd name="T2" fmla="*/ 87 w 94"/>
                <a:gd name="T3" fmla="*/ 137 h 165"/>
                <a:gd name="T4" fmla="*/ 84 w 94"/>
                <a:gd name="T5" fmla="*/ 132 h 165"/>
                <a:gd name="T6" fmla="*/ 82 w 94"/>
                <a:gd name="T7" fmla="*/ 129 h 165"/>
                <a:gd name="T8" fmla="*/ 82 w 94"/>
                <a:gd name="T9" fmla="*/ 124 h 165"/>
                <a:gd name="T10" fmla="*/ 79 w 94"/>
                <a:gd name="T11" fmla="*/ 117 h 165"/>
                <a:gd name="T12" fmla="*/ 74 w 94"/>
                <a:gd name="T13" fmla="*/ 117 h 165"/>
                <a:gd name="T14" fmla="*/ 71 w 94"/>
                <a:gd name="T15" fmla="*/ 112 h 165"/>
                <a:gd name="T16" fmla="*/ 64 w 94"/>
                <a:gd name="T17" fmla="*/ 99 h 165"/>
                <a:gd name="T18" fmla="*/ 69 w 94"/>
                <a:gd name="T19" fmla="*/ 91 h 165"/>
                <a:gd name="T20" fmla="*/ 69 w 94"/>
                <a:gd name="T21" fmla="*/ 84 h 165"/>
                <a:gd name="T22" fmla="*/ 71 w 94"/>
                <a:gd name="T23" fmla="*/ 78 h 165"/>
                <a:gd name="T24" fmla="*/ 82 w 94"/>
                <a:gd name="T25" fmla="*/ 78 h 165"/>
                <a:gd name="T26" fmla="*/ 82 w 94"/>
                <a:gd name="T27" fmla="*/ 73 h 165"/>
                <a:gd name="T28" fmla="*/ 82 w 94"/>
                <a:gd name="T29" fmla="*/ 71 h 165"/>
                <a:gd name="T30" fmla="*/ 84 w 94"/>
                <a:gd name="T31" fmla="*/ 58 h 165"/>
                <a:gd name="T32" fmla="*/ 76 w 94"/>
                <a:gd name="T33" fmla="*/ 45 h 165"/>
                <a:gd name="T34" fmla="*/ 61 w 94"/>
                <a:gd name="T35" fmla="*/ 38 h 165"/>
                <a:gd name="T36" fmla="*/ 54 w 94"/>
                <a:gd name="T37" fmla="*/ 48 h 165"/>
                <a:gd name="T38" fmla="*/ 59 w 94"/>
                <a:gd name="T39" fmla="*/ 28 h 165"/>
                <a:gd name="T40" fmla="*/ 46 w 94"/>
                <a:gd name="T41" fmla="*/ 10 h 165"/>
                <a:gd name="T42" fmla="*/ 33 w 94"/>
                <a:gd name="T43" fmla="*/ 5 h 165"/>
                <a:gd name="T44" fmla="*/ 33 w 94"/>
                <a:gd name="T45" fmla="*/ 5 h 165"/>
                <a:gd name="T46" fmla="*/ 25 w 94"/>
                <a:gd name="T47" fmla="*/ 12 h 165"/>
                <a:gd name="T48" fmla="*/ 18 w 94"/>
                <a:gd name="T49" fmla="*/ 17 h 165"/>
                <a:gd name="T50" fmla="*/ 15 w 94"/>
                <a:gd name="T51" fmla="*/ 25 h 165"/>
                <a:gd name="T52" fmla="*/ 18 w 94"/>
                <a:gd name="T53" fmla="*/ 30 h 165"/>
                <a:gd name="T54" fmla="*/ 20 w 94"/>
                <a:gd name="T55" fmla="*/ 33 h 165"/>
                <a:gd name="T56" fmla="*/ 13 w 94"/>
                <a:gd name="T57" fmla="*/ 40 h 165"/>
                <a:gd name="T58" fmla="*/ 8 w 94"/>
                <a:gd name="T59" fmla="*/ 40 h 165"/>
                <a:gd name="T60" fmla="*/ 5 w 94"/>
                <a:gd name="T61" fmla="*/ 45 h 165"/>
                <a:gd name="T62" fmla="*/ 3 w 94"/>
                <a:gd name="T63" fmla="*/ 53 h 165"/>
                <a:gd name="T64" fmla="*/ 8 w 94"/>
                <a:gd name="T65" fmla="*/ 68 h 165"/>
                <a:gd name="T66" fmla="*/ 18 w 94"/>
                <a:gd name="T67" fmla="*/ 76 h 165"/>
                <a:gd name="T68" fmla="*/ 25 w 94"/>
                <a:gd name="T69" fmla="*/ 76 h 165"/>
                <a:gd name="T70" fmla="*/ 25 w 94"/>
                <a:gd name="T71" fmla="*/ 84 h 165"/>
                <a:gd name="T72" fmla="*/ 23 w 94"/>
                <a:gd name="T73" fmla="*/ 91 h 165"/>
                <a:gd name="T74" fmla="*/ 31 w 94"/>
                <a:gd name="T75" fmla="*/ 91 h 165"/>
                <a:gd name="T76" fmla="*/ 31 w 94"/>
                <a:gd name="T77" fmla="*/ 96 h 165"/>
                <a:gd name="T78" fmla="*/ 36 w 94"/>
                <a:gd name="T79" fmla="*/ 104 h 165"/>
                <a:gd name="T80" fmla="*/ 33 w 94"/>
                <a:gd name="T81" fmla="*/ 109 h 165"/>
                <a:gd name="T82" fmla="*/ 28 w 94"/>
                <a:gd name="T83" fmla="*/ 117 h 165"/>
                <a:gd name="T84" fmla="*/ 25 w 94"/>
                <a:gd name="T85" fmla="*/ 132 h 165"/>
                <a:gd name="T86" fmla="*/ 31 w 94"/>
                <a:gd name="T87" fmla="*/ 145 h 165"/>
                <a:gd name="T88" fmla="*/ 31 w 94"/>
                <a:gd name="T89" fmla="*/ 152 h 165"/>
                <a:gd name="T90" fmla="*/ 36 w 94"/>
                <a:gd name="T91" fmla="*/ 155 h 165"/>
                <a:gd name="T92" fmla="*/ 43 w 94"/>
                <a:gd name="T93" fmla="*/ 162 h 165"/>
                <a:gd name="T94" fmla="*/ 48 w 94"/>
                <a:gd name="T95" fmla="*/ 165 h 165"/>
                <a:gd name="T96" fmla="*/ 56 w 94"/>
                <a:gd name="T97" fmla="*/ 162 h 165"/>
                <a:gd name="T98" fmla="*/ 56 w 94"/>
                <a:gd name="T99" fmla="*/ 157 h 165"/>
                <a:gd name="T100" fmla="*/ 61 w 94"/>
                <a:gd name="T101" fmla="*/ 157 h 165"/>
                <a:gd name="T102" fmla="*/ 64 w 94"/>
                <a:gd name="T103" fmla="*/ 157 h 165"/>
                <a:gd name="T104" fmla="*/ 69 w 94"/>
                <a:gd name="T105" fmla="*/ 155 h 165"/>
                <a:gd name="T106" fmla="*/ 76 w 94"/>
                <a:gd name="T107" fmla="*/ 150 h 165"/>
                <a:gd name="T108" fmla="*/ 82 w 94"/>
                <a:gd name="T109" fmla="*/ 147 h 165"/>
                <a:gd name="T110" fmla="*/ 89 w 94"/>
                <a:gd name="T111" fmla="*/ 150 h 165"/>
                <a:gd name="T112" fmla="*/ 94 w 94"/>
                <a:gd name="T113" fmla="*/ 150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65">
                  <a:moveTo>
                    <a:pt x="94" y="147"/>
                  </a:moveTo>
                  <a:lnTo>
                    <a:pt x="94" y="147"/>
                  </a:lnTo>
                  <a:lnTo>
                    <a:pt x="92" y="147"/>
                  </a:lnTo>
                  <a:lnTo>
                    <a:pt x="92" y="147"/>
                  </a:lnTo>
                  <a:lnTo>
                    <a:pt x="89" y="145"/>
                  </a:lnTo>
                  <a:lnTo>
                    <a:pt x="89" y="142"/>
                  </a:lnTo>
                  <a:lnTo>
                    <a:pt x="89" y="142"/>
                  </a:lnTo>
                  <a:lnTo>
                    <a:pt x="87" y="140"/>
                  </a:lnTo>
                  <a:lnTo>
                    <a:pt x="87" y="140"/>
                  </a:lnTo>
                  <a:lnTo>
                    <a:pt x="87" y="137"/>
                  </a:lnTo>
                  <a:lnTo>
                    <a:pt x="87" y="137"/>
                  </a:lnTo>
                  <a:lnTo>
                    <a:pt x="87" y="134"/>
                  </a:lnTo>
                  <a:lnTo>
                    <a:pt x="84" y="134"/>
                  </a:lnTo>
                  <a:lnTo>
                    <a:pt x="84" y="132"/>
                  </a:lnTo>
                  <a:lnTo>
                    <a:pt x="84" y="132"/>
                  </a:lnTo>
                  <a:lnTo>
                    <a:pt x="84" y="132"/>
                  </a:lnTo>
                  <a:lnTo>
                    <a:pt x="84" y="129"/>
                  </a:lnTo>
                  <a:lnTo>
                    <a:pt x="84" y="129"/>
                  </a:lnTo>
                  <a:lnTo>
                    <a:pt x="84" y="129"/>
                  </a:lnTo>
                  <a:lnTo>
                    <a:pt x="82" y="129"/>
                  </a:lnTo>
                  <a:lnTo>
                    <a:pt x="82" y="129"/>
                  </a:lnTo>
                  <a:lnTo>
                    <a:pt x="82" y="127"/>
                  </a:lnTo>
                  <a:lnTo>
                    <a:pt x="82" y="127"/>
                  </a:lnTo>
                  <a:lnTo>
                    <a:pt x="82" y="124"/>
                  </a:lnTo>
                  <a:lnTo>
                    <a:pt x="82" y="124"/>
                  </a:lnTo>
                  <a:lnTo>
                    <a:pt x="82" y="122"/>
                  </a:lnTo>
                  <a:lnTo>
                    <a:pt x="82" y="122"/>
                  </a:lnTo>
                  <a:lnTo>
                    <a:pt x="79" y="122"/>
                  </a:lnTo>
                  <a:lnTo>
                    <a:pt x="79" y="119"/>
                  </a:lnTo>
                  <a:lnTo>
                    <a:pt x="79" y="117"/>
                  </a:lnTo>
                  <a:lnTo>
                    <a:pt x="79" y="117"/>
                  </a:lnTo>
                  <a:lnTo>
                    <a:pt x="76" y="117"/>
                  </a:lnTo>
                  <a:lnTo>
                    <a:pt x="76" y="117"/>
                  </a:lnTo>
                  <a:lnTo>
                    <a:pt x="76" y="117"/>
                  </a:lnTo>
                  <a:lnTo>
                    <a:pt x="74" y="117"/>
                  </a:lnTo>
                  <a:lnTo>
                    <a:pt x="74" y="117"/>
                  </a:lnTo>
                  <a:lnTo>
                    <a:pt x="74" y="117"/>
                  </a:lnTo>
                  <a:lnTo>
                    <a:pt x="71" y="114"/>
                  </a:lnTo>
                  <a:lnTo>
                    <a:pt x="74" y="114"/>
                  </a:lnTo>
                  <a:lnTo>
                    <a:pt x="71" y="112"/>
                  </a:lnTo>
                  <a:lnTo>
                    <a:pt x="69" y="109"/>
                  </a:lnTo>
                  <a:lnTo>
                    <a:pt x="69" y="106"/>
                  </a:lnTo>
                  <a:lnTo>
                    <a:pt x="69" y="106"/>
                  </a:lnTo>
                  <a:lnTo>
                    <a:pt x="66" y="101"/>
                  </a:lnTo>
                  <a:lnTo>
                    <a:pt x="64" y="99"/>
                  </a:lnTo>
                  <a:lnTo>
                    <a:pt x="66" y="99"/>
                  </a:lnTo>
                  <a:lnTo>
                    <a:pt x="66" y="96"/>
                  </a:lnTo>
                  <a:lnTo>
                    <a:pt x="66" y="94"/>
                  </a:lnTo>
                  <a:lnTo>
                    <a:pt x="69" y="91"/>
                  </a:lnTo>
                  <a:lnTo>
                    <a:pt x="69" y="91"/>
                  </a:lnTo>
                  <a:lnTo>
                    <a:pt x="69" y="89"/>
                  </a:lnTo>
                  <a:lnTo>
                    <a:pt x="69" y="86"/>
                  </a:lnTo>
                  <a:lnTo>
                    <a:pt x="69" y="86"/>
                  </a:lnTo>
                  <a:lnTo>
                    <a:pt x="69" y="84"/>
                  </a:lnTo>
                  <a:lnTo>
                    <a:pt x="69" y="84"/>
                  </a:lnTo>
                  <a:lnTo>
                    <a:pt x="69" y="81"/>
                  </a:lnTo>
                  <a:lnTo>
                    <a:pt x="69" y="81"/>
                  </a:lnTo>
                  <a:lnTo>
                    <a:pt x="71" y="81"/>
                  </a:lnTo>
                  <a:lnTo>
                    <a:pt x="71" y="81"/>
                  </a:lnTo>
                  <a:lnTo>
                    <a:pt x="71" y="78"/>
                  </a:lnTo>
                  <a:lnTo>
                    <a:pt x="74" y="78"/>
                  </a:lnTo>
                  <a:lnTo>
                    <a:pt x="76" y="78"/>
                  </a:lnTo>
                  <a:lnTo>
                    <a:pt x="79" y="78"/>
                  </a:lnTo>
                  <a:lnTo>
                    <a:pt x="79" y="78"/>
                  </a:lnTo>
                  <a:lnTo>
                    <a:pt x="82" y="78"/>
                  </a:lnTo>
                  <a:lnTo>
                    <a:pt x="82" y="76"/>
                  </a:lnTo>
                  <a:lnTo>
                    <a:pt x="82" y="76"/>
                  </a:lnTo>
                  <a:lnTo>
                    <a:pt x="82" y="76"/>
                  </a:lnTo>
                  <a:lnTo>
                    <a:pt x="82" y="76"/>
                  </a:lnTo>
                  <a:lnTo>
                    <a:pt x="82" y="73"/>
                  </a:lnTo>
                  <a:lnTo>
                    <a:pt x="82" y="73"/>
                  </a:lnTo>
                  <a:lnTo>
                    <a:pt x="82" y="73"/>
                  </a:lnTo>
                  <a:lnTo>
                    <a:pt x="82" y="73"/>
                  </a:lnTo>
                  <a:lnTo>
                    <a:pt x="82" y="71"/>
                  </a:lnTo>
                  <a:lnTo>
                    <a:pt x="82" y="71"/>
                  </a:lnTo>
                  <a:lnTo>
                    <a:pt x="82" y="68"/>
                  </a:lnTo>
                  <a:lnTo>
                    <a:pt x="82" y="68"/>
                  </a:lnTo>
                  <a:lnTo>
                    <a:pt x="84" y="66"/>
                  </a:lnTo>
                  <a:lnTo>
                    <a:pt x="84" y="66"/>
                  </a:lnTo>
                  <a:lnTo>
                    <a:pt x="84" y="58"/>
                  </a:lnTo>
                  <a:lnTo>
                    <a:pt x="84" y="56"/>
                  </a:lnTo>
                  <a:lnTo>
                    <a:pt x="84" y="53"/>
                  </a:lnTo>
                  <a:lnTo>
                    <a:pt x="82" y="51"/>
                  </a:lnTo>
                  <a:lnTo>
                    <a:pt x="76" y="48"/>
                  </a:lnTo>
                  <a:lnTo>
                    <a:pt x="76" y="45"/>
                  </a:lnTo>
                  <a:lnTo>
                    <a:pt x="71" y="43"/>
                  </a:lnTo>
                  <a:lnTo>
                    <a:pt x="69" y="38"/>
                  </a:lnTo>
                  <a:lnTo>
                    <a:pt x="66" y="38"/>
                  </a:lnTo>
                  <a:lnTo>
                    <a:pt x="64" y="38"/>
                  </a:lnTo>
                  <a:lnTo>
                    <a:pt x="61" y="38"/>
                  </a:lnTo>
                  <a:lnTo>
                    <a:pt x="59" y="38"/>
                  </a:lnTo>
                  <a:lnTo>
                    <a:pt x="59" y="40"/>
                  </a:lnTo>
                  <a:lnTo>
                    <a:pt x="56" y="43"/>
                  </a:lnTo>
                  <a:lnTo>
                    <a:pt x="56" y="45"/>
                  </a:lnTo>
                  <a:lnTo>
                    <a:pt x="54" y="48"/>
                  </a:lnTo>
                  <a:lnTo>
                    <a:pt x="56" y="45"/>
                  </a:lnTo>
                  <a:lnTo>
                    <a:pt x="56" y="40"/>
                  </a:lnTo>
                  <a:lnTo>
                    <a:pt x="56" y="38"/>
                  </a:lnTo>
                  <a:lnTo>
                    <a:pt x="59" y="33"/>
                  </a:lnTo>
                  <a:lnTo>
                    <a:pt x="59" y="28"/>
                  </a:lnTo>
                  <a:lnTo>
                    <a:pt x="59" y="25"/>
                  </a:lnTo>
                  <a:lnTo>
                    <a:pt x="56" y="23"/>
                  </a:lnTo>
                  <a:lnTo>
                    <a:pt x="54" y="20"/>
                  </a:lnTo>
                  <a:lnTo>
                    <a:pt x="54" y="17"/>
                  </a:lnTo>
                  <a:lnTo>
                    <a:pt x="46" y="10"/>
                  </a:lnTo>
                  <a:lnTo>
                    <a:pt x="41" y="5"/>
                  </a:lnTo>
                  <a:lnTo>
                    <a:pt x="36" y="2"/>
                  </a:lnTo>
                  <a:lnTo>
                    <a:pt x="36" y="2"/>
                  </a:lnTo>
                  <a:lnTo>
                    <a:pt x="36" y="5"/>
                  </a:lnTo>
                  <a:lnTo>
                    <a:pt x="33" y="5"/>
                  </a:lnTo>
                  <a:lnTo>
                    <a:pt x="33" y="2"/>
                  </a:lnTo>
                  <a:lnTo>
                    <a:pt x="31" y="0"/>
                  </a:lnTo>
                  <a:lnTo>
                    <a:pt x="28" y="0"/>
                  </a:lnTo>
                  <a:lnTo>
                    <a:pt x="33" y="5"/>
                  </a:lnTo>
                  <a:lnTo>
                    <a:pt x="33" y="5"/>
                  </a:lnTo>
                  <a:lnTo>
                    <a:pt x="33" y="5"/>
                  </a:lnTo>
                  <a:lnTo>
                    <a:pt x="31" y="7"/>
                  </a:lnTo>
                  <a:lnTo>
                    <a:pt x="28" y="7"/>
                  </a:lnTo>
                  <a:lnTo>
                    <a:pt x="28" y="10"/>
                  </a:lnTo>
                  <a:lnTo>
                    <a:pt x="25" y="12"/>
                  </a:lnTo>
                  <a:lnTo>
                    <a:pt x="23" y="12"/>
                  </a:lnTo>
                  <a:lnTo>
                    <a:pt x="23" y="15"/>
                  </a:lnTo>
                  <a:lnTo>
                    <a:pt x="20" y="15"/>
                  </a:lnTo>
                  <a:lnTo>
                    <a:pt x="18" y="15"/>
                  </a:lnTo>
                  <a:lnTo>
                    <a:pt x="18" y="17"/>
                  </a:lnTo>
                  <a:lnTo>
                    <a:pt x="15" y="20"/>
                  </a:lnTo>
                  <a:lnTo>
                    <a:pt x="15" y="20"/>
                  </a:lnTo>
                  <a:lnTo>
                    <a:pt x="15" y="23"/>
                  </a:lnTo>
                  <a:lnTo>
                    <a:pt x="15" y="23"/>
                  </a:lnTo>
                  <a:lnTo>
                    <a:pt x="15" y="25"/>
                  </a:lnTo>
                  <a:lnTo>
                    <a:pt x="15" y="28"/>
                  </a:lnTo>
                  <a:lnTo>
                    <a:pt x="15" y="28"/>
                  </a:lnTo>
                  <a:lnTo>
                    <a:pt x="15" y="30"/>
                  </a:lnTo>
                  <a:lnTo>
                    <a:pt x="15" y="30"/>
                  </a:lnTo>
                  <a:lnTo>
                    <a:pt x="18" y="30"/>
                  </a:lnTo>
                  <a:lnTo>
                    <a:pt x="18" y="30"/>
                  </a:lnTo>
                  <a:lnTo>
                    <a:pt x="20" y="30"/>
                  </a:lnTo>
                  <a:lnTo>
                    <a:pt x="20" y="30"/>
                  </a:lnTo>
                  <a:lnTo>
                    <a:pt x="20" y="30"/>
                  </a:lnTo>
                  <a:lnTo>
                    <a:pt x="20" y="33"/>
                  </a:lnTo>
                  <a:lnTo>
                    <a:pt x="20" y="35"/>
                  </a:lnTo>
                  <a:lnTo>
                    <a:pt x="20" y="35"/>
                  </a:lnTo>
                  <a:lnTo>
                    <a:pt x="15" y="38"/>
                  </a:lnTo>
                  <a:lnTo>
                    <a:pt x="15" y="38"/>
                  </a:lnTo>
                  <a:lnTo>
                    <a:pt x="13" y="40"/>
                  </a:lnTo>
                  <a:lnTo>
                    <a:pt x="10" y="38"/>
                  </a:lnTo>
                  <a:lnTo>
                    <a:pt x="10" y="38"/>
                  </a:lnTo>
                  <a:lnTo>
                    <a:pt x="10" y="40"/>
                  </a:lnTo>
                  <a:lnTo>
                    <a:pt x="10" y="40"/>
                  </a:lnTo>
                  <a:lnTo>
                    <a:pt x="8" y="40"/>
                  </a:lnTo>
                  <a:lnTo>
                    <a:pt x="5" y="40"/>
                  </a:lnTo>
                  <a:lnTo>
                    <a:pt x="5" y="40"/>
                  </a:lnTo>
                  <a:lnTo>
                    <a:pt x="5" y="43"/>
                  </a:lnTo>
                  <a:lnTo>
                    <a:pt x="3" y="43"/>
                  </a:lnTo>
                  <a:lnTo>
                    <a:pt x="5" y="45"/>
                  </a:lnTo>
                  <a:lnTo>
                    <a:pt x="5" y="45"/>
                  </a:lnTo>
                  <a:lnTo>
                    <a:pt x="5" y="48"/>
                  </a:lnTo>
                  <a:lnTo>
                    <a:pt x="5" y="53"/>
                  </a:lnTo>
                  <a:lnTo>
                    <a:pt x="5" y="53"/>
                  </a:lnTo>
                  <a:lnTo>
                    <a:pt x="3" y="53"/>
                  </a:lnTo>
                  <a:lnTo>
                    <a:pt x="0" y="56"/>
                  </a:lnTo>
                  <a:lnTo>
                    <a:pt x="0" y="58"/>
                  </a:lnTo>
                  <a:lnTo>
                    <a:pt x="0" y="58"/>
                  </a:lnTo>
                  <a:lnTo>
                    <a:pt x="3" y="63"/>
                  </a:lnTo>
                  <a:lnTo>
                    <a:pt x="8" y="68"/>
                  </a:lnTo>
                  <a:lnTo>
                    <a:pt x="13" y="76"/>
                  </a:lnTo>
                  <a:lnTo>
                    <a:pt x="13" y="73"/>
                  </a:lnTo>
                  <a:lnTo>
                    <a:pt x="15" y="76"/>
                  </a:lnTo>
                  <a:lnTo>
                    <a:pt x="18" y="76"/>
                  </a:lnTo>
                  <a:lnTo>
                    <a:pt x="18" y="76"/>
                  </a:lnTo>
                  <a:lnTo>
                    <a:pt x="20" y="76"/>
                  </a:lnTo>
                  <a:lnTo>
                    <a:pt x="23" y="73"/>
                  </a:lnTo>
                  <a:lnTo>
                    <a:pt x="23" y="73"/>
                  </a:lnTo>
                  <a:lnTo>
                    <a:pt x="23" y="73"/>
                  </a:lnTo>
                  <a:lnTo>
                    <a:pt x="25" y="76"/>
                  </a:lnTo>
                  <a:lnTo>
                    <a:pt x="25" y="76"/>
                  </a:lnTo>
                  <a:lnTo>
                    <a:pt x="25" y="78"/>
                  </a:lnTo>
                  <a:lnTo>
                    <a:pt x="25" y="78"/>
                  </a:lnTo>
                  <a:lnTo>
                    <a:pt x="25" y="81"/>
                  </a:lnTo>
                  <a:lnTo>
                    <a:pt x="25" y="84"/>
                  </a:lnTo>
                  <a:lnTo>
                    <a:pt x="25" y="86"/>
                  </a:lnTo>
                  <a:lnTo>
                    <a:pt x="25" y="86"/>
                  </a:lnTo>
                  <a:lnTo>
                    <a:pt x="23" y="89"/>
                  </a:lnTo>
                  <a:lnTo>
                    <a:pt x="23" y="89"/>
                  </a:lnTo>
                  <a:lnTo>
                    <a:pt x="23" y="91"/>
                  </a:lnTo>
                  <a:lnTo>
                    <a:pt x="23" y="91"/>
                  </a:lnTo>
                  <a:lnTo>
                    <a:pt x="25" y="91"/>
                  </a:lnTo>
                  <a:lnTo>
                    <a:pt x="28" y="91"/>
                  </a:lnTo>
                  <a:lnTo>
                    <a:pt x="28" y="91"/>
                  </a:lnTo>
                  <a:lnTo>
                    <a:pt x="31" y="91"/>
                  </a:lnTo>
                  <a:lnTo>
                    <a:pt x="31" y="94"/>
                  </a:lnTo>
                  <a:lnTo>
                    <a:pt x="33" y="94"/>
                  </a:lnTo>
                  <a:lnTo>
                    <a:pt x="33" y="94"/>
                  </a:lnTo>
                  <a:lnTo>
                    <a:pt x="31" y="96"/>
                  </a:lnTo>
                  <a:lnTo>
                    <a:pt x="31" y="96"/>
                  </a:lnTo>
                  <a:lnTo>
                    <a:pt x="31" y="99"/>
                  </a:lnTo>
                  <a:lnTo>
                    <a:pt x="33" y="99"/>
                  </a:lnTo>
                  <a:lnTo>
                    <a:pt x="33" y="101"/>
                  </a:lnTo>
                  <a:lnTo>
                    <a:pt x="33" y="104"/>
                  </a:lnTo>
                  <a:lnTo>
                    <a:pt x="36" y="104"/>
                  </a:lnTo>
                  <a:lnTo>
                    <a:pt x="36" y="104"/>
                  </a:lnTo>
                  <a:lnTo>
                    <a:pt x="33" y="104"/>
                  </a:lnTo>
                  <a:lnTo>
                    <a:pt x="33" y="106"/>
                  </a:lnTo>
                  <a:lnTo>
                    <a:pt x="33" y="109"/>
                  </a:lnTo>
                  <a:lnTo>
                    <a:pt x="33" y="109"/>
                  </a:lnTo>
                  <a:lnTo>
                    <a:pt x="31" y="109"/>
                  </a:lnTo>
                  <a:lnTo>
                    <a:pt x="28" y="112"/>
                  </a:lnTo>
                  <a:lnTo>
                    <a:pt x="28" y="114"/>
                  </a:lnTo>
                  <a:lnTo>
                    <a:pt x="28" y="117"/>
                  </a:lnTo>
                  <a:lnTo>
                    <a:pt x="28" y="117"/>
                  </a:lnTo>
                  <a:lnTo>
                    <a:pt x="28" y="119"/>
                  </a:lnTo>
                  <a:lnTo>
                    <a:pt x="25" y="122"/>
                  </a:lnTo>
                  <a:lnTo>
                    <a:pt x="25" y="124"/>
                  </a:lnTo>
                  <a:lnTo>
                    <a:pt x="25" y="129"/>
                  </a:lnTo>
                  <a:lnTo>
                    <a:pt x="25" y="132"/>
                  </a:lnTo>
                  <a:lnTo>
                    <a:pt x="25" y="134"/>
                  </a:lnTo>
                  <a:lnTo>
                    <a:pt x="28" y="140"/>
                  </a:lnTo>
                  <a:lnTo>
                    <a:pt x="28" y="140"/>
                  </a:lnTo>
                  <a:lnTo>
                    <a:pt x="31" y="142"/>
                  </a:lnTo>
                  <a:lnTo>
                    <a:pt x="31" y="145"/>
                  </a:lnTo>
                  <a:lnTo>
                    <a:pt x="31" y="150"/>
                  </a:lnTo>
                  <a:lnTo>
                    <a:pt x="31" y="150"/>
                  </a:lnTo>
                  <a:lnTo>
                    <a:pt x="31" y="150"/>
                  </a:lnTo>
                  <a:lnTo>
                    <a:pt x="31" y="150"/>
                  </a:lnTo>
                  <a:lnTo>
                    <a:pt x="31" y="152"/>
                  </a:lnTo>
                  <a:lnTo>
                    <a:pt x="31" y="152"/>
                  </a:lnTo>
                  <a:lnTo>
                    <a:pt x="31" y="152"/>
                  </a:lnTo>
                  <a:lnTo>
                    <a:pt x="33" y="155"/>
                  </a:lnTo>
                  <a:lnTo>
                    <a:pt x="33" y="155"/>
                  </a:lnTo>
                  <a:lnTo>
                    <a:pt x="36" y="155"/>
                  </a:lnTo>
                  <a:lnTo>
                    <a:pt x="38" y="157"/>
                  </a:lnTo>
                  <a:lnTo>
                    <a:pt x="38" y="160"/>
                  </a:lnTo>
                  <a:lnTo>
                    <a:pt x="38" y="160"/>
                  </a:lnTo>
                  <a:lnTo>
                    <a:pt x="41" y="162"/>
                  </a:lnTo>
                  <a:lnTo>
                    <a:pt x="43" y="162"/>
                  </a:lnTo>
                  <a:lnTo>
                    <a:pt x="46" y="162"/>
                  </a:lnTo>
                  <a:lnTo>
                    <a:pt x="46" y="165"/>
                  </a:lnTo>
                  <a:lnTo>
                    <a:pt x="48" y="165"/>
                  </a:lnTo>
                  <a:lnTo>
                    <a:pt x="48" y="165"/>
                  </a:lnTo>
                  <a:lnTo>
                    <a:pt x="48" y="165"/>
                  </a:lnTo>
                  <a:lnTo>
                    <a:pt x="51" y="165"/>
                  </a:lnTo>
                  <a:lnTo>
                    <a:pt x="51" y="165"/>
                  </a:lnTo>
                  <a:lnTo>
                    <a:pt x="54" y="165"/>
                  </a:lnTo>
                  <a:lnTo>
                    <a:pt x="54" y="165"/>
                  </a:lnTo>
                  <a:lnTo>
                    <a:pt x="56" y="162"/>
                  </a:lnTo>
                  <a:lnTo>
                    <a:pt x="56" y="162"/>
                  </a:lnTo>
                  <a:lnTo>
                    <a:pt x="54" y="160"/>
                  </a:lnTo>
                  <a:lnTo>
                    <a:pt x="56" y="160"/>
                  </a:lnTo>
                  <a:lnTo>
                    <a:pt x="56" y="160"/>
                  </a:lnTo>
                  <a:lnTo>
                    <a:pt x="56" y="157"/>
                  </a:lnTo>
                  <a:lnTo>
                    <a:pt x="59" y="157"/>
                  </a:lnTo>
                  <a:lnTo>
                    <a:pt x="59" y="157"/>
                  </a:lnTo>
                  <a:lnTo>
                    <a:pt x="59" y="157"/>
                  </a:lnTo>
                  <a:lnTo>
                    <a:pt x="59" y="157"/>
                  </a:lnTo>
                  <a:lnTo>
                    <a:pt x="61" y="157"/>
                  </a:lnTo>
                  <a:lnTo>
                    <a:pt x="61" y="157"/>
                  </a:lnTo>
                  <a:lnTo>
                    <a:pt x="61" y="157"/>
                  </a:lnTo>
                  <a:lnTo>
                    <a:pt x="64" y="160"/>
                  </a:lnTo>
                  <a:lnTo>
                    <a:pt x="64" y="157"/>
                  </a:lnTo>
                  <a:lnTo>
                    <a:pt x="64" y="157"/>
                  </a:lnTo>
                  <a:lnTo>
                    <a:pt x="66" y="157"/>
                  </a:lnTo>
                  <a:lnTo>
                    <a:pt x="66" y="155"/>
                  </a:lnTo>
                  <a:lnTo>
                    <a:pt x="66" y="155"/>
                  </a:lnTo>
                  <a:lnTo>
                    <a:pt x="66" y="155"/>
                  </a:lnTo>
                  <a:lnTo>
                    <a:pt x="69" y="155"/>
                  </a:lnTo>
                  <a:lnTo>
                    <a:pt x="71" y="155"/>
                  </a:lnTo>
                  <a:lnTo>
                    <a:pt x="74" y="155"/>
                  </a:lnTo>
                  <a:lnTo>
                    <a:pt x="74" y="155"/>
                  </a:lnTo>
                  <a:lnTo>
                    <a:pt x="74" y="152"/>
                  </a:lnTo>
                  <a:lnTo>
                    <a:pt x="76" y="150"/>
                  </a:lnTo>
                  <a:lnTo>
                    <a:pt x="79" y="150"/>
                  </a:lnTo>
                  <a:lnTo>
                    <a:pt x="79" y="147"/>
                  </a:lnTo>
                  <a:lnTo>
                    <a:pt x="79" y="150"/>
                  </a:lnTo>
                  <a:lnTo>
                    <a:pt x="82" y="147"/>
                  </a:lnTo>
                  <a:lnTo>
                    <a:pt x="82" y="147"/>
                  </a:lnTo>
                  <a:lnTo>
                    <a:pt x="84" y="147"/>
                  </a:lnTo>
                  <a:lnTo>
                    <a:pt x="84" y="150"/>
                  </a:lnTo>
                  <a:lnTo>
                    <a:pt x="84" y="150"/>
                  </a:lnTo>
                  <a:lnTo>
                    <a:pt x="87" y="150"/>
                  </a:lnTo>
                  <a:lnTo>
                    <a:pt x="89" y="150"/>
                  </a:lnTo>
                  <a:lnTo>
                    <a:pt x="89" y="150"/>
                  </a:lnTo>
                  <a:lnTo>
                    <a:pt x="92" y="150"/>
                  </a:lnTo>
                  <a:lnTo>
                    <a:pt x="92" y="150"/>
                  </a:lnTo>
                  <a:lnTo>
                    <a:pt x="94" y="150"/>
                  </a:lnTo>
                  <a:lnTo>
                    <a:pt x="94" y="150"/>
                  </a:lnTo>
                  <a:lnTo>
                    <a:pt x="94" y="150"/>
                  </a:lnTo>
                  <a:lnTo>
                    <a:pt x="94" y="147"/>
                  </a:lnTo>
                  <a:close/>
                </a:path>
              </a:pathLst>
            </a:custGeom>
            <a:solidFill>
              <a:schemeClr val="bg2">
                <a:lumMod val="60000"/>
                <a:lumOff val="40000"/>
              </a:schemeClr>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302" name="Freeform 1921">
              <a:extLst>
                <a:ext uri="{FF2B5EF4-FFF2-40B4-BE49-F238E27FC236}">
                  <a16:creationId xmlns:a16="http://schemas.microsoft.com/office/drawing/2014/main" id="{45B688BD-25D6-D64F-BA9B-ACEC5CC7B714}"/>
                </a:ext>
              </a:extLst>
            </p:cNvPr>
            <p:cNvSpPr>
              <a:spLocks noEditPoints="1"/>
            </p:cNvSpPr>
            <p:nvPr/>
          </p:nvSpPr>
          <p:spPr bwMode="auto">
            <a:xfrm>
              <a:off x="5067171" y="3330038"/>
              <a:ext cx="94873" cy="63794"/>
            </a:xfrm>
            <a:custGeom>
              <a:avLst/>
              <a:gdLst>
                <a:gd name="T0" fmla="*/ 12 w 58"/>
                <a:gd name="T1" fmla="*/ 34 h 39"/>
                <a:gd name="T2" fmla="*/ 12 w 58"/>
                <a:gd name="T3" fmla="*/ 36 h 39"/>
                <a:gd name="T4" fmla="*/ 15 w 58"/>
                <a:gd name="T5" fmla="*/ 34 h 39"/>
                <a:gd name="T6" fmla="*/ 10 w 58"/>
                <a:gd name="T7" fmla="*/ 34 h 39"/>
                <a:gd name="T8" fmla="*/ 7 w 58"/>
                <a:gd name="T9" fmla="*/ 36 h 39"/>
                <a:gd name="T10" fmla="*/ 7 w 58"/>
                <a:gd name="T11" fmla="*/ 36 h 39"/>
                <a:gd name="T12" fmla="*/ 10 w 58"/>
                <a:gd name="T13" fmla="*/ 36 h 39"/>
                <a:gd name="T14" fmla="*/ 17 w 58"/>
                <a:gd name="T15" fmla="*/ 31 h 39"/>
                <a:gd name="T16" fmla="*/ 17 w 58"/>
                <a:gd name="T17" fmla="*/ 34 h 39"/>
                <a:gd name="T18" fmla="*/ 17 w 58"/>
                <a:gd name="T19" fmla="*/ 34 h 39"/>
                <a:gd name="T20" fmla="*/ 20 w 58"/>
                <a:gd name="T21" fmla="*/ 31 h 39"/>
                <a:gd name="T22" fmla="*/ 12 w 58"/>
                <a:gd name="T23" fmla="*/ 26 h 39"/>
                <a:gd name="T24" fmla="*/ 12 w 58"/>
                <a:gd name="T25" fmla="*/ 28 h 39"/>
                <a:gd name="T26" fmla="*/ 12 w 58"/>
                <a:gd name="T27" fmla="*/ 23 h 39"/>
                <a:gd name="T28" fmla="*/ 20 w 58"/>
                <a:gd name="T29" fmla="*/ 26 h 39"/>
                <a:gd name="T30" fmla="*/ 23 w 58"/>
                <a:gd name="T31" fmla="*/ 26 h 39"/>
                <a:gd name="T32" fmla="*/ 12 w 58"/>
                <a:gd name="T33" fmla="*/ 18 h 39"/>
                <a:gd name="T34" fmla="*/ 10 w 58"/>
                <a:gd name="T35" fmla="*/ 21 h 39"/>
                <a:gd name="T36" fmla="*/ 12 w 58"/>
                <a:gd name="T37" fmla="*/ 18 h 39"/>
                <a:gd name="T38" fmla="*/ 51 w 58"/>
                <a:gd name="T39" fmla="*/ 0 h 39"/>
                <a:gd name="T40" fmla="*/ 33 w 58"/>
                <a:gd name="T41" fmla="*/ 0 h 39"/>
                <a:gd name="T42" fmla="*/ 23 w 58"/>
                <a:gd name="T43" fmla="*/ 6 h 39"/>
                <a:gd name="T44" fmla="*/ 7 w 58"/>
                <a:gd name="T45" fmla="*/ 6 h 39"/>
                <a:gd name="T46" fmla="*/ 2 w 58"/>
                <a:gd name="T47" fmla="*/ 8 h 39"/>
                <a:gd name="T48" fmla="*/ 5 w 58"/>
                <a:gd name="T49" fmla="*/ 11 h 39"/>
                <a:gd name="T50" fmla="*/ 7 w 58"/>
                <a:gd name="T51" fmla="*/ 11 h 39"/>
                <a:gd name="T52" fmla="*/ 7 w 58"/>
                <a:gd name="T53" fmla="*/ 16 h 39"/>
                <a:gd name="T54" fmla="*/ 15 w 58"/>
                <a:gd name="T55" fmla="*/ 16 h 39"/>
                <a:gd name="T56" fmla="*/ 15 w 58"/>
                <a:gd name="T57" fmla="*/ 21 h 39"/>
                <a:gd name="T58" fmla="*/ 25 w 58"/>
                <a:gd name="T59" fmla="*/ 16 h 39"/>
                <a:gd name="T60" fmla="*/ 30 w 58"/>
                <a:gd name="T61" fmla="*/ 16 h 39"/>
                <a:gd name="T62" fmla="*/ 30 w 58"/>
                <a:gd name="T63" fmla="*/ 18 h 39"/>
                <a:gd name="T64" fmla="*/ 23 w 58"/>
                <a:gd name="T65" fmla="*/ 18 h 39"/>
                <a:gd name="T66" fmla="*/ 25 w 58"/>
                <a:gd name="T67" fmla="*/ 23 h 39"/>
                <a:gd name="T68" fmla="*/ 28 w 58"/>
                <a:gd name="T69" fmla="*/ 23 h 39"/>
                <a:gd name="T70" fmla="*/ 30 w 58"/>
                <a:gd name="T71" fmla="*/ 26 h 39"/>
                <a:gd name="T72" fmla="*/ 23 w 58"/>
                <a:gd name="T73" fmla="*/ 28 h 39"/>
                <a:gd name="T74" fmla="*/ 25 w 58"/>
                <a:gd name="T75" fmla="*/ 28 h 39"/>
                <a:gd name="T76" fmla="*/ 25 w 58"/>
                <a:gd name="T77" fmla="*/ 31 h 39"/>
                <a:gd name="T78" fmla="*/ 28 w 58"/>
                <a:gd name="T79" fmla="*/ 34 h 39"/>
                <a:gd name="T80" fmla="*/ 28 w 58"/>
                <a:gd name="T81" fmla="*/ 39 h 39"/>
                <a:gd name="T82" fmla="*/ 30 w 58"/>
                <a:gd name="T83" fmla="*/ 39 h 39"/>
                <a:gd name="T84" fmla="*/ 33 w 58"/>
                <a:gd name="T85" fmla="*/ 36 h 39"/>
                <a:gd name="T86" fmla="*/ 38 w 58"/>
                <a:gd name="T87" fmla="*/ 26 h 39"/>
                <a:gd name="T88" fmla="*/ 45 w 58"/>
                <a:gd name="T89" fmla="*/ 23 h 39"/>
                <a:gd name="T90" fmla="*/ 53 w 58"/>
                <a:gd name="T91" fmla="*/ 23 h 39"/>
                <a:gd name="T92" fmla="*/ 58 w 58"/>
                <a:gd name="T93" fmla="*/ 16 h 39"/>
                <a:gd name="T94" fmla="*/ 56 w 58"/>
                <a:gd name="T95" fmla="*/ 13 h 39"/>
                <a:gd name="T96" fmla="*/ 53 w 58"/>
                <a:gd name="T97" fmla="*/ 11 h 39"/>
                <a:gd name="T98" fmla="*/ 58 w 58"/>
                <a:gd name="T99" fmla="*/ 11 h 39"/>
                <a:gd name="T100" fmla="*/ 58 w 58"/>
                <a:gd name="T101" fmla="*/ 6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8" h="39">
                  <a:moveTo>
                    <a:pt x="15" y="34"/>
                  </a:moveTo>
                  <a:lnTo>
                    <a:pt x="12" y="34"/>
                  </a:lnTo>
                  <a:lnTo>
                    <a:pt x="12" y="34"/>
                  </a:lnTo>
                  <a:lnTo>
                    <a:pt x="12" y="36"/>
                  </a:lnTo>
                  <a:lnTo>
                    <a:pt x="12" y="36"/>
                  </a:lnTo>
                  <a:lnTo>
                    <a:pt x="12" y="36"/>
                  </a:lnTo>
                  <a:lnTo>
                    <a:pt x="15" y="36"/>
                  </a:lnTo>
                  <a:lnTo>
                    <a:pt x="15" y="36"/>
                  </a:lnTo>
                  <a:lnTo>
                    <a:pt x="15" y="34"/>
                  </a:lnTo>
                  <a:lnTo>
                    <a:pt x="15" y="34"/>
                  </a:lnTo>
                  <a:close/>
                  <a:moveTo>
                    <a:pt x="10" y="34"/>
                  </a:moveTo>
                  <a:lnTo>
                    <a:pt x="10" y="34"/>
                  </a:lnTo>
                  <a:lnTo>
                    <a:pt x="10" y="34"/>
                  </a:lnTo>
                  <a:lnTo>
                    <a:pt x="10" y="36"/>
                  </a:lnTo>
                  <a:lnTo>
                    <a:pt x="7" y="36"/>
                  </a:lnTo>
                  <a:lnTo>
                    <a:pt x="7" y="36"/>
                  </a:lnTo>
                  <a:lnTo>
                    <a:pt x="7" y="36"/>
                  </a:lnTo>
                  <a:lnTo>
                    <a:pt x="7" y="36"/>
                  </a:lnTo>
                  <a:lnTo>
                    <a:pt x="10" y="36"/>
                  </a:lnTo>
                  <a:lnTo>
                    <a:pt x="10" y="36"/>
                  </a:lnTo>
                  <a:lnTo>
                    <a:pt x="10" y="36"/>
                  </a:lnTo>
                  <a:lnTo>
                    <a:pt x="10" y="34"/>
                  </a:lnTo>
                  <a:lnTo>
                    <a:pt x="10" y="34"/>
                  </a:lnTo>
                  <a:close/>
                  <a:moveTo>
                    <a:pt x="17" y="31"/>
                  </a:moveTo>
                  <a:lnTo>
                    <a:pt x="17" y="31"/>
                  </a:lnTo>
                  <a:lnTo>
                    <a:pt x="17" y="34"/>
                  </a:lnTo>
                  <a:lnTo>
                    <a:pt x="17" y="34"/>
                  </a:lnTo>
                  <a:lnTo>
                    <a:pt x="17" y="34"/>
                  </a:lnTo>
                  <a:lnTo>
                    <a:pt x="17" y="34"/>
                  </a:lnTo>
                  <a:lnTo>
                    <a:pt x="17" y="34"/>
                  </a:lnTo>
                  <a:lnTo>
                    <a:pt x="20" y="34"/>
                  </a:lnTo>
                  <a:lnTo>
                    <a:pt x="20" y="31"/>
                  </a:lnTo>
                  <a:lnTo>
                    <a:pt x="20" y="31"/>
                  </a:lnTo>
                  <a:lnTo>
                    <a:pt x="17" y="31"/>
                  </a:lnTo>
                  <a:close/>
                  <a:moveTo>
                    <a:pt x="12" y="23"/>
                  </a:moveTo>
                  <a:lnTo>
                    <a:pt x="12" y="26"/>
                  </a:lnTo>
                  <a:lnTo>
                    <a:pt x="12" y="28"/>
                  </a:lnTo>
                  <a:lnTo>
                    <a:pt x="12" y="28"/>
                  </a:lnTo>
                  <a:lnTo>
                    <a:pt x="12" y="28"/>
                  </a:lnTo>
                  <a:lnTo>
                    <a:pt x="15" y="28"/>
                  </a:lnTo>
                  <a:lnTo>
                    <a:pt x="15" y="26"/>
                  </a:lnTo>
                  <a:lnTo>
                    <a:pt x="12" y="23"/>
                  </a:lnTo>
                  <a:close/>
                  <a:moveTo>
                    <a:pt x="23" y="23"/>
                  </a:moveTo>
                  <a:lnTo>
                    <a:pt x="20" y="26"/>
                  </a:lnTo>
                  <a:lnTo>
                    <a:pt x="20" y="26"/>
                  </a:lnTo>
                  <a:lnTo>
                    <a:pt x="20" y="26"/>
                  </a:lnTo>
                  <a:lnTo>
                    <a:pt x="23" y="26"/>
                  </a:lnTo>
                  <a:lnTo>
                    <a:pt x="23" y="26"/>
                  </a:lnTo>
                  <a:lnTo>
                    <a:pt x="23" y="23"/>
                  </a:lnTo>
                  <a:lnTo>
                    <a:pt x="23" y="23"/>
                  </a:lnTo>
                  <a:close/>
                  <a:moveTo>
                    <a:pt x="12" y="18"/>
                  </a:moveTo>
                  <a:lnTo>
                    <a:pt x="10" y="18"/>
                  </a:lnTo>
                  <a:lnTo>
                    <a:pt x="10" y="18"/>
                  </a:lnTo>
                  <a:lnTo>
                    <a:pt x="10" y="21"/>
                  </a:lnTo>
                  <a:lnTo>
                    <a:pt x="12" y="21"/>
                  </a:lnTo>
                  <a:lnTo>
                    <a:pt x="12" y="18"/>
                  </a:lnTo>
                  <a:lnTo>
                    <a:pt x="12" y="18"/>
                  </a:lnTo>
                  <a:close/>
                  <a:moveTo>
                    <a:pt x="58" y="3"/>
                  </a:moveTo>
                  <a:lnTo>
                    <a:pt x="58" y="0"/>
                  </a:lnTo>
                  <a:lnTo>
                    <a:pt x="51" y="0"/>
                  </a:lnTo>
                  <a:lnTo>
                    <a:pt x="45" y="0"/>
                  </a:lnTo>
                  <a:lnTo>
                    <a:pt x="38" y="0"/>
                  </a:lnTo>
                  <a:lnTo>
                    <a:pt x="33" y="0"/>
                  </a:lnTo>
                  <a:lnTo>
                    <a:pt x="30" y="0"/>
                  </a:lnTo>
                  <a:lnTo>
                    <a:pt x="25" y="3"/>
                  </a:lnTo>
                  <a:lnTo>
                    <a:pt x="23" y="6"/>
                  </a:lnTo>
                  <a:lnTo>
                    <a:pt x="15" y="6"/>
                  </a:lnTo>
                  <a:lnTo>
                    <a:pt x="10" y="6"/>
                  </a:lnTo>
                  <a:lnTo>
                    <a:pt x="7" y="6"/>
                  </a:lnTo>
                  <a:lnTo>
                    <a:pt x="5" y="6"/>
                  </a:lnTo>
                  <a:lnTo>
                    <a:pt x="5" y="8"/>
                  </a:lnTo>
                  <a:lnTo>
                    <a:pt x="2" y="8"/>
                  </a:lnTo>
                  <a:lnTo>
                    <a:pt x="0" y="8"/>
                  </a:lnTo>
                  <a:lnTo>
                    <a:pt x="0" y="8"/>
                  </a:lnTo>
                  <a:lnTo>
                    <a:pt x="5" y="11"/>
                  </a:lnTo>
                  <a:lnTo>
                    <a:pt x="7" y="11"/>
                  </a:lnTo>
                  <a:lnTo>
                    <a:pt x="7" y="11"/>
                  </a:lnTo>
                  <a:lnTo>
                    <a:pt x="7" y="11"/>
                  </a:lnTo>
                  <a:lnTo>
                    <a:pt x="7" y="13"/>
                  </a:lnTo>
                  <a:lnTo>
                    <a:pt x="7" y="13"/>
                  </a:lnTo>
                  <a:lnTo>
                    <a:pt x="7" y="16"/>
                  </a:lnTo>
                  <a:lnTo>
                    <a:pt x="10" y="18"/>
                  </a:lnTo>
                  <a:lnTo>
                    <a:pt x="12" y="16"/>
                  </a:lnTo>
                  <a:lnTo>
                    <a:pt x="15" y="16"/>
                  </a:lnTo>
                  <a:lnTo>
                    <a:pt x="15" y="18"/>
                  </a:lnTo>
                  <a:lnTo>
                    <a:pt x="15" y="21"/>
                  </a:lnTo>
                  <a:lnTo>
                    <a:pt x="15" y="21"/>
                  </a:lnTo>
                  <a:lnTo>
                    <a:pt x="20" y="21"/>
                  </a:lnTo>
                  <a:lnTo>
                    <a:pt x="23" y="18"/>
                  </a:lnTo>
                  <a:lnTo>
                    <a:pt x="25" y="16"/>
                  </a:lnTo>
                  <a:lnTo>
                    <a:pt x="28" y="18"/>
                  </a:lnTo>
                  <a:lnTo>
                    <a:pt x="30" y="16"/>
                  </a:lnTo>
                  <a:lnTo>
                    <a:pt x="30" y="16"/>
                  </a:lnTo>
                  <a:lnTo>
                    <a:pt x="30" y="16"/>
                  </a:lnTo>
                  <a:lnTo>
                    <a:pt x="30" y="18"/>
                  </a:lnTo>
                  <a:lnTo>
                    <a:pt x="30" y="18"/>
                  </a:lnTo>
                  <a:lnTo>
                    <a:pt x="28" y="18"/>
                  </a:lnTo>
                  <a:lnTo>
                    <a:pt x="25" y="18"/>
                  </a:lnTo>
                  <a:lnTo>
                    <a:pt x="23" y="18"/>
                  </a:lnTo>
                  <a:lnTo>
                    <a:pt x="23" y="21"/>
                  </a:lnTo>
                  <a:lnTo>
                    <a:pt x="23" y="21"/>
                  </a:lnTo>
                  <a:lnTo>
                    <a:pt x="25" y="23"/>
                  </a:lnTo>
                  <a:lnTo>
                    <a:pt x="25" y="23"/>
                  </a:lnTo>
                  <a:lnTo>
                    <a:pt x="25" y="23"/>
                  </a:lnTo>
                  <a:lnTo>
                    <a:pt x="28" y="23"/>
                  </a:lnTo>
                  <a:lnTo>
                    <a:pt x="30" y="23"/>
                  </a:lnTo>
                  <a:lnTo>
                    <a:pt x="30" y="23"/>
                  </a:lnTo>
                  <a:lnTo>
                    <a:pt x="30" y="26"/>
                  </a:lnTo>
                  <a:lnTo>
                    <a:pt x="28" y="26"/>
                  </a:lnTo>
                  <a:lnTo>
                    <a:pt x="23" y="26"/>
                  </a:lnTo>
                  <a:lnTo>
                    <a:pt x="23" y="28"/>
                  </a:lnTo>
                  <a:lnTo>
                    <a:pt x="23" y="28"/>
                  </a:lnTo>
                  <a:lnTo>
                    <a:pt x="25" y="28"/>
                  </a:lnTo>
                  <a:lnTo>
                    <a:pt x="25" y="28"/>
                  </a:lnTo>
                  <a:lnTo>
                    <a:pt x="25" y="28"/>
                  </a:lnTo>
                  <a:lnTo>
                    <a:pt x="25" y="31"/>
                  </a:lnTo>
                  <a:lnTo>
                    <a:pt x="25" y="31"/>
                  </a:lnTo>
                  <a:lnTo>
                    <a:pt x="25" y="34"/>
                  </a:lnTo>
                  <a:lnTo>
                    <a:pt x="25" y="34"/>
                  </a:lnTo>
                  <a:lnTo>
                    <a:pt x="28" y="34"/>
                  </a:lnTo>
                  <a:lnTo>
                    <a:pt x="28" y="34"/>
                  </a:lnTo>
                  <a:lnTo>
                    <a:pt x="28" y="39"/>
                  </a:lnTo>
                  <a:lnTo>
                    <a:pt x="28" y="39"/>
                  </a:lnTo>
                  <a:lnTo>
                    <a:pt x="30" y="36"/>
                  </a:lnTo>
                  <a:lnTo>
                    <a:pt x="30" y="36"/>
                  </a:lnTo>
                  <a:lnTo>
                    <a:pt x="30" y="39"/>
                  </a:lnTo>
                  <a:lnTo>
                    <a:pt x="30" y="39"/>
                  </a:lnTo>
                  <a:lnTo>
                    <a:pt x="33" y="39"/>
                  </a:lnTo>
                  <a:lnTo>
                    <a:pt x="33" y="36"/>
                  </a:lnTo>
                  <a:lnTo>
                    <a:pt x="38" y="28"/>
                  </a:lnTo>
                  <a:lnTo>
                    <a:pt x="38" y="28"/>
                  </a:lnTo>
                  <a:lnTo>
                    <a:pt x="38" y="26"/>
                  </a:lnTo>
                  <a:lnTo>
                    <a:pt x="40" y="26"/>
                  </a:lnTo>
                  <a:lnTo>
                    <a:pt x="43" y="26"/>
                  </a:lnTo>
                  <a:lnTo>
                    <a:pt x="45" y="23"/>
                  </a:lnTo>
                  <a:lnTo>
                    <a:pt x="48" y="23"/>
                  </a:lnTo>
                  <a:lnTo>
                    <a:pt x="51" y="23"/>
                  </a:lnTo>
                  <a:lnTo>
                    <a:pt x="53" y="23"/>
                  </a:lnTo>
                  <a:lnTo>
                    <a:pt x="58" y="21"/>
                  </a:lnTo>
                  <a:lnTo>
                    <a:pt x="58" y="18"/>
                  </a:lnTo>
                  <a:lnTo>
                    <a:pt x="58" y="16"/>
                  </a:lnTo>
                  <a:lnTo>
                    <a:pt x="58" y="16"/>
                  </a:lnTo>
                  <a:lnTo>
                    <a:pt x="56" y="13"/>
                  </a:lnTo>
                  <a:lnTo>
                    <a:pt x="56" y="13"/>
                  </a:lnTo>
                  <a:lnTo>
                    <a:pt x="56" y="13"/>
                  </a:lnTo>
                  <a:lnTo>
                    <a:pt x="53" y="11"/>
                  </a:lnTo>
                  <a:lnTo>
                    <a:pt x="53" y="11"/>
                  </a:lnTo>
                  <a:lnTo>
                    <a:pt x="56" y="11"/>
                  </a:lnTo>
                  <a:lnTo>
                    <a:pt x="56" y="11"/>
                  </a:lnTo>
                  <a:lnTo>
                    <a:pt x="58" y="11"/>
                  </a:lnTo>
                  <a:lnTo>
                    <a:pt x="58" y="8"/>
                  </a:lnTo>
                  <a:lnTo>
                    <a:pt x="58" y="8"/>
                  </a:lnTo>
                  <a:lnTo>
                    <a:pt x="58" y="6"/>
                  </a:lnTo>
                  <a:lnTo>
                    <a:pt x="58" y="6"/>
                  </a:lnTo>
                  <a:lnTo>
                    <a:pt x="58" y="3"/>
                  </a:lnTo>
                  <a:close/>
                </a:path>
              </a:pathLst>
            </a:custGeom>
            <a:solidFill>
              <a:srgbClr val="FFC000"/>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303" name="Freeform 1922">
              <a:extLst>
                <a:ext uri="{FF2B5EF4-FFF2-40B4-BE49-F238E27FC236}">
                  <a16:creationId xmlns:a16="http://schemas.microsoft.com/office/drawing/2014/main" id="{5617775C-99C7-6C43-90C8-71F98D7F865E}"/>
                </a:ext>
              </a:extLst>
            </p:cNvPr>
            <p:cNvSpPr>
              <a:spLocks/>
            </p:cNvSpPr>
            <p:nvPr/>
          </p:nvSpPr>
          <p:spPr bwMode="auto">
            <a:xfrm>
              <a:off x="5116243" y="3330038"/>
              <a:ext cx="242089" cy="204468"/>
            </a:xfrm>
            <a:custGeom>
              <a:avLst/>
              <a:gdLst>
                <a:gd name="T0" fmla="*/ 143 w 148"/>
                <a:gd name="T1" fmla="*/ 84 h 125"/>
                <a:gd name="T2" fmla="*/ 143 w 148"/>
                <a:gd name="T3" fmla="*/ 77 h 125"/>
                <a:gd name="T4" fmla="*/ 138 w 148"/>
                <a:gd name="T5" fmla="*/ 69 h 125"/>
                <a:gd name="T6" fmla="*/ 143 w 148"/>
                <a:gd name="T7" fmla="*/ 56 h 125"/>
                <a:gd name="T8" fmla="*/ 135 w 148"/>
                <a:gd name="T9" fmla="*/ 46 h 125"/>
                <a:gd name="T10" fmla="*/ 133 w 148"/>
                <a:gd name="T11" fmla="*/ 39 h 125"/>
                <a:gd name="T12" fmla="*/ 128 w 148"/>
                <a:gd name="T13" fmla="*/ 36 h 125"/>
                <a:gd name="T14" fmla="*/ 135 w 148"/>
                <a:gd name="T15" fmla="*/ 31 h 125"/>
                <a:gd name="T16" fmla="*/ 128 w 148"/>
                <a:gd name="T17" fmla="*/ 23 h 125"/>
                <a:gd name="T18" fmla="*/ 125 w 148"/>
                <a:gd name="T19" fmla="*/ 13 h 125"/>
                <a:gd name="T20" fmla="*/ 117 w 148"/>
                <a:gd name="T21" fmla="*/ 6 h 125"/>
                <a:gd name="T22" fmla="*/ 115 w 148"/>
                <a:gd name="T23" fmla="*/ 8 h 125"/>
                <a:gd name="T24" fmla="*/ 107 w 148"/>
                <a:gd name="T25" fmla="*/ 16 h 125"/>
                <a:gd name="T26" fmla="*/ 94 w 148"/>
                <a:gd name="T27" fmla="*/ 11 h 125"/>
                <a:gd name="T28" fmla="*/ 89 w 148"/>
                <a:gd name="T29" fmla="*/ 18 h 125"/>
                <a:gd name="T30" fmla="*/ 84 w 148"/>
                <a:gd name="T31" fmla="*/ 11 h 125"/>
                <a:gd name="T32" fmla="*/ 77 w 148"/>
                <a:gd name="T33" fmla="*/ 16 h 125"/>
                <a:gd name="T34" fmla="*/ 74 w 148"/>
                <a:gd name="T35" fmla="*/ 8 h 125"/>
                <a:gd name="T36" fmla="*/ 61 w 148"/>
                <a:gd name="T37" fmla="*/ 6 h 125"/>
                <a:gd name="T38" fmla="*/ 51 w 148"/>
                <a:gd name="T39" fmla="*/ 6 h 125"/>
                <a:gd name="T40" fmla="*/ 44 w 148"/>
                <a:gd name="T41" fmla="*/ 6 h 125"/>
                <a:gd name="T42" fmla="*/ 41 w 148"/>
                <a:gd name="T43" fmla="*/ 0 h 125"/>
                <a:gd name="T44" fmla="*/ 28 w 148"/>
                <a:gd name="T45" fmla="*/ 3 h 125"/>
                <a:gd name="T46" fmla="*/ 26 w 148"/>
                <a:gd name="T47" fmla="*/ 11 h 125"/>
                <a:gd name="T48" fmla="*/ 26 w 148"/>
                <a:gd name="T49" fmla="*/ 13 h 125"/>
                <a:gd name="T50" fmla="*/ 21 w 148"/>
                <a:gd name="T51" fmla="*/ 23 h 125"/>
                <a:gd name="T52" fmla="*/ 8 w 148"/>
                <a:gd name="T53" fmla="*/ 28 h 125"/>
                <a:gd name="T54" fmla="*/ 3 w 148"/>
                <a:gd name="T55" fmla="*/ 44 h 125"/>
                <a:gd name="T56" fmla="*/ 8 w 148"/>
                <a:gd name="T57" fmla="*/ 41 h 125"/>
                <a:gd name="T58" fmla="*/ 10 w 148"/>
                <a:gd name="T59" fmla="*/ 49 h 125"/>
                <a:gd name="T60" fmla="*/ 21 w 148"/>
                <a:gd name="T61" fmla="*/ 59 h 125"/>
                <a:gd name="T62" fmla="*/ 28 w 148"/>
                <a:gd name="T63" fmla="*/ 64 h 125"/>
                <a:gd name="T64" fmla="*/ 33 w 148"/>
                <a:gd name="T65" fmla="*/ 74 h 125"/>
                <a:gd name="T66" fmla="*/ 36 w 148"/>
                <a:gd name="T67" fmla="*/ 82 h 125"/>
                <a:gd name="T68" fmla="*/ 41 w 148"/>
                <a:gd name="T69" fmla="*/ 77 h 125"/>
                <a:gd name="T70" fmla="*/ 49 w 148"/>
                <a:gd name="T71" fmla="*/ 69 h 125"/>
                <a:gd name="T72" fmla="*/ 56 w 148"/>
                <a:gd name="T73" fmla="*/ 62 h 125"/>
                <a:gd name="T74" fmla="*/ 77 w 148"/>
                <a:gd name="T75" fmla="*/ 62 h 125"/>
                <a:gd name="T76" fmla="*/ 84 w 148"/>
                <a:gd name="T77" fmla="*/ 72 h 125"/>
                <a:gd name="T78" fmla="*/ 87 w 148"/>
                <a:gd name="T79" fmla="*/ 82 h 125"/>
                <a:gd name="T80" fmla="*/ 89 w 148"/>
                <a:gd name="T81" fmla="*/ 90 h 125"/>
                <a:gd name="T82" fmla="*/ 87 w 148"/>
                <a:gd name="T83" fmla="*/ 100 h 125"/>
                <a:gd name="T84" fmla="*/ 94 w 148"/>
                <a:gd name="T85" fmla="*/ 95 h 125"/>
                <a:gd name="T86" fmla="*/ 100 w 148"/>
                <a:gd name="T87" fmla="*/ 95 h 125"/>
                <a:gd name="T88" fmla="*/ 107 w 148"/>
                <a:gd name="T89" fmla="*/ 97 h 125"/>
                <a:gd name="T90" fmla="*/ 110 w 148"/>
                <a:gd name="T91" fmla="*/ 97 h 125"/>
                <a:gd name="T92" fmla="*/ 112 w 148"/>
                <a:gd name="T93" fmla="*/ 105 h 125"/>
                <a:gd name="T94" fmla="*/ 112 w 148"/>
                <a:gd name="T95" fmla="*/ 112 h 125"/>
                <a:gd name="T96" fmla="*/ 112 w 148"/>
                <a:gd name="T97" fmla="*/ 120 h 125"/>
                <a:gd name="T98" fmla="*/ 117 w 148"/>
                <a:gd name="T99" fmla="*/ 123 h 125"/>
                <a:gd name="T100" fmla="*/ 123 w 148"/>
                <a:gd name="T101" fmla="*/ 123 h 125"/>
                <a:gd name="T102" fmla="*/ 128 w 148"/>
                <a:gd name="T103" fmla="*/ 115 h 125"/>
                <a:gd name="T104" fmla="*/ 130 w 148"/>
                <a:gd name="T105" fmla="*/ 115 h 125"/>
                <a:gd name="T106" fmla="*/ 138 w 148"/>
                <a:gd name="T107" fmla="*/ 112 h 125"/>
                <a:gd name="T108" fmla="*/ 140 w 148"/>
                <a:gd name="T109" fmla="*/ 102 h 125"/>
                <a:gd name="T110" fmla="*/ 135 w 148"/>
                <a:gd name="T111" fmla="*/ 97 h 125"/>
                <a:gd name="T112" fmla="*/ 143 w 148"/>
                <a:gd name="T113" fmla="*/ 95 h 125"/>
                <a:gd name="T114" fmla="*/ 148 w 148"/>
                <a:gd name="T115" fmla="*/ 9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8" h="125">
                  <a:moveTo>
                    <a:pt x="148" y="95"/>
                  </a:moveTo>
                  <a:lnTo>
                    <a:pt x="148" y="92"/>
                  </a:lnTo>
                  <a:lnTo>
                    <a:pt x="145" y="90"/>
                  </a:lnTo>
                  <a:lnTo>
                    <a:pt x="143" y="90"/>
                  </a:lnTo>
                  <a:lnTo>
                    <a:pt x="143" y="87"/>
                  </a:lnTo>
                  <a:lnTo>
                    <a:pt x="143" y="84"/>
                  </a:lnTo>
                  <a:lnTo>
                    <a:pt x="143" y="84"/>
                  </a:lnTo>
                  <a:lnTo>
                    <a:pt x="145" y="82"/>
                  </a:lnTo>
                  <a:lnTo>
                    <a:pt x="145" y="82"/>
                  </a:lnTo>
                  <a:lnTo>
                    <a:pt x="145" y="79"/>
                  </a:lnTo>
                  <a:lnTo>
                    <a:pt x="143" y="79"/>
                  </a:lnTo>
                  <a:lnTo>
                    <a:pt x="143" y="77"/>
                  </a:lnTo>
                  <a:lnTo>
                    <a:pt x="143" y="74"/>
                  </a:lnTo>
                  <a:lnTo>
                    <a:pt x="143" y="74"/>
                  </a:lnTo>
                  <a:lnTo>
                    <a:pt x="140" y="74"/>
                  </a:lnTo>
                  <a:lnTo>
                    <a:pt x="140" y="74"/>
                  </a:lnTo>
                  <a:lnTo>
                    <a:pt x="138" y="72"/>
                  </a:lnTo>
                  <a:lnTo>
                    <a:pt x="138" y="69"/>
                  </a:lnTo>
                  <a:lnTo>
                    <a:pt x="138" y="64"/>
                  </a:lnTo>
                  <a:lnTo>
                    <a:pt x="138" y="62"/>
                  </a:lnTo>
                  <a:lnTo>
                    <a:pt x="138" y="62"/>
                  </a:lnTo>
                  <a:lnTo>
                    <a:pt x="140" y="59"/>
                  </a:lnTo>
                  <a:lnTo>
                    <a:pt x="140" y="59"/>
                  </a:lnTo>
                  <a:lnTo>
                    <a:pt x="143" y="56"/>
                  </a:lnTo>
                  <a:lnTo>
                    <a:pt x="143" y="56"/>
                  </a:lnTo>
                  <a:lnTo>
                    <a:pt x="143" y="54"/>
                  </a:lnTo>
                  <a:lnTo>
                    <a:pt x="143" y="54"/>
                  </a:lnTo>
                  <a:lnTo>
                    <a:pt x="138" y="51"/>
                  </a:lnTo>
                  <a:lnTo>
                    <a:pt x="135" y="49"/>
                  </a:lnTo>
                  <a:lnTo>
                    <a:pt x="135" y="46"/>
                  </a:lnTo>
                  <a:lnTo>
                    <a:pt x="135" y="44"/>
                  </a:lnTo>
                  <a:lnTo>
                    <a:pt x="135" y="41"/>
                  </a:lnTo>
                  <a:lnTo>
                    <a:pt x="135" y="41"/>
                  </a:lnTo>
                  <a:lnTo>
                    <a:pt x="135" y="39"/>
                  </a:lnTo>
                  <a:lnTo>
                    <a:pt x="135" y="39"/>
                  </a:lnTo>
                  <a:lnTo>
                    <a:pt x="133" y="39"/>
                  </a:lnTo>
                  <a:lnTo>
                    <a:pt x="133" y="36"/>
                  </a:lnTo>
                  <a:lnTo>
                    <a:pt x="130" y="39"/>
                  </a:lnTo>
                  <a:lnTo>
                    <a:pt x="130" y="39"/>
                  </a:lnTo>
                  <a:lnTo>
                    <a:pt x="130" y="39"/>
                  </a:lnTo>
                  <a:lnTo>
                    <a:pt x="128" y="39"/>
                  </a:lnTo>
                  <a:lnTo>
                    <a:pt x="128" y="36"/>
                  </a:lnTo>
                  <a:lnTo>
                    <a:pt x="130" y="34"/>
                  </a:lnTo>
                  <a:lnTo>
                    <a:pt x="133" y="34"/>
                  </a:lnTo>
                  <a:lnTo>
                    <a:pt x="133" y="31"/>
                  </a:lnTo>
                  <a:lnTo>
                    <a:pt x="133" y="31"/>
                  </a:lnTo>
                  <a:lnTo>
                    <a:pt x="135" y="31"/>
                  </a:lnTo>
                  <a:lnTo>
                    <a:pt x="135" y="31"/>
                  </a:lnTo>
                  <a:lnTo>
                    <a:pt x="135" y="28"/>
                  </a:lnTo>
                  <a:lnTo>
                    <a:pt x="133" y="28"/>
                  </a:lnTo>
                  <a:lnTo>
                    <a:pt x="130" y="28"/>
                  </a:lnTo>
                  <a:lnTo>
                    <a:pt x="130" y="26"/>
                  </a:lnTo>
                  <a:lnTo>
                    <a:pt x="130" y="26"/>
                  </a:lnTo>
                  <a:lnTo>
                    <a:pt x="128" y="23"/>
                  </a:lnTo>
                  <a:lnTo>
                    <a:pt x="128" y="23"/>
                  </a:lnTo>
                  <a:lnTo>
                    <a:pt x="128" y="23"/>
                  </a:lnTo>
                  <a:lnTo>
                    <a:pt x="125" y="23"/>
                  </a:lnTo>
                  <a:lnTo>
                    <a:pt x="125" y="21"/>
                  </a:lnTo>
                  <a:lnTo>
                    <a:pt x="125" y="18"/>
                  </a:lnTo>
                  <a:lnTo>
                    <a:pt x="125" y="13"/>
                  </a:lnTo>
                  <a:lnTo>
                    <a:pt x="123" y="11"/>
                  </a:lnTo>
                  <a:lnTo>
                    <a:pt x="123" y="8"/>
                  </a:lnTo>
                  <a:lnTo>
                    <a:pt x="123" y="6"/>
                  </a:lnTo>
                  <a:lnTo>
                    <a:pt x="120" y="6"/>
                  </a:lnTo>
                  <a:lnTo>
                    <a:pt x="117" y="6"/>
                  </a:lnTo>
                  <a:lnTo>
                    <a:pt x="117" y="6"/>
                  </a:lnTo>
                  <a:lnTo>
                    <a:pt x="115" y="6"/>
                  </a:lnTo>
                  <a:lnTo>
                    <a:pt x="115" y="6"/>
                  </a:lnTo>
                  <a:lnTo>
                    <a:pt x="115" y="6"/>
                  </a:lnTo>
                  <a:lnTo>
                    <a:pt x="115" y="8"/>
                  </a:lnTo>
                  <a:lnTo>
                    <a:pt x="115" y="8"/>
                  </a:lnTo>
                  <a:lnTo>
                    <a:pt x="115" y="8"/>
                  </a:lnTo>
                  <a:lnTo>
                    <a:pt x="115" y="11"/>
                  </a:lnTo>
                  <a:lnTo>
                    <a:pt x="115" y="11"/>
                  </a:lnTo>
                  <a:lnTo>
                    <a:pt x="112" y="11"/>
                  </a:lnTo>
                  <a:lnTo>
                    <a:pt x="110" y="11"/>
                  </a:lnTo>
                  <a:lnTo>
                    <a:pt x="110" y="13"/>
                  </a:lnTo>
                  <a:lnTo>
                    <a:pt x="107" y="16"/>
                  </a:lnTo>
                  <a:lnTo>
                    <a:pt x="107" y="16"/>
                  </a:lnTo>
                  <a:lnTo>
                    <a:pt x="107" y="16"/>
                  </a:lnTo>
                  <a:lnTo>
                    <a:pt x="102" y="13"/>
                  </a:lnTo>
                  <a:lnTo>
                    <a:pt x="100" y="11"/>
                  </a:lnTo>
                  <a:lnTo>
                    <a:pt x="97" y="11"/>
                  </a:lnTo>
                  <a:lnTo>
                    <a:pt x="94" y="11"/>
                  </a:lnTo>
                  <a:lnTo>
                    <a:pt x="94" y="11"/>
                  </a:lnTo>
                  <a:lnTo>
                    <a:pt x="92" y="13"/>
                  </a:lnTo>
                  <a:lnTo>
                    <a:pt x="89" y="16"/>
                  </a:lnTo>
                  <a:lnTo>
                    <a:pt x="89" y="16"/>
                  </a:lnTo>
                  <a:lnTo>
                    <a:pt x="89" y="18"/>
                  </a:lnTo>
                  <a:lnTo>
                    <a:pt x="89" y="18"/>
                  </a:lnTo>
                  <a:lnTo>
                    <a:pt x="89" y="18"/>
                  </a:lnTo>
                  <a:lnTo>
                    <a:pt x="87" y="18"/>
                  </a:lnTo>
                  <a:lnTo>
                    <a:pt x="87" y="18"/>
                  </a:lnTo>
                  <a:lnTo>
                    <a:pt x="87" y="16"/>
                  </a:lnTo>
                  <a:lnTo>
                    <a:pt x="84" y="13"/>
                  </a:lnTo>
                  <a:lnTo>
                    <a:pt x="84" y="11"/>
                  </a:lnTo>
                  <a:lnTo>
                    <a:pt x="82" y="11"/>
                  </a:lnTo>
                  <a:lnTo>
                    <a:pt x="82" y="11"/>
                  </a:lnTo>
                  <a:lnTo>
                    <a:pt x="79" y="13"/>
                  </a:lnTo>
                  <a:lnTo>
                    <a:pt x="79" y="16"/>
                  </a:lnTo>
                  <a:lnTo>
                    <a:pt x="77" y="16"/>
                  </a:lnTo>
                  <a:lnTo>
                    <a:pt x="77" y="16"/>
                  </a:lnTo>
                  <a:lnTo>
                    <a:pt x="74" y="13"/>
                  </a:lnTo>
                  <a:lnTo>
                    <a:pt x="72" y="11"/>
                  </a:lnTo>
                  <a:lnTo>
                    <a:pt x="72" y="11"/>
                  </a:lnTo>
                  <a:lnTo>
                    <a:pt x="74" y="11"/>
                  </a:lnTo>
                  <a:lnTo>
                    <a:pt x="74" y="8"/>
                  </a:lnTo>
                  <a:lnTo>
                    <a:pt x="74" y="8"/>
                  </a:lnTo>
                  <a:lnTo>
                    <a:pt x="74" y="6"/>
                  </a:lnTo>
                  <a:lnTo>
                    <a:pt x="74" y="6"/>
                  </a:lnTo>
                  <a:lnTo>
                    <a:pt x="72" y="6"/>
                  </a:lnTo>
                  <a:lnTo>
                    <a:pt x="66" y="6"/>
                  </a:lnTo>
                  <a:lnTo>
                    <a:pt x="64" y="6"/>
                  </a:lnTo>
                  <a:lnTo>
                    <a:pt x="61" y="6"/>
                  </a:lnTo>
                  <a:lnTo>
                    <a:pt x="59" y="8"/>
                  </a:lnTo>
                  <a:lnTo>
                    <a:pt x="56" y="8"/>
                  </a:lnTo>
                  <a:lnTo>
                    <a:pt x="54" y="8"/>
                  </a:lnTo>
                  <a:lnTo>
                    <a:pt x="54" y="8"/>
                  </a:lnTo>
                  <a:lnTo>
                    <a:pt x="51" y="8"/>
                  </a:lnTo>
                  <a:lnTo>
                    <a:pt x="51" y="6"/>
                  </a:lnTo>
                  <a:lnTo>
                    <a:pt x="49" y="6"/>
                  </a:lnTo>
                  <a:lnTo>
                    <a:pt x="46" y="6"/>
                  </a:lnTo>
                  <a:lnTo>
                    <a:pt x="46" y="3"/>
                  </a:lnTo>
                  <a:lnTo>
                    <a:pt x="44" y="3"/>
                  </a:lnTo>
                  <a:lnTo>
                    <a:pt x="44" y="3"/>
                  </a:lnTo>
                  <a:lnTo>
                    <a:pt x="44" y="6"/>
                  </a:lnTo>
                  <a:lnTo>
                    <a:pt x="44" y="6"/>
                  </a:lnTo>
                  <a:lnTo>
                    <a:pt x="41" y="6"/>
                  </a:lnTo>
                  <a:lnTo>
                    <a:pt x="41" y="3"/>
                  </a:lnTo>
                  <a:lnTo>
                    <a:pt x="41" y="3"/>
                  </a:lnTo>
                  <a:lnTo>
                    <a:pt x="41" y="0"/>
                  </a:lnTo>
                  <a:lnTo>
                    <a:pt x="41" y="0"/>
                  </a:lnTo>
                  <a:lnTo>
                    <a:pt x="41" y="0"/>
                  </a:lnTo>
                  <a:lnTo>
                    <a:pt x="38" y="0"/>
                  </a:lnTo>
                  <a:lnTo>
                    <a:pt x="36" y="0"/>
                  </a:lnTo>
                  <a:lnTo>
                    <a:pt x="36" y="0"/>
                  </a:lnTo>
                  <a:lnTo>
                    <a:pt x="28" y="0"/>
                  </a:lnTo>
                  <a:lnTo>
                    <a:pt x="28" y="3"/>
                  </a:lnTo>
                  <a:lnTo>
                    <a:pt x="28" y="6"/>
                  </a:lnTo>
                  <a:lnTo>
                    <a:pt x="28" y="6"/>
                  </a:lnTo>
                  <a:lnTo>
                    <a:pt x="28" y="8"/>
                  </a:lnTo>
                  <a:lnTo>
                    <a:pt x="28" y="8"/>
                  </a:lnTo>
                  <a:lnTo>
                    <a:pt x="28" y="11"/>
                  </a:lnTo>
                  <a:lnTo>
                    <a:pt x="26" y="11"/>
                  </a:lnTo>
                  <a:lnTo>
                    <a:pt x="26" y="11"/>
                  </a:lnTo>
                  <a:lnTo>
                    <a:pt x="23" y="11"/>
                  </a:lnTo>
                  <a:lnTo>
                    <a:pt x="23" y="11"/>
                  </a:lnTo>
                  <a:lnTo>
                    <a:pt x="26" y="13"/>
                  </a:lnTo>
                  <a:lnTo>
                    <a:pt x="26" y="13"/>
                  </a:lnTo>
                  <a:lnTo>
                    <a:pt x="26" y="13"/>
                  </a:lnTo>
                  <a:lnTo>
                    <a:pt x="28" y="16"/>
                  </a:lnTo>
                  <a:lnTo>
                    <a:pt x="28" y="16"/>
                  </a:lnTo>
                  <a:lnTo>
                    <a:pt x="28" y="18"/>
                  </a:lnTo>
                  <a:lnTo>
                    <a:pt x="28" y="21"/>
                  </a:lnTo>
                  <a:lnTo>
                    <a:pt x="23" y="23"/>
                  </a:lnTo>
                  <a:lnTo>
                    <a:pt x="21" y="23"/>
                  </a:lnTo>
                  <a:lnTo>
                    <a:pt x="18" y="23"/>
                  </a:lnTo>
                  <a:lnTo>
                    <a:pt x="15" y="23"/>
                  </a:lnTo>
                  <a:lnTo>
                    <a:pt x="13" y="26"/>
                  </a:lnTo>
                  <a:lnTo>
                    <a:pt x="10" y="26"/>
                  </a:lnTo>
                  <a:lnTo>
                    <a:pt x="8" y="26"/>
                  </a:lnTo>
                  <a:lnTo>
                    <a:pt x="8" y="28"/>
                  </a:lnTo>
                  <a:lnTo>
                    <a:pt x="8" y="28"/>
                  </a:lnTo>
                  <a:lnTo>
                    <a:pt x="3" y="36"/>
                  </a:lnTo>
                  <a:lnTo>
                    <a:pt x="3" y="39"/>
                  </a:lnTo>
                  <a:lnTo>
                    <a:pt x="0" y="39"/>
                  </a:lnTo>
                  <a:lnTo>
                    <a:pt x="0" y="41"/>
                  </a:lnTo>
                  <a:lnTo>
                    <a:pt x="3" y="44"/>
                  </a:lnTo>
                  <a:lnTo>
                    <a:pt x="3" y="44"/>
                  </a:lnTo>
                  <a:lnTo>
                    <a:pt x="3" y="39"/>
                  </a:lnTo>
                  <a:lnTo>
                    <a:pt x="5" y="39"/>
                  </a:lnTo>
                  <a:lnTo>
                    <a:pt x="5" y="39"/>
                  </a:lnTo>
                  <a:lnTo>
                    <a:pt x="5" y="39"/>
                  </a:lnTo>
                  <a:lnTo>
                    <a:pt x="8" y="41"/>
                  </a:lnTo>
                  <a:lnTo>
                    <a:pt x="8" y="44"/>
                  </a:lnTo>
                  <a:lnTo>
                    <a:pt x="8" y="46"/>
                  </a:lnTo>
                  <a:lnTo>
                    <a:pt x="10" y="44"/>
                  </a:lnTo>
                  <a:lnTo>
                    <a:pt x="10" y="44"/>
                  </a:lnTo>
                  <a:lnTo>
                    <a:pt x="10" y="46"/>
                  </a:lnTo>
                  <a:lnTo>
                    <a:pt x="10" y="49"/>
                  </a:lnTo>
                  <a:lnTo>
                    <a:pt x="13" y="56"/>
                  </a:lnTo>
                  <a:lnTo>
                    <a:pt x="18" y="59"/>
                  </a:lnTo>
                  <a:lnTo>
                    <a:pt x="21" y="59"/>
                  </a:lnTo>
                  <a:lnTo>
                    <a:pt x="21" y="56"/>
                  </a:lnTo>
                  <a:lnTo>
                    <a:pt x="21" y="59"/>
                  </a:lnTo>
                  <a:lnTo>
                    <a:pt x="21" y="59"/>
                  </a:lnTo>
                  <a:lnTo>
                    <a:pt x="23" y="62"/>
                  </a:lnTo>
                  <a:lnTo>
                    <a:pt x="26" y="64"/>
                  </a:lnTo>
                  <a:lnTo>
                    <a:pt x="26" y="64"/>
                  </a:lnTo>
                  <a:lnTo>
                    <a:pt x="28" y="62"/>
                  </a:lnTo>
                  <a:lnTo>
                    <a:pt x="28" y="62"/>
                  </a:lnTo>
                  <a:lnTo>
                    <a:pt x="28" y="64"/>
                  </a:lnTo>
                  <a:lnTo>
                    <a:pt x="28" y="67"/>
                  </a:lnTo>
                  <a:lnTo>
                    <a:pt x="28" y="69"/>
                  </a:lnTo>
                  <a:lnTo>
                    <a:pt x="28" y="72"/>
                  </a:lnTo>
                  <a:lnTo>
                    <a:pt x="31" y="72"/>
                  </a:lnTo>
                  <a:lnTo>
                    <a:pt x="33" y="74"/>
                  </a:lnTo>
                  <a:lnTo>
                    <a:pt x="33" y="74"/>
                  </a:lnTo>
                  <a:lnTo>
                    <a:pt x="33" y="77"/>
                  </a:lnTo>
                  <a:lnTo>
                    <a:pt x="36" y="79"/>
                  </a:lnTo>
                  <a:lnTo>
                    <a:pt x="36" y="79"/>
                  </a:lnTo>
                  <a:lnTo>
                    <a:pt x="36" y="82"/>
                  </a:lnTo>
                  <a:lnTo>
                    <a:pt x="36" y="82"/>
                  </a:lnTo>
                  <a:lnTo>
                    <a:pt x="36" y="82"/>
                  </a:lnTo>
                  <a:lnTo>
                    <a:pt x="38" y="82"/>
                  </a:lnTo>
                  <a:lnTo>
                    <a:pt x="38" y="82"/>
                  </a:lnTo>
                  <a:lnTo>
                    <a:pt x="41" y="82"/>
                  </a:lnTo>
                  <a:lnTo>
                    <a:pt x="41" y="82"/>
                  </a:lnTo>
                  <a:lnTo>
                    <a:pt x="41" y="79"/>
                  </a:lnTo>
                  <a:lnTo>
                    <a:pt x="41" y="77"/>
                  </a:lnTo>
                  <a:lnTo>
                    <a:pt x="44" y="77"/>
                  </a:lnTo>
                  <a:lnTo>
                    <a:pt x="46" y="74"/>
                  </a:lnTo>
                  <a:lnTo>
                    <a:pt x="49" y="72"/>
                  </a:lnTo>
                  <a:lnTo>
                    <a:pt x="49" y="72"/>
                  </a:lnTo>
                  <a:lnTo>
                    <a:pt x="49" y="69"/>
                  </a:lnTo>
                  <a:lnTo>
                    <a:pt x="49" y="69"/>
                  </a:lnTo>
                  <a:lnTo>
                    <a:pt x="49" y="69"/>
                  </a:lnTo>
                  <a:lnTo>
                    <a:pt x="51" y="67"/>
                  </a:lnTo>
                  <a:lnTo>
                    <a:pt x="51" y="67"/>
                  </a:lnTo>
                  <a:lnTo>
                    <a:pt x="51" y="64"/>
                  </a:lnTo>
                  <a:lnTo>
                    <a:pt x="54" y="64"/>
                  </a:lnTo>
                  <a:lnTo>
                    <a:pt x="56" y="62"/>
                  </a:lnTo>
                  <a:lnTo>
                    <a:pt x="59" y="64"/>
                  </a:lnTo>
                  <a:lnTo>
                    <a:pt x="64" y="62"/>
                  </a:lnTo>
                  <a:lnTo>
                    <a:pt x="64" y="62"/>
                  </a:lnTo>
                  <a:lnTo>
                    <a:pt x="66" y="62"/>
                  </a:lnTo>
                  <a:lnTo>
                    <a:pt x="72" y="62"/>
                  </a:lnTo>
                  <a:lnTo>
                    <a:pt x="77" y="62"/>
                  </a:lnTo>
                  <a:lnTo>
                    <a:pt x="77" y="62"/>
                  </a:lnTo>
                  <a:lnTo>
                    <a:pt x="79" y="62"/>
                  </a:lnTo>
                  <a:lnTo>
                    <a:pt x="79" y="64"/>
                  </a:lnTo>
                  <a:lnTo>
                    <a:pt x="82" y="67"/>
                  </a:lnTo>
                  <a:lnTo>
                    <a:pt x="82" y="69"/>
                  </a:lnTo>
                  <a:lnTo>
                    <a:pt x="84" y="72"/>
                  </a:lnTo>
                  <a:lnTo>
                    <a:pt x="87" y="74"/>
                  </a:lnTo>
                  <a:lnTo>
                    <a:pt x="87" y="77"/>
                  </a:lnTo>
                  <a:lnTo>
                    <a:pt x="87" y="77"/>
                  </a:lnTo>
                  <a:lnTo>
                    <a:pt x="87" y="77"/>
                  </a:lnTo>
                  <a:lnTo>
                    <a:pt x="87" y="79"/>
                  </a:lnTo>
                  <a:lnTo>
                    <a:pt x="87" y="82"/>
                  </a:lnTo>
                  <a:lnTo>
                    <a:pt x="87" y="82"/>
                  </a:lnTo>
                  <a:lnTo>
                    <a:pt x="87" y="82"/>
                  </a:lnTo>
                  <a:lnTo>
                    <a:pt x="89" y="82"/>
                  </a:lnTo>
                  <a:lnTo>
                    <a:pt x="89" y="84"/>
                  </a:lnTo>
                  <a:lnTo>
                    <a:pt x="89" y="87"/>
                  </a:lnTo>
                  <a:lnTo>
                    <a:pt x="89" y="90"/>
                  </a:lnTo>
                  <a:lnTo>
                    <a:pt x="92" y="90"/>
                  </a:lnTo>
                  <a:lnTo>
                    <a:pt x="92" y="92"/>
                  </a:lnTo>
                  <a:lnTo>
                    <a:pt x="89" y="95"/>
                  </a:lnTo>
                  <a:lnTo>
                    <a:pt x="87" y="97"/>
                  </a:lnTo>
                  <a:lnTo>
                    <a:pt x="87" y="97"/>
                  </a:lnTo>
                  <a:lnTo>
                    <a:pt x="87" y="100"/>
                  </a:lnTo>
                  <a:lnTo>
                    <a:pt x="87" y="100"/>
                  </a:lnTo>
                  <a:lnTo>
                    <a:pt x="87" y="100"/>
                  </a:lnTo>
                  <a:lnTo>
                    <a:pt x="89" y="100"/>
                  </a:lnTo>
                  <a:lnTo>
                    <a:pt x="89" y="100"/>
                  </a:lnTo>
                  <a:lnTo>
                    <a:pt x="92" y="97"/>
                  </a:lnTo>
                  <a:lnTo>
                    <a:pt x="94" y="95"/>
                  </a:lnTo>
                  <a:lnTo>
                    <a:pt x="94" y="95"/>
                  </a:lnTo>
                  <a:lnTo>
                    <a:pt x="94" y="95"/>
                  </a:lnTo>
                  <a:lnTo>
                    <a:pt x="97" y="95"/>
                  </a:lnTo>
                  <a:lnTo>
                    <a:pt x="97" y="95"/>
                  </a:lnTo>
                  <a:lnTo>
                    <a:pt x="100" y="95"/>
                  </a:lnTo>
                  <a:lnTo>
                    <a:pt x="100" y="95"/>
                  </a:lnTo>
                  <a:lnTo>
                    <a:pt x="100" y="97"/>
                  </a:lnTo>
                  <a:lnTo>
                    <a:pt x="105" y="95"/>
                  </a:lnTo>
                  <a:lnTo>
                    <a:pt x="105" y="95"/>
                  </a:lnTo>
                  <a:lnTo>
                    <a:pt x="105" y="95"/>
                  </a:lnTo>
                  <a:lnTo>
                    <a:pt x="107" y="97"/>
                  </a:lnTo>
                  <a:lnTo>
                    <a:pt x="107" y="97"/>
                  </a:lnTo>
                  <a:lnTo>
                    <a:pt x="107" y="95"/>
                  </a:lnTo>
                  <a:lnTo>
                    <a:pt x="107" y="95"/>
                  </a:lnTo>
                  <a:lnTo>
                    <a:pt x="107" y="95"/>
                  </a:lnTo>
                  <a:lnTo>
                    <a:pt x="107" y="97"/>
                  </a:lnTo>
                  <a:lnTo>
                    <a:pt x="110" y="97"/>
                  </a:lnTo>
                  <a:lnTo>
                    <a:pt x="110" y="97"/>
                  </a:lnTo>
                  <a:lnTo>
                    <a:pt x="110" y="100"/>
                  </a:lnTo>
                  <a:lnTo>
                    <a:pt x="110" y="100"/>
                  </a:lnTo>
                  <a:lnTo>
                    <a:pt x="110" y="102"/>
                  </a:lnTo>
                  <a:lnTo>
                    <a:pt x="112" y="102"/>
                  </a:lnTo>
                  <a:lnTo>
                    <a:pt x="112" y="105"/>
                  </a:lnTo>
                  <a:lnTo>
                    <a:pt x="112" y="105"/>
                  </a:lnTo>
                  <a:lnTo>
                    <a:pt x="112" y="105"/>
                  </a:lnTo>
                  <a:lnTo>
                    <a:pt x="112" y="107"/>
                  </a:lnTo>
                  <a:lnTo>
                    <a:pt x="112" y="107"/>
                  </a:lnTo>
                  <a:lnTo>
                    <a:pt x="112" y="110"/>
                  </a:lnTo>
                  <a:lnTo>
                    <a:pt x="112" y="110"/>
                  </a:lnTo>
                  <a:lnTo>
                    <a:pt x="112" y="112"/>
                  </a:lnTo>
                  <a:lnTo>
                    <a:pt x="112" y="115"/>
                  </a:lnTo>
                  <a:lnTo>
                    <a:pt x="112" y="115"/>
                  </a:lnTo>
                  <a:lnTo>
                    <a:pt x="112" y="118"/>
                  </a:lnTo>
                  <a:lnTo>
                    <a:pt x="112" y="120"/>
                  </a:lnTo>
                  <a:lnTo>
                    <a:pt x="112" y="120"/>
                  </a:lnTo>
                  <a:lnTo>
                    <a:pt x="112" y="120"/>
                  </a:lnTo>
                  <a:lnTo>
                    <a:pt x="112" y="120"/>
                  </a:lnTo>
                  <a:lnTo>
                    <a:pt x="115" y="120"/>
                  </a:lnTo>
                  <a:lnTo>
                    <a:pt x="115" y="120"/>
                  </a:lnTo>
                  <a:lnTo>
                    <a:pt x="117" y="123"/>
                  </a:lnTo>
                  <a:lnTo>
                    <a:pt x="117" y="123"/>
                  </a:lnTo>
                  <a:lnTo>
                    <a:pt x="117" y="123"/>
                  </a:lnTo>
                  <a:lnTo>
                    <a:pt x="117" y="125"/>
                  </a:lnTo>
                  <a:lnTo>
                    <a:pt x="120" y="125"/>
                  </a:lnTo>
                  <a:lnTo>
                    <a:pt x="123" y="123"/>
                  </a:lnTo>
                  <a:lnTo>
                    <a:pt x="123" y="123"/>
                  </a:lnTo>
                  <a:lnTo>
                    <a:pt x="123" y="123"/>
                  </a:lnTo>
                  <a:lnTo>
                    <a:pt x="123" y="123"/>
                  </a:lnTo>
                  <a:lnTo>
                    <a:pt x="123" y="123"/>
                  </a:lnTo>
                  <a:lnTo>
                    <a:pt x="125" y="120"/>
                  </a:lnTo>
                  <a:lnTo>
                    <a:pt x="125" y="118"/>
                  </a:lnTo>
                  <a:lnTo>
                    <a:pt x="125" y="118"/>
                  </a:lnTo>
                  <a:lnTo>
                    <a:pt x="125" y="118"/>
                  </a:lnTo>
                  <a:lnTo>
                    <a:pt x="128" y="115"/>
                  </a:lnTo>
                  <a:lnTo>
                    <a:pt x="128" y="115"/>
                  </a:lnTo>
                  <a:lnTo>
                    <a:pt x="128" y="112"/>
                  </a:lnTo>
                  <a:lnTo>
                    <a:pt x="128" y="112"/>
                  </a:lnTo>
                  <a:lnTo>
                    <a:pt x="130" y="112"/>
                  </a:lnTo>
                  <a:lnTo>
                    <a:pt x="130" y="115"/>
                  </a:lnTo>
                  <a:lnTo>
                    <a:pt x="130" y="115"/>
                  </a:lnTo>
                  <a:lnTo>
                    <a:pt x="130" y="118"/>
                  </a:lnTo>
                  <a:lnTo>
                    <a:pt x="133" y="115"/>
                  </a:lnTo>
                  <a:lnTo>
                    <a:pt x="133" y="115"/>
                  </a:lnTo>
                  <a:lnTo>
                    <a:pt x="135" y="118"/>
                  </a:lnTo>
                  <a:lnTo>
                    <a:pt x="138" y="115"/>
                  </a:lnTo>
                  <a:lnTo>
                    <a:pt x="138" y="112"/>
                  </a:lnTo>
                  <a:lnTo>
                    <a:pt x="138" y="110"/>
                  </a:lnTo>
                  <a:lnTo>
                    <a:pt x="138" y="110"/>
                  </a:lnTo>
                  <a:lnTo>
                    <a:pt x="140" y="107"/>
                  </a:lnTo>
                  <a:lnTo>
                    <a:pt x="140" y="105"/>
                  </a:lnTo>
                  <a:lnTo>
                    <a:pt x="140" y="105"/>
                  </a:lnTo>
                  <a:lnTo>
                    <a:pt x="140" y="102"/>
                  </a:lnTo>
                  <a:lnTo>
                    <a:pt x="140" y="102"/>
                  </a:lnTo>
                  <a:lnTo>
                    <a:pt x="140" y="102"/>
                  </a:lnTo>
                  <a:lnTo>
                    <a:pt x="138" y="102"/>
                  </a:lnTo>
                  <a:lnTo>
                    <a:pt x="138" y="102"/>
                  </a:lnTo>
                  <a:lnTo>
                    <a:pt x="135" y="100"/>
                  </a:lnTo>
                  <a:lnTo>
                    <a:pt x="135" y="97"/>
                  </a:lnTo>
                  <a:lnTo>
                    <a:pt x="135" y="97"/>
                  </a:lnTo>
                  <a:lnTo>
                    <a:pt x="138" y="95"/>
                  </a:lnTo>
                  <a:lnTo>
                    <a:pt x="138" y="95"/>
                  </a:lnTo>
                  <a:lnTo>
                    <a:pt x="140" y="95"/>
                  </a:lnTo>
                  <a:lnTo>
                    <a:pt x="143" y="95"/>
                  </a:lnTo>
                  <a:lnTo>
                    <a:pt x="143" y="95"/>
                  </a:lnTo>
                  <a:lnTo>
                    <a:pt x="145" y="95"/>
                  </a:lnTo>
                  <a:lnTo>
                    <a:pt x="145" y="97"/>
                  </a:lnTo>
                  <a:lnTo>
                    <a:pt x="145" y="97"/>
                  </a:lnTo>
                  <a:lnTo>
                    <a:pt x="148" y="97"/>
                  </a:lnTo>
                  <a:lnTo>
                    <a:pt x="148" y="97"/>
                  </a:lnTo>
                  <a:lnTo>
                    <a:pt x="148" y="95"/>
                  </a:lnTo>
                  <a:close/>
                </a:path>
              </a:pathLst>
            </a:custGeom>
            <a:solidFill>
              <a:srgbClr val="FFC000"/>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304" name="Freeform 1923">
              <a:extLst>
                <a:ext uri="{FF2B5EF4-FFF2-40B4-BE49-F238E27FC236}">
                  <a16:creationId xmlns:a16="http://schemas.microsoft.com/office/drawing/2014/main" id="{7E7F34AF-037C-2D47-8922-A381A6955786}"/>
                </a:ext>
              </a:extLst>
            </p:cNvPr>
            <p:cNvSpPr>
              <a:spLocks/>
            </p:cNvSpPr>
            <p:nvPr/>
          </p:nvSpPr>
          <p:spPr bwMode="auto">
            <a:xfrm>
              <a:off x="5579156" y="1969105"/>
              <a:ext cx="4908" cy="0"/>
            </a:xfrm>
            <a:custGeom>
              <a:avLst/>
              <a:gdLst>
                <a:gd name="T0" fmla="*/ 3 w 3"/>
                <a:gd name="T1" fmla="*/ 3 w 3"/>
                <a:gd name="T2" fmla="*/ 0 w 3"/>
                <a:gd name="T3" fmla="*/ 0 w 3"/>
                <a:gd name="T4" fmla="*/ 3 w 3"/>
                <a:gd name="T5" fmla="*/ 3 w 3"/>
                <a:gd name="T6" fmla="*/ 3 w 3"/>
              </a:gdLst>
              <a:ahLst/>
              <a:cxnLst>
                <a:cxn ang="0">
                  <a:pos x="T0" y="0"/>
                </a:cxn>
                <a:cxn ang="0">
                  <a:pos x="T1" y="0"/>
                </a:cxn>
                <a:cxn ang="0">
                  <a:pos x="T2" y="0"/>
                </a:cxn>
                <a:cxn ang="0">
                  <a:pos x="T3" y="0"/>
                </a:cxn>
                <a:cxn ang="0">
                  <a:pos x="T4" y="0"/>
                </a:cxn>
                <a:cxn ang="0">
                  <a:pos x="T5" y="0"/>
                </a:cxn>
                <a:cxn ang="0">
                  <a:pos x="T6" y="0"/>
                </a:cxn>
              </a:cxnLst>
              <a:rect l="0" t="0" r="r" b="b"/>
              <a:pathLst>
                <a:path w="3">
                  <a:moveTo>
                    <a:pt x="3" y="0"/>
                  </a:moveTo>
                  <a:lnTo>
                    <a:pt x="3" y="0"/>
                  </a:lnTo>
                  <a:lnTo>
                    <a:pt x="0" y="0"/>
                  </a:lnTo>
                  <a:lnTo>
                    <a:pt x="0" y="0"/>
                  </a:lnTo>
                  <a:lnTo>
                    <a:pt x="3" y="0"/>
                  </a:lnTo>
                  <a:lnTo>
                    <a:pt x="3" y="0"/>
                  </a:lnTo>
                  <a:lnTo>
                    <a:pt x="3"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305" name="Freeform 1924">
              <a:extLst>
                <a:ext uri="{FF2B5EF4-FFF2-40B4-BE49-F238E27FC236}">
                  <a16:creationId xmlns:a16="http://schemas.microsoft.com/office/drawing/2014/main" id="{85975FC8-68B0-8844-8513-59920D69A049}"/>
                </a:ext>
              </a:extLst>
            </p:cNvPr>
            <p:cNvSpPr>
              <a:spLocks/>
            </p:cNvSpPr>
            <p:nvPr/>
          </p:nvSpPr>
          <p:spPr bwMode="auto">
            <a:xfrm>
              <a:off x="2607023" y="3138656"/>
              <a:ext cx="137402" cy="150488"/>
            </a:xfrm>
            <a:custGeom>
              <a:avLst/>
              <a:gdLst>
                <a:gd name="T0" fmla="*/ 76 w 84"/>
                <a:gd name="T1" fmla="*/ 44 h 92"/>
                <a:gd name="T2" fmla="*/ 76 w 84"/>
                <a:gd name="T3" fmla="*/ 46 h 92"/>
                <a:gd name="T4" fmla="*/ 74 w 84"/>
                <a:gd name="T5" fmla="*/ 46 h 92"/>
                <a:gd name="T6" fmla="*/ 71 w 84"/>
                <a:gd name="T7" fmla="*/ 44 h 92"/>
                <a:gd name="T8" fmla="*/ 69 w 84"/>
                <a:gd name="T9" fmla="*/ 44 h 92"/>
                <a:gd name="T10" fmla="*/ 64 w 84"/>
                <a:gd name="T11" fmla="*/ 44 h 92"/>
                <a:gd name="T12" fmla="*/ 64 w 84"/>
                <a:gd name="T13" fmla="*/ 39 h 92"/>
                <a:gd name="T14" fmla="*/ 66 w 84"/>
                <a:gd name="T15" fmla="*/ 23 h 92"/>
                <a:gd name="T16" fmla="*/ 69 w 84"/>
                <a:gd name="T17" fmla="*/ 13 h 92"/>
                <a:gd name="T18" fmla="*/ 71 w 84"/>
                <a:gd name="T19" fmla="*/ 0 h 92"/>
                <a:gd name="T20" fmla="*/ 59 w 84"/>
                <a:gd name="T21" fmla="*/ 0 h 92"/>
                <a:gd name="T22" fmla="*/ 41 w 84"/>
                <a:gd name="T23" fmla="*/ 0 h 92"/>
                <a:gd name="T24" fmla="*/ 33 w 84"/>
                <a:gd name="T25" fmla="*/ 6 h 92"/>
                <a:gd name="T26" fmla="*/ 33 w 84"/>
                <a:gd name="T27" fmla="*/ 13 h 92"/>
                <a:gd name="T28" fmla="*/ 25 w 84"/>
                <a:gd name="T29" fmla="*/ 13 h 92"/>
                <a:gd name="T30" fmla="*/ 25 w 84"/>
                <a:gd name="T31" fmla="*/ 13 h 92"/>
                <a:gd name="T32" fmla="*/ 31 w 84"/>
                <a:gd name="T33" fmla="*/ 18 h 92"/>
                <a:gd name="T34" fmla="*/ 36 w 84"/>
                <a:gd name="T35" fmla="*/ 23 h 92"/>
                <a:gd name="T36" fmla="*/ 38 w 84"/>
                <a:gd name="T37" fmla="*/ 28 h 92"/>
                <a:gd name="T38" fmla="*/ 38 w 84"/>
                <a:gd name="T39" fmla="*/ 31 h 92"/>
                <a:gd name="T40" fmla="*/ 41 w 84"/>
                <a:gd name="T41" fmla="*/ 31 h 92"/>
                <a:gd name="T42" fmla="*/ 41 w 84"/>
                <a:gd name="T43" fmla="*/ 33 h 92"/>
                <a:gd name="T44" fmla="*/ 41 w 84"/>
                <a:gd name="T45" fmla="*/ 39 h 92"/>
                <a:gd name="T46" fmla="*/ 38 w 84"/>
                <a:gd name="T47" fmla="*/ 41 h 92"/>
                <a:gd name="T48" fmla="*/ 28 w 84"/>
                <a:gd name="T49" fmla="*/ 41 h 92"/>
                <a:gd name="T50" fmla="*/ 20 w 84"/>
                <a:gd name="T51" fmla="*/ 41 h 92"/>
                <a:gd name="T52" fmla="*/ 13 w 84"/>
                <a:gd name="T53" fmla="*/ 44 h 92"/>
                <a:gd name="T54" fmla="*/ 5 w 84"/>
                <a:gd name="T55" fmla="*/ 54 h 92"/>
                <a:gd name="T56" fmla="*/ 3 w 84"/>
                <a:gd name="T57" fmla="*/ 59 h 92"/>
                <a:gd name="T58" fmla="*/ 5 w 84"/>
                <a:gd name="T59" fmla="*/ 61 h 92"/>
                <a:gd name="T60" fmla="*/ 3 w 84"/>
                <a:gd name="T61" fmla="*/ 64 h 92"/>
                <a:gd name="T62" fmla="*/ 3 w 84"/>
                <a:gd name="T63" fmla="*/ 67 h 92"/>
                <a:gd name="T64" fmla="*/ 3 w 84"/>
                <a:gd name="T65" fmla="*/ 69 h 92"/>
                <a:gd name="T66" fmla="*/ 0 w 84"/>
                <a:gd name="T67" fmla="*/ 72 h 92"/>
                <a:gd name="T68" fmla="*/ 0 w 84"/>
                <a:gd name="T69" fmla="*/ 74 h 92"/>
                <a:gd name="T70" fmla="*/ 10 w 84"/>
                <a:gd name="T71" fmla="*/ 84 h 92"/>
                <a:gd name="T72" fmla="*/ 20 w 84"/>
                <a:gd name="T73" fmla="*/ 89 h 92"/>
                <a:gd name="T74" fmla="*/ 33 w 84"/>
                <a:gd name="T75" fmla="*/ 89 h 92"/>
                <a:gd name="T76" fmla="*/ 41 w 84"/>
                <a:gd name="T77" fmla="*/ 92 h 92"/>
                <a:gd name="T78" fmla="*/ 41 w 84"/>
                <a:gd name="T79" fmla="*/ 89 h 92"/>
                <a:gd name="T80" fmla="*/ 46 w 84"/>
                <a:gd name="T81" fmla="*/ 87 h 92"/>
                <a:gd name="T82" fmla="*/ 48 w 84"/>
                <a:gd name="T83" fmla="*/ 87 h 92"/>
                <a:gd name="T84" fmla="*/ 48 w 84"/>
                <a:gd name="T85" fmla="*/ 84 h 92"/>
                <a:gd name="T86" fmla="*/ 51 w 84"/>
                <a:gd name="T87" fmla="*/ 82 h 92"/>
                <a:gd name="T88" fmla="*/ 53 w 84"/>
                <a:gd name="T89" fmla="*/ 82 h 92"/>
                <a:gd name="T90" fmla="*/ 53 w 84"/>
                <a:gd name="T91" fmla="*/ 79 h 92"/>
                <a:gd name="T92" fmla="*/ 53 w 84"/>
                <a:gd name="T93" fmla="*/ 77 h 92"/>
                <a:gd name="T94" fmla="*/ 56 w 84"/>
                <a:gd name="T95" fmla="*/ 77 h 92"/>
                <a:gd name="T96" fmla="*/ 56 w 84"/>
                <a:gd name="T97" fmla="*/ 77 h 92"/>
                <a:gd name="T98" fmla="*/ 61 w 84"/>
                <a:gd name="T99" fmla="*/ 74 h 92"/>
                <a:gd name="T100" fmla="*/ 61 w 84"/>
                <a:gd name="T101" fmla="*/ 69 h 92"/>
                <a:gd name="T102" fmla="*/ 61 w 84"/>
                <a:gd name="T103" fmla="*/ 67 h 92"/>
                <a:gd name="T104" fmla="*/ 64 w 84"/>
                <a:gd name="T105" fmla="*/ 61 h 92"/>
                <a:gd name="T106" fmla="*/ 66 w 84"/>
                <a:gd name="T107" fmla="*/ 61 h 92"/>
                <a:gd name="T108" fmla="*/ 74 w 84"/>
                <a:gd name="T109" fmla="*/ 56 h 92"/>
                <a:gd name="T110" fmla="*/ 79 w 84"/>
                <a:gd name="T111" fmla="*/ 51 h 92"/>
                <a:gd name="T112" fmla="*/ 84 w 84"/>
                <a:gd name="T113" fmla="*/ 49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84" h="92">
                  <a:moveTo>
                    <a:pt x="76" y="44"/>
                  </a:moveTo>
                  <a:lnTo>
                    <a:pt x="76" y="44"/>
                  </a:lnTo>
                  <a:lnTo>
                    <a:pt x="76" y="44"/>
                  </a:lnTo>
                  <a:lnTo>
                    <a:pt x="76" y="46"/>
                  </a:lnTo>
                  <a:lnTo>
                    <a:pt x="76" y="46"/>
                  </a:lnTo>
                  <a:lnTo>
                    <a:pt x="74" y="46"/>
                  </a:lnTo>
                  <a:lnTo>
                    <a:pt x="71" y="44"/>
                  </a:lnTo>
                  <a:lnTo>
                    <a:pt x="71" y="44"/>
                  </a:lnTo>
                  <a:lnTo>
                    <a:pt x="71" y="44"/>
                  </a:lnTo>
                  <a:lnTo>
                    <a:pt x="69" y="44"/>
                  </a:lnTo>
                  <a:lnTo>
                    <a:pt x="66" y="44"/>
                  </a:lnTo>
                  <a:lnTo>
                    <a:pt x="64" y="44"/>
                  </a:lnTo>
                  <a:lnTo>
                    <a:pt x="64" y="44"/>
                  </a:lnTo>
                  <a:lnTo>
                    <a:pt x="64" y="39"/>
                  </a:lnTo>
                  <a:lnTo>
                    <a:pt x="66" y="28"/>
                  </a:lnTo>
                  <a:lnTo>
                    <a:pt x="66" y="23"/>
                  </a:lnTo>
                  <a:lnTo>
                    <a:pt x="69" y="16"/>
                  </a:lnTo>
                  <a:lnTo>
                    <a:pt x="69" y="13"/>
                  </a:lnTo>
                  <a:lnTo>
                    <a:pt x="69" y="6"/>
                  </a:lnTo>
                  <a:lnTo>
                    <a:pt x="71" y="0"/>
                  </a:lnTo>
                  <a:lnTo>
                    <a:pt x="66" y="0"/>
                  </a:lnTo>
                  <a:lnTo>
                    <a:pt x="59" y="0"/>
                  </a:lnTo>
                  <a:lnTo>
                    <a:pt x="51" y="0"/>
                  </a:lnTo>
                  <a:lnTo>
                    <a:pt x="41" y="0"/>
                  </a:lnTo>
                  <a:lnTo>
                    <a:pt x="36" y="0"/>
                  </a:lnTo>
                  <a:lnTo>
                    <a:pt x="33" y="6"/>
                  </a:lnTo>
                  <a:lnTo>
                    <a:pt x="33" y="8"/>
                  </a:lnTo>
                  <a:lnTo>
                    <a:pt x="33" y="13"/>
                  </a:lnTo>
                  <a:lnTo>
                    <a:pt x="28" y="13"/>
                  </a:lnTo>
                  <a:lnTo>
                    <a:pt x="25" y="13"/>
                  </a:lnTo>
                  <a:lnTo>
                    <a:pt x="25" y="13"/>
                  </a:lnTo>
                  <a:lnTo>
                    <a:pt x="25" y="13"/>
                  </a:lnTo>
                  <a:lnTo>
                    <a:pt x="28" y="16"/>
                  </a:lnTo>
                  <a:lnTo>
                    <a:pt x="31" y="18"/>
                  </a:lnTo>
                  <a:lnTo>
                    <a:pt x="31" y="21"/>
                  </a:lnTo>
                  <a:lnTo>
                    <a:pt x="36" y="23"/>
                  </a:lnTo>
                  <a:lnTo>
                    <a:pt x="36" y="26"/>
                  </a:lnTo>
                  <a:lnTo>
                    <a:pt x="38" y="28"/>
                  </a:lnTo>
                  <a:lnTo>
                    <a:pt x="38" y="28"/>
                  </a:lnTo>
                  <a:lnTo>
                    <a:pt x="38" y="31"/>
                  </a:lnTo>
                  <a:lnTo>
                    <a:pt x="38" y="31"/>
                  </a:lnTo>
                  <a:lnTo>
                    <a:pt x="41" y="31"/>
                  </a:lnTo>
                  <a:lnTo>
                    <a:pt x="41" y="33"/>
                  </a:lnTo>
                  <a:lnTo>
                    <a:pt x="41" y="33"/>
                  </a:lnTo>
                  <a:lnTo>
                    <a:pt x="41" y="36"/>
                  </a:lnTo>
                  <a:lnTo>
                    <a:pt x="41" y="39"/>
                  </a:lnTo>
                  <a:lnTo>
                    <a:pt x="41" y="41"/>
                  </a:lnTo>
                  <a:lnTo>
                    <a:pt x="38" y="41"/>
                  </a:lnTo>
                  <a:lnTo>
                    <a:pt x="36" y="41"/>
                  </a:lnTo>
                  <a:lnTo>
                    <a:pt x="28" y="41"/>
                  </a:lnTo>
                  <a:lnTo>
                    <a:pt x="23" y="41"/>
                  </a:lnTo>
                  <a:lnTo>
                    <a:pt x="20" y="41"/>
                  </a:lnTo>
                  <a:lnTo>
                    <a:pt x="15" y="41"/>
                  </a:lnTo>
                  <a:lnTo>
                    <a:pt x="13" y="44"/>
                  </a:lnTo>
                  <a:lnTo>
                    <a:pt x="8" y="49"/>
                  </a:lnTo>
                  <a:lnTo>
                    <a:pt x="5" y="54"/>
                  </a:lnTo>
                  <a:lnTo>
                    <a:pt x="3" y="56"/>
                  </a:lnTo>
                  <a:lnTo>
                    <a:pt x="3" y="59"/>
                  </a:lnTo>
                  <a:lnTo>
                    <a:pt x="3" y="59"/>
                  </a:lnTo>
                  <a:lnTo>
                    <a:pt x="5" y="61"/>
                  </a:lnTo>
                  <a:lnTo>
                    <a:pt x="5" y="64"/>
                  </a:lnTo>
                  <a:lnTo>
                    <a:pt x="3" y="64"/>
                  </a:lnTo>
                  <a:lnTo>
                    <a:pt x="3" y="64"/>
                  </a:lnTo>
                  <a:lnTo>
                    <a:pt x="3" y="67"/>
                  </a:lnTo>
                  <a:lnTo>
                    <a:pt x="3" y="69"/>
                  </a:lnTo>
                  <a:lnTo>
                    <a:pt x="3" y="69"/>
                  </a:lnTo>
                  <a:lnTo>
                    <a:pt x="3" y="72"/>
                  </a:lnTo>
                  <a:lnTo>
                    <a:pt x="0" y="72"/>
                  </a:lnTo>
                  <a:lnTo>
                    <a:pt x="0" y="74"/>
                  </a:lnTo>
                  <a:lnTo>
                    <a:pt x="0" y="74"/>
                  </a:lnTo>
                  <a:lnTo>
                    <a:pt x="8" y="82"/>
                  </a:lnTo>
                  <a:lnTo>
                    <a:pt x="10" y="84"/>
                  </a:lnTo>
                  <a:lnTo>
                    <a:pt x="15" y="87"/>
                  </a:lnTo>
                  <a:lnTo>
                    <a:pt x="20" y="89"/>
                  </a:lnTo>
                  <a:lnTo>
                    <a:pt x="31" y="89"/>
                  </a:lnTo>
                  <a:lnTo>
                    <a:pt x="33" y="89"/>
                  </a:lnTo>
                  <a:lnTo>
                    <a:pt x="41" y="92"/>
                  </a:lnTo>
                  <a:lnTo>
                    <a:pt x="41" y="92"/>
                  </a:lnTo>
                  <a:lnTo>
                    <a:pt x="41" y="92"/>
                  </a:lnTo>
                  <a:lnTo>
                    <a:pt x="41" y="89"/>
                  </a:lnTo>
                  <a:lnTo>
                    <a:pt x="43" y="87"/>
                  </a:lnTo>
                  <a:lnTo>
                    <a:pt x="46" y="87"/>
                  </a:lnTo>
                  <a:lnTo>
                    <a:pt x="46" y="87"/>
                  </a:lnTo>
                  <a:lnTo>
                    <a:pt x="48" y="87"/>
                  </a:lnTo>
                  <a:lnTo>
                    <a:pt x="48" y="84"/>
                  </a:lnTo>
                  <a:lnTo>
                    <a:pt x="48" y="84"/>
                  </a:lnTo>
                  <a:lnTo>
                    <a:pt x="51" y="82"/>
                  </a:lnTo>
                  <a:lnTo>
                    <a:pt x="51" y="82"/>
                  </a:lnTo>
                  <a:lnTo>
                    <a:pt x="53" y="82"/>
                  </a:lnTo>
                  <a:lnTo>
                    <a:pt x="53" y="82"/>
                  </a:lnTo>
                  <a:lnTo>
                    <a:pt x="53" y="79"/>
                  </a:lnTo>
                  <a:lnTo>
                    <a:pt x="53" y="79"/>
                  </a:lnTo>
                  <a:lnTo>
                    <a:pt x="53" y="77"/>
                  </a:lnTo>
                  <a:lnTo>
                    <a:pt x="53" y="77"/>
                  </a:lnTo>
                  <a:lnTo>
                    <a:pt x="56" y="77"/>
                  </a:lnTo>
                  <a:lnTo>
                    <a:pt x="56" y="77"/>
                  </a:lnTo>
                  <a:lnTo>
                    <a:pt x="56" y="77"/>
                  </a:lnTo>
                  <a:lnTo>
                    <a:pt x="56" y="77"/>
                  </a:lnTo>
                  <a:lnTo>
                    <a:pt x="59" y="74"/>
                  </a:lnTo>
                  <a:lnTo>
                    <a:pt x="61" y="74"/>
                  </a:lnTo>
                  <a:lnTo>
                    <a:pt x="61" y="72"/>
                  </a:lnTo>
                  <a:lnTo>
                    <a:pt x="61" y="69"/>
                  </a:lnTo>
                  <a:lnTo>
                    <a:pt x="61" y="67"/>
                  </a:lnTo>
                  <a:lnTo>
                    <a:pt x="61" y="67"/>
                  </a:lnTo>
                  <a:lnTo>
                    <a:pt x="61" y="64"/>
                  </a:lnTo>
                  <a:lnTo>
                    <a:pt x="64" y="61"/>
                  </a:lnTo>
                  <a:lnTo>
                    <a:pt x="66" y="61"/>
                  </a:lnTo>
                  <a:lnTo>
                    <a:pt x="66" y="61"/>
                  </a:lnTo>
                  <a:lnTo>
                    <a:pt x="69" y="59"/>
                  </a:lnTo>
                  <a:lnTo>
                    <a:pt x="74" y="56"/>
                  </a:lnTo>
                  <a:lnTo>
                    <a:pt x="76" y="54"/>
                  </a:lnTo>
                  <a:lnTo>
                    <a:pt x="79" y="51"/>
                  </a:lnTo>
                  <a:lnTo>
                    <a:pt x="82" y="49"/>
                  </a:lnTo>
                  <a:lnTo>
                    <a:pt x="84" y="49"/>
                  </a:lnTo>
                  <a:lnTo>
                    <a:pt x="76" y="44"/>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306" name="Freeform 1925">
              <a:extLst>
                <a:ext uri="{FF2B5EF4-FFF2-40B4-BE49-F238E27FC236}">
                  <a16:creationId xmlns:a16="http://schemas.microsoft.com/office/drawing/2014/main" id="{2113053C-9305-F74C-90C2-08644922BA18}"/>
                </a:ext>
              </a:extLst>
            </p:cNvPr>
            <p:cNvSpPr>
              <a:spLocks/>
            </p:cNvSpPr>
            <p:nvPr/>
          </p:nvSpPr>
          <p:spPr bwMode="auto">
            <a:xfrm>
              <a:off x="10330972" y="3294051"/>
              <a:ext cx="9814" cy="16357"/>
            </a:xfrm>
            <a:custGeom>
              <a:avLst/>
              <a:gdLst>
                <a:gd name="T0" fmla="*/ 3 w 6"/>
                <a:gd name="T1" fmla="*/ 2 h 10"/>
                <a:gd name="T2" fmla="*/ 3 w 6"/>
                <a:gd name="T3" fmla="*/ 0 h 10"/>
                <a:gd name="T4" fmla="*/ 3 w 6"/>
                <a:gd name="T5" fmla="*/ 0 h 10"/>
                <a:gd name="T6" fmla="*/ 3 w 6"/>
                <a:gd name="T7" fmla="*/ 2 h 10"/>
                <a:gd name="T8" fmla="*/ 0 w 6"/>
                <a:gd name="T9" fmla="*/ 5 h 10"/>
                <a:gd name="T10" fmla="*/ 0 w 6"/>
                <a:gd name="T11" fmla="*/ 7 h 10"/>
                <a:gd name="T12" fmla="*/ 0 w 6"/>
                <a:gd name="T13" fmla="*/ 7 h 10"/>
                <a:gd name="T14" fmla="*/ 0 w 6"/>
                <a:gd name="T15" fmla="*/ 10 h 10"/>
                <a:gd name="T16" fmla="*/ 3 w 6"/>
                <a:gd name="T17" fmla="*/ 10 h 10"/>
                <a:gd name="T18" fmla="*/ 3 w 6"/>
                <a:gd name="T19" fmla="*/ 5 h 10"/>
                <a:gd name="T20" fmla="*/ 6 w 6"/>
                <a:gd name="T21" fmla="*/ 2 h 10"/>
                <a:gd name="T22" fmla="*/ 3 w 6"/>
                <a:gd name="T23"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 h="10">
                  <a:moveTo>
                    <a:pt x="3" y="2"/>
                  </a:moveTo>
                  <a:lnTo>
                    <a:pt x="3" y="0"/>
                  </a:lnTo>
                  <a:lnTo>
                    <a:pt x="3" y="0"/>
                  </a:lnTo>
                  <a:lnTo>
                    <a:pt x="3" y="2"/>
                  </a:lnTo>
                  <a:lnTo>
                    <a:pt x="0" y="5"/>
                  </a:lnTo>
                  <a:lnTo>
                    <a:pt x="0" y="7"/>
                  </a:lnTo>
                  <a:lnTo>
                    <a:pt x="0" y="7"/>
                  </a:lnTo>
                  <a:lnTo>
                    <a:pt x="0" y="10"/>
                  </a:lnTo>
                  <a:lnTo>
                    <a:pt x="3" y="10"/>
                  </a:lnTo>
                  <a:lnTo>
                    <a:pt x="3" y="5"/>
                  </a:lnTo>
                  <a:lnTo>
                    <a:pt x="6" y="2"/>
                  </a:lnTo>
                  <a:lnTo>
                    <a:pt x="3" y="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307" name="Freeform 1926">
              <a:extLst>
                <a:ext uri="{FF2B5EF4-FFF2-40B4-BE49-F238E27FC236}">
                  <a16:creationId xmlns:a16="http://schemas.microsoft.com/office/drawing/2014/main" id="{8DC2B0F4-58C8-1043-8F47-FD40606C592B}"/>
                </a:ext>
              </a:extLst>
            </p:cNvPr>
            <p:cNvSpPr>
              <a:spLocks noEditPoints="1"/>
            </p:cNvSpPr>
            <p:nvPr/>
          </p:nvSpPr>
          <p:spPr bwMode="auto">
            <a:xfrm>
              <a:off x="3603186" y="3189364"/>
              <a:ext cx="21265" cy="21265"/>
            </a:xfrm>
            <a:custGeom>
              <a:avLst/>
              <a:gdLst>
                <a:gd name="T0" fmla="*/ 3 w 13"/>
                <a:gd name="T1" fmla="*/ 2 h 13"/>
                <a:gd name="T2" fmla="*/ 3 w 13"/>
                <a:gd name="T3" fmla="*/ 2 h 13"/>
                <a:gd name="T4" fmla="*/ 3 w 13"/>
                <a:gd name="T5" fmla="*/ 2 h 13"/>
                <a:gd name="T6" fmla="*/ 0 w 13"/>
                <a:gd name="T7" fmla="*/ 2 h 13"/>
                <a:gd name="T8" fmla="*/ 0 w 13"/>
                <a:gd name="T9" fmla="*/ 10 h 13"/>
                <a:gd name="T10" fmla="*/ 3 w 13"/>
                <a:gd name="T11" fmla="*/ 10 h 13"/>
                <a:gd name="T12" fmla="*/ 3 w 13"/>
                <a:gd name="T13" fmla="*/ 13 h 13"/>
                <a:gd name="T14" fmla="*/ 5 w 13"/>
                <a:gd name="T15" fmla="*/ 10 h 13"/>
                <a:gd name="T16" fmla="*/ 5 w 13"/>
                <a:gd name="T17" fmla="*/ 10 h 13"/>
                <a:gd name="T18" fmla="*/ 5 w 13"/>
                <a:gd name="T19" fmla="*/ 5 h 13"/>
                <a:gd name="T20" fmla="*/ 5 w 13"/>
                <a:gd name="T21" fmla="*/ 5 h 13"/>
                <a:gd name="T22" fmla="*/ 5 w 13"/>
                <a:gd name="T23" fmla="*/ 5 h 13"/>
                <a:gd name="T24" fmla="*/ 3 w 13"/>
                <a:gd name="T25" fmla="*/ 2 h 13"/>
                <a:gd name="T26" fmla="*/ 10 w 13"/>
                <a:gd name="T27" fmla="*/ 10 h 13"/>
                <a:gd name="T28" fmla="*/ 10 w 13"/>
                <a:gd name="T29" fmla="*/ 10 h 13"/>
                <a:gd name="T30" fmla="*/ 10 w 13"/>
                <a:gd name="T31" fmla="*/ 13 h 13"/>
                <a:gd name="T32" fmla="*/ 10 w 13"/>
                <a:gd name="T33" fmla="*/ 13 h 13"/>
                <a:gd name="T34" fmla="*/ 10 w 13"/>
                <a:gd name="T35" fmla="*/ 13 h 13"/>
                <a:gd name="T36" fmla="*/ 10 w 13"/>
                <a:gd name="T37" fmla="*/ 13 h 13"/>
                <a:gd name="T38" fmla="*/ 13 w 13"/>
                <a:gd name="T39" fmla="*/ 13 h 13"/>
                <a:gd name="T40" fmla="*/ 13 w 13"/>
                <a:gd name="T41" fmla="*/ 13 h 13"/>
                <a:gd name="T42" fmla="*/ 10 w 13"/>
                <a:gd name="T43" fmla="*/ 10 h 13"/>
                <a:gd name="T44" fmla="*/ 13 w 13"/>
                <a:gd name="T45" fmla="*/ 5 h 13"/>
                <a:gd name="T46" fmla="*/ 10 w 13"/>
                <a:gd name="T47" fmla="*/ 2 h 13"/>
                <a:gd name="T48" fmla="*/ 8 w 13"/>
                <a:gd name="T49" fmla="*/ 0 h 13"/>
                <a:gd name="T50" fmla="*/ 8 w 13"/>
                <a:gd name="T51" fmla="*/ 0 h 13"/>
                <a:gd name="T52" fmla="*/ 8 w 13"/>
                <a:gd name="T53" fmla="*/ 0 h 13"/>
                <a:gd name="T54" fmla="*/ 8 w 13"/>
                <a:gd name="T55" fmla="*/ 0 h 13"/>
                <a:gd name="T56" fmla="*/ 5 w 13"/>
                <a:gd name="T57" fmla="*/ 0 h 13"/>
                <a:gd name="T58" fmla="*/ 8 w 13"/>
                <a:gd name="T59" fmla="*/ 2 h 13"/>
                <a:gd name="T60" fmla="*/ 5 w 13"/>
                <a:gd name="T61" fmla="*/ 5 h 13"/>
                <a:gd name="T62" fmla="*/ 5 w 13"/>
                <a:gd name="T63" fmla="*/ 5 h 13"/>
                <a:gd name="T64" fmla="*/ 8 w 13"/>
                <a:gd name="T65" fmla="*/ 5 h 13"/>
                <a:gd name="T66" fmla="*/ 10 w 13"/>
                <a:gd name="T67" fmla="*/ 5 h 13"/>
                <a:gd name="T68" fmla="*/ 13 w 13"/>
                <a:gd name="T69" fmla="*/ 5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 h="13">
                  <a:moveTo>
                    <a:pt x="3" y="2"/>
                  </a:moveTo>
                  <a:lnTo>
                    <a:pt x="3" y="2"/>
                  </a:lnTo>
                  <a:lnTo>
                    <a:pt x="3" y="2"/>
                  </a:lnTo>
                  <a:lnTo>
                    <a:pt x="0" y="2"/>
                  </a:lnTo>
                  <a:lnTo>
                    <a:pt x="0" y="10"/>
                  </a:lnTo>
                  <a:lnTo>
                    <a:pt x="3" y="10"/>
                  </a:lnTo>
                  <a:lnTo>
                    <a:pt x="3" y="13"/>
                  </a:lnTo>
                  <a:lnTo>
                    <a:pt x="5" y="10"/>
                  </a:lnTo>
                  <a:lnTo>
                    <a:pt x="5" y="10"/>
                  </a:lnTo>
                  <a:lnTo>
                    <a:pt x="5" y="5"/>
                  </a:lnTo>
                  <a:lnTo>
                    <a:pt x="5" y="5"/>
                  </a:lnTo>
                  <a:lnTo>
                    <a:pt x="5" y="5"/>
                  </a:lnTo>
                  <a:lnTo>
                    <a:pt x="3" y="2"/>
                  </a:lnTo>
                  <a:close/>
                  <a:moveTo>
                    <a:pt x="10" y="10"/>
                  </a:moveTo>
                  <a:lnTo>
                    <a:pt x="10" y="10"/>
                  </a:lnTo>
                  <a:lnTo>
                    <a:pt x="10" y="13"/>
                  </a:lnTo>
                  <a:lnTo>
                    <a:pt x="10" y="13"/>
                  </a:lnTo>
                  <a:lnTo>
                    <a:pt x="10" y="13"/>
                  </a:lnTo>
                  <a:lnTo>
                    <a:pt x="10" y="13"/>
                  </a:lnTo>
                  <a:lnTo>
                    <a:pt x="13" y="13"/>
                  </a:lnTo>
                  <a:lnTo>
                    <a:pt x="13" y="13"/>
                  </a:lnTo>
                  <a:lnTo>
                    <a:pt x="10" y="10"/>
                  </a:lnTo>
                  <a:close/>
                  <a:moveTo>
                    <a:pt x="13" y="5"/>
                  </a:moveTo>
                  <a:lnTo>
                    <a:pt x="10" y="2"/>
                  </a:lnTo>
                  <a:lnTo>
                    <a:pt x="8" y="0"/>
                  </a:lnTo>
                  <a:lnTo>
                    <a:pt x="8" y="0"/>
                  </a:lnTo>
                  <a:lnTo>
                    <a:pt x="8" y="0"/>
                  </a:lnTo>
                  <a:lnTo>
                    <a:pt x="8" y="0"/>
                  </a:lnTo>
                  <a:lnTo>
                    <a:pt x="5" y="0"/>
                  </a:lnTo>
                  <a:lnTo>
                    <a:pt x="8" y="2"/>
                  </a:lnTo>
                  <a:lnTo>
                    <a:pt x="5" y="5"/>
                  </a:lnTo>
                  <a:lnTo>
                    <a:pt x="5" y="5"/>
                  </a:lnTo>
                  <a:lnTo>
                    <a:pt x="8" y="5"/>
                  </a:lnTo>
                  <a:lnTo>
                    <a:pt x="10" y="5"/>
                  </a:lnTo>
                  <a:lnTo>
                    <a:pt x="13" y="5"/>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308" name="Freeform 1927">
              <a:extLst>
                <a:ext uri="{FF2B5EF4-FFF2-40B4-BE49-F238E27FC236}">
                  <a16:creationId xmlns:a16="http://schemas.microsoft.com/office/drawing/2014/main" id="{0C12AB1E-A6AB-9340-8EF8-A57A39A0E401}"/>
                </a:ext>
              </a:extLst>
            </p:cNvPr>
            <p:cNvSpPr>
              <a:spLocks noEditPoints="1"/>
            </p:cNvSpPr>
            <p:nvPr/>
          </p:nvSpPr>
          <p:spPr bwMode="auto">
            <a:xfrm>
              <a:off x="4187144" y="904240"/>
              <a:ext cx="1333126" cy="703367"/>
            </a:xfrm>
            <a:custGeom>
              <a:avLst/>
              <a:gdLst>
                <a:gd name="T0" fmla="*/ 186 w 815"/>
                <a:gd name="T1" fmla="*/ 234 h 430"/>
                <a:gd name="T2" fmla="*/ 176 w 815"/>
                <a:gd name="T3" fmla="*/ 232 h 430"/>
                <a:gd name="T4" fmla="*/ 568 w 815"/>
                <a:gd name="T5" fmla="*/ 211 h 430"/>
                <a:gd name="T6" fmla="*/ 568 w 815"/>
                <a:gd name="T7" fmla="*/ 211 h 430"/>
                <a:gd name="T8" fmla="*/ 153 w 815"/>
                <a:gd name="T9" fmla="*/ 176 h 430"/>
                <a:gd name="T10" fmla="*/ 13 w 815"/>
                <a:gd name="T11" fmla="*/ 92 h 430"/>
                <a:gd name="T12" fmla="*/ 716 w 815"/>
                <a:gd name="T13" fmla="*/ 51 h 430"/>
                <a:gd name="T14" fmla="*/ 813 w 815"/>
                <a:gd name="T15" fmla="*/ 25 h 430"/>
                <a:gd name="T16" fmla="*/ 670 w 815"/>
                <a:gd name="T17" fmla="*/ 38 h 430"/>
                <a:gd name="T18" fmla="*/ 601 w 815"/>
                <a:gd name="T19" fmla="*/ 18 h 430"/>
                <a:gd name="T20" fmla="*/ 652 w 815"/>
                <a:gd name="T21" fmla="*/ 3 h 430"/>
                <a:gd name="T22" fmla="*/ 510 w 815"/>
                <a:gd name="T23" fmla="*/ 5 h 430"/>
                <a:gd name="T24" fmla="*/ 466 w 815"/>
                <a:gd name="T25" fmla="*/ 10 h 430"/>
                <a:gd name="T26" fmla="*/ 357 w 815"/>
                <a:gd name="T27" fmla="*/ 23 h 430"/>
                <a:gd name="T28" fmla="*/ 247 w 815"/>
                <a:gd name="T29" fmla="*/ 23 h 430"/>
                <a:gd name="T30" fmla="*/ 186 w 815"/>
                <a:gd name="T31" fmla="*/ 31 h 430"/>
                <a:gd name="T32" fmla="*/ 143 w 815"/>
                <a:gd name="T33" fmla="*/ 48 h 430"/>
                <a:gd name="T34" fmla="*/ 48 w 815"/>
                <a:gd name="T35" fmla="*/ 71 h 430"/>
                <a:gd name="T36" fmla="*/ 36 w 815"/>
                <a:gd name="T37" fmla="*/ 89 h 430"/>
                <a:gd name="T38" fmla="*/ 18 w 815"/>
                <a:gd name="T39" fmla="*/ 97 h 430"/>
                <a:gd name="T40" fmla="*/ 33 w 815"/>
                <a:gd name="T41" fmla="*/ 114 h 430"/>
                <a:gd name="T42" fmla="*/ 109 w 815"/>
                <a:gd name="T43" fmla="*/ 112 h 430"/>
                <a:gd name="T44" fmla="*/ 171 w 815"/>
                <a:gd name="T45" fmla="*/ 142 h 430"/>
                <a:gd name="T46" fmla="*/ 168 w 815"/>
                <a:gd name="T47" fmla="*/ 163 h 430"/>
                <a:gd name="T48" fmla="*/ 155 w 815"/>
                <a:gd name="T49" fmla="*/ 183 h 430"/>
                <a:gd name="T50" fmla="*/ 181 w 815"/>
                <a:gd name="T51" fmla="*/ 191 h 430"/>
                <a:gd name="T52" fmla="*/ 199 w 815"/>
                <a:gd name="T53" fmla="*/ 193 h 430"/>
                <a:gd name="T54" fmla="*/ 201 w 815"/>
                <a:gd name="T55" fmla="*/ 216 h 430"/>
                <a:gd name="T56" fmla="*/ 194 w 815"/>
                <a:gd name="T57" fmla="*/ 224 h 430"/>
                <a:gd name="T58" fmla="*/ 181 w 815"/>
                <a:gd name="T59" fmla="*/ 252 h 430"/>
                <a:gd name="T60" fmla="*/ 163 w 815"/>
                <a:gd name="T61" fmla="*/ 262 h 430"/>
                <a:gd name="T62" fmla="*/ 155 w 815"/>
                <a:gd name="T63" fmla="*/ 270 h 430"/>
                <a:gd name="T64" fmla="*/ 122 w 815"/>
                <a:gd name="T65" fmla="*/ 300 h 430"/>
                <a:gd name="T66" fmla="*/ 135 w 815"/>
                <a:gd name="T67" fmla="*/ 310 h 430"/>
                <a:gd name="T68" fmla="*/ 135 w 815"/>
                <a:gd name="T69" fmla="*/ 331 h 430"/>
                <a:gd name="T70" fmla="*/ 125 w 815"/>
                <a:gd name="T71" fmla="*/ 341 h 430"/>
                <a:gd name="T72" fmla="*/ 143 w 815"/>
                <a:gd name="T73" fmla="*/ 361 h 430"/>
                <a:gd name="T74" fmla="*/ 137 w 815"/>
                <a:gd name="T75" fmla="*/ 392 h 430"/>
                <a:gd name="T76" fmla="*/ 171 w 815"/>
                <a:gd name="T77" fmla="*/ 407 h 430"/>
                <a:gd name="T78" fmla="*/ 206 w 815"/>
                <a:gd name="T79" fmla="*/ 420 h 430"/>
                <a:gd name="T80" fmla="*/ 219 w 815"/>
                <a:gd name="T81" fmla="*/ 412 h 430"/>
                <a:gd name="T82" fmla="*/ 262 w 815"/>
                <a:gd name="T83" fmla="*/ 369 h 430"/>
                <a:gd name="T84" fmla="*/ 293 w 815"/>
                <a:gd name="T85" fmla="*/ 338 h 430"/>
                <a:gd name="T86" fmla="*/ 344 w 815"/>
                <a:gd name="T87" fmla="*/ 303 h 430"/>
                <a:gd name="T88" fmla="*/ 372 w 815"/>
                <a:gd name="T89" fmla="*/ 303 h 430"/>
                <a:gd name="T90" fmla="*/ 431 w 815"/>
                <a:gd name="T91" fmla="*/ 275 h 430"/>
                <a:gd name="T92" fmla="*/ 489 w 815"/>
                <a:gd name="T93" fmla="*/ 257 h 430"/>
                <a:gd name="T94" fmla="*/ 583 w 815"/>
                <a:gd name="T95" fmla="*/ 234 h 430"/>
                <a:gd name="T96" fmla="*/ 533 w 815"/>
                <a:gd name="T97" fmla="*/ 224 h 430"/>
                <a:gd name="T98" fmla="*/ 563 w 815"/>
                <a:gd name="T99" fmla="*/ 206 h 430"/>
                <a:gd name="T100" fmla="*/ 612 w 815"/>
                <a:gd name="T101" fmla="*/ 209 h 430"/>
                <a:gd name="T102" fmla="*/ 612 w 815"/>
                <a:gd name="T103" fmla="*/ 188 h 430"/>
                <a:gd name="T104" fmla="*/ 596 w 815"/>
                <a:gd name="T105" fmla="*/ 176 h 430"/>
                <a:gd name="T106" fmla="*/ 555 w 815"/>
                <a:gd name="T107" fmla="*/ 168 h 430"/>
                <a:gd name="T108" fmla="*/ 601 w 815"/>
                <a:gd name="T109" fmla="*/ 158 h 430"/>
                <a:gd name="T110" fmla="*/ 640 w 815"/>
                <a:gd name="T111" fmla="*/ 148 h 430"/>
                <a:gd name="T112" fmla="*/ 650 w 815"/>
                <a:gd name="T113" fmla="*/ 135 h 430"/>
                <a:gd name="T114" fmla="*/ 668 w 815"/>
                <a:gd name="T115" fmla="*/ 112 h 430"/>
                <a:gd name="T116" fmla="*/ 706 w 815"/>
                <a:gd name="T117" fmla="*/ 94 h 430"/>
                <a:gd name="T118" fmla="*/ 678 w 815"/>
                <a:gd name="T119" fmla="*/ 76 h 430"/>
                <a:gd name="T120" fmla="*/ 701 w 815"/>
                <a:gd name="T121" fmla="*/ 53 h 430"/>
                <a:gd name="T122" fmla="*/ 785 w 815"/>
                <a:gd name="T123" fmla="*/ 36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15" h="430">
                  <a:moveTo>
                    <a:pt x="176" y="407"/>
                  </a:moveTo>
                  <a:lnTo>
                    <a:pt x="168" y="410"/>
                  </a:lnTo>
                  <a:lnTo>
                    <a:pt x="168" y="410"/>
                  </a:lnTo>
                  <a:lnTo>
                    <a:pt x="171" y="410"/>
                  </a:lnTo>
                  <a:lnTo>
                    <a:pt x="173" y="410"/>
                  </a:lnTo>
                  <a:lnTo>
                    <a:pt x="173" y="410"/>
                  </a:lnTo>
                  <a:lnTo>
                    <a:pt x="173" y="412"/>
                  </a:lnTo>
                  <a:lnTo>
                    <a:pt x="178" y="410"/>
                  </a:lnTo>
                  <a:lnTo>
                    <a:pt x="178" y="407"/>
                  </a:lnTo>
                  <a:lnTo>
                    <a:pt x="178" y="407"/>
                  </a:lnTo>
                  <a:lnTo>
                    <a:pt x="181" y="405"/>
                  </a:lnTo>
                  <a:lnTo>
                    <a:pt x="176" y="407"/>
                  </a:lnTo>
                  <a:close/>
                  <a:moveTo>
                    <a:pt x="359" y="310"/>
                  </a:moveTo>
                  <a:lnTo>
                    <a:pt x="357" y="310"/>
                  </a:lnTo>
                  <a:lnTo>
                    <a:pt x="359" y="313"/>
                  </a:lnTo>
                  <a:lnTo>
                    <a:pt x="359" y="313"/>
                  </a:lnTo>
                  <a:lnTo>
                    <a:pt x="362" y="310"/>
                  </a:lnTo>
                  <a:lnTo>
                    <a:pt x="362" y="310"/>
                  </a:lnTo>
                  <a:lnTo>
                    <a:pt x="362" y="308"/>
                  </a:lnTo>
                  <a:lnTo>
                    <a:pt x="359" y="310"/>
                  </a:lnTo>
                  <a:close/>
                  <a:moveTo>
                    <a:pt x="188" y="234"/>
                  </a:moveTo>
                  <a:lnTo>
                    <a:pt x="191" y="234"/>
                  </a:lnTo>
                  <a:lnTo>
                    <a:pt x="191" y="234"/>
                  </a:lnTo>
                  <a:lnTo>
                    <a:pt x="191" y="232"/>
                  </a:lnTo>
                  <a:lnTo>
                    <a:pt x="194" y="232"/>
                  </a:lnTo>
                  <a:lnTo>
                    <a:pt x="196" y="229"/>
                  </a:lnTo>
                  <a:lnTo>
                    <a:pt x="196" y="229"/>
                  </a:lnTo>
                  <a:lnTo>
                    <a:pt x="196" y="229"/>
                  </a:lnTo>
                  <a:lnTo>
                    <a:pt x="194" y="226"/>
                  </a:lnTo>
                  <a:lnTo>
                    <a:pt x="191" y="226"/>
                  </a:lnTo>
                  <a:lnTo>
                    <a:pt x="191" y="226"/>
                  </a:lnTo>
                  <a:lnTo>
                    <a:pt x="188" y="229"/>
                  </a:lnTo>
                  <a:lnTo>
                    <a:pt x="188" y="229"/>
                  </a:lnTo>
                  <a:lnTo>
                    <a:pt x="186" y="232"/>
                  </a:lnTo>
                  <a:lnTo>
                    <a:pt x="186" y="232"/>
                  </a:lnTo>
                  <a:lnTo>
                    <a:pt x="186" y="234"/>
                  </a:lnTo>
                  <a:lnTo>
                    <a:pt x="186" y="234"/>
                  </a:lnTo>
                  <a:lnTo>
                    <a:pt x="186" y="234"/>
                  </a:lnTo>
                  <a:lnTo>
                    <a:pt x="188" y="234"/>
                  </a:lnTo>
                  <a:close/>
                  <a:moveTo>
                    <a:pt x="140" y="226"/>
                  </a:moveTo>
                  <a:lnTo>
                    <a:pt x="140" y="226"/>
                  </a:lnTo>
                  <a:lnTo>
                    <a:pt x="137" y="226"/>
                  </a:lnTo>
                  <a:lnTo>
                    <a:pt x="135" y="232"/>
                  </a:lnTo>
                  <a:lnTo>
                    <a:pt x="135" y="232"/>
                  </a:lnTo>
                  <a:lnTo>
                    <a:pt x="135" y="232"/>
                  </a:lnTo>
                  <a:lnTo>
                    <a:pt x="135" y="234"/>
                  </a:lnTo>
                  <a:lnTo>
                    <a:pt x="140" y="234"/>
                  </a:lnTo>
                  <a:lnTo>
                    <a:pt x="145" y="234"/>
                  </a:lnTo>
                  <a:lnTo>
                    <a:pt x="145" y="234"/>
                  </a:lnTo>
                  <a:lnTo>
                    <a:pt x="148" y="234"/>
                  </a:lnTo>
                  <a:lnTo>
                    <a:pt x="148" y="234"/>
                  </a:lnTo>
                  <a:lnTo>
                    <a:pt x="148" y="234"/>
                  </a:lnTo>
                  <a:lnTo>
                    <a:pt x="150" y="234"/>
                  </a:lnTo>
                  <a:lnTo>
                    <a:pt x="150" y="237"/>
                  </a:lnTo>
                  <a:lnTo>
                    <a:pt x="145" y="237"/>
                  </a:lnTo>
                  <a:lnTo>
                    <a:pt x="145" y="237"/>
                  </a:lnTo>
                  <a:lnTo>
                    <a:pt x="143" y="237"/>
                  </a:lnTo>
                  <a:lnTo>
                    <a:pt x="143" y="237"/>
                  </a:lnTo>
                  <a:lnTo>
                    <a:pt x="143" y="237"/>
                  </a:lnTo>
                  <a:lnTo>
                    <a:pt x="143" y="239"/>
                  </a:lnTo>
                  <a:lnTo>
                    <a:pt x="145" y="239"/>
                  </a:lnTo>
                  <a:lnTo>
                    <a:pt x="145" y="239"/>
                  </a:lnTo>
                  <a:lnTo>
                    <a:pt x="145" y="239"/>
                  </a:lnTo>
                  <a:lnTo>
                    <a:pt x="148" y="239"/>
                  </a:lnTo>
                  <a:lnTo>
                    <a:pt x="158" y="239"/>
                  </a:lnTo>
                  <a:lnTo>
                    <a:pt x="160" y="237"/>
                  </a:lnTo>
                  <a:lnTo>
                    <a:pt x="173" y="237"/>
                  </a:lnTo>
                  <a:lnTo>
                    <a:pt x="176" y="234"/>
                  </a:lnTo>
                  <a:lnTo>
                    <a:pt x="176" y="234"/>
                  </a:lnTo>
                  <a:lnTo>
                    <a:pt x="178" y="232"/>
                  </a:lnTo>
                  <a:lnTo>
                    <a:pt x="176" y="232"/>
                  </a:lnTo>
                  <a:lnTo>
                    <a:pt x="176" y="232"/>
                  </a:lnTo>
                  <a:lnTo>
                    <a:pt x="176" y="232"/>
                  </a:lnTo>
                  <a:lnTo>
                    <a:pt x="178" y="232"/>
                  </a:lnTo>
                  <a:lnTo>
                    <a:pt x="178" y="232"/>
                  </a:lnTo>
                  <a:lnTo>
                    <a:pt x="178" y="229"/>
                  </a:lnTo>
                  <a:lnTo>
                    <a:pt x="176" y="229"/>
                  </a:lnTo>
                  <a:lnTo>
                    <a:pt x="173" y="229"/>
                  </a:lnTo>
                  <a:lnTo>
                    <a:pt x="168" y="226"/>
                  </a:lnTo>
                  <a:lnTo>
                    <a:pt x="166" y="224"/>
                  </a:lnTo>
                  <a:lnTo>
                    <a:pt x="163" y="221"/>
                  </a:lnTo>
                  <a:lnTo>
                    <a:pt x="163" y="221"/>
                  </a:lnTo>
                  <a:lnTo>
                    <a:pt x="153" y="219"/>
                  </a:lnTo>
                  <a:lnTo>
                    <a:pt x="150" y="219"/>
                  </a:lnTo>
                  <a:lnTo>
                    <a:pt x="143" y="221"/>
                  </a:lnTo>
                  <a:lnTo>
                    <a:pt x="143" y="221"/>
                  </a:lnTo>
                  <a:lnTo>
                    <a:pt x="140" y="221"/>
                  </a:lnTo>
                  <a:lnTo>
                    <a:pt x="140" y="221"/>
                  </a:lnTo>
                  <a:lnTo>
                    <a:pt x="140" y="224"/>
                  </a:lnTo>
                  <a:lnTo>
                    <a:pt x="140" y="224"/>
                  </a:lnTo>
                  <a:lnTo>
                    <a:pt x="140" y="224"/>
                  </a:lnTo>
                  <a:lnTo>
                    <a:pt x="143" y="226"/>
                  </a:lnTo>
                  <a:lnTo>
                    <a:pt x="145" y="226"/>
                  </a:lnTo>
                  <a:lnTo>
                    <a:pt x="145" y="226"/>
                  </a:lnTo>
                  <a:lnTo>
                    <a:pt x="140" y="226"/>
                  </a:lnTo>
                  <a:close/>
                  <a:moveTo>
                    <a:pt x="194" y="209"/>
                  </a:moveTo>
                  <a:lnTo>
                    <a:pt x="194" y="209"/>
                  </a:lnTo>
                  <a:lnTo>
                    <a:pt x="194" y="209"/>
                  </a:lnTo>
                  <a:lnTo>
                    <a:pt x="194" y="209"/>
                  </a:lnTo>
                  <a:lnTo>
                    <a:pt x="191" y="206"/>
                  </a:lnTo>
                  <a:lnTo>
                    <a:pt x="188" y="209"/>
                  </a:lnTo>
                  <a:lnTo>
                    <a:pt x="188" y="209"/>
                  </a:lnTo>
                  <a:lnTo>
                    <a:pt x="188" y="209"/>
                  </a:lnTo>
                  <a:lnTo>
                    <a:pt x="188" y="209"/>
                  </a:lnTo>
                  <a:lnTo>
                    <a:pt x="191" y="209"/>
                  </a:lnTo>
                  <a:lnTo>
                    <a:pt x="194" y="209"/>
                  </a:lnTo>
                  <a:close/>
                  <a:moveTo>
                    <a:pt x="568" y="211"/>
                  </a:moveTo>
                  <a:lnTo>
                    <a:pt x="568" y="211"/>
                  </a:lnTo>
                  <a:lnTo>
                    <a:pt x="571" y="209"/>
                  </a:lnTo>
                  <a:lnTo>
                    <a:pt x="568" y="209"/>
                  </a:lnTo>
                  <a:lnTo>
                    <a:pt x="568" y="209"/>
                  </a:lnTo>
                  <a:lnTo>
                    <a:pt x="568" y="206"/>
                  </a:lnTo>
                  <a:lnTo>
                    <a:pt x="566" y="206"/>
                  </a:lnTo>
                  <a:lnTo>
                    <a:pt x="566" y="206"/>
                  </a:lnTo>
                  <a:lnTo>
                    <a:pt x="566" y="206"/>
                  </a:lnTo>
                  <a:lnTo>
                    <a:pt x="555" y="209"/>
                  </a:lnTo>
                  <a:lnTo>
                    <a:pt x="553" y="209"/>
                  </a:lnTo>
                  <a:lnTo>
                    <a:pt x="548" y="209"/>
                  </a:lnTo>
                  <a:lnTo>
                    <a:pt x="543" y="209"/>
                  </a:lnTo>
                  <a:lnTo>
                    <a:pt x="540" y="209"/>
                  </a:lnTo>
                  <a:lnTo>
                    <a:pt x="538" y="209"/>
                  </a:lnTo>
                  <a:lnTo>
                    <a:pt x="538" y="209"/>
                  </a:lnTo>
                  <a:lnTo>
                    <a:pt x="535" y="211"/>
                  </a:lnTo>
                  <a:lnTo>
                    <a:pt x="535" y="211"/>
                  </a:lnTo>
                  <a:lnTo>
                    <a:pt x="533" y="214"/>
                  </a:lnTo>
                  <a:lnTo>
                    <a:pt x="533" y="214"/>
                  </a:lnTo>
                  <a:lnTo>
                    <a:pt x="530" y="214"/>
                  </a:lnTo>
                  <a:lnTo>
                    <a:pt x="530" y="216"/>
                  </a:lnTo>
                  <a:lnTo>
                    <a:pt x="530" y="216"/>
                  </a:lnTo>
                  <a:lnTo>
                    <a:pt x="530" y="216"/>
                  </a:lnTo>
                  <a:lnTo>
                    <a:pt x="530" y="216"/>
                  </a:lnTo>
                  <a:lnTo>
                    <a:pt x="535" y="216"/>
                  </a:lnTo>
                  <a:lnTo>
                    <a:pt x="543" y="216"/>
                  </a:lnTo>
                  <a:lnTo>
                    <a:pt x="550" y="216"/>
                  </a:lnTo>
                  <a:lnTo>
                    <a:pt x="553" y="216"/>
                  </a:lnTo>
                  <a:lnTo>
                    <a:pt x="555" y="216"/>
                  </a:lnTo>
                  <a:lnTo>
                    <a:pt x="555" y="216"/>
                  </a:lnTo>
                  <a:lnTo>
                    <a:pt x="558" y="216"/>
                  </a:lnTo>
                  <a:lnTo>
                    <a:pt x="561" y="214"/>
                  </a:lnTo>
                  <a:lnTo>
                    <a:pt x="563" y="214"/>
                  </a:lnTo>
                  <a:lnTo>
                    <a:pt x="568" y="214"/>
                  </a:lnTo>
                  <a:lnTo>
                    <a:pt x="568" y="214"/>
                  </a:lnTo>
                  <a:lnTo>
                    <a:pt x="568" y="211"/>
                  </a:lnTo>
                  <a:lnTo>
                    <a:pt x="568" y="211"/>
                  </a:lnTo>
                  <a:lnTo>
                    <a:pt x="568" y="211"/>
                  </a:lnTo>
                  <a:lnTo>
                    <a:pt x="568" y="211"/>
                  </a:lnTo>
                  <a:lnTo>
                    <a:pt x="568" y="211"/>
                  </a:lnTo>
                  <a:close/>
                  <a:moveTo>
                    <a:pt x="168" y="206"/>
                  </a:moveTo>
                  <a:lnTo>
                    <a:pt x="168" y="206"/>
                  </a:lnTo>
                  <a:lnTo>
                    <a:pt x="171" y="206"/>
                  </a:lnTo>
                  <a:lnTo>
                    <a:pt x="171" y="206"/>
                  </a:lnTo>
                  <a:lnTo>
                    <a:pt x="171" y="204"/>
                  </a:lnTo>
                  <a:lnTo>
                    <a:pt x="171" y="204"/>
                  </a:lnTo>
                  <a:lnTo>
                    <a:pt x="173" y="204"/>
                  </a:lnTo>
                  <a:lnTo>
                    <a:pt x="171" y="201"/>
                  </a:lnTo>
                  <a:lnTo>
                    <a:pt x="171" y="201"/>
                  </a:lnTo>
                  <a:lnTo>
                    <a:pt x="171" y="201"/>
                  </a:lnTo>
                  <a:lnTo>
                    <a:pt x="166" y="204"/>
                  </a:lnTo>
                  <a:lnTo>
                    <a:pt x="166" y="204"/>
                  </a:lnTo>
                  <a:lnTo>
                    <a:pt x="163" y="204"/>
                  </a:lnTo>
                  <a:lnTo>
                    <a:pt x="163" y="206"/>
                  </a:lnTo>
                  <a:lnTo>
                    <a:pt x="166" y="206"/>
                  </a:lnTo>
                  <a:lnTo>
                    <a:pt x="168" y="206"/>
                  </a:lnTo>
                  <a:close/>
                  <a:moveTo>
                    <a:pt x="155" y="178"/>
                  </a:moveTo>
                  <a:lnTo>
                    <a:pt x="158" y="178"/>
                  </a:lnTo>
                  <a:lnTo>
                    <a:pt x="158" y="178"/>
                  </a:lnTo>
                  <a:lnTo>
                    <a:pt x="158" y="178"/>
                  </a:lnTo>
                  <a:lnTo>
                    <a:pt x="158" y="178"/>
                  </a:lnTo>
                  <a:lnTo>
                    <a:pt x="163" y="176"/>
                  </a:lnTo>
                  <a:lnTo>
                    <a:pt x="166" y="176"/>
                  </a:lnTo>
                  <a:lnTo>
                    <a:pt x="168" y="173"/>
                  </a:lnTo>
                  <a:lnTo>
                    <a:pt x="168" y="173"/>
                  </a:lnTo>
                  <a:lnTo>
                    <a:pt x="166" y="173"/>
                  </a:lnTo>
                  <a:lnTo>
                    <a:pt x="166" y="173"/>
                  </a:lnTo>
                  <a:lnTo>
                    <a:pt x="163" y="173"/>
                  </a:lnTo>
                  <a:lnTo>
                    <a:pt x="160" y="173"/>
                  </a:lnTo>
                  <a:lnTo>
                    <a:pt x="160" y="173"/>
                  </a:lnTo>
                  <a:lnTo>
                    <a:pt x="160" y="173"/>
                  </a:lnTo>
                  <a:lnTo>
                    <a:pt x="155" y="173"/>
                  </a:lnTo>
                  <a:lnTo>
                    <a:pt x="153" y="176"/>
                  </a:lnTo>
                  <a:lnTo>
                    <a:pt x="150" y="176"/>
                  </a:lnTo>
                  <a:lnTo>
                    <a:pt x="150" y="176"/>
                  </a:lnTo>
                  <a:lnTo>
                    <a:pt x="153" y="176"/>
                  </a:lnTo>
                  <a:lnTo>
                    <a:pt x="155" y="176"/>
                  </a:lnTo>
                  <a:lnTo>
                    <a:pt x="155" y="176"/>
                  </a:lnTo>
                  <a:lnTo>
                    <a:pt x="155" y="176"/>
                  </a:lnTo>
                  <a:lnTo>
                    <a:pt x="155" y="176"/>
                  </a:lnTo>
                  <a:lnTo>
                    <a:pt x="155" y="178"/>
                  </a:lnTo>
                  <a:close/>
                  <a:moveTo>
                    <a:pt x="701" y="132"/>
                  </a:moveTo>
                  <a:lnTo>
                    <a:pt x="701" y="130"/>
                  </a:lnTo>
                  <a:lnTo>
                    <a:pt x="701" y="130"/>
                  </a:lnTo>
                  <a:lnTo>
                    <a:pt x="701" y="127"/>
                  </a:lnTo>
                  <a:lnTo>
                    <a:pt x="696" y="127"/>
                  </a:lnTo>
                  <a:lnTo>
                    <a:pt x="693" y="127"/>
                  </a:lnTo>
                  <a:lnTo>
                    <a:pt x="691" y="127"/>
                  </a:lnTo>
                  <a:lnTo>
                    <a:pt x="688" y="127"/>
                  </a:lnTo>
                  <a:lnTo>
                    <a:pt x="685" y="130"/>
                  </a:lnTo>
                  <a:lnTo>
                    <a:pt x="685" y="132"/>
                  </a:lnTo>
                  <a:lnTo>
                    <a:pt x="688" y="135"/>
                  </a:lnTo>
                  <a:lnTo>
                    <a:pt x="693" y="135"/>
                  </a:lnTo>
                  <a:lnTo>
                    <a:pt x="703" y="135"/>
                  </a:lnTo>
                  <a:lnTo>
                    <a:pt x="706" y="132"/>
                  </a:lnTo>
                  <a:lnTo>
                    <a:pt x="706" y="132"/>
                  </a:lnTo>
                  <a:lnTo>
                    <a:pt x="701" y="132"/>
                  </a:lnTo>
                  <a:close/>
                  <a:moveTo>
                    <a:pt x="696" y="114"/>
                  </a:moveTo>
                  <a:lnTo>
                    <a:pt x="698" y="109"/>
                  </a:lnTo>
                  <a:lnTo>
                    <a:pt x="698" y="104"/>
                  </a:lnTo>
                  <a:lnTo>
                    <a:pt x="696" y="104"/>
                  </a:lnTo>
                  <a:lnTo>
                    <a:pt x="693" y="104"/>
                  </a:lnTo>
                  <a:lnTo>
                    <a:pt x="693" y="107"/>
                  </a:lnTo>
                  <a:lnTo>
                    <a:pt x="691" y="109"/>
                  </a:lnTo>
                  <a:lnTo>
                    <a:pt x="693" y="117"/>
                  </a:lnTo>
                  <a:lnTo>
                    <a:pt x="696" y="114"/>
                  </a:lnTo>
                  <a:close/>
                  <a:moveTo>
                    <a:pt x="15" y="92"/>
                  </a:moveTo>
                  <a:lnTo>
                    <a:pt x="13" y="92"/>
                  </a:lnTo>
                  <a:lnTo>
                    <a:pt x="13" y="92"/>
                  </a:lnTo>
                  <a:lnTo>
                    <a:pt x="8" y="92"/>
                  </a:lnTo>
                  <a:lnTo>
                    <a:pt x="8" y="92"/>
                  </a:lnTo>
                  <a:lnTo>
                    <a:pt x="5" y="92"/>
                  </a:lnTo>
                  <a:lnTo>
                    <a:pt x="2" y="92"/>
                  </a:lnTo>
                  <a:lnTo>
                    <a:pt x="2" y="92"/>
                  </a:lnTo>
                  <a:lnTo>
                    <a:pt x="0" y="92"/>
                  </a:lnTo>
                  <a:lnTo>
                    <a:pt x="2" y="94"/>
                  </a:lnTo>
                  <a:lnTo>
                    <a:pt x="5" y="94"/>
                  </a:lnTo>
                  <a:lnTo>
                    <a:pt x="10" y="94"/>
                  </a:lnTo>
                  <a:lnTo>
                    <a:pt x="13" y="94"/>
                  </a:lnTo>
                  <a:lnTo>
                    <a:pt x="15" y="92"/>
                  </a:lnTo>
                  <a:close/>
                  <a:moveTo>
                    <a:pt x="716" y="84"/>
                  </a:moveTo>
                  <a:lnTo>
                    <a:pt x="716" y="84"/>
                  </a:lnTo>
                  <a:lnTo>
                    <a:pt x="711" y="87"/>
                  </a:lnTo>
                  <a:lnTo>
                    <a:pt x="711" y="87"/>
                  </a:lnTo>
                  <a:lnTo>
                    <a:pt x="711" y="89"/>
                  </a:lnTo>
                  <a:lnTo>
                    <a:pt x="713" y="89"/>
                  </a:lnTo>
                  <a:lnTo>
                    <a:pt x="716" y="87"/>
                  </a:lnTo>
                  <a:lnTo>
                    <a:pt x="719" y="87"/>
                  </a:lnTo>
                  <a:lnTo>
                    <a:pt x="719" y="84"/>
                  </a:lnTo>
                  <a:lnTo>
                    <a:pt x="716" y="84"/>
                  </a:lnTo>
                  <a:close/>
                  <a:moveTo>
                    <a:pt x="706" y="76"/>
                  </a:moveTo>
                  <a:lnTo>
                    <a:pt x="706" y="74"/>
                  </a:lnTo>
                  <a:lnTo>
                    <a:pt x="703" y="76"/>
                  </a:lnTo>
                  <a:lnTo>
                    <a:pt x="701" y="76"/>
                  </a:lnTo>
                  <a:lnTo>
                    <a:pt x="701" y="79"/>
                  </a:lnTo>
                  <a:lnTo>
                    <a:pt x="701" y="81"/>
                  </a:lnTo>
                  <a:lnTo>
                    <a:pt x="701" y="84"/>
                  </a:lnTo>
                  <a:lnTo>
                    <a:pt x="703" y="81"/>
                  </a:lnTo>
                  <a:lnTo>
                    <a:pt x="706" y="81"/>
                  </a:lnTo>
                  <a:lnTo>
                    <a:pt x="703" y="79"/>
                  </a:lnTo>
                  <a:lnTo>
                    <a:pt x="706" y="76"/>
                  </a:lnTo>
                  <a:lnTo>
                    <a:pt x="706" y="76"/>
                  </a:lnTo>
                  <a:close/>
                  <a:moveTo>
                    <a:pt x="729" y="48"/>
                  </a:moveTo>
                  <a:lnTo>
                    <a:pt x="721" y="51"/>
                  </a:lnTo>
                  <a:lnTo>
                    <a:pt x="716" y="51"/>
                  </a:lnTo>
                  <a:lnTo>
                    <a:pt x="713" y="53"/>
                  </a:lnTo>
                  <a:lnTo>
                    <a:pt x="713" y="53"/>
                  </a:lnTo>
                  <a:lnTo>
                    <a:pt x="719" y="53"/>
                  </a:lnTo>
                  <a:lnTo>
                    <a:pt x="726" y="53"/>
                  </a:lnTo>
                  <a:lnTo>
                    <a:pt x="731" y="53"/>
                  </a:lnTo>
                  <a:lnTo>
                    <a:pt x="734" y="51"/>
                  </a:lnTo>
                  <a:lnTo>
                    <a:pt x="734" y="48"/>
                  </a:lnTo>
                  <a:lnTo>
                    <a:pt x="729" y="48"/>
                  </a:lnTo>
                  <a:close/>
                  <a:moveTo>
                    <a:pt x="726" y="23"/>
                  </a:moveTo>
                  <a:lnTo>
                    <a:pt x="729" y="23"/>
                  </a:lnTo>
                  <a:lnTo>
                    <a:pt x="731" y="23"/>
                  </a:lnTo>
                  <a:lnTo>
                    <a:pt x="729" y="20"/>
                  </a:lnTo>
                  <a:lnTo>
                    <a:pt x="726" y="20"/>
                  </a:lnTo>
                  <a:lnTo>
                    <a:pt x="724" y="18"/>
                  </a:lnTo>
                  <a:lnTo>
                    <a:pt x="721" y="18"/>
                  </a:lnTo>
                  <a:lnTo>
                    <a:pt x="721" y="20"/>
                  </a:lnTo>
                  <a:lnTo>
                    <a:pt x="721" y="20"/>
                  </a:lnTo>
                  <a:lnTo>
                    <a:pt x="724" y="23"/>
                  </a:lnTo>
                  <a:lnTo>
                    <a:pt x="726" y="23"/>
                  </a:lnTo>
                  <a:close/>
                  <a:moveTo>
                    <a:pt x="403" y="18"/>
                  </a:moveTo>
                  <a:lnTo>
                    <a:pt x="410" y="18"/>
                  </a:lnTo>
                  <a:lnTo>
                    <a:pt x="413" y="20"/>
                  </a:lnTo>
                  <a:lnTo>
                    <a:pt x="415" y="20"/>
                  </a:lnTo>
                  <a:lnTo>
                    <a:pt x="418" y="18"/>
                  </a:lnTo>
                  <a:lnTo>
                    <a:pt x="420" y="15"/>
                  </a:lnTo>
                  <a:lnTo>
                    <a:pt x="420" y="15"/>
                  </a:lnTo>
                  <a:lnTo>
                    <a:pt x="415" y="13"/>
                  </a:lnTo>
                  <a:lnTo>
                    <a:pt x="405" y="10"/>
                  </a:lnTo>
                  <a:lnTo>
                    <a:pt x="400" y="13"/>
                  </a:lnTo>
                  <a:lnTo>
                    <a:pt x="392" y="13"/>
                  </a:lnTo>
                  <a:lnTo>
                    <a:pt x="392" y="13"/>
                  </a:lnTo>
                  <a:lnTo>
                    <a:pt x="392" y="13"/>
                  </a:lnTo>
                  <a:lnTo>
                    <a:pt x="397" y="15"/>
                  </a:lnTo>
                  <a:lnTo>
                    <a:pt x="403" y="18"/>
                  </a:lnTo>
                  <a:close/>
                  <a:moveTo>
                    <a:pt x="815" y="28"/>
                  </a:moveTo>
                  <a:lnTo>
                    <a:pt x="813" y="25"/>
                  </a:lnTo>
                  <a:lnTo>
                    <a:pt x="808" y="25"/>
                  </a:lnTo>
                  <a:lnTo>
                    <a:pt x="805" y="25"/>
                  </a:lnTo>
                  <a:lnTo>
                    <a:pt x="800" y="25"/>
                  </a:lnTo>
                  <a:lnTo>
                    <a:pt x="790" y="23"/>
                  </a:lnTo>
                  <a:lnTo>
                    <a:pt x="785" y="23"/>
                  </a:lnTo>
                  <a:lnTo>
                    <a:pt x="772" y="23"/>
                  </a:lnTo>
                  <a:lnTo>
                    <a:pt x="770" y="23"/>
                  </a:lnTo>
                  <a:lnTo>
                    <a:pt x="767" y="23"/>
                  </a:lnTo>
                  <a:lnTo>
                    <a:pt x="762" y="23"/>
                  </a:lnTo>
                  <a:lnTo>
                    <a:pt x="762" y="23"/>
                  </a:lnTo>
                  <a:lnTo>
                    <a:pt x="759" y="23"/>
                  </a:lnTo>
                  <a:lnTo>
                    <a:pt x="757" y="25"/>
                  </a:lnTo>
                  <a:lnTo>
                    <a:pt x="754" y="25"/>
                  </a:lnTo>
                  <a:lnTo>
                    <a:pt x="749" y="28"/>
                  </a:lnTo>
                  <a:lnTo>
                    <a:pt x="747" y="28"/>
                  </a:lnTo>
                  <a:lnTo>
                    <a:pt x="747" y="28"/>
                  </a:lnTo>
                  <a:lnTo>
                    <a:pt x="742" y="28"/>
                  </a:lnTo>
                  <a:lnTo>
                    <a:pt x="739" y="28"/>
                  </a:lnTo>
                  <a:lnTo>
                    <a:pt x="736" y="28"/>
                  </a:lnTo>
                  <a:lnTo>
                    <a:pt x="734" y="28"/>
                  </a:lnTo>
                  <a:lnTo>
                    <a:pt x="731" y="28"/>
                  </a:lnTo>
                  <a:lnTo>
                    <a:pt x="729" y="28"/>
                  </a:lnTo>
                  <a:lnTo>
                    <a:pt x="724" y="28"/>
                  </a:lnTo>
                  <a:lnTo>
                    <a:pt x="724" y="25"/>
                  </a:lnTo>
                  <a:lnTo>
                    <a:pt x="719" y="25"/>
                  </a:lnTo>
                  <a:lnTo>
                    <a:pt x="713" y="28"/>
                  </a:lnTo>
                  <a:lnTo>
                    <a:pt x="701" y="31"/>
                  </a:lnTo>
                  <a:lnTo>
                    <a:pt x="701" y="31"/>
                  </a:lnTo>
                  <a:lnTo>
                    <a:pt x="696" y="31"/>
                  </a:lnTo>
                  <a:lnTo>
                    <a:pt x="693" y="33"/>
                  </a:lnTo>
                  <a:lnTo>
                    <a:pt x="685" y="33"/>
                  </a:lnTo>
                  <a:lnTo>
                    <a:pt x="683" y="36"/>
                  </a:lnTo>
                  <a:lnTo>
                    <a:pt x="673" y="36"/>
                  </a:lnTo>
                  <a:lnTo>
                    <a:pt x="673" y="36"/>
                  </a:lnTo>
                  <a:lnTo>
                    <a:pt x="673" y="38"/>
                  </a:lnTo>
                  <a:lnTo>
                    <a:pt x="670" y="38"/>
                  </a:lnTo>
                  <a:lnTo>
                    <a:pt x="668" y="38"/>
                  </a:lnTo>
                  <a:lnTo>
                    <a:pt x="668" y="38"/>
                  </a:lnTo>
                  <a:lnTo>
                    <a:pt x="670" y="36"/>
                  </a:lnTo>
                  <a:lnTo>
                    <a:pt x="678" y="33"/>
                  </a:lnTo>
                  <a:lnTo>
                    <a:pt x="680" y="33"/>
                  </a:lnTo>
                  <a:lnTo>
                    <a:pt x="688" y="31"/>
                  </a:lnTo>
                  <a:lnTo>
                    <a:pt x="691" y="31"/>
                  </a:lnTo>
                  <a:lnTo>
                    <a:pt x="693" y="28"/>
                  </a:lnTo>
                  <a:lnTo>
                    <a:pt x="698" y="25"/>
                  </a:lnTo>
                  <a:lnTo>
                    <a:pt x="701" y="25"/>
                  </a:lnTo>
                  <a:lnTo>
                    <a:pt x="701" y="23"/>
                  </a:lnTo>
                  <a:lnTo>
                    <a:pt x="701" y="23"/>
                  </a:lnTo>
                  <a:lnTo>
                    <a:pt x="701" y="20"/>
                  </a:lnTo>
                  <a:lnTo>
                    <a:pt x="701" y="20"/>
                  </a:lnTo>
                  <a:lnTo>
                    <a:pt x="701" y="20"/>
                  </a:lnTo>
                  <a:lnTo>
                    <a:pt x="696" y="20"/>
                  </a:lnTo>
                  <a:lnTo>
                    <a:pt x="685" y="20"/>
                  </a:lnTo>
                  <a:lnTo>
                    <a:pt x="680" y="20"/>
                  </a:lnTo>
                  <a:lnTo>
                    <a:pt x="678" y="20"/>
                  </a:lnTo>
                  <a:lnTo>
                    <a:pt x="678" y="20"/>
                  </a:lnTo>
                  <a:lnTo>
                    <a:pt x="675" y="20"/>
                  </a:lnTo>
                  <a:lnTo>
                    <a:pt x="675" y="23"/>
                  </a:lnTo>
                  <a:lnTo>
                    <a:pt x="673" y="23"/>
                  </a:lnTo>
                  <a:lnTo>
                    <a:pt x="673" y="23"/>
                  </a:lnTo>
                  <a:lnTo>
                    <a:pt x="670" y="25"/>
                  </a:lnTo>
                  <a:lnTo>
                    <a:pt x="662" y="25"/>
                  </a:lnTo>
                  <a:lnTo>
                    <a:pt x="660" y="23"/>
                  </a:lnTo>
                  <a:lnTo>
                    <a:pt x="652" y="20"/>
                  </a:lnTo>
                  <a:lnTo>
                    <a:pt x="632" y="20"/>
                  </a:lnTo>
                  <a:lnTo>
                    <a:pt x="622" y="20"/>
                  </a:lnTo>
                  <a:lnTo>
                    <a:pt x="606" y="20"/>
                  </a:lnTo>
                  <a:lnTo>
                    <a:pt x="599" y="20"/>
                  </a:lnTo>
                  <a:lnTo>
                    <a:pt x="596" y="20"/>
                  </a:lnTo>
                  <a:lnTo>
                    <a:pt x="596" y="20"/>
                  </a:lnTo>
                  <a:lnTo>
                    <a:pt x="599" y="18"/>
                  </a:lnTo>
                  <a:lnTo>
                    <a:pt x="601" y="18"/>
                  </a:lnTo>
                  <a:lnTo>
                    <a:pt x="670" y="18"/>
                  </a:lnTo>
                  <a:lnTo>
                    <a:pt x="680" y="15"/>
                  </a:lnTo>
                  <a:lnTo>
                    <a:pt x="688" y="15"/>
                  </a:lnTo>
                  <a:lnTo>
                    <a:pt x="696" y="15"/>
                  </a:lnTo>
                  <a:lnTo>
                    <a:pt x="701" y="13"/>
                  </a:lnTo>
                  <a:lnTo>
                    <a:pt x="701" y="13"/>
                  </a:lnTo>
                  <a:lnTo>
                    <a:pt x="701" y="13"/>
                  </a:lnTo>
                  <a:lnTo>
                    <a:pt x="698" y="10"/>
                  </a:lnTo>
                  <a:lnTo>
                    <a:pt x="698" y="10"/>
                  </a:lnTo>
                  <a:lnTo>
                    <a:pt x="691" y="10"/>
                  </a:lnTo>
                  <a:lnTo>
                    <a:pt x="680" y="10"/>
                  </a:lnTo>
                  <a:lnTo>
                    <a:pt x="675" y="10"/>
                  </a:lnTo>
                  <a:lnTo>
                    <a:pt x="675" y="10"/>
                  </a:lnTo>
                  <a:lnTo>
                    <a:pt x="675" y="8"/>
                  </a:lnTo>
                  <a:lnTo>
                    <a:pt x="670" y="8"/>
                  </a:lnTo>
                  <a:lnTo>
                    <a:pt x="668" y="8"/>
                  </a:lnTo>
                  <a:lnTo>
                    <a:pt x="665" y="8"/>
                  </a:lnTo>
                  <a:lnTo>
                    <a:pt x="662" y="5"/>
                  </a:lnTo>
                  <a:lnTo>
                    <a:pt x="650" y="5"/>
                  </a:lnTo>
                  <a:lnTo>
                    <a:pt x="640" y="5"/>
                  </a:lnTo>
                  <a:lnTo>
                    <a:pt x="629" y="5"/>
                  </a:lnTo>
                  <a:lnTo>
                    <a:pt x="624" y="5"/>
                  </a:lnTo>
                  <a:lnTo>
                    <a:pt x="614" y="5"/>
                  </a:lnTo>
                  <a:lnTo>
                    <a:pt x="604" y="5"/>
                  </a:lnTo>
                  <a:lnTo>
                    <a:pt x="599" y="5"/>
                  </a:lnTo>
                  <a:lnTo>
                    <a:pt x="583" y="8"/>
                  </a:lnTo>
                  <a:lnTo>
                    <a:pt x="581" y="8"/>
                  </a:lnTo>
                  <a:lnTo>
                    <a:pt x="578" y="8"/>
                  </a:lnTo>
                  <a:lnTo>
                    <a:pt x="581" y="5"/>
                  </a:lnTo>
                  <a:lnTo>
                    <a:pt x="586" y="5"/>
                  </a:lnTo>
                  <a:lnTo>
                    <a:pt x="604" y="5"/>
                  </a:lnTo>
                  <a:lnTo>
                    <a:pt x="632" y="5"/>
                  </a:lnTo>
                  <a:lnTo>
                    <a:pt x="650" y="5"/>
                  </a:lnTo>
                  <a:lnTo>
                    <a:pt x="652" y="5"/>
                  </a:lnTo>
                  <a:lnTo>
                    <a:pt x="655" y="3"/>
                  </a:lnTo>
                  <a:lnTo>
                    <a:pt x="652" y="3"/>
                  </a:lnTo>
                  <a:lnTo>
                    <a:pt x="640" y="3"/>
                  </a:lnTo>
                  <a:lnTo>
                    <a:pt x="634" y="3"/>
                  </a:lnTo>
                  <a:lnTo>
                    <a:pt x="624" y="3"/>
                  </a:lnTo>
                  <a:lnTo>
                    <a:pt x="624" y="3"/>
                  </a:lnTo>
                  <a:lnTo>
                    <a:pt x="619" y="0"/>
                  </a:lnTo>
                  <a:lnTo>
                    <a:pt x="609" y="0"/>
                  </a:lnTo>
                  <a:lnTo>
                    <a:pt x="599" y="0"/>
                  </a:lnTo>
                  <a:lnTo>
                    <a:pt x="573" y="0"/>
                  </a:lnTo>
                  <a:lnTo>
                    <a:pt x="568" y="0"/>
                  </a:lnTo>
                  <a:lnTo>
                    <a:pt x="561" y="0"/>
                  </a:lnTo>
                  <a:lnTo>
                    <a:pt x="558" y="0"/>
                  </a:lnTo>
                  <a:lnTo>
                    <a:pt x="555" y="0"/>
                  </a:lnTo>
                  <a:lnTo>
                    <a:pt x="553" y="0"/>
                  </a:lnTo>
                  <a:lnTo>
                    <a:pt x="550" y="0"/>
                  </a:lnTo>
                  <a:lnTo>
                    <a:pt x="545" y="0"/>
                  </a:lnTo>
                  <a:lnTo>
                    <a:pt x="543" y="0"/>
                  </a:lnTo>
                  <a:lnTo>
                    <a:pt x="530" y="0"/>
                  </a:lnTo>
                  <a:lnTo>
                    <a:pt x="527" y="0"/>
                  </a:lnTo>
                  <a:lnTo>
                    <a:pt x="527" y="0"/>
                  </a:lnTo>
                  <a:lnTo>
                    <a:pt x="527" y="0"/>
                  </a:lnTo>
                  <a:lnTo>
                    <a:pt x="527" y="0"/>
                  </a:lnTo>
                  <a:lnTo>
                    <a:pt x="522" y="0"/>
                  </a:lnTo>
                  <a:lnTo>
                    <a:pt x="517" y="0"/>
                  </a:lnTo>
                  <a:lnTo>
                    <a:pt x="515" y="0"/>
                  </a:lnTo>
                  <a:lnTo>
                    <a:pt x="515" y="0"/>
                  </a:lnTo>
                  <a:lnTo>
                    <a:pt x="512" y="3"/>
                  </a:lnTo>
                  <a:lnTo>
                    <a:pt x="510" y="3"/>
                  </a:lnTo>
                  <a:lnTo>
                    <a:pt x="510" y="3"/>
                  </a:lnTo>
                  <a:lnTo>
                    <a:pt x="504" y="3"/>
                  </a:lnTo>
                  <a:lnTo>
                    <a:pt x="504" y="3"/>
                  </a:lnTo>
                  <a:lnTo>
                    <a:pt x="502" y="3"/>
                  </a:lnTo>
                  <a:lnTo>
                    <a:pt x="502" y="3"/>
                  </a:lnTo>
                  <a:lnTo>
                    <a:pt x="502" y="3"/>
                  </a:lnTo>
                  <a:lnTo>
                    <a:pt x="504" y="3"/>
                  </a:lnTo>
                  <a:lnTo>
                    <a:pt x="510" y="5"/>
                  </a:lnTo>
                  <a:lnTo>
                    <a:pt x="510" y="5"/>
                  </a:lnTo>
                  <a:lnTo>
                    <a:pt x="510" y="5"/>
                  </a:lnTo>
                  <a:lnTo>
                    <a:pt x="507" y="8"/>
                  </a:lnTo>
                  <a:lnTo>
                    <a:pt x="507" y="8"/>
                  </a:lnTo>
                  <a:lnTo>
                    <a:pt x="507" y="8"/>
                  </a:lnTo>
                  <a:lnTo>
                    <a:pt x="504" y="8"/>
                  </a:lnTo>
                  <a:lnTo>
                    <a:pt x="499" y="5"/>
                  </a:lnTo>
                  <a:lnTo>
                    <a:pt x="494" y="5"/>
                  </a:lnTo>
                  <a:lnTo>
                    <a:pt x="492" y="5"/>
                  </a:lnTo>
                  <a:lnTo>
                    <a:pt x="489" y="3"/>
                  </a:lnTo>
                  <a:lnTo>
                    <a:pt x="484" y="3"/>
                  </a:lnTo>
                  <a:lnTo>
                    <a:pt x="479" y="3"/>
                  </a:lnTo>
                  <a:lnTo>
                    <a:pt x="474" y="5"/>
                  </a:lnTo>
                  <a:lnTo>
                    <a:pt x="469" y="5"/>
                  </a:lnTo>
                  <a:lnTo>
                    <a:pt x="466" y="5"/>
                  </a:lnTo>
                  <a:lnTo>
                    <a:pt x="466" y="5"/>
                  </a:lnTo>
                  <a:lnTo>
                    <a:pt x="464" y="5"/>
                  </a:lnTo>
                  <a:lnTo>
                    <a:pt x="461" y="5"/>
                  </a:lnTo>
                  <a:lnTo>
                    <a:pt x="459" y="5"/>
                  </a:lnTo>
                  <a:lnTo>
                    <a:pt x="454" y="3"/>
                  </a:lnTo>
                  <a:lnTo>
                    <a:pt x="451" y="3"/>
                  </a:lnTo>
                  <a:lnTo>
                    <a:pt x="448" y="5"/>
                  </a:lnTo>
                  <a:lnTo>
                    <a:pt x="436" y="5"/>
                  </a:lnTo>
                  <a:lnTo>
                    <a:pt x="431" y="5"/>
                  </a:lnTo>
                  <a:lnTo>
                    <a:pt x="423" y="5"/>
                  </a:lnTo>
                  <a:lnTo>
                    <a:pt x="420" y="8"/>
                  </a:lnTo>
                  <a:lnTo>
                    <a:pt x="415" y="5"/>
                  </a:lnTo>
                  <a:lnTo>
                    <a:pt x="410" y="5"/>
                  </a:lnTo>
                  <a:lnTo>
                    <a:pt x="408" y="8"/>
                  </a:lnTo>
                  <a:lnTo>
                    <a:pt x="410" y="10"/>
                  </a:lnTo>
                  <a:lnTo>
                    <a:pt x="413" y="10"/>
                  </a:lnTo>
                  <a:lnTo>
                    <a:pt x="420" y="10"/>
                  </a:lnTo>
                  <a:lnTo>
                    <a:pt x="423" y="8"/>
                  </a:lnTo>
                  <a:lnTo>
                    <a:pt x="425" y="8"/>
                  </a:lnTo>
                  <a:lnTo>
                    <a:pt x="433" y="10"/>
                  </a:lnTo>
                  <a:lnTo>
                    <a:pt x="464" y="10"/>
                  </a:lnTo>
                  <a:lnTo>
                    <a:pt x="466" y="10"/>
                  </a:lnTo>
                  <a:lnTo>
                    <a:pt x="464" y="10"/>
                  </a:lnTo>
                  <a:lnTo>
                    <a:pt x="459" y="10"/>
                  </a:lnTo>
                  <a:lnTo>
                    <a:pt x="456" y="10"/>
                  </a:lnTo>
                  <a:lnTo>
                    <a:pt x="456" y="10"/>
                  </a:lnTo>
                  <a:lnTo>
                    <a:pt x="454" y="10"/>
                  </a:lnTo>
                  <a:lnTo>
                    <a:pt x="451" y="10"/>
                  </a:lnTo>
                  <a:lnTo>
                    <a:pt x="420" y="10"/>
                  </a:lnTo>
                  <a:lnTo>
                    <a:pt x="418" y="10"/>
                  </a:lnTo>
                  <a:lnTo>
                    <a:pt x="415" y="10"/>
                  </a:lnTo>
                  <a:lnTo>
                    <a:pt x="415" y="10"/>
                  </a:lnTo>
                  <a:lnTo>
                    <a:pt x="425" y="13"/>
                  </a:lnTo>
                  <a:lnTo>
                    <a:pt x="428" y="15"/>
                  </a:lnTo>
                  <a:lnTo>
                    <a:pt x="425" y="15"/>
                  </a:lnTo>
                  <a:lnTo>
                    <a:pt x="425" y="15"/>
                  </a:lnTo>
                  <a:lnTo>
                    <a:pt x="423" y="18"/>
                  </a:lnTo>
                  <a:lnTo>
                    <a:pt x="418" y="20"/>
                  </a:lnTo>
                  <a:lnTo>
                    <a:pt x="418" y="20"/>
                  </a:lnTo>
                  <a:lnTo>
                    <a:pt x="418" y="20"/>
                  </a:lnTo>
                  <a:lnTo>
                    <a:pt x="418" y="23"/>
                  </a:lnTo>
                  <a:lnTo>
                    <a:pt x="418" y="23"/>
                  </a:lnTo>
                  <a:lnTo>
                    <a:pt x="415" y="23"/>
                  </a:lnTo>
                  <a:lnTo>
                    <a:pt x="415" y="23"/>
                  </a:lnTo>
                  <a:lnTo>
                    <a:pt x="413" y="23"/>
                  </a:lnTo>
                  <a:lnTo>
                    <a:pt x="408" y="23"/>
                  </a:lnTo>
                  <a:lnTo>
                    <a:pt x="395" y="20"/>
                  </a:lnTo>
                  <a:lnTo>
                    <a:pt x="387" y="18"/>
                  </a:lnTo>
                  <a:lnTo>
                    <a:pt x="372" y="15"/>
                  </a:lnTo>
                  <a:lnTo>
                    <a:pt x="359" y="15"/>
                  </a:lnTo>
                  <a:lnTo>
                    <a:pt x="349" y="15"/>
                  </a:lnTo>
                  <a:lnTo>
                    <a:pt x="346" y="15"/>
                  </a:lnTo>
                  <a:lnTo>
                    <a:pt x="346" y="15"/>
                  </a:lnTo>
                  <a:lnTo>
                    <a:pt x="346" y="18"/>
                  </a:lnTo>
                  <a:lnTo>
                    <a:pt x="349" y="18"/>
                  </a:lnTo>
                  <a:lnTo>
                    <a:pt x="357" y="20"/>
                  </a:lnTo>
                  <a:lnTo>
                    <a:pt x="357" y="23"/>
                  </a:lnTo>
                  <a:lnTo>
                    <a:pt x="357" y="23"/>
                  </a:lnTo>
                  <a:lnTo>
                    <a:pt x="354" y="23"/>
                  </a:lnTo>
                  <a:lnTo>
                    <a:pt x="346" y="23"/>
                  </a:lnTo>
                  <a:lnTo>
                    <a:pt x="341" y="23"/>
                  </a:lnTo>
                  <a:lnTo>
                    <a:pt x="336" y="20"/>
                  </a:lnTo>
                  <a:lnTo>
                    <a:pt x="334" y="20"/>
                  </a:lnTo>
                  <a:lnTo>
                    <a:pt x="324" y="15"/>
                  </a:lnTo>
                  <a:lnTo>
                    <a:pt x="321" y="15"/>
                  </a:lnTo>
                  <a:lnTo>
                    <a:pt x="318" y="18"/>
                  </a:lnTo>
                  <a:lnTo>
                    <a:pt x="316" y="18"/>
                  </a:lnTo>
                  <a:lnTo>
                    <a:pt x="318" y="20"/>
                  </a:lnTo>
                  <a:lnTo>
                    <a:pt x="316" y="20"/>
                  </a:lnTo>
                  <a:lnTo>
                    <a:pt x="313" y="23"/>
                  </a:lnTo>
                  <a:lnTo>
                    <a:pt x="313" y="23"/>
                  </a:lnTo>
                  <a:lnTo>
                    <a:pt x="311" y="23"/>
                  </a:lnTo>
                  <a:lnTo>
                    <a:pt x="308" y="25"/>
                  </a:lnTo>
                  <a:lnTo>
                    <a:pt x="306" y="25"/>
                  </a:lnTo>
                  <a:lnTo>
                    <a:pt x="306" y="25"/>
                  </a:lnTo>
                  <a:lnTo>
                    <a:pt x="306" y="25"/>
                  </a:lnTo>
                  <a:lnTo>
                    <a:pt x="311" y="20"/>
                  </a:lnTo>
                  <a:lnTo>
                    <a:pt x="311" y="18"/>
                  </a:lnTo>
                  <a:lnTo>
                    <a:pt x="311" y="18"/>
                  </a:lnTo>
                  <a:lnTo>
                    <a:pt x="308" y="18"/>
                  </a:lnTo>
                  <a:lnTo>
                    <a:pt x="306" y="15"/>
                  </a:lnTo>
                  <a:lnTo>
                    <a:pt x="303" y="15"/>
                  </a:lnTo>
                  <a:lnTo>
                    <a:pt x="301" y="15"/>
                  </a:lnTo>
                  <a:lnTo>
                    <a:pt x="293" y="15"/>
                  </a:lnTo>
                  <a:lnTo>
                    <a:pt x="290" y="18"/>
                  </a:lnTo>
                  <a:lnTo>
                    <a:pt x="290" y="18"/>
                  </a:lnTo>
                  <a:lnTo>
                    <a:pt x="280" y="18"/>
                  </a:lnTo>
                  <a:lnTo>
                    <a:pt x="278" y="18"/>
                  </a:lnTo>
                  <a:lnTo>
                    <a:pt x="262" y="18"/>
                  </a:lnTo>
                  <a:lnTo>
                    <a:pt x="250" y="20"/>
                  </a:lnTo>
                  <a:lnTo>
                    <a:pt x="242" y="20"/>
                  </a:lnTo>
                  <a:lnTo>
                    <a:pt x="242" y="20"/>
                  </a:lnTo>
                  <a:lnTo>
                    <a:pt x="245" y="23"/>
                  </a:lnTo>
                  <a:lnTo>
                    <a:pt x="247" y="23"/>
                  </a:lnTo>
                  <a:lnTo>
                    <a:pt x="250" y="23"/>
                  </a:lnTo>
                  <a:lnTo>
                    <a:pt x="252" y="25"/>
                  </a:lnTo>
                  <a:lnTo>
                    <a:pt x="260" y="28"/>
                  </a:lnTo>
                  <a:lnTo>
                    <a:pt x="262" y="28"/>
                  </a:lnTo>
                  <a:lnTo>
                    <a:pt x="265" y="28"/>
                  </a:lnTo>
                  <a:lnTo>
                    <a:pt x="265" y="31"/>
                  </a:lnTo>
                  <a:lnTo>
                    <a:pt x="262" y="31"/>
                  </a:lnTo>
                  <a:lnTo>
                    <a:pt x="262" y="31"/>
                  </a:lnTo>
                  <a:lnTo>
                    <a:pt x="260" y="28"/>
                  </a:lnTo>
                  <a:lnTo>
                    <a:pt x="255" y="28"/>
                  </a:lnTo>
                  <a:lnTo>
                    <a:pt x="252" y="25"/>
                  </a:lnTo>
                  <a:lnTo>
                    <a:pt x="250" y="25"/>
                  </a:lnTo>
                  <a:lnTo>
                    <a:pt x="247" y="25"/>
                  </a:lnTo>
                  <a:lnTo>
                    <a:pt x="242" y="23"/>
                  </a:lnTo>
                  <a:lnTo>
                    <a:pt x="239" y="23"/>
                  </a:lnTo>
                  <a:lnTo>
                    <a:pt x="234" y="23"/>
                  </a:lnTo>
                  <a:lnTo>
                    <a:pt x="232" y="20"/>
                  </a:lnTo>
                  <a:lnTo>
                    <a:pt x="229" y="20"/>
                  </a:lnTo>
                  <a:lnTo>
                    <a:pt x="227" y="23"/>
                  </a:lnTo>
                  <a:lnTo>
                    <a:pt x="219" y="23"/>
                  </a:lnTo>
                  <a:lnTo>
                    <a:pt x="217" y="23"/>
                  </a:lnTo>
                  <a:lnTo>
                    <a:pt x="214" y="23"/>
                  </a:lnTo>
                  <a:lnTo>
                    <a:pt x="214" y="25"/>
                  </a:lnTo>
                  <a:lnTo>
                    <a:pt x="211" y="25"/>
                  </a:lnTo>
                  <a:lnTo>
                    <a:pt x="211" y="28"/>
                  </a:lnTo>
                  <a:lnTo>
                    <a:pt x="209" y="28"/>
                  </a:lnTo>
                  <a:lnTo>
                    <a:pt x="209" y="31"/>
                  </a:lnTo>
                  <a:lnTo>
                    <a:pt x="204" y="33"/>
                  </a:lnTo>
                  <a:lnTo>
                    <a:pt x="201" y="33"/>
                  </a:lnTo>
                  <a:lnTo>
                    <a:pt x="201" y="33"/>
                  </a:lnTo>
                  <a:lnTo>
                    <a:pt x="199" y="33"/>
                  </a:lnTo>
                  <a:lnTo>
                    <a:pt x="196" y="33"/>
                  </a:lnTo>
                  <a:lnTo>
                    <a:pt x="196" y="33"/>
                  </a:lnTo>
                  <a:lnTo>
                    <a:pt x="194" y="33"/>
                  </a:lnTo>
                  <a:lnTo>
                    <a:pt x="188" y="31"/>
                  </a:lnTo>
                  <a:lnTo>
                    <a:pt x="186" y="31"/>
                  </a:lnTo>
                  <a:lnTo>
                    <a:pt x="183" y="33"/>
                  </a:lnTo>
                  <a:lnTo>
                    <a:pt x="181" y="33"/>
                  </a:lnTo>
                  <a:lnTo>
                    <a:pt x="178" y="33"/>
                  </a:lnTo>
                  <a:lnTo>
                    <a:pt x="178" y="36"/>
                  </a:lnTo>
                  <a:lnTo>
                    <a:pt x="178" y="36"/>
                  </a:lnTo>
                  <a:lnTo>
                    <a:pt x="178" y="36"/>
                  </a:lnTo>
                  <a:lnTo>
                    <a:pt x="176" y="36"/>
                  </a:lnTo>
                  <a:lnTo>
                    <a:pt x="176" y="33"/>
                  </a:lnTo>
                  <a:lnTo>
                    <a:pt x="173" y="33"/>
                  </a:lnTo>
                  <a:lnTo>
                    <a:pt x="171" y="33"/>
                  </a:lnTo>
                  <a:lnTo>
                    <a:pt x="163" y="36"/>
                  </a:lnTo>
                  <a:lnTo>
                    <a:pt x="160" y="36"/>
                  </a:lnTo>
                  <a:lnTo>
                    <a:pt x="153" y="38"/>
                  </a:lnTo>
                  <a:lnTo>
                    <a:pt x="148" y="38"/>
                  </a:lnTo>
                  <a:lnTo>
                    <a:pt x="143" y="41"/>
                  </a:lnTo>
                  <a:lnTo>
                    <a:pt x="140" y="41"/>
                  </a:lnTo>
                  <a:lnTo>
                    <a:pt x="140" y="41"/>
                  </a:lnTo>
                  <a:lnTo>
                    <a:pt x="137" y="41"/>
                  </a:lnTo>
                  <a:lnTo>
                    <a:pt x="132" y="41"/>
                  </a:lnTo>
                  <a:lnTo>
                    <a:pt x="130" y="41"/>
                  </a:lnTo>
                  <a:lnTo>
                    <a:pt x="122" y="43"/>
                  </a:lnTo>
                  <a:lnTo>
                    <a:pt x="122" y="43"/>
                  </a:lnTo>
                  <a:lnTo>
                    <a:pt x="117" y="46"/>
                  </a:lnTo>
                  <a:lnTo>
                    <a:pt x="117" y="46"/>
                  </a:lnTo>
                  <a:lnTo>
                    <a:pt x="117" y="48"/>
                  </a:lnTo>
                  <a:lnTo>
                    <a:pt x="117" y="48"/>
                  </a:lnTo>
                  <a:lnTo>
                    <a:pt x="117" y="48"/>
                  </a:lnTo>
                  <a:lnTo>
                    <a:pt x="120" y="48"/>
                  </a:lnTo>
                  <a:lnTo>
                    <a:pt x="125" y="48"/>
                  </a:lnTo>
                  <a:lnTo>
                    <a:pt x="125" y="48"/>
                  </a:lnTo>
                  <a:lnTo>
                    <a:pt x="130" y="48"/>
                  </a:lnTo>
                  <a:lnTo>
                    <a:pt x="130" y="48"/>
                  </a:lnTo>
                  <a:lnTo>
                    <a:pt x="135" y="48"/>
                  </a:lnTo>
                  <a:lnTo>
                    <a:pt x="137" y="48"/>
                  </a:lnTo>
                  <a:lnTo>
                    <a:pt x="140" y="48"/>
                  </a:lnTo>
                  <a:lnTo>
                    <a:pt x="143" y="48"/>
                  </a:lnTo>
                  <a:lnTo>
                    <a:pt x="145" y="48"/>
                  </a:lnTo>
                  <a:lnTo>
                    <a:pt x="148" y="48"/>
                  </a:lnTo>
                  <a:lnTo>
                    <a:pt x="150" y="48"/>
                  </a:lnTo>
                  <a:lnTo>
                    <a:pt x="150" y="48"/>
                  </a:lnTo>
                  <a:lnTo>
                    <a:pt x="153" y="48"/>
                  </a:lnTo>
                  <a:lnTo>
                    <a:pt x="153" y="48"/>
                  </a:lnTo>
                  <a:lnTo>
                    <a:pt x="148" y="48"/>
                  </a:lnTo>
                  <a:lnTo>
                    <a:pt x="145" y="48"/>
                  </a:lnTo>
                  <a:lnTo>
                    <a:pt x="143" y="51"/>
                  </a:lnTo>
                  <a:lnTo>
                    <a:pt x="143" y="51"/>
                  </a:lnTo>
                  <a:lnTo>
                    <a:pt x="140" y="51"/>
                  </a:lnTo>
                  <a:lnTo>
                    <a:pt x="137" y="53"/>
                  </a:lnTo>
                  <a:lnTo>
                    <a:pt x="132" y="56"/>
                  </a:lnTo>
                  <a:lnTo>
                    <a:pt x="127" y="59"/>
                  </a:lnTo>
                  <a:lnTo>
                    <a:pt x="125" y="61"/>
                  </a:lnTo>
                  <a:lnTo>
                    <a:pt x="122" y="61"/>
                  </a:lnTo>
                  <a:lnTo>
                    <a:pt x="117" y="64"/>
                  </a:lnTo>
                  <a:lnTo>
                    <a:pt x="115" y="64"/>
                  </a:lnTo>
                  <a:lnTo>
                    <a:pt x="112" y="64"/>
                  </a:lnTo>
                  <a:lnTo>
                    <a:pt x="109" y="64"/>
                  </a:lnTo>
                  <a:lnTo>
                    <a:pt x="107" y="64"/>
                  </a:lnTo>
                  <a:lnTo>
                    <a:pt x="97" y="64"/>
                  </a:lnTo>
                  <a:lnTo>
                    <a:pt x="94" y="64"/>
                  </a:lnTo>
                  <a:lnTo>
                    <a:pt x="92" y="64"/>
                  </a:lnTo>
                  <a:lnTo>
                    <a:pt x="89" y="64"/>
                  </a:lnTo>
                  <a:lnTo>
                    <a:pt x="87" y="64"/>
                  </a:lnTo>
                  <a:lnTo>
                    <a:pt x="81" y="66"/>
                  </a:lnTo>
                  <a:lnTo>
                    <a:pt x="76" y="66"/>
                  </a:lnTo>
                  <a:lnTo>
                    <a:pt x="71" y="66"/>
                  </a:lnTo>
                  <a:lnTo>
                    <a:pt x="71" y="66"/>
                  </a:lnTo>
                  <a:lnTo>
                    <a:pt x="74" y="69"/>
                  </a:lnTo>
                  <a:lnTo>
                    <a:pt x="71" y="69"/>
                  </a:lnTo>
                  <a:lnTo>
                    <a:pt x="71" y="69"/>
                  </a:lnTo>
                  <a:lnTo>
                    <a:pt x="58" y="69"/>
                  </a:lnTo>
                  <a:lnTo>
                    <a:pt x="51" y="71"/>
                  </a:lnTo>
                  <a:lnTo>
                    <a:pt x="48" y="71"/>
                  </a:lnTo>
                  <a:lnTo>
                    <a:pt x="46" y="71"/>
                  </a:lnTo>
                  <a:lnTo>
                    <a:pt x="43" y="71"/>
                  </a:lnTo>
                  <a:lnTo>
                    <a:pt x="38" y="71"/>
                  </a:lnTo>
                  <a:lnTo>
                    <a:pt x="36" y="71"/>
                  </a:lnTo>
                  <a:lnTo>
                    <a:pt x="33" y="71"/>
                  </a:lnTo>
                  <a:lnTo>
                    <a:pt x="28" y="74"/>
                  </a:lnTo>
                  <a:lnTo>
                    <a:pt x="23" y="74"/>
                  </a:lnTo>
                  <a:lnTo>
                    <a:pt x="20" y="74"/>
                  </a:lnTo>
                  <a:lnTo>
                    <a:pt x="15" y="76"/>
                  </a:lnTo>
                  <a:lnTo>
                    <a:pt x="15" y="76"/>
                  </a:lnTo>
                  <a:lnTo>
                    <a:pt x="15" y="76"/>
                  </a:lnTo>
                  <a:lnTo>
                    <a:pt x="15" y="76"/>
                  </a:lnTo>
                  <a:lnTo>
                    <a:pt x="15" y="76"/>
                  </a:lnTo>
                  <a:lnTo>
                    <a:pt x="10" y="79"/>
                  </a:lnTo>
                  <a:lnTo>
                    <a:pt x="10" y="79"/>
                  </a:lnTo>
                  <a:lnTo>
                    <a:pt x="13" y="81"/>
                  </a:lnTo>
                  <a:lnTo>
                    <a:pt x="15" y="81"/>
                  </a:lnTo>
                  <a:lnTo>
                    <a:pt x="15" y="84"/>
                  </a:lnTo>
                  <a:lnTo>
                    <a:pt x="15" y="84"/>
                  </a:lnTo>
                  <a:lnTo>
                    <a:pt x="20" y="84"/>
                  </a:lnTo>
                  <a:lnTo>
                    <a:pt x="23" y="84"/>
                  </a:lnTo>
                  <a:lnTo>
                    <a:pt x="23" y="84"/>
                  </a:lnTo>
                  <a:lnTo>
                    <a:pt x="25" y="84"/>
                  </a:lnTo>
                  <a:lnTo>
                    <a:pt x="28" y="87"/>
                  </a:lnTo>
                  <a:lnTo>
                    <a:pt x="30" y="87"/>
                  </a:lnTo>
                  <a:lnTo>
                    <a:pt x="33" y="87"/>
                  </a:lnTo>
                  <a:lnTo>
                    <a:pt x="36" y="84"/>
                  </a:lnTo>
                  <a:lnTo>
                    <a:pt x="41" y="84"/>
                  </a:lnTo>
                  <a:lnTo>
                    <a:pt x="41" y="84"/>
                  </a:lnTo>
                  <a:lnTo>
                    <a:pt x="36" y="87"/>
                  </a:lnTo>
                  <a:lnTo>
                    <a:pt x="30" y="87"/>
                  </a:lnTo>
                  <a:lnTo>
                    <a:pt x="33" y="87"/>
                  </a:lnTo>
                  <a:lnTo>
                    <a:pt x="36" y="87"/>
                  </a:lnTo>
                  <a:lnTo>
                    <a:pt x="36" y="89"/>
                  </a:lnTo>
                  <a:lnTo>
                    <a:pt x="36" y="89"/>
                  </a:lnTo>
                  <a:lnTo>
                    <a:pt x="36" y="89"/>
                  </a:lnTo>
                  <a:lnTo>
                    <a:pt x="43" y="92"/>
                  </a:lnTo>
                  <a:lnTo>
                    <a:pt x="46" y="92"/>
                  </a:lnTo>
                  <a:lnTo>
                    <a:pt x="46" y="92"/>
                  </a:lnTo>
                  <a:lnTo>
                    <a:pt x="48" y="92"/>
                  </a:lnTo>
                  <a:lnTo>
                    <a:pt x="51" y="89"/>
                  </a:lnTo>
                  <a:lnTo>
                    <a:pt x="53" y="89"/>
                  </a:lnTo>
                  <a:lnTo>
                    <a:pt x="56" y="89"/>
                  </a:lnTo>
                  <a:lnTo>
                    <a:pt x="56" y="89"/>
                  </a:lnTo>
                  <a:lnTo>
                    <a:pt x="58" y="89"/>
                  </a:lnTo>
                  <a:lnTo>
                    <a:pt x="61" y="89"/>
                  </a:lnTo>
                  <a:lnTo>
                    <a:pt x="61" y="89"/>
                  </a:lnTo>
                  <a:lnTo>
                    <a:pt x="66" y="89"/>
                  </a:lnTo>
                  <a:lnTo>
                    <a:pt x="69" y="89"/>
                  </a:lnTo>
                  <a:lnTo>
                    <a:pt x="74" y="89"/>
                  </a:lnTo>
                  <a:lnTo>
                    <a:pt x="76" y="87"/>
                  </a:lnTo>
                  <a:lnTo>
                    <a:pt x="79" y="87"/>
                  </a:lnTo>
                  <a:lnTo>
                    <a:pt x="81" y="87"/>
                  </a:lnTo>
                  <a:lnTo>
                    <a:pt x="84" y="89"/>
                  </a:lnTo>
                  <a:lnTo>
                    <a:pt x="84" y="89"/>
                  </a:lnTo>
                  <a:lnTo>
                    <a:pt x="84" y="89"/>
                  </a:lnTo>
                  <a:lnTo>
                    <a:pt x="81" y="92"/>
                  </a:lnTo>
                  <a:lnTo>
                    <a:pt x="79" y="92"/>
                  </a:lnTo>
                  <a:lnTo>
                    <a:pt x="79" y="94"/>
                  </a:lnTo>
                  <a:lnTo>
                    <a:pt x="79" y="94"/>
                  </a:lnTo>
                  <a:lnTo>
                    <a:pt x="79" y="94"/>
                  </a:lnTo>
                  <a:lnTo>
                    <a:pt x="76" y="94"/>
                  </a:lnTo>
                  <a:lnTo>
                    <a:pt x="74" y="92"/>
                  </a:lnTo>
                  <a:lnTo>
                    <a:pt x="66" y="92"/>
                  </a:lnTo>
                  <a:lnTo>
                    <a:pt x="58" y="92"/>
                  </a:lnTo>
                  <a:lnTo>
                    <a:pt x="51" y="94"/>
                  </a:lnTo>
                  <a:lnTo>
                    <a:pt x="48" y="94"/>
                  </a:lnTo>
                  <a:lnTo>
                    <a:pt x="43" y="97"/>
                  </a:lnTo>
                  <a:lnTo>
                    <a:pt x="36" y="94"/>
                  </a:lnTo>
                  <a:lnTo>
                    <a:pt x="23" y="97"/>
                  </a:lnTo>
                  <a:lnTo>
                    <a:pt x="18" y="97"/>
                  </a:lnTo>
                  <a:lnTo>
                    <a:pt x="18" y="97"/>
                  </a:lnTo>
                  <a:lnTo>
                    <a:pt x="15" y="97"/>
                  </a:lnTo>
                  <a:lnTo>
                    <a:pt x="13" y="97"/>
                  </a:lnTo>
                  <a:lnTo>
                    <a:pt x="13" y="99"/>
                  </a:lnTo>
                  <a:lnTo>
                    <a:pt x="13" y="99"/>
                  </a:lnTo>
                  <a:lnTo>
                    <a:pt x="15" y="99"/>
                  </a:lnTo>
                  <a:lnTo>
                    <a:pt x="15" y="99"/>
                  </a:lnTo>
                  <a:lnTo>
                    <a:pt x="15" y="102"/>
                  </a:lnTo>
                  <a:lnTo>
                    <a:pt x="15" y="102"/>
                  </a:lnTo>
                  <a:lnTo>
                    <a:pt x="15" y="102"/>
                  </a:lnTo>
                  <a:lnTo>
                    <a:pt x="15" y="102"/>
                  </a:lnTo>
                  <a:lnTo>
                    <a:pt x="18" y="102"/>
                  </a:lnTo>
                  <a:lnTo>
                    <a:pt x="20" y="102"/>
                  </a:lnTo>
                  <a:lnTo>
                    <a:pt x="30" y="99"/>
                  </a:lnTo>
                  <a:lnTo>
                    <a:pt x="30" y="99"/>
                  </a:lnTo>
                  <a:lnTo>
                    <a:pt x="28" y="99"/>
                  </a:lnTo>
                  <a:lnTo>
                    <a:pt x="25" y="102"/>
                  </a:lnTo>
                  <a:lnTo>
                    <a:pt x="25" y="102"/>
                  </a:lnTo>
                  <a:lnTo>
                    <a:pt x="25" y="102"/>
                  </a:lnTo>
                  <a:lnTo>
                    <a:pt x="25" y="104"/>
                  </a:lnTo>
                  <a:lnTo>
                    <a:pt x="25" y="104"/>
                  </a:lnTo>
                  <a:lnTo>
                    <a:pt x="30" y="104"/>
                  </a:lnTo>
                  <a:lnTo>
                    <a:pt x="38" y="104"/>
                  </a:lnTo>
                  <a:lnTo>
                    <a:pt x="46" y="104"/>
                  </a:lnTo>
                  <a:lnTo>
                    <a:pt x="46" y="104"/>
                  </a:lnTo>
                  <a:lnTo>
                    <a:pt x="46" y="104"/>
                  </a:lnTo>
                  <a:lnTo>
                    <a:pt x="43" y="104"/>
                  </a:lnTo>
                  <a:lnTo>
                    <a:pt x="38" y="107"/>
                  </a:lnTo>
                  <a:lnTo>
                    <a:pt x="36" y="107"/>
                  </a:lnTo>
                  <a:lnTo>
                    <a:pt x="25" y="109"/>
                  </a:lnTo>
                  <a:lnTo>
                    <a:pt x="23" y="109"/>
                  </a:lnTo>
                  <a:lnTo>
                    <a:pt x="23" y="109"/>
                  </a:lnTo>
                  <a:lnTo>
                    <a:pt x="23" y="109"/>
                  </a:lnTo>
                  <a:lnTo>
                    <a:pt x="25" y="112"/>
                  </a:lnTo>
                  <a:lnTo>
                    <a:pt x="30" y="112"/>
                  </a:lnTo>
                  <a:lnTo>
                    <a:pt x="30" y="114"/>
                  </a:lnTo>
                  <a:lnTo>
                    <a:pt x="33" y="114"/>
                  </a:lnTo>
                  <a:lnTo>
                    <a:pt x="36" y="114"/>
                  </a:lnTo>
                  <a:lnTo>
                    <a:pt x="51" y="117"/>
                  </a:lnTo>
                  <a:lnTo>
                    <a:pt x="53" y="117"/>
                  </a:lnTo>
                  <a:lnTo>
                    <a:pt x="53" y="114"/>
                  </a:lnTo>
                  <a:lnTo>
                    <a:pt x="51" y="114"/>
                  </a:lnTo>
                  <a:lnTo>
                    <a:pt x="51" y="112"/>
                  </a:lnTo>
                  <a:lnTo>
                    <a:pt x="53" y="112"/>
                  </a:lnTo>
                  <a:lnTo>
                    <a:pt x="56" y="112"/>
                  </a:lnTo>
                  <a:lnTo>
                    <a:pt x="56" y="114"/>
                  </a:lnTo>
                  <a:lnTo>
                    <a:pt x="58" y="114"/>
                  </a:lnTo>
                  <a:lnTo>
                    <a:pt x="58" y="114"/>
                  </a:lnTo>
                  <a:lnTo>
                    <a:pt x="61" y="114"/>
                  </a:lnTo>
                  <a:lnTo>
                    <a:pt x="66" y="112"/>
                  </a:lnTo>
                  <a:lnTo>
                    <a:pt x="69" y="112"/>
                  </a:lnTo>
                  <a:lnTo>
                    <a:pt x="69" y="112"/>
                  </a:lnTo>
                  <a:lnTo>
                    <a:pt x="69" y="112"/>
                  </a:lnTo>
                  <a:lnTo>
                    <a:pt x="71" y="114"/>
                  </a:lnTo>
                  <a:lnTo>
                    <a:pt x="71" y="114"/>
                  </a:lnTo>
                  <a:lnTo>
                    <a:pt x="74" y="114"/>
                  </a:lnTo>
                  <a:lnTo>
                    <a:pt x="74" y="114"/>
                  </a:lnTo>
                  <a:lnTo>
                    <a:pt x="74" y="114"/>
                  </a:lnTo>
                  <a:lnTo>
                    <a:pt x="79" y="114"/>
                  </a:lnTo>
                  <a:lnTo>
                    <a:pt x="81" y="114"/>
                  </a:lnTo>
                  <a:lnTo>
                    <a:pt x="84" y="112"/>
                  </a:lnTo>
                  <a:lnTo>
                    <a:pt x="87" y="112"/>
                  </a:lnTo>
                  <a:lnTo>
                    <a:pt x="89" y="112"/>
                  </a:lnTo>
                  <a:lnTo>
                    <a:pt x="92" y="112"/>
                  </a:lnTo>
                  <a:lnTo>
                    <a:pt x="92" y="112"/>
                  </a:lnTo>
                  <a:lnTo>
                    <a:pt x="92" y="112"/>
                  </a:lnTo>
                  <a:lnTo>
                    <a:pt x="94" y="112"/>
                  </a:lnTo>
                  <a:lnTo>
                    <a:pt x="94" y="112"/>
                  </a:lnTo>
                  <a:lnTo>
                    <a:pt x="99" y="112"/>
                  </a:lnTo>
                  <a:lnTo>
                    <a:pt x="102" y="109"/>
                  </a:lnTo>
                  <a:lnTo>
                    <a:pt x="104" y="109"/>
                  </a:lnTo>
                  <a:lnTo>
                    <a:pt x="107" y="109"/>
                  </a:lnTo>
                  <a:lnTo>
                    <a:pt x="109" y="112"/>
                  </a:lnTo>
                  <a:lnTo>
                    <a:pt x="109" y="112"/>
                  </a:lnTo>
                  <a:lnTo>
                    <a:pt x="115" y="112"/>
                  </a:lnTo>
                  <a:lnTo>
                    <a:pt x="120" y="112"/>
                  </a:lnTo>
                  <a:lnTo>
                    <a:pt x="125" y="112"/>
                  </a:lnTo>
                  <a:lnTo>
                    <a:pt x="127" y="112"/>
                  </a:lnTo>
                  <a:lnTo>
                    <a:pt x="130" y="114"/>
                  </a:lnTo>
                  <a:lnTo>
                    <a:pt x="132" y="114"/>
                  </a:lnTo>
                  <a:lnTo>
                    <a:pt x="140" y="117"/>
                  </a:lnTo>
                  <a:lnTo>
                    <a:pt x="145" y="117"/>
                  </a:lnTo>
                  <a:lnTo>
                    <a:pt x="148" y="120"/>
                  </a:lnTo>
                  <a:lnTo>
                    <a:pt x="150" y="120"/>
                  </a:lnTo>
                  <a:lnTo>
                    <a:pt x="153" y="120"/>
                  </a:lnTo>
                  <a:lnTo>
                    <a:pt x="155" y="122"/>
                  </a:lnTo>
                  <a:lnTo>
                    <a:pt x="158" y="122"/>
                  </a:lnTo>
                  <a:lnTo>
                    <a:pt x="158" y="122"/>
                  </a:lnTo>
                  <a:lnTo>
                    <a:pt x="160" y="122"/>
                  </a:lnTo>
                  <a:lnTo>
                    <a:pt x="160" y="125"/>
                  </a:lnTo>
                  <a:lnTo>
                    <a:pt x="158" y="125"/>
                  </a:lnTo>
                  <a:lnTo>
                    <a:pt x="153" y="127"/>
                  </a:lnTo>
                  <a:lnTo>
                    <a:pt x="153" y="127"/>
                  </a:lnTo>
                  <a:lnTo>
                    <a:pt x="155" y="130"/>
                  </a:lnTo>
                  <a:lnTo>
                    <a:pt x="158" y="130"/>
                  </a:lnTo>
                  <a:lnTo>
                    <a:pt x="158" y="130"/>
                  </a:lnTo>
                  <a:lnTo>
                    <a:pt x="158" y="132"/>
                  </a:lnTo>
                  <a:lnTo>
                    <a:pt x="158" y="132"/>
                  </a:lnTo>
                  <a:lnTo>
                    <a:pt x="163" y="135"/>
                  </a:lnTo>
                  <a:lnTo>
                    <a:pt x="166" y="135"/>
                  </a:lnTo>
                  <a:lnTo>
                    <a:pt x="166" y="137"/>
                  </a:lnTo>
                  <a:lnTo>
                    <a:pt x="168" y="137"/>
                  </a:lnTo>
                  <a:lnTo>
                    <a:pt x="168" y="137"/>
                  </a:lnTo>
                  <a:lnTo>
                    <a:pt x="168" y="140"/>
                  </a:lnTo>
                  <a:lnTo>
                    <a:pt x="168" y="140"/>
                  </a:lnTo>
                  <a:lnTo>
                    <a:pt x="171" y="140"/>
                  </a:lnTo>
                  <a:lnTo>
                    <a:pt x="173" y="142"/>
                  </a:lnTo>
                  <a:lnTo>
                    <a:pt x="171" y="142"/>
                  </a:lnTo>
                  <a:lnTo>
                    <a:pt x="171" y="142"/>
                  </a:lnTo>
                  <a:lnTo>
                    <a:pt x="168" y="142"/>
                  </a:lnTo>
                  <a:lnTo>
                    <a:pt x="166" y="145"/>
                  </a:lnTo>
                  <a:lnTo>
                    <a:pt x="166" y="145"/>
                  </a:lnTo>
                  <a:lnTo>
                    <a:pt x="166" y="145"/>
                  </a:lnTo>
                  <a:lnTo>
                    <a:pt x="166" y="148"/>
                  </a:lnTo>
                  <a:lnTo>
                    <a:pt x="163" y="148"/>
                  </a:lnTo>
                  <a:lnTo>
                    <a:pt x="160" y="148"/>
                  </a:lnTo>
                  <a:lnTo>
                    <a:pt x="158" y="150"/>
                  </a:lnTo>
                  <a:lnTo>
                    <a:pt x="155" y="150"/>
                  </a:lnTo>
                  <a:lnTo>
                    <a:pt x="155" y="150"/>
                  </a:lnTo>
                  <a:lnTo>
                    <a:pt x="158" y="150"/>
                  </a:lnTo>
                  <a:lnTo>
                    <a:pt x="163" y="150"/>
                  </a:lnTo>
                  <a:lnTo>
                    <a:pt x="166" y="148"/>
                  </a:lnTo>
                  <a:lnTo>
                    <a:pt x="168" y="148"/>
                  </a:lnTo>
                  <a:lnTo>
                    <a:pt x="168" y="148"/>
                  </a:lnTo>
                  <a:lnTo>
                    <a:pt x="168" y="150"/>
                  </a:lnTo>
                  <a:lnTo>
                    <a:pt x="168" y="150"/>
                  </a:lnTo>
                  <a:lnTo>
                    <a:pt x="168" y="153"/>
                  </a:lnTo>
                  <a:lnTo>
                    <a:pt x="171" y="153"/>
                  </a:lnTo>
                  <a:lnTo>
                    <a:pt x="171" y="153"/>
                  </a:lnTo>
                  <a:lnTo>
                    <a:pt x="168" y="153"/>
                  </a:lnTo>
                  <a:lnTo>
                    <a:pt x="171" y="153"/>
                  </a:lnTo>
                  <a:lnTo>
                    <a:pt x="171" y="155"/>
                  </a:lnTo>
                  <a:lnTo>
                    <a:pt x="168" y="155"/>
                  </a:lnTo>
                  <a:lnTo>
                    <a:pt x="168" y="155"/>
                  </a:lnTo>
                  <a:lnTo>
                    <a:pt x="168" y="155"/>
                  </a:lnTo>
                  <a:lnTo>
                    <a:pt x="166" y="158"/>
                  </a:lnTo>
                  <a:lnTo>
                    <a:pt x="163" y="158"/>
                  </a:lnTo>
                  <a:lnTo>
                    <a:pt x="163" y="160"/>
                  </a:lnTo>
                  <a:lnTo>
                    <a:pt x="163" y="160"/>
                  </a:lnTo>
                  <a:lnTo>
                    <a:pt x="166" y="160"/>
                  </a:lnTo>
                  <a:lnTo>
                    <a:pt x="166" y="160"/>
                  </a:lnTo>
                  <a:lnTo>
                    <a:pt x="166" y="160"/>
                  </a:lnTo>
                  <a:lnTo>
                    <a:pt x="166" y="163"/>
                  </a:lnTo>
                  <a:lnTo>
                    <a:pt x="166" y="163"/>
                  </a:lnTo>
                  <a:lnTo>
                    <a:pt x="168" y="163"/>
                  </a:lnTo>
                  <a:lnTo>
                    <a:pt x="171" y="160"/>
                  </a:lnTo>
                  <a:lnTo>
                    <a:pt x="171" y="163"/>
                  </a:lnTo>
                  <a:lnTo>
                    <a:pt x="171" y="163"/>
                  </a:lnTo>
                  <a:lnTo>
                    <a:pt x="171" y="165"/>
                  </a:lnTo>
                  <a:lnTo>
                    <a:pt x="168" y="165"/>
                  </a:lnTo>
                  <a:lnTo>
                    <a:pt x="168" y="168"/>
                  </a:lnTo>
                  <a:lnTo>
                    <a:pt x="166" y="168"/>
                  </a:lnTo>
                  <a:lnTo>
                    <a:pt x="163" y="168"/>
                  </a:lnTo>
                  <a:lnTo>
                    <a:pt x="163" y="168"/>
                  </a:lnTo>
                  <a:lnTo>
                    <a:pt x="163" y="170"/>
                  </a:lnTo>
                  <a:lnTo>
                    <a:pt x="163" y="170"/>
                  </a:lnTo>
                  <a:lnTo>
                    <a:pt x="163" y="170"/>
                  </a:lnTo>
                  <a:lnTo>
                    <a:pt x="166" y="170"/>
                  </a:lnTo>
                  <a:lnTo>
                    <a:pt x="166" y="170"/>
                  </a:lnTo>
                  <a:lnTo>
                    <a:pt x="166" y="170"/>
                  </a:lnTo>
                  <a:lnTo>
                    <a:pt x="168" y="170"/>
                  </a:lnTo>
                  <a:lnTo>
                    <a:pt x="168" y="170"/>
                  </a:lnTo>
                  <a:lnTo>
                    <a:pt x="171" y="170"/>
                  </a:lnTo>
                  <a:lnTo>
                    <a:pt x="173" y="170"/>
                  </a:lnTo>
                  <a:lnTo>
                    <a:pt x="173" y="170"/>
                  </a:lnTo>
                  <a:lnTo>
                    <a:pt x="173" y="173"/>
                  </a:lnTo>
                  <a:lnTo>
                    <a:pt x="173" y="173"/>
                  </a:lnTo>
                  <a:lnTo>
                    <a:pt x="173" y="173"/>
                  </a:lnTo>
                  <a:lnTo>
                    <a:pt x="173" y="176"/>
                  </a:lnTo>
                  <a:lnTo>
                    <a:pt x="171" y="176"/>
                  </a:lnTo>
                  <a:lnTo>
                    <a:pt x="171" y="176"/>
                  </a:lnTo>
                  <a:lnTo>
                    <a:pt x="168" y="178"/>
                  </a:lnTo>
                  <a:lnTo>
                    <a:pt x="166" y="178"/>
                  </a:lnTo>
                  <a:lnTo>
                    <a:pt x="163" y="178"/>
                  </a:lnTo>
                  <a:lnTo>
                    <a:pt x="158" y="178"/>
                  </a:lnTo>
                  <a:lnTo>
                    <a:pt x="155" y="181"/>
                  </a:lnTo>
                  <a:lnTo>
                    <a:pt x="158" y="181"/>
                  </a:lnTo>
                  <a:lnTo>
                    <a:pt x="158" y="181"/>
                  </a:lnTo>
                  <a:lnTo>
                    <a:pt x="160" y="181"/>
                  </a:lnTo>
                  <a:lnTo>
                    <a:pt x="158" y="183"/>
                  </a:lnTo>
                  <a:lnTo>
                    <a:pt x="155" y="183"/>
                  </a:lnTo>
                  <a:lnTo>
                    <a:pt x="155" y="183"/>
                  </a:lnTo>
                  <a:lnTo>
                    <a:pt x="153" y="183"/>
                  </a:lnTo>
                  <a:lnTo>
                    <a:pt x="153" y="186"/>
                  </a:lnTo>
                  <a:lnTo>
                    <a:pt x="158" y="186"/>
                  </a:lnTo>
                  <a:lnTo>
                    <a:pt x="166" y="181"/>
                  </a:lnTo>
                  <a:lnTo>
                    <a:pt x="166" y="181"/>
                  </a:lnTo>
                  <a:lnTo>
                    <a:pt x="166" y="181"/>
                  </a:lnTo>
                  <a:lnTo>
                    <a:pt x="166" y="183"/>
                  </a:lnTo>
                  <a:lnTo>
                    <a:pt x="163" y="183"/>
                  </a:lnTo>
                  <a:lnTo>
                    <a:pt x="155" y="186"/>
                  </a:lnTo>
                  <a:lnTo>
                    <a:pt x="153" y="188"/>
                  </a:lnTo>
                  <a:lnTo>
                    <a:pt x="148" y="193"/>
                  </a:lnTo>
                  <a:lnTo>
                    <a:pt x="148" y="193"/>
                  </a:lnTo>
                  <a:lnTo>
                    <a:pt x="145" y="193"/>
                  </a:lnTo>
                  <a:lnTo>
                    <a:pt x="145" y="196"/>
                  </a:lnTo>
                  <a:lnTo>
                    <a:pt x="145" y="196"/>
                  </a:lnTo>
                  <a:lnTo>
                    <a:pt x="148" y="198"/>
                  </a:lnTo>
                  <a:lnTo>
                    <a:pt x="148" y="198"/>
                  </a:lnTo>
                  <a:lnTo>
                    <a:pt x="153" y="198"/>
                  </a:lnTo>
                  <a:lnTo>
                    <a:pt x="155" y="201"/>
                  </a:lnTo>
                  <a:lnTo>
                    <a:pt x="155" y="201"/>
                  </a:lnTo>
                  <a:lnTo>
                    <a:pt x="163" y="198"/>
                  </a:lnTo>
                  <a:lnTo>
                    <a:pt x="166" y="198"/>
                  </a:lnTo>
                  <a:lnTo>
                    <a:pt x="166" y="198"/>
                  </a:lnTo>
                  <a:lnTo>
                    <a:pt x="168" y="198"/>
                  </a:lnTo>
                  <a:lnTo>
                    <a:pt x="168" y="196"/>
                  </a:lnTo>
                  <a:lnTo>
                    <a:pt x="171" y="196"/>
                  </a:lnTo>
                  <a:lnTo>
                    <a:pt x="168" y="193"/>
                  </a:lnTo>
                  <a:lnTo>
                    <a:pt x="171" y="193"/>
                  </a:lnTo>
                  <a:lnTo>
                    <a:pt x="171" y="196"/>
                  </a:lnTo>
                  <a:lnTo>
                    <a:pt x="173" y="193"/>
                  </a:lnTo>
                  <a:lnTo>
                    <a:pt x="173" y="193"/>
                  </a:lnTo>
                  <a:lnTo>
                    <a:pt x="176" y="193"/>
                  </a:lnTo>
                  <a:lnTo>
                    <a:pt x="178" y="191"/>
                  </a:lnTo>
                  <a:lnTo>
                    <a:pt x="178" y="191"/>
                  </a:lnTo>
                  <a:lnTo>
                    <a:pt x="181" y="191"/>
                  </a:lnTo>
                  <a:lnTo>
                    <a:pt x="181" y="188"/>
                  </a:lnTo>
                  <a:lnTo>
                    <a:pt x="178" y="188"/>
                  </a:lnTo>
                  <a:lnTo>
                    <a:pt x="178" y="186"/>
                  </a:lnTo>
                  <a:lnTo>
                    <a:pt x="178" y="186"/>
                  </a:lnTo>
                  <a:lnTo>
                    <a:pt x="178" y="186"/>
                  </a:lnTo>
                  <a:lnTo>
                    <a:pt x="178" y="183"/>
                  </a:lnTo>
                  <a:lnTo>
                    <a:pt x="178" y="183"/>
                  </a:lnTo>
                  <a:lnTo>
                    <a:pt x="178" y="183"/>
                  </a:lnTo>
                  <a:lnTo>
                    <a:pt x="178" y="183"/>
                  </a:lnTo>
                  <a:lnTo>
                    <a:pt x="183" y="181"/>
                  </a:lnTo>
                  <a:lnTo>
                    <a:pt x="183" y="181"/>
                  </a:lnTo>
                  <a:lnTo>
                    <a:pt x="181" y="183"/>
                  </a:lnTo>
                  <a:lnTo>
                    <a:pt x="181" y="183"/>
                  </a:lnTo>
                  <a:lnTo>
                    <a:pt x="181" y="186"/>
                  </a:lnTo>
                  <a:lnTo>
                    <a:pt x="181" y="186"/>
                  </a:lnTo>
                  <a:lnTo>
                    <a:pt x="181" y="186"/>
                  </a:lnTo>
                  <a:lnTo>
                    <a:pt x="181" y="188"/>
                  </a:lnTo>
                  <a:lnTo>
                    <a:pt x="181" y="188"/>
                  </a:lnTo>
                  <a:lnTo>
                    <a:pt x="181" y="191"/>
                  </a:lnTo>
                  <a:lnTo>
                    <a:pt x="181" y="191"/>
                  </a:lnTo>
                  <a:lnTo>
                    <a:pt x="181" y="193"/>
                  </a:lnTo>
                  <a:lnTo>
                    <a:pt x="183" y="191"/>
                  </a:lnTo>
                  <a:lnTo>
                    <a:pt x="183" y="193"/>
                  </a:lnTo>
                  <a:lnTo>
                    <a:pt x="181" y="193"/>
                  </a:lnTo>
                  <a:lnTo>
                    <a:pt x="181" y="193"/>
                  </a:lnTo>
                  <a:lnTo>
                    <a:pt x="176" y="196"/>
                  </a:lnTo>
                  <a:lnTo>
                    <a:pt x="176" y="196"/>
                  </a:lnTo>
                  <a:lnTo>
                    <a:pt x="176" y="196"/>
                  </a:lnTo>
                  <a:lnTo>
                    <a:pt x="178" y="196"/>
                  </a:lnTo>
                  <a:lnTo>
                    <a:pt x="181" y="196"/>
                  </a:lnTo>
                  <a:lnTo>
                    <a:pt x="183" y="196"/>
                  </a:lnTo>
                  <a:lnTo>
                    <a:pt x="188" y="193"/>
                  </a:lnTo>
                  <a:lnTo>
                    <a:pt x="188" y="193"/>
                  </a:lnTo>
                  <a:lnTo>
                    <a:pt x="194" y="196"/>
                  </a:lnTo>
                  <a:lnTo>
                    <a:pt x="196" y="196"/>
                  </a:lnTo>
                  <a:lnTo>
                    <a:pt x="199" y="193"/>
                  </a:lnTo>
                  <a:lnTo>
                    <a:pt x="201" y="193"/>
                  </a:lnTo>
                  <a:lnTo>
                    <a:pt x="201" y="193"/>
                  </a:lnTo>
                  <a:lnTo>
                    <a:pt x="199" y="196"/>
                  </a:lnTo>
                  <a:lnTo>
                    <a:pt x="186" y="198"/>
                  </a:lnTo>
                  <a:lnTo>
                    <a:pt x="183" y="198"/>
                  </a:lnTo>
                  <a:lnTo>
                    <a:pt x="181" y="198"/>
                  </a:lnTo>
                  <a:lnTo>
                    <a:pt x="181" y="201"/>
                  </a:lnTo>
                  <a:lnTo>
                    <a:pt x="178" y="201"/>
                  </a:lnTo>
                  <a:lnTo>
                    <a:pt x="178" y="201"/>
                  </a:lnTo>
                  <a:lnTo>
                    <a:pt x="178" y="204"/>
                  </a:lnTo>
                  <a:lnTo>
                    <a:pt x="181" y="204"/>
                  </a:lnTo>
                  <a:lnTo>
                    <a:pt x="181" y="204"/>
                  </a:lnTo>
                  <a:lnTo>
                    <a:pt x="186" y="204"/>
                  </a:lnTo>
                  <a:lnTo>
                    <a:pt x="186" y="204"/>
                  </a:lnTo>
                  <a:lnTo>
                    <a:pt x="188" y="204"/>
                  </a:lnTo>
                  <a:lnTo>
                    <a:pt x="191" y="204"/>
                  </a:lnTo>
                  <a:lnTo>
                    <a:pt x="196" y="204"/>
                  </a:lnTo>
                  <a:lnTo>
                    <a:pt x="201" y="204"/>
                  </a:lnTo>
                  <a:lnTo>
                    <a:pt x="204" y="206"/>
                  </a:lnTo>
                  <a:lnTo>
                    <a:pt x="204" y="206"/>
                  </a:lnTo>
                  <a:lnTo>
                    <a:pt x="204" y="206"/>
                  </a:lnTo>
                  <a:lnTo>
                    <a:pt x="204" y="206"/>
                  </a:lnTo>
                  <a:lnTo>
                    <a:pt x="201" y="206"/>
                  </a:lnTo>
                  <a:lnTo>
                    <a:pt x="199" y="206"/>
                  </a:lnTo>
                  <a:lnTo>
                    <a:pt x="196" y="206"/>
                  </a:lnTo>
                  <a:lnTo>
                    <a:pt x="194" y="206"/>
                  </a:lnTo>
                  <a:lnTo>
                    <a:pt x="194" y="206"/>
                  </a:lnTo>
                  <a:lnTo>
                    <a:pt x="196" y="209"/>
                  </a:lnTo>
                  <a:lnTo>
                    <a:pt x="199" y="209"/>
                  </a:lnTo>
                  <a:lnTo>
                    <a:pt x="199" y="209"/>
                  </a:lnTo>
                  <a:lnTo>
                    <a:pt x="199" y="211"/>
                  </a:lnTo>
                  <a:lnTo>
                    <a:pt x="199" y="211"/>
                  </a:lnTo>
                  <a:lnTo>
                    <a:pt x="196" y="214"/>
                  </a:lnTo>
                  <a:lnTo>
                    <a:pt x="196" y="214"/>
                  </a:lnTo>
                  <a:lnTo>
                    <a:pt x="196" y="216"/>
                  </a:lnTo>
                  <a:lnTo>
                    <a:pt x="201" y="216"/>
                  </a:lnTo>
                  <a:lnTo>
                    <a:pt x="204" y="216"/>
                  </a:lnTo>
                  <a:lnTo>
                    <a:pt x="204" y="219"/>
                  </a:lnTo>
                  <a:lnTo>
                    <a:pt x="204" y="219"/>
                  </a:lnTo>
                  <a:lnTo>
                    <a:pt x="199" y="219"/>
                  </a:lnTo>
                  <a:lnTo>
                    <a:pt x="199" y="219"/>
                  </a:lnTo>
                  <a:lnTo>
                    <a:pt x="194" y="216"/>
                  </a:lnTo>
                  <a:lnTo>
                    <a:pt x="191" y="216"/>
                  </a:lnTo>
                  <a:lnTo>
                    <a:pt x="188" y="216"/>
                  </a:lnTo>
                  <a:lnTo>
                    <a:pt x="181" y="214"/>
                  </a:lnTo>
                  <a:lnTo>
                    <a:pt x="178" y="211"/>
                  </a:lnTo>
                  <a:lnTo>
                    <a:pt x="176" y="211"/>
                  </a:lnTo>
                  <a:lnTo>
                    <a:pt x="173" y="211"/>
                  </a:lnTo>
                  <a:lnTo>
                    <a:pt x="168" y="211"/>
                  </a:lnTo>
                  <a:lnTo>
                    <a:pt x="166" y="211"/>
                  </a:lnTo>
                  <a:lnTo>
                    <a:pt x="163" y="211"/>
                  </a:lnTo>
                  <a:lnTo>
                    <a:pt x="163" y="211"/>
                  </a:lnTo>
                  <a:lnTo>
                    <a:pt x="158" y="211"/>
                  </a:lnTo>
                  <a:lnTo>
                    <a:pt x="155" y="211"/>
                  </a:lnTo>
                  <a:lnTo>
                    <a:pt x="153" y="211"/>
                  </a:lnTo>
                  <a:lnTo>
                    <a:pt x="150" y="214"/>
                  </a:lnTo>
                  <a:lnTo>
                    <a:pt x="150" y="214"/>
                  </a:lnTo>
                  <a:lnTo>
                    <a:pt x="153" y="214"/>
                  </a:lnTo>
                  <a:lnTo>
                    <a:pt x="155" y="216"/>
                  </a:lnTo>
                  <a:lnTo>
                    <a:pt x="155" y="219"/>
                  </a:lnTo>
                  <a:lnTo>
                    <a:pt x="158" y="219"/>
                  </a:lnTo>
                  <a:lnTo>
                    <a:pt x="163" y="219"/>
                  </a:lnTo>
                  <a:lnTo>
                    <a:pt x="168" y="219"/>
                  </a:lnTo>
                  <a:lnTo>
                    <a:pt x="171" y="221"/>
                  </a:lnTo>
                  <a:lnTo>
                    <a:pt x="173" y="221"/>
                  </a:lnTo>
                  <a:lnTo>
                    <a:pt x="176" y="224"/>
                  </a:lnTo>
                  <a:lnTo>
                    <a:pt x="176" y="224"/>
                  </a:lnTo>
                  <a:lnTo>
                    <a:pt x="186" y="226"/>
                  </a:lnTo>
                  <a:lnTo>
                    <a:pt x="186" y="226"/>
                  </a:lnTo>
                  <a:lnTo>
                    <a:pt x="188" y="226"/>
                  </a:lnTo>
                  <a:lnTo>
                    <a:pt x="191" y="224"/>
                  </a:lnTo>
                  <a:lnTo>
                    <a:pt x="194" y="224"/>
                  </a:lnTo>
                  <a:lnTo>
                    <a:pt x="196" y="224"/>
                  </a:lnTo>
                  <a:lnTo>
                    <a:pt x="196" y="226"/>
                  </a:lnTo>
                  <a:lnTo>
                    <a:pt x="201" y="226"/>
                  </a:lnTo>
                  <a:lnTo>
                    <a:pt x="204" y="224"/>
                  </a:lnTo>
                  <a:lnTo>
                    <a:pt x="204" y="224"/>
                  </a:lnTo>
                  <a:lnTo>
                    <a:pt x="204" y="226"/>
                  </a:lnTo>
                  <a:lnTo>
                    <a:pt x="204" y="226"/>
                  </a:lnTo>
                  <a:lnTo>
                    <a:pt x="201" y="226"/>
                  </a:lnTo>
                  <a:lnTo>
                    <a:pt x="201" y="226"/>
                  </a:lnTo>
                  <a:lnTo>
                    <a:pt x="201" y="229"/>
                  </a:lnTo>
                  <a:lnTo>
                    <a:pt x="201" y="229"/>
                  </a:lnTo>
                  <a:lnTo>
                    <a:pt x="199" y="229"/>
                  </a:lnTo>
                  <a:lnTo>
                    <a:pt x="196" y="232"/>
                  </a:lnTo>
                  <a:lnTo>
                    <a:pt x="194" y="232"/>
                  </a:lnTo>
                  <a:lnTo>
                    <a:pt x="194" y="234"/>
                  </a:lnTo>
                  <a:lnTo>
                    <a:pt x="191" y="237"/>
                  </a:lnTo>
                  <a:lnTo>
                    <a:pt x="188" y="237"/>
                  </a:lnTo>
                  <a:lnTo>
                    <a:pt x="186" y="239"/>
                  </a:lnTo>
                  <a:lnTo>
                    <a:pt x="186" y="242"/>
                  </a:lnTo>
                  <a:lnTo>
                    <a:pt x="188" y="242"/>
                  </a:lnTo>
                  <a:lnTo>
                    <a:pt x="191" y="239"/>
                  </a:lnTo>
                  <a:lnTo>
                    <a:pt x="194" y="239"/>
                  </a:lnTo>
                  <a:lnTo>
                    <a:pt x="194" y="242"/>
                  </a:lnTo>
                  <a:lnTo>
                    <a:pt x="196" y="242"/>
                  </a:lnTo>
                  <a:lnTo>
                    <a:pt x="196" y="242"/>
                  </a:lnTo>
                  <a:lnTo>
                    <a:pt x="194" y="242"/>
                  </a:lnTo>
                  <a:lnTo>
                    <a:pt x="188" y="242"/>
                  </a:lnTo>
                  <a:lnTo>
                    <a:pt x="183" y="242"/>
                  </a:lnTo>
                  <a:lnTo>
                    <a:pt x="183" y="242"/>
                  </a:lnTo>
                  <a:lnTo>
                    <a:pt x="181" y="247"/>
                  </a:lnTo>
                  <a:lnTo>
                    <a:pt x="178" y="249"/>
                  </a:lnTo>
                  <a:lnTo>
                    <a:pt x="178" y="249"/>
                  </a:lnTo>
                  <a:lnTo>
                    <a:pt x="181" y="249"/>
                  </a:lnTo>
                  <a:lnTo>
                    <a:pt x="183" y="249"/>
                  </a:lnTo>
                  <a:lnTo>
                    <a:pt x="183" y="249"/>
                  </a:lnTo>
                  <a:lnTo>
                    <a:pt x="181" y="252"/>
                  </a:lnTo>
                  <a:lnTo>
                    <a:pt x="178" y="252"/>
                  </a:lnTo>
                  <a:lnTo>
                    <a:pt x="178" y="252"/>
                  </a:lnTo>
                  <a:lnTo>
                    <a:pt x="171" y="254"/>
                  </a:lnTo>
                  <a:lnTo>
                    <a:pt x="171" y="254"/>
                  </a:lnTo>
                  <a:lnTo>
                    <a:pt x="168" y="254"/>
                  </a:lnTo>
                  <a:lnTo>
                    <a:pt x="160" y="249"/>
                  </a:lnTo>
                  <a:lnTo>
                    <a:pt x="158" y="249"/>
                  </a:lnTo>
                  <a:lnTo>
                    <a:pt x="153" y="252"/>
                  </a:lnTo>
                  <a:lnTo>
                    <a:pt x="150" y="252"/>
                  </a:lnTo>
                  <a:lnTo>
                    <a:pt x="145" y="257"/>
                  </a:lnTo>
                  <a:lnTo>
                    <a:pt x="143" y="257"/>
                  </a:lnTo>
                  <a:lnTo>
                    <a:pt x="140" y="257"/>
                  </a:lnTo>
                  <a:lnTo>
                    <a:pt x="143" y="260"/>
                  </a:lnTo>
                  <a:lnTo>
                    <a:pt x="145" y="257"/>
                  </a:lnTo>
                  <a:lnTo>
                    <a:pt x="150" y="257"/>
                  </a:lnTo>
                  <a:lnTo>
                    <a:pt x="150" y="260"/>
                  </a:lnTo>
                  <a:lnTo>
                    <a:pt x="150" y="260"/>
                  </a:lnTo>
                  <a:lnTo>
                    <a:pt x="155" y="260"/>
                  </a:lnTo>
                  <a:lnTo>
                    <a:pt x="158" y="260"/>
                  </a:lnTo>
                  <a:lnTo>
                    <a:pt x="163" y="260"/>
                  </a:lnTo>
                  <a:lnTo>
                    <a:pt x="166" y="260"/>
                  </a:lnTo>
                  <a:lnTo>
                    <a:pt x="171" y="257"/>
                  </a:lnTo>
                  <a:lnTo>
                    <a:pt x="171" y="257"/>
                  </a:lnTo>
                  <a:lnTo>
                    <a:pt x="171" y="257"/>
                  </a:lnTo>
                  <a:lnTo>
                    <a:pt x="173" y="257"/>
                  </a:lnTo>
                  <a:lnTo>
                    <a:pt x="176" y="257"/>
                  </a:lnTo>
                  <a:lnTo>
                    <a:pt x="176" y="257"/>
                  </a:lnTo>
                  <a:lnTo>
                    <a:pt x="173" y="257"/>
                  </a:lnTo>
                  <a:lnTo>
                    <a:pt x="171" y="260"/>
                  </a:lnTo>
                  <a:lnTo>
                    <a:pt x="171" y="260"/>
                  </a:lnTo>
                  <a:lnTo>
                    <a:pt x="168" y="260"/>
                  </a:lnTo>
                  <a:lnTo>
                    <a:pt x="168" y="262"/>
                  </a:lnTo>
                  <a:lnTo>
                    <a:pt x="168" y="262"/>
                  </a:lnTo>
                  <a:lnTo>
                    <a:pt x="166" y="262"/>
                  </a:lnTo>
                  <a:lnTo>
                    <a:pt x="166" y="262"/>
                  </a:lnTo>
                  <a:lnTo>
                    <a:pt x="163" y="262"/>
                  </a:lnTo>
                  <a:lnTo>
                    <a:pt x="158" y="262"/>
                  </a:lnTo>
                  <a:lnTo>
                    <a:pt x="153" y="262"/>
                  </a:lnTo>
                  <a:lnTo>
                    <a:pt x="148" y="260"/>
                  </a:lnTo>
                  <a:lnTo>
                    <a:pt x="145" y="260"/>
                  </a:lnTo>
                  <a:lnTo>
                    <a:pt x="143" y="260"/>
                  </a:lnTo>
                  <a:lnTo>
                    <a:pt x="143" y="262"/>
                  </a:lnTo>
                  <a:lnTo>
                    <a:pt x="137" y="265"/>
                  </a:lnTo>
                  <a:lnTo>
                    <a:pt x="132" y="267"/>
                  </a:lnTo>
                  <a:lnTo>
                    <a:pt x="132" y="270"/>
                  </a:lnTo>
                  <a:lnTo>
                    <a:pt x="132" y="270"/>
                  </a:lnTo>
                  <a:lnTo>
                    <a:pt x="130" y="270"/>
                  </a:lnTo>
                  <a:lnTo>
                    <a:pt x="127" y="272"/>
                  </a:lnTo>
                  <a:lnTo>
                    <a:pt x="130" y="272"/>
                  </a:lnTo>
                  <a:lnTo>
                    <a:pt x="132" y="272"/>
                  </a:lnTo>
                  <a:lnTo>
                    <a:pt x="143" y="270"/>
                  </a:lnTo>
                  <a:lnTo>
                    <a:pt x="143" y="267"/>
                  </a:lnTo>
                  <a:lnTo>
                    <a:pt x="145" y="267"/>
                  </a:lnTo>
                  <a:lnTo>
                    <a:pt x="148" y="267"/>
                  </a:lnTo>
                  <a:lnTo>
                    <a:pt x="153" y="267"/>
                  </a:lnTo>
                  <a:lnTo>
                    <a:pt x="155" y="267"/>
                  </a:lnTo>
                  <a:lnTo>
                    <a:pt x="158" y="270"/>
                  </a:lnTo>
                  <a:lnTo>
                    <a:pt x="160" y="270"/>
                  </a:lnTo>
                  <a:lnTo>
                    <a:pt x="166" y="270"/>
                  </a:lnTo>
                  <a:lnTo>
                    <a:pt x="166" y="267"/>
                  </a:lnTo>
                  <a:lnTo>
                    <a:pt x="171" y="267"/>
                  </a:lnTo>
                  <a:lnTo>
                    <a:pt x="173" y="267"/>
                  </a:lnTo>
                  <a:lnTo>
                    <a:pt x="171" y="270"/>
                  </a:lnTo>
                  <a:lnTo>
                    <a:pt x="168" y="270"/>
                  </a:lnTo>
                  <a:lnTo>
                    <a:pt x="168" y="270"/>
                  </a:lnTo>
                  <a:lnTo>
                    <a:pt x="173" y="272"/>
                  </a:lnTo>
                  <a:lnTo>
                    <a:pt x="173" y="272"/>
                  </a:lnTo>
                  <a:lnTo>
                    <a:pt x="173" y="275"/>
                  </a:lnTo>
                  <a:lnTo>
                    <a:pt x="168" y="272"/>
                  </a:lnTo>
                  <a:lnTo>
                    <a:pt x="163" y="270"/>
                  </a:lnTo>
                  <a:lnTo>
                    <a:pt x="160" y="270"/>
                  </a:lnTo>
                  <a:lnTo>
                    <a:pt x="155" y="270"/>
                  </a:lnTo>
                  <a:lnTo>
                    <a:pt x="150" y="270"/>
                  </a:lnTo>
                  <a:lnTo>
                    <a:pt x="148" y="270"/>
                  </a:lnTo>
                  <a:lnTo>
                    <a:pt x="145" y="270"/>
                  </a:lnTo>
                  <a:lnTo>
                    <a:pt x="140" y="270"/>
                  </a:lnTo>
                  <a:lnTo>
                    <a:pt x="135" y="272"/>
                  </a:lnTo>
                  <a:lnTo>
                    <a:pt x="132" y="272"/>
                  </a:lnTo>
                  <a:lnTo>
                    <a:pt x="130" y="275"/>
                  </a:lnTo>
                  <a:lnTo>
                    <a:pt x="125" y="275"/>
                  </a:lnTo>
                  <a:lnTo>
                    <a:pt x="125" y="277"/>
                  </a:lnTo>
                  <a:lnTo>
                    <a:pt x="122" y="280"/>
                  </a:lnTo>
                  <a:lnTo>
                    <a:pt x="122" y="285"/>
                  </a:lnTo>
                  <a:lnTo>
                    <a:pt x="125" y="285"/>
                  </a:lnTo>
                  <a:lnTo>
                    <a:pt x="125" y="285"/>
                  </a:lnTo>
                  <a:lnTo>
                    <a:pt x="127" y="285"/>
                  </a:lnTo>
                  <a:lnTo>
                    <a:pt x="130" y="285"/>
                  </a:lnTo>
                  <a:lnTo>
                    <a:pt x="132" y="285"/>
                  </a:lnTo>
                  <a:lnTo>
                    <a:pt x="140" y="285"/>
                  </a:lnTo>
                  <a:lnTo>
                    <a:pt x="140" y="285"/>
                  </a:lnTo>
                  <a:lnTo>
                    <a:pt x="140" y="285"/>
                  </a:lnTo>
                  <a:lnTo>
                    <a:pt x="140" y="288"/>
                  </a:lnTo>
                  <a:lnTo>
                    <a:pt x="140" y="288"/>
                  </a:lnTo>
                  <a:lnTo>
                    <a:pt x="137" y="288"/>
                  </a:lnTo>
                  <a:lnTo>
                    <a:pt x="130" y="288"/>
                  </a:lnTo>
                  <a:lnTo>
                    <a:pt x="130" y="288"/>
                  </a:lnTo>
                  <a:lnTo>
                    <a:pt x="127" y="290"/>
                  </a:lnTo>
                  <a:lnTo>
                    <a:pt x="122" y="290"/>
                  </a:lnTo>
                  <a:lnTo>
                    <a:pt x="122" y="290"/>
                  </a:lnTo>
                  <a:lnTo>
                    <a:pt x="122" y="293"/>
                  </a:lnTo>
                  <a:lnTo>
                    <a:pt x="120" y="293"/>
                  </a:lnTo>
                  <a:lnTo>
                    <a:pt x="117" y="295"/>
                  </a:lnTo>
                  <a:lnTo>
                    <a:pt x="117" y="298"/>
                  </a:lnTo>
                  <a:lnTo>
                    <a:pt x="115" y="298"/>
                  </a:lnTo>
                  <a:lnTo>
                    <a:pt x="115" y="300"/>
                  </a:lnTo>
                  <a:lnTo>
                    <a:pt x="117" y="300"/>
                  </a:lnTo>
                  <a:lnTo>
                    <a:pt x="117" y="300"/>
                  </a:lnTo>
                  <a:lnTo>
                    <a:pt x="122" y="300"/>
                  </a:lnTo>
                  <a:lnTo>
                    <a:pt x="125" y="300"/>
                  </a:lnTo>
                  <a:lnTo>
                    <a:pt x="127" y="298"/>
                  </a:lnTo>
                  <a:lnTo>
                    <a:pt x="130" y="298"/>
                  </a:lnTo>
                  <a:lnTo>
                    <a:pt x="132" y="295"/>
                  </a:lnTo>
                  <a:lnTo>
                    <a:pt x="135" y="295"/>
                  </a:lnTo>
                  <a:lnTo>
                    <a:pt x="148" y="290"/>
                  </a:lnTo>
                  <a:lnTo>
                    <a:pt x="150" y="288"/>
                  </a:lnTo>
                  <a:lnTo>
                    <a:pt x="155" y="288"/>
                  </a:lnTo>
                  <a:lnTo>
                    <a:pt x="158" y="285"/>
                  </a:lnTo>
                  <a:lnTo>
                    <a:pt x="158" y="285"/>
                  </a:lnTo>
                  <a:lnTo>
                    <a:pt x="158" y="288"/>
                  </a:lnTo>
                  <a:lnTo>
                    <a:pt x="153" y="288"/>
                  </a:lnTo>
                  <a:lnTo>
                    <a:pt x="150" y="290"/>
                  </a:lnTo>
                  <a:lnTo>
                    <a:pt x="148" y="290"/>
                  </a:lnTo>
                  <a:lnTo>
                    <a:pt x="145" y="290"/>
                  </a:lnTo>
                  <a:lnTo>
                    <a:pt x="145" y="293"/>
                  </a:lnTo>
                  <a:lnTo>
                    <a:pt x="143" y="293"/>
                  </a:lnTo>
                  <a:lnTo>
                    <a:pt x="140" y="295"/>
                  </a:lnTo>
                  <a:lnTo>
                    <a:pt x="137" y="295"/>
                  </a:lnTo>
                  <a:lnTo>
                    <a:pt x="135" y="295"/>
                  </a:lnTo>
                  <a:lnTo>
                    <a:pt x="125" y="300"/>
                  </a:lnTo>
                  <a:lnTo>
                    <a:pt x="117" y="303"/>
                  </a:lnTo>
                  <a:lnTo>
                    <a:pt x="117" y="303"/>
                  </a:lnTo>
                  <a:lnTo>
                    <a:pt x="117" y="303"/>
                  </a:lnTo>
                  <a:lnTo>
                    <a:pt x="120" y="303"/>
                  </a:lnTo>
                  <a:lnTo>
                    <a:pt x="120" y="303"/>
                  </a:lnTo>
                  <a:lnTo>
                    <a:pt x="120" y="303"/>
                  </a:lnTo>
                  <a:lnTo>
                    <a:pt x="117" y="308"/>
                  </a:lnTo>
                  <a:lnTo>
                    <a:pt x="115" y="310"/>
                  </a:lnTo>
                  <a:lnTo>
                    <a:pt x="117" y="310"/>
                  </a:lnTo>
                  <a:lnTo>
                    <a:pt x="117" y="313"/>
                  </a:lnTo>
                  <a:lnTo>
                    <a:pt x="122" y="310"/>
                  </a:lnTo>
                  <a:lnTo>
                    <a:pt x="125" y="313"/>
                  </a:lnTo>
                  <a:lnTo>
                    <a:pt x="127" y="313"/>
                  </a:lnTo>
                  <a:lnTo>
                    <a:pt x="132" y="313"/>
                  </a:lnTo>
                  <a:lnTo>
                    <a:pt x="135" y="310"/>
                  </a:lnTo>
                  <a:lnTo>
                    <a:pt x="137" y="308"/>
                  </a:lnTo>
                  <a:lnTo>
                    <a:pt x="140" y="308"/>
                  </a:lnTo>
                  <a:lnTo>
                    <a:pt x="145" y="308"/>
                  </a:lnTo>
                  <a:lnTo>
                    <a:pt x="148" y="308"/>
                  </a:lnTo>
                  <a:lnTo>
                    <a:pt x="150" y="308"/>
                  </a:lnTo>
                  <a:lnTo>
                    <a:pt x="150" y="308"/>
                  </a:lnTo>
                  <a:lnTo>
                    <a:pt x="148" y="308"/>
                  </a:lnTo>
                  <a:lnTo>
                    <a:pt x="140" y="308"/>
                  </a:lnTo>
                  <a:lnTo>
                    <a:pt x="137" y="310"/>
                  </a:lnTo>
                  <a:lnTo>
                    <a:pt x="132" y="313"/>
                  </a:lnTo>
                  <a:lnTo>
                    <a:pt x="130" y="316"/>
                  </a:lnTo>
                  <a:lnTo>
                    <a:pt x="125" y="316"/>
                  </a:lnTo>
                  <a:lnTo>
                    <a:pt x="125" y="316"/>
                  </a:lnTo>
                  <a:lnTo>
                    <a:pt x="122" y="316"/>
                  </a:lnTo>
                  <a:lnTo>
                    <a:pt x="122" y="318"/>
                  </a:lnTo>
                  <a:lnTo>
                    <a:pt x="122" y="318"/>
                  </a:lnTo>
                  <a:lnTo>
                    <a:pt x="122" y="318"/>
                  </a:lnTo>
                  <a:lnTo>
                    <a:pt x="125" y="321"/>
                  </a:lnTo>
                  <a:lnTo>
                    <a:pt x="125" y="323"/>
                  </a:lnTo>
                  <a:lnTo>
                    <a:pt x="125" y="328"/>
                  </a:lnTo>
                  <a:lnTo>
                    <a:pt x="122" y="328"/>
                  </a:lnTo>
                  <a:lnTo>
                    <a:pt x="122" y="331"/>
                  </a:lnTo>
                  <a:lnTo>
                    <a:pt x="120" y="336"/>
                  </a:lnTo>
                  <a:lnTo>
                    <a:pt x="120" y="336"/>
                  </a:lnTo>
                  <a:lnTo>
                    <a:pt x="120" y="338"/>
                  </a:lnTo>
                  <a:lnTo>
                    <a:pt x="122" y="338"/>
                  </a:lnTo>
                  <a:lnTo>
                    <a:pt x="122" y="338"/>
                  </a:lnTo>
                  <a:lnTo>
                    <a:pt x="125" y="338"/>
                  </a:lnTo>
                  <a:lnTo>
                    <a:pt x="127" y="336"/>
                  </a:lnTo>
                  <a:lnTo>
                    <a:pt x="132" y="333"/>
                  </a:lnTo>
                  <a:lnTo>
                    <a:pt x="132" y="331"/>
                  </a:lnTo>
                  <a:lnTo>
                    <a:pt x="135" y="328"/>
                  </a:lnTo>
                  <a:lnTo>
                    <a:pt x="137" y="328"/>
                  </a:lnTo>
                  <a:lnTo>
                    <a:pt x="137" y="328"/>
                  </a:lnTo>
                  <a:lnTo>
                    <a:pt x="137" y="328"/>
                  </a:lnTo>
                  <a:lnTo>
                    <a:pt x="135" y="331"/>
                  </a:lnTo>
                  <a:lnTo>
                    <a:pt x="140" y="331"/>
                  </a:lnTo>
                  <a:lnTo>
                    <a:pt x="143" y="328"/>
                  </a:lnTo>
                  <a:lnTo>
                    <a:pt x="143" y="328"/>
                  </a:lnTo>
                  <a:lnTo>
                    <a:pt x="145" y="328"/>
                  </a:lnTo>
                  <a:lnTo>
                    <a:pt x="145" y="326"/>
                  </a:lnTo>
                  <a:lnTo>
                    <a:pt x="145" y="323"/>
                  </a:lnTo>
                  <a:lnTo>
                    <a:pt x="145" y="321"/>
                  </a:lnTo>
                  <a:lnTo>
                    <a:pt x="145" y="318"/>
                  </a:lnTo>
                  <a:lnTo>
                    <a:pt x="145" y="318"/>
                  </a:lnTo>
                  <a:lnTo>
                    <a:pt x="145" y="321"/>
                  </a:lnTo>
                  <a:lnTo>
                    <a:pt x="145" y="323"/>
                  </a:lnTo>
                  <a:lnTo>
                    <a:pt x="148" y="326"/>
                  </a:lnTo>
                  <a:lnTo>
                    <a:pt x="148" y="326"/>
                  </a:lnTo>
                  <a:lnTo>
                    <a:pt x="148" y="326"/>
                  </a:lnTo>
                  <a:lnTo>
                    <a:pt x="148" y="328"/>
                  </a:lnTo>
                  <a:lnTo>
                    <a:pt x="150" y="328"/>
                  </a:lnTo>
                  <a:lnTo>
                    <a:pt x="153" y="328"/>
                  </a:lnTo>
                  <a:lnTo>
                    <a:pt x="153" y="328"/>
                  </a:lnTo>
                  <a:lnTo>
                    <a:pt x="153" y="331"/>
                  </a:lnTo>
                  <a:lnTo>
                    <a:pt x="153" y="333"/>
                  </a:lnTo>
                  <a:lnTo>
                    <a:pt x="153" y="333"/>
                  </a:lnTo>
                  <a:lnTo>
                    <a:pt x="150" y="333"/>
                  </a:lnTo>
                  <a:lnTo>
                    <a:pt x="150" y="331"/>
                  </a:lnTo>
                  <a:lnTo>
                    <a:pt x="150" y="328"/>
                  </a:lnTo>
                  <a:lnTo>
                    <a:pt x="148" y="328"/>
                  </a:lnTo>
                  <a:lnTo>
                    <a:pt x="145" y="331"/>
                  </a:lnTo>
                  <a:lnTo>
                    <a:pt x="143" y="331"/>
                  </a:lnTo>
                  <a:lnTo>
                    <a:pt x="143" y="331"/>
                  </a:lnTo>
                  <a:lnTo>
                    <a:pt x="140" y="331"/>
                  </a:lnTo>
                  <a:lnTo>
                    <a:pt x="140" y="331"/>
                  </a:lnTo>
                  <a:lnTo>
                    <a:pt x="137" y="331"/>
                  </a:lnTo>
                  <a:lnTo>
                    <a:pt x="135" y="331"/>
                  </a:lnTo>
                  <a:lnTo>
                    <a:pt x="132" y="333"/>
                  </a:lnTo>
                  <a:lnTo>
                    <a:pt x="127" y="336"/>
                  </a:lnTo>
                  <a:lnTo>
                    <a:pt x="125" y="338"/>
                  </a:lnTo>
                  <a:lnTo>
                    <a:pt x="125" y="341"/>
                  </a:lnTo>
                  <a:lnTo>
                    <a:pt x="125" y="341"/>
                  </a:lnTo>
                  <a:lnTo>
                    <a:pt x="125" y="341"/>
                  </a:lnTo>
                  <a:lnTo>
                    <a:pt x="127" y="341"/>
                  </a:lnTo>
                  <a:lnTo>
                    <a:pt x="127" y="341"/>
                  </a:lnTo>
                  <a:lnTo>
                    <a:pt x="130" y="341"/>
                  </a:lnTo>
                  <a:lnTo>
                    <a:pt x="132" y="341"/>
                  </a:lnTo>
                  <a:lnTo>
                    <a:pt x="140" y="338"/>
                  </a:lnTo>
                  <a:lnTo>
                    <a:pt x="145" y="336"/>
                  </a:lnTo>
                  <a:lnTo>
                    <a:pt x="145" y="336"/>
                  </a:lnTo>
                  <a:lnTo>
                    <a:pt x="145" y="338"/>
                  </a:lnTo>
                  <a:lnTo>
                    <a:pt x="143" y="338"/>
                  </a:lnTo>
                  <a:lnTo>
                    <a:pt x="143" y="338"/>
                  </a:lnTo>
                  <a:lnTo>
                    <a:pt x="145" y="338"/>
                  </a:lnTo>
                  <a:lnTo>
                    <a:pt x="148" y="338"/>
                  </a:lnTo>
                  <a:lnTo>
                    <a:pt x="145" y="341"/>
                  </a:lnTo>
                  <a:lnTo>
                    <a:pt x="140" y="341"/>
                  </a:lnTo>
                  <a:lnTo>
                    <a:pt x="140" y="341"/>
                  </a:lnTo>
                  <a:lnTo>
                    <a:pt x="135" y="341"/>
                  </a:lnTo>
                  <a:lnTo>
                    <a:pt x="130" y="341"/>
                  </a:lnTo>
                  <a:lnTo>
                    <a:pt x="125" y="344"/>
                  </a:lnTo>
                  <a:lnTo>
                    <a:pt x="125" y="346"/>
                  </a:lnTo>
                  <a:lnTo>
                    <a:pt x="122" y="349"/>
                  </a:lnTo>
                  <a:lnTo>
                    <a:pt x="122" y="351"/>
                  </a:lnTo>
                  <a:lnTo>
                    <a:pt x="125" y="354"/>
                  </a:lnTo>
                  <a:lnTo>
                    <a:pt x="125" y="359"/>
                  </a:lnTo>
                  <a:lnTo>
                    <a:pt x="127" y="361"/>
                  </a:lnTo>
                  <a:lnTo>
                    <a:pt x="127" y="361"/>
                  </a:lnTo>
                  <a:lnTo>
                    <a:pt x="127" y="361"/>
                  </a:lnTo>
                  <a:lnTo>
                    <a:pt x="130" y="364"/>
                  </a:lnTo>
                  <a:lnTo>
                    <a:pt x="130" y="364"/>
                  </a:lnTo>
                  <a:lnTo>
                    <a:pt x="130" y="364"/>
                  </a:lnTo>
                  <a:lnTo>
                    <a:pt x="130" y="366"/>
                  </a:lnTo>
                  <a:lnTo>
                    <a:pt x="130" y="366"/>
                  </a:lnTo>
                  <a:lnTo>
                    <a:pt x="132" y="366"/>
                  </a:lnTo>
                  <a:lnTo>
                    <a:pt x="137" y="364"/>
                  </a:lnTo>
                  <a:lnTo>
                    <a:pt x="143" y="361"/>
                  </a:lnTo>
                  <a:lnTo>
                    <a:pt x="137" y="366"/>
                  </a:lnTo>
                  <a:lnTo>
                    <a:pt x="135" y="366"/>
                  </a:lnTo>
                  <a:lnTo>
                    <a:pt x="132" y="369"/>
                  </a:lnTo>
                  <a:lnTo>
                    <a:pt x="132" y="369"/>
                  </a:lnTo>
                  <a:lnTo>
                    <a:pt x="130" y="371"/>
                  </a:lnTo>
                  <a:lnTo>
                    <a:pt x="130" y="374"/>
                  </a:lnTo>
                  <a:lnTo>
                    <a:pt x="130" y="374"/>
                  </a:lnTo>
                  <a:lnTo>
                    <a:pt x="130" y="374"/>
                  </a:lnTo>
                  <a:lnTo>
                    <a:pt x="130" y="377"/>
                  </a:lnTo>
                  <a:lnTo>
                    <a:pt x="132" y="377"/>
                  </a:lnTo>
                  <a:lnTo>
                    <a:pt x="132" y="377"/>
                  </a:lnTo>
                  <a:lnTo>
                    <a:pt x="135" y="379"/>
                  </a:lnTo>
                  <a:lnTo>
                    <a:pt x="137" y="379"/>
                  </a:lnTo>
                  <a:lnTo>
                    <a:pt x="137" y="379"/>
                  </a:lnTo>
                  <a:lnTo>
                    <a:pt x="135" y="382"/>
                  </a:lnTo>
                  <a:lnTo>
                    <a:pt x="135" y="382"/>
                  </a:lnTo>
                  <a:lnTo>
                    <a:pt x="135" y="384"/>
                  </a:lnTo>
                  <a:lnTo>
                    <a:pt x="135" y="384"/>
                  </a:lnTo>
                  <a:lnTo>
                    <a:pt x="140" y="384"/>
                  </a:lnTo>
                  <a:lnTo>
                    <a:pt x="140" y="382"/>
                  </a:lnTo>
                  <a:lnTo>
                    <a:pt x="143" y="382"/>
                  </a:lnTo>
                  <a:lnTo>
                    <a:pt x="145" y="382"/>
                  </a:lnTo>
                  <a:lnTo>
                    <a:pt x="145" y="382"/>
                  </a:lnTo>
                  <a:lnTo>
                    <a:pt x="148" y="382"/>
                  </a:lnTo>
                  <a:lnTo>
                    <a:pt x="145" y="384"/>
                  </a:lnTo>
                  <a:lnTo>
                    <a:pt x="145" y="384"/>
                  </a:lnTo>
                  <a:lnTo>
                    <a:pt x="143" y="384"/>
                  </a:lnTo>
                  <a:lnTo>
                    <a:pt x="140" y="384"/>
                  </a:lnTo>
                  <a:lnTo>
                    <a:pt x="137" y="387"/>
                  </a:lnTo>
                  <a:lnTo>
                    <a:pt x="137" y="387"/>
                  </a:lnTo>
                  <a:lnTo>
                    <a:pt x="137" y="389"/>
                  </a:lnTo>
                  <a:lnTo>
                    <a:pt x="137" y="389"/>
                  </a:lnTo>
                  <a:lnTo>
                    <a:pt x="137" y="389"/>
                  </a:lnTo>
                  <a:lnTo>
                    <a:pt x="140" y="389"/>
                  </a:lnTo>
                  <a:lnTo>
                    <a:pt x="137" y="392"/>
                  </a:lnTo>
                  <a:lnTo>
                    <a:pt x="137" y="392"/>
                  </a:lnTo>
                  <a:lnTo>
                    <a:pt x="137" y="394"/>
                  </a:lnTo>
                  <a:lnTo>
                    <a:pt x="140" y="394"/>
                  </a:lnTo>
                  <a:lnTo>
                    <a:pt x="140" y="394"/>
                  </a:lnTo>
                  <a:lnTo>
                    <a:pt x="140" y="397"/>
                  </a:lnTo>
                  <a:lnTo>
                    <a:pt x="140" y="399"/>
                  </a:lnTo>
                  <a:lnTo>
                    <a:pt x="145" y="399"/>
                  </a:lnTo>
                  <a:lnTo>
                    <a:pt x="145" y="399"/>
                  </a:lnTo>
                  <a:lnTo>
                    <a:pt x="145" y="399"/>
                  </a:lnTo>
                  <a:lnTo>
                    <a:pt x="148" y="399"/>
                  </a:lnTo>
                  <a:lnTo>
                    <a:pt x="148" y="402"/>
                  </a:lnTo>
                  <a:lnTo>
                    <a:pt x="148" y="402"/>
                  </a:lnTo>
                  <a:lnTo>
                    <a:pt x="145" y="405"/>
                  </a:lnTo>
                  <a:lnTo>
                    <a:pt x="148" y="405"/>
                  </a:lnTo>
                  <a:lnTo>
                    <a:pt x="150" y="405"/>
                  </a:lnTo>
                  <a:lnTo>
                    <a:pt x="153" y="405"/>
                  </a:lnTo>
                  <a:lnTo>
                    <a:pt x="155" y="405"/>
                  </a:lnTo>
                  <a:lnTo>
                    <a:pt x="153" y="405"/>
                  </a:lnTo>
                  <a:lnTo>
                    <a:pt x="148" y="407"/>
                  </a:lnTo>
                  <a:lnTo>
                    <a:pt x="145" y="410"/>
                  </a:lnTo>
                  <a:lnTo>
                    <a:pt x="148" y="410"/>
                  </a:lnTo>
                  <a:lnTo>
                    <a:pt x="148" y="410"/>
                  </a:lnTo>
                  <a:lnTo>
                    <a:pt x="148" y="410"/>
                  </a:lnTo>
                  <a:lnTo>
                    <a:pt x="153" y="410"/>
                  </a:lnTo>
                  <a:lnTo>
                    <a:pt x="153" y="410"/>
                  </a:lnTo>
                  <a:lnTo>
                    <a:pt x="153" y="410"/>
                  </a:lnTo>
                  <a:lnTo>
                    <a:pt x="153" y="407"/>
                  </a:lnTo>
                  <a:lnTo>
                    <a:pt x="155" y="407"/>
                  </a:lnTo>
                  <a:lnTo>
                    <a:pt x="158" y="407"/>
                  </a:lnTo>
                  <a:lnTo>
                    <a:pt x="158" y="407"/>
                  </a:lnTo>
                  <a:lnTo>
                    <a:pt x="160" y="410"/>
                  </a:lnTo>
                  <a:lnTo>
                    <a:pt x="163" y="410"/>
                  </a:lnTo>
                  <a:lnTo>
                    <a:pt x="163" y="407"/>
                  </a:lnTo>
                  <a:lnTo>
                    <a:pt x="166" y="407"/>
                  </a:lnTo>
                  <a:lnTo>
                    <a:pt x="168" y="407"/>
                  </a:lnTo>
                  <a:lnTo>
                    <a:pt x="171" y="407"/>
                  </a:lnTo>
                  <a:lnTo>
                    <a:pt x="171" y="407"/>
                  </a:lnTo>
                  <a:lnTo>
                    <a:pt x="173" y="405"/>
                  </a:lnTo>
                  <a:lnTo>
                    <a:pt x="178" y="405"/>
                  </a:lnTo>
                  <a:lnTo>
                    <a:pt x="183" y="402"/>
                  </a:lnTo>
                  <a:lnTo>
                    <a:pt x="186" y="402"/>
                  </a:lnTo>
                  <a:lnTo>
                    <a:pt x="186" y="402"/>
                  </a:lnTo>
                  <a:lnTo>
                    <a:pt x="186" y="399"/>
                  </a:lnTo>
                  <a:lnTo>
                    <a:pt x="188" y="399"/>
                  </a:lnTo>
                  <a:lnTo>
                    <a:pt x="188" y="399"/>
                  </a:lnTo>
                  <a:lnTo>
                    <a:pt x="186" y="402"/>
                  </a:lnTo>
                  <a:lnTo>
                    <a:pt x="186" y="405"/>
                  </a:lnTo>
                  <a:lnTo>
                    <a:pt x="183" y="405"/>
                  </a:lnTo>
                  <a:lnTo>
                    <a:pt x="178" y="410"/>
                  </a:lnTo>
                  <a:lnTo>
                    <a:pt x="178" y="412"/>
                  </a:lnTo>
                  <a:lnTo>
                    <a:pt x="181" y="412"/>
                  </a:lnTo>
                  <a:lnTo>
                    <a:pt x="181" y="412"/>
                  </a:lnTo>
                  <a:lnTo>
                    <a:pt x="183" y="415"/>
                  </a:lnTo>
                  <a:lnTo>
                    <a:pt x="186" y="415"/>
                  </a:lnTo>
                  <a:lnTo>
                    <a:pt x="188" y="415"/>
                  </a:lnTo>
                  <a:lnTo>
                    <a:pt x="188" y="415"/>
                  </a:lnTo>
                  <a:lnTo>
                    <a:pt x="191" y="415"/>
                  </a:lnTo>
                  <a:lnTo>
                    <a:pt x="194" y="415"/>
                  </a:lnTo>
                  <a:lnTo>
                    <a:pt x="201" y="412"/>
                  </a:lnTo>
                  <a:lnTo>
                    <a:pt x="201" y="412"/>
                  </a:lnTo>
                  <a:lnTo>
                    <a:pt x="199" y="415"/>
                  </a:lnTo>
                  <a:lnTo>
                    <a:pt x="196" y="415"/>
                  </a:lnTo>
                  <a:lnTo>
                    <a:pt x="194" y="417"/>
                  </a:lnTo>
                  <a:lnTo>
                    <a:pt x="191" y="417"/>
                  </a:lnTo>
                  <a:lnTo>
                    <a:pt x="188" y="417"/>
                  </a:lnTo>
                  <a:lnTo>
                    <a:pt x="188" y="420"/>
                  </a:lnTo>
                  <a:lnTo>
                    <a:pt x="186" y="420"/>
                  </a:lnTo>
                  <a:lnTo>
                    <a:pt x="194" y="425"/>
                  </a:lnTo>
                  <a:lnTo>
                    <a:pt x="196" y="425"/>
                  </a:lnTo>
                  <a:lnTo>
                    <a:pt x="199" y="425"/>
                  </a:lnTo>
                  <a:lnTo>
                    <a:pt x="201" y="422"/>
                  </a:lnTo>
                  <a:lnTo>
                    <a:pt x="204" y="420"/>
                  </a:lnTo>
                  <a:lnTo>
                    <a:pt x="206" y="420"/>
                  </a:lnTo>
                  <a:lnTo>
                    <a:pt x="206" y="420"/>
                  </a:lnTo>
                  <a:lnTo>
                    <a:pt x="204" y="422"/>
                  </a:lnTo>
                  <a:lnTo>
                    <a:pt x="201" y="425"/>
                  </a:lnTo>
                  <a:lnTo>
                    <a:pt x="199" y="425"/>
                  </a:lnTo>
                  <a:lnTo>
                    <a:pt x="199" y="427"/>
                  </a:lnTo>
                  <a:lnTo>
                    <a:pt x="199" y="427"/>
                  </a:lnTo>
                  <a:lnTo>
                    <a:pt x="201" y="427"/>
                  </a:lnTo>
                  <a:lnTo>
                    <a:pt x="201" y="427"/>
                  </a:lnTo>
                  <a:lnTo>
                    <a:pt x="204" y="427"/>
                  </a:lnTo>
                  <a:lnTo>
                    <a:pt x="206" y="427"/>
                  </a:lnTo>
                  <a:lnTo>
                    <a:pt x="204" y="427"/>
                  </a:lnTo>
                  <a:lnTo>
                    <a:pt x="204" y="427"/>
                  </a:lnTo>
                  <a:lnTo>
                    <a:pt x="206" y="430"/>
                  </a:lnTo>
                  <a:lnTo>
                    <a:pt x="209" y="427"/>
                  </a:lnTo>
                  <a:lnTo>
                    <a:pt x="211" y="427"/>
                  </a:lnTo>
                  <a:lnTo>
                    <a:pt x="211" y="427"/>
                  </a:lnTo>
                  <a:lnTo>
                    <a:pt x="211" y="427"/>
                  </a:lnTo>
                  <a:lnTo>
                    <a:pt x="209" y="425"/>
                  </a:lnTo>
                  <a:lnTo>
                    <a:pt x="209" y="425"/>
                  </a:lnTo>
                  <a:lnTo>
                    <a:pt x="211" y="425"/>
                  </a:lnTo>
                  <a:lnTo>
                    <a:pt x="211" y="427"/>
                  </a:lnTo>
                  <a:lnTo>
                    <a:pt x="217" y="427"/>
                  </a:lnTo>
                  <a:lnTo>
                    <a:pt x="219" y="425"/>
                  </a:lnTo>
                  <a:lnTo>
                    <a:pt x="222" y="425"/>
                  </a:lnTo>
                  <a:lnTo>
                    <a:pt x="222" y="420"/>
                  </a:lnTo>
                  <a:lnTo>
                    <a:pt x="222" y="420"/>
                  </a:lnTo>
                  <a:lnTo>
                    <a:pt x="224" y="417"/>
                  </a:lnTo>
                  <a:lnTo>
                    <a:pt x="222" y="417"/>
                  </a:lnTo>
                  <a:lnTo>
                    <a:pt x="222" y="415"/>
                  </a:lnTo>
                  <a:lnTo>
                    <a:pt x="219" y="415"/>
                  </a:lnTo>
                  <a:lnTo>
                    <a:pt x="217" y="415"/>
                  </a:lnTo>
                  <a:lnTo>
                    <a:pt x="214" y="415"/>
                  </a:lnTo>
                  <a:lnTo>
                    <a:pt x="211" y="412"/>
                  </a:lnTo>
                  <a:lnTo>
                    <a:pt x="214" y="412"/>
                  </a:lnTo>
                  <a:lnTo>
                    <a:pt x="214" y="412"/>
                  </a:lnTo>
                  <a:lnTo>
                    <a:pt x="219" y="412"/>
                  </a:lnTo>
                  <a:lnTo>
                    <a:pt x="222" y="415"/>
                  </a:lnTo>
                  <a:lnTo>
                    <a:pt x="224" y="415"/>
                  </a:lnTo>
                  <a:lnTo>
                    <a:pt x="224" y="415"/>
                  </a:lnTo>
                  <a:lnTo>
                    <a:pt x="227" y="415"/>
                  </a:lnTo>
                  <a:lnTo>
                    <a:pt x="234" y="410"/>
                  </a:lnTo>
                  <a:lnTo>
                    <a:pt x="237" y="402"/>
                  </a:lnTo>
                  <a:lnTo>
                    <a:pt x="242" y="397"/>
                  </a:lnTo>
                  <a:lnTo>
                    <a:pt x="245" y="394"/>
                  </a:lnTo>
                  <a:lnTo>
                    <a:pt x="247" y="392"/>
                  </a:lnTo>
                  <a:lnTo>
                    <a:pt x="247" y="389"/>
                  </a:lnTo>
                  <a:lnTo>
                    <a:pt x="245" y="389"/>
                  </a:lnTo>
                  <a:lnTo>
                    <a:pt x="245" y="389"/>
                  </a:lnTo>
                  <a:lnTo>
                    <a:pt x="247" y="389"/>
                  </a:lnTo>
                  <a:lnTo>
                    <a:pt x="250" y="389"/>
                  </a:lnTo>
                  <a:lnTo>
                    <a:pt x="252" y="387"/>
                  </a:lnTo>
                  <a:lnTo>
                    <a:pt x="252" y="384"/>
                  </a:lnTo>
                  <a:lnTo>
                    <a:pt x="252" y="384"/>
                  </a:lnTo>
                  <a:lnTo>
                    <a:pt x="252" y="382"/>
                  </a:lnTo>
                  <a:lnTo>
                    <a:pt x="252" y="382"/>
                  </a:lnTo>
                  <a:lnTo>
                    <a:pt x="255" y="379"/>
                  </a:lnTo>
                  <a:lnTo>
                    <a:pt x="255" y="377"/>
                  </a:lnTo>
                  <a:lnTo>
                    <a:pt x="255" y="377"/>
                  </a:lnTo>
                  <a:lnTo>
                    <a:pt x="255" y="374"/>
                  </a:lnTo>
                  <a:lnTo>
                    <a:pt x="257" y="374"/>
                  </a:lnTo>
                  <a:lnTo>
                    <a:pt x="257" y="371"/>
                  </a:lnTo>
                  <a:lnTo>
                    <a:pt x="252" y="371"/>
                  </a:lnTo>
                  <a:lnTo>
                    <a:pt x="250" y="371"/>
                  </a:lnTo>
                  <a:lnTo>
                    <a:pt x="247" y="369"/>
                  </a:lnTo>
                  <a:lnTo>
                    <a:pt x="247" y="369"/>
                  </a:lnTo>
                  <a:lnTo>
                    <a:pt x="247" y="369"/>
                  </a:lnTo>
                  <a:lnTo>
                    <a:pt x="250" y="369"/>
                  </a:lnTo>
                  <a:lnTo>
                    <a:pt x="255" y="369"/>
                  </a:lnTo>
                  <a:lnTo>
                    <a:pt x="257" y="369"/>
                  </a:lnTo>
                  <a:lnTo>
                    <a:pt x="260" y="369"/>
                  </a:lnTo>
                  <a:lnTo>
                    <a:pt x="262" y="369"/>
                  </a:lnTo>
                  <a:lnTo>
                    <a:pt x="262" y="369"/>
                  </a:lnTo>
                  <a:lnTo>
                    <a:pt x="267" y="366"/>
                  </a:lnTo>
                  <a:lnTo>
                    <a:pt x="267" y="366"/>
                  </a:lnTo>
                  <a:lnTo>
                    <a:pt x="270" y="364"/>
                  </a:lnTo>
                  <a:lnTo>
                    <a:pt x="265" y="361"/>
                  </a:lnTo>
                  <a:lnTo>
                    <a:pt x="262" y="361"/>
                  </a:lnTo>
                  <a:lnTo>
                    <a:pt x="262" y="361"/>
                  </a:lnTo>
                  <a:lnTo>
                    <a:pt x="262" y="359"/>
                  </a:lnTo>
                  <a:lnTo>
                    <a:pt x="265" y="359"/>
                  </a:lnTo>
                  <a:lnTo>
                    <a:pt x="265" y="361"/>
                  </a:lnTo>
                  <a:lnTo>
                    <a:pt x="267" y="361"/>
                  </a:lnTo>
                  <a:lnTo>
                    <a:pt x="270" y="361"/>
                  </a:lnTo>
                  <a:lnTo>
                    <a:pt x="273" y="361"/>
                  </a:lnTo>
                  <a:lnTo>
                    <a:pt x="273" y="361"/>
                  </a:lnTo>
                  <a:lnTo>
                    <a:pt x="275" y="361"/>
                  </a:lnTo>
                  <a:lnTo>
                    <a:pt x="278" y="359"/>
                  </a:lnTo>
                  <a:lnTo>
                    <a:pt x="280" y="359"/>
                  </a:lnTo>
                  <a:lnTo>
                    <a:pt x="280" y="356"/>
                  </a:lnTo>
                  <a:lnTo>
                    <a:pt x="280" y="356"/>
                  </a:lnTo>
                  <a:lnTo>
                    <a:pt x="283" y="356"/>
                  </a:lnTo>
                  <a:lnTo>
                    <a:pt x="283" y="354"/>
                  </a:lnTo>
                  <a:lnTo>
                    <a:pt x="285" y="354"/>
                  </a:lnTo>
                  <a:lnTo>
                    <a:pt x="288" y="354"/>
                  </a:lnTo>
                  <a:lnTo>
                    <a:pt x="288" y="351"/>
                  </a:lnTo>
                  <a:lnTo>
                    <a:pt x="293" y="349"/>
                  </a:lnTo>
                  <a:lnTo>
                    <a:pt x="293" y="349"/>
                  </a:lnTo>
                  <a:lnTo>
                    <a:pt x="293" y="344"/>
                  </a:lnTo>
                  <a:lnTo>
                    <a:pt x="296" y="341"/>
                  </a:lnTo>
                  <a:lnTo>
                    <a:pt x="290" y="341"/>
                  </a:lnTo>
                  <a:lnTo>
                    <a:pt x="290" y="341"/>
                  </a:lnTo>
                  <a:lnTo>
                    <a:pt x="288" y="341"/>
                  </a:lnTo>
                  <a:lnTo>
                    <a:pt x="285" y="338"/>
                  </a:lnTo>
                  <a:lnTo>
                    <a:pt x="280" y="338"/>
                  </a:lnTo>
                  <a:lnTo>
                    <a:pt x="288" y="338"/>
                  </a:lnTo>
                  <a:lnTo>
                    <a:pt x="288" y="338"/>
                  </a:lnTo>
                  <a:lnTo>
                    <a:pt x="290" y="338"/>
                  </a:lnTo>
                  <a:lnTo>
                    <a:pt x="293" y="338"/>
                  </a:lnTo>
                  <a:lnTo>
                    <a:pt x="296" y="338"/>
                  </a:lnTo>
                  <a:lnTo>
                    <a:pt x="296" y="336"/>
                  </a:lnTo>
                  <a:lnTo>
                    <a:pt x="298" y="336"/>
                  </a:lnTo>
                  <a:lnTo>
                    <a:pt x="303" y="336"/>
                  </a:lnTo>
                  <a:lnTo>
                    <a:pt x="303" y="333"/>
                  </a:lnTo>
                  <a:lnTo>
                    <a:pt x="303" y="333"/>
                  </a:lnTo>
                  <a:lnTo>
                    <a:pt x="303" y="331"/>
                  </a:lnTo>
                  <a:lnTo>
                    <a:pt x="301" y="331"/>
                  </a:lnTo>
                  <a:lnTo>
                    <a:pt x="301" y="326"/>
                  </a:lnTo>
                  <a:lnTo>
                    <a:pt x="301" y="326"/>
                  </a:lnTo>
                  <a:lnTo>
                    <a:pt x="298" y="326"/>
                  </a:lnTo>
                  <a:lnTo>
                    <a:pt x="296" y="326"/>
                  </a:lnTo>
                  <a:lnTo>
                    <a:pt x="296" y="323"/>
                  </a:lnTo>
                  <a:lnTo>
                    <a:pt x="296" y="323"/>
                  </a:lnTo>
                  <a:lnTo>
                    <a:pt x="296" y="321"/>
                  </a:lnTo>
                  <a:lnTo>
                    <a:pt x="298" y="321"/>
                  </a:lnTo>
                  <a:lnTo>
                    <a:pt x="301" y="321"/>
                  </a:lnTo>
                  <a:lnTo>
                    <a:pt x="308" y="323"/>
                  </a:lnTo>
                  <a:lnTo>
                    <a:pt x="311" y="321"/>
                  </a:lnTo>
                  <a:lnTo>
                    <a:pt x="313" y="321"/>
                  </a:lnTo>
                  <a:lnTo>
                    <a:pt x="316" y="318"/>
                  </a:lnTo>
                  <a:lnTo>
                    <a:pt x="318" y="318"/>
                  </a:lnTo>
                  <a:lnTo>
                    <a:pt x="321" y="316"/>
                  </a:lnTo>
                  <a:lnTo>
                    <a:pt x="318" y="316"/>
                  </a:lnTo>
                  <a:lnTo>
                    <a:pt x="313" y="313"/>
                  </a:lnTo>
                  <a:lnTo>
                    <a:pt x="313" y="313"/>
                  </a:lnTo>
                  <a:lnTo>
                    <a:pt x="316" y="313"/>
                  </a:lnTo>
                  <a:lnTo>
                    <a:pt x="324" y="310"/>
                  </a:lnTo>
                  <a:lnTo>
                    <a:pt x="329" y="310"/>
                  </a:lnTo>
                  <a:lnTo>
                    <a:pt x="336" y="310"/>
                  </a:lnTo>
                  <a:lnTo>
                    <a:pt x="344" y="308"/>
                  </a:lnTo>
                  <a:lnTo>
                    <a:pt x="344" y="308"/>
                  </a:lnTo>
                  <a:lnTo>
                    <a:pt x="344" y="305"/>
                  </a:lnTo>
                  <a:lnTo>
                    <a:pt x="341" y="305"/>
                  </a:lnTo>
                  <a:lnTo>
                    <a:pt x="341" y="303"/>
                  </a:lnTo>
                  <a:lnTo>
                    <a:pt x="344" y="303"/>
                  </a:lnTo>
                  <a:lnTo>
                    <a:pt x="346" y="305"/>
                  </a:lnTo>
                  <a:lnTo>
                    <a:pt x="349" y="303"/>
                  </a:lnTo>
                  <a:lnTo>
                    <a:pt x="352" y="300"/>
                  </a:lnTo>
                  <a:lnTo>
                    <a:pt x="354" y="300"/>
                  </a:lnTo>
                  <a:lnTo>
                    <a:pt x="354" y="298"/>
                  </a:lnTo>
                  <a:lnTo>
                    <a:pt x="352" y="298"/>
                  </a:lnTo>
                  <a:lnTo>
                    <a:pt x="349" y="295"/>
                  </a:lnTo>
                  <a:lnTo>
                    <a:pt x="352" y="295"/>
                  </a:lnTo>
                  <a:lnTo>
                    <a:pt x="354" y="295"/>
                  </a:lnTo>
                  <a:lnTo>
                    <a:pt x="359" y="295"/>
                  </a:lnTo>
                  <a:lnTo>
                    <a:pt x="362" y="298"/>
                  </a:lnTo>
                  <a:lnTo>
                    <a:pt x="362" y="298"/>
                  </a:lnTo>
                  <a:lnTo>
                    <a:pt x="359" y="300"/>
                  </a:lnTo>
                  <a:lnTo>
                    <a:pt x="352" y="303"/>
                  </a:lnTo>
                  <a:lnTo>
                    <a:pt x="352" y="305"/>
                  </a:lnTo>
                  <a:lnTo>
                    <a:pt x="352" y="305"/>
                  </a:lnTo>
                  <a:lnTo>
                    <a:pt x="352" y="308"/>
                  </a:lnTo>
                  <a:lnTo>
                    <a:pt x="346" y="308"/>
                  </a:lnTo>
                  <a:lnTo>
                    <a:pt x="346" y="310"/>
                  </a:lnTo>
                  <a:lnTo>
                    <a:pt x="349" y="310"/>
                  </a:lnTo>
                  <a:lnTo>
                    <a:pt x="352" y="310"/>
                  </a:lnTo>
                  <a:lnTo>
                    <a:pt x="354" y="310"/>
                  </a:lnTo>
                  <a:lnTo>
                    <a:pt x="357" y="310"/>
                  </a:lnTo>
                  <a:lnTo>
                    <a:pt x="357" y="308"/>
                  </a:lnTo>
                  <a:lnTo>
                    <a:pt x="359" y="308"/>
                  </a:lnTo>
                  <a:lnTo>
                    <a:pt x="359" y="308"/>
                  </a:lnTo>
                  <a:lnTo>
                    <a:pt x="362" y="305"/>
                  </a:lnTo>
                  <a:lnTo>
                    <a:pt x="362" y="305"/>
                  </a:lnTo>
                  <a:lnTo>
                    <a:pt x="364" y="308"/>
                  </a:lnTo>
                  <a:lnTo>
                    <a:pt x="364" y="308"/>
                  </a:lnTo>
                  <a:lnTo>
                    <a:pt x="367" y="308"/>
                  </a:lnTo>
                  <a:lnTo>
                    <a:pt x="367" y="308"/>
                  </a:lnTo>
                  <a:lnTo>
                    <a:pt x="369" y="308"/>
                  </a:lnTo>
                  <a:lnTo>
                    <a:pt x="372" y="305"/>
                  </a:lnTo>
                  <a:lnTo>
                    <a:pt x="372" y="303"/>
                  </a:lnTo>
                  <a:lnTo>
                    <a:pt x="372" y="303"/>
                  </a:lnTo>
                  <a:lnTo>
                    <a:pt x="375" y="303"/>
                  </a:lnTo>
                  <a:lnTo>
                    <a:pt x="372" y="305"/>
                  </a:lnTo>
                  <a:lnTo>
                    <a:pt x="372" y="305"/>
                  </a:lnTo>
                  <a:lnTo>
                    <a:pt x="375" y="305"/>
                  </a:lnTo>
                  <a:lnTo>
                    <a:pt x="380" y="303"/>
                  </a:lnTo>
                  <a:lnTo>
                    <a:pt x="382" y="303"/>
                  </a:lnTo>
                  <a:lnTo>
                    <a:pt x="385" y="300"/>
                  </a:lnTo>
                  <a:lnTo>
                    <a:pt x="387" y="300"/>
                  </a:lnTo>
                  <a:lnTo>
                    <a:pt x="385" y="298"/>
                  </a:lnTo>
                  <a:lnTo>
                    <a:pt x="385" y="295"/>
                  </a:lnTo>
                  <a:lnTo>
                    <a:pt x="385" y="295"/>
                  </a:lnTo>
                  <a:lnTo>
                    <a:pt x="385" y="295"/>
                  </a:lnTo>
                  <a:lnTo>
                    <a:pt x="385" y="295"/>
                  </a:lnTo>
                  <a:lnTo>
                    <a:pt x="387" y="295"/>
                  </a:lnTo>
                  <a:lnTo>
                    <a:pt x="387" y="298"/>
                  </a:lnTo>
                  <a:lnTo>
                    <a:pt x="390" y="298"/>
                  </a:lnTo>
                  <a:lnTo>
                    <a:pt x="392" y="298"/>
                  </a:lnTo>
                  <a:lnTo>
                    <a:pt x="395" y="298"/>
                  </a:lnTo>
                  <a:lnTo>
                    <a:pt x="395" y="298"/>
                  </a:lnTo>
                  <a:lnTo>
                    <a:pt x="403" y="295"/>
                  </a:lnTo>
                  <a:lnTo>
                    <a:pt x="405" y="295"/>
                  </a:lnTo>
                  <a:lnTo>
                    <a:pt x="405" y="293"/>
                  </a:lnTo>
                  <a:lnTo>
                    <a:pt x="408" y="293"/>
                  </a:lnTo>
                  <a:lnTo>
                    <a:pt x="408" y="290"/>
                  </a:lnTo>
                  <a:lnTo>
                    <a:pt x="410" y="290"/>
                  </a:lnTo>
                  <a:lnTo>
                    <a:pt x="410" y="290"/>
                  </a:lnTo>
                  <a:lnTo>
                    <a:pt x="413" y="290"/>
                  </a:lnTo>
                  <a:lnTo>
                    <a:pt x="413" y="290"/>
                  </a:lnTo>
                  <a:lnTo>
                    <a:pt x="418" y="285"/>
                  </a:lnTo>
                  <a:lnTo>
                    <a:pt x="425" y="280"/>
                  </a:lnTo>
                  <a:lnTo>
                    <a:pt x="425" y="277"/>
                  </a:lnTo>
                  <a:lnTo>
                    <a:pt x="428" y="277"/>
                  </a:lnTo>
                  <a:lnTo>
                    <a:pt x="428" y="277"/>
                  </a:lnTo>
                  <a:lnTo>
                    <a:pt x="428" y="277"/>
                  </a:lnTo>
                  <a:lnTo>
                    <a:pt x="428" y="275"/>
                  </a:lnTo>
                  <a:lnTo>
                    <a:pt x="431" y="275"/>
                  </a:lnTo>
                  <a:lnTo>
                    <a:pt x="431" y="275"/>
                  </a:lnTo>
                  <a:lnTo>
                    <a:pt x="433" y="272"/>
                  </a:lnTo>
                  <a:lnTo>
                    <a:pt x="436" y="270"/>
                  </a:lnTo>
                  <a:lnTo>
                    <a:pt x="436" y="270"/>
                  </a:lnTo>
                  <a:lnTo>
                    <a:pt x="438" y="270"/>
                  </a:lnTo>
                  <a:lnTo>
                    <a:pt x="446" y="267"/>
                  </a:lnTo>
                  <a:lnTo>
                    <a:pt x="448" y="267"/>
                  </a:lnTo>
                  <a:lnTo>
                    <a:pt x="448" y="265"/>
                  </a:lnTo>
                  <a:lnTo>
                    <a:pt x="451" y="265"/>
                  </a:lnTo>
                  <a:lnTo>
                    <a:pt x="454" y="262"/>
                  </a:lnTo>
                  <a:lnTo>
                    <a:pt x="451" y="262"/>
                  </a:lnTo>
                  <a:lnTo>
                    <a:pt x="451" y="260"/>
                  </a:lnTo>
                  <a:lnTo>
                    <a:pt x="451" y="260"/>
                  </a:lnTo>
                  <a:lnTo>
                    <a:pt x="451" y="260"/>
                  </a:lnTo>
                  <a:lnTo>
                    <a:pt x="454" y="260"/>
                  </a:lnTo>
                  <a:lnTo>
                    <a:pt x="454" y="260"/>
                  </a:lnTo>
                  <a:lnTo>
                    <a:pt x="454" y="260"/>
                  </a:lnTo>
                  <a:lnTo>
                    <a:pt x="454" y="257"/>
                  </a:lnTo>
                  <a:lnTo>
                    <a:pt x="454" y="257"/>
                  </a:lnTo>
                  <a:lnTo>
                    <a:pt x="454" y="254"/>
                  </a:lnTo>
                  <a:lnTo>
                    <a:pt x="456" y="257"/>
                  </a:lnTo>
                  <a:lnTo>
                    <a:pt x="459" y="260"/>
                  </a:lnTo>
                  <a:lnTo>
                    <a:pt x="464" y="262"/>
                  </a:lnTo>
                  <a:lnTo>
                    <a:pt x="466" y="262"/>
                  </a:lnTo>
                  <a:lnTo>
                    <a:pt x="469" y="262"/>
                  </a:lnTo>
                  <a:lnTo>
                    <a:pt x="471" y="262"/>
                  </a:lnTo>
                  <a:lnTo>
                    <a:pt x="476" y="262"/>
                  </a:lnTo>
                  <a:lnTo>
                    <a:pt x="476" y="262"/>
                  </a:lnTo>
                  <a:lnTo>
                    <a:pt x="474" y="260"/>
                  </a:lnTo>
                  <a:lnTo>
                    <a:pt x="474" y="260"/>
                  </a:lnTo>
                  <a:lnTo>
                    <a:pt x="482" y="260"/>
                  </a:lnTo>
                  <a:lnTo>
                    <a:pt x="482" y="260"/>
                  </a:lnTo>
                  <a:lnTo>
                    <a:pt x="484" y="260"/>
                  </a:lnTo>
                  <a:lnTo>
                    <a:pt x="487" y="257"/>
                  </a:lnTo>
                  <a:lnTo>
                    <a:pt x="487" y="257"/>
                  </a:lnTo>
                  <a:lnTo>
                    <a:pt x="489" y="257"/>
                  </a:lnTo>
                  <a:lnTo>
                    <a:pt x="494" y="260"/>
                  </a:lnTo>
                  <a:lnTo>
                    <a:pt x="497" y="257"/>
                  </a:lnTo>
                  <a:lnTo>
                    <a:pt x="499" y="257"/>
                  </a:lnTo>
                  <a:lnTo>
                    <a:pt x="502" y="257"/>
                  </a:lnTo>
                  <a:lnTo>
                    <a:pt x="512" y="254"/>
                  </a:lnTo>
                  <a:lnTo>
                    <a:pt x="515" y="254"/>
                  </a:lnTo>
                  <a:lnTo>
                    <a:pt x="520" y="254"/>
                  </a:lnTo>
                  <a:lnTo>
                    <a:pt x="527" y="252"/>
                  </a:lnTo>
                  <a:lnTo>
                    <a:pt x="530" y="252"/>
                  </a:lnTo>
                  <a:lnTo>
                    <a:pt x="535" y="252"/>
                  </a:lnTo>
                  <a:lnTo>
                    <a:pt x="538" y="252"/>
                  </a:lnTo>
                  <a:lnTo>
                    <a:pt x="540" y="252"/>
                  </a:lnTo>
                  <a:lnTo>
                    <a:pt x="543" y="249"/>
                  </a:lnTo>
                  <a:lnTo>
                    <a:pt x="545" y="249"/>
                  </a:lnTo>
                  <a:lnTo>
                    <a:pt x="545" y="249"/>
                  </a:lnTo>
                  <a:lnTo>
                    <a:pt x="548" y="249"/>
                  </a:lnTo>
                  <a:lnTo>
                    <a:pt x="553" y="247"/>
                  </a:lnTo>
                  <a:lnTo>
                    <a:pt x="553" y="247"/>
                  </a:lnTo>
                  <a:lnTo>
                    <a:pt x="555" y="247"/>
                  </a:lnTo>
                  <a:lnTo>
                    <a:pt x="555" y="244"/>
                  </a:lnTo>
                  <a:lnTo>
                    <a:pt x="555" y="244"/>
                  </a:lnTo>
                  <a:lnTo>
                    <a:pt x="561" y="242"/>
                  </a:lnTo>
                  <a:lnTo>
                    <a:pt x="563" y="242"/>
                  </a:lnTo>
                  <a:lnTo>
                    <a:pt x="563" y="242"/>
                  </a:lnTo>
                  <a:lnTo>
                    <a:pt x="563" y="239"/>
                  </a:lnTo>
                  <a:lnTo>
                    <a:pt x="563" y="239"/>
                  </a:lnTo>
                  <a:lnTo>
                    <a:pt x="568" y="239"/>
                  </a:lnTo>
                  <a:lnTo>
                    <a:pt x="568" y="239"/>
                  </a:lnTo>
                  <a:lnTo>
                    <a:pt x="573" y="237"/>
                  </a:lnTo>
                  <a:lnTo>
                    <a:pt x="576" y="237"/>
                  </a:lnTo>
                  <a:lnTo>
                    <a:pt x="578" y="237"/>
                  </a:lnTo>
                  <a:lnTo>
                    <a:pt x="578" y="234"/>
                  </a:lnTo>
                  <a:lnTo>
                    <a:pt x="578" y="234"/>
                  </a:lnTo>
                  <a:lnTo>
                    <a:pt x="578" y="234"/>
                  </a:lnTo>
                  <a:lnTo>
                    <a:pt x="578" y="234"/>
                  </a:lnTo>
                  <a:lnTo>
                    <a:pt x="583" y="234"/>
                  </a:lnTo>
                  <a:lnTo>
                    <a:pt x="583" y="234"/>
                  </a:lnTo>
                  <a:lnTo>
                    <a:pt x="586" y="234"/>
                  </a:lnTo>
                  <a:lnTo>
                    <a:pt x="586" y="232"/>
                  </a:lnTo>
                  <a:lnTo>
                    <a:pt x="586" y="232"/>
                  </a:lnTo>
                  <a:lnTo>
                    <a:pt x="586" y="232"/>
                  </a:lnTo>
                  <a:lnTo>
                    <a:pt x="583" y="232"/>
                  </a:lnTo>
                  <a:lnTo>
                    <a:pt x="586" y="232"/>
                  </a:lnTo>
                  <a:lnTo>
                    <a:pt x="589" y="232"/>
                  </a:lnTo>
                  <a:lnTo>
                    <a:pt x="594" y="229"/>
                  </a:lnTo>
                  <a:lnTo>
                    <a:pt x="596" y="229"/>
                  </a:lnTo>
                  <a:lnTo>
                    <a:pt x="596" y="229"/>
                  </a:lnTo>
                  <a:lnTo>
                    <a:pt x="596" y="229"/>
                  </a:lnTo>
                  <a:lnTo>
                    <a:pt x="599" y="226"/>
                  </a:lnTo>
                  <a:lnTo>
                    <a:pt x="601" y="226"/>
                  </a:lnTo>
                  <a:lnTo>
                    <a:pt x="601" y="226"/>
                  </a:lnTo>
                  <a:lnTo>
                    <a:pt x="604" y="226"/>
                  </a:lnTo>
                  <a:lnTo>
                    <a:pt x="606" y="226"/>
                  </a:lnTo>
                  <a:lnTo>
                    <a:pt x="609" y="224"/>
                  </a:lnTo>
                  <a:lnTo>
                    <a:pt x="609" y="224"/>
                  </a:lnTo>
                  <a:lnTo>
                    <a:pt x="612" y="224"/>
                  </a:lnTo>
                  <a:lnTo>
                    <a:pt x="609" y="224"/>
                  </a:lnTo>
                  <a:lnTo>
                    <a:pt x="596" y="224"/>
                  </a:lnTo>
                  <a:lnTo>
                    <a:pt x="591" y="224"/>
                  </a:lnTo>
                  <a:lnTo>
                    <a:pt x="583" y="221"/>
                  </a:lnTo>
                  <a:lnTo>
                    <a:pt x="576" y="219"/>
                  </a:lnTo>
                  <a:lnTo>
                    <a:pt x="563" y="219"/>
                  </a:lnTo>
                  <a:lnTo>
                    <a:pt x="563" y="219"/>
                  </a:lnTo>
                  <a:lnTo>
                    <a:pt x="555" y="221"/>
                  </a:lnTo>
                  <a:lnTo>
                    <a:pt x="550" y="221"/>
                  </a:lnTo>
                  <a:lnTo>
                    <a:pt x="545" y="221"/>
                  </a:lnTo>
                  <a:lnTo>
                    <a:pt x="543" y="221"/>
                  </a:lnTo>
                  <a:lnTo>
                    <a:pt x="540" y="224"/>
                  </a:lnTo>
                  <a:lnTo>
                    <a:pt x="538" y="224"/>
                  </a:lnTo>
                  <a:lnTo>
                    <a:pt x="535" y="226"/>
                  </a:lnTo>
                  <a:lnTo>
                    <a:pt x="533" y="224"/>
                  </a:lnTo>
                  <a:lnTo>
                    <a:pt x="533" y="224"/>
                  </a:lnTo>
                  <a:lnTo>
                    <a:pt x="538" y="221"/>
                  </a:lnTo>
                  <a:lnTo>
                    <a:pt x="540" y="221"/>
                  </a:lnTo>
                  <a:lnTo>
                    <a:pt x="543" y="221"/>
                  </a:lnTo>
                  <a:lnTo>
                    <a:pt x="545" y="219"/>
                  </a:lnTo>
                  <a:lnTo>
                    <a:pt x="550" y="219"/>
                  </a:lnTo>
                  <a:lnTo>
                    <a:pt x="550" y="219"/>
                  </a:lnTo>
                  <a:lnTo>
                    <a:pt x="550" y="216"/>
                  </a:lnTo>
                  <a:lnTo>
                    <a:pt x="550" y="216"/>
                  </a:lnTo>
                  <a:lnTo>
                    <a:pt x="548" y="216"/>
                  </a:lnTo>
                  <a:lnTo>
                    <a:pt x="548" y="216"/>
                  </a:lnTo>
                  <a:lnTo>
                    <a:pt x="535" y="219"/>
                  </a:lnTo>
                  <a:lnTo>
                    <a:pt x="530" y="219"/>
                  </a:lnTo>
                  <a:lnTo>
                    <a:pt x="522" y="216"/>
                  </a:lnTo>
                  <a:lnTo>
                    <a:pt x="520" y="216"/>
                  </a:lnTo>
                  <a:lnTo>
                    <a:pt x="515" y="216"/>
                  </a:lnTo>
                  <a:lnTo>
                    <a:pt x="515" y="216"/>
                  </a:lnTo>
                  <a:lnTo>
                    <a:pt x="515" y="216"/>
                  </a:lnTo>
                  <a:lnTo>
                    <a:pt x="522" y="216"/>
                  </a:lnTo>
                  <a:lnTo>
                    <a:pt x="525" y="214"/>
                  </a:lnTo>
                  <a:lnTo>
                    <a:pt x="530" y="214"/>
                  </a:lnTo>
                  <a:lnTo>
                    <a:pt x="530" y="214"/>
                  </a:lnTo>
                  <a:lnTo>
                    <a:pt x="530" y="211"/>
                  </a:lnTo>
                  <a:lnTo>
                    <a:pt x="533" y="209"/>
                  </a:lnTo>
                  <a:lnTo>
                    <a:pt x="533" y="209"/>
                  </a:lnTo>
                  <a:lnTo>
                    <a:pt x="530" y="209"/>
                  </a:lnTo>
                  <a:lnTo>
                    <a:pt x="530" y="209"/>
                  </a:lnTo>
                  <a:lnTo>
                    <a:pt x="527" y="206"/>
                  </a:lnTo>
                  <a:lnTo>
                    <a:pt x="530" y="206"/>
                  </a:lnTo>
                  <a:lnTo>
                    <a:pt x="535" y="206"/>
                  </a:lnTo>
                  <a:lnTo>
                    <a:pt x="538" y="206"/>
                  </a:lnTo>
                  <a:lnTo>
                    <a:pt x="543" y="209"/>
                  </a:lnTo>
                  <a:lnTo>
                    <a:pt x="545" y="209"/>
                  </a:lnTo>
                  <a:lnTo>
                    <a:pt x="550" y="209"/>
                  </a:lnTo>
                  <a:lnTo>
                    <a:pt x="553" y="209"/>
                  </a:lnTo>
                  <a:lnTo>
                    <a:pt x="561" y="206"/>
                  </a:lnTo>
                  <a:lnTo>
                    <a:pt x="563" y="206"/>
                  </a:lnTo>
                  <a:lnTo>
                    <a:pt x="566" y="204"/>
                  </a:lnTo>
                  <a:lnTo>
                    <a:pt x="568" y="201"/>
                  </a:lnTo>
                  <a:lnTo>
                    <a:pt x="568" y="201"/>
                  </a:lnTo>
                  <a:lnTo>
                    <a:pt x="568" y="198"/>
                  </a:lnTo>
                  <a:lnTo>
                    <a:pt x="568" y="198"/>
                  </a:lnTo>
                  <a:lnTo>
                    <a:pt x="563" y="198"/>
                  </a:lnTo>
                  <a:lnTo>
                    <a:pt x="558" y="198"/>
                  </a:lnTo>
                  <a:lnTo>
                    <a:pt x="555" y="198"/>
                  </a:lnTo>
                  <a:lnTo>
                    <a:pt x="550" y="196"/>
                  </a:lnTo>
                  <a:lnTo>
                    <a:pt x="550" y="196"/>
                  </a:lnTo>
                  <a:lnTo>
                    <a:pt x="550" y="196"/>
                  </a:lnTo>
                  <a:lnTo>
                    <a:pt x="550" y="196"/>
                  </a:lnTo>
                  <a:lnTo>
                    <a:pt x="555" y="196"/>
                  </a:lnTo>
                  <a:lnTo>
                    <a:pt x="563" y="196"/>
                  </a:lnTo>
                  <a:lnTo>
                    <a:pt x="568" y="196"/>
                  </a:lnTo>
                  <a:lnTo>
                    <a:pt x="571" y="196"/>
                  </a:lnTo>
                  <a:lnTo>
                    <a:pt x="573" y="198"/>
                  </a:lnTo>
                  <a:lnTo>
                    <a:pt x="576" y="198"/>
                  </a:lnTo>
                  <a:lnTo>
                    <a:pt x="578" y="201"/>
                  </a:lnTo>
                  <a:lnTo>
                    <a:pt x="581" y="201"/>
                  </a:lnTo>
                  <a:lnTo>
                    <a:pt x="583" y="204"/>
                  </a:lnTo>
                  <a:lnTo>
                    <a:pt x="586" y="204"/>
                  </a:lnTo>
                  <a:lnTo>
                    <a:pt x="586" y="206"/>
                  </a:lnTo>
                  <a:lnTo>
                    <a:pt x="586" y="209"/>
                  </a:lnTo>
                  <a:lnTo>
                    <a:pt x="586" y="211"/>
                  </a:lnTo>
                  <a:lnTo>
                    <a:pt x="589" y="214"/>
                  </a:lnTo>
                  <a:lnTo>
                    <a:pt x="591" y="216"/>
                  </a:lnTo>
                  <a:lnTo>
                    <a:pt x="596" y="216"/>
                  </a:lnTo>
                  <a:lnTo>
                    <a:pt x="599" y="216"/>
                  </a:lnTo>
                  <a:lnTo>
                    <a:pt x="601" y="216"/>
                  </a:lnTo>
                  <a:lnTo>
                    <a:pt x="606" y="216"/>
                  </a:lnTo>
                  <a:lnTo>
                    <a:pt x="606" y="216"/>
                  </a:lnTo>
                  <a:lnTo>
                    <a:pt x="609" y="211"/>
                  </a:lnTo>
                  <a:lnTo>
                    <a:pt x="609" y="211"/>
                  </a:lnTo>
                  <a:lnTo>
                    <a:pt x="609" y="211"/>
                  </a:lnTo>
                  <a:lnTo>
                    <a:pt x="612" y="209"/>
                  </a:lnTo>
                  <a:lnTo>
                    <a:pt x="612" y="214"/>
                  </a:lnTo>
                  <a:lnTo>
                    <a:pt x="612" y="214"/>
                  </a:lnTo>
                  <a:lnTo>
                    <a:pt x="612" y="214"/>
                  </a:lnTo>
                  <a:lnTo>
                    <a:pt x="612" y="216"/>
                  </a:lnTo>
                  <a:lnTo>
                    <a:pt x="612" y="216"/>
                  </a:lnTo>
                  <a:lnTo>
                    <a:pt x="614" y="216"/>
                  </a:lnTo>
                  <a:lnTo>
                    <a:pt x="617" y="216"/>
                  </a:lnTo>
                  <a:lnTo>
                    <a:pt x="622" y="216"/>
                  </a:lnTo>
                  <a:lnTo>
                    <a:pt x="624" y="216"/>
                  </a:lnTo>
                  <a:lnTo>
                    <a:pt x="622" y="214"/>
                  </a:lnTo>
                  <a:lnTo>
                    <a:pt x="624" y="211"/>
                  </a:lnTo>
                  <a:lnTo>
                    <a:pt x="622" y="209"/>
                  </a:lnTo>
                  <a:lnTo>
                    <a:pt x="624" y="209"/>
                  </a:lnTo>
                  <a:lnTo>
                    <a:pt x="624" y="206"/>
                  </a:lnTo>
                  <a:lnTo>
                    <a:pt x="624" y="204"/>
                  </a:lnTo>
                  <a:lnTo>
                    <a:pt x="624" y="201"/>
                  </a:lnTo>
                  <a:lnTo>
                    <a:pt x="624" y="198"/>
                  </a:lnTo>
                  <a:lnTo>
                    <a:pt x="622" y="198"/>
                  </a:lnTo>
                  <a:lnTo>
                    <a:pt x="619" y="198"/>
                  </a:lnTo>
                  <a:lnTo>
                    <a:pt x="619" y="198"/>
                  </a:lnTo>
                  <a:lnTo>
                    <a:pt x="617" y="198"/>
                  </a:lnTo>
                  <a:lnTo>
                    <a:pt x="617" y="201"/>
                  </a:lnTo>
                  <a:lnTo>
                    <a:pt x="614" y="201"/>
                  </a:lnTo>
                  <a:lnTo>
                    <a:pt x="614" y="198"/>
                  </a:lnTo>
                  <a:lnTo>
                    <a:pt x="614" y="198"/>
                  </a:lnTo>
                  <a:lnTo>
                    <a:pt x="614" y="198"/>
                  </a:lnTo>
                  <a:lnTo>
                    <a:pt x="614" y="196"/>
                  </a:lnTo>
                  <a:lnTo>
                    <a:pt x="617" y="196"/>
                  </a:lnTo>
                  <a:lnTo>
                    <a:pt x="622" y="193"/>
                  </a:lnTo>
                  <a:lnTo>
                    <a:pt x="624" y="193"/>
                  </a:lnTo>
                  <a:lnTo>
                    <a:pt x="619" y="193"/>
                  </a:lnTo>
                  <a:lnTo>
                    <a:pt x="619" y="193"/>
                  </a:lnTo>
                  <a:lnTo>
                    <a:pt x="617" y="191"/>
                  </a:lnTo>
                  <a:lnTo>
                    <a:pt x="617" y="191"/>
                  </a:lnTo>
                  <a:lnTo>
                    <a:pt x="612" y="188"/>
                  </a:lnTo>
                  <a:lnTo>
                    <a:pt x="612" y="188"/>
                  </a:lnTo>
                  <a:lnTo>
                    <a:pt x="606" y="186"/>
                  </a:lnTo>
                  <a:lnTo>
                    <a:pt x="604" y="186"/>
                  </a:lnTo>
                  <a:lnTo>
                    <a:pt x="601" y="186"/>
                  </a:lnTo>
                  <a:lnTo>
                    <a:pt x="596" y="183"/>
                  </a:lnTo>
                  <a:lnTo>
                    <a:pt x="594" y="181"/>
                  </a:lnTo>
                  <a:lnTo>
                    <a:pt x="591" y="181"/>
                  </a:lnTo>
                  <a:lnTo>
                    <a:pt x="591" y="181"/>
                  </a:lnTo>
                  <a:lnTo>
                    <a:pt x="586" y="181"/>
                  </a:lnTo>
                  <a:lnTo>
                    <a:pt x="583" y="181"/>
                  </a:lnTo>
                  <a:lnTo>
                    <a:pt x="581" y="181"/>
                  </a:lnTo>
                  <a:lnTo>
                    <a:pt x="583" y="181"/>
                  </a:lnTo>
                  <a:lnTo>
                    <a:pt x="589" y="181"/>
                  </a:lnTo>
                  <a:lnTo>
                    <a:pt x="591" y="178"/>
                  </a:lnTo>
                  <a:lnTo>
                    <a:pt x="591" y="178"/>
                  </a:lnTo>
                  <a:lnTo>
                    <a:pt x="591" y="173"/>
                  </a:lnTo>
                  <a:lnTo>
                    <a:pt x="591" y="173"/>
                  </a:lnTo>
                  <a:lnTo>
                    <a:pt x="591" y="170"/>
                  </a:lnTo>
                  <a:lnTo>
                    <a:pt x="589" y="173"/>
                  </a:lnTo>
                  <a:lnTo>
                    <a:pt x="583" y="173"/>
                  </a:lnTo>
                  <a:lnTo>
                    <a:pt x="583" y="173"/>
                  </a:lnTo>
                  <a:lnTo>
                    <a:pt x="578" y="173"/>
                  </a:lnTo>
                  <a:lnTo>
                    <a:pt x="571" y="176"/>
                  </a:lnTo>
                  <a:lnTo>
                    <a:pt x="571" y="176"/>
                  </a:lnTo>
                  <a:lnTo>
                    <a:pt x="568" y="176"/>
                  </a:lnTo>
                  <a:lnTo>
                    <a:pt x="566" y="176"/>
                  </a:lnTo>
                  <a:lnTo>
                    <a:pt x="563" y="176"/>
                  </a:lnTo>
                  <a:lnTo>
                    <a:pt x="571" y="173"/>
                  </a:lnTo>
                  <a:lnTo>
                    <a:pt x="573" y="173"/>
                  </a:lnTo>
                  <a:lnTo>
                    <a:pt x="576" y="173"/>
                  </a:lnTo>
                  <a:lnTo>
                    <a:pt x="586" y="170"/>
                  </a:lnTo>
                  <a:lnTo>
                    <a:pt x="586" y="170"/>
                  </a:lnTo>
                  <a:lnTo>
                    <a:pt x="589" y="170"/>
                  </a:lnTo>
                  <a:lnTo>
                    <a:pt x="591" y="168"/>
                  </a:lnTo>
                  <a:lnTo>
                    <a:pt x="594" y="168"/>
                  </a:lnTo>
                  <a:lnTo>
                    <a:pt x="594" y="170"/>
                  </a:lnTo>
                  <a:lnTo>
                    <a:pt x="596" y="176"/>
                  </a:lnTo>
                  <a:lnTo>
                    <a:pt x="599" y="178"/>
                  </a:lnTo>
                  <a:lnTo>
                    <a:pt x="601" y="181"/>
                  </a:lnTo>
                  <a:lnTo>
                    <a:pt x="604" y="181"/>
                  </a:lnTo>
                  <a:lnTo>
                    <a:pt x="609" y="183"/>
                  </a:lnTo>
                  <a:lnTo>
                    <a:pt x="617" y="183"/>
                  </a:lnTo>
                  <a:lnTo>
                    <a:pt x="619" y="186"/>
                  </a:lnTo>
                  <a:lnTo>
                    <a:pt x="622" y="186"/>
                  </a:lnTo>
                  <a:lnTo>
                    <a:pt x="622" y="183"/>
                  </a:lnTo>
                  <a:lnTo>
                    <a:pt x="622" y="181"/>
                  </a:lnTo>
                  <a:lnTo>
                    <a:pt x="627" y="181"/>
                  </a:lnTo>
                  <a:lnTo>
                    <a:pt x="629" y="176"/>
                  </a:lnTo>
                  <a:lnTo>
                    <a:pt x="629" y="176"/>
                  </a:lnTo>
                  <a:lnTo>
                    <a:pt x="629" y="170"/>
                  </a:lnTo>
                  <a:lnTo>
                    <a:pt x="627" y="170"/>
                  </a:lnTo>
                  <a:lnTo>
                    <a:pt x="624" y="170"/>
                  </a:lnTo>
                  <a:lnTo>
                    <a:pt x="619" y="168"/>
                  </a:lnTo>
                  <a:lnTo>
                    <a:pt x="617" y="168"/>
                  </a:lnTo>
                  <a:lnTo>
                    <a:pt x="614" y="165"/>
                  </a:lnTo>
                  <a:lnTo>
                    <a:pt x="612" y="165"/>
                  </a:lnTo>
                  <a:lnTo>
                    <a:pt x="609" y="163"/>
                  </a:lnTo>
                  <a:lnTo>
                    <a:pt x="606" y="163"/>
                  </a:lnTo>
                  <a:lnTo>
                    <a:pt x="604" y="163"/>
                  </a:lnTo>
                  <a:lnTo>
                    <a:pt x="596" y="163"/>
                  </a:lnTo>
                  <a:lnTo>
                    <a:pt x="591" y="163"/>
                  </a:lnTo>
                  <a:lnTo>
                    <a:pt x="589" y="163"/>
                  </a:lnTo>
                  <a:lnTo>
                    <a:pt x="586" y="165"/>
                  </a:lnTo>
                  <a:lnTo>
                    <a:pt x="576" y="165"/>
                  </a:lnTo>
                  <a:lnTo>
                    <a:pt x="573" y="165"/>
                  </a:lnTo>
                  <a:lnTo>
                    <a:pt x="571" y="168"/>
                  </a:lnTo>
                  <a:lnTo>
                    <a:pt x="566" y="168"/>
                  </a:lnTo>
                  <a:lnTo>
                    <a:pt x="561" y="168"/>
                  </a:lnTo>
                  <a:lnTo>
                    <a:pt x="561" y="168"/>
                  </a:lnTo>
                  <a:lnTo>
                    <a:pt x="558" y="168"/>
                  </a:lnTo>
                  <a:lnTo>
                    <a:pt x="555" y="168"/>
                  </a:lnTo>
                  <a:lnTo>
                    <a:pt x="555" y="168"/>
                  </a:lnTo>
                  <a:lnTo>
                    <a:pt x="555" y="168"/>
                  </a:lnTo>
                  <a:lnTo>
                    <a:pt x="555" y="168"/>
                  </a:lnTo>
                  <a:lnTo>
                    <a:pt x="555" y="168"/>
                  </a:lnTo>
                  <a:lnTo>
                    <a:pt x="558" y="168"/>
                  </a:lnTo>
                  <a:lnTo>
                    <a:pt x="561" y="165"/>
                  </a:lnTo>
                  <a:lnTo>
                    <a:pt x="563" y="168"/>
                  </a:lnTo>
                  <a:lnTo>
                    <a:pt x="566" y="168"/>
                  </a:lnTo>
                  <a:lnTo>
                    <a:pt x="568" y="165"/>
                  </a:lnTo>
                  <a:lnTo>
                    <a:pt x="568" y="165"/>
                  </a:lnTo>
                  <a:lnTo>
                    <a:pt x="568" y="165"/>
                  </a:lnTo>
                  <a:lnTo>
                    <a:pt x="561" y="163"/>
                  </a:lnTo>
                  <a:lnTo>
                    <a:pt x="561" y="163"/>
                  </a:lnTo>
                  <a:lnTo>
                    <a:pt x="563" y="163"/>
                  </a:lnTo>
                  <a:lnTo>
                    <a:pt x="566" y="163"/>
                  </a:lnTo>
                  <a:lnTo>
                    <a:pt x="571" y="165"/>
                  </a:lnTo>
                  <a:lnTo>
                    <a:pt x="573" y="165"/>
                  </a:lnTo>
                  <a:lnTo>
                    <a:pt x="576" y="165"/>
                  </a:lnTo>
                  <a:lnTo>
                    <a:pt x="581" y="165"/>
                  </a:lnTo>
                  <a:lnTo>
                    <a:pt x="581" y="165"/>
                  </a:lnTo>
                  <a:lnTo>
                    <a:pt x="586" y="163"/>
                  </a:lnTo>
                  <a:lnTo>
                    <a:pt x="589" y="163"/>
                  </a:lnTo>
                  <a:lnTo>
                    <a:pt x="591" y="160"/>
                  </a:lnTo>
                  <a:lnTo>
                    <a:pt x="596" y="160"/>
                  </a:lnTo>
                  <a:lnTo>
                    <a:pt x="596" y="160"/>
                  </a:lnTo>
                  <a:lnTo>
                    <a:pt x="594" y="160"/>
                  </a:lnTo>
                  <a:lnTo>
                    <a:pt x="591" y="155"/>
                  </a:lnTo>
                  <a:lnTo>
                    <a:pt x="589" y="155"/>
                  </a:lnTo>
                  <a:lnTo>
                    <a:pt x="589" y="155"/>
                  </a:lnTo>
                  <a:lnTo>
                    <a:pt x="589" y="155"/>
                  </a:lnTo>
                  <a:lnTo>
                    <a:pt x="589" y="155"/>
                  </a:lnTo>
                  <a:lnTo>
                    <a:pt x="591" y="158"/>
                  </a:lnTo>
                  <a:lnTo>
                    <a:pt x="594" y="158"/>
                  </a:lnTo>
                  <a:lnTo>
                    <a:pt x="596" y="158"/>
                  </a:lnTo>
                  <a:lnTo>
                    <a:pt x="596" y="158"/>
                  </a:lnTo>
                  <a:lnTo>
                    <a:pt x="599" y="158"/>
                  </a:lnTo>
                  <a:lnTo>
                    <a:pt x="601" y="158"/>
                  </a:lnTo>
                  <a:lnTo>
                    <a:pt x="601" y="158"/>
                  </a:lnTo>
                  <a:lnTo>
                    <a:pt x="606" y="155"/>
                  </a:lnTo>
                  <a:lnTo>
                    <a:pt x="609" y="160"/>
                  </a:lnTo>
                  <a:lnTo>
                    <a:pt x="617" y="163"/>
                  </a:lnTo>
                  <a:lnTo>
                    <a:pt x="619" y="163"/>
                  </a:lnTo>
                  <a:lnTo>
                    <a:pt x="627" y="165"/>
                  </a:lnTo>
                  <a:lnTo>
                    <a:pt x="629" y="165"/>
                  </a:lnTo>
                  <a:lnTo>
                    <a:pt x="634" y="163"/>
                  </a:lnTo>
                  <a:lnTo>
                    <a:pt x="640" y="163"/>
                  </a:lnTo>
                  <a:lnTo>
                    <a:pt x="642" y="163"/>
                  </a:lnTo>
                  <a:lnTo>
                    <a:pt x="652" y="160"/>
                  </a:lnTo>
                  <a:lnTo>
                    <a:pt x="655" y="160"/>
                  </a:lnTo>
                  <a:lnTo>
                    <a:pt x="655" y="158"/>
                  </a:lnTo>
                  <a:lnTo>
                    <a:pt x="657" y="155"/>
                  </a:lnTo>
                  <a:lnTo>
                    <a:pt x="657" y="155"/>
                  </a:lnTo>
                  <a:lnTo>
                    <a:pt x="650" y="153"/>
                  </a:lnTo>
                  <a:lnTo>
                    <a:pt x="647" y="153"/>
                  </a:lnTo>
                  <a:lnTo>
                    <a:pt x="637" y="153"/>
                  </a:lnTo>
                  <a:lnTo>
                    <a:pt x="634" y="153"/>
                  </a:lnTo>
                  <a:lnTo>
                    <a:pt x="634" y="150"/>
                  </a:lnTo>
                  <a:lnTo>
                    <a:pt x="632" y="150"/>
                  </a:lnTo>
                  <a:lnTo>
                    <a:pt x="632" y="150"/>
                  </a:lnTo>
                  <a:lnTo>
                    <a:pt x="634" y="150"/>
                  </a:lnTo>
                  <a:lnTo>
                    <a:pt x="634" y="148"/>
                  </a:lnTo>
                  <a:lnTo>
                    <a:pt x="634" y="148"/>
                  </a:lnTo>
                  <a:lnTo>
                    <a:pt x="634" y="148"/>
                  </a:lnTo>
                  <a:lnTo>
                    <a:pt x="634" y="148"/>
                  </a:lnTo>
                  <a:lnTo>
                    <a:pt x="634" y="148"/>
                  </a:lnTo>
                  <a:lnTo>
                    <a:pt x="634" y="148"/>
                  </a:lnTo>
                  <a:lnTo>
                    <a:pt x="637" y="145"/>
                  </a:lnTo>
                  <a:lnTo>
                    <a:pt x="640" y="145"/>
                  </a:lnTo>
                  <a:lnTo>
                    <a:pt x="640" y="145"/>
                  </a:lnTo>
                  <a:lnTo>
                    <a:pt x="640" y="142"/>
                  </a:lnTo>
                  <a:lnTo>
                    <a:pt x="642" y="142"/>
                  </a:lnTo>
                  <a:lnTo>
                    <a:pt x="642" y="142"/>
                  </a:lnTo>
                  <a:lnTo>
                    <a:pt x="642" y="145"/>
                  </a:lnTo>
                  <a:lnTo>
                    <a:pt x="640" y="148"/>
                  </a:lnTo>
                  <a:lnTo>
                    <a:pt x="645" y="148"/>
                  </a:lnTo>
                  <a:lnTo>
                    <a:pt x="650" y="150"/>
                  </a:lnTo>
                  <a:lnTo>
                    <a:pt x="657" y="150"/>
                  </a:lnTo>
                  <a:lnTo>
                    <a:pt x="662" y="148"/>
                  </a:lnTo>
                  <a:lnTo>
                    <a:pt x="662" y="148"/>
                  </a:lnTo>
                  <a:lnTo>
                    <a:pt x="665" y="148"/>
                  </a:lnTo>
                  <a:lnTo>
                    <a:pt x="670" y="148"/>
                  </a:lnTo>
                  <a:lnTo>
                    <a:pt x="673" y="148"/>
                  </a:lnTo>
                  <a:lnTo>
                    <a:pt x="675" y="148"/>
                  </a:lnTo>
                  <a:lnTo>
                    <a:pt x="675" y="145"/>
                  </a:lnTo>
                  <a:lnTo>
                    <a:pt x="675" y="145"/>
                  </a:lnTo>
                  <a:lnTo>
                    <a:pt x="678" y="145"/>
                  </a:lnTo>
                  <a:lnTo>
                    <a:pt x="678" y="142"/>
                  </a:lnTo>
                  <a:lnTo>
                    <a:pt x="678" y="142"/>
                  </a:lnTo>
                  <a:lnTo>
                    <a:pt x="675" y="140"/>
                  </a:lnTo>
                  <a:lnTo>
                    <a:pt x="675" y="140"/>
                  </a:lnTo>
                  <a:lnTo>
                    <a:pt x="673" y="137"/>
                  </a:lnTo>
                  <a:lnTo>
                    <a:pt x="670" y="135"/>
                  </a:lnTo>
                  <a:lnTo>
                    <a:pt x="668" y="132"/>
                  </a:lnTo>
                  <a:lnTo>
                    <a:pt x="665" y="135"/>
                  </a:lnTo>
                  <a:lnTo>
                    <a:pt x="662" y="137"/>
                  </a:lnTo>
                  <a:lnTo>
                    <a:pt x="660" y="140"/>
                  </a:lnTo>
                  <a:lnTo>
                    <a:pt x="657" y="140"/>
                  </a:lnTo>
                  <a:lnTo>
                    <a:pt x="655" y="140"/>
                  </a:lnTo>
                  <a:lnTo>
                    <a:pt x="655" y="140"/>
                  </a:lnTo>
                  <a:lnTo>
                    <a:pt x="655" y="140"/>
                  </a:lnTo>
                  <a:lnTo>
                    <a:pt x="657" y="137"/>
                  </a:lnTo>
                  <a:lnTo>
                    <a:pt x="657" y="137"/>
                  </a:lnTo>
                  <a:lnTo>
                    <a:pt x="660" y="135"/>
                  </a:lnTo>
                  <a:lnTo>
                    <a:pt x="657" y="135"/>
                  </a:lnTo>
                  <a:lnTo>
                    <a:pt x="657" y="132"/>
                  </a:lnTo>
                  <a:lnTo>
                    <a:pt x="657" y="132"/>
                  </a:lnTo>
                  <a:lnTo>
                    <a:pt x="657" y="132"/>
                  </a:lnTo>
                  <a:lnTo>
                    <a:pt x="655" y="132"/>
                  </a:lnTo>
                  <a:lnTo>
                    <a:pt x="650" y="135"/>
                  </a:lnTo>
                  <a:lnTo>
                    <a:pt x="650" y="135"/>
                  </a:lnTo>
                  <a:lnTo>
                    <a:pt x="647" y="135"/>
                  </a:lnTo>
                  <a:lnTo>
                    <a:pt x="647" y="135"/>
                  </a:lnTo>
                  <a:lnTo>
                    <a:pt x="645" y="135"/>
                  </a:lnTo>
                  <a:lnTo>
                    <a:pt x="642" y="132"/>
                  </a:lnTo>
                  <a:lnTo>
                    <a:pt x="642" y="132"/>
                  </a:lnTo>
                  <a:lnTo>
                    <a:pt x="645" y="132"/>
                  </a:lnTo>
                  <a:lnTo>
                    <a:pt x="647" y="132"/>
                  </a:lnTo>
                  <a:lnTo>
                    <a:pt x="652" y="132"/>
                  </a:lnTo>
                  <a:lnTo>
                    <a:pt x="655" y="132"/>
                  </a:lnTo>
                  <a:lnTo>
                    <a:pt x="657" y="132"/>
                  </a:lnTo>
                  <a:lnTo>
                    <a:pt x="660" y="132"/>
                  </a:lnTo>
                  <a:lnTo>
                    <a:pt x="665" y="127"/>
                  </a:lnTo>
                  <a:lnTo>
                    <a:pt x="670" y="127"/>
                  </a:lnTo>
                  <a:lnTo>
                    <a:pt x="673" y="130"/>
                  </a:lnTo>
                  <a:lnTo>
                    <a:pt x="673" y="130"/>
                  </a:lnTo>
                  <a:lnTo>
                    <a:pt x="675" y="132"/>
                  </a:lnTo>
                  <a:lnTo>
                    <a:pt x="675" y="132"/>
                  </a:lnTo>
                  <a:lnTo>
                    <a:pt x="678" y="130"/>
                  </a:lnTo>
                  <a:lnTo>
                    <a:pt x="680" y="130"/>
                  </a:lnTo>
                  <a:lnTo>
                    <a:pt x="680" y="130"/>
                  </a:lnTo>
                  <a:lnTo>
                    <a:pt x="680" y="127"/>
                  </a:lnTo>
                  <a:lnTo>
                    <a:pt x="680" y="125"/>
                  </a:lnTo>
                  <a:lnTo>
                    <a:pt x="680" y="125"/>
                  </a:lnTo>
                  <a:lnTo>
                    <a:pt x="680" y="122"/>
                  </a:lnTo>
                  <a:lnTo>
                    <a:pt x="680" y="122"/>
                  </a:lnTo>
                  <a:lnTo>
                    <a:pt x="680" y="122"/>
                  </a:lnTo>
                  <a:lnTo>
                    <a:pt x="683" y="120"/>
                  </a:lnTo>
                  <a:lnTo>
                    <a:pt x="680" y="120"/>
                  </a:lnTo>
                  <a:lnTo>
                    <a:pt x="678" y="117"/>
                  </a:lnTo>
                  <a:lnTo>
                    <a:pt x="678" y="117"/>
                  </a:lnTo>
                  <a:lnTo>
                    <a:pt x="680" y="114"/>
                  </a:lnTo>
                  <a:lnTo>
                    <a:pt x="678" y="112"/>
                  </a:lnTo>
                  <a:lnTo>
                    <a:pt x="675" y="112"/>
                  </a:lnTo>
                  <a:lnTo>
                    <a:pt x="673" y="112"/>
                  </a:lnTo>
                  <a:lnTo>
                    <a:pt x="670" y="112"/>
                  </a:lnTo>
                  <a:lnTo>
                    <a:pt x="668" y="112"/>
                  </a:lnTo>
                  <a:lnTo>
                    <a:pt x="668" y="112"/>
                  </a:lnTo>
                  <a:lnTo>
                    <a:pt x="662" y="112"/>
                  </a:lnTo>
                  <a:lnTo>
                    <a:pt x="660" y="112"/>
                  </a:lnTo>
                  <a:lnTo>
                    <a:pt x="657" y="112"/>
                  </a:lnTo>
                  <a:lnTo>
                    <a:pt x="657" y="112"/>
                  </a:lnTo>
                  <a:lnTo>
                    <a:pt x="655" y="109"/>
                  </a:lnTo>
                  <a:lnTo>
                    <a:pt x="655" y="107"/>
                  </a:lnTo>
                  <a:lnTo>
                    <a:pt x="655" y="107"/>
                  </a:lnTo>
                  <a:lnTo>
                    <a:pt x="650" y="107"/>
                  </a:lnTo>
                  <a:lnTo>
                    <a:pt x="650" y="107"/>
                  </a:lnTo>
                  <a:lnTo>
                    <a:pt x="647" y="104"/>
                  </a:lnTo>
                  <a:lnTo>
                    <a:pt x="647" y="104"/>
                  </a:lnTo>
                  <a:lnTo>
                    <a:pt x="647" y="104"/>
                  </a:lnTo>
                  <a:lnTo>
                    <a:pt x="647" y="104"/>
                  </a:lnTo>
                  <a:lnTo>
                    <a:pt x="650" y="102"/>
                  </a:lnTo>
                  <a:lnTo>
                    <a:pt x="652" y="102"/>
                  </a:lnTo>
                  <a:lnTo>
                    <a:pt x="655" y="104"/>
                  </a:lnTo>
                  <a:lnTo>
                    <a:pt x="657" y="104"/>
                  </a:lnTo>
                  <a:lnTo>
                    <a:pt x="660" y="104"/>
                  </a:lnTo>
                  <a:lnTo>
                    <a:pt x="670" y="102"/>
                  </a:lnTo>
                  <a:lnTo>
                    <a:pt x="670" y="102"/>
                  </a:lnTo>
                  <a:lnTo>
                    <a:pt x="675" y="99"/>
                  </a:lnTo>
                  <a:lnTo>
                    <a:pt x="683" y="99"/>
                  </a:lnTo>
                  <a:lnTo>
                    <a:pt x="685" y="99"/>
                  </a:lnTo>
                  <a:lnTo>
                    <a:pt x="688" y="102"/>
                  </a:lnTo>
                  <a:lnTo>
                    <a:pt x="693" y="102"/>
                  </a:lnTo>
                  <a:lnTo>
                    <a:pt x="696" y="102"/>
                  </a:lnTo>
                  <a:lnTo>
                    <a:pt x="696" y="102"/>
                  </a:lnTo>
                  <a:lnTo>
                    <a:pt x="698" y="102"/>
                  </a:lnTo>
                  <a:lnTo>
                    <a:pt x="701" y="102"/>
                  </a:lnTo>
                  <a:lnTo>
                    <a:pt x="701" y="102"/>
                  </a:lnTo>
                  <a:lnTo>
                    <a:pt x="703" y="102"/>
                  </a:lnTo>
                  <a:lnTo>
                    <a:pt x="703" y="99"/>
                  </a:lnTo>
                  <a:lnTo>
                    <a:pt x="706" y="99"/>
                  </a:lnTo>
                  <a:lnTo>
                    <a:pt x="706" y="97"/>
                  </a:lnTo>
                  <a:lnTo>
                    <a:pt x="706" y="94"/>
                  </a:lnTo>
                  <a:lnTo>
                    <a:pt x="706" y="94"/>
                  </a:lnTo>
                  <a:lnTo>
                    <a:pt x="703" y="94"/>
                  </a:lnTo>
                  <a:lnTo>
                    <a:pt x="698" y="94"/>
                  </a:lnTo>
                  <a:lnTo>
                    <a:pt x="696" y="94"/>
                  </a:lnTo>
                  <a:lnTo>
                    <a:pt x="693" y="94"/>
                  </a:lnTo>
                  <a:lnTo>
                    <a:pt x="693" y="94"/>
                  </a:lnTo>
                  <a:lnTo>
                    <a:pt x="691" y="94"/>
                  </a:lnTo>
                  <a:lnTo>
                    <a:pt x="688" y="94"/>
                  </a:lnTo>
                  <a:lnTo>
                    <a:pt x="683" y="92"/>
                  </a:lnTo>
                  <a:lnTo>
                    <a:pt x="680" y="92"/>
                  </a:lnTo>
                  <a:lnTo>
                    <a:pt x="678" y="89"/>
                  </a:lnTo>
                  <a:lnTo>
                    <a:pt x="683" y="87"/>
                  </a:lnTo>
                  <a:lnTo>
                    <a:pt x="685" y="87"/>
                  </a:lnTo>
                  <a:lnTo>
                    <a:pt x="688" y="87"/>
                  </a:lnTo>
                  <a:lnTo>
                    <a:pt x="693" y="89"/>
                  </a:lnTo>
                  <a:lnTo>
                    <a:pt x="693" y="89"/>
                  </a:lnTo>
                  <a:lnTo>
                    <a:pt x="696" y="89"/>
                  </a:lnTo>
                  <a:lnTo>
                    <a:pt x="696" y="89"/>
                  </a:lnTo>
                  <a:lnTo>
                    <a:pt x="696" y="87"/>
                  </a:lnTo>
                  <a:lnTo>
                    <a:pt x="696" y="87"/>
                  </a:lnTo>
                  <a:lnTo>
                    <a:pt x="691" y="87"/>
                  </a:lnTo>
                  <a:lnTo>
                    <a:pt x="688" y="87"/>
                  </a:lnTo>
                  <a:lnTo>
                    <a:pt x="685" y="84"/>
                  </a:lnTo>
                  <a:lnTo>
                    <a:pt x="680" y="84"/>
                  </a:lnTo>
                  <a:lnTo>
                    <a:pt x="678" y="84"/>
                  </a:lnTo>
                  <a:lnTo>
                    <a:pt x="673" y="84"/>
                  </a:lnTo>
                  <a:lnTo>
                    <a:pt x="670" y="87"/>
                  </a:lnTo>
                  <a:lnTo>
                    <a:pt x="668" y="89"/>
                  </a:lnTo>
                  <a:lnTo>
                    <a:pt x="665" y="87"/>
                  </a:lnTo>
                  <a:lnTo>
                    <a:pt x="665" y="87"/>
                  </a:lnTo>
                  <a:lnTo>
                    <a:pt x="668" y="84"/>
                  </a:lnTo>
                  <a:lnTo>
                    <a:pt x="670" y="81"/>
                  </a:lnTo>
                  <a:lnTo>
                    <a:pt x="673" y="81"/>
                  </a:lnTo>
                  <a:lnTo>
                    <a:pt x="673" y="79"/>
                  </a:lnTo>
                  <a:lnTo>
                    <a:pt x="675" y="76"/>
                  </a:lnTo>
                  <a:lnTo>
                    <a:pt x="678" y="76"/>
                  </a:lnTo>
                  <a:lnTo>
                    <a:pt x="680" y="74"/>
                  </a:lnTo>
                  <a:lnTo>
                    <a:pt x="680" y="71"/>
                  </a:lnTo>
                  <a:lnTo>
                    <a:pt x="680" y="71"/>
                  </a:lnTo>
                  <a:lnTo>
                    <a:pt x="680" y="71"/>
                  </a:lnTo>
                  <a:lnTo>
                    <a:pt x="688" y="69"/>
                  </a:lnTo>
                  <a:lnTo>
                    <a:pt x="691" y="69"/>
                  </a:lnTo>
                  <a:lnTo>
                    <a:pt x="693" y="69"/>
                  </a:lnTo>
                  <a:lnTo>
                    <a:pt x="696" y="69"/>
                  </a:lnTo>
                  <a:lnTo>
                    <a:pt x="696" y="69"/>
                  </a:lnTo>
                  <a:lnTo>
                    <a:pt x="698" y="66"/>
                  </a:lnTo>
                  <a:lnTo>
                    <a:pt x="698" y="66"/>
                  </a:lnTo>
                  <a:lnTo>
                    <a:pt x="698" y="66"/>
                  </a:lnTo>
                  <a:lnTo>
                    <a:pt x="698" y="66"/>
                  </a:lnTo>
                  <a:lnTo>
                    <a:pt x="701" y="64"/>
                  </a:lnTo>
                  <a:lnTo>
                    <a:pt x="706" y="64"/>
                  </a:lnTo>
                  <a:lnTo>
                    <a:pt x="708" y="64"/>
                  </a:lnTo>
                  <a:lnTo>
                    <a:pt x="711" y="64"/>
                  </a:lnTo>
                  <a:lnTo>
                    <a:pt x="711" y="61"/>
                  </a:lnTo>
                  <a:lnTo>
                    <a:pt x="711" y="61"/>
                  </a:lnTo>
                  <a:lnTo>
                    <a:pt x="711" y="61"/>
                  </a:lnTo>
                  <a:lnTo>
                    <a:pt x="708" y="61"/>
                  </a:lnTo>
                  <a:lnTo>
                    <a:pt x="708" y="61"/>
                  </a:lnTo>
                  <a:lnTo>
                    <a:pt x="708" y="61"/>
                  </a:lnTo>
                  <a:lnTo>
                    <a:pt x="706" y="61"/>
                  </a:lnTo>
                  <a:lnTo>
                    <a:pt x="706" y="59"/>
                  </a:lnTo>
                  <a:lnTo>
                    <a:pt x="706" y="59"/>
                  </a:lnTo>
                  <a:lnTo>
                    <a:pt x="708" y="56"/>
                  </a:lnTo>
                  <a:lnTo>
                    <a:pt x="708" y="56"/>
                  </a:lnTo>
                  <a:lnTo>
                    <a:pt x="708" y="56"/>
                  </a:lnTo>
                  <a:lnTo>
                    <a:pt x="708" y="53"/>
                  </a:lnTo>
                  <a:lnTo>
                    <a:pt x="708" y="53"/>
                  </a:lnTo>
                  <a:lnTo>
                    <a:pt x="708" y="53"/>
                  </a:lnTo>
                  <a:lnTo>
                    <a:pt x="703" y="53"/>
                  </a:lnTo>
                  <a:lnTo>
                    <a:pt x="701" y="53"/>
                  </a:lnTo>
                  <a:lnTo>
                    <a:pt x="701" y="53"/>
                  </a:lnTo>
                  <a:lnTo>
                    <a:pt x="701" y="53"/>
                  </a:lnTo>
                  <a:lnTo>
                    <a:pt x="701" y="53"/>
                  </a:lnTo>
                  <a:lnTo>
                    <a:pt x="701" y="51"/>
                  </a:lnTo>
                  <a:lnTo>
                    <a:pt x="701" y="51"/>
                  </a:lnTo>
                  <a:lnTo>
                    <a:pt x="703" y="48"/>
                  </a:lnTo>
                  <a:lnTo>
                    <a:pt x="706" y="48"/>
                  </a:lnTo>
                  <a:lnTo>
                    <a:pt x="711" y="46"/>
                  </a:lnTo>
                  <a:lnTo>
                    <a:pt x="711" y="46"/>
                  </a:lnTo>
                  <a:lnTo>
                    <a:pt x="713" y="46"/>
                  </a:lnTo>
                  <a:lnTo>
                    <a:pt x="716" y="46"/>
                  </a:lnTo>
                  <a:lnTo>
                    <a:pt x="721" y="46"/>
                  </a:lnTo>
                  <a:lnTo>
                    <a:pt x="729" y="48"/>
                  </a:lnTo>
                  <a:lnTo>
                    <a:pt x="731" y="48"/>
                  </a:lnTo>
                  <a:lnTo>
                    <a:pt x="736" y="46"/>
                  </a:lnTo>
                  <a:lnTo>
                    <a:pt x="739" y="46"/>
                  </a:lnTo>
                  <a:lnTo>
                    <a:pt x="742" y="46"/>
                  </a:lnTo>
                  <a:lnTo>
                    <a:pt x="744" y="46"/>
                  </a:lnTo>
                  <a:lnTo>
                    <a:pt x="749" y="46"/>
                  </a:lnTo>
                  <a:lnTo>
                    <a:pt x="752" y="46"/>
                  </a:lnTo>
                  <a:lnTo>
                    <a:pt x="757" y="43"/>
                  </a:lnTo>
                  <a:lnTo>
                    <a:pt x="757" y="43"/>
                  </a:lnTo>
                  <a:lnTo>
                    <a:pt x="749" y="43"/>
                  </a:lnTo>
                  <a:lnTo>
                    <a:pt x="749" y="43"/>
                  </a:lnTo>
                  <a:lnTo>
                    <a:pt x="747" y="41"/>
                  </a:lnTo>
                  <a:lnTo>
                    <a:pt x="752" y="41"/>
                  </a:lnTo>
                  <a:lnTo>
                    <a:pt x="757" y="41"/>
                  </a:lnTo>
                  <a:lnTo>
                    <a:pt x="762" y="41"/>
                  </a:lnTo>
                  <a:lnTo>
                    <a:pt x="767" y="38"/>
                  </a:lnTo>
                  <a:lnTo>
                    <a:pt x="775" y="38"/>
                  </a:lnTo>
                  <a:lnTo>
                    <a:pt x="777" y="38"/>
                  </a:lnTo>
                  <a:lnTo>
                    <a:pt x="780" y="38"/>
                  </a:lnTo>
                  <a:lnTo>
                    <a:pt x="780" y="36"/>
                  </a:lnTo>
                  <a:lnTo>
                    <a:pt x="780" y="36"/>
                  </a:lnTo>
                  <a:lnTo>
                    <a:pt x="777" y="36"/>
                  </a:lnTo>
                  <a:lnTo>
                    <a:pt x="777" y="36"/>
                  </a:lnTo>
                  <a:lnTo>
                    <a:pt x="780" y="36"/>
                  </a:lnTo>
                  <a:lnTo>
                    <a:pt x="785" y="36"/>
                  </a:lnTo>
                  <a:lnTo>
                    <a:pt x="790" y="36"/>
                  </a:lnTo>
                  <a:lnTo>
                    <a:pt x="795" y="33"/>
                  </a:lnTo>
                  <a:lnTo>
                    <a:pt x="803" y="31"/>
                  </a:lnTo>
                  <a:lnTo>
                    <a:pt x="805" y="31"/>
                  </a:lnTo>
                  <a:lnTo>
                    <a:pt x="815" y="28"/>
                  </a:lnTo>
                  <a:lnTo>
                    <a:pt x="815" y="28"/>
                  </a:lnTo>
                  <a:lnTo>
                    <a:pt x="815" y="28"/>
                  </a:lnTo>
                  <a:lnTo>
                    <a:pt x="815" y="2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309" name="Freeform 1928">
              <a:extLst>
                <a:ext uri="{FF2B5EF4-FFF2-40B4-BE49-F238E27FC236}">
                  <a16:creationId xmlns:a16="http://schemas.microsoft.com/office/drawing/2014/main" id="{16CBCCB9-95CC-5F43-878E-2CB899A68CF6}"/>
                </a:ext>
              </a:extLst>
            </p:cNvPr>
            <p:cNvSpPr>
              <a:spLocks noEditPoints="1"/>
            </p:cNvSpPr>
            <p:nvPr/>
          </p:nvSpPr>
          <p:spPr bwMode="auto">
            <a:xfrm>
              <a:off x="6233451" y="2252087"/>
              <a:ext cx="266626" cy="250268"/>
            </a:xfrm>
            <a:custGeom>
              <a:avLst/>
              <a:gdLst>
                <a:gd name="T0" fmla="*/ 100 w 163"/>
                <a:gd name="T1" fmla="*/ 143 h 153"/>
                <a:gd name="T2" fmla="*/ 87 w 163"/>
                <a:gd name="T3" fmla="*/ 138 h 153"/>
                <a:gd name="T4" fmla="*/ 77 w 163"/>
                <a:gd name="T5" fmla="*/ 145 h 153"/>
                <a:gd name="T6" fmla="*/ 120 w 163"/>
                <a:gd name="T7" fmla="*/ 151 h 153"/>
                <a:gd name="T8" fmla="*/ 143 w 163"/>
                <a:gd name="T9" fmla="*/ 138 h 153"/>
                <a:gd name="T10" fmla="*/ 66 w 163"/>
                <a:gd name="T11" fmla="*/ 123 h 153"/>
                <a:gd name="T12" fmla="*/ 156 w 163"/>
                <a:gd name="T13" fmla="*/ 130 h 153"/>
                <a:gd name="T14" fmla="*/ 112 w 163"/>
                <a:gd name="T15" fmla="*/ 120 h 153"/>
                <a:gd name="T16" fmla="*/ 156 w 163"/>
                <a:gd name="T17" fmla="*/ 115 h 153"/>
                <a:gd name="T18" fmla="*/ 110 w 163"/>
                <a:gd name="T19" fmla="*/ 112 h 153"/>
                <a:gd name="T20" fmla="*/ 145 w 163"/>
                <a:gd name="T21" fmla="*/ 110 h 153"/>
                <a:gd name="T22" fmla="*/ 97 w 163"/>
                <a:gd name="T23" fmla="*/ 105 h 153"/>
                <a:gd name="T24" fmla="*/ 140 w 163"/>
                <a:gd name="T25" fmla="*/ 107 h 153"/>
                <a:gd name="T26" fmla="*/ 110 w 163"/>
                <a:gd name="T27" fmla="*/ 107 h 153"/>
                <a:gd name="T28" fmla="*/ 92 w 163"/>
                <a:gd name="T29" fmla="*/ 95 h 153"/>
                <a:gd name="T30" fmla="*/ 110 w 163"/>
                <a:gd name="T31" fmla="*/ 97 h 153"/>
                <a:gd name="T32" fmla="*/ 102 w 163"/>
                <a:gd name="T33" fmla="*/ 92 h 153"/>
                <a:gd name="T34" fmla="*/ 87 w 163"/>
                <a:gd name="T35" fmla="*/ 95 h 153"/>
                <a:gd name="T36" fmla="*/ 140 w 163"/>
                <a:gd name="T37" fmla="*/ 89 h 153"/>
                <a:gd name="T38" fmla="*/ 100 w 163"/>
                <a:gd name="T39" fmla="*/ 84 h 153"/>
                <a:gd name="T40" fmla="*/ 72 w 163"/>
                <a:gd name="T41" fmla="*/ 84 h 153"/>
                <a:gd name="T42" fmla="*/ 16 w 163"/>
                <a:gd name="T43" fmla="*/ 74 h 153"/>
                <a:gd name="T44" fmla="*/ 21 w 163"/>
                <a:gd name="T45" fmla="*/ 79 h 153"/>
                <a:gd name="T46" fmla="*/ 115 w 163"/>
                <a:gd name="T47" fmla="*/ 72 h 153"/>
                <a:gd name="T48" fmla="*/ 21 w 163"/>
                <a:gd name="T49" fmla="*/ 64 h 153"/>
                <a:gd name="T50" fmla="*/ 89 w 163"/>
                <a:gd name="T51" fmla="*/ 61 h 153"/>
                <a:gd name="T52" fmla="*/ 61 w 163"/>
                <a:gd name="T53" fmla="*/ 64 h 153"/>
                <a:gd name="T54" fmla="*/ 82 w 163"/>
                <a:gd name="T55" fmla="*/ 74 h 153"/>
                <a:gd name="T56" fmla="*/ 92 w 163"/>
                <a:gd name="T57" fmla="*/ 79 h 153"/>
                <a:gd name="T58" fmla="*/ 72 w 163"/>
                <a:gd name="T59" fmla="*/ 64 h 153"/>
                <a:gd name="T60" fmla="*/ 120 w 163"/>
                <a:gd name="T61" fmla="*/ 51 h 153"/>
                <a:gd name="T62" fmla="*/ 128 w 163"/>
                <a:gd name="T63" fmla="*/ 59 h 153"/>
                <a:gd name="T64" fmla="*/ 3 w 163"/>
                <a:gd name="T65" fmla="*/ 44 h 153"/>
                <a:gd name="T66" fmla="*/ 102 w 163"/>
                <a:gd name="T67" fmla="*/ 41 h 153"/>
                <a:gd name="T68" fmla="*/ 100 w 163"/>
                <a:gd name="T69" fmla="*/ 39 h 153"/>
                <a:gd name="T70" fmla="*/ 107 w 163"/>
                <a:gd name="T71" fmla="*/ 28 h 153"/>
                <a:gd name="T72" fmla="*/ 82 w 163"/>
                <a:gd name="T73" fmla="*/ 89 h 153"/>
                <a:gd name="T74" fmla="*/ 59 w 163"/>
                <a:gd name="T75" fmla="*/ 64 h 153"/>
                <a:gd name="T76" fmla="*/ 64 w 163"/>
                <a:gd name="T77" fmla="*/ 54 h 153"/>
                <a:gd name="T78" fmla="*/ 54 w 163"/>
                <a:gd name="T79" fmla="*/ 31 h 153"/>
                <a:gd name="T80" fmla="*/ 74 w 163"/>
                <a:gd name="T81" fmla="*/ 39 h 153"/>
                <a:gd name="T82" fmla="*/ 77 w 163"/>
                <a:gd name="T83" fmla="*/ 31 h 153"/>
                <a:gd name="T84" fmla="*/ 77 w 163"/>
                <a:gd name="T85" fmla="*/ 21 h 153"/>
                <a:gd name="T86" fmla="*/ 117 w 163"/>
                <a:gd name="T87" fmla="*/ 23 h 153"/>
                <a:gd name="T88" fmla="*/ 125 w 163"/>
                <a:gd name="T89" fmla="*/ 6 h 153"/>
                <a:gd name="T90" fmla="*/ 117 w 163"/>
                <a:gd name="T91" fmla="*/ 8 h 153"/>
                <a:gd name="T92" fmla="*/ 89 w 163"/>
                <a:gd name="T93" fmla="*/ 6 h 153"/>
                <a:gd name="T94" fmla="*/ 66 w 163"/>
                <a:gd name="T95" fmla="*/ 8 h 153"/>
                <a:gd name="T96" fmla="*/ 44 w 163"/>
                <a:gd name="T97" fmla="*/ 13 h 153"/>
                <a:gd name="T98" fmla="*/ 23 w 163"/>
                <a:gd name="T99" fmla="*/ 26 h 153"/>
                <a:gd name="T100" fmla="*/ 13 w 163"/>
                <a:gd name="T101" fmla="*/ 39 h 153"/>
                <a:gd name="T102" fmla="*/ 8 w 163"/>
                <a:gd name="T103" fmla="*/ 44 h 153"/>
                <a:gd name="T104" fmla="*/ 28 w 163"/>
                <a:gd name="T105" fmla="*/ 59 h 153"/>
                <a:gd name="T106" fmla="*/ 31 w 163"/>
                <a:gd name="T107" fmla="*/ 72 h 153"/>
                <a:gd name="T108" fmla="*/ 59 w 163"/>
                <a:gd name="T109" fmla="*/ 77 h 153"/>
                <a:gd name="T110" fmla="*/ 59 w 163"/>
                <a:gd name="T111" fmla="*/ 82 h 153"/>
                <a:gd name="T112" fmla="*/ 31 w 163"/>
                <a:gd name="T113" fmla="*/ 87 h 153"/>
                <a:gd name="T114" fmla="*/ 46 w 163"/>
                <a:gd name="T115" fmla="*/ 105 h 153"/>
                <a:gd name="T116" fmla="*/ 66 w 163"/>
                <a:gd name="T117" fmla="*/ 117 h 153"/>
                <a:gd name="T118" fmla="*/ 66 w 163"/>
                <a:gd name="T119" fmla="*/ 95 h 153"/>
                <a:gd name="T120" fmla="*/ 66 w 163"/>
                <a:gd name="T121" fmla="*/ 8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3" h="153">
                  <a:moveTo>
                    <a:pt x="125" y="148"/>
                  </a:moveTo>
                  <a:lnTo>
                    <a:pt x="123" y="148"/>
                  </a:lnTo>
                  <a:lnTo>
                    <a:pt x="120" y="148"/>
                  </a:lnTo>
                  <a:lnTo>
                    <a:pt x="120" y="148"/>
                  </a:lnTo>
                  <a:lnTo>
                    <a:pt x="120" y="148"/>
                  </a:lnTo>
                  <a:lnTo>
                    <a:pt x="117" y="148"/>
                  </a:lnTo>
                  <a:lnTo>
                    <a:pt x="117" y="148"/>
                  </a:lnTo>
                  <a:lnTo>
                    <a:pt x="117" y="145"/>
                  </a:lnTo>
                  <a:lnTo>
                    <a:pt x="117" y="143"/>
                  </a:lnTo>
                  <a:lnTo>
                    <a:pt x="115" y="145"/>
                  </a:lnTo>
                  <a:lnTo>
                    <a:pt x="112" y="145"/>
                  </a:lnTo>
                  <a:lnTo>
                    <a:pt x="110" y="143"/>
                  </a:lnTo>
                  <a:lnTo>
                    <a:pt x="105" y="143"/>
                  </a:lnTo>
                  <a:lnTo>
                    <a:pt x="105" y="143"/>
                  </a:lnTo>
                  <a:lnTo>
                    <a:pt x="100" y="143"/>
                  </a:lnTo>
                  <a:lnTo>
                    <a:pt x="97" y="143"/>
                  </a:lnTo>
                  <a:lnTo>
                    <a:pt x="95" y="143"/>
                  </a:lnTo>
                  <a:lnTo>
                    <a:pt x="95" y="143"/>
                  </a:lnTo>
                  <a:lnTo>
                    <a:pt x="92" y="143"/>
                  </a:lnTo>
                  <a:lnTo>
                    <a:pt x="92" y="143"/>
                  </a:lnTo>
                  <a:lnTo>
                    <a:pt x="89" y="143"/>
                  </a:lnTo>
                  <a:lnTo>
                    <a:pt x="89" y="143"/>
                  </a:lnTo>
                  <a:lnTo>
                    <a:pt x="89" y="140"/>
                  </a:lnTo>
                  <a:lnTo>
                    <a:pt x="89" y="140"/>
                  </a:lnTo>
                  <a:lnTo>
                    <a:pt x="87" y="140"/>
                  </a:lnTo>
                  <a:lnTo>
                    <a:pt x="87" y="140"/>
                  </a:lnTo>
                  <a:lnTo>
                    <a:pt x="87" y="140"/>
                  </a:lnTo>
                  <a:lnTo>
                    <a:pt x="89" y="140"/>
                  </a:lnTo>
                  <a:lnTo>
                    <a:pt x="87" y="138"/>
                  </a:lnTo>
                  <a:lnTo>
                    <a:pt x="87" y="138"/>
                  </a:lnTo>
                  <a:lnTo>
                    <a:pt x="84" y="140"/>
                  </a:lnTo>
                  <a:lnTo>
                    <a:pt x="84" y="140"/>
                  </a:lnTo>
                  <a:lnTo>
                    <a:pt x="84" y="140"/>
                  </a:lnTo>
                  <a:lnTo>
                    <a:pt x="82" y="140"/>
                  </a:lnTo>
                  <a:lnTo>
                    <a:pt x="82" y="140"/>
                  </a:lnTo>
                  <a:lnTo>
                    <a:pt x="79" y="138"/>
                  </a:lnTo>
                  <a:lnTo>
                    <a:pt x="79" y="138"/>
                  </a:lnTo>
                  <a:lnTo>
                    <a:pt x="79" y="138"/>
                  </a:lnTo>
                  <a:lnTo>
                    <a:pt x="79" y="140"/>
                  </a:lnTo>
                  <a:lnTo>
                    <a:pt x="79" y="140"/>
                  </a:lnTo>
                  <a:lnTo>
                    <a:pt x="77" y="140"/>
                  </a:lnTo>
                  <a:lnTo>
                    <a:pt x="77" y="138"/>
                  </a:lnTo>
                  <a:lnTo>
                    <a:pt x="77" y="140"/>
                  </a:lnTo>
                  <a:lnTo>
                    <a:pt x="77" y="143"/>
                  </a:lnTo>
                  <a:lnTo>
                    <a:pt x="77" y="145"/>
                  </a:lnTo>
                  <a:lnTo>
                    <a:pt x="77" y="145"/>
                  </a:lnTo>
                  <a:lnTo>
                    <a:pt x="79" y="145"/>
                  </a:lnTo>
                  <a:lnTo>
                    <a:pt x="79" y="145"/>
                  </a:lnTo>
                  <a:lnTo>
                    <a:pt x="82" y="145"/>
                  </a:lnTo>
                  <a:lnTo>
                    <a:pt x="84" y="148"/>
                  </a:lnTo>
                  <a:lnTo>
                    <a:pt x="95" y="148"/>
                  </a:lnTo>
                  <a:lnTo>
                    <a:pt x="97" y="148"/>
                  </a:lnTo>
                  <a:lnTo>
                    <a:pt x="100" y="151"/>
                  </a:lnTo>
                  <a:lnTo>
                    <a:pt x="100" y="151"/>
                  </a:lnTo>
                  <a:lnTo>
                    <a:pt x="100" y="151"/>
                  </a:lnTo>
                  <a:lnTo>
                    <a:pt x="100" y="153"/>
                  </a:lnTo>
                  <a:lnTo>
                    <a:pt x="100" y="153"/>
                  </a:lnTo>
                  <a:lnTo>
                    <a:pt x="107" y="153"/>
                  </a:lnTo>
                  <a:lnTo>
                    <a:pt x="115" y="151"/>
                  </a:lnTo>
                  <a:lnTo>
                    <a:pt x="120" y="151"/>
                  </a:lnTo>
                  <a:lnTo>
                    <a:pt x="125" y="151"/>
                  </a:lnTo>
                  <a:lnTo>
                    <a:pt x="125" y="151"/>
                  </a:lnTo>
                  <a:lnTo>
                    <a:pt x="128" y="151"/>
                  </a:lnTo>
                  <a:lnTo>
                    <a:pt x="128" y="151"/>
                  </a:lnTo>
                  <a:lnTo>
                    <a:pt x="128" y="148"/>
                  </a:lnTo>
                  <a:lnTo>
                    <a:pt x="128" y="145"/>
                  </a:lnTo>
                  <a:lnTo>
                    <a:pt x="130" y="145"/>
                  </a:lnTo>
                  <a:lnTo>
                    <a:pt x="128" y="145"/>
                  </a:lnTo>
                  <a:lnTo>
                    <a:pt x="125" y="148"/>
                  </a:lnTo>
                  <a:close/>
                  <a:moveTo>
                    <a:pt x="145" y="138"/>
                  </a:moveTo>
                  <a:lnTo>
                    <a:pt x="145" y="135"/>
                  </a:lnTo>
                  <a:lnTo>
                    <a:pt x="145" y="133"/>
                  </a:lnTo>
                  <a:lnTo>
                    <a:pt x="143" y="133"/>
                  </a:lnTo>
                  <a:lnTo>
                    <a:pt x="145" y="135"/>
                  </a:lnTo>
                  <a:lnTo>
                    <a:pt x="143" y="138"/>
                  </a:lnTo>
                  <a:lnTo>
                    <a:pt x="143" y="140"/>
                  </a:lnTo>
                  <a:lnTo>
                    <a:pt x="143" y="140"/>
                  </a:lnTo>
                  <a:lnTo>
                    <a:pt x="145" y="143"/>
                  </a:lnTo>
                  <a:lnTo>
                    <a:pt x="145" y="140"/>
                  </a:lnTo>
                  <a:lnTo>
                    <a:pt x="145" y="140"/>
                  </a:lnTo>
                  <a:lnTo>
                    <a:pt x="145" y="138"/>
                  </a:lnTo>
                  <a:lnTo>
                    <a:pt x="145" y="138"/>
                  </a:lnTo>
                  <a:close/>
                  <a:moveTo>
                    <a:pt x="64" y="120"/>
                  </a:moveTo>
                  <a:lnTo>
                    <a:pt x="64" y="120"/>
                  </a:lnTo>
                  <a:lnTo>
                    <a:pt x="64" y="123"/>
                  </a:lnTo>
                  <a:lnTo>
                    <a:pt x="64" y="123"/>
                  </a:lnTo>
                  <a:lnTo>
                    <a:pt x="64" y="125"/>
                  </a:lnTo>
                  <a:lnTo>
                    <a:pt x="66" y="125"/>
                  </a:lnTo>
                  <a:lnTo>
                    <a:pt x="66" y="125"/>
                  </a:lnTo>
                  <a:lnTo>
                    <a:pt x="66" y="123"/>
                  </a:lnTo>
                  <a:lnTo>
                    <a:pt x="64" y="120"/>
                  </a:lnTo>
                  <a:lnTo>
                    <a:pt x="64" y="120"/>
                  </a:lnTo>
                  <a:close/>
                  <a:moveTo>
                    <a:pt x="163" y="120"/>
                  </a:moveTo>
                  <a:lnTo>
                    <a:pt x="163" y="120"/>
                  </a:lnTo>
                  <a:lnTo>
                    <a:pt x="163" y="120"/>
                  </a:lnTo>
                  <a:lnTo>
                    <a:pt x="158" y="120"/>
                  </a:lnTo>
                  <a:lnTo>
                    <a:pt x="156" y="123"/>
                  </a:lnTo>
                  <a:lnTo>
                    <a:pt x="156" y="125"/>
                  </a:lnTo>
                  <a:lnTo>
                    <a:pt x="153" y="125"/>
                  </a:lnTo>
                  <a:lnTo>
                    <a:pt x="153" y="125"/>
                  </a:lnTo>
                  <a:lnTo>
                    <a:pt x="156" y="128"/>
                  </a:lnTo>
                  <a:lnTo>
                    <a:pt x="156" y="130"/>
                  </a:lnTo>
                  <a:lnTo>
                    <a:pt x="156" y="130"/>
                  </a:lnTo>
                  <a:lnTo>
                    <a:pt x="156" y="130"/>
                  </a:lnTo>
                  <a:lnTo>
                    <a:pt x="156" y="130"/>
                  </a:lnTo>
                  <a:lnTo>
                    <a:pt x="158" y="128"/>
                  </a:lnTo>
                  <a:lnTo>
                    <a:pt x="161" y="128"/>
                  </a:lnTo>
                  <a:lnTo>
                    <a:pt x="161" y="125"/>
                  </a:lnTo>
                  <a:lnTo>
                    <a:pt x="163" y="125"/>
                  </a:lnTo>
                  <a:lnTo>
                    <a:pt x="163" y="120"/>
                  </a:lnTo>
                  <a:close/>
                  <a:moveTo>
                    <a:pt x="112" y="120"/>
                  </a:moveTo>
                  <a:lnTo>
                    <a:pt x="112" y="120"/>
                  </a:lnTo>
                  <a:lnTo>
                    <a:pt x="110" y="117"/>
                  </a:lnTo>
                  <a:lnTo>
                    <a:pt x="110" y="117"/>
                  </a:lnTo>
                  <a:lnTo>
                    <a:pt x="110" y="117"/>
                  </a:lnTo>
                  <a:lnTo>
                    <a:pt x="110" y="120"/>
                  </a:lnTo>
                  <a:lnTo>
                    <a:pt x="110" y="120"/>
                  </a:lnTo>
                  <a:lnTo>
                    <a:pt x="110" y="120"/>
                  </a:lnTo>
                  <a:lnTo>
                    <a:pt x="110" y="120"/>
                  </a:lnTo>
                  <a:lnTo>
                    <a:pt x="112" y="120"/>
                  </a:lnTo>
                  <a:close/>
                  <a:moveTo>
                    <a:pt x="128" y="115"/>
                  </a:moveTo>
                  <a:lnTo>
                    <a:pt x="128" y="115"/>
                  </a:lnTo>
                  <a:lnTo>
                    <a:pt x="128" y="115"/>
                  </a:lnTo>
                  <a:lnTo>
                    <a:pt x="128" y="115"/>
                  </a:lnTo>
                  <a:lnTo>
                    <a:pt x="128" y="115"/>
                  </a:lnTo>
                  <a:lnTo>
                    <a:pt x="128" y="117"/>
                  </a:lnTo>
                  <a:lnTo>
                    <a:pt x="128" y="115"/>
                  </a:lnTo>
                  <a:lnTo>
                    <a:pt x="130" y="115"/>
                  </a:lnTo>
                  <a:lnTo>
                    <a:pt x="130" y="115"/>
                  </a:lnTo>
                  <a:lnTo>
                    <a:pt x="128" y="115"/>
                  </a:lnTo>
                  <a:close/>
                  <a:moveTo>
                    <a:pt x="156" y="117"/>
                  </a:moveTo>
                  <a:lnTo>
                    <a:pt x="156" y="115"/>
                  </a:lnTo>
                  <a:lnTo>
                    <a:pt x="156" y="115"/>
                  </a:lnTo>
                  <a:lnTo>
                    <a:pt x="156" y="115"/>
                  </a:lnTo>
                  <a:lnTo>
                    <a:pt x="156" y="115"/>
                  </a:lnTo>
                  <a:lnTo>
                    <a:pt x="156" y="115"/>
                  </a:lnTo>
                  <a:lnTo>
                    <a:pt x="156" y="115"/>
                  </a:lnTo>
                  <a:lnTo>
                    <a:pt x="156" y="115"/>
                  </a:lnTo>
                  <a:lnTo>
                    <a:pt x="156" y="117"/>
                  </a:lnTo>
                  <a:close/>
                  <a:moveTo>
                    <a:pt x="95" y="112"/>
                  </a:moveTo>
                  <a:lnTo>
                    <a:pt x="95" y="112"/>
                  </a:lnTo>
                  <a:lnTo>
                    <a:pt x="92" y="112"/>
                  </a:lnTo>
                  <a:lnTo>
                    <a:pt x="92" y="112"/>
                  </a:lnTo>
                  <a:lnTo>
                    <a:pt x="92" y="112"/>
                  </a:lnTo>
                  <a:lnTo>
                    <a:pt x="89" y="112"/>
                  </a:lnTo>
                  <a:lnTo>
                    <a:pt x="89" y="112"/>
                  </a:lnTo>
                  <a:lnTo>
                    <a:pt x="89" y="115"/>
                  </a:lnTo>
                  <a:lnTo>
                    <a:pt x="95" y="112"/>
                  </a:lnTo>
                  <a:lnTo>
                    <a:pt x="95" y="112"/>
                  </a:lnTo>
                  <a:close/>
                  <a:moveTo>
                    <a:pt x="110" y="112"/>
                  </a:moveTo>
                  <a:lnTo>
                    <a:pt x="110" y="112"/>
                  </a:lnTo>
                  <a:lnTo>
                    <a:pt x="110" y="112"/>
                  </a:lnTo>
                  <a:lnTo>
                    <a:pt x="107" y="110"/>
                  </a:lnTo>
                  <a:lnTo>
                    <a:pt x="107" y="112"/>
                  </a:lnTo>
                  <a:lnTo>
                    <a:pt x="107" y="112"/>
                  </a:lnTo>
                  <a:lnTo>
                    <a:pt x="110" y="112"/>
                  </a:lnTo>
                  <a:close/>
                  <a:moveTo>
                    <a:pt x="143" y="107"/>
                  </a:moveTo>
                  <a:lnTo>
                    <a:pt x="140" y="110"/>
                  </a:lnTo>
                  <a:lnTo>
                    <a:pt x="138" y="110"/>
                  </a:lnTo>
                  <a:lnTo>
                    <a:pt x="138" y="112"/>
                  </a:lnTo>
                  <a:lnTo>
                    <a:pt x="138" y="112"/>
                  </a:lnTo>
                  <a:lnTo>
                    <a:pt x="140" y="110"/>
                  </a:lnTo>
                  <a:lnTo>
                    <a:pt x="143" y="110"/>
                  </a:lnTo>
                  <a:lnTo>
                    <a:pt x="143" y="110"/>
                  </a:lnTo>
                  <a:lnTo>
                    <a:pt x="145" y="110"/>
                  </a:lnTo>
                  <a:lnTo>
                    <a:pt x="145" y="107"/>
                  </a:lnTo>
                  <a:lnTo>
                    <a:pt x="143" y="107"/>
                  </a:lnTo>
                  <a:close/>
                  <a:moveTo>
                    <a:pt x="117" y="110"/>
                  </a:moveTo>
                  <a:lnTo>
                    <a:pt x="120" y="107"/>
                  </a:lnTo>
                  <a:lnTo>
                    <a:pt x="123" y="107"/>
                  </a:lnTo>
                  <a:lnTo>
                    <a:pt x="120" y="107"/>
                  </a:lnTo>
                  <a:lnTo>
                    <a:pt x="120" y="107"/>
                  </a:lnTo>
                  <a:lnTo>
                    <a:pt x="117" y="110"/>
                  </a:lnTo>
                  <a:lnTo>
                    <a:pt x="117" y="110"/>
                  </a:lnTo>
                  <a:lnTo>
                    <a:pt x="117" y="110"/>
                  </a:lnTo>
                  <a:lnTo>
                    <a:pt x="117" y="110"/>
                  </a:lnTo>
                  <a:lnTo>
                    <a:pt x="117" y="110"/>
                  </a:lnTo>
                  <a:lnTo>
                    <a:pt x="117" y="110"/>
                  </a:lnTo>
                  <a:close/>
                  <a:moveTo>
                    <a:pt x="97" y="105"/>
                  </a:moveTo>
                  <a:lnTo>
                    <a:pt x="97" y="105"/>
                  </a:lnTo>
                  <a:lnTo>
                    <a:pt x="97" y="107"/>
                  </a:lnTo>
                  <a:lnTo>
                    <a:pt x="97" y="107"/>
                  </a:lnTo>
                  <a:lnTo>
                    <a:pt x="97" y="107"/>
                  </a:lnTo>
                  <a:lnTo>
                    <a:pt x="97" y="107"/>
                  </a:lnTo>
                  <a:lnTo>
                    <a:pt x="97" y="105"/>
                  </a:lnTo>
                  <a:lnTo>
                    <a:pt x="97" y="105"/>
                  </a:lnTo>
                  <a:close/>
                  <a:moveTo>
                    <a:pt x="140" y="107"/>
                  </a:moveTo>
                  <a:lnTo>
                    <a:pt x="140" y="107"/>
                  </a:lnTo>
                  <a:lnTo>
                    <a:pt x="140" y="105"/>
                  </a:lnTo>
                  <a:lnTo>
                    <a:pt x="140" y="105"/>
                  </a:lnTo>
                  <a:lnTo>
                    <a:pt x="138" y="105"/>
                  </a:lnTo>
                  <a:lnTo>
                    <a:pt x="138" y="105"/>
                  </a:lnTo>
                  <a:lnTo>
                    <a:pt x="138" y="105"/>
                  </a:lnTo>
                  <a:lnTo>
                    <a:pt x="138" y="107"/>
                  </a:lnTo>
                  <a:lnTo>
                    <a:pt x="140" y="107"/>
                  </a:lnTo>
                  <a:close/>
                  <a:moveTo>
                    <a:pt x="105" y="105"/>
                  </a:moveTo>
                  <a:lnTo>
                    <a:pt x="107" y="105"/>
                  </a:lnTo>
                  <a:lnTo>
                    <a:pt x="107" y="105"/>
                  </a:lnTo>
                  <a:lnTo>
                    <a:pt x="107" y="102"/>
                  </a:lnTo>
                  <a:lnTo>
                    <a:pt x="107" y="102"/>
                  </a:lnTo>
                  <a:lnTo>
                    <a:pt x="105" y="102"/>
                  </a:lnTo>
                  <a:lnTo>
                    <a:pt x="105" y="105"/>
                  </a:lnTo>
                  <a:lnTo>
                    <a:pt x="105" y="105"/>
                  </a:lnTo>
                  <a:lnTo>
                    <a:pt x="105" y="105"/>
                  </a:lnTo>
                  <a:close/>
                  <a:moveTo>
                    <a:pt x="112" y="105"/>
                  </a:moveTo>
                  <a:lnTo>
                    <a:pt x="112" y="102"/>
                  </a:lnTo>
                  <a:lnTo>
                    <a:pt x="112" y="102"/>
                  </a:lnTo>
                  <a:lnTo>
                    <a:pt x="112" y="102"/>
                  </a:lnTo>
                  <a:lnTo>
                    <a:pt x="110" y="105"/>
                  </a:lnTo>
                  <a:lnTo>
                    <a:pt x="110" y="107"/>
                  </a:lnTo>
                  <a:lnTo>
                    <a:pt x="110" y="107"/>
                  </a:lnTo>
                  <a:lnTo>
                    <a:pt x="112" y="107"/>
                  </a:lnTo>
                  <a:lnTo>
                    <a:pt x="112" y="105"/>
                  </a:lnTo>
                  <a:close/>
                  <a:moveTo>
                    <a:pt x="92" y="102"/>
                  </a:moveTo>
                  <a:lnTo>
                    <a:pt x="92" y="102"/>
                  </a:lnTo>
                  <a:lnTo>
                    <a:pt x="92" y="102"/>
                  </a:lnTo>
                  <a:lnTo>
                    <a:pt x="92" y="102"/>
                  </a:lnTo>
                  <a:lnTo>
                    <a:pt x="92" y="102"/>
                  </a:lnTo>
                  <a:lnTo>
                    <a:pt x="92" y="102"/>
                  </a:lnTo>
                  <a:lnTo>
                    <a:pt x="92" y="100"/>
                  </a:lnTo>
                  <a:lnTo>
                    <a:pt x="92" y="102"/>
                  </a:lnTo>
                  <a:close/>
                  <a:moveTo>
                    <a:pt x="89" y="100"/>
                  </a:moveTo>
                  <a:lnTo>
                    <a:pt x="92" y="97"/>
                  </a:lnTo>
                  <a:lnTo>
                    <a:pt x="92" y="97"/>
                  </a:lnTo>
                  <a:lnTo>
                    <a:pt x="92" y="95"/>
                  </a:lnTo>
                  <a:lnTo>
                    <a:pt x="92" y="95"/>
                  </a:lnTo>
                  <a:lnTo>
                    <a:pt x="89" y="95"/>
                  </a:lnTo>
                  <a:lnTo>
                    <a:pt x="89" y="97"/>
                  </a:lnTo>
                  <a:lnTo>
                    <a:pt x="89" y="97"/>
                  </a:lnTo>
                  <a:lnTo>
                    <a:pt x="89" y="100"/>
                  </a:lnTo>
                  <a:close/>
                  <a:moveTo>
                    <a:pt x="100" y="95"/>
                  </a:moveTo>
                  <a:lnTo>
                    <a:pt x="100" y="97"/>
                  </a:lnTo>
                  <a:lnTo>
                    <a:pt x="100" y="97"/>
                  </a:lnTo>
                  <a:lnTo>
                    <a:pt x="100" y="97"/>
                  </a:lnTo>
                  <a:lnTo>
                    <a:pt x="100" y="95"/>
                  </a:lnTo>
                  <a:lnTo>
                    <a:pt x="100" y="95"/>
                  </a:lnTo>
                  <a:lnTo>
                    <a:pt x="100" y="95"/>
                  </a:lnTo>
                  <a:close/>
                  <a:moveTo>
                    <a:pt x="107" y="95"/>
                  </a:moveTo>
                  <a:lnTo>
                    <a:pt x="107" y="97"/>
                  </a:lnTo>
                  <a:lnTo>
                    <a:pt x="110" y="97"/>
                  </a:lnTo>
                  <a:lnTo>
                    <a:pt x="110" y="95"/>
                  </a:lnTo>
                  <a:lnTo>
                    <a:pt x="110" y="95"/>
                  </a:lnTo>
                  <a:lnTo>
                    <a:pt x="107" y="95"/>
                  </a:lnTo>
                  <a:lnTo>
                    <a:pt x="107" y="95"/>
                  </a:lnTo>
                  <a:close/>
                  <a:moveTo>
                    <a:pt x="125" y="92"/>
                  </a:moveTo>
                  <a:lnTo>
                    <a:pt x="128" y="89"/>
                  </a:lnTo>
                  <a:lnTo>
                    <a:pt x="125" y="89"/>
                  </a:lnTo>
                  <a:lnTo>
                    <a:pt x="125" y="92"/>
                  </a:lnTo>
                  <a:lnTo>
                    <a:pt x="123" y="92"/>
                  </a:lnTo>
                  <a:lnTo>
                    <a:pt x="120" y="92"/>
                  </a:lnTo>
                  <a:lnTo>
                    <a:pt x="120" y="95"/>
                  </a:lnTo>
                  <a:lnTo>
                    <a:pt x="120" y="95"/>
                  </a:lnTo>
                  <a:lnTo>
                    <a:pt x="125" y="92"/>
                  </a:lnTo>
                  <a:lnTo>
                    <a:pt x="125" y="92"/>
                  </a:lnTo>
                  <a:close/>
                  <a:moveTo>
                    <a:pt x="102" y="92"/>
                  </a:moveTo>
                  <a:lnTo>
                    <a:pt x="105" y="92"/>
                  </a:lnTo>
                  <a:lnTo>
                    <a:pt x="105" y="95"/>
                  </a:lnTo>
                  <a:lnTo>
                    <a:pt x="107" y="92"/>
                  </a:lnTo>
                  <a:lnTo>
                    <a:pt x="105" y="92"/>
                  </a:lnTo>
                  <a:lnTo>
                    <a:pt x="102" y="89"/>
                  </a:lnTo>
                  <a:lnTo>
                    <a:pt x="102" y="89"/>
                  </a:lnTo>
                  <a:lnTo>
                    <a:pt x="102" y="89"/>
                  </a:lnTo>
                  <a:lnTo>
                    <a:pt x="102" y="89"/>
                  </a:lnTo>
                  <a:lnTo>
                    <a:pt x="102" y="92"/>
                  </a:lnTo>
                  <a:close/>
                  <a:moveTo>
                    <a:pt x="89" y="92"/>
                  </a:moveTo>
                  <a:lnTo>
                    <a:pt x="89" y="89"/>
                  </a:lnTo>
                  <a:lnTo>
                    <a:pt x="89" y="89"/>
                  </a:lnTo>
                  <a:lnTo>
                    <a:pt x="89" y="89"/>
                  </a:lnTo>
                  <a:lnTo>
                    <a:pt x="87" y="92"/>
                  </a:lnTo>
                  <a:lnTo>
                    <a:pt x="87" y="95"/>
                  </a:lnTo>
                  <a:lnTo>
                    <a:pt x="89" y="92"/>
                  </a:lnTo>
                  <a:close/>
                  <a:moveTo>
                    <a:pt x="140" y="89"/>
                  </a:moveTo>
                  <a:lnTo>
                    <a:pt x="140" y="87"/>
                  </a:lnTo>
                  <a:lnTo>
                    <a:pt x="138" y="87"/>
                  </a:lnTo>
                  <a:lnTo>
                    <a:pt x="138" y="87"/>
                  </a:lnTo>
                  <a:lnTo>
                    <a:pt x="135" y="87"/>
                  </a:lnTo>
                  <a:lnTo>
                    <a:pt x="133" y="87"/>
                  </a:lnTo>
                  <a:lnTo>
                    <a:pt x="133" y="87"/>
                  </a:lnTo>
                  <a:lnTo>
                    <a:pt x="130" y="89"/>
                  </a:lnTo>
                  <a:lnTo>
                    <a:pt x="130" y="89"/>
                  </a:lnTo>
                  <a:lnTo>
                    <a:pt x="133" y="89"/>
                  </a:lnTo>
                  <a:lnTo>
                    <a:pt x="135" y="89"/>
                  </a:lnTo>
                  <a:lnTo>
                    <a:pt x="135" y="92"/>
                  </a:lnTo>
                  <a:lnTo>
                    <a:pt x="138" y="89"/>
                  </a:lnTo>
                  <a:lnTo>
                    <a:pt x="140" y="89"/>
                  </a:lnTo>
                  <a:close/>
                  <a:moveTo>
                    <a:pt x="23" y="87"/>
                  </a:moveTo>
                  <a:lnTo>
                    <a:pt x="21" y="87"/>
                  </a:lnTo>
                  <a:lnTo>
                    <a:pt x="21" y="84"/>
                  </a:lnTo>
                  <a:lnTo>
                    <a:pt x="18" y="87"/>
                  </a:lnTo>
                  <a:lnTo>
                    <a:pt x="21" y="87"/>
                  </a:lnTo>
                  <a:lnTo>
                    <a:pt x="21" y="89"/>
                  </a:lnTo>
                  <a:lnTo>
                    <a:pt x="23" y="89"/>
                  </a:lnTo>
                  <a:lnTo>
                    <a:pt x="26" y="89"/>
                  </a:lnTo>
                  <a:lnTo>
                    <a:pt x="26" y="89"/>
                  </a:lnTo>
                  <a:lnTo>
                    <a:pt x="23" y="87"/>
                  </a:lnTo>
                  <a:lnTo>
                    <a:pt x="23" y="87"/>
                  </a:lnTo>
                  <a:close/>
                  <a:moveTo>
                    <a:pt x="102" y="87"/>
                  </a:moveTo>
                  <a:lnTo>
                    <a:pt x="100" y="87"/>
                  </a:lnTo>
                  <a:lnTo>
                    <a:pt x="100" y="87"/>
                  </a:lnTo>
                  <a:lnTo>
                    <a:pt x="100" y="84"/>
                  </a:lnTo>
                  <a:lnTo>
                    <a:pt x="97" y="84"/>
                  </a:lnTo>
                  <a:lnTo>
                    <a:pt x="97" y="82"/>
                  </a:lnTo>
                  <a:lnTo>
                    <a:pt x="97" y="82"/>
                  </a:lnTo>
                  <a:lnTo>
                    <a:pt x="95" y="84"/>
                  </a:lnTo>
                  <a:lnTo>
                    <a:pt x="95" y="84"/>
                  </a:lnTo>
                  <a:lnTo>
                    <a:pt x="97" y="84"/>
                  </a:lnTo>
                  <a:lnTo>
                    <a:pt x="97" y="87"/>
                  </a:lnTo>
                  <a:lnTo>
                    <a:pt x="100" y="87"/>
                  </a:lnTo>
                  <a:lnTo>
                    <a:pt x="100" y="89"/>
                  </a:lnTo>
                  <a:lnTo>
                    <a:pt x="102" y="87"/>
                  </a:lnTo>
                  <a:close/>
                  <a:moveTo>
                    <a:pt x="72" y="82"/>
                  </a:moveTo>
                  <a:lnTo>
                    <a:pt x="72" y="82"/>
                  </a:lnTo>
                  <a:lnTo>
                    <a:pt x="72" y="84"/>
                  </a:lnTo>
                  <a:lnTo>
                    <a:pt x="72" y="84"/>
                  </a:lnTo>
                  <a:lnTo>
                    <a:pt x="72" y="84"/>
                  </a:lnTo>
                  <a:lnTo>
                    <a:pt x="72" y="84"/>
                  </a:lnTo>
                  <a:lnTo>
                    <a:pt x="74" y="84"/>
                  </a:lnTo>
                  <a:lnTo>
                    <a:pt x="74" y="84"/>
                  </a:lnTo>
                  <a:lnTo>
                    <a:pt x="74" y="84"/>
                  </a:lnTo>
                  <a:lnTo>
                    <a:pt x="74" y="82"/>
                  </a:lnTo>
                  <a:lnTo>
                    <a:pt x="72" y="82"/>
                  </a:lnTo>
                  <a:close/>
                  <a:moveTo>
                    <a:pt x="21" y="79"/>
                  </a:moveTo>
                  <a:lnTo>
                    <a:pt x="23" y="79"/>
                  </a:lnTo>
                  <a:lnTo>
                    <a:pt x="21" y="77"/>
                  </a:lnTo>
                  <a:lnTo>
                    <a:pt x="18" y="77"/>
                  </a:lnTo>
                  <a:lnTo>
                    <a:pt x="18" y="74"/>
                  </a:lnTo>
                  <a:lnTo>
                    <a:pt x="18" y="72"/>
                  </a:lnTo>
                  <a:lnTo>
                    <a:pt x="18" y="72"/>
                  </a:lnTo>
                  <a:lnTo>
                    <a:pt x="18" y="74"/>
                  </a:lnTo>
                  <a:lnTo>
                    <a:pt x="16" y="74"/>
                  </a:lnTo>
                  <a:lnTo>
                    <a:pt x="16" y="74"/>
                  </a:lnTo>
                  <a:lnTo>
                    <a:pt x="16" y="74"/>
                  </a:lnTo>
                  <a:lnTo>
                    <a:pt x="16" y="74"/>
                  </a:lnTo>
                  <a:lnTo>
                    <a:pt x="13" y="77"/>
                  </a:lnTo>
                  <a:lnTo>
                    <a:pt x="13" y="79"/>
                  </a:lnTo>
                  <a:lnTo>
                    <a:pt x="16" y="79"/>
                  </a:lnTo>
                  <a:lnTo>
                    <a:pt x="16" y="77"/>
                  </a:lnTo>
                  <a:lnTo>
                    <a:pt x="16" y="77"/>
                  </a:lnTo>
                  <a:lnTo>
                    <a:pt x="16" y="79"/>
                  </a:lnTo>
                  <a:lnTo>
                    <a:pt x="16" y="79"/>
                  </a:lnTo>
                  <a:lnTo>
                    <a:pt x="18" y="79"/>
                  </a:lnTo>
                  <a:lnTo>
                    <a:pt x="18" y="79"/>
                  </a:lnTo>
                  <a:lnTo>
                    <a:pt x="18" y="79"/>
                  </a:lnTo>
                  <a:lnTo>
                    <a:pt x="21" y="82"/>
                  </a:lnTo>
                  <a:lnTo>
                    <a:pt x="21" y="79"/>
                  </a:lnTo>
                  <a:close/>
                  <a:moveTo>
                    <a:pt x="21" y="72"/>
                  </a:moveTo>
                  <a:lnTo>
                    <a:pt x="18" y="72"/>
                  </a:lnTo>
                  <a:lnTo>
                    <a:pt x="18" y="72"/>
                  </a:lnTo>
                  <a:lnTo>
                    <a:pt x="18" y="74"/>
                  </a:lnTo>
                  <a:lnTo>
                    <a:pt x="21" y="74"/>
                  </a:lnTo>
                  <a:lnTo>
                    <a:pt x="21" y="74"/>
                  </a:lnTo>
                  <a:lnTo>
                    <a:pt x="21" y="74"/>
                  </a:lnTo>
                  <a:lnTo>
                    <a:pt x="21" y="74"/>
                  </a:lnTo>
                  <a:lnTo>
                    <a:pt x="21" y="72"/>
                  </a:lnTo>
                  <a:lnTo>
                    <a:pt x="21" y="72"/>
                  </a:lnTo>
                  <a:lnTo>
                    <a:pt x="21" y="72"/>
                  </a:lnTo>
                  <a:close/>
                  <a:moveTo>
                    <a:pt x="120" y="69"/>
                  </a:moveTo>
                  <a:lnTo>
                    <a:pt x="120" y="69"/>
                  </a:lnTo>
                  <a:lnTo>
                    <a:pt x="115" y="69"/>
                  </a:lnTo>
                  <a:lnTo>
                    <a:pt x="115" y="72"/>
                  </a:lnTo>
                  <a:lnTo>
                    <a:pt x="117" y="74"/>
                  </a:lnTo>
                  <a:lnTo>
                    <a:pt x="120" y="74"/>
                  </a:lnTo>
                  <a:lnTo>
                    <a:pt x="117" y="77"/>
                  </a:lnTo>
                  <a:lnTo>
                    <a:pt x="117" y="77"/>
                  </a:lnTo>
                  <a:lnTo>
                    <a:pt x="117" y="77"/>
                  </a:lnTo>
                  <a:lnTo>
                    <a:pt x="120" y="79"/>
                  </a:lnTo>
                  <a:lnTo>
                    <a:pt x="120" y="77"/>
                  </a:lnTo>
                  <a:lnTo>
                    <a:pt x="120" y="77"/>
                  </a:lnTo>
                  <a:lnTo>
                    <a:pt x="123" y="77"/>
                  </a:lnTo>
                  <a:lnTo>
                    <a:pt x="123" y="77"/>
                  </a:lnTo>
                  <a:lnTo>
                    <a:pt x="123" y="72"/>
                  </a:lnTo>
                  <a:lnTo>
                    <a:pt x="123" y="72"/>
                  </a:lnTo>
                  <a:lnTo>
                    <a:pt x="123" y="69"/>
                  </a:lnTo>
                  <a:lnTo>
                    <a:pt x="120" y="69"/>
                  </a:lnTo>
                  <a:close/>
                  <a:moveTo>
                    <a:pt x="21" y="64"/>
                  </a:moveTo>
                  <a:lnTo>
                    <a:pt x="18" y="64"/>
                  </a:lnTo>
                  <a:lnTo>
                    <a:pt x="18" y="64"/>
                  </a:lnTo>
                  <a:lnTo>
                    <a:pt x="18" y="67"/>
                  </a:lnTo>
                  <a:lnTo>
                    <a:pt x="18" y="69"/>
                  </a:lnTo>
                  <a:lnTo>
                    <a:pt x="18" y="69"/>
                  </a:lnTo>
                  <a:lnTo>
                    <a:pt x="18" y="69"/>
                  </a:lnTo>
                  <a:lnTo>
                    <a:pt x="18" y="69"/>
                  </a:lnTo>
                  <a:lnTo>
                    <a:pt x="21" y="69"/>
                  </a:lnTo>
                  <a:lnTo>
                    <a:pt x="21" y="69"/>
                  </a:lnTo>
                  <a:lnTo>
                    <a:pt x="21" y="64"/>
                  </a:lnTo>
                  <a:lnTo>
                    <a:pt x="21" y="64"/>
                  </a:lnTo>
                  <a:close/>
                  <a:moveTo>
                    <a:pt x="92" y="61"/>
                  </a:moveTo>
                  <a:lnTo>
                    <a:pt x="92" y="61"/>
                  </a:lnTo>
                  <a:lnTo>
                    <a:pt x="89" y="59"/>
                  </a:lnTo>
                  <a:lnTo>
                    <a:pt x="89" y="61"/>
                  </a:lnTo>
                  <a:lnTo>
                    <a:pt x="89" y="61"/>
                  </a:lnTo>
                  <a:lnTo>
                    <a:pt x="92" y="64"/>
                  </a:lnTo>
                  <a:lnTo>
                    <a:pt x="92" y="64"/>
                  </a:lnTo>
                  <a:lnTo>
                    <a:pt x="92" y="64"/>
                  </a:lnTo>
                  <a:lnTo>
                    <a:pt x="92" y="64"/>
                  </a:lnTo>
                  <a:lnTo>
                    <a:pt x="95" y="64"/>
                  </a:lnTo>
                  <a:lnTo>
                    <a:pt x="92" y="61"/>
                  </a:lnTo>
                  <a:close/>
                  <a:moveTo>
                    <a:pt x="72" y="64"/>
                  </a:moveTo>
                  <a:lnTo>
                    <a:pt x="69" y="61"/>
                  </a:lnTo>
                  <a:lnTo>
                    <a:pt x="69" y="59"/>
                  </a:lnTo>
                  <a:lnTo>
                    <a:pt x="66" y="59"/>
                  </a:lnTo>
                  <a:lnTo>
                    <a:pt x="64" y="59"/>
                  </a:lnTo>
                  <a:lnTo>
                    <a:pt x="61" y="61"/>
                  </a:lnTo>
                  <a:lnTo>
                    <a:pt x="61" y="61"/>
                  </a:lnTo>
                  <a:lnTo>
                    <a:pt x="61" y="64"/>
                  </a:lnTo>
                  <a:lnTo>
                    <a:pt x="61" y="64"/>
                  </a:lnTo>
                  <a:lnTo>
                    <a:pt x="64" y="61"/>
                  </a:lnTo>
                  <a:lnTo>
                    <a:pt x="66" y="64"/>
                  </a:lnTo>
                  <a:lnTo>
                    <a:pt x="66" y="64"/>
                  </a:lnTo>
                  <a:lnTo>
                    <a:pt x="69" y="67"/>
                  </a:lnTo>
                  <a:lnTo>
                    <a:pt x="72" y="67"/>
                  </a:lnTo>
                  <a:lnTo>
                    <a:pt x="72" y="69"/>
                  </a:lnTo>
                  <a:lnTo>
                    <a:pt x="74" y="69"/>
                  </a:lnTo>
                  <a:lnTo>
                    <a:pt x="74" y="69"/>
                  </a:lnTo>
                  <a:lnTo>
                    <a:pt x="74" y="72"/>
                  </a:lnTo>
                  <a:lnTo>
                    <a:pt x="77" y="74"/>
                  </a:lnTo>
                  <a:lnTo>
                    <a:pt x="79" y="74"/>
                  </a:lnTo>
                  <a:lnTo>
                    <a:pt x="82" y="74"/>
                  </a:lnTo>
                  <a:lnTo>
                    <a:pt x="82" y="74"/>
                  </a:lnTo>
                  <a:lnTo>
                    <a:pt x="82" y="74"/>
                  </a:lnTo>
                  <a:lnTo>
                    <a:pt x="84" y="74"/>
                  </a:lnTo>
                  <a:lnTo>
                    <a:pt x="84" y="77"/>
                  </a:lnTo>
                  <a:lnTo>
                    <a:pt x="84" y="77"/>
                  </a:lnTo>
                  <a:lnTo>
                    <a:pt x="84" y="79"/>
                  </a:lnTo>
                  <a:lnTo>
                    <a:pt x="87" y="79"/>
                  </a:lnTo>
                  <a:lnTo>
                    <a:pt x="87" y="82"/>
                  </a:lnTo>
                  <a:lnTo>
                    <a:pt x="89" y="82"/>
                  </a:lnTo>
                  <a:lnTo>
                    <a:pt x="89" y="82"/>
                  </a:lnTo>
                  <a:lnTo>
                    <a:pt x="89" y="82"/>
                  </a:lnTo>
                  <a:lnTo>
                    <a:pt x="92" y="82"/>
                  </a:lnTo>
                  <a:lnTo>
                    <a:pt x="92" y="84"/>
                  </a:lnTo>
                  <a:lnTo>
                    <a:pt x="92" y="82"/>
                  </a:lnTo>
                  <a:lnTo>
                    <a:pt x="92" y="82"/>
                  </a:lnTo>
                  <a:lnTo>
                    <a:pt x="92" y="79"/>
                  </a:lnTo>
                  <a:lnTo>
                    <a:pt x="92" y="79"/>
                  </a:lnTo>
                  <a:lnTo>
                    <a:pt x="89" y="79"/>
                  </a:lnTo>
                  <a:lnTo>
                    <a:pt x="89" y="79"/>
                  </a:lnTo>
                  <a:lnTo>
                    <a:pt x="87" y="77"/>
                  </a:lnTo>
                  <a:lnTo>
                    <a:pt x="87" y="74"/>
                  </a:lnTo>
                  <a:lnTo>
                    <a:pt x="84" y="72"/>
                  </a:lnTo>
                  <a:lnTo>
                    <a:pt x="84" y="72"/>
                  </a:lnTo>
                  <a:lnTo>
                    <a:pt x="84" y="69"/>
                  </a:lnTo>
                  <a:lnTo>
                    <a:pt x="84" y="69"/>
                  </a:lnTo>
                  <a:lnTo>
                    <a:pt x="84" y="67"/>
                  </a:lnTo>
                  <a:lnTo>
                    <a:pt x="84" y="67"/>
                  </a:lnTo>
                  <a:lnTo>
                    <a:pt x="79" y="67"/>
                  </a:lnTo>
                  <a:lnTo>
                    <a:pt x="77" y="64"/>
                  </a:lnTo>
                  <a:lnTo>
                    <a:pt x="74" y="64"/>
                  </a:lnTo>
                  <a:lnTo>
                    <a:pt x="72" y="64"/>
                  </a:lnTo>
                  <a:lnTo>
                    <a:pt x="72" y="64"/>
                  </a:lnTo>
                  <a:close/>
                  <a:moveTo>
                    <a:pt x="77" y="59"/>
                  </a:moveTo>
                  <a:lnTo>
                    <a:pt x="77" y="56"/>
                  </a:lnTo>
                  <a:lnTo>
                    <a:pt x="74" y="54"/>
                  </a:lnTo>
                  <a:lnTo>
                    <a:pt x="74" y="56"/>
                  </a:lnTo>
                  <a:lnTo>
                    <a:pt x="77" y="59"/>
                  </a:lnTo>
                  <a:close/>
                  <a:moveTo>
                    <a:pt x="79" y="54"/>
                  </a:moveTo>
                  <a:lnTo>
                    <a:pt x="79" y="54"/>
                  </a:lnTo>
                  <a:lnTo>
                    <a:pt x="77" y="56"/>
                  </a:lnTo>
                  <a:lnTo>
                    <a:pt x="79" y="56"/>
                  </a:lnTo>
                  <a:lnTo>
                    <a:pt x="79" y="54"/>
                  </a:lnTo>
                  <a:lnTo>
                    <a:pt x="79" y="54"/>
                  </a:lnTo>
                  <a:close/>
                  <a:moveTo>
                    <a:pt x="125" y="51"/>
                  </a:moveTo>
                  <a:lnTo>
                    <a:pt x="125" y="51"/>
                  </a:lnTo>
                  <a:lnTo>
                    <a:pt x="120" y="51"/>
                  </a:lnTo>
                  <a:lnTo>
                    <a:pt x="120" y="51"/>
                  </a:lnTo>
                  <a:lnTo>
                    <a:pt x="120" y="54"/>
                  </a:lnTo>
                  <a:lnTo>
                    <a:pt x="117" y="54"/>
                  </a:lnTo>
                  <a:lnTo>
                    <a:pt x="117" y="54"/>
                  </a:lnTo>
                  <a:lnTo>
                    <a:pt x="115" y="54"/>
                  </a:lnTo>
                  <a:lnTo>
                    <a:pt x="115" y="56"/>
                  </a:lnTo>
                  <a:lnTo>
                    <a:pt x="117" y="56"/>
                  </a:lnTo>
                  <a:lnTo>
                    <a:pt x="120" y="56"/>
                  </a:lnTo>
                  <a:lnTo>
                    <a:pt x="120" y="56"/>
                  </a:lnTo>
                  <a:lnTo>
                    <a:pt x="123" y="54"/>
                  </a:lnTo>
                  <a:lnTo>
                    <a:pt x="123" y="56"/>
                  </a:lnTo>
                  <a:lnTo>
                    <a:pt x="120" y="59"/>
                  </a:lnTo>
                  <a:lnTo>
                    <a:pt x="120" y="59"/>
                  </a:lnTo>
                  <a:lnTo>
                    <a:pt x="125" y="59"/>
                  </a:lnTo>
                  <a:lnTo>
                    <a:pt x="128" y="59"/>
                  </a:lnTo>
                  <a:lnTo>
                    <a:pt x="128" y="59"/>
                  </a:lnTo>
                  <a:lnTo>
                    <a:pt x="128" y="59"/>
                  </a:lnTo>
                  <a:lnTo>
                    <a:pt x="128" y="59"/>
                  </a:lnTo>
                  <a:lnTo>
                    <a:pt x="128" y="59"/>
                  </a:lnTo>
                  <a:lnTo>
                    <a:pt x="130" y="59"/>
                  </a:lnTo>
                  <a:lnTo>
                    <a:pt x="130" y="59"/>
                  </a:lnTo>
                  <a:lnTo>
                    <a:pt x="128" y="56"/>
                  </a:lnTo>
                  <a:lnTo>
                    <a:pt x="128" y="56"/>
                  </a:lnTo>
                  <a:lnTo>
                    <a:pt x="125" y="54"/>
                  </a:lnTo>
                  <a:lnTo>
                    <a:pt x="125" y="51"/>
                  </a:lnTo>
                  <a:close/>
                  <a:moveTo>
                    <a:pt x="8" y="49"/>
                  </a:moveTo>
                  <a:lnTo>
                    <a:pt x="5" y="49"/>
                  </a:lnTo>
                  <a:lnTo>
                    <a:pt x="5" y="49"/>
                  </a:lnTo>
                  <a:lnTo>
                    <a:pt x="5" y="46"/>
                  </a:lnTo>
                  <a:lnTo>
                    <a:pt x="5" y="46"/>
                  </a:lnTo>
                  <a:lnTo>
                    <a:pt x="3" y="44"/>
                  </a:lnTo>
                  <a:lnTo>
                    <a:pt x="3" y="44"/>
                  </a:lnTo>
                  <a:lnTo>
                    <a:pt x="5" y="44"/>
                  </a:lnTo>
                  <a:lnTo>
                    <a:pt x="5" y="41"/>
                  </a:lnTo>
                  <a:lnTo>
                    <a:pt x="3" y="41"/>
                  </a:lnTo>
                  <a:lnTo>
                    <a:pt x="3" y="41"/>
                  </a:lnTo>
                  <a:lnTo>
                    <a:pt x="0" y="41"/>
                  </a:lnTo>
                  <a:lnTo>
                    <a:pt x="0" y="41"/>
                  </a:lnTo>
                  <a:lnTo>
                    <a:pt x="0" y="44"/>
                  </a:lnTo>
                  <a:lnTo>
                    <a:pt x="3" y="46"/>
                  </a:lnTo>
                  <a:lnTo>
                    <a:pt x="3" y="49"/>
                  </a:lnTo>
                  <a:lnTo>
                    <a:pt x="5" y="51"/>
                  </a:lnTo>
                  <a:lnTo>
                    <a:pt x="8" y="51"/>
                  </a:lnTo>
                  <a:lnTo>
                    <a:pt x="8" y="49"/>
                  </a:lnTo>
                  <a:lnTo>
                    <a:pt x="8" y="49"/>
                  </a:lnTo>
                  <a:close/>
                  <a:moveTo>
                    <a:pt x="102" y="41"/>
                  </a:moveTo>
                  <a:lnTo>
                    <a:pt x="102" y="39"/>
                  </a:lnTo>
                  <a:lnTo>
                    <a:pt x="102" y="39"/>
                  </a:lnTo>
                  <a:lnTo>
                    <a:pt x="102" y="41"/>
                  </a:lnTo>
                  <a:lnTo>
                    <a:pt x="105" y="41"/>
                  </a:lnTo>
                  <a:lnTo>
                    <a:pt x="105" y="41"/>
                  </a:lnTo>
                  <a:lnTo>
                    <a:pt x="105" y="41"/>
                  </a:lnTo>
                  <a:lnTo>
                    <a:pt x="105" y="39"/>
                  </a:lnTo>
                  <a:lnTo>
                    <a:pt x="105" y="39"/>
                  </a:lnTo>
                  <a:lnTo>
                    <a:pt x="105" y="39"/>
                  </a:lnTo>
                  <a:lnTo>
                    <a:pt x="105" y="36"/>
                  </a:lnTo>
                  <a:lnTo>
                    <a:pt x="105" y="39"/>
                  </a:lnTo>
                  <a:lnTo>
                    <a:pt x="102" y="39"/>
                  </a:lnTo>
                  <a:lnTo>
                    <a:pt x="100" y="36"/>
                  </a:lnTo>
                  <a:lnTo>
                    <a:pt x="100" y="39"/>
                  </a:lnTo>
                  <a:lnTo>
                    <a:pt x="100" y="39"/>
                  </a:lnTo>
                  <a:lnTo>
                    <a:pt x="100" y="41"/>
                  </a:lnTo>
                  <a:lnTo>
                    <a:pt x="102" y="41"/>
                  </a:lnTo>
                  <a:lnTo>
                    <a:pt x="102" y="41"/>
                  </a:lnTo>
                  <a:lnTo>
                    <a:pt x="102" y="41"/>
                  </a:lnTo>
                  <a:close/>
                  <a:moveTo>
                    <a:pt x="107" y="36"/>
                  </a:moveTo>
                  <a:lnTo>
                    <a:pt x="105" y="39"/>
                  </a:lnTo>
                  <a:lnTo>
                    <a:pt x="105" y="39"/>
                  </a:lnTo>
                  <a:lnTo>
                    <a:pt x="107" y="39"/>
                  </a:lnTo>
                  <a:lnTo>
                    <a:pt x="107" y="36"/>
                  </a:lnTo>
                  <a:close/>
                  <a:moveTo>
                    <a:pt x="110" y="28"/>
                  </a:moveTo>
                  <a:lnTo>
                    <a:pt x="110" y="28"/>
                  </a:lnTo>
                  <a:lnTo>
                    <a:pt x="110" y="28"/>
                  </a:lnTo>
                  <a:lnTo>
                    <a:pt x="107" y="26"/>
                  </a:lnTo>
                  <a:lnTo>
                    <a:pt x="107" y="28"/>
                  </a:lnTo>
                  <a:lnTo>
                    <a:pt x="107" y="28"/>
                  </a:lnTo>
                  <a:lnTo>
                    <a:pt x="110" y="28"/>
                  </a:lnTo>
                  <a:close/>
                  <a:moveTo>
                    <a:pt x="92" y="23"/>
                  </a:moveTo>
                  <a:lnTo>
                    <a:pt x="92" y="21"/>
                  </a:lnTo>
                  <a:lnTo>
                    <a:pt x="89" y="21"/>
                  </a:lnTo>
                  <a:lnTo>
                    <a:pt x="89" y="21"/>
                  </a:lnTo>
                  <a:lnTo>
                    <a:pt x="89" y="23"/>
                  </a:lnTo>
                  <a:lnTo>
                    <a:pt x="89" y="23"/>
                  </a:lnTo>
                  <a:lnTo>
                    <a:pt x="92" y="26"/>
                  </a:lnTo>
                  <a:lnTo>
                    <a:pt x="95" y="26"/>
                  </a:lnTo>
                  <a:lnTo>
                    <a:pt x="92" y="23"/>
                  </a:lnTo>
                  <a:lnTo>
                    <a:pt x="95" y="23"/>
                  </a:lnTo>
                  <a:lnTo>
                    <a:pt x="92" y="23"/>
                  </a:lnTo>
                  <a:close/>
                  <a:moveTo>
                    <a:pt x="79" y="87"/>
                  </a:moveTo>
                  <a:lnTo>
                    <a:pt x="82" y="89"/>
                  </a:lnTo>
                  <a:lnTo>
                    <a:pt x="82" y="89"/>
                  </a:lnTo>
                  <a:lnTo>
                    <a:pt x="84" y="89"/>
                  </a:lnTo>
                  <a:lnTo>
                    <a:pt x="84" y="87"/>
                  </a:lnTo>
                  <a:lnTo>
                    <a:pt x="84" y="87"/>
                  </a:lnTo>
                  <a:lnTo>
                    <a:pt x="82" y="84"/>
                  </a:lnTo>
                  <a:lnTo>
                    <a:pt x="82" y="79"/>
                  </a:lnTo>
                  <a:lnTo>
                    <a:pt x="82" y="77"/>
                  </a:lnTo>
                  <a:lnTo>
                    <a:pt x="82" y="77"/>
                  </a:lnTo>
                  <a:lnTo>
                    <a:pt x="79" y="74"/>
                  </a:lnTo>
                  <a:lnTo>
                    <a:pt x="77" y="74"/>
                  </a:lnTo>
                  <a:lnTo>
                    <a:pt x="74" y="72"/>
                  </a:lnTo>
                  <a:lnTo>
                    <a:pt x="69" y="72"/>
                  </a:lnTo>
                  <a:lnTo>
                    <a:pt x="66" y="67"/>
                  </a:lnTo>
                  <a:lnTo>
                    <a:pt x="66" y="67"/>
                  </a:lnTo>
                  <a:lnTo>
                    <a:pt x="64" y="67"/>
                  </a:lnTo>
                  <a:lnTo>
                    <a:pt x="59" y="64"/>
                  </a:lnTo>
                  <a:lnTo>
                    <a:pt x="56" y="64"/>
                  </a:lnTo>
                  <a:lnTo>
                    <a:pt x="56" y="64"/>
                  </a:lnTo>
                  <a:lnTo>
                    <a:pt x="54" y="61"/>
                  </a:lnTo>
                  <a:lnTo>
                    <a:pt x="54" y="61"/>
                  </a:lnTo>
                  <a:lnTo>
                    <a:pt x="56" y="61"/>
                  </a:lnTo>
                  <a:lnTo>
                    <a:pt x="59" y="61"/>
                  </a:lnTo>
                  <a:lnTo>
                    <a:pt x="61" y="61"/>
                  </a:lnTo>
                  <a:lnTo>
                    <a:pt x="64" y="59"/>
                  </a:lnTo>
                  <a:lnTo>
                    <a:pt x="61" y="59"/>
                  </a:lnTo>
                  <a:lnTo>
                    <a:pt x="61" y="56"/>
                  </a:lnTo>
                  <a:lnTo>
                    <a:pt x="59" y="56"/>
                  </a:lnTo>
                  <a:lnTo>
                    <a:pt x="59" y="54"/>
                  </a:lnTo>
                  <a:lnTo>
                    <a:pt x="61" y="54"/>
                  </a:lnTo>
                  <a:lnTo>
                    <a:pt x="61" y="51"/>
                  </a:lnTo>
                  <a:lnTo>
                    <a:pt x="64" y="54"/>
                  </a:lnTo>
                  <a:lnTo>
                    <a:pt x="66" y="54"/>
                  </a:lnTo>
                  <a:lnTo>
                    <a:pt x="64" y="56"/>
                  </a:lnTo>
                  <a:lnTo>
                    <a:pt x="64" y="56"/>
                  </a:lnTo>
                  <a:lnTo>
                    <a:pt x="66" y="56"/>
                  </a:lnTo>
                  <a:lnTo>
                    <a:pt x="69" y="56"/>
                  </a:lnTo>
                  <a:lnTo>
                    <a:pt x="66" y="54"/>
                  </a:lnTo>
                  <a:lnTo>
                    <a:pt x="66" y="51"/>
                  </a:lnTo>
                  <a:lnTo>
                    <a:pt x="64" y="49"/>
                  </a:lnTo>
                  <a:lnTo>
                    <a:pt x="61" y="46"/>
                  </a:lnTo>
                  <a:lnTo>
                    <a:pt x="61" y="46"/>
                  </a:lnTo>
                  <a:lnTo>
                    <a:pt x="59" y="41"/>
                  </a:lnTo>
                  <a:lnTo>
                    <a:pt x="54" y="39"/>
                  </a:lnTo>
                  <a:lnTo>
                    <a:pt x="54" y="36"/>
                  </a:lnTo>
                  <a:lnTo>
                    <a:pt x="54" y="34"/>
                  </a:lnTo>
                  <a:lnTo>
                    <a:pt x="54" y="31"/>
                  </a:lnTo>
                  <a:lnTo>
                    <a:pt x="54" y="28"/>
                  </a:lnTo>
                  <a:lnTo>
                    <a:pt x="54" y="28"/>
                  </a:lnTo>
                  <a:lnTo>
                    <a:pt x="56" y="26"/>
                  </a:lnTo>
                  <a:lnTo>
                    <a:pt x="56" y="26"/>
                  </a:lnTo>
                  <a:lnTo>
                    <a:pt x="59" y="26"/>
                  </a:lnTo>
                  <a:lnTo>
                    <a:pt x="59" y="26"/>
                  </a:lnTo>
                  <a:lnTo>
                    <a:pt x="59" y="28"/>
                  </a:lnTo>
                  <a:lnTo>
                    <a:pt x="59" y="31"/>
                  </a:lnTo>
                  <a:lnTo>
                    <a:pt x="64" y="31"/>
                  </a:lnTo>
                  <a:lnTo>
                    <a:pt x="66" y="34"/>
                  </a:lnTo>
                  <a:lnTo>
                    <a:pt x="66" y="36"/>
                  </a:lnTo>
                  <a:lnTo>
                    <a:pt x="69" y="36"/>
                  </a:lnTo>
                  <a:lnTo>
                    <a:pt x="74" y="39"/>
                  </a:lnTo>
                  <a:lnTo>
                    <a:pt x="74" y="39"/>
                  </a:lnTo>
                  <a:lnTo>
                    <a:pt x="74" y="39"/>
                  </a:lnTo>
                  <a:lnTo>
                    <a:pt x="69" y="36"/>
                  </a:lnTo>
                  <a:lnTo>
                    <a:pt x="69" y="36"/>
                  </a:lnTo>
                  <a:lnTo>
                    <a:pt x="69" y="34"/>
                  </a:lnTo>
                  <a:lnTo>
                    <a:pt x="69" y="34"/>
                  </a:lnTo>
                  <a:lnTo>
                    <a:pt x="74" y="34"/>
                  </a:lnTo>
                  <a:lnTo>
                    <a:pt x="77" y="39"/>
                  </a:lnTo>
                  <a:lnTo>
                    <a:pt x="79" y="39"/>
                  </a:lnTo>
                  <a:lnTo>
                    <a:pt x="79" y="36"/>
                  </a:lnTo>
                  <a:lnTo>
                    <a:pt x="79" y="36"/>
                  </a:lnTo>
                  <a:lnTo>
                    <a:pt x="79" y="36"/>
                  </a:lnTo>
                  <a:lnTo>
                    <a:pt x="77" y="34"/>
                  </a:lnTo>
                  <a:lnTo>
                    <a:pt x="74" y="34"/>
                  </a:lnTo>
                  <a:lnTo>
                    <a:pt x="74" y="31"/>
                  </a:lnTo>
                  <a:lnTo>
                    <a:pt x="77" y="31"/>
                  </a:lnTo>
                  <a:lnTo>
                    <a:pt x="77" y="31"/>
                  </a:lnTo>
                  <a:lnTo>
                    <a:pt x="79" y="31"/>
                  </a:lnTo>
                  <a:lnTo>
                    <a:pt x="82" y="34"/>
                  </a:lnTo>
                  <a:lnTo>
                    <a:pt x="84" y="34"/>
                  </a:lnTo>
                  <a:lnTo>
                    <a:pt x="87" y="36"/>
                  </a:lnTo>
                  <a:lnTo>
                    <a:pt x="84" y="34"/>
                  </a:lnTo>
                  <a:lnTo>
                    <a:pt x="84" y="31"/>
                  </a:lnTo>
                  <a:lnTo>
                    <a:pt x="79" y="28"/>
                  </a:lnTo>
                  <a:lnTo>
                    <a:pt x="79" y="28"/>
                  </a:lnTo>
                  <a:lnTo>
                    <a:pt x="77" y="28"/>
                  </a:lnTo>
                  <a:lnTo>
                    <a:pt x="77" y="28"/>
                  </a:lnTo>
                  <a:lnTo>
                    <a:pt x="77" y="26"/>
                  </a:lnTo>
                  <a:lnTo>
                    <a:pt x="74" y="23"/>
                  </a:lnTo>
                  <a:lnTo>
                    <a:pt x="74" y="23"/>
                  </a:lnTo>
                  <a:lnTo>
                    <a:pt x="74" y="21"/>
                  </a:lnTo>
                  <a:lnTo>
                    <a:pt x="77" y="21"/>
                  </a:lnTo>
                  <a:lnTo>
                    <a:pt x="79" y="23"/>
                  </a:lnTo>
                  <a:lnTo>
                    <a:pt x="84" y="21"/>
                  </a:lnTo>
                  <a:lnTo>
                    <a:pt x="87" y="18"/>
                  </a:lnTo>
                  <a:lnTo>
                    <a:pt x="87" y="18"/>
                  </a:lnTo>
                  <a:lnTo>
                    <a:pt x="89" y="18"/>
                  </a:lnTo>
                  <a:lnTo>
                    <a:pt x="92" y="18"/>
                  </a:lnTo>
                  <a:lnTo>
                    <a:pt x="95" y="18"/>
                  </a:lnTo>
                  <a:lnTo>
                    <a:pt x="97" y="18"/>
                  </a:lnTo>
                  <a:lnTo>
                    <a:pt x="100" y="16"/>
                  </a:lnTo>
                  <a:lnTo>
                    <a:pt x="102" y="18"/>
                  </a:lnTo>
                  <a:lnTo>
                    <a:pt x="102" y="18"/>
                  </a:lnTo>
                  <a:lnTo>
                    <a:pt x="107" y="18"/>
                  </a:lnTo>
                  <a:lnTo>
                    <a:pt x="112" y="21"/>
                  </a:lnTo>
                  <a:lnTo>
                    <a:pt x="115" y="21"/>
                  </a:lnTo>
                  <a:lnTo>
                    <a:pt x="117" y="23"/>
                  </a:lnTo>
                  <a:lnTo>
                    <a:pt x="117" y="23"/>
                  </a:lnTo>
                  <a:lnTo>
                    <a:pt x="117" y="21"/>
                  </a:lnTo>
                  <a:lnTo>
                    <a:pt x="120" y="21"/>
                  </a:lnTo>
                  <a:lnTo>
                    <a:pt x="120" y="18"/>
                  </a:lnTo>
                  <a:lnTo>
                    <a:pt x="123" y="18"/>
                  </a:lnTo>
                  <a:lnTo>
                    <a:pt x="123" y="16"/>
                  </a:lnTo>
                  <a:lnTo>
                    <a:pt x="123" y="16"/>
                  </a:lnTo>
                  <a:lnTo>
                    <a:pt x="123" y="16"/>
                  </a:lnTo>
                  <a:lnTo>
                    <a:pt x="123" y="13"/>
                  </a:lnTo>
                  <a:lnTo>
                    <a:pt x="120" y="13"/>
                  </a:lnTo>
                  <a:lnTo>
                    <a:pt x="120" y="11"/>
                  </a:lnTo>
                  <a:lnTo>
                    <a:pt x="125" y="8"/>
                  </a:lnTo>
                  <a:lnTo>
                    <a:pt x="125" y="8"/>
                  </a:lnTo>
                  <a:lnTo>
                    <a:pt x="125" y="8"/>
                  </a:lnTo>
                  <a:lnTo>
                    <a:pt x="125" y="6"/>
                  </a:lnTo>
                  <a:lnTo>
                    <a:pt x="125" y="3"/>
                  </a:lnTo>
                  <a:lnTo>
                    <a:pt x="125" y="3"/>
                  </a:lnTo>
                  <a:lnTo>
                    <a:pt x="123" y="3"/>
                  </a:lnTo>
                  <a:lnTo>
                    <a:pt x="123" y="0"/>
                  </a:lnTo>
                  <a:lnTo>
                    <a:pt x="123" y="0"/>
                  </a:lnTo>
                  <a:lnTo>
                    <a:pt x="120" y="0"/>
                  </a:lnTo>
                  <a:lnTo>
                    <a:pt x="117" y="0"/>
                  </a:lnTo>
                  <a:lnTo>
                    <a:pt x="117" y="0"/>
                  </a:lnTo>
                  <a:lnTo>
                    <a:pt x="115" y="0"/>
                  </a:lnTo>
                  <a:lnTo>
                    <a:pt x="115" y="0"/>
                  </a:lnTo>
                  <a:lnTo>
                    <a:pt x="115" y="3"/>
                  </a:lnTo>
                  <a:lnTo>
                    <a:pt x="117" y="3"/>
                  </a:lnTo>
                  <a:lnTo>
                    <a:pt x="117" y="6"/>
                  </a:lnTo>
                  <a:lnTo>
                    <a:pt x="117" y="6"/>
                  </a:lnTo>
                  <a:lnTo>
                    <a:pt x="117" y="8"/>
                  </a:lnTo>
                  <a:lnTo>
                    <a:pt x="115" y="8"/>
                  </a:lnTo>
                  <a:lnTo>
                    <a:pt x="112" y="11"/>
                  </a:lnTo>
                  <a:lnTo>
                    <a:pt x="110" y="8"/>
                  </a:lnTo>
                  <a:lnTo>
                    <a:pt x="110" y="8"/>
                  </a:lnTo>
                  <a:lnTo>
                    <a:pt x="107" y="11"/>
                  </a:lnTo>
                  <a:lnTo>
                    <a:pt x="107" y="11"/>
                  </a:lnTo>
                  <a:lnTo>
                    <a:pt x="105" y="11"/>
                  </a:lnTo>
                  <a:lnTo>
                    <a:pt x="102" y="11"/>
                  </a:lnTo>
                  <a:lnTo>
                    <a:pt x="100" y="8"/>
                  </a:lnTo>
                  <a:lnTo>
                    <a:pt x="97" y="8"/>
                  </a:lnTo>
                  <a:lnTo>
                    <a:pt x="95" y="8"/>
                  </a:lnTo>
                  <a:lnTo>
                    <a:pt x="92" y="8"/>
                  </a:lnTo>
                  <a:lnTo>
                    <a:pt x="92" y="8"/>
                  </a:lnTo>
                  <a:lnTo>
                    <a:pt x="89" y="8"/>
                  </a:lnTo>
                  <a:lnTo>
                    <a:pt x="89" y="6"/>
                  </a:lnTo>
                  <a:lnTo>
                    <a:pt x="89" y="6"/>
                  </a:lnTo>
                  <a:lnTo>
                    <a:pt x="87" y="3"/>
                  </a:lnTo>
                  <a:lnTo>
                    <a:pt x="87" y="3"/>
                  </a:lnTo>
                  <a:lnTo>
                    <a:pt x="84" y="6"/>
                  </a:lnTo>
                  <a:lnTo>
                    <a:pt x="84" y="6"/>
                  </a:lnTo>
                  <a:lnTo>
                    <a:pt x="82" y="6"/>
                  </a:lnTo>
                  <a:lnTo>
                    <a:pt x="79" y="6"/>
                  </a:lnTo>
                  <a:lnTo>
                    <a:pt x="79" y="6"/>
                  </a:lnTo>
                  <a:lnTo>
                    <a:pt x="79" y="6"/>
                  </a:lnTo>
                  <a:lnTo>
                    <a:pt x="77" y="6"/>
                  </a:lnTo>
                  <a:lnTo>
                    <a:pt x="77" y="6"/>
                  </a:lnTo>
                  <a:lnTo>
                    <a:pt x="74" y="8"/>
                  </a:lnTo>
                  <a:lnTo>
                    <a:pt x="72" y="8"/>
                  </a:lnTo>
                  <a:lnTo>
                    <a:pt x="69" y="8"/>
                  </a:lnTo>
                  <a:lnTo>
                    <a:pt x="66" y="8"/>
                  </a:lnTo>
                  <a:lnTo>
                    <a:pt x="66" y="8"/>
                  </a:lnTo>
                  <a:lnTo>
                    <a:pt x="64" y="8"/>
                  </a:lnTo>
                  <a:lnTo>
                    <a:pt x="61" y="8"/>
                  </a:lnTo>
                  <a:lnTo>
                    <a:pt x="61" y="8"/>
                  </a:lnTo>
                  <a:lnTo>
                    <a:pt x="59" y="8"/>
                  </a:lnTo>
                  <a:lnTo>
                    <a:pt x="56" y="8"/>
                  </a:lnTo>
                  <a:lnTo>
                    <a:pt x="56" y="8"/>
                  </a:lnTo>
                  <a:lnTo>
                    <a:pt x="56" y="11"/>
                  </a:lnTo>
                  <a:lnTo>
                    <a:pt x="54" y="13"/>
                  </a:lnTo>
                  <a:lnTo>
                    <a:pt x="54" y="13"/>
                  </a:lnTo>
                  <a:lnTo>
                    <a:pt x="51" y="13"/>
                  </a:lnTo>
                  <a:lnTo>
                    <a:pt x="49" y="13"/>
                  </a:lnTo>
                  <a:lnTo>
                    <a:pt x="46" y="13"/>
                  </a:lnTo>
                  <a:lnTo>
                    <a:pt x="46" y="13"/>
                  </a:lnTo>
                  <a:lnTo>
                    <a:pt x="44" y="13"/>
                  </a:lnTo>
                  <a:lnTo>
                    <a:pt x="41" y="13"/>
                  </a:lnTo>
                  <a:lnTo>
                    <a:pt x="41" y="13"/>
                  </a:lnTo>
                  <a:lnTo>
                    <a:pt x="38" y="18"/>
                  </a:lnTo>
                  <a:lnTo>
                    <a:pt x="36" y="18"/>
                  </a:lnTo>
                  <a:lnTo>
                    <a:pt x="33" y="18"/>
                  </a:lnTo>
                  <a:lnTo>
                    <a:pt x="31" y="18"/>
                  </a:lnTo>
                  <a:lnTo>
                    <a:pt x="31" y="18"/>
                  </a:lnTo>
                  <a:lnTo>
                    <a:pt x="28" y="18"/>
                  </a:lnTo>
                  <a:lnTo>
                    <a:pt x="26" y="18"/>
                  </a:lnTo>
                  <a:lnTo>
                    <a:pt x="26" y="18"/>
                  </a:lnTo>
                  <a:lnTo>
                    <a:pt x="23" y="21"/>
                  </a:lnTo>
                  <a:lnTo>
                    <a:pt x="23" y="21"/>
                  </a:lnTo>
                  <a:lnTo>
                    <a:pt x="23" y="23"/>
                  </a:lnTo>
                  <a:lnTo>
                    <a:pt x="23" y="23"/>
                  </a:lnTo>
                  <a:lnTo>
                    <a:pt x="23" y="26"/>
                  </a:lnTo>
                  <a:lnTo>
                    <a:pt x="23" y="26"/>
                  </a:lnTo>
                  <a:lnTo>
                    <a:pt x="23" y="28"/>
                  </a:lnTo>
                  <a:lnTo>
                    <a:pt x="21" y="28"/>
                  </a:lnTo>
                  <a:lnTo>
                    <a:pt x="21" y="28"/>
                  </a:lnTo>
                  <a:lnTo>
                    <a:pt x="21" y="31"/>
                  </a:lnTo>
                  <a:lnTo>
                    <a:pt x="18" y="31"/>
                  </a:lnTo>
                  <a:lnTo>
                    <a:pt x="18" y="31"/>
                  </a:lnTo>
                  <a:lnTo>
                    <a:pt x="18" y="34"/>
                  </a:lnTo>
                  <a:lnTo>
                    <a:pt x="18" y="36"/>
                  </a:lnTo>
                  <a:lnTo>
                    <a:pt x="18" y="36"/>
                  </a:lnTo>
                  <a:lnTo>
                    <a:pt x="18" y="36"/>
                  </a:lnTo>
                  <a:lnTo>
                    <a:pt x="16" y="36"/>
                  </a:lnTo>
                  <a:lnTo>
                    <a:pt x="13" y="36"/>
                  </a:lnTo>
                  <a:lnTo>
                    <a:pt x="13" y="39"/>
                  </a:lnTo>
                  <a:lnTo>
                    <a:pt x="13" y="39"/>
                  </a:lnTo>
                  <a:lnTo>
                    <a:pt x="13" y="36"/>
                  </a:lnTo>
                  <a:lnTo>
                    <a:pt x="10" y="39"/>
                  </a:lnTo>
                  <a:lnTo>
                    <a:pt x="10" y="39"/>
                  </a:lnTo>
                  <a:lnTo>
                    <a:pt x="13" y="39"/>
                  </a:lnTo>
                  <a:lnTo>
                    <a:pt x="13" y="41"/>
                  </a:lnTo>
                  <a:lnTo>
                    <a:pt x="13" y="41"/>
                  </a:lnTo>
                  <a:lnTo>
                    <a:pt x="13" y="41"/>
                  </a:lnTo>
                  <a:lnTo>
                    <a:pt x="10" y="41"/>
                  </a:lnTo>
                  <a:lnTo>
                    <a:pt x="10" y="41"/>
                  </a:lnTo>
                  <a:lnTo>
                    <a:pt x="10" y="44"/>
                  </a:lnTo>
                  <a:lnTo>
                    <a:pt x="10" y="44"/>
                  </a:lnTo>
                  <a:lnTo>
                    <a:pt x="10" y="44"/>
                  </a:lnTo>
                  <a:lnTo>
                    <a:pt x="10" y="44"/>
                  </a:lnTo>
                  <a:lnTo>
                    <a:pt x="8" y="44"/>
                  </a:lnTo>
                  <a:lnTo>
                    <a:pt x="8" y="44"/>
                  </a:lnTo>
                  <a:lnTo>
                    <a:pt x="5" y="44"/>
                  </a:lnTo>
                  <a:lnTo>
                    <a:pt x="5" y="44"/>
                  </a:lnTo>
                  <a:lnTo>
                    <a:pt x="8" y="46"/>
                  </a:lnTo>
                  <a:lnTo>
                    <a:pt x="10" y="46"/>
                  </a:lnTo>
                  <a:lnTo>
                    <a:pt x="13" y="51"/>
                  </a:lnTo>
                  <a:lnTo>
                    <a:pt x="16" y="54"/>
                  </a:lnTo>
                  <a:lnTo>
                    <a:pt x="18" y="56"/>
                  </a:lnTo>
                  <a:lnTo>
                    <a:pt x="21" y="59"/>
                  </a:lnTo>
                  <a:lnTo>
                    <a:pt x="21" y="59"/>
                  </a:lnTo>
                  <a:lnTo>
                    <a:pt x="21" y="59"/>
                  </a:lnTo>
                  <a:lnTo>
                    <a:pt x="23" y="59"/>
                  </a:lnTo>
                  <a:lnTo>
                    <a:pt x="26" y="59"/>
                  </a:lnTo>
                  <a:lnTo>
                    <a:pt x="26" y="59"/>
                  </a:lnTo>
                  <a:lnTo>
                    <a:pt x="28" y="59"/>
                  </a:lnTo>
                  <a:lnTo>
                    <a:pt x="28" y="59"/>
                  </a:lnTo>
                  <a:lnTo>
                    <a:pt x="28" y="61"/>
                  </a:lnTo>
                  <a:lnTo>
                    <a:pt x="28" y="61"/>
                  </a:lnTo>
                  <a:lnTo>
                    <a:pt x="26" y="61"/>
                  </a:lnTo>
                  <a:lnTo>
                    <a:pt x="23" y="61"/>
                  </a:lnTo>
                  <a:lnTo>
                    <a:pt x="21" y="61"/>
                  </a:lnTo>
                  <a:lnTo>
                    <a:pt x="21" y="61"/>
                  </a:lnTo>
                  <a:lnTo>
                    <a:pt x="21" y="64"/>
                  </a:lnTo>
                  <a:lnTo>
                    <a:pt x="23" y="64"/>
                  </a:lnTo>
                  <a:lnTo>
                    <a:pt x="26" y="67"/>
                  </a:lnTo>
                  <a:lnTo>
                    <a:pt x="26" y="72"/>
                  </a:lnTo>
                  <a:lnTo>
                    <a:pt x="28" y="74"/>
                  </a:lnTo>
                  <a:lnTo>
                    <a:pt x="28" y="74"/>
                  </a:lnTo>
                  <a:lnTo>
                    <a:pt x="31" y="74"/>
                  </a:lnTo>
                  <a:lnTo>
                    <a:pt x="31" y="72"/>
                  </a:lnTo>
                  <a:lnTo>
                    <a:pt x="31" y="72"/>
                  </a:lnTo>
                  <a:lnTo>
                    <a:pt x="33" y="72"/>
                  </a:lnTo>
                  <a:lnTo>
                    <a:pt x="33" y="74"/>
                  </a:lnTo>
                  <a:lnTo>
                    <a:pt x="33" y="74"/>
                  </a:lnTo>
                  <a:lnTo>
                    <a:pt x="36" y="74"/>
                  </a:lnTo>
                  <a:lnTo>
                    <a:pt x="38" y="74"/>
                  </a:lnTo>
                  <a:lnTo>
                    <a:pt x="38" y="74"/>
                  </a:lnTo>
                  <a:lnTo>
                    <a:pt x="41" y="74"/>
                  </a:lnTo>
                  <a:lnTo>
                    <a:pt x="44" y="74"/>
                  </a:lnTo>
                  <a:lnTo>
                    <a:pt x="49" y="74"/>
                  </a:lnTo>
                  <a:lnTo>
                    <a:pt x="51" y="74"/>
                  </a:lnTo>
                  <a:lnTo>
                    <a:pt x="51" y="74"/>
                  </a:lnTo>
                  <a:lnTo>
                    <a:pt x="51" y="72"/>
                  </a:lnTo>
                  <a:lnTo>
                    <a:pt x="56" y="74"/>
                  </a:lnTo>
                  <a:lnTo>
                    <a:pt x="59" y="77"/>
                  </a:lnTo>
                  <a:lnTo>
                    <a:pt x="59" y="77"/>
                  </a:lnTo>
                  <a:lnTo>
                    <a:pt x="61" y="77"/>
                  </a:lnTo>
                  <a:lnTo>
                    <a:pt x="61" y="77"/>
                  </a:lnTo>
                  <a:lnTo>
                    <a:pt x="64" y="77"/>
                  </a:lnTo>
                  <a:lnTo>
                    <a:pt x="64" y="77"/>
                  </a:lnTo>
                  <a:lnTo>
                    <a:pt x="64" y="79"/>
                  </a:lnTo>
                  <a:lnTo>
                    <a:pt x="66" y="79"/>
                  </a:lnTo>
                  <a:lnTo>
                    <a:pt x="66" y="79"/>
                  </a:lnTo>
                  <a:lnTo>
                    <a:pt x="66" y="79"/>
                  </a:lnTo>
                  <a:lnTo>
                    <a:pt x="66" y="82"/>
                  </a:lnTo>
                  <a:lnTo>
                    <a:pt x="61" y="82"/>
                  </a:lnTo>
                  <a:lnTo>
                    <a:pt x="61" y="82"/>
                  </a:lnTo>
                  <a:lnTo>
                    <a:pt x="61" y="82"/>
                  </a:lnTo>
                  <a:lnTo>
                    <a:pt x="61" y="84"/>
                  </a:lnTo>
                  <a:lnTo>
                    <a:pt x="61" y="84"/>
                  </a:lnTo>
                  <a:lnTo>
                    <a:pt x="59" y="82"/>
                  </a:lnTo>
                  <a:lnTo>
                    <a:pt x="59" y="82"/>
                  </a:lnTo>
                  <a:lnTo>
                    <a:pt x="56" y="79"/>
                  </a:lnTo>
                  <a:lnTo>
                    <a:pt x="49" y="79"/>
                  </a:lnTo>
                  <a:lnTo>
                    <a:pt x="44" y="74"/>
                  </a:lnTo>
                  <a:lnTo>
                    <a:pt x="41" y="74"/>
                  </a:lnTo>
                  <a:lnTo>
                    <a:pt x="41" y="77"/>
                  </a:lnTo>
                  <a:lnTo>
                    <a:pt x="38" y="79"/>
                  </a:lnTo>
                  <a:lnTo>
                    <a:pt x="36" y="79"/>
                  </a:lnTo>
                  <a:lnTo>
                    <a:pt x="33" y="77"/>
                  </a:lnTo>
                  <a:lnTo>
                    <a:pt x="33" y="79"/>
                  </a:lnTo>
                  <a:lnTo>
                    <a:pt x="31" y="82"/>
                  </a:lnTo>
                  <a:lnTo>
                    <a:pt x="28" y="84"/>
                  </a:lnTo>
                  <a:lnTo>
                    <a:pt x="28" y="84"/>
                  </a:lnTo>
                  <a:lnTo>
                    <a:pt x="28" y="87"/>
                  </a:lnTo>
                  <a:lnTo>
                    <a:pt x="31" y="87"/>
                  </a:lnTo>
                  <a:lnTo>
                    <a:pt x="31" y="87"/>
                  </a:lnTo>
                  <a:lnTo>
                    <a:pt x="33" y="89"/>
                  </a:lnTo>
                  <a:lnTo>
                    <a:pt x="33" y="92"/>
                  </a:lnTo>
                  <a:lnTo>
                    <a:pt x="36" y="92"/>
                  </a:lnTo>
                  <a:lnTo>
                    <a:pt x="38" y="97"/>
                  </a:lnTo>
                  <a:lnTo>
                    <a:pt x="38" y="100"/>
                  </a:lnTo>
                  <a:lnTo>
                    <a:pt x="38" y="102"/>
                  </a:lnTo>
                  <a:lnTo>
                    <a:pt x="38" y="105"/>
                  </a:lnTo>
                  <a:lnTo>
                    <a:pt x="41" y="110"/>
                  </a:lnTo>
                  <a:lnTo>
                    <a:pt x="44" y="112"/>
                  </a:lnTo>
                  <a:lnTo>
                    <a:pt x="44" y="110"/>
                  </a:lnTo>
                  <a:lnTo>
                    <a:pt x="44" y="107"/>
                  </a:lnTo>
                  <a:lnTo>
                    <a:pt x="46" y="105"/>
                  </a:lnTo>
                  <a:lnTo>
                    <a:pt x="46" y="105"/>
                  </a:lnTo>
                  <a:lnTo>
                    <a:pt x="46" y="105"/>
                  </a:lnTo>
                  <a:lnTo>
                    <a:pt x="49" y="107"/>
                  </a:lnTo>
                  <a:lnTo>
                    <a:pt x="49" y="107"/>
                  </a:lnTo>
                  <a:lnTo>
                    <a:pt x="51" y="107"/>
                  </a:lnTo>
                  <a:lnTo>
                    <a:pt x="54" y="112"/>
                  </a:lnTo>
                  <a:lnTo>
                    <a:pt x="54" y="115"/>
                  </a:lnTo>
                  <a:lnTo>
                    <a:pt x="54" y="117"/>
                  </a:lnTo>
                  <a:lnTo>
                    <a:pt x="54" y="117"/>
                  </a:lnTo>
                  <a:lnTo>
                    <a:pt x="56" y="117"/>
                  </a:lnTo>
                  <a:lnTo>
                    <a:pt x="56" y="115"/>
                  </a:lnTo>
                  <a:lnTo>
                    <a:pt x="56" y="110"/>
                  </a:lnTo>
                  <a:lnTo>
                    <a:pt x="59" y="110"/>
                  </a:lnTo>
                  <a:lnTo>
                    <a:pt x="61" y="110"/>
                  </a:lnTo>
                  <a:lnTo>
                    <a:pt x="61" y="112"/>
                  </a:lnTo>
                  <a:lnTo>
                    <a:pt x="64" y="117"/>
                  </a:lnTo>
                  <a:lnTo>
                    <a:pt x="66" y="117"/>
                  </a:lnTo>
                  <a:lnTo>
                    <a:pt x="66" y="117"/>
                  </a:lnTo>
                  <a:lnTo>
                    <a:pt x="69" y="117"/>
                  </a:lnTo>
                  <a:lnTo>
                    <a:pt x="66" y="115"/>
                  </a:lnTo>
                  <a:lnTo>
                    <a:pt x="66" y="115"/>
                  </a:lnTo>
                  <a:lnTo>
                    <a:pt x="66" y="110"/>
                  </a:lnTo>
                  <a:lnTo>
                    <a:pt x="66" y="110"/>
                  </a:lnTo>
                  <a:lnTo>
                    <a:pt x="64" y="105"/>
                  </a:lnTo>
                  <a:lnTo>
                    <a:pt x="61" y="100"/>
                  </a:lnTo>
                  <a:lnTo>
                    <a:pt x="59" y="97"/>
                  </a:lnTo>
                  <a:lnTo>
                    <a:pt x="59" y="92"/>
                  </a:lnTo>
                  <a:lnTo>
                    <a:pt x="59" y="92"/>
                  </a:lnTo>
                  <a:lnTo>
                    <a:pt x="61" y="95"/>
                  </a:lnTo>
                  <a:lnTo>
                    <a:pt x="64" y="95"/>
                  </a:lnTo>
                  <a:lnTo>
                    <a:pt x="64" y="95"/>
                  </a:lnTo>
                  <a:lnTo>
                    <a:pt x="66" y="95"/>
                  </a:lnTo>
                  <a:lnTo>
                    <a:pt x="66" y="97"/>
                  </a:lnTo>
                  <a:lnTo>
                    <a:pt x="66" y="97"/>
                  </a:lnTo>
                  <a:lnTo>
                    <a:pt x="69" y="97"/>
                  </a:lnTo>
                  <a:lnTo>
                    <a:pt x="69" y="97"/>
                  </a:lnTo>
                  <a:lnTo>
                    <a:pt x="74" y="95"/>
                  </a:lnTo>
                  <a:lnTo>
                    <a:pt x="74" y="95"/>
                  </a:lnTo>
                  <a:lnTo>
                    <a:pt x="72" y="95"/>
                  </a:lnTo>
                  <a:lnTo>
                    <a:pt x="72" y="92"/>
                  </a:lnTo>
                  <a:lnTo>
                    <a:pt x="72" y="92"/>
                  </a:lnTo>
                  <a:lnTo>
                    <a:pt x="72" y="92"/>
                  </a:lnTo>
                  <a:lnTo>
                    <a:pt x="69" y="92"/>
                  </a:lnTo>
                  <a:lnTo>
                    <a:pt x="66" y="92"/>
                  </a:lnTo>
                  <a:lnTo>
                    <a:pt x="66" y="89"/>
                  </a:lnTo>
                  <a:lnTo>
                    <a:pt x="66" y="87"/>
                  </a:lnTo>
                  <a:lnTo>
                    <a:pt x="66" y="87"/>
                  </a:lnTo>
                  <a:lnTo>
                    <a:pt x="64" y="84"/>
                  </a:lnTo>
                  <a:lnTo>
                    <a:pt x="64" y="84"/>
                  </a:lnTo>
                  <a:lnTo>
                    <a:pt x="64" y="84"/>
                  </a:lnTo>
                  <a:lnTo>
                    <a:pt x="66" y="84"/>
                  </a:lnTo>
                  <a:lnTo>
                    <a:pt x="72" y="82"/>
                  </a:lnTo>
                  <a:lnTo>
                    <a:pt x="72" y="82"/>
                  </a:lnTo>
                  <a:lnTo>
                    <a:pt x="74" y="82"/>
                  </a:lnTo>
                  <a:lnTo>
                    <a:pt x="74" y="82"/>
                  </a:lnTo>
                  <a:lnTo>
                    <a:pt x="77" y="84"/>
                  </a:lnTo>
                  <a:lnTo>
                    <a:pt x="79" y="87"/>
                  </a:lnTo>
                  <a:close/>
                  <a:moveTo>
                    <a:pt x="79" y="36"/>
                  </a:moveTo>
                  <a:lnTo>
                    <a:pt x="79" y="36"/>
                  </a:lnTo>
                  <a:lnTo>
                    <a:pt x="79" y="39"/>
                  </a:lnTo>
                  <a:lnTo>
                    <a:pt x="79" y="36"/>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310" name="Freeform 1929">
              <a:extLst>
                <a:ext uri="{FF2B5EF4-FFF2-40B4-BE49-F238E27FC236}">
                  <a16:creationId xmlns:a16="http://schemas.microsoft.com/office/drawing/2014/main" id="{5A95B246-2A04-B04F-B513-BE477C3E17F4}"/>
                </a:ext>
              </a:extLst>
            </p:cNvPr>
            <p:cNvSpPr>
              <a:spLocks/>
            </p:cNvSpPr>
            <p:nvPr/>
          </p:nvSpPr>
          <p:spPr bwMode="auto">
            <a:xfrm>
              <a:off x="3590100" y="3348030"/>
              <a:ext cx="9814" cy="8179"/>
            </a:xfrm>
            <a:custGeom>
              <a:avLst/>
              <a:gdLst>
                <a:gd name="T0" fmla="*/ 3 w 6"/>
                <a:gd name="T1" fmla="*/ 0 h 5"/>
                <a:gd name="T2" fmla="*/ 3 w 6"/>
                <a:gd name="T3" fmla="*/ 0 h 5"/>
                <a:gd name="T4" fmla="*/ 3 w 6"/>
                <a:gd name="T5" fmla="*/ 2 h 5"/>
                <a:gd name="T6" fmla="*/ 0 w 6"/>
                <a:gd name="T7" fmla="*/ 2 h 5"/>
                <a:gd name="T8" fmla="*/ 0 w 6"/>
                <a:gd name="T9" fmla="*/ 5 h 5"/>
                <a:gd name="T10" fmla="*/ 3 w 6"/>
                <a:gd name="T11" fmla="*/ 5 h 5"/>
                <a:gd name="T12" fmla="*/ 3 w 6"/>
                <a:gd name="T13" fmla="*/ 2 h 5"/>
                <a:gd name="T14" fmla="*/ 6 w 6"/>
                <a:gd name="T15" fmla="*/ 0 h 5"/>
                <a:gd name="T16" fmla="*/ 3 w 6"/>
                <a:gd name="T1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 h="5">
                  <a:moveTo>
                    <a:pt x="3" y="0"/>
                  </a:moveTo>
                  <a:lnTo>
                    <a:pt x="3" y="0"/>
                  </a:lnTo>
                  <a:lnTo>
                    <a:pt x="3" y="2"/>
                  </a:lnTo>
                  <a:lnTo>
                    <a:pt x="0" y="2"/>
                  </a:lnTo>
                  <a:lnTo>
                    <a:pt x="0" y="5"/>
                  </a:lnTo>
                  <a:lnTo>
                    <a:pt x="3" y="5"/>
                  </a:lnTo>
                  <a:lnTo>
                    <a:pt x="3" y="2"/>
                  </a:lnTo>
                  <a:lnTo>
                    <a:pt x="6" y="0"/>
                  </a:lnTo>
                  <a:lnTo>
                    <a:pt x="3"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311" name="Freeform 1930">
              <a:extLst>
                <a:ext uri="{FF2B5EF4-FFF2-40B4-BE49-F238E27FC236}">
                  <a16:creationId xmlns:a16="http://schemas.microsoft.com/office/drawing/2014/main" id="{87204C2E-F4CC-3042-8332-FE1A5E48EA7E}"/>
                </a:ext>
              </a:extLst>
            </p:cNvPr>
            <p:cNvSpPr>
              <a:spLocks/>
            </p:cNvSpPr>
            <p:nvPr/>
          </p:nvSpPr>
          <p:spPr bwMode="auto">
            <a:xfrm>
              <a:off x="5503912" y="3385653"/>
              <a:ext cx="142310" cy="240454"/>
            </a:xfrm>
            <a:custGeom>
              <a:avLst/>
              <a:gdLst>
                <a:gd name="T0" fmla="*/ 84 w 87"/>
                <a:gd name="T1" fmla="*/ 114 h 147"/>
                <a:gd name="T2" fmla="*/ 82 w 87"/>
                <a:gd name="T3" fmla="*/ 109 h 147"/>
                <a:gd name="T4" fmla="*/ 79 w 87"/>
                <a:gd name="T5" fmla="*/ 104 h 147"/>
                <a:gd name="T6" fmla="*/ 74 w 87"/>
                <a:gd name="T7" fmla="*/ 99 h 147"/>
                <a:gd name="T8" fmla="*/ 77 w 87"/>
                <a:gd name="T9" fmla="*/ 94 h 147"/>
                <a:gd name="T10" fmla="*/ 77 w 87"/>
                <a:gd name="T11" fmla="*/ 86 h 147"/>
                <a:gd name="T12" fmla="*/ 74 w 87"/>
                <a:gd name="T13" fmla="*/ 84 h 147"/>
                <a:gd name="T14" fmla="*/ 77 w 87"/>
                <a:gd name="T15" fmla="*/ 68 h 147"/>
                <a:gd name="T16" fmla="*/ 77 w 87"/>
                <a:gd name="T17" fmla="*/ 61 h 147"/>
                <a:gd name="T18" fmla="*/ 72 w 87"/>
                <a:gd name="T19" fmla="*/ 56 h 147"/>
                <a:gd name="T20" fmla="*/ 74 w 87"/>
                <a:gd name="T21" fmla="*/ 50 h 147"/>
                <a:gd name="T22" fmla="*/ 74 w 87"/>
                <a:gd name="T23" fmla="*/ 40 h 147"/>
                <a:gd name="T24" fmla="*/ 72 w 87"/>
                <a:gd name="T25" fmla="*/ 40 h 147"/>
                <a:gd name="T26" fmla="*/ 69 w 87"/>
                <a:gd name="T27" fmla="*/ 38 h 147"/>
                <a:gd name="T28" fmla="*/ 72 w 87"/>
                <a:gd name="T29" fmla="*/ 35 h 147"/>
                <a:gd name="T30" fmla="*/ 72 w 87"/>
                <a:gd name="T31" fmla="*/ 35 h 147"/>
                <a:gd name="T32" fmla="*/ 72 w 87"/>
                <a:gd name="T33" fmla="*/ 30 h 147"/>
                <a:gd name="T34" fmla="*/ 72 w 87"/>
                <a:gd name="T35" fmla="*/ 20 h 147"/>
                <a:gd name="T36" fmla="*/ 66 w 87"/>
                <a:gd name="T37" fmla="*/ 15 h 147"/>
                <a:gd name="T38" fmla="*/ 64 w 87"/>
                <a:gd name="T39" fmla="*/ 10 h 147"/>
                <a:gd name="T40" fmla="*/ 64 w 87"/>
                <a:gd name="T41" fmla="*/ 2 h 147"/>
                <a:gd name="T42" fmla="*/ 59 w 87"/>
                <a:gd name="T43" fmla="*/ 2 h 147"/>
                <a:gd name="T44" fmla="*/ 56 w 87"/>
                <a:gd name="T45" fmla="*/ 5 h 147"/>
                <a:gd name="T46" fmla="*/ 51 w 87"/>
                <a:gd name="T47" fmla="*/ 5 h 147"/>
                <a:gd name="T48" fmla="*/ 46 w 87"/>
                <a:gd name="T49" fmla="*/ 5 h 147"/>
                <a:gd name="T50" fmla="*/ 33 w 87"/>
                <a:gd name="T51" fmla="*/ 5 h 147"/>
                <a:gd name="T52" fmla="*/ 16 w 87"/>
                <a:gd name="T53" fmla="*/ 5 h 147"/>
                <a:gd name="T54" fmla="*/ 8 w 87"/>
                <a:gd name="T55" fmla="*/ 5 h 147"/>
                <a:gd name="T56" fmla="*/ 8 w 87"/>
                <a:gd name="T57" fmla="*/ 17 h 147"/>
                <a:gd name="T58" fmla="*/ 8 w 87"/>
                <a:gd name="T59" fmla="*/ 20 h 147"/>
                <a:gd name="T60" fmla="*/ 8 w 87"/>
                <a:gd name="T61" fmla="*/ 25 h 147"/>
                <a:gd name="T62" fmla="*/ 10 w 87"/>
                <a:gd name="T63" fmla="*/ 35 h 147"/>
                <a:gd name="T64" fmla="*/ 10 w 87"/>
                <a:gd name="T65" fmla="*/ 43 h 147"/>
                <a:gd name="T66" fmla="*/ 10 w 87"/>
                <a:gd name="T67" fmla="*/ 48 h 147"/>
                <a:gd name="T68" fmla="*/ 13 w 87"/>
                <a:gd name="T69" fmla="*/ 53 h 147"/>
                <a:gd name="T70" fmla="*/ 16 w 87"/>
                <a:gd name="T71" fmla="*/ 68 h 147"/>
                <a:gd name="T72" fmla="*/ 13 w 87"/>
                <a:gd name="T73" fmla="*/ 71 h 147"/>
                <a:gd name="T74" fmla="*/ 8 w 87"/>
                <a:gd name="T75" fmla="*/ 73 h 147"/>
                <a:gd name="T76" fmla="*/ 5 w 87"/>
                <a:gd name="T77" fmla="*/ 78 h 147"/>
                <a:gd name="T78" fmla="*/ 3 w 87"/>
                <a:gd name="T79" fmla="*/ 91 h 147"/>
                <a:gd name="T80" fmla="*/ 0 w 87"/>
                <a:gd name="T81" fmla="*/ 101 h 147"/>
                <a:gd name="T82" fmla="*/ 0 w 87"/>
                <a:gd name="T83" fmla="*/ 109 h 147"/>
                <a:gd name="T84" fmla="*/ 3 w 87"/>
                <a:gd name="T85" fmla="*/ 122 h 147"/>
                <a:gd name="T86" fmla="*/ 8 w 87"/>
                <a:gd name="T87" fmla="*/ 127 h 147"/>
                <a:gd name="T88" fmla="*/ 8 w 87"/>
                <a:gd name="T89" fmla="*/ 132 h 147"/>
                <a:gd name="T90" fmla="*/ 5 w 87"/>
                <a:gd name="T91" fmla="*/ 137 h 147"/>
                <a:gd name="T92" fmla="*/ 3 w 87"/>
                <a:gd name="T93" fmla="*/ 139 h 147"/>
                <a:gd name="T94" fmla="*/ 16 w 87"/>
                <a:gd name="T95" fmla="*/ 142 h 147"/>
                <a:gd name="T96" fmla="*/ 28 w 87"/>
                <a:gd name="T97" fmla="*/ 142 h 147"/>
                <a:gd name="T98" fmla="*/ 49 w 87"/>
                <a:gd name="T99" fmla="*/ 134 h 147"/>
                <a:gd name="T100" fmla="*/ 61 w 87"/>
                <a:gd name="T101" fmla="*/ 127 h 147"/>
                <a:gd name="T102" fmla="*/ 84 w 87"/>
                <a:gd name="T103" fmla="*/ 122 h 147"/>
                <a:gd name="T104" fmla="*/ 87 w 87"/>
                <a:gd name="T105" fmla="*/ 11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7" h="147">
                  <a:moveTo>
                    <a:pt x="87" y="114"/>
                  </a:moveTo>
                  <a:lnTo>
                    <a:pt x="87" y="114"/>
                  </a:lnTo>
                  <a:lnTo>
                    <a:pt x="87" y="114"/>
                  </a:lnTo>
                  <a:lnTo>
                    <a:pt x="84" y="114"/>
                  </a:lnTo>
                  <a:lnTo>
                    <a:pt x="84" y="112"/>
                  </a:lnTo>
                  <a:lnTo>
                    <a:pt x="84" y="112"/>
                  </a:lnTo>
                  <a:lnTo>
                    <a:pt x="82" y="112"/>
                  </a:lnTo>
                  <a:lnTo>
                    <a:pt x="82" y="109"/>
                  </a:lnTo>
                  <a:lnTo>
                    <a:pt x="79" y="106"/>
                  </a:lnTo>
                  <a:lnTo>
                    <a:pt x="79" y="106"/>
                  </a:lnTo>
                  <a:lnTo>
                    <a:pt x="79" y="106"/>
                  </a:lnTo>
                  <a:lnTo>
                    <a:pt x="79" y="104"/>
                  </a:lnTo>
                  <a:lnTo>
                    <a:pt x="77" y="104"/>
                  </a:lnTo>
                  <a:lnTo>
                    <a:pt x="77" y="101"/>
                  </a:lnTo>
                  <a:lnTo>
                    <a:pt x="74" y="99"/>
                  </a:lnTo>
                  <a:lnTo>
                    <a:pt x="74" y="99"/>
                  </a:lnTo>
                  <a:lnTo>
                    <a:pt x="74" y="99"/>
                  </a:lnTo>
                  <a:lnTo>
                    <a:pt x="74" y="96"/>
                  </a:lnTo>
                  <a:lnTo>
                    <a:pt x="74" y="96"/>
                  </a:lnTo>
                  <a:lnTo>
                    <a:pt x="77" y="94"/>
                  </a:lnTo>
                  <a:lnTo>
                    <a:pt x="77" y="94"/>
                  </a:lnTo>
                  <a:lnTo>
                    <a:pt x="77" y="94"/>
                  </a:lnTo>
                  <a:lnTo>
                    <a:pt x="77" y="91"/>
                  </a:lnTo>
                  <a:lnTo>
                    <a:pt x="77" y="86"/>
                  </a:lnTo>
                  <a:lnTo>
                    <a:pt x="77" y="86"/>
                  </a:lnTo>
                  <a:lnTo>
                    <a:pt x="74" y="86"/>
                  </a:lnTo>
                  <a:lnTo>
                    <a:pt x="74" y="86"/>
                  </a:lnTo>
                  <a:lnTo>
                    <a:pt x="74" y="84"/>
                  </a:lnTo>
                  <a:lnTo>
                    <a:pt x="74" y="84"/>
                  </a:lnTo>
                  <a:lnTo>
                    <a:pt x="77" y="78"/>
                  </a:lnTo>
                  <a:lnTo>
                    <a:pt x="77" y="68"/>
                  </a:lnTo>
                  <a:lnTo>
                    <a:pt x="77" y="68"/>
                  </a:lnTo>
                  <a:lnTo>
                    <a:pt x="77" y="66"/>
                  </a:lnTo>
                  <a:lnTo>
                    <a:pt x="79" y="66"/>
                  </a:lnTo>
                  <a:lnTo>
                    <a:pt x="79" y="63"/>
                  </a:lnTo>
                  <a:lnTo>
                    <a:pt x="77" y="61"/>
                  </a:lnTo>
                  <a:lnTo>
                    <a:pt x="74" y="58"/>
                  </a:lnTo>
                  <a:lnTo>
                    <a:pt x="74" y="58"/>
                  </a:lnTo>
                  <a:lnTo>
                    <a:pt x="72" y="56"/>
                  </a:lnTo>
                  <a:lnTo>
                    <a:pt x="72" y="56"/>
                  </a:lnTo>
                  <a:lnTo>
                    <a:pt x="74" y="53"/>
                  </a:lnTo>
                  <a:lnTo>
                    <a:pt x="74" y="53"/>
                  </a:lnTo>
                  <a:lnTo>
                    <a:pt x="74" y="53"/>
                  </a:lnTo>
                  <a:lnTo>
                    <a:pt x="74" y="50"/>
                  </a:lnTo>
                  <a:lnTo>
                    <a:pt x="74" y="48"/>
                  </a:lnTo>
                  <a:lnTo>
                    <a:pt x="74" y="45"/>
                  </a:lnTo>
                  <a:lnTo>
                    <a:pt x="74" y="40"/>
                  </a:lnTo>
                  <a:lnTo>
                    <a:pt x="74" y="40"/>
                  </a:lnTo>
                  <a:lnTo>
                    <a:pt x="74" y="38"/>
                  </a:lnTo>
                  <a:lnTo>
                    <a:pt x="72" y="38"/>
                  </a:lnTo>
                  <a:lnTo>
                    <a:pt x="72" y="38"/>
                  </a:lnTo>
                  <a:lnTo>
                    <a:pt x="72" y="40"/>
                  </a:lnTo>
                  <a:lnTo>
                    <a:pt x="69" y="40"/>
                  </a:lnTo>
                  <a:lnTo>
                    <a:pt x="69" y="40"/>
                  </a:lnTo>
                  <a:lnTo>
                    <a:pt x="69" y="40"/>
                  </a:lnTo>
                  <a:lnTo>
                    <a:pt x="69" y="38"/>
                  </a:lnTo>
                  <a:lnTo>
                    <a:pt x="69" y="38"/>
                  </a:lnTo>
                  <a:lnTo>
                    <a:pt x="69" y="38"/>
                  </a:lnTo>
                  <a:lnTo>
                    <a:pt x="72" y="35"/>
                  </a:lnTo>
                  <a:lnTo>
                    <a:pt x="72" y="35"/>
                  </a:lnTo>
                  <a:lnTo>
                    <a:pt x="69" y="35"/>
                  </a:lnTo>
                  <a:lnTo>
                    <a:pt x="69" y="35"/>
                  </a:lnTo>
                  <a:lnTo>
                    <a:pt x="69" y="35"/>
                  </a:lnTo>
                  <a:lnTo>
                    <a:pt x="72" y="35"/>
                  </a:lnTo>
                  <a:lnTo>
                    <a:pt x="72" y="35"/>
                  </a:lnTo>
                  <a:lnTo>
                    <a:pt x="72" y="35"/>
                  </a:lnTo>
                  <a:lnTo>
                    <a:pt x="72" y="30"/>
                  </a:lnTo>
                  <a:lnTo>
                    <a:pt x="72" y="30"/>
                  </a:lnTo>
                  <a:lnTo>
                    <a:pt x="72" y="28"/>
                  </a:lnTo>
                  <a:lnTo>
                    <a:pt x="72" y="22"/>
                  </a:lnTo>
                  <a:lnTo>
                    <a:pt x="72" y="20"/>
                  </a:lnTo>
                  <a:lnTo>
                    <a:pt x="72" y="20"/>
                  </a:lnTo>
                  <a:lnTo>
                    <a:pt x="72" y="20"/>
                  </a:lnTo>
                  <a:lnTo>
                    <a:pt x="69" y="17"/>
                  </a:lnTo>
                  <a:lnTo>
                    <a:pt x="69" y="17"/>
                  </a:lnTo>
                  <a:lnTo>
                    <a:pt x="66" y="15"/>
                  </a:lnTo>
                  <a:lnTo>
                    <a:pt x="66" y="15"/>
                  </a:lnTo>
                  <a:lnTo>
                    <a:pt x="64" y="12"/>
                  </a:lnTo>
                  <a:lnTo>
                    <a:pt x="64" y="12"/>
                  </a:lnTo>
                  <a:lnTo>
                    <a:pt x="64" y="10"/>
                  </a:lnTo>
                  <a:lnTo>
                    <a:pt x="64" y="10"/>
                  </a:lnTo>
                  <a:lnTo>
                    <a:pt x="64" y="7"/>
                  </a:lnTo>
                  <a:lnTo>
                    <a:pt x="64" y="5"/>
                  </a:lnTo>
                  <a:lnTo>
                    <a:pt x="64" y="2"/>
                  </a:lnTo>
                  <a:lnTo>
                    <a:pt x="64" y="2"/>
                  </a:lnTo>
                  <a:lnTo>
                    <a:pt x="59" y="0"/>
                  </a:lnTo>
                  <a:lnTo>
                    <a:pt x="59" y="2"/>
                  </a:lnTo>
                  <a:lnTo>
                    <a:pt x="59" y="2"/>
                  </a:lnTo>
                  <a:lnTo>
                    <a:pt x="56" y="2"/>
                  </a:lnTo>
                  <a:lnTo>
                    <a:pt x="56" y="2"/>
                  </a:lnTo>
                  <a:lnTo>
                    <a:pt x="56" y="2"/>
                  </a:lnTo>
                  <a:lnTo>
                    <a:pt x="56" y="5"/>
                  </a:lnTo>
                  <a:lnTo>
                    <a:pt x="54" y="5"/>
                  </a:lnTo>
                  <a:lnTo>
                    <a:pt x="54" y="5"/>
                  </a:lnTo>
                  <a:lnTo>
                    <a:pt x="51" y="5"/>
                  </a:lnTo>
                  <a:lnTo>
                    <a:pt x="51" y="5"/>
                  </a:lnTo>
                  <a:lnTo>
                    <a:pt x="51" y="5"/>
                  </a:lnTo>
                  <a:lnTo>
                    <a:pt x="49" y="5"/>
                  </a:lnTo>
                  <a:lnTo>
                    <a:pt x="46" y="5"/>
                  </a:lnTo>
                  <a:lnTo>
                    <a:pt x="46" y="5"/>
                  </a:lnTo>
                  <a:lnTo>
                    <a:pt x="44" y="5"/>
                  </a:lnTo>
                  <a:lnTo>
                    <a:pt x="41" y="5"/>
                  </a:lnTo>
                  <a:lnTo>
                    <a:pt x="33" y="5"/>
                  </a:lnTo>
                  <a:lnTo>
                    <a:pt x="33" y="5"/>
                  </a:lnTo>
                  <a:lnTo>
                    <a:pt x="33" y="5"/>
                  </a:lnTo>
                  <a:lnTo>
                    <a:pt x="28" y="5"/>
                  </a:lnTo>
                  <a:lnTo>
                    <a:pt x="21" y="5"/>
                  </a:lnTo>
                  <a:lnTo>
                    <a:pt x="16" y="5"/>
                  </a:lnTo>
                  <a:lnTo>
                    <a:pt x="10" y="5"/>
                  </a:lnTo>
                  <a:lnTo>
                    <a:pt x="10" y="5"/>
                  </a:lnTo>
                  <a:lnTo>
                    <a:pt x="8" y="5"/>
                  </a:lnTo>
                  <a:lnTo>
                    <a:pt x="8" y="5"/>
                  </a:lnTo>
                  <a:lnTo>
                    <a:pt x="8" y="10"/>
                  </a:lnTo>
                  <a:lnTo>
                    <a:pt x="8" y="12"/>
                  </a:lnTo>
                  <a:lnTo>
                    <a:pt x="8" y="15"/>
                  </a:lnTo>
                  <a:lnTo>
                    <a:pt x="8" y="17"/>
                  </a:lnTo>
                  <a:lnTo>
                    <a:pt x="8" y="17"/>
                  </a:lnTo>
                  <a:lnTo>
                    <a:pt x="8" y="17"/>
                  </a:lnTo>
                  <a:lnTo>
                    <a:pt x="8" y="20"/>
                  </a:lnTo>
                  <a:lnTo>
                    <a:pt x="8" y="20"/>
                  </a:lnTo>
                  <a:lnTo>
                    <a:pt x="10" y="20"/>
                  </a:lnTo>
                  <a:lnTo>
                    <a:pt x="10" y="22"/>
                  </a:lnTo>
                  <a:lnTo>
                    <a:pt x="8" y="22"/>
                  </a:lnTo>
                  <a:lnTo>
                    <a:pt x="8" y="25"/>
                  </a:lnTo>
                  <a:lnTo>
                    <a:pt x="10" y="30"/>
                  </a:lnTo>
                  <a:lnTo>
                    <a:pt x="10" y="33"/>
                  </a:lnTo>
                  <a:lnTo>
                    <a:pt x="8" y="33"/>
                  </a:lnTo>
                  <a:lnTo>
                    <a:pt x="10" y="35"/>
                  </a:lnTo>
                  <a:lnTo>
                    <a:pt x="10" y="38"/>
                  </a:lnTo>
                  <a:lnTo>
                    <a:pt x="10" y="38"/>
                  </a:lnTo>
                  <a:lnTo>
                    <a:pt x="10" y="40"/>
                  </a:lnTo>
                  <a:lnTo>
                    <a:pt x="10" y="43"/>
                  </a:lnTo>
                  <a:lnTo>
                    <a:pt x="10" y="43"/>
                  </a:lnTo>
                  <a:lnTo>
                    <a:pt x="10" y="43"/>
                  </a:lnTo>
                  <a:lnTo>
                    <a:pt x="10" y="45"/>
                  </a:lnTo>
                  <a:lnTo>
                    <a:pt x="10" y="48"/>
                  </a:lnTo>
                  <a:lnTo>
                    <a:pt x="10" y="48"/>
                  </a:lnTo>
                  <a:lnTo>
                    <a:pt x="10" y="48"/>
                  </a:lnTo>
                  <a:lnTo>
                    <a:pt x="10" y="50"/>
                  </a:lnTo>
                  <a:lnTo>
                    <a:pt x="13" y="53"/>
                  </a:lnTo>
                  <a:lnTo>
                    <a:pt x="13" y="53"/>
                  </a:lnTo>
                  <a:lnTo>
                    <a:pt x="13" y="56"/>
                  </a:lnTo>
                  <a:lnTo>
                    <a:pt x="13" y="61"/>
                  </a:lnTo>
                  <a:lnTo>
                    <a:pt x="16" y="68"/>
                  </a:lnTo>
                  <a:lnTo>
                    <a:pt x="13" y="68"/>
                  </a:lnTo>
                  <a:lnTo>
                    <a:pt x="13" y="68"/>
                  </a:lnTo>
                  <a:lnTo>
                    <a:pt x="13" y="68"/>
                  </a:lnTo>
                  <a:lnTo>
                    <a:pt x="13" y="71"/>
                  </a:lnTo>
                  <a:lnTo>
                    <a:pt x="13" y="71"/>
                  </a:lnTo>
                  <a:lnTo>
                    <a:pt x="13" y="71"/>
                  </a:lnTo>
                  <a:lnTo>
                    <a:pt x="10" y="71"/>
                  </a:lnTo>
                  <a:lnTo>
                    <a:pt x="8" y="73"/>
                  </a:lnTo>
                  <a:lnTo>
                    <a:pt x="8" y="76"/>
                  </a:lnTo>
                  <a:lnTo>
                    <a:pt x="8" y="76"/>
                  </a:lnTo>
                  <a:lnTo>
                    <a:pt x="8" y="78"/>
                  </a:lnTo>
                  <a:lnTo>
                    <a:pt x="5" y="78"/>
                  </a:lnTo>
                  <a:lnTo>
                    <a:pt x="5" y="84"/>
                  </a:lnTo>
                  <a:lnTo>
                    <a:pt x="5" y="89"/>
                  </a:lnTo>
                  <a:lnTo>
                    <a:pt x="5" y="91"/>
                  </a:lnTo>
                  <a:lnTo>
                    <a:pt x="3" y="91"/>
                  </a:lnTo>
                  <a:lnTo>
                    <a:pt x="3" y="94"/>
                  </a:lnTo>
                  <a:lnTo>
                    <a:pt x="0" y="96"/>
                  </a:lnTo>
                  <a:lnTo>
                    <a:pt x="0" y="99"/>
                  </a:lnTo>
                  <a:lnTo>
                    <a:pt x="0" y="101"/>
                  </a:lnTo>
                  <a:lnTo>
                    <a:pt x="0" y="101"/>
                  </a:lnTo>
                  <a:lnTo>
                    <a:pt x="0" y="104"/>
                  </a:lnTo>
                  <a:lnTo>
                    <a:pt x="0" y="106"/>
                  </a:lnTo>
                  <a:lnTo>
                    <a:pt x="0" y="109"/>
                  </a:lnTo>
                  <a:lnTo>
                    <a:pt x="0" y="109"/>
                  </a:lnTo>
                  <a:lnTo>
                    <a:pt x="3" y="117"/>
                  </a:lnTo>
                  <a:lnTo>
                    <a:pt x="3" y="119"/>
                  </a:lnTo>
                  <a:lnTo>
                    <a:pt x="3" y="122"/>
                  </a:lnTo>
                  <a:lnTo>
                    <a:pt x="3" y="124"/>
                  </a:lnTo>
                  <a:lnTo>
                    <a:pt x="5" y="124"/>
                  </a:lnTo>
                  <a:lnTo>
                    <a:pt x="5" y="127"/>
                  </a:lnTo>
                  <a:lnTo>
                    <a:pt x="8" y="127"/>
                  </a:lnTo>
                  <a:lnTo>
                    <a:pt x="8" y="127"/>
                  </a:lnTo>
                  <a:lnTo>
                    <a:pt x="8" y="132"/>
                  </a:lnTo>
                  <a:lnTo>
                    <a:pt x="8" y="132"/>
                  </a:lnTo>
                  <a:lnTo>
                    <a:pt x="8" y="132"/>
                  </a:lnTo>
                  <a:lnTo>
                    <a:pt x="8" y="134"/>
                  </a:lnTo>
                  <a:lnTo>
                    <a:pt x="8" y="137"/>
                  </a:lnTo>
                  <a:lnTo>
                    <a:pt x="8" y="137"/>
                  </a:lnTo>
                  <a:lnTo>
                    <a:pt x="5" y="137"/>
                  </a:lnTo>
                  <a:lnTo>
                    <a:pt x="5" y="137"/>
                  </a:lnTo>
                  <a:lnTo>
                    <a:pt x="3" y="137"/>
                  </a:lnTo>
                  <a:lnTo>
                    <a:pt x="3" y="137"/>
                  </a:lnTo>
                  <a:lnTo>
                    <a:pt x="3" y="139"/>
                  </a:lnTo>
                  <a:lnTo>
                    <a:pt x="3" y="139"/>
                  </a:lnTo>
                  <a:lnTo>
                    <a:pt x="5" y="139"/>
                  </a:lnTo>
                  <a:lnTo>
                    <a:pt x="10" y="139"/>
                  </a:lnTo>
                  <a:lnTo>
                    <a:pt x="16" y="142"/>
                  </a:lnTo>
                  <a:lnTo>
                    <a:pt x="18" y="145"/>
                  </a:lnTo>
                  <a:lnTo>
                    <a:pt x="23" y="145"/>
                  </a:lnTo>
                  <a:lnTo>
                    <a:pt x="23" y="147"/>
                  </a:lnTo>
                  <a:lnTo>
                    <a:pt x="28" y="142"/>
                  </a:lnTo>
                  <a:lnTo>
                    <a:pt x="31" y="142"/>
                  </a:lnTo>
                  <a:lnTo>
                    <a:pt x="33" y="139"/>
                  </a:lnTo>
                  <a:lnTo>
                    <a:pt x="44" y="137"/>
                  </a:lnTo>
                  <a:lnTo>
                    <a:pt x="49" y="134"/>
                  </a:lnTo>
                  <a:lnTo>
                    <a:pt x="51" y="134"/>
                  </a:lnTo>
                  <a:lnTo>
                    <a:pt x="54" y="132"/>
                  </a:lnTo>
                  <a:lnTo>
                    <a:pt x="56" y="129"/>
                  </a:lnTo>
                  <a:lnTo>
                    <a:pt x="61" y="127"/>
                  </a:lnTo>
                  <a:lnTo>
                    <a:pt x="69" y="124"/>
                  </a:lnTo>
                  <a:lnTo>
                    <a:pt x="77" y="124"/>
                  </a:lnTo>
                  <a:lnTo>
                    <a:pt x="79" y="124"/>
                  </a:lnTo>
                  <a:lnTo>
                    <a:pt x="84" y="122"/>
                  </a:lnTo>
                  <a:lnTo>
                    <a:pt x="84" y="119"/>
                  </a:lnTo>
                  <a:lnTo>
                    <a:pt x="84" y="119"/>
                  </a:lnTo>
                  <a:lnTo>
                    <a:pt x="87" y="117"/>
                  </a:lnTo>
                  <a:lnTo>
                    <a:pt x="87" y="117"/>
                  </a:lnTo>
                  <a:lnTo>
                    <a:pt x="87" y="114"/>
                  </a:lnTo>
                  <a:close/>
                </a:path>
              </a:pathLst>
            </a:custGeom>
            <a:solidFill>
              <a:srgbClr val="FFC000"/>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312" name="Freeform 1931">
              <a:extLst>
                <a:ext uri="{FF2B5EF4-FFF2-40B4-BE49-F238E27FC236}">
                  <a16:creationId xmlns:a16="http://schemas.microsoft.com/office/drawing/2014/main" id="{FABE5AEF-2C3B-7D48-9CE8-148665812B13}"/>
                </a:ext>
              </a:extLst>
            </p:cNvPr>
            <p:cNvSpPr>
              <a:spLocks noEditPoints="1"/>
            </p:cNvSpPr>
            <p:nvPr/>
          </p:nvSpPr>
          <p:spPr bwMode="auto">
            <a:xfrm>
              <a:off x="5824516" y="1769545"/>
              <a:ext cx="258446" cy="279711"/>
            </a:xfrm>
            <a:custGeom>
              <a:avLst/>
              <a:gdLst>
                <a:gd name="T0" fmla="*/ 143 w 158"/>
                <a:gd name="T1" fmla="*/ 26 h 171"/>
                <a:gd name="T2" fmla="*/ 92 w 158"/>
                <a:gd name="T3" fmla="*/ 13 h 171"/>
                <a:gd name="T4" fmla="*/ 130 w 158"/>
                <a:gd name="T5" fmla="*/ 18 h 171"/>
                <a:gd name="T6" fmla="*/ 133 w 158"/>
                <a:gd name="T7" fmla="*/ 13 h 171"/>
                <a:gd name="T8" fmla="*/ 125 w 158"/>
                <a:gd name="T9" fmla="*/ 10 h 171"/>
                <a:gd name="T10" fmla="*/ 49 w 158"/>
                <a:gd name="T11" fmla="*/ 8 h 171"/>
                <a:gd name="T12" fmla="*/ 153 w 158"/>
                <a:gd name="T13" fmla="*/ 74 h 171"/>
                <a:gd name="T14" fmla="*/ 153 w 158"/>
                <a:gd name="T15" fmla="*/ 64 h 171"/>
                <a:gd name="T16" fmla="*/ 151 w 158"/>
                <a:gd name="T17" fmla="*/ 56 h 171"/>
                <a:gd name="T18" fmla="*/ 148 w 158"/>
                <a:gd name="T19" fmla="*/ 41 h 171"/>
                <a:gd name="T20" fmla="*/ 138 w 158"/>
                <a:gd name="T21" fmla="*/ 26 h 171"/>
                <a:gd name="T22" fmla="*/ 113 w 158"/>
                <a:gd name="T23" fmla="*/ 16 h 171"/>
                <a:gd name="T24" fmla="*/ 87 w 158"/>
                <a:gd name="T25" fmla="*/ 23 h 171"/>
                <a:gd name="T26" fmla="*/ 77 w 158"/>
                <a:gd name="T27" fmla="*/ 16 h 171"/>
                <a:gd name="T28" fmla="*/ 67 w 158"/>
                <a:gd name="T29" fmla="*/ 5 h 171"/>
                <a:gd name="T30" fmla="*/ 54 w 158"/>
                <a:gd name="T31" fmla="*/ 5 h 171"/>
                <a:gd name="T32" fmla="*/ 51 w 158"/>
                <a:gd name="T33" fmla="*/ 13 h 171"/>
                <a:gd name="T34" fmla="*/ 54 w 158"/>
                <a:gd name="T35" fmla="*/ 23 h 171"/>
                <a:gd name="T36" fmla="*/ 62 w 158"/>
                <a:gd name="T37" fmla="*/ 28 h 171"/>
                <a:gd name="T38" fmla="*/ 46 w 158"/>
                <a:gd name="T39" fmla="*/ 33 h 171"/>
                <a:gd name="T40" fmla="*/ 39 w 158"/>
                <a:gd name="T41" fmla="*/ 31 h 171"/>
                <a:gd name="T42" fmla="*/ 23 w 158"/>
                <a:gd name="T43" fmla="*/ 41 h 171"/>
                <a:gd name="T44" fmla="*/ 16 w 158"/>
                <a:gd name="T45" fmla="*/ 54 h 171"/>
                <a:gd name="T46" fmla="*/ 21 w 158"/>
                <a:gd name="T47" fmla="*/ 59 h 171"/>
                <a:gd name="T48" fmla="*/ 16 w 158"/>
                <a:gd name="T49" fmla="*/ 66 h 171"/>
                <a:gd name="T50" fmla="*/ 8 w 158"/>
                <a:gd name="T51" fmla="*/ 72 h 171"/>
                <a:gd name="T52" fmla="*/ 3 w 158"/>
                <a:gd name="T53" fmla="*/ 74 h 171"/>
                <a:gd name="T54" fmla="*/ 3 w 158"/>
                <a:gd name="T55" fmla="*/ 84 h 171"/>
                <a:gd name="T56" fmla="*/ 0 w 158"/>
                <a:gd name="T57" fmla="*/ 89 h 171"/>
                <a:gd name="T58" fmla="*/ 6 w 158"/>
                <a:gd name="T59" fmla="*/ 99 h 171"/>
                <a:gd name="T60" fmla="*/ 3 w 158"/>
                <a:gd name="T61" fmla="*/ 107 h 171"/>
                <a:gd name="T62" fmla="*/ 11 w 158"/>
                <a:gd name="T63" fmla="*/ 115 h 171"/>
                <a:gd name="T64" fmla="*/ 11 w 158"/>
                <a:gd name="T65" fmla="*/ 125 h 171"/>
                <a:gd name="T66" fmla="*/ 18 w 158"/>
                <a:gd name="T67" fmla="*/ 127 h 171"/>
                <a:gd name="T68" fmla="*/ 26 w 158"/>
                <a:gd name="T69" fmla="*/ 130 h 171"/>
                <a:gd name="T70" fmla="*/ 34 w 158"/>
                <a:gd name="T71" fmla="*/ 140 h 171"/>
                <a:gd name="T72" fmla="*/ 28 w 158"/>
                <a:gd name="T73" fmla="*/ 161 h 171"/>
                <a:gd name="T74" fmla="*/ 44 w 158"/>
                <a:gd name="T75" fmla="*/ 163 h 171"/>
                <a:gd name="T76" fmla="*/ 44 w 158"/>
                <a:gd name="T77" fmla="*/ 163 h 171"/>
                <a:gd name="T78" fmla="*/ 49 w 158"/>
                <a:gd name="T79" fmla="*/ 161 h 171"/>
                <a:gd name="T80" fmla="*/ 64 w 158"/>
                <a:gd name="T81" fmla="*/ 166 h 171"/>
                <a:gd name="T82" fmla="*/ 72 w 158"/>
                <a:gd name="T83" fmla="*/ 168 h 171"/>
                <a:gd name="T84" fmla="*/ 79 w 158"/>
                <a:gd name="T85" fmla="*/ 166 h 171"/>
                <a:gd name="T86" fmla="*/ 90 w 158"/>
                <a:gd name="T87" fmla="*/ 168 h 171"/>
                <a:gd name="T88" fmla="*/ 100 w 158"/>
                <a:gd name="T89" fmla="*/ 166 h 171"/>
                <a:gd name="T90" fmla="*/ 115 w 158"/>
                <a:gd name="T91" fmla="*/ 163 h 171"/>
                <a:gd name="T92" fmla="*/ 123 w 158"/>
                <a:gd name="T93" fmla="*/ 166 h 171"/>
                <a:gd name="T94" fmla="*/ 123 w 158"/>
                <a:gd name="T95" fmla="*/ 161 h 171"/>
                <a:gd name="T96" fmla="*/ 125 w 158"/>
                <a:gd name="T97" fmla="*/ 148 h 171"/>
                <a:gd name="T98" fmla="*/ 136 w 158"/>
                <a:gd name="T99" fmla="*/ 143 h 171"/>
                <a:gd name="T100" fmla="*/ 136 w 158"/>
                <a:gd name="T101" fmla="*/ 135 h 171"/>
                <a:gd name="T102" fmla="*/ 125 w 158"/>
                <a:gd name="T103" fmla="*/ 127 h 171"/>
                <a:gd name="T104" fmla="*/ 113 w 158"/>
                <a:gd name="T105" fmla="*/ 117 h 171"/>
                <a:gd name="T106" fmla="*/ 110 w 158"/>
                <a:gd name="T107" fmla="*/ 110 h 171"/>
                <a:gd name="T108" fmla="*/ 110 w 158"/>
                <a:gd name="T109" fmla="*/ 105 h 171"/>
                <a:gd name="T110" fmla="*/ 120 w 158"/>
                <a:gd name="T111" fmla="*/ 102 h 171"/>
                <a:gd name="T112" fmla="*/ 128 w 158"/>
                <a:gd name="T113" fmla="*/ 97 h 171"/>
                <a:gd name="T114" fmla="*/ 138 w 158"/>
                <a:gd name="T115" fmla="*/ 94 h 171"/>
                <a:gd name="T116" fmla="*/ 146 w 158"/>
                <a:gd name="T117" fmla="*/ 87 h 171"/>
                <a:gd name="T118" fmla="*/ 153 w 158"/>
                <a:gd name="T119" fmla="*/ 92 h 171"/>
                <a:gd name="T120" fmla="*/ 158 w 158"/>
                <a:gd name="T121" fmla="*/ 79 h 171"/>
                <a:gd name="T122" fmla="*/ 46 w 158"/>
                <a:gd name="T123" fmla="*/ 0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8" h="171">
                  <a:moveTo>
                    <a:pt x="138" y="23"/>
                  </a:moveTo>
                  <a:lnTo>
                    <a:pt x="138" y="23"/>
                  </a:lnTo>
                  <a:lnTo>
                    <a:pt x="138" y="26"/>
                  </a:lnTo>
                  <a:lnTo>
                    <a:pt x="138" y="26"/>
                  </a:lnTo>
                  <a:lnTo>
                    <a:pt x="141" y="26"/>
                  </a:lnTo>
                  <a:lnTo>
                    <a:pt x="143" y="26"/>
                  </a:lnTo>
                  <a:lnTo>
                    <a:pt x="143" y="26"/>
                  </a:lnTo>
                  <a:lnTo>
                    <a:pt x="143" y="26"/>
                  </a:lnTo>
                  <a:lnTo>
                    <a:pt x="143" y="26"/>
                  </a:lnTo>
                  <a:lnTo>
                    <a:pt x="141" y="23"/>
                  </a:lnTo>
                  <a:lnTo>
                    <a:pt x="136" y="21"/>
                  </a:lnTo>
                  <a:lnTo>
                    <a:pt x="136" y="21"/>
                  </a:lnTo>
                  <a:lnTo>
                    <a:pt x="136" y="23"/>
                  </a:lnTo>
                  <a:lnTo>
                    <a:pt x="138" y="23"/>
                  </a:lnTo>
                  <a:close/>
                  <a:moveTo>
                    <a:pt x="92" y="16"/>
                  </a:moveTo>
                  <a:lnTo>
                    <a:pt x="95" y="16"/>
                  </a:lnTo>
                  <a:lnTo>
                    <a:pt x="95" y="13"/>
                  </a:lnTo>
                  <a:lnTo>
                    <a:pt x="92" y="13"/>
                  </a:lnTo>
                  <a:lnTo>
                    <a:pt x="90" y="13"/>
                  </a:lnTo>
                  <a:lnTo>
                    <a:pt x="90" y="13"/>
                  </a:lnTo>
                  <a:lnTo>
                    <a:pt x="90" y="13"/>
                  </a:lnTo>
                  <a:lnTo>
                    <a:pt x="90" y="13"/>
                  </a:lnTo>
                  <a:lnTo>
                    <a:pt x="92" y="16"/>
                  </a:lnTo>
                  <a:close/>
                  <a:moveTo>
                    <a:pt x="125" y="16"/>
                  </a:moveTo>
                  <a:lnTo>
                    <a:pt x="125" y="16"/>
                  </a:lnTo>
                  <a:lnTo>
                    <a:pt x="128" y="18"/>
                  </a:lnTo>
                  <a:lnTo>
                    <a:pt x="130" y="18"/>
                  </a:lnTo>
                  <a:lnTo>
                    <a:pt x="130" y="16"/>
                  </a:lnTo>
                  <a:lnTo>
                    <a:pt x="133" y="16"/>
                  </a:lnTo>
                  <a:lnTo>
                    <a:pt x="136" y="18"/>
                  </a:lnTo>
                  <a:lnTo>
                    <a:pt x="136" y="16"/>
                  </a:lnTo>
                  <a:lnTo>
                    <a:pt x="136" y="16"/>
                  </a:lnTo>
                  <a:lnTo>
                    <a:pt x="133" y="13"/>
                  </a:lnTo>
                  <a:lnTo>
                    <a:pt x="133" y="13"/>
                  </a:lnTo>
                  <a:lnTo>
                    <a:pt x="133" y="13"/>
                  </a:lnTo>
                  <a:lnTo>
                    <a:pt x="133" y="13"/>
                  </a:lnTo>
                  <a:lnTo>
                    <a:pt x="133" y="10"/>
                  </a:lnTo>
                  <a:lnTo>
                    <a:pt x="133" y="10"/>
                  </a:lnTo>
                  <a:lnTo>
                    <a:pt x="130" y="10"/>
                  </a:lnTo>
                  <a:lnTo>
                    <a:pt x="130" y="10"/>
                  </a:lnTo>
                  <a:lnTo>
                    <a:pt x="130" y="8"/>
                  </a:lnTo>
                  <a:lnTo>
                    <a:pt x="128" y="8"/>
                  </a:lnTo>
                  <a:lnTo>
                    <a:pt x="128" y="10"/>
                  </a:lnTo>
                  <a:lnTo>
                    <a:pt x="125" y="10"/>
                  </a:lnTo>
                  <a:lnTo>
                    <a:pt x="125" y="10"/>
                  </a:lnTo>
                  <a:lnTo>
                    <a:pt x="125" y="13"/>
                  </a:lnTo>
                  <a:lnTo>
                    <a:pt x="125" y="16"/>
                  </a:lnTo>
                  <a:lnTo>
                    <a:pt x="125" y="16"/>
                  </a:lnTo>
                  <a:close/>
                  <a:moveTo>
                    <a:pt x="46" y="8"/>
                  </a:moveTo>
                  <a:lnTo>
                    <a:pt x="46" y="8"/>
                  </a:lnTo>
                  <a:lnTo>
                    <a:pt x="46" y="8"/>
                  </a:lnTo>
                  <a:lnTo>
                    <a:pt x="46" y="8"/>
                  </a:lnTo>
                  <a:lnTo>
                    <a:pt x="49" y="8"/>
                  </a:lnTo>
                  <a:lnTo>
                    <a:pt x="49" y="8"/>
                  </a:lnTo>
                  <a:lnTo>
                    <a:pt x="49" y="8"/>
                  </a:lnTo>
                  <a:lnTo>
                    <a:pt x="46" y="8"/>
                  </a:lnTo>
                  <a:lnTo>
                    <a:pt x="46" y="8"/>
                  </a:lnTo>
                  <a:close/>
                  <a:moveTo>
                    <a:pt x="158" y="79"/>
                  </a:moveTo>
                  <a:lnTo>
                    <a:pt x="156" y="79"/>
                  </a:lnTo>
                  <a:lnTo>
                    <a:pt x="156" y="79"/>
                  </a:lnTo>
                  <a:lnTo>
                    <a:pt x="153" y="77"/>
                  </a:lnTo>
                  <a:lnTo>
                    <a:pt x="153" y="77"/>
                  </a:lnTo>
                  <a:lnTo>
                    <a:pt x="153" y="74"/>
                  </a:lnTo>
                  <a:lnTo>
                    <a:pt x="153" y="74"/>
                  </a:lnTo>
                  <a:lnTo>
                    <a:pt x="153" y="74"/>
                  </a:lnTo>
                  <a:lnTo>
                    <a:pt x="151" y="72"/>
                  </a:lnTo>
                  <a:lnTo>
                    <a:pt x="151" y="72"/>
                  </a:lnTo>
                  <a:lnTo>
                    <a:pt x="153" y="69"/>
                  </a:lnTo>
                  <a:lnTo>
                    <a:pt x="153" y="66"/>
                  </a:lnTo>
                  <a:lnTo>
                    <a:pt x="153" y="66"/>
                  </a:lnTo>
                  <a:lnTo>
                    <a:pt x="153" y="66"/>
                  </a:lnTo>
                  <a:lnTo>
                    <a:pt x="153" y="64"/>
                  </a:lnTo>
                  <a:lnTo>
                    <a:pt x="153" y="64"/>
                  </a:lnTo>
                  <a:lnTo>
                    <a:pt x="153" y="64"/>
                  </a:lnTo>
                  <a:lnTo>
                    <a:pt x="153" y="61"/>
                  </a:lnTo>
                  <a:lnTo>
                    <a:pt x="153" y="61"/>
                  </a:lnTo>
                  <a:lnTo>
                    <a:pt x="151" y="61"/>
                  </a:lnTo>
                  <a:lnTo>
                    <a:pt x="151" y="59"/>
                  </a:lnTo>
                  <a:lnTo>
                    <a:pt x="151" y="59"/>
                  </a:lnTo>
                  <a:lnTo>
                    <a:pt x="151" y="56"/>
                  </a:lnTo>
                  <a:lnTo>
                    <a:pt x="151" y="56"/>
                  </a:lnTo>
                  <a:lnTo>
                    <a:pt x="148" y="54"/>
                  </a:lnTo>
                  <a:lnTo>
                    <a:pt x="146" y="49"/>
                  </a:lnTo>
                  <a:lnTo>
                    <a:pt x="143" y="49"/>
                  </a:lnTo>
                  <a:lnTo>
                    <a:pt x="143" y="46"/>
                  </a:lnTo>
                  <a:lnTo>
                    <a:pt x="143" y="46"/>
                  </a:lnTo>
                  <a:lnTo>
                    <a:pt x="146" y="44"/>
                  </a:lnTo>
                  <a:lnTo>
                    <a:pt x="146" y="44"/>
                  </a:lnTo>
                  <a:lnTo>
                    <a:pt x="148" y="41"/>
                  </a:lnTo>
                  <a:lnTo>
                    <a:pt x="148" y="41"/>
                  </a:lnTo>
                  <a:lnTo>
                    <a:pt x="148" y="38"/>
                  </a:lnTo>
                  <a:lnTo>
                    <a:pt x="146" y="33"/>
                  </a:lnTo>
                  <a:lnTo>
                    <a:pt x="146" y="31"/>
                  </a:lnTo>
                  <a:lnTo>
                    <a:pt x="143" y="31"/>
                  </a:lnTo>
                  <a:lnTo>
                    <a:pt x="143" y="28"/>
                  </a:lnTo>
                  <a:lnTo>
                    <a:pt x="143" y="28"/>
                  </a:lnTo>
                  <a:lnTo>
                    <a:pt x="141" y="28"/>
                  </a:lnTo>
                  <a:lnTo>
                    <a:pt x="138" y="28"/>
                  </a:lnTo>
                  <a:lnTo>
                    <a:pt x="138" y="26"/>
                  </a:lnTo>
                  <a:lnTo>
                    <a:pt x="136" y="23"/>
                  </a:lnTo>
                  <a:lnTo>
                    <a:pt x="136" y="21"/>
                  </a:lnTo>
                  <a:lnTo>
                    <a:pt x="130" y="21"/>
                  </a:lnTo>
                  <a:lnTo>
                    <a:pt x="125" y="18"/>
                  </a:lnTo>
                  <a:lnTo>
                    <a:pt x="123" y="16"/>
                  </a:lnTo>
                  <a:lnTo>
                    <a:pt x="120" y="16"/>
                  </a:lnTo>
                  <a:lnTo>
                    <a:pt x="118" y="13"/>
                  </a:lnTo>
                  <a:lnTo>
                    <a:pt x="115" y="13"/>
                  </a:lnTo>
                  <a:lnTo>
                    <a:pt x="113" y="16"/>
                  </a:lnTo>
                  <a:lnTo>
                    <a:pt x="110" y="18"/>
                  </a:lnTo>
                  <a:lnTo>
                    <a:pt x="107" y="18"/>
                  </a:lnTo>
                  <a:lnTo>
                    <a:pt x="107" y="21"/>
                  </a:lnTo>
                  <a:lnTo>
                    <a:pt x="102" y="21"/>
                  </a:lnTo>
                  <a:lnTo>
                    <a:pt x="100" y="21"/>
                  </a:lnTo>
                  <a:lnTo>
                    <a:pt x="97" y="23"/>
                  </a:lnTo>
                  <a:lnTo>
                    <a:pt x="95" y="26"/>
                  </a:lnTo>
                  <a:lnTo>
                    <a:pt x="90" y="23"/>
                  </a:lnTo>
                  <a:lnTo>
                    <a:pt x="87" y="23"/>
                  </a:lnTo>
                  <a:lnTo>
                    <a:pt x="87" y="23"/>
                  </a:lnTo>
                  <a:lnTo>
                    <a:pt x="85" y="21"/>
                  </a:lnTo>
                  <a:lnTo>
                    <a:pt x="90" y="21"/>
                  </a:lnTo>
                  <a:lnTo>
                    <a:pt x="90" y="18"/>
                  </a:lnTo>
                  <a:lnTo>
                    <a:pt x="90" y="16"/>
                  </a:lnTo>
                  <a:lnTo>
                    <a:pt x="87" y="16"/>
                  </a:lnTo>
                  <a:lnTo>
                    <a:pt x="85" y="16"/>
                  </a:lnTo>
                  <a:lnTo>
                    <a:pt x="77" y="13"/>
                  </a:lnTo>
                  <a:lnTo>
                    <a:pt x="77" y="16"/>
                  </a:lnTo>
                  <a:lnTo>
                    <a:pt x="74" y="13"/>
                  </a:lnTo>
                  <a:lnTo>
                    <a:pt x="74" y="13"/>
                  </a:lnTo>
                  <a:lnTo>
                    <a:pt x="69" y="13"/>
                  </a:lnTo>
                  <a:lnTo>
                    <a:pt x="72" y="13"/>
                  </a:lnTo>
                  <a:lnTo>
                    <a:pt x="72" y="10"/>
                  </a:lnTo>
                  <a:lnTo>
                    <a:pt x="72" y="8"/>
                  </a:lnTo>
                  <a:lnTo>
                    <a:pt x="72" y="8"/>
                  </a:lnTo>
                  <a:lnTo>
                    <a:pt x="69" y="5"/>
                  </a:lnTo>
                  <a:lnTo>
                    <a:pt x="67" y="5"/>
                  </a:lnTo>
                  <a:lnTo>
                    <a:pt x="67" y="5"/>
                  </a:lnTo>
                  <a:lnTo>
                    <a:pt x="67" y="5"/>
                  </a:lnTo>
                  <a:lnTo>
                    <a:pt x="67" y="5"/>
                  </a:lnTo>
                  <a:lnTo>
                    <a:pt x="67" y="5"/>
                  </a:lnTo>
                  <a:lnTo>
                    <a:pt x="64" y="5"/>
                  </a:lnTo>
                  <a:lnTo>
                    <a:pt x="62" y="5"/>
                  </a:lnTo>
                  <a:lnTo>
                    <a:pt x="59" y="5"/>
                  </a:lnTo>
                  <a:lnTo>
                    <a:pt x="59" y="5"/>
                  </a:lnTo>
                  <a:lnTo>
                    <a:pt x="54" y="5"/>
                  </a:lnTo>
                  <a:lnTo>
                    <a:pt x="54" y="3"/>
                  </a:lnTo>
                  <a:lnTo>
                    <a:pt x="49" y="3"/>
                  </a:lnTo>
                  <a:lnTo>
                    <a:pt x="49" y="3"/>
                  </a:lnTo>
                  <a:lnTo>
                    <a:pt x="49" y="5"/>
                  </a:lnTo>
                  <a:lnTo>
                    <a:pt x="51" y="8"/>
                  </a:lnTo>
                  <a:lnTo>
                    <a:pt x="54" y="10"/>
                  </a:lnTo>
                  <a:lnTo>
                    <a:pt x="54" y="13"/>
                  </a:lnTo>
                  <a:lnTo>
                    <a:pt x="54" y="13"/>
                  </a:lnTo>
                  <a:lnTo>
                    <a:pt x="51" y="13"/>
                  </a:lnTo>
                  <a:lnTo>
                    <a:pt x="49" y="16"/>
                  </a:lnTo>
                  <a:lnTo>
                    <a:pt x="49" y="16"/>
                  </a:lnTo>
                  <a:lnTo>
                    <a:pt x="49" y="18"/>
                  </a:lnTo>
                  <a:lnTo>
                    <a:pt x="51" y="18"/>
                  </a:lnTo>
                  <a:lnTo>
                    <a:pt x="51" y="16"/>
                  </a:lnTo>
                  <a:lnTo>
                    <a:pt x="51" y="18"/>
                  </a:lnTo>
                  <a:lnTo>
                    <a:pt x="54" y="18"/>
                  </a:lnTo>
                  <a:lnTo>
                    <a:pt x="54" y="23"/>
                  </a:lnTo>
                  <a:lnTo>
                    <a:pt x="54" y="23"/>
                  </a:lnTo>
                  <a:lnTo>
                    <a:pt x="54" y="26"/>
                  </a:lnTo>
                  <a:lnTo>
                    <a:pt x="57" y="26"/>
                  </a:lnTo>
                  <a:lnTo>
                    <a:pt x="59" y="26"/>
                  </a:lnTo>
                  <a:lnTo>
                    <a:pt x="59" y="26"/>
                  </a:lnTo>
                  <a:lnTo>
                    <a:pt x="67" y="31"/>
                  </a:lnTo>
                  <a:lnTo>
                    <a:pt x="69" y="33"/>
                  </a:lnTo>
                  <a:lnTo>
                    <a:pt x="67" y="33"/>
                  </a:lnTo>
                  <a:lnTo>
                    <a:pt x="64" y="31"/>
                  </a:lnTo>
                  <a:lnTo>
                    <a:pt x="62" y="28"/>
                  </a:lnTo>
                  <a:lnTo>
                    <a:pt x="59" y="26"/>
                  </a:lnTo>
                  <a:lnTo>
                    <a:pt x="54" y="26"/>
                  </a:lnTo>
                  <a:lnTo>
                    <a:pt x="49" y="26"/>
                  </a:lnTo>
                  <a:lnTo>
                    <a:pt x="49" y="26"/>
                  </a:lnTo>
                  <a:lnTo>
                    <a:pt x="46" y="28"/>
                  </a:lnTo>
                  <a:lnTo>
                    <a:pt x="46" y="31"/>
                  </a:lnTo>
                  <a:lnTo>
                    <a:pt x="46" y="33"/>
                  </a:lnTo>
                  <a:lnTo>
                    <a:pt x="46" y="36"/>
                  </a:lnTo>
                  <a:lnTo>
                    <a:pt x="46" y="33"/>
                  </a:lnTo>
                  <a:lnTo>
                    <a:pt x="46" y="33"/>
                  </a:lnTo>
                  <a:lnTo>
                    <a:pt x="44" y="31"/>
                  </a:lnTo>
                  <a:lnTo>
                    <a:pt x="44" y="33"/>
                  </a:lnTo>
                  <a:lnTo>
                    <a:pt x="44" y="33"/>
                  </a:lnTo>
                  <a:lnTo>
                    <a:pt x="41" y="36"/>
                  </a:lnTo>
                  <a:lnTo>
                    <a:pt x="41" y="36"/>
                  </a:lnTo>
                  <a:lnTo>
                    <a:pt x="39" y="36"/>
                  </a:lnTo>
                  <a:lnTo>
                    <a:pt x="41" y="33"/>
                  </a:lnTo>
                  <a:lnTo>
                    <a:pt x="39" y="31"/>
                  </a:lnTo>
                  <a:lnTo>
                    <a:pt x="31" y="31"/>
                  </a:lnTo>
                  <a:lnTo>
                    <a:pt x="26" y="31"/>
                  </a:lnTo>
                  <a:lnTo>
                    <a:pt x="23" y="31"/>
                  </a:lnTo>
                  <a:lnTo>
                    <a:pt x="23" y="33"/>
                  </a:lnTo>
                  <a:lnTo>
                    <a:pt x="23" y="36"/>
                  </a:lnTo>
                  <a:lnTo>
                    <a:pt x="21" y="36"/>
                  </a:lnTo>
                  <a:lnTo>
                    <a:pt x="23" y="38"/>
                  </a:lnTo>
                  <a:lnTo>
                    <a:pt x="23" y="38"/>
                  </a:lnTo>
                  <a:lnTo>
                    <a:pt x="23" y="41"/>
                  </a:lnTo>
                  <a:lnTo>
                    <a:pt x="23" y="46"/>
                  </a:lnTo>
                  <a:lnTo>
                    <a:pt x="23" y="46"/>
                  </a:lnTo>
                  <a:lnTo>
                    <a:pt x="23" y="49"/>
                  </a:lnTo>
                  <a:lnTo>
                    <a:pt x="21" y="51"/>
                  </a:lnTo>
                  <a:lnTo>
                    <a:pt x="21" y="54"/>
                  </a:lnTo>
                  <a:lnTo>
                    <a:pt x="21" y="54"/>
                  </a:lnTo>
                  <a:lnTo>
                    <a:pt x="16" y="54"/>
                  </a:lnTo>
                  <a:lnTo>
                    <a:pt x="16" y="54"/>
                  </a:lnTo>
                  <a:lnTo>
                    <a:pt x="16" y="54"/>
                  </a:lnTo>
                  <a:lnTo>
                    <a:pt x="16" y="54"/>
                  </a:lnTo>
                  <a:lnTo>
                    <a:pt x="16" y="54"/>
                  </a:lnTo>
                  <a:lnTo>
                    <a:pt x="16" y="56"/>
                  </a:lnTo>
                  <a:lnTo>
                    <a:pt x="16" y="56"/>
                  </a:lnTo>
                  <a:lnTo>
                    <a:pt x="16" y="56"/>
                  </a:lnTo>
                  <a:lnTo>
                    <a:pt x="18" y="56"/>
                  </a:lnTo>
                  <a:lnTo>
                    <a:pt x="18" y="56"/>
                  </a:lnTo>
                  <a:lnTo>
                    <a:pt x="21" y="56"/>
                  </a:lnTo>
                  <a:lnTo>
                    <a:pt x="21" y="59"/>
                  </a:lnTo>
                  <a:lnTo>
                    <a:pt x="21" y="59"/>
                  </a:lnTo>
                  <a:lnTo>
                    <a:pt x="21" y="59"/>
                  </a:lnTo>
                  <a:lnTo>
                    <a:pt x="21" y="61"/>
                  </a:lnTo>
                  <a:lnTo>
                    <a:pt x="21" y="61"/>
                  </a:lnTo>
                  <a:lnTo>
                    <a:pt x="18" y="64"/>
                  </a:lnTo>
                  <a:lnTo>
                    <a:pt x="16" y="64"/>
                  </a:lnTo>
                  <a:lnTo>
                    <a:pt x="16" y="64"/>
                  </a:lnTo>
                  <a:lnTo>
                    <a:pt x="16" y="64"/>
                  </a:lnTo>
                  <a:lnTo>
                    <a:pt x="16" y="66"/>
                  </a:lnTo>
                  <a:lnTo>
                    <a:pt x="16" y="66"/>
                  </a:lnTo>
                  <a:lnTo>
                    <a:pt x="16" y="66"/>
                  </a:lnTo>
                  <a:lnTo>
                    <a:pt x="16" y="66"/>
                  </a:lnTo>
                  <a:lnTo>
                    <a:pt x="16" y="69"/>
                  </a:lnTo>
                  <a:lnTo>
                    <a:pt x="16" y="69"/>
                  </a:lnTo>
                  <a:lnTo>
                    <a:pt x="11" y="69"/>
                  </a:lnTo>
                  <a:lnTo>
                    <a:pt x="11" y="69"/>
                  </a:lnTo>
                  <a:lnTo>
                    <a:pt x="8" y="72"/>
                  </a:lnTo>
                  <a:lnTo>
                    <a:pt x="8" y="72"/>
                  </a:lnTo>
                  <a:lnTo>
                    <a:pt x="8" y="69"/>
                  </a:lnTo>
                  <a:lnTo>
                    <a:pt x="6" y="69"/>
                  </a:lnTo>
                  <a:lnTo>
                    <a:pt x="6" y="69"/>
                  </a:lnTo>
                  <a:lnTo>
                    <a:pt x="6" y="69"/>
                  </a:lnTo>
                  <a:lnTo>
                    <a:pt x="3" y="72"/>
                  </a:lnTo>
                  <a:lnTo>
                    <a:pt x="3" y="72"/>
                  </a:lnTo>
                  <a:lnTo>
                    <a:pt x="3" y="72"/>
                  </a:lnTo>
                  <a:lnTo>
                    <a:pt x="3" y="74"/>
                  </a:lnTo>
                  <a:lnTo>
                    <a:pt x="3" y="74"/>
                  </a:lnTo>
                  <a:lnTo>
                    <a:pt x="3" y="77"/>
                  </a:lnTo>
                  <a:lnTo>
                    <a:pt x="6" y="77"/>
                  </a:lnTo>
                  <a:lnTo>
                    <a:pt x="6" y="77"/>
                  </a:lnTo>
                  <a:lnTo>
                    <a:pt x="6" y="79"/>
                  </a:lnTo>
                  <a:lnTo>
                    <a:pt x="6" y="79"/>
                  </a:lnTo>
                  <a:lnTo>
                    <a:pt x="6" y="82"/>
                  </a:lnTo>
                  <a:lnTo>
                    <a:pt x="3" y="84"/>
                  </a:lnTo>
                  <a:lnTo>
                    <a:pt x="3" y="84"/>
                  </a:lnTo>
                  <a:lnTo>
                    <a:pt x="3" y="84"/>
                  </a:lnTo>
                  <a:lnTo>
                    <a:pt x="6" y="84"/>
                  </a:lnTo>
                  <a:lnTo>
                    <a:pt x="6" y="84"/>
                  </a:lnTo>
                  <a:lnTo>
                    <a:pt x="6" y="84"/>
                  </a:lnTo>
                  <a:lnTo>
                    <a:pt x="0" y="87"/>
                  </a:lnTo>
                  <a:lnTo>
                    <a:pt x="0" y="87"/>
                  </a:lnTo>
                  <a:lnTo>
                    <a:pt x="0" y="87"/>
                  </a:lnTo>
                  <a:lnTo>
                    <a:pt x="0" y="87"/>
                  </a:lnTo>
                  <a:lnTo>
                    <a:pt x="0" y="89"/>
                  </a:lnTo>
                  <a:lnTo>
                    <a:pt x="0" y="89"/>
                  </a:lnTo>
                  <a:lnTo>
                    <a:pt x="0" y="89"/>
                  </a:lnTo>
                  <a:lnTo>
                    <a:pt x="3" y="89"/>
                  </a:lnTo>
                  <a:lnTo>
                    <a:pt x="3" y="92"/>
                  </a:lnTo>
                  <a:lnTo>
                    <a:pt x="3" y="94"/>
                  </a:lnTo>
                  <a:lnTo>
                    <a:pt x="3" y="94"/>
                  </a:lnTo>
                  <a:lnTo>
                    <a:pt x="3" y="94"/>
                  </a:lnTo>
                  <a:lnTo>
                    <a:pt x="6" y="97"/>
                  </a:lnTo>
                  <a:lnTo>
                    <a:pt x="6" y="97"/>
                  </a:lnTo>
                  <a:lnTo>
                    <a:pt x="6" y="99"/>
                  </a:lnTo>
                  <a:lnTo>
                    <a:pt x="6" y="99"/>
                  </a:lnTo>
                  <a:lnTo>
                    <a:pt x="6" y="99"/>
                  </a:lnTo>
                  <a:lnTo>
                    <a:pt x="8" y="99"/>
                  </a:lnTo>
                  <a:lnTo>
                    <a:pt x="8" y="99"/>
                  </a:lnTo>
                  <a:lnTo>
                    <a:pt x="8" y="102"/>
                  </a:lnTo>
                  <a:lnTo>
                    <a:pt x="8" y="105"/>
                  </a:lnTo>
                  <a:lnTo>
                    <a:pt x="6" y="105"/>
                  </a:lnTo>
                  <a:lnTo>
                    <a:pt x="3" y="107"/>
                  </a:lnTo>
                  <a:lnTo>
                    <a:pt x="3" y="107"/>
                  </a:lnTo>
                  <a:lnTo>
                    <a:pt x="3" y="110"/>
                  </a:lnTo>
                  <a:lnTo>
                    <a:pt x="3" y="110"/>
                  </a:lnTo>
                  <a:lnTo>
                    <a:pt x="3" y="112"/>
                  </a:lnTo>
                  <a:lnTo>
                    <a:pt x="6" y="112"/>
                  </a:lnTo>
                  <a:lnTo>
                    <a:pt x="6" y="112"/>
                  </a:lnTo>
                  <a:lnTo>
                    <a:pt x="8" y="115"/>
                  </a:lnTo>
                  <a:lnTo>
                    <a:pt x="8" y="115"/>
                  </a:lnTo>
                  <a:lnTo>
                    <a:pt x="11" y="115"/>
                  </a:lnTo>
                  <a:lnTo>
                    <a:pt x="11" y="115"/>
                  </a:lnTo>
                  <a:lnTo>
                    <a:pt x="11" y="117"/>
                  </a:lnTo>
                  <a:lnTo>
                    <a:pt x="8" y="117"/>
                  </a:lnTo>
                  <a:lnTo>
                    <a:pt x="8" y="117"/>
                  </a:lnTo>
                  <a:lnTo>
                    <a:pt x="8" y="120"/>
                  </a:lnTo>
                  <a:lnTo>
                    <a:pt x="8" y="122"/>
                  </a:lnTo>
                  <a:lnTo>
                    <a:pt x="8" y="122"/>
                  </a:lnTo>
                  <a:lnTo>
                    <a:pt x="8" y="122"/>
                  </a:lnTo>
                  <a:lnTo>
                    <a:pt x="11" y="122"/>
                  </a:lnTo>
                  <a:lnTo>
                    <a:pt x="11" y="125"/>
                  </a:lnTo>
                  <a:lnTo>
                    <a:pt x="11" y="125"/>
                  </a:lnTo>
                  <a:lnTo>
                    <a:pt x="11" y="125"/>
                  </a:lnTo>
                  <a:lnTo>
                    <a:pt x="11" y="127"/>
                  </a:lnTo>
                  <a:lnTo>
                    <a:pt x="13" y="130"/>
                  </a:lnTo>
                  <a:lnTo>
                    <a:pt x="16" y="130"/>
                  </a:lnTo>
                  <a:lnTo>
                    <a:pt x="16" y="130"/>
                  </a:lnTo>
                  <a:lnTo>
                    <a:pt x="16" y="127"/>
                  </a:lnTo>
                  <a:lnTo>
                    <a:pt x="16" y="127"/>
                  </a:lnTo>
                  <a:lnTo>
                    <a:pt x="18" y="127"/>
                  </a:lnTo>
                  <a:lnTo>
                    <a:pt x="18" y="127"/>
                  </a:lnTo>
                  <a:lnTo>
                    <a:pt x="18" y="130"/>
                  </a:lnTo>
                  <a:lnTo>
                    <a:pt x="18" y="130"/>
                  </a:lnTo>
                  <a:lnTo>
                    <a:pt x="21" y="130"/>
                  </a:lnTo>
                  <a:lnTo>
                    <a:pt x="21" y="130"/>
                  </a:lnTo>
                  <a:lnTo>
                    <a:pt x="23" y="130"/>
                  </a:lnTo>
                  <a:lnTo>
                    <a:pt x="23" y="130"/>
                  </a:lnTo>
                  <a:lnTo>
                    <a:pt x="26" y="130"/>
                  </a:lnTo>
                  <a:lnTo>
                    <a:pt x="26" y="130"/>
                  </a:lnTo>
                  <a:lnTo>
                    <a:pt x="28" y="130"/>
                  </a:lnTo>
                  <a:lnTo>
                    <a:pt x="28" y="130"/>
                  </a:lnTo>
                  <a:lnTo>
                    <a:pt x="34" y="133"/>
                  </a:lnTo>
                  <a:lnTo>
                    <a:pt x="36" y="133"/>
                  </a:lnTo>
                  <a:lnTo>
                    <a:pt x="39" y="133"/>
                  </a:lnTo>
                  <a:lnTo>
                    <a:pt x="39" y="133"/>
                  </a:lnTo>
                  <a:lnTo>
                    <a:pt x="39" y="135"/>
                  </a:lnTo>
                  <a:lnTo>
                    <a:pt x="39" y="135"/>
                  </a:lnTo>
                  <a:lnTo>
                    <a:pt x="34" y="140"/>
                  </a:lnTo>
                  <a:lnTo>
                    <a:pt x="34" y="140"/>
                  </a:lnTo>
                  <a:lnTo>
                    <a:pt x="34" y="143"/>
                  </a:lnTo>
                  <a:lnTo>
                    <a:pt x="31" y="145"/>
                  </a:lnTo>
                  <a:lnTo>
                    <a:pt x="31" y="148"/>
                  </a:lnTo>
                  <a:lnTo>
                    <a:pt x="28" y="150"/>
                  </a:lnTo>
                  <a:lnTo>
                    <a:pt x="28" y="153"/>
                  </a:lnTo>
                  <a:lnTo>
                    <a:pt x="28" y="155"/>
                  </a:lnTo>
                  <a:lnTo>
                    <a:pt x="28" y="158"/>
                  </a:lnTo>
                  <a:lnTo>
                    <a:pt x="28" y="161"/>
                  </a:lnTo>
                  <a:lnTo>
                    <a:pt x="28" y="163"/>
                  </a:lnTo>
                  <a:lnTo>
                    <a:pt x="28" y="163"/>
                  </a:lnTo>
                  <a:lnTo>
                    <a:pt x="28" y="163"/>
                  </a:lnTo>
                  <a:lnTo>
                    <a:pt x="31" y="166"/>
                  </a:lnTo>
                  <a:lnTo>
                    <a:pt x="34" y="166"/>
                  </a:lnTo>
                  <a:lnTo>
                    <a:pt x="36" y="163"/>
                  </a:lnTo>
                  <a:lnTo>
                    <a:pt x="39" y="163"/>
                  </a:lnTo>
                  <a:lnTo>
                    <a:pt x="41" y="163"/>
                  </a:lnTo>
                  <a:lnTo>
                    <a:pt x="44" y="163"/>
                  </a:lnTo>
                  <a:lnTo>
                    <a:pt x="44" y="163"/>
                  </a:lnTo>
                  <a:lnTo>
                    <a:pt x="44" y="163"/>
                  </a:lnTo>
                  <a:lnTo>
                    <a:pt x="44" y="163"/>
                  </a:lnTo>
                  <a:lnTo>
                    <a:pt x="46" y="163"/>
                  </a:lnTo>
                  <a:lnTo>
                    <a:pt x="46" y="163"/>
                  </a:lnTo>
                  <a:lnTo>
                    <a:pt x="46" y="163"/>
                  </a:lnTo>
                  <a:lnTo>
                    <a:pt x="46" y="163"/>
                  </a:lnTo>
                  <a:lnTo>
                    <a:pt x="44" y="163"/>
                  </a:lnTo>
                  <a:lnTo>
                    <a:pt x="44" y="163"/>
                  </a:lnTo>
                  <a:lnTo>
                    <a:pt x="44" y="161"/>
                  </a:lnTo>
                  <a:lnTo>
                    <a:pt x="44" y="161"/>
                  </a:lnTo>
                  <a:lnTo>
                    <a:pt x="44" y="161"/>
                  </a:lnTo>
                  <a:lnTo>
                    <a:pt x="46" y="161"/>
                  </a:lnTo>
                  <a:lnTo>
                    <a:pt x="46" y="161"/>
                  </a:lnTo>
                  <a:lnTo>
                    <a:pt x="49" y="161"/>
                  </a:lnTo>
                  <a:lnTo>
                    <a:pt x="49" y="161"/>
                  </a:lnTo>
                  <a:lnTo>
                    <a:pt x="49" y="161"/>
                  </a:lnTo>
                  <a:lnTo>
                    <a:pt x="49" y="161"/>
                  </a:lnTo>
                  <a:lnTo>
                    <a:pt x="51" y="161"/>
                  </a:lnTo>
                  <a:lnTo>
                    <a:pt x="51" y="163"/>
                  </a:lnTo>
                  <a:lnTo>
                    <a:pt x="51" y="163"/>
                  </a:lnTo>
                  <a:lnTo>
                    <a:pt x="57" y="163"/>
                  </a:lnTo>
                  <a:lnTo>
                    <a:pt x="57" y="163"/>
                  </a:lnTo>
                  <a:lnTo>
                    <a:pt x="59" y="163"/>
                  </a:lnTo>
                  <a:lnTo>
                    <a:pt x="62" y="166"/>
                  </a:lnTo>
                  <a:lnTo>
                    <a:pt x="64" y="166"/>
                  </a:lnTo>
                  <a:lnTo>
                    <a:pt x="64" y="166"/>
                  </a:lnTo>
                  <a:lnTo>
                    <a:pt x="67" y="166"/>
                  </a:lnTo>
                  <a:lnTo>
                    <a:pt x="67" y="163"/>
                  </a:lnTo>
                  <a:lnTo>
                    <a:pt x="69" y="166"/>
                  </a:lnTo>
                  <a:lnTo>
                    <a:pt x="72" y="166"/>
                  </a:lnTo>
                  <a:lnTo>
                    <a:pt x="72" y="166"/>
                  </a:lnTo>
                  <a:lnTo>
                    <a:pt x="72" y="168"/>
                  </a:lnTo>
                  <a:lnTo>
                    <a:pt x="72" y="168"/>
                  </a:lnTo>
                  <a:lnTo>
                    <a:pt x="72" y="168"/>
                  </a:lnTo>
                  <a:lnTo>
                    <a:pt x="72" y="168"/>
                  </a:lnTo>
                  <a:lnTo>
                    <a:pt x="74" y="168"/>
                  </a:lnTo>
                  <a:lnTo>
                    <a:pt x="74" y="168"/>
                  </a:lnTo>
                  <a:lnTo>
                    <a:pt x="74" y="171"/>
                  </a:lnTo>
                  <a:lnTo>
                    <a:pt x="74" y="171"/>
                  </a:lnTo>
                  <a:lnTo>
                    <a:pt x="74" y="171"/>
                  </a:lnTo>
                  <a:lnTo>
                    <a:pt x="77" y="171"/>
                  </a:lnTo>
                  <a:lnTo>
                    <a:pt x="77" y="168"/>
                  </a:lnTo>
                  <a:lnTo>
                    <a:pt x="79" y="168"/>
                  </a:lnTo>
                  <a:lnTo>
                    <a:pt x="79" y="166"/>
                  </a:lnTo>
                  <a:lnTo>
                    <a:pt x="79" y="166"/>
                  </a:lnTo>
                  <a:lnTo>
                    <a:pt x="79" y="166"/>
                  </a:lnTo>
                  <a:lnTo>
                    <a:pt x="82" y="166"/>
                  </a:lnTo>
                  <a:lnTo>
                    <a:pt x="85" y="166"/>
                  </a:lnTo>
                  <a:lnTo>
                    <a:pt x="87" y="166"/>
                  </a:lnTo>
                  <a:lnTo>
                    <a:pt x="87" y="166"/>
                  </a:lnTo>
                  <a:lnTo>
                    <a:pt x="87" y="166"/>
                  </a:lnTo>
                  <a:lnTo>
                    <a:pt x="87" y="168"/>
                  </a:lnTo>
                  <a:lnTo>
                    <a:pt x="90" y="168"/>
                  </a:lnTo>
                  <a:lnTo>
                    <a:pt x="90" y="168"/>
                  </a:lnTo>
                  <a:lnTo>
                    <a:pt x="92" y="168"/>
                  </a:lnTo>
                  <a:lnTo>
                    <a:pt x="92" y="168"/>
                  </a:lnTo>
                  <a:lnTo>
                    <a:pt x="92" y="168"/>
                  </a:lnTo>
                  <a:lnTo>
                    <a:pt x="95" y="168"/>
                  </a:lnTo>
                  <a:lnTo>
                    <a:pt x="95" y="166"/>
                  </a:lnTo>
                  <a:lnTo>
                    <a:pt x="95" y="166"/>
                  </a:lnTo>
                  <a:lnTo>
                    <a:pt x="97" y="166"/>
                  </a:lnTo>
                  <a:lnTo>
                    <a:pt x="100" y="166"/>
                  </a:lnTo>
                  <a:lnTo>
                    <a:pt x="102" y="163"/>
                  </a:lnTo>
                  <a:lnTo>
                    <a:pt x="110" y="163"/>
                  </a:lnTo>
                  <a:lnTo>
                    <a:pt x="110" y="163"/>
                  </a:lnTo>
                  <a:lnTo>
                    <a:pt x="110" y="161"/>
                  </a:lnTo>
                  <a:lnTo>
                    <a:pt x="110" y="161"/>
                  </a:lnTo>
                  <a:lnTo>
                    <a:pt x="113" y="161"/>
                  </a:lnTo>
                  <a:lnTo>
                    <a:pt x="113" y="161"/>
                  </a:lnTo>
                  <a:lnTo>
                    <a:pt x="115" y="163"/>
                  </a:lnTo>
                  <a:lnTo>
                    <a:pt x="115" y="163"/>
                  </a:lnTo>
                  <a:lnTo>
                    <a:pt x="115" y="163"/>
                  </a:lnTo>
                  <a:lnTo>
                    <a:pt x="118" y="163"/>
                  </a:lnTo>
                  <a:lnTo>
                    <a:pt x="118" y="163"/>
                  </a:lnTo>
                  <a:lnTo>
                    <a:pt x="120" y="163"/>
                  </a:lnTo>
                  <a:lnTo>
                    <a:pt x="120" y="163"/>
                  </a:lnTo>
                  <a:lnTo>
                    <a:pt x="120" y="163"/>
                  </a:lnTo>
                  <a:lnTo>
                    <a:pt x="120" y="166"/>
                  </a:lnTo>
                  <a:lnTo>
                    <a:pt x="120" y="166"/>
                  </a:lnTo>
                  <a:lnTo>
                    <a:pt x="123" y="166"/>
                  </a:lnTo>
                  <a:lnTo>
                    <a:pt x="123" y="166"/>
                  </a:lnTo>
                  <a:lnTo>
                    <a:pt x="125" y="166"/>
                  </a:lnTo>
                  <a:lnTo>
                    <a:pt x="125" y="166"/>
                  </a:lnTo>
                  <a:lnTo>
                    <a:pt x="125" y="163"/>
                  </a:lnTo>
                  <a:lnTo>
                    <a:pt x="125" y="163"/>
                  </a:lnTo>
                  <a:lnTo>
                    <a:pt x="125" y="161"/>
                  </a:lnTo>
                  <a:lnTo>
                    <a:pt x="125" y="161"/>
                  </a:lnTo>
                  <a:lnTo>
                    <a:pt x="123" y="161"/>
                  </a:lnTo>
                  <a:lnTo>
                    <a:pt x="123" y="161"/>
                  </a:lnTo>
                  <a:lnTo>
                    <a:pt x="123" y="161"/>
                  </a:lnTo>
                  <a:lnTo>
                    <a:pt x="123" y="158"/>
                  </a:lnTo>
                  <a:lnTo>
                    <a:pt x="123" y="158"/>
                  </a:lnTo>
                  <a:lnTo>
                    <a:pt x="123" y="155"/>
                  </a:lnTo>
                  <a:lnTo>
                    <a:pt x="120" y="153"/>
                  </a:lnTo>
                  <a:lnTo>
                    <a:pt x="120" y="153"/>
                  </a:lnTo>
                  <a:lnTo>
                    <a:pt x="120" y="150"/>
                  </a:lnTo>
                  <a:lnTo>
                    <a:pt x="123" y="150"/>
                  </a:lnTo>
                  <a:lnTo>
                    <a:pt x="125" y="148"/>
                  </a:lnTo>
                  <a:lnTo>
                    <a:pt x="128" y="148"/>
                  </a:lnTo>
                  <a:lnTo>
                    <a:pt x="128" y="148"/>
                  </a:lnTo>
                  <a:lnTo>
                    <a:pt x="130" y="148"/>
                  </a:lnTo>
                  <a:lnTo>
                    <a:pt x="130" y="148"/>
                  </a:lnTo>
                  <a:lnTo>
                    <a:pt x="130" y="145"/>
                  </a:lnTo>
                  <a:lnTo>
                    <a:pt x="133" y="143"/>
                  </a:lnTo>
                  <a:lnTo>
                    <a:pt x="133" y="143"/>
                  </a:lnTo>
                  <a:lnTo>
                    <a:pt x="133" y="143"/>
                  </a:lnTo>
                  <a:lnTo>
                    <a:pt x="136" y="143"/>
                  </a:lnTo>
                  <a:lnTo>
                    <a:pt x="136" y="143"/>
                  </a:lnTo>
                  <a:lnTo>
                    <a:pt x="138" y="143"/>
                  </a:lnTo>
                  <a:lnTo>
                    <a:pt x="138" y="143"/>
                  </a:lnTo>
                  <a:lnTo>
                    <a:pt x="138" y="140"/>
                  </a:lnTo>
                  <a:lnTo>
                    <a:pt x="138" y="140"/>
                  </a:lnTo>
                  <a:lnTo>
                    <a:pt x="138" y="138"/>
                  </a:lnTo>
                  <a:lnTo>
                    <a:pt x="138" y="138"/>
                  </a:lnTo>
                  <a:lnTo>
                    <a:pt x="138" y="138"/>
                  </a:lnTo>
                  <a:lnTo>
                    <a:pt x="136" y="135"/>
                  </a:lnTo>
                  <a:lnTo>
                    <a:pt x="133" y="133"/>
                  </a:lnTo>
                  <a:lnTo>
                    <a:pt x="133" y="133"/>
                  </a:lnTo>
                  <a:lnTo>
                    <a:pt x="130" y="133"/>
                  </a:lnTo>
                  <a:lnTo>
                    <a:pt x="130" y="133"/>
                  </a:lnTo>
                  <a:lnTo>
                    <a:pt x="130" y="133"/>
                  </a:lnTo>
                  <a:lnTo>
                    <a:pt x="128" y="130"/>
                  </a:lnTo>
                  <a:lnTo>
                    <a:pt x="128" y="130"/>
                  </a:lnTo>
                  <a:lnTo>
                    <a:pt x="125" y="130"/>
                  </a:lnTo>
                  <a:lnTo>
                    <a:pt x="125" y="127"/>
                  </a:lnTo>
                  <a:lnTo>
                    <a:pt x="123" y="125"/>
                  </a:lnTo>
                  <a:lnTo>
                    <a:pt x="120" y="125"/>
                  </a:lnTo>
                  <a:lnTo>
                    <a:pt x="120" y="125"/>
                  </a:lnTo>
                  <a:lnTo>
                    <a:pt x="118" y="122"/>
                  </a:lnTo>
                  <a:lnTo>
                    <a:pt x="118" y="122"/>
                  </a:lnTo>
                  <a:lnTo>
                    <a:pt x="115" y="120"/>
                  </a:lnTo>
                  <a:lnTo>
                    <a:pt x="115" y="117"/>
                  </a:lnTo>
                  <a:lnTo>
                    <a:pt x="115" y="117"/>
                  </a:lnTo>
                  <a:lnTo>
                    <a:pt x="113" y="117"/>
                  </a:lnTo>
                  <a:lnTo>
                    <a:pt x="113" y="117"/>
                  </a:lnTo>
                  <a:lnTo>
                    <a:pt x="115" y="115"/>
                  </a:lnTo>
                  <a:lnTo>
                    <a:pt x="115" y="115"/>
                  </a:lnTo>
                  <a:lnTo>
                    <a:pt x="115" y="115"/>
                  </a:lnTo>
                  <a:lnTo>
                    <a:pt x="115" y="112"/>
                  </a:lnTo>
                  <a:lnTo>
                    <a:pt x="115" y="112"/>
                  </a:lnTo>
                  <a:lnTo>
                    <a:pt x="115" y="112"/>
                  </a:lnTo>
                  <a:lnTo>
                    <a:pt x="113" y="110"/>
                  </a:lnTo>
                  <a:lnTo>
                    <a:pt x="110" y="110"/>
                  </a:lnTo>
                  <a:lnTo>
                    <a:pt x="110" y="107"/>
                  </a:lnTo>
                  <a:lnTo>
                    <a:pt x="110" y="107"/>
                  </a:lnTo>
                  <a:lnTo>
                    <a:pt x="110" y="107"/>
                  </a:lnTo>
                  <a:lnTo>
                    <a:pt x="107" y="105"/>
                  </a:lnTo>
                  <a:lnTo>
                    <a:pt x="107" y="105"/>
                  </a:lnTo>
                  <a:lnTo>
                    <a:pt x="107" y="105"/>
                  </a:lnTo>
                  <a:lnTo>
                    <a:pt x="107" y="105"/>
                  </a:lnTo>
                  <a:lnTo>
                    <a:pt x="107" y="105"/>
                  </a:lnTo>
                  <a:lnTo>
                    <a:pt x="110" y="105"/>
                  </a:lnTo>
                  <a:lnTo>
                    <a:pt x="110" y="105"/>
                  </a:lnTo>
                  <a:lnTo>
                    <a:pt x="110" y="107"/>
                  </a:lnTo>
                  <a:lnTo>
                    <a:pt x="113" y="107"/>
                  </a:lnTo>
                  <a:lnTo>
                    <a:pt x="113" y="105"/>
                  </a:lnTo>
                  <a:lnTo>
                    <a:pt x="115" y="102"/>
                  </a:lnTo>
                  <a:lnTo>
                    <a:pt x="115" y="102"/>
                  </a:lnTo>
                  <a:lnTo>
                    <a:pt x="118" y="102"/>
                  </a:lnTo>
                  <a:lnTo>
                    <a:pt x="118" y="102"/>
                  </a:lnTo>
                  <a:lnTo>
                    <a:pt x="120" y="102"/>
                  </a:lnTo>
                  <a:lnTo>
                    <a:pt x="120" y="102"/>
                  </a:lnTo>
                  <a:lnTo>
                    <a:pt x="123" y="102"/>
                  </a:lnTo>
                  <a:lnTo>
                    <a:pt x="123" y="102"/>
                  </a:lnTo>
                  <a:lnTo>
                    <a:pt x="123" y="99"/>
                  </a:lnTo>
                  <a:lnTo>
                    <a:pt x="123" y="99"/>
                  </a:lnTo>
                  <a:lnTo>
                    <a:pt x="128" y="99"/>
                  </a:lnTo>
                  <a:lnTo>
                    <a:pt x="128" y="97"/>
                  </a:lnTo>
                  <a:lnTo>
                    <a:pt x="128" y="97"/>
                  </a:lnTo>
                  <a:lnTo>
                    <a:pt x="128" y="97"/>
                  </a:lnTo>
                  <a:lnTo>
                    <a:pt x="130" y="97"/>
                  </a:lnTo>
                  <a:lnTo>
                    <a:pt x="130" y="97"/>
                  </a:lnTo>
                  <a:lnTo>
                    <a:pt x="130" y="97"/>
                  </a:lnTo>
                  <a:lnTo>
                    <a:pt x="130" y="97"/>
                  </a:lnTo>
                  <a:lnTo>
                    <a:pt x="133" y="97"/>
                  </a:lnTo>
                  <a:lnTo>
                    <a:pt x="133" y="94"/>
                  </a:lnTo>
                  <a:lnTo>
                    <a:pt x="133" y="94"/>
                  </a:lnTo>
                  <a:lnTo>
                    <a:pt x="136" y="94"/>
                  </a:lnTo>
                  <a:lnTo>
                    <a:pt x="138" y="94"/>
                  </a:lnTo>
                  <a:lnTo>
                    <a:pt x="141" y="92"/>
                  </a:lnTo>
                  <a:lnTo>
                    <a:pt x="143" y="92"/>
                  </a:lnTo>
                  <a:lnTo>
                    <a:pt x="146" y="92"/>
                  </a:lnTo>
                  <a:lnTo>
                    <a:pt x="148" y="92"/>
                  </a:lnTo>
                  <a:lnTo>
                    <a:pt x="148" y="89"/>
                  </a:lnTo>
                  <a:lnTo>
                    <a:pt x="146" y="89"/>
                  </a:lnTo>
                  <a:lnTo>
                    <a:pt x="146" y="89"/>
                  </a:lnTo>
                  <a:lnTo>
                    <a:pt x="146" y="89"/>
                  </a:lnTo>
                  <a:lnTo>
                    <a:pt x="146" y="87"/>
                  </a:lnTo>
                  <a:lnTo>
                    <a:pt x="146" y="87"/>
                  </a:lnTo>
                  <a:lnTo>
                    <a:pt x="148" y="87"/>
                  </a:lnTo>
                  <a:lnTo>
                    <a:pt x="151" y="89"/>
                  </a:lnTo>
                  <a:lnTo>
                    <a:pt x="151" y="89"/>
                  </a:lnTo>
                  <a:lnTo>
                    <a:pt x="151" y="89"/>
                  </a:lnTo>
                  <a:lnTo>
                    <a:pt x="151" y="89"/>
                  </a:lnTo>
                  <a:lnTo>
                    <a:pt x="151" y="89"/>
                  </a:lnTo>
                  <a:lnTo>
                    <a:pt x="151" y="92"/>
                  </a:lnTo>
                  <a:lnTo>
                    <a:pt x="153" y="92"/>
                  </a:lnTo>
                  <a:lnTo>
                    <a:pt x="153" y="92"/>
                  </a:lnTo>
                  <a:lnTo>
                    <a:pt x="153" y="92"/>
                  </a:lnTo>
                  <a:lnTo>
                    <a:pt x="156" y="92"/>
                  </a:lnTo>
                  <a:lnTo>
                    <a:pt x="156" y="92"/>
                  </a:lnTo>
                  <a:lnTo>
                    <a:pt x="156" y="92"/>
                  </a:lnTo>
                  <a:lnTo>
                    <a:pt x="156" y="89"/>
                  </a:lnTo>
                  <a:lnTo>
                    <a:pt x="158" y="87"/>
                  </a:lnTo>
                  <a:lnTo>
                    <a:pt x="158" y="84"/>
                  </a:lnTo>
                  <a:lnTo>
                    <a:pt x="158" y="79"/>
                  </a:lnTo>
                  <a:close/>
                  <a:moveTo>
                    <a:pt x="44" y="5"/>
                  </a:moveTo>
                  <a:lnTo>
                    <a:pt x="49" y="5"/>
                  </a:lnTo>
                  <a:lnTo>
                    <a:pt x="49" y="5"/>
                  </a:lnTo>
                  <a:lnTo>
                    <a:pt x="44" y="3"/>
                  </a:lnTo>
                  <a:lnTo>
                    <a:pt x="44" y="3"/>
                  </a:lnTo>
                  <a:lnTo>
                    <a:pt x="46" y="3"/>
                  </a:lnTo>
                  <a:lnTo>
                    <a:pt x="46" y="3"/>
                  </a:lnTo>
                  <a:lnTo>
                    <a:pt x="46" y="0"/>
                  </a:lnTo>
                  <a:lnTo>
                    <a:pt x="46" y="0"/>
                  </a:lnTo>
                  <a:lnTo>
                    <a:pt x="44" y="3"/>
                  </a:lnTo>
                  <a:lnTo>
                    <a:pt x="44" y="8"/>
                  </a:lnTo>
                  <a:lnTo>
                    <a:pt x="44" y="5"/>
                  </a:lnTo>
                  <a:lnTo>
                    <a:pt x="44" y="5"/>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313" name="Freeform 1932">
              <a:extLst>
                <a:ext uri="{FF2B5EF4-FFF2-40B4-BE49-F238E27FC236}">
                  <a16:creationId xmlns:a16="http://schemas.microsoft.com/office/drawing/2014/main" id="{E4562873-E650-AA42-BFBA-AC6E5B65F98D}"/>
                </a:ext>
              </a:extLst>
            </p:cNvPr>
            <p:cNvSpPr>
              <a:spLocks/>
            </p:cNvSpPr>
            <p:nvPr/>
          </p:nvSpPr>
          <p:spPr bwMode="auto">
            <a:xfrm>
              <a:off x="6833767" y="2186657"/>
              <a:ext cx="209374" cy="91601"/>
            </a:xfrm>
            <a:custGeom>
              <a:avLst/>
              <a:gdLst>
                <a:gd name="T0" fmla="*/ 123 w 128"/>
                <a:gd name="T1" fmla="*/ 46 h 56"/>
                <a:gd name="T2" fmla="*/ 120 w 128"/>
                <a:gd name="T3" fmla="*/ 43 h 56"/>
                <a:gd name="T4" fmla="*/ 117 w 128"/>
                <a:gd name="T5" fmla="*/ 40 h 56"/>
                <a:gd name="T6" fmla="*/ 120 w 128"/>
                <a:gd name="T7" fmla="*/ 40 h 56"/>
                <a:gd name="T8" fmla="*/ 123 w 128"/>
                <a:gd name="T9" fmla="*/ 35 h 56"/>
                <a:gd name="T10" fmla="*/ 117 w 128"/>
                <a:gd name="T11" fmla="*/ 35 h 56"/>
                <a:gd name="T12" fmla="*/ 112 w 128"/>
                <a:gd name="T13" fmla="*/ 33 h 56"/>
                <a:gd name="T14" fmla="*/ 107 w 128"/>
                <a:gd name="T15" fmla="*/ 30 h 56"/>
                <a:gd name="T16" fmla="*/ 107 w 128"/>
                <a:gd name="T17" fmla="*/ 25 h 56"/>
                <a:gd name="T18" fmla="*/ 105 w 128"/>
                <a:gd name="T19" fmla="*/ 23 h 56"/>
                <a:gd name="T20" fmla="*/ 97 w 128"/>
                <a:gd name="T21" fmla="*/ 20 h 56"/>
                <a:gd name="T22" fmla="*/ 92 w 128"/>
                <a:gd name="T23" fmla="*/ 18 h 56"/>
                <a:gd name="T24" fmla="*/ 89 w 128"/>
                <a:gd name="T25" fmla="*/ 20 h 56"/>
                <a:gd name="T26" fmla="*/ 84 w 128"/>
                <a:gd name="T27" fmla="*/ 18 h 56"/>
                <a:gd name="T28" fmla="*/ 79 w 128"/>
                <a:gd name="T29" fmla="*/ 20 h 56"/>
                <a:gd name="T30" fmla="*/ 74 w 128"/>
                <a:gd name="T31" fmla="*/ 23 h 56"/>
                <a:gd name="T32" fmla="*/ 69 w 128"/>
                <a:gd name="T33" fmla="*/ 20 h 56"/>
                <a:gd name="T34" fmla="*/ 72 w 128"/>
                <a:gd name="T35" fmla="*/ 18 h 56"/>
                <a:gd name="T36" fmla="*/ 66 w 128"/>
                <a:gd name="T37" fmla="*/ 15 h 56"/>
                <a:gd name="T38" fmla="*/ 56 w 128"/>
                <a:gd name="T39" fmla="*/ 10 h 56"/>
                <a:gd name="T40" fmla="*/ 51 w 128"/>
                <a:gd name="T41" fmla="*/ 7 h 56"/>
                <a:gd name="T42" fmla="*/ 44 w 128"/>
                <a:gd name="T43" fmla="*/ 7 h 56"/>
                <a:gd name="T44" fmla="*/ 38 w 128"/>
                <a:gd name="T45" fmla="*/ 7 h 56"/>
                <a:gd name="T46" fmla="*/ 26 w 128"/>
                <a:gd name="T47" fmla="*/ 7 h 56"/>
                <a:gd name="T48" fmla="*/ 15 w 128"/>
                <a:gd name="T49" fmla="*/ 2 h 56"/>
                <a:gd name="T50" fmla="*/ 8 w 128"/>
                <a:gd name="T51" fmla="*/ 0 h 56"/>
                <a:gd name="T52" fmla="*/ 0 w 128"/>
                <a:gd name="T53" fmla="*/ 0 h 56"/>
                <a:gd name="T54" fmla="*/ 3 w 128"/>
                <a:gd name="T55" fmla="*/ 5 h 56"/>
                <a:gd name="T56" fmla="*/ 15 w 128"/>
                <a:gd name="T57" fmla="*/ 10 h 56"/>
                <a:gd name="T58" fmla="*/ 28 w 128"/>
                <a:gd name="T59" fmla="*/ 18 h 56"/>
                <a:gd name="T60" fmla="*/ 33 w 128"/>
                <a:gd name="T61" fmla="*/ 30 h 56"/>
                <a:gd name="T62" fmla="*/ 36 w 128"/>
                <a:gd name="T63" fmla="*/ 38 h 56"/>
                <a:gd name="T64" fmla="*/ 33 w 128"/>
                <a:gd name="T65" fmla="*/ 46 h 56"/>
                <a:gd name="T66" fmla="*/ 38 w 128"/>
                <a:gd name="T67" fmla="*/ 46 h 56"/>
                <a:gd name="T68" fmla="*/ 46 w 128"/>
                <a:gd name="T69" fmla="*/ 46 h 56"/>
                <a:gd name="T70" fmla="*/ 51 w 128"/>
                <a:gd name="T71" fmla="*/ 46 h 56"/>
                <a:gd name="T72" fmla="*/ 54 w 128"/>
                <a:gd name="T73" fmla="*/ 43 h 56"/>
                <a:gd name="T74" fmla="*/ 56 w 128"/>
                <a:gd name="T75" fmla="*/ 43 h 56"/>
                <a:gd name="T76" fmla="*/ 59 w 128"/>
                <a:gd name="T77" fmla="*/ 46 h 56"/>
                <a:gd name="T78" fmla="*/ 64 w 128"/>
                <a:gd name="T79" fmla="*/ 51 h 56"/>
                <a:gd name="T80" fmla="*/ 64 w 128"/>
                <a:gd name="T81" fmla="*/ 51 h 56"/>
                <a:gd name="T82" fmla="*/ 69 w 128"/>
                <a:gd name="T83" fmla="*/ 53 h 56"/>
                <a:gd name="T84" fmla="*/ 69 w 128"/>
                <a:gd name="T85" fmla="*/ 53 h 56"/>
                <a:gd name="T86" fmla="*/ 77 w 128"/>
                <a:gd name="T87" fmla="*/ 53 h 56"/>
                <a:gd name="T88" fmla="*/ 82 w 128"/>
                <a:gd name="T89" fmla="*/ 51 h 56"/>
                <a:gd name="T90" fmla="*/ 89 w 128"/>
                <a:gd name="T91" fmla="*/ 51 h 56"/>
                <a:gd name="T92" fmla="*/ 94 w 128"/>
                <a:gd name="T93" fmla="*/ 51 h 56"/>
                <a:gd name="T94" fmla="*/ 97 w 128"/>
                <a:gd name="T95" fmla="*/ 51 h 56"/>
                <a:gd name="T96" fmla="*/ 105 w 128"/>
                <a:gd name="T97" fmla="*/ 48 h 56"/>
                <a:gd name="T98" fmla="*/ 112 w 128"/>
                <a:gd name="T99" fmla="*/ 51 h 56"/>
                <a:gd name="T100" fmla="*/ 117 w 128"/>
                <a:gd name="T101" fmla="*/ 53 h 56"/>
                <a:gd name="T102" fmla="*/ 123 w 128"/>
                <a:gd name="T103" fmla="*/ 53 h 56"/>
                <a:gd name="T104" fmla="*/ 125 w 128"/>
                <a:gd name="T105" fmla="*/ 56 h 56"/>
                <a:gd name="T106" fmla="*/ 128 w 128"/>
                <a:gd name="T107" fmla="*/ 51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8" h="56">
                  <a:moveTo>
                    <a:pt x="128" y="48"/>
                  </a:moveTo>
                  <a:lnTo>
                    <a:pt x="125" y="48"/>
                  </a:lnTo>
                  <a:lnTo>
                    <a:pt x="123" y="46"/>
                  </a:lnTo>
                  <a:lnTo>
                    <a:pt x="120" y="46"/>
                  </a:lnTo>
                  <a:lnTo>
                    <a:pt x="120" y="43"/>
                  </a:lnTo>
                  <a:lnTo>
                    <a:pt x="120" y="43"/>
                  </a:lnTo>
                  <a:lnTo>
                    <a:pt x="117" y="43"/>
                  </a:lnTo>
                  <a:lnTo>
                    <a:pt x="117" y="43"/>
                  </a:lnTo>
                  <a:lnTo>
                    <a:pt x="117" y="40"/>
                  </a:lnTo>
                  <a:lnTo>
                    <a:pt x="117" y="40"/>
                  </a:lnTo>
                  <a:lnTo>
                    <a:pt x="120" y="40"/>
                  </a:lnTo>
                  <a:lnTo>
                    <a:pt x="120" y="40"/>
                  </a:lnTo>
                  <a:lnTo>
                    <a:pt x="120" y="38"/>
                  </a:lnTo>
                  <a:lnTo>
                    <a:pt x="123" y="38"/>
                  </a:lnTo>
                  <a:lnTo>
                    <a:pt x="123" y="35"/>
                  </a:lnTo>
                  <a:lnTo>
                    <a:pt x="123" y="35"/>
                  </a:lnTo>
                  <a:lnTo>
                    <a:pt x="117" y="35"/>
                  </a:lnTo>
                  <a:lnTo>
                    <a:pt x="117" y="35"/>
                  </a:lnTo>
                  <a:lnTo>
                    <a:pt x="117" y="35"/>
                  </a:lnTo>
                  <a:lnTo>
                    <a:pt x="115" y="33"/>
                  </a:lnTo>
                  <a:lnTo>
                    <a:pt x="112" y="33"/>
                  </a:lnTo>
                  <a:lnTo>
                    <a:pt x="112" y="33"/>
                  </a:lnTo>
                  <a:lnTo>
                    <a:pt x="110" y="33"/>
                  </a:lnTo>
                  <a:lnTo>
                    <a:pt x="107" y="30"/>
                  </a:lnTo>
                  <a:lnTo>
                    <a:pt x="107" y="30"/>
                  </a:lnTo>
                  <a:lnTo>
                    <a:pt x="107" y="28"/>
                  </a:lnTo>
                  <a:lnTo>
                    <a:pt x="107" y="25"/>
                  </a:lnTo>
                  <a:lnTo>
                    <a:pt x="107" y="23"/>
                  </a:lnTo>
                  <a:lnTo>
                    <a:pt x="107" y="23"/>
                  </a:lnTo>
                  <a:lnTo>
                    <a:pt x="105" y="23"/>
                  </a:lnTo>
                  <a:lnTo>
                    <a:pt x="105" y="23"/>
                  </a:lnTo>
                  <a:lnTo>
                    <a:pt x="100" y="23"/>
                  </a:lnTo>
                  <a:lnTo>
                    <a:pt x="97" y="20"/>
                  </a:lnTo>
                  <a:lnTo>
                    <a:pt x="97" y="20"/>
                  </a:lnTo>
                  <a:lnTo>
                    <a:pt x="94" y="20"/>
                  </a:lnTo>
                  <a:lnTo>
                    <a:pt x="92" y="18"/>
                  </a:lnTo>
                  <a:lnTo>
                    <a:pt x="89" y="18"/>
                  </a:lnTo>
                  <a:lnTo>
                    <a:pt x="89" y="18"/>
                  </a:lnTo>
                  <a:lnTo>
                    <a:pt x="89" y="20"/>
                  </a:lnTo>
                  <a:lnTo>
                    <a:pt x="87" y="18"/>
                  </a:lnTo>
                  <a:lnTo>
                    <a:pt x="87" y="18"/>
                  </a:lnTo>
                  <a:lnTo>
                    <a:pt x="84" y="18"/>
                  </a:lnTo>
                  <a:lnTo>
                    <a:pt x="84" y="18"/>
                  </a:lnTo>
                  <a:lnTo>
                    <a:pt x="82" y="18"/>
                  </a:lnTo>
                  <a:lnTo>
                    <a:pt x="79" y="20"/>
                  </a:lnTo>
                  <a:lnTo>
                    <a:pt x="77" y="20"/>
                  </a:lnTo>
                  <a:lnTo>
                    <a:pt x="74" y="20"/>
                  </a:lnTo>
                  <a:lnTo>
                    <a:pt x="74" y="23"/>
                  </a:lnTo>
                  <a:lnTo>
                    <a:pt x="72" y="23"/>
                  </a:lnTo>
                  <a:lnTo>
                    <a:pt x="72" y="20"/>
                  </a:lnTo>
                  <a:lnTo>
                    <a:pt x="69" y="20"/>
                  </a:lnTo>
                  <a:lnTo>
                    <a:pt x="69" y="20"/>
                  </a:lnTo>
                  <a:lnTo>
                    <a:pt x="72" y="18"/>
                  </a:lnTo>
                  <a:lnTo>
                    <a:pt x="72" y="18"/>
                  </a:lnTo>
                  <a:lnTo>
                    <a:pt x="72" y="18"/>
                  </a:lnTo>
                  <a:lnTo>
                    <a:pt x="66" y="18"/>
                  </a:lnTo>
                  <a:lnTo>
                    <a:pt x="66" y="15"/>
                  </a:lnTo>
                  <a:lnTo>
                    <a:pt x="61" y="15"/>
                  </a:lnTo>
                  <a:lnTo>
                    <a:pt x="56" y="12"/>
                  </a:lnTo>
                  <a:lnTo>
                    <a:pt x="56" y="10"/>
                  </a:lnTo>
                  <a:lnTo>
                    <a:pt x="54" y="10"/>
                  </a:lnTo>
                  <a:lnTo>
                    <a:pt x="54" y="10"/>
                  </a:lnTo>
                  <a:lnTo>
                    <a:pt x="51" y="7"/>
                  </a:lnTo>
                  <a:lnTo>
                    <a:pt x="49" y="10"/>
                  </a:lnTo>
                  <a:lnTo>
                    <a:pt x="46" y="10"/>
                  </a:lnTo>
                  <a:lnTo>
                    <a:pt x="44" y="7"/>
                  </a:lnTo>
                  <a:lnTo>
                    <a:pt x="41" y="7"/>
                  </a:lnTo>
                  <a:lnTo>
                    <a:pt x="38" y="7"/>
                  </a:lnTo>
                  <a:lnTo>
                    <a:pt x="38" y="7"/>
                  </a:lnTo>
                  <a:lnTo>
                    <a:pt x="38" y="7"/>
                  </a:lnTo>
                  <a:lnTo>
                    <a:pt x="28" y="7"/>
                  </a:lnTo>
                  <a:lnTo>
                    <a:pt x="26" y="7"/>
                  </a:lnTo>
                  <a:lnTo>
                    <a:pt x="23" y="5"/>
                  </a:lnTo>
                  <a:lnTo>
                    <a:pt x="18" y="5"/>
                  </a:lnTo>
                  <a:lnTo>
                    <a:pt x="15" y="2"/>
                  </a:lnTo>
                  <a:lnTo>
                    <a:pt x="13" y="2"/>
                  </a:lnTo>
                  <a:lnTo>
                    <a:pt x="10" y="0"/>
                  </a:lnTo>
                  <a:lnTo>
                    <a:pt x="8" y="0"/>
                  </a:lnTo>
                  <a:lnTo>
                    <a:pt x="5" y="0"/>
                  </a:lnTo>
                  <a:lnTo>
                    <a:pt x="3" y="0"/>
                  </a:lnTo>
                  <a:lnTo>
                    <a:pt x="0" y="0"/>
                  </a:lnTo>
                  <a:lnTo>
                    <a:pt x="0" y="2"/>
                  </a:lnTo>
                  <a:lnTo>
                    <a:pt x="0" y="2"/>
                  </a:lnTo>
                  <a:lnTo>
                    <a:pt x="3" y="5"/>
                  </a:lnTo>
                  <a:lnTo>
                    <a:pt x="8" y="10"/>
                  </a:lnTo>
                  <a:lnTo>
                    <a:pt x="10" y="10"/>
                  </a:lnTo>
                  <a:lnTo>
                    <a:pt x="15" y="10"/>
                  </a:lnTo>
                  <a:lnTo>
                    <a:pt x="21" y="12"/>
                  </a:lnTo>
                  <a:lnTo>
                    <a:pt x="21" y="15"/>
                  </a:lnTo>
                  <a:lnTo>
                    <a:pt x="28" y="18"/>
                  </a:lnTo>
                  <a:lnTo>
                    <a:pt x="28" y="20"/>
                  </a:lnTo>
                  <a:lnTo>
                    <a:pt x="31" y="25"/>
                  </a:lnTo>
                  <a:lnTo>
                    <a:pt x="33" y="30"/>
                  </a:lnTo>
                  <a:lnTo>
                    <a:pt x="36" y="35"/>
                  </a:lnTo>
                  <a:lnTo>
                    <a:pt x="36" y="38"/>
                  </a:lnTo>
                  <a:lnTo>
                    <a:pt x="36" y="38"/>
                  </a:lnTo>
                  <a:lnTo>
                    <a:pt x="36" y="40"/>
                  </a:lnTo>
                  <a:lnTo>
                    <a:pt x="33" y="46"/>
                  </a:lnTo>
                  <a:lnTo>
                    <a:pt x="33" y="46"/>
                  </a:lnTo>
                  <a:lnTo>
                    <a:pt x="36" y="46"/>
                  </a:lnTo>
                  <a:lnTo>
                    <a:pt x="38" y="46"/>
                  </a:lnTo>
                  <a:lnTo>
                    <a:pt x="38" y="46"/>
                  </a:lnTo>
                  <a:lnTo>
                    <a:pt x="41" y="46"/>
                  </a:lnTo>
                  <a:lnTo>
                    <a:pt x="44" y="46"/>
                  </a:lnTo>
                  <a:lnTo>
                    <a:pt x="46" y="46"/>
                  </a:lnTo>
                  <a:lnTo>
                    <a:pt x="46" y="46"/>
                  </a:lnTo>
                  <a:lnTo>
                    <a:pt x="49" y="46"/>
                  </a:lnTo>
                  <a:lnTo>
                    <a:pt x="51" y="46"/>
                  </a:lnTo>
                  <a:lnTo>
                    <a:pt x="51" y="46"/>
                  </a:lnTo>
                  <a:lnTo>
                    <a:pt x="51" y="43"/>
                  </a:lnTo>
                  <a:lnTo>
                    <a:pt x="54" y="43"/>
                  </a:lnTo>
                  <a:lnTo>
                    <a:pt x="54" y="43"/>
                  </a:lnTo>
                  <a:lnTo>
                    <a:pt x="54" y="43"/>
                  </a:lnTo>
                  <a:lnTo>
                    <a:pt x="56" y="43"/>
                  </a:lnTo>
                  <a:lnTo>
                    <a:pt x="56" y="43"/>
                  </a:lnTo>
                  <a:lnTo>
                    <a:pt x="56" y="46"/>
                  </a:lnTo>
                  <a:lnTo>
                    <a:pt x="59" y="46"/>
                  </a:lnTo>
                  <a:lnTo>
                    <a:pt x="61" y="48"/>
                  </a:lnTo>
                  <a:lnTo>
                    <a:pt x="64" y="51"/>
                  </a:lnTo>
                  <a:lnTo>
                    <a:pt x="64" y="51"/>
                  </a:lnTo>
                  <a:lnTo>
                    <a:pt x="64" y="51"/>
                  </a:lnTo>
                  <a:lnTo>
                    <a:pt x="64" y="51"/>
                  </a:lnTo>
                  <a:lnTo>
                    <a:pt x="64" y="51"/>
                  </a:lnTo>
                  <a:lnTo>
                    <a:pt x="66" y="53"/>
                  </a:lnTo>
                  <a:lnTo>
                    <a:pt x="69" y="53"/>
                  </a:lnTo>
                  <a:lnTo>
                    <a:pt x="69" y="53"/>
                  </a:lnTo>
                  <a:lnTo>
                    <a:pt x="69" y="53"/>
                  </a:lnTo>
                  <a:lnTo>
                    <a:pt x="69" y="53"/>
                  </a:lnTo>
                  <a:lnTo>
                    <a:pt x="69" y="53"/>
                  </a:lnTo>
                  <a:lnTo>
                    <a:pt x="72" y="53"/>
                  </a:lnTo>
                  <a:lnTo>
                    <a:pt x="74" y="53"/>
                  </a:lnTo>
                  <a:lnTo>
                    <a:pt x="77" y="53"/>
                  </a:lnTo>
                  <a:lnTo>
                    <a:pt x="79" y="53"/>
                  </a:lnTo>
                  <a:lnTo>
                    <a:pt x="82" y="53"/>
                  </a:lnTo>
                  <a:lnTo>
                    <a:pt x="82" y="51"/>
                  </a:lnTo>
                  <a:lnTo>
                    <a:pt x="84" y="51"/>
                  </a:lnTo>
                  <a:lnTo>
                    <a:pt x="89" y="53"/>
                  </a:lnTo>
                  <a:lnTo>
                    <a:pt x="89" y="51"/>
                  </a:lnTo>
                  <a:lnTo>
                    <a:pt x="94" y="51"/>
                  </a:lnTo>
                  <a:lnTo>
                    <a:pt x="94" y="51"/>
                  </a:lnTo>
                  <a:lnTo>
                    <a:pt x="94" y="51"/>
                  </a:lnTo>
                  <a:lnTo>
                    <a:pt x="94" y="51"/>
                  </a:lnTo>
                  <a:lnTo>
                    <a:pt x="97" y="51"/>
                  </a:lnTo>
                  <a:lnTo>
                    <a:pt x="97" y="51"/>
                  </a:lnTo>
                  <a:lnTo>
                    <a:pt x="102" y="48"/>
                  </a:lnTo>
                  <a:lnTo>
                    <a:pt x="102" y="46"/>
                  </a:lnTo>
                  <a:lnTo>
                    <a:pt x="105" y="48"/>
                  </a:lnTo>
                  <a:lnTo>
                    <a:pt x="110" y="48"/>
                  </a:lnTo>
                  <a:lnTo>
                    <a:pt x="110" y="51"/>
                  </a:lnTo>
                  <a:lnTo>
                    <a:pt x="112" y="51"/>
                  </a:lnTo>
                  <a:lnTo>
                    <a:pt x="112" y="51"/>
                  </a:lnTo>
                  <a:lnTo>
                    <a:pt x="115" y="53"/>
                  </a:lnTo>
                  <a:lnTo>
                    <a:pt x="117" y="53"/>
                  </a:lnTo>
                  <a:lnTo>
                    <a:pt x="117" y="53"/>
                  </a:lnTo>
                  <a:lnTo>
                    <a:pt x="120" y="53"/>
                  </a:lnTo>
                  <a:lnTo>
                    <a:pt x="123" y="53"/>
                  </a:lnTo>
                  <a:lnTo>
                    <a:pt x="123" y="53"/>
                  </a:lnTo>
                  <a:lnTo>
                    <a:pt x="125" y="56"/>
                  </a:lnTo>
                  <a:lnTo>
                    <a:pt x="125" y="56"/>
                  </a:lnTo>
                  <a:lnTo>
                    <a:pt x="128" y="53"/>
                  </a:lnTo>
                  <a:lnTo>
                    <a:pt x="128" y="53"/>
                  </a:lnTo>
                  <a:lnTo>
                    <a:pt x="128" y="51"/>
                  </a:lnTo>
                  <a:lnTo>
                    <a:pt x="128" y="51"/>
                  </a:lnTo>
                  <a:lnTo>
                    <a:pt x="128" y="48"/>
                  </a:lnTo>
                  <a:close/>
                </a:path>
              </a:pathLst>
            </a:custGeom>
            <a:solidFill>
              <a:schemeClr val="bg2">
                <a:lumMod val="60000"/>
                <a:lumOff val="40000"/>
              </a:schemeClr>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314" name="Freeform 1933">
              <a:extLst>
                <a:ext uri="{FF2B5EF4-FFF2-40B4-BE49-F238E27FC236}">
                  <a16:creationId xmlns:a16="http://schemas.microsoft.com/office/drawing/2014/main" id="{832A971C-D1D7-C249-8168-1875426243E4}"/>
                </a:ext>
              </a:extLst>
            </p:cNvPr>
            <p:cNvSpPr>
              <a:spLocks/>
            </p:cNvSpPr>
            <p:nvPr/>
          </p:nvSpPr>
          <p:spPr bwMode="auto">
            <a:xfrm>
              <a:off x="5062263" y="3289144"/>
              <a:ext cx="96509" cy="24537"/>
            </a:xfrm>
            <a:custGeom>
              <a:avLst/>
              <a:gdLst>
                <a:gd name="T0" fmla="*/ 56 w 59"/>
                <a:gd name="T1" fmla="*/ 5 h 15"/>
                <a:gd name="T2" fmla="*/ 54 w 59"/>
                <a:gd name="T3" fmla="*/ 5 h 15"/>
                <a:gd name="T4" fmla="*/ 51 w 59"/>
                <a:gd name="T5" fmla="*/ 8 h 15"/>
                <a:gd name="T6" fmla="*/ 46 w 59"/>
                <a:gd name="T7" fmla="*/ 5 h 15"/>
                <a:gd name="T8" fmla="*/ 43 w 59"/>
                <a:gd name="T9" fmla="*/ 3 h 15"/>
                <a:gd name="T10" fmla="*/ 38 w 59"/>
                <a:gd name="T11" fmla="*/ 0 h 15"/>
                <a:gd name="T12" fmla="*/ 33 w 59"/>
                <a:gd name="T13" fmla="*/ 0 h 15"/>
                <a:gd name="T14" fmla="*/ 28 w 59"/>
                <a:gd name="T15" fmla="*/ 0 h 15"/>
                <a:gd name="T16" fmla="*/ 23 w 59"/>
                <a:gd name="T17" fmla="*/ 5 h 15"/>
                <a:gd name="T18" fmla="*/ 10 w 59"/>
                <a:gd name="T19" fmla="*/ 5 h 15"/>
                <a:gd name="T20" fmla="*/ 5 w 59"/>
                <a:gd name="T21" fmla="*/ 8 h 15"/>
                <a:gd name="T22" fmla="*/ 10 w 59"/>
                <a:gd name="T23" fmla="*/ 10 h 15"/>
                <a:gd name="T24" fmla="*/ 20 w 59"/>
                <a:gd name="T25" fmla="*/ 8 h 15"/>
                <a:gd name="T26" fmla="*/ 28 w 59"/>
                <a:gd name="T27" fmla="*/ 8 h 15"/>
                <a:gd name="T28" fmla="*/ 28 w 59"/>
                <a:gd name="T29" fmla="*/ 8 h 15"/>
                <a:gd name="T30" fmla="*/ 20 w 59"/>
                <a:gd name="T31" fmla="*/ 8 h 15"/>
                <a:gd name="T32" fmla="*/ 13 w 59"/>
                <a:gd name="T33" fmla="*/ 10 h 15"/>
                <a:gd name="T34" fmla="*/ 13 w 59"/>
                <a:gd name="T35" fmla="*/ 10 h 15"/>
                <a:gd name="T36" fmla="*/ 8 w 59"/>
                <a:gd name="T37" fmla="*/ 13 h 15"/>
                <a:gd name="T38" fmla="*/ 5 w 59"/>
                <a:gd name="T39" fmla="*/ 10 h 15"/>
                <a:gd name="T40" fmla="*/ 3 w 59"/>
                <a:gd name="T41" fmla="*/ 8 h 15"/>
                <a:gd name="T42" fmla="*/ 0 w 59"/>
                <a:gd name="T43" fmla="*/ 10 h 15"/>
                <a:gd name="T44" fmla="*/ 0 w 59"/>
                <a:gd name="T45" fmla="*/ 15 h 15"/>
                <a:gd name="T46" fmla="*/ 3 w 59"/>
                <a:gd name="T47" fmla="*/ 15 h 15"/>
                <a:gd name="T48" fmla="*/ 13 w 59"/>
                <a:gd name="T49" fmla="*/ 15 h 15"/>
                <a:gd name="T50" fmla="*/ 20 w 59"/>
                <a:gd name="T51" fmla="*/ 15 h 15"/>
                <a:gd name="T52" fmla="*/ 20 w 59"/>
                <a:gd name="T53" fmla="*/ 10 h 15"/>
                <a:gd name="T54" fmla="*/ 26 w 59"/>
                <a:gd name="T55" fmla="*/ 10 h 15"/>
                <a:gd name="T56" fmla="*/ 31 w 59"/>
                <a:gd name="T57" fmla="*/ 8 h 15"/>
                <a:gd name="T58" fmla="*/ 33 w 59"/>
                <a:gd name="T59" fmla="*/ 5 h 15"/>
                <a:gd name="T60" fmla="*/ 36 w 59"/>
                <a:gd name="T61" fmla="*/ 5 h 15"/>
                <a:gd name="T62" fmla="*/ 38 w 59"/>
                <a:gd name="T63" fmla="*/ 8 h 15"/>
                <a:gd name="T64" fmla="*/ 41 w 59"/>
                <a:gd name="T65" fmla="*/ 8 h 15"/>
                <a:gd name="T66" fmla="*/ 48 w 59"/>
                <a:gd name="T67" fmla="*/ 13 h 15"/>
                <a:gd name="T68" fmla="*/ 56 w 59"/>
                <a:gd name="T69" fmla="*/ 10 h 15"/>
                <a:gd name="T70" fmla="*/ 59 w 59"/>
                <a:gd name="T71" fmla="*/ 8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9" h="15">
                  <a:moveTo>
                    <a:pt x="59" y="8"/>
                  </a:moveTo>
                  <a:lnTo>
                    <a:pt x="56" y="5"/>
                  </a:lnTo>
                  <a:lnTo>
                    <a:pt x="54" y="5"/>
                  </a:lnTo>
                  <a:lnTo>
                    <a:pt x="54" y="5"/>
                  </a:lnTo>
                  <a:lnTo>
                    <a:pt x="51" y="8"/>
                  </a:lnTo>
                  <a:lnTo>
                    <a:pt x="51" y="8"/>
                  </a:lnTo>
                  <a:lnTo>
                    <a:pt x="48" y="5"/>
                  </a:lnTo>
                  <a:lnTo>
                    <a:pt x="46" y="5"/>
                  </a:lnTo>
                  <a:lnTo>
                    <a:pt x="46" y="3"/>
                  </a:lnTo>
                  <a:lnTo>
                    <a:pt x="43" y="3"/>
                  </a:lnTo>
                  <a:lnTo>
                    <a:pt x="41" y="3"/>
                  </a:lnTo>
                  <a:lnTo>
                    <a:pt x="38" y="0"/>
                  </a:lnTo>
                  <a:lnTo>
                    <a:pt x="36" y="0"/>
                  </a:lnTo>
                  <a:lnTo>
                    <a:pt x="33" y="0"/>
                  </a:lnTo>
                  <a:lnTo>
                    <a:pt x="31" y="0"/>
                  </a:lnTo>
                  <a:lnTo>
                    <a:pt x="28" y="0"/>
                  </a:lnTo>
                  <a:lnTo>
                    <a:pt x="26" y="5"/>
                  </a:lnTo>
                  <a:lnTo>
                    <a:pt x="23" y="5"/>
                  </a:lnTo>
                  <a:lnTo>
                    <a:pt x="15" y="5"/>
                  </a:lnTo>
                  <a:lnTo>
                    <a:pt x="10" y="5"/>
                  </a:lnTo>
                  <a:lnTo>
                    <a:pt x="5" y="5"/>
                  </a:lnTo>
                  <a:lnTo>
                    <a:pt x="5" y="8"/>
                  </a:lnTo>
                  <a:lnTo>
                    <a:pt x="8" y="10"/>
                  </a:lnTo>
                  <a:lnTo>
                    <a:pt x="10" y="10"/>
                  </a:lnTo>
                  <a:lnTo>
                    <a:pt x="13" y="8"/>
                  </a:lnTo>
                  <a:lnTo>
                    <a:pt x="20" y="8"/>
                  </a:lnTo>
                  <a:lnTo>
                    <a:pt x="26" y="5"/>
                  </a:lnTo>
                  <a:lnTo>
                    <a:pt x="28" y="8"/>
                  </a:lnTo>
                  <a:lnTo>
                    <a:pt x="28" y="8"/>
                  </a:lnTo>
                  <a:lnTo>
                    <a:pt x="28" y="8"/>
                  </a:lnTo>
                  <a:lnTo>
                    <a:pt x="23" y="8"/>
                  </a:lnTo>
                  <a:lnTo>
                    <a:pt x="20" y="8"/>
                  </a:lnTo>
                  <a:lnTo>
                    <a:pt x="18" y="8"/>
                  </a:lnTo>
                  <a:lnTo>
                    <a:pt x="13" y="10"/>
                  </a:lnTo>
                  <a:lnTo>
                    <a:pt x="13" y="10"/>
                  </a:lnTo>
                  <a:lnTo>
                    <a:pt x="13" y="10"/>
                  </a:lnTo>
                  <a:lnTo>
                    <a:pt x="10" y="10"/>
                  </a:lnTo>
                  <a:lnTo>
                    <a:pt x="8" y="13"/>
                  </a:lnTo>
                  <a:lnTo>
                    <a:pt x="5" y="10"/>
                  </a:lnTo>
                  <a:lnTo>
                    <a:pt x="5" y="10"/>
                  </a:lnTo>
                  <a:lnTo>
                    <a:pt x="5" y="8"/>
                  </a:lnTo>
                  <a:lnTo>
                    <a:pt x="3" y="8"/>
                  </a:lnTo>
                  <a:lnTo>
                    <a:pt x="3" y="8"/>
                  </a:lnTo>
                  <a:lnTo>
                    <a:pt x="0" y="10"/>
                  </a:lnTo>
                  <a:lnTo>
                    <a:pt x="0" y="15"/>
                  </a:lnTo>
                  <a:lnTo>
                    <a:pt x="0" y="15"/>
                  </a:lnTo>
                  <a:lnTo>
                    <a:pt x="3" y="15"/>
                  </a:lnTo>
                  <a:lnTo>
                    <a:pt x="3" y="15"/>
                  </a:lnTo>
                  <a:lnTo>
                    <a:pt x="8" y="15"/>
                  </a:lnTo>
                  <a:lnTo>
                    <a:pt x="13" y="15"/>
                  </a:lnTo>
                  <a:lnTo>
                    <a:pt x="15" y="15"/>
                  </a:lnTo>
                  <a:lnTo>
                    <a:pt x="20" y="15"/>
                  </a:lnTo>
                  <a:lnTo>
                    <a:pt x="20" y="10"/>
                  </a:lnTo>
                  <a:lnTo>
                    <a:pt x="20" y="10"/>
                  </a:lnTo>
                  <a:lnTo>
                    <a:pt x="23" y="10"/>
                  </a:lnTo>
                  <a:lnTo>
                    <a:pt x="26" y="10"/>
                  </a:lnTo>
                  <a:lnTo>
                    <a:pt x="31" y="8"/>
                  </a:lnTo>
                  <a:lnTo>
                    <a:pt x="31" y="8"/>
                  </a:lnTo>
                  <a:lnTo>
                    <a:pt x="33" y="8"/>
                  </a:lnTo>
                  <a:lnTo>
                    <a:pt x="33" y="5"/>
                  </a:lnTo>
                  <a:lnTo>
                    <a:pt x="33" y="5"/>
                  </a:lnTo>
                  <a:lnTo>
                    <a:pt x="36" y="5"/>
                  </a:lnTo>
                  <a:lnTo>
                    <a:pt x="36" y="5"/>
                  </a:lnTo>
                  <a:lnTo>
                    <a:pt x="38" y="8"/>
                  </a:lnTo>
                  <a:lnTo>
                    <a:pt x="38" y="8"/>
                  </a:lnTo>
                  <a:lnTo>
                    <a:pt x="41" y="8"/>
                  </a:lnTo>
                  <a:lnTo>
                    <a:pt x="43" y="10"/>
                  </a:lnTo>
                  <a:lnTo>
                    <a:pt x="48" y="13"/>
                  </a:lnTo>
                  <a:lnTo>
                    <a:pt x="51" y="13"/>
                  </a:lnTo>
                  <a:lnTo>
                    <a:pt x="56" y="10"/>
                  </a:lnTo>
                  <a:lnTo>
                    <a:pt x="59" y="10"/>
                  </a:lnTo>
                  <a:lnTo>
                    <a:pt x="59" y="8"/>
                  </a:lnTo>
                  <a:lnTo>
                    <a:pt x="59" y="8"/>
                  </a:lnTo>
                  <a:close/>
                </a:path>
              </a:pathLst>
            </a:custGeom>
            <a:solidFill>
              <a:srgbClr val="FFC000"/>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315" name="Freeform 1934">
              <a:extLst>
                <a:ext uri="{FF2B5EF4-FFF2-40B4-BE49-F238E27FC236}">
                  <a16:creationId xmlns:a16="http://schemas.microsoft.com/office/drawing/2014/main" id="{08D8B01F-1900-FE47-B14E-C7ABD0D918B5}"/>
                </a:ext>
              </a:extLst>
            </p:cNvPr>
            <p:cNvSpPr>
              <a:spLocks/>
            </p:cNvSpPr>
            <p:nvPr/>
          </p:nvSpPr>
          <p:spPr bwMode="auto">
            <a:xfrm>
              <a:off x="5896489" y="3714435"/>
              <a:ext cx="186474" cy="232275"/>
            </a:xfrm>
            <a:custGeom>
              <a:avLst/>
              <a:gdLst>
                <a:gd name="T0" fmla="*/ 114 w 114"/>
                <a:gd name="T1" fmla="*/ 66 h 142"/>
                <a:gd name="T2" fmla="*/ 107 w 114"/>
                <a:gd name="T3" fmla="*/ 61 h 142"/>
                <a:gd name="T4" fmla="*/ 104 w 114"/>
                <a:gd name="T5" fmla="*/ 50 h 142"/>
                <a:gd name="T6" fmla="*/ 107 w 114"/>
                <a:gd name="T7" fmla="*/ 40 h 142"/>
                <a:gd name="T8" fmla="*/ 112 w 114"/>
                <a:gd name="T9" fmla="*/ 38 h 142"/>
                <a:gd name="T10" fmla="*/ 112 w 114"/>
                <a:gd name="T11" fmla="*/ 30 h 142"/>
                <a:gd name="T12" fmla="*/ 107 w 114"/>
                <a:gd name="T13" fmla="*/ 22 h 142"/>
                <a:gd name="T14" fmla="*/ 92 w 114"/>
                <a:gd name="T15" fmla="*/ 25 h 142"/>
                <a:gd name="T16" fmla="*/ 89 w 114"/>
                <a:gd name="T17" fmla="*/ 20 h 142"/>
                <a:gd name="T18" fmla="*/ 92 w 114"/>
                <a:gd name="T19" fmla="*/ 5 h 142"/>
                <a:gd name="T20" fmla="*/ 81 w 114"/>
                <a:gd name="T21" fmla="*/ 2 h 142"/>
                <a:gd name="T22" fmla="*/ 69 w 114"/>
                <a:gd name="T23" fmla="*/ 2 h 142"/>
                <a:gd name="T24" fmla="*/ 53 w 114"/>
                <a:gd name="T25" fmla="*/ 2 h 142"/>
                <a:gd name="T26" fmla="*/ 51 w 114"/>
                <a:gd name="T27" fmla="*/ 17 h 142"/>
                <a:gd name="T28" fmla="*/ 43 w 114"/>
                <a:gd name="T29" fmla="*/ 30 h 142"/>
                <a:gd name="T30" fmla="*/ 25 w 114"/>
                <a:gd name="T31" fmla="*/ 30 h 142"/>
                <a:gd name="T32" fmla="*/ 20 w 114"/>
                <a:gd name="T33" fmla="*/ 30 h 142"/>
                <a:gd name="T34" fmla="*/ 18 w 114"/>
                <a:gd name="T35" fmla="*/ 30 h 142"/>
                <a:gd name="T36" fmla="*/ 18 w 114"/>
                <a:gd name="T37" fmla="*/ 40 h 142"/>
                <a:gd name="T38" fmla="*/ 13 w 114"/>
                <a:gd name="T39" fmla="*/ 40 h 142"/>
                <a:gd name="T40" fmla="*/ 23 w 114"/>
                <a:gd name="T41" fmla="*/ 48 h 142"/>
                <a:gd name="T42" fmla="*/ 15 w 114"/>
                <a:gd name="T43" fmla="*/ 50 h 142"/>
                <a:gd name="T44" fmla="*/ 13 w 114"/>
                <a:gd name="T45" fmla="*/ 45 h 142"/>
                <a:gd name="T46" fmla="*/ 7 w 114"/>
                <a:gd name="T47" fmla="*/ 66 h 142"/>
                <a:gd name="T48" fmla="*/ 2 w 114"/>
                <a:gd name="T49" fmla="*/ 68 h 142"/>
                <a:gd name="T50" fmla="*/ 2 w 114"/>
                <a:gd name="T51" fmla="*/ 76 h 142"/>
                <a:gd name="T52" fmla="*/ 10 w 114"/>
                <a:gd name="T53" fmla="*/ 84 h 142"/>
                <a:gd name="T54" fmla="*/ 13 w 114"/>
                <a:gd name="T55" fmla="*/ 89 h 142"/>
                <a:gd name="T56" fmla="*/ 13 w 114"/>
                <a:gd name="T57" fmla="*/ 91 h 142"/>
                <a:gd name="T58" fmla="*/ 7 w 114"/>
                <a:gd name="T59" fmla="*/ 89 h 142"/>
                <a:gd name="T60" fmla="*/ 15 w 114"/>
                <a:gd name="T61" fmla="*/ 96 h 142"/>
                <a:gd name="T62" fmla="*/ 13 w 114"/>
                <a:gd name="T63" fmla="*/ 99 h 142"/>
                <a:gd name="T64" fmla="*/ 18 w 114"/>
                <a:gd name="T65" fmla="*/ 106 h 142"/>
                <a:gd name="T66" fmla="*/ 25 w 114"/>
                <a:gd name="T67" fmla="*/ 112 h 142"/>
                <a:gd name="T68" fmla="*/ 20 w 114"/>
                <a:gd name="T69" fmla="*/ 112 h 142"/>
                <a:gd name="T70" fmla="*/ 43 w 114"/>
                <a:gd name="T71" fmla="*/ 134 h 142"/>
                <a:gd name="T72" fmla="*/ 51 w 114"/>
                <a:gd name="T73" fmla="*/ 137 h 142"/>
                <a:gd name="T74" fmla="*/ 58 w 114"/>
                <a:gd name="T75" fmla="*/ 137 h 142"/>
                <a:gd name="T76" fmla="*/ 61 w 114"/>
                <a:gd name="T77" fmla="*/ 134 h 142"/>
                <a:gd name="T78" fmla="*/ 63 w 114"/>
                <a:gd name="T79" fmla="*/ 129 h 142"/>
                <a:gd name="T80" fmla="*/ 58 w 114"/>
                <a:gd name="T81" fmla="*/ 122 h 142"/>
                <a:gd name="T82" fmla="*/ 58 w 114"/>
                <a:gd name="T83" fmla="*/ 119 h 142"/>
                <a:gd name="T84" fmla="*/ 56 w 114"/>
                <a:gd name="T85" fmla="*/ 106 h 142"/>
                <a:gd name="T86" fmla="*/ 63 w 114"/>
                <a:gd name="T87" fmla="*/ 106 h 142"/>
                <a:gd name="T88" fmla="*/ 74 w 114"/>
                <a:gd name="T89" fmla="*/ 104 h 142"/>
                <a:gd name="T90" fmla="*/ 74 w 114"/>
                <a:gd name="T91" fmla="*/ 99 h 142"/>
                <a:gd name="T92" fmla="*/ 79 w 114"/>
                <a:gd name="T93" fmla="*/ 96 h 142"/>
                <a:gd name="T94" fmla="*/ 89 w 114"/>
                <a:gd name="T95" fmla="*/ 106 h 142"/>
                <a:gd name="T96" fmla="*/ 99 w 114"/>
                <a:gd name="T97" fmla="*/ 101 h 142"/>
                <a:gd name="T98" fmla="*/ 102 w 114"/>
                <a:gd name="T99" fmla="*/ 109 h 142"/>
                <a:gd name="T100" fmla="*/ 109 w 114"/>
                <a:gd name="T101" fmla="*/ 106 h 142"/>
                <a:gd name="T102" fmla="*/ 109 w 114"/>
                <a:gd name="T103" fmla="*/ 101 h 142"/>
                <a:gd name="T104" fmla="*/ 114 w 114"/>
                <a:gd name="T105" fmla="*/ 91 h 142"/>
                <a:gd name="T106" fmla="*/ 114 w 114"/>
                <a:gd name="T107" fmla="*/ 8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4" h="142">
                  <a:moveTo>
                    <a:pt x="114" y="78"/>
                  </a:moveTo>
                  <a:lnTo>
                    <a:pt x="114" y="76"/>
                  </a:lnTo>
                  <a:lnTo>
                    <a:pt x="114" y="71"/>
                  </a:lnTo>
                  <a:lnTo>
                    <a:pt x="114" y="68"/>
                  </a:lnTo>
                  <a:lnTo>
                    <a:pt x="114" y="66"/>
                  </a:lnTo>
                  <a:lnTo>
                    <a:pt x="114" y="66"/>
                  </a:lnTo>
                  <a:lnTo>
                    <a:pt x="112" y="63"/>
                  </a:lnTo>
                  <a:lnTo>
                    <a:pt x="109" y="63"/>
                  </a:lnTo>
                  <a:lnTo>
                    <a:pt x="109" y="61"/>
                  </a:lnTo>
                  <a:lnTo>
                    <a:pt x="107" y="61"/>
                  </a:lnTo>
                  <a:lnTo>
                    <a:pt x="107" y="58"/>
                  </a:lnTo>
                  <a:lnTo>
                    <a:pt x="104" y="58"/>
                  </a:lnTo>
                  <a:lnTo>
                    <a:pt x="102" y="58"/>
                  </a:lnTo>
                  <a:lnTo>
                    <a:pt x="102" y="56"/>
                  </a:lnTo>
                  <a:lnTo>
                    <a:pt x="104" y="50"/>
                  </a:lnTo>
                  <a:lnTo>
                    <a:pt x="102" y="48"/>
                  </a:lnTo>
                  <a:lnTo>
                    <a:pt x="104" y="45"/>
                  </a:lnTo>
                  <a:lnTo>
                    <a:pt x="104" y="45"/>
                  </a:lnTo>
                  <a:lnTo>
                    <a:pt x="107" y="43"/>
                  </a:lnTo>
                  <a:lnTo>
                    <a:pt x="107" y="40"/>
                  </a:lnTo>
                  <a:lnTo>
                    <a:pt x="107" y="40"/>
                  </a:lnTo>
                  <a:lnTo>
                    <a:pt x="109" y="40"/>
                  </a:lnTo>
                  <a:lnTo>
                    <a:pt x="112" y="40"/>
                  </a:lnTo>
                  <a:lnTo>
                    <a:pt x="112" y="38"/>
                  </a:lnTo>
                  <a:lnTo>
                    <a:pt x="112" y="38"/>
                  </a:lnTo>
                  <a:lnTo>
                    <a:pt x="112" y="35"/>
                  </a:lnTo>
                  <a:lnTo>
                    <a:pt x="114" y="35"/>
                  </a:lnTo>
                  <a:lnTo>
                    <a:pt x="114" y="33"/>
                  </a:lnTo>
                  <a:lnTo>
                    <a:pt x="114" y="33"/>
                  </a:lnTo>
                  <a:lnTo>
                    <a:pt x="112" y="30"/>
                  </a:lnTo>
                  <a:lnTo>
                    <a:pt x="112" y="28"/>
                  </a:lnTo>
                  <a:lnTo>
                    <a:pt x="112" y="28"/>
                  </a:lnTo>
                  <a:lnTo>
                    <a:pt x="109" y="22"/>
                  </a:lnTo>
                  <a:lnTo>
                    <a:pt x="109" y="22"/>
                  </a:lnTo>
                  <a:lnTo>
                    <a:pt x="107" y="22"/>
                  </a:lnTo>
                  <a:lnTo>
                    <a:pt x="102" y="20"/>
                  </a:lnTo>
                  <a:lnTo>
                    <a:pt x="99" y="22"/>
                  </a:lnTo>
                  <a:lnTo>
                    <a:pt x="97" y="22"/>
                  </a:lnTo>
                  <a:lnTo>
                    <a:pt x="92" y="25"/>
                  </a:lnTo>
                  <a:lnTo>
                    <a:pt x="92" y="25"/>
                  </a:lnTo>
                  <a:lnTo>
                    <a:pt x="89" y="25"/>
                  </a:lnTo>
                  <a:lnTo>
                    <a:pt x="89" y="25"/>
                  </a:lnTo>
                  <a:lnTo>
                    <a:pt x="89" y="22"/>
                  </a:lnTo>
                  <a:lnTo>
                    <a:pt x="89" y="22"/>
                  </a:lnTo>
                  <a:lnTo>
                    <a:pt x="89" y="20"/>
                  </a:lnTo>
                  <a:lnTo>
                    <a:pt x="89" y="17"/>
                  </a:lnTo>
                  <a:lnTo>
                    <a:pt x="89" y="15"/>
                  </a:lnTo>
                  <a:lnTo>
                    <a:pt x="89" y="12"/>
                  </a:lnTo>
                  <a:lnTo>
                    <a:pt x="89" y="10"/>
                  </a:lnTo>
                  <a:lnTo>
                    <a:pt x="92" y="5"/>
                  </a:lnTo>
                  <a:lnTo>
                    <a:pt x="92" y="5"/>
                  </a:lnTo>
                  <a:lnTo>
                    <a:pt x="92" y="2"/>
                  </a:lnTo>
                  <a:lnTo>
                    <a:pt x="89" y="2"/>
                  </a:lnTo>
                  <a:lnTo>
                    <a:pt x="89" y="2"/>
                  </a:lnTo>
                  <a:lnTo>
                    <a:pt x="81" y="2"/>
                  </a:lnTo>
                  <a:lnTo>
                    <a:pt x="79" y="2"/>
                  </a:lnTo>
                  <a:lnTo>
                    <a:pt x="76" y="2"/>
                  </a:lnTo>
                  <a:lnTo>
                    <a:pt x="76" y="2"/>
                  </a:lnTo>
                  <a:lnTo>
                    <a:pt x="71" y="2"/>
                  </a:lnTo>
                  <a:lnTo>
                    <a:pt x="69" y="2"/>
                  </a:lnTo>
                  <a:lnTo>
                    <a:pt x="66" y="2"/>
                  </a:lnTo>
                  <a:lnTo>
                    <a:pt x="63" y="2"/>
                  </a:lnTo>
                  <a:lnTo>
                    <a:pt x="56" y="0"/>
                  </a:lnTo>
                  <a:lnTo>
                    <a:pt x="51" y="0"/>
                  </a:lnTo>
                  <a:lnTo>
                    <a:pt x="53" y="2"/>
                  </a:lnTo>
                  <a:lnTo>
                    <a:pt x="51" y="2"/>
                  </a:lnTo>
                  <a:lnTo>
                    <a:pt x="51" y="5"/>
                  </a:lnTo>
                  <a:lnTo>
                    <a:pt x="51" y="10"/>
                  </a:lnTo>
                  <a:lnTo>
                    <a:pt x="51" y="12"/>
                  </a:lnTo>
                  <a:lnTo>
                    <a:pt x="51" y="17"/>
                  </a:lnTo>
                  <a:lnTo>
                    <a:pt x="51" y="22"/>
                  </a:lnTo>
                  <a:lnTo>
                    <a:pt x="51" y="28"/>
                  </a:lnTo>
                  <a:lnTo>
                    <a:pt x="51" y="30"/>
                  </a:lnTo>
                  <a:lnTo>
                    <a:pt x="48" y="30"/>
                  </a:lnTo>
                  <a:lnTo>
                    <a:pt x="43" y="30"/>
                  </a:lnTo>
                  <a:lnTo>
                    <a:pt x="35" y="30"/>
                  </a:lnTo>
                  <a:lnTo>
                    <a:pt x="30" y="30"/>
                  </a:lnTo>
                  <a:lnTo>
                    <a:pt x="28" y="30"/>
                  </a:lnTo>
                  <a:lnTo>
                    <a:pt x="25" y="30"/>
                  </a:lnTo>
                  <a:lnTo>
                    <a:pt x="25" y="30"/>
                  </a:lnTo>
                  <a:lnTo>
                    <a:pt x="23" y="30"/>
                  </a:lnTo>
                  <a:lnTo>
                    <a:pt x="23" y="30"/>
                  </a:lnTo>
                  <a:lnTo>
                    <a:pt x="23" y="30"/>
                  </a:lnTo>
                  <a:lnTo>
                    <a:pt x="20" y="30"/>
                  </a:lnTo>
                  <a:lnTo>
                    <a:pt x="20" y="30"/>
                  </a:lnTo>
                  <a:lnTo>
                    <a:pt x="20" y="28"/>
                  </a:lnTo>
                  <a:lnTo>
                    <a:pt x="20" y="28"/>
                  </a:lnTo>
                  <a:lnTo>
                    <a:pt x="18" y="28"/>
                  </a:lnTo>
                  <a:lnTo>
                    <a:pt x="18" y="30"/>
                  </a:lnTo>
                  <a:lnTo>
                    <a:pt x="18" y="30"/>
                  </a:lnTo>
                  <a:lnTo>
                    <a:pt x="15" y="30"/>
                  </a:lnTo>
                  <a:lnTo>
                    <a:pt x="18" y="35"/>
                  </a:lnTo>
                  <a:lnTo>
                    <a:pt x="18" y="38"/>
                  </a:lnTo>
                  <a:lnTo>
                    <a:pt x="18" y="40"/>
                  </a:lnTo>
                  <a:lnTo>
                    <a:pt x="18" y="40"/>
                  </a:lnTo>
                  <a:lnTo>
                    <a:pt x="15" y="40"/>
                  </a:lnTo>
                  <a:lnTo>
                    <a:pt x="15" y="38"/>
                  </a:lnTo>
                  <a:lnTo>
                    <a:pt x="15" y="38"/>
                  </a:lnTo>
                  <a:lnTo>
                    <a:pt x="13" y="40"/>
                  </a:lnTo>
                  <a:lnTo>
                    <a:pt x="13" y="40"/>
                  </a:lnTo>
                  <a:lnTo>
                    <a:pt x="13" y="43"/>
                  </a:lnTo>
                  <a:lnTo>
                    <a:pt x="15" y="45"/>
                  </a:lnTo>
                  <a:lnTo>
                    <a:pt x="15" y="45"/>
                  </a:lnTo>
                  <a:lnTo>
                    <a:pt x="20" y="48"/>
                  </a:lnTo>
                  <a:lnTo>
                    <a:pt x="23" y="48"/>
                  </a:lnTo>
                  <a:lnTo>
                    <a:pt x="25" y="48"/>
                  </a:lnTo>
                  <a:lnTo>
                    <a:pt x="20" y="50"/>
                  </a:lnTo>
                  <a:lnTo>
                    <a:pt x="20" y="53"/>
                  </a:lnTo>
                  <a:lnTo>
                    <a:pt x="20" y="50"/>
                  </a:lnTo>
                  <a:lnTo>
                    <a:pt x="15" y="50"/>
                  </a:lnTo>
                  <a:lnTo>
                    <a:pt x="15" y="50"/>
                  </a:lnTo>
                  <a:lnTo>
                    <a:pt x="13" y="48"/>
                  </a:lnTo>
                  <a:lnTo>
                    <a:pt x="13" y="48"/>
                  </a:lnTo>
                  <a:lnTo>
                    <a:pt x="13" y="45"/>
                  </a:lnTo>
                  <a:lnTo>
                    <a:pt x="13" y="45"/>
                  </a:lnTo>
                  <a:lnTo>
                    <a:pt x="10" y="45"/>
                  </a:lnTo>
                  <a:lnTo>
                    <a:pt x="13" y="50"/>
                  </a:lnTo>
                  <a:lnTo>
                    <a:pt x="13" y="56"/>
                  </a:lnTo>
                  <a:lnTo>
                    <a:pt x="10" y="61"/>
                  </a:lnTo>
                  <a:lnTo>
                    <a:pt x="7" y="66"/>
                  </a:lnTo>
                  <a:lnTo>
                    <a:pt x="7" y="68"/>
                  </a:lnTo>
                  <a:lnTo>
                    <a:pt x="5" y="68"/>
                  </a:lnTo>
                  <a:lnTo>
                    <a:pt x="5" y="68"/>
                  </a:lnTo>
                  <a:lnTo>
                    <a:pt x="5" y="68"/>
                  </a:lnTo>
                  <a:lnTo>
                    <a:pt x="2" y="68"/>
                  </a:lnTo>
                  <a:lnTo>
                    <a:pt x="0" y="68"/>
                  </a:lnTo>
                  <a:lnTo>
                    <a:pt x="0" y="66"/>
                  </a:lnTo>
                  <a:lnTo>
                    <a:pt x="2" y="73"/>
                  </a:lnTo>
                  <a:lnTo>
                    <a:pt x="2" y="73"/>
                  </a:lnTo>
                  <a:lnTo>
                    <a:pt x="2" y="76"/>
                  </a:lnTo>
                  <a:lnTo>
                    <a:pt x="2" y="78"/>
                  </a:lnTo>
                  <a:lnTo>
                    <a:pt x="5" y="84"/>
                  </a:lnTo>
                  <a:lnTo>
                    <a:pt x="10" y="84"/>
                  </a:lnTo>
                  <a:lnTo>
                    <a:pt x="10" y="84"/>
                  </a:lnTo>
                  <a:lnTo>
                    <a:pt x="10" y="84"/>
                  </a:lnTo>
                  <a:lnTo>
                    <a:pt x="10" y="84"/>
                  </a:lnTo>
                  <a:lnTo>
                    <a:pt x="13" y="84"/>
                  </a:lnTo>
                  <a:lnTo>
                    <a:pt x="10" y="86"/>
                  </a:lnTo>
                  <a:lnTo>
                    <a:pt x="10" y="89"/>
                  </a:lnTo>
                  <a:lnTo>
                    <a:pt x="13" y="89"/>
                  </a:lnTo>
                  <a:lnTo>
                    <a:pt x="13" y="89"/>
                  </a:lnTo>
                  <a:lnTo>
                    <a:pt x="13" y="89"/>
                  </a:lnTo>
                  <a:lnTo>
                    <a:pt x="15" y="89"/>
                  </a:lnTo>
                  <a:lnTo>
                    <a:pt x="15" y="89"/>
                  </a:lnTo>
                  <a:lnTo>
                    <a:pt x="13" y="91"/>
                  </a:lnTo>
                  <a:lnTo>
                    <a:pt x="13" y="91"/>
                  </a:lnTo>
                  <a:lnTo>
                    <a:pt x="10" y="91"/>
                  </a:lnTo>
                  <a:lnTo>
                    <a:pt x="5" y="84"/>
                  </a:lnTo>
                  <a:lnTo>
                    <a:pt x="5" y="84"/>
                  </a:lnTo>
                  <a:lnTo>
                    <a:pt x="7" y="89"/>
                  </a:lnTo>
                  <a:lnTo>
                    <a:pt x="10" y="91"/>
                  </a:lnTo>
                  <a:lnTo>
                    <a:pt x="10" y="94"/>
                  </a:lnTo>
                  <a:lnTo>
                    <a:pt x="10" y="94"/>
                  </a:lnTo>
                  <a:lnTo>
                    <a:pt x="13" y="94"/>
                  </a:lnTo>
                  <a:lnTo>
                    <a:pt x="15" y="96"/>
                  </a:lnTo>
                  <a:lnTo>
                    <a:pt x="15" y="96"/>
                  </a:lnTo>
                  <a:lnTo>
                    <a:pt x="15" y="99"/>
                  </a:lnTo>
                  <a:lnTo>
                    <a:pt x="13" y="96"/>
                  </a:lnTo>
                  <a:lnTo>
                    <a:pt x="10" y="96"/>
                  </a:lnTo>
                  <a:lnTo>
                    <a:pt x="13" y="99"/>
                  </a:lnTo>
                  <a:lnTo>
                    <a:pt x="13" y="99"/>
                  </a:lnTo>
                  <a:lnTo>
                    <a:pt x="15" y="101"/>
                  </a:lnTo>
                  <a:lnTo>
                    <a:pt x="15" y="104"/>
                  </a:lnTo>
                  <a:lnTo>
                    <a:pt x="18" y="106"/>
                  </a:lnTo>
                  <a:lnTo>
                    <a:pt x="18" y="106"/>
                  </a:lnTo>
                  <a:lnTo>
                    <a:pt x="18" y="109"/>
                  </a:lnTo>
                  <a:lnTo>
                    <a:pt x="20" y="109"/>
                  </a:lnTo>
                  <a:lnTo>
                    <a:pt x="23" y="109"/>
                  </a:lnTo>
                  <a:lnTo>
                    <a:pt x="25" y="109"/>
                  </a:lnTo>
                  <a:lnTo>
                    <a:pt x="25" y="112"/>
                  </a:lnTo>
                  <a:lnTo>
                    <a:pt x="25" y="112"/>
                  </a:lnTo>
                  <a:lnTo>
                    <a:pt x="25" y="112"/>
                  </a:lnTo>
                  <a:lnTo>
                    <a:pt x="20" y="109"/>
                  </a:lnTo>
                  <a:lnTo>
                    <a:pt x="20" y="109"/>
                  </a:lnTo>
                  <a:lnTo>
                    <a:pt x="20" y="112"/>
                  </a:lnTo>
                  <a:lnTo>
                    <a:pt x="25" y="117"/>
                  </a:lnTo>
                  <a:lnTo>
                    <a:pt x="33" y="122"/>
                  </a:lnTo>
                  <a:lnTo>
                    <a:pt x="35" y="127"/>
                  </a:lnTo>
                  <a:lnTo>
                    <a:pt x="38" y="129"/>
                  </a:lnTo>
                  <a:lnTo>
                    <a:pt x="43" y="134"/>
                  </a:lnTo>
                  <a:lnTo>
                    <a:pt x="43" y="137"/>
                  </a:lnTo>
                  <a:lnTo>
                    <a:pt x="46" y="140"/>
                  </a:lnTo>
                  <a:lnTo>
                    <a:pt x="48" y="142"/>
                  </a:lnTo>
                  <a:lnTo>
                    <a:pt x="48" y="140"/>
                  </a:lnTo>
                  <a:lnTo>
                    <a:pt x="51" y="137"/>
                  </a:lnTo>
                  <a:lnTo>
                    <a:pt x="51" y="137"/>
                  </a:lnTo>
                  <a:lnTo>
                    <a:pt x="56" y="132"/>
                  </a:lnTo>
                  <a:lnTo>
                    <a:pt x="56" y="134"/>
                  </a:lnTo>
                  <a:lnTo>
                    <a:pt x="58" y="137"/>
                  </a:lnTo>
                  <a:lnTo>
                    <a:pt x="58" y="137"/>
                  </a:lnTo>
                  <a:lnTo>
                    <a:pt x="61" y="137"/>
                  </a:lnTo>
                  <a:lnTo>
                    <a:pt x="61" y="137"/>
                  </a:lnTo>
                  <a:lnTo>
                    <a:pt x="63" y="137"/>
                  </a:lnTo>
                  <a:lnTo>
                    <a:pt x="63" y="134"/>
                  </a:lnTo>
                  <a:lnTo>
                    <a:pt x="61" y="134"/>
                  </a:lnTo>
                  <a:lnTo>
                    <a:pt x="61" y="134"/>
                  </a:lnTo>
                  <a:lnTo>
                    <a:pt x="63" y="132"/>
                  </a:lnTo>
                  <a:lnTo>
                    <a:pt x="63" y="132"/>
                  </a:lnTo>
                  <a:lnTo>
                    <a:pt x="63" y="129"/>
                  </a:lnTo>
                  <a:lnTo>
                    <a:pt x="63" y="129"/>
                  </a:lnTo>
                  <a:lnTo>
                    <a:pt x="63" y="127"/>
                  </a:lnTo>
                  <a:lnTo>
                    <a:pt x="61" y="127"/>
                  </a:lnTo>
                  <a:lnTo>
                    <a:pt x="58" y="124"/>
                  </a:lnTo>
                  <a:lnTo>
                    <a:pt x="58" y="124"/>
                  </a:lnTo>
                  <a:lnTo>
                    <a:pt x="58" y="122"/>
                  </a:lnTo>
                  <a:lnTo>
                    <a:pt x="61" y="122"/>
                  </a:lnTo>
                  <a:lnTo>
                    <a:pt x="61" y="122"/>
                  </a:lnTo>
                  <a:lnTo>
                    <a:pt x="58" y="119"/>
                  </a:lnTo>
                  <a:lnTo>
                    <a:pt x="58" y="119"/>
                  </a:lnTo>
                  <a:lnTo>
                    <a:pt x="58" y="119"/>
                  </a:lnTo>
                  <a:lnTo>
                    <a:pt x="56" y="117"/>
                  </a:lnTo>
                  <a:lnTo>
                    <a:pt x="56" y="117"/>
                  </a:lnTo>
                  <a:lnTo>
                    <a:pt x="56" y="114"/>
                  </a:lnTo>
                  <a:lnTo>
                    <a:pt x="56" y="112"/>
                  </a:lnTo>
                  <a:lnTo>
                    <a:pt x="56" y="106"/>
                  </a:lnTo>
                  <a:lnTo>
                    <a:pt x="56" y="106"/>
                  </a:lnTo>
                  <a:lnTo>
                    <a:pt x="56" y="106"/>
                  </a:lnTo>
                  <a:lnTo>
                    <a:pt x="58" y="106"/>
                  </a:lnTo>
                  <a:lnTo>
                    <a:pt x="58" y="106"/>
                  </a:lnTo>
                  <a:lnTo>
                    <a:pt x="63" y="106"/>
                  </a:lnTo>
                  <a:lnTo>
                    <a:pt x="63" y="106"/>
                  </a:lnTo>
                  <a:lnTo>
                    <a:pt x="66" y="106"/>
                  </a:lnTo>
                  <a:lnTo>
                    <a:pt x="66" y="109"/>
                  </a:lnTo>
                  <a:lnTo>
                    <a:pt x="74" y="106"/>
                  </a:lnTo>
                  <a:lnTo>
                    <a:pt x="74" y="104"/>
                  </a:lnTo>
                  <a:lnTo>
                    <a:pt x="74" y="101"/>
                  </a:lnTo>
                  <a:lnTo>
                    <a:pt x="74" y="101"/>
                  </a:lnTo>
                  <a:lnTo>
                    <a:pt x="74" y="101"/>
                  </a:lnTo>
                  <a:lnTo>
                    <a:pt x="74" y="99"/>
                  </a:lnTo>
                  <a:lnTo>
                    <a:pt x="74" y="99"/>
                  </a:lnTo>
                  <a:lnTo>
                    <a:pt x="74" y="96"/>
                  </a:lnTo>
                  <a:lnTo>
                    <a:pt x="74" y="96"/>
                  </a:lnTo>
                  <a:lnTo>
                    <a:pt x="76" y="94"/>
                  </a:lnTo>
                  <a:lnTo>
                    <a:pt x="79" y="94"/>
                  </a:lnTo>
                  <a:lnTo>
                    <a:pt x="79" y="96"/>
                  </a:lnTo>
                  <a:lnTo>
                    <a:pt x="81" y="96"/>
                  </a:lnTo>
                  <a:lnTo>
                    <a:pt x="81" y="99"/>
                  </a:lnTo>
                  <a:lnTo>
                    <a:pt x="84" y="101"/>
                  </a:lnTo>
                  <a:lnTo>
                    <a:pt x="84" y="106"/>
                  </a:lnTo>
                  <a:lnTo>
                    <a:pt x="89" y="106"/>
                  </a:lnTo>
                  <a:lnTo>
                    <a:pt x="92" y="106"/>
                  </a:lnTo>
                  <a:lnTo>
                    <a:pt x="94" y="106"/>
                  </a:lnTo>
                  <a:lnTo>
                    <a:pt x="97" y="104"/>
                  </a:lnTo>
                  <a:lnTo>
                    <a:pt x="99" y="104"/>
                  </a:lnTo>
                  <a:lnTo>
                    <a:pt x="99" y="101"/>
                  </a:lnTo>
                  <a:lnTo>
                    <a:pt x="102" y="101"/>
                  </a:lnTo>
                  <a:lnTo>
                    <a:pt x="102" y="104"/>
                  </a:lnTo>
                  <a:lnTo>
                    <a:pt x="102" y="106"/>
                  </a:lnTo>
                  <a:lnTo>
                    <a:pt x="102" y="106"/>
                  </a:lnTo>
                  <a:lnTo>
                    <a:pt x="102" y="109"/>
                  </a:lnTo>
                  <a:lnTo>
                    <a:pt x="102" y="109"/>
                  </a:lnTo>
                  <a:lnTo>
                    <a:pt x="104" y="109"/>
                  </a:lnTo>
                  <a:lnTo>
                    <a:pt x="107" y="109"/>
                  </a:lnTo>
                  <a:lnTo>
                    <a:pt x="107" y="109"/>
                  </a:lnTo>
                  <a:lnTo>
                    <a:pt x="109" y="106"/>
                  </a:lnTo>
                  <a:lnTo>
                    <a:pt x="109" y="106"/>
                  </a:lnTo>
                  <a:lnTo>
                    <a:pt x="109" y="104"/>
                  </a:lnTo>
                  <a:lnTo>
                    <a:pt x="109" y="104"/>
                  </a:lnTo>
                  <a:lnTo>
                    <a:pt x="109" y="101"/>
                  </a:lnTo>
                  <a:lnTo>
                    <a:pt x="109" y="101"/>
                  </a:lnTo>
                  <a:lnTo>
                    <a:pt x="109" y="99"/>
                  </a:lnTo>
                  <a:lnTo>
                    <a:pt x="112" y="96"/>
                  </a:lnTo>
                  <a:lnTo>
                    <a:pt x="112" y="96"/>
                  </a:lnTo>
                  <a:lnTo>
                    <a:pt x="112" y="96"/>
                  </a:lnTo>
                  <a:lnTo>
                    <a:pt x="114" y="91"/>
                  </a:lnTo>
                  <a:lnTo>
                    <a:pt x="114" y="91"/>
                  </a:lnTo>
                  <a:lnTo>
                    <a:pt x="114" y="89"/>
                  </a:lnTo>
                  <a:lnTo>
                    <a:pt x="114" y="89"/>
                  </a:lnTo>
                  <a:lnTo>
                    <a:pt x="114" y="86"/>
                  </a:lnTo>
                  <a:lnTo>
                    <a:pt x="114" y="81"/>
                  </a:lnTo>
                  <a:lnTo>
                    <a:pt x="114" y="7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316" name="Freeform 1935">
              <a:extLst>
                <a:ext uri="{FF2B5EF4-FFF2-40B4-BE49-F238E27FC236}">
                  <a16:creationId xmlns:a16="http://schemas.microsoft.com/office/drawing/2014/main" id="{832318FB-12E5-FE4A-9E79-BC10DF156443}"/>
                </a:ext>
              </a:extLst>
            </p:cNvPr>
            <p:cNvSpPr>
              <a:spLocks/>
            </p:cNvSpPr>
            <p:nvPr/>
          </p:nvSpPr>
          <p:spPr bwMode="auto">
            <a:xfrm>
              <a:off x="3812560" y="3585213"/>
              <a:ext cx="99780" cy="137402"/>
            </a:xfrm>
            <a:custGeom>
              <a:avLst/>
              <a:gdLst>
                <a:gd name="T0" fmla="*/ 61 w 61"/>
                <a:gd name="T1" fmla="*/ 35 h 84"/>
                <a:gd name="T2" fmla="*/ 58 w 61"/>
                <a:gd name="T3" fmla="*/ 28 h 84"/>
                <a:gd name="T4" fmla="*/ 56 w 61"/>
                <a:gd name="T5" fmla="*/ 28 h 84"/>
                <a:gd name="T6" fmla="*/ 56 w 61"/>
                <a:gd name="T7" fmla="*/ 30 h 84"/>
                <a:gd name="T8" fmla="*/ 53 w 61"/>
                <a:gd name="T9" fmla="*/ 33 h 84"/>
                <a:gd name="T10" fmla="*/ 53 w 61"/>
                <a:gd name="T11" fmla="*/ 30 h 84"/>
                <a:gd name="T12" fmla="*/ 53 w 61"/>
                <a:gd name="T13" fmla="*/ 28 h 84"/>
                <a:gd name="T14" fmla="*/ 50 w 61"/>
                <a:gd name="T15" fmla="*/ 23 h 84"/>
                <a:gd name="T16" fmla="*/ 48 w 61"/>
                <a:gd name="T17" fmla="*/ 20 h 84"/>
                <a:gd name="T18" fmla="*/ 45 w 61"/>
                <a:gd name="T19" fmla="*/ 17 h 84"/>
                <a:gd name="T20" fmla="*/ 35 w 61"/>
                <a:gd name="T21" fmla="*/ 10 h 84"/>
                <a:gd name="T22" fmla="*/ 25 w 61"/>
                <a:gd name="T23" fmla="*/ 5 h 84"/>
                <a:gd name="T24" fmla="*/ 15 w 61"/>
                <a:gd name="T25" fmla="*/ 2 h 84"/>
                <a:gd name="T26" fmla="*/ 12 w 61"/>
                <a:gd name="T27" fmla="*/ 10 h 84"/>
                <a:gd name="T28" fmla="*/ 10 w 61"/>
                <a:gd name="T29" fmla="*/ 12 h 84"/>
                <a:gd name="T30" fmla="*/ 5 w 61"/>
                <a:gd name="T31" fmla="*/ 17 h 84"/>
                <a:gd name="T32" fmla="*/ 5 w 61"/>
                <a:gd name="T33" fmla="*/ 20 h 84"/>
                <a:gd name="T34" fmla="*/ 5 w 61"/>
                <a:gd name="T35" fmla="*/ 25 h 84"/>
                <a:gd name="T36" fmla="*/ 5 w 61"/>
                <a:gd name="T37" fmla="*/ 28 h 84"/>
                <a:gd name="T38" fmla="*/ 5 w 61"/>
                <a:gd name="T39" fmla="*/ 30 h 84"/>
                <a:gd name="T40" fmla="*/ 5 w 61"/>
                <a:gd name="T41" fmla="*/ 35 h 84"/>
                <a:gd name="T42" fmla="*/ 7 w 61"/>
                <a:gd name="T43" fmla="*/ 38 h 84"/>
                <a:gd name="T44" fmla="*/ 7 w 61"/>
                <a:gd name="T45" fmla="*/ 40 h 84"/>
                <a:gd name="T46" fmla="*/ 10 w 61"/>
                <a:gd name="T47" fmla="*/ 45 h 84"/>
                <a:gd name="T48" fmla="*/ 12 w 61"/>
                <a:gd name="T49" fmla="*/ 48 h 84"/>
                <a:gd name="T50" fmla="*/ 12 w 61"/>
                <a:gd name="T51" fmla="*/ 51 h 84"/>
                <a:gd name="T52" fmla="*/ 12 w 61"/>
                <a:gd name="T53" fmla="*/ 53 h 84"/>
                <a:gd name="T54" fmla="*/ 12 w 61"/>
                <a:gd name="T55" fmla="*/ 56 h 84"/>
                <a:gd name="T56" fmla="*/ 10 w 61"/>
                <a:gd name="T57" fmla="*/ 61 h 84"/>
                <a:gd name="T58" fmla="*/ 10 w 61"/>
                <a:gd name="T59" fmla="*/ 66 h 84"/>
                <a:gd name="T60" fmla="*/ 7 w 61"/>
                <a:gd name="T61" fmla="*/ 71 h 84"/>
                <a:gd name="T62" fmla="*/ 2 w 61"/>
                <a:gd name="T63" fmla="*/ 76 h 84"/>
                <a:gd name="T64" fmla="*/ 2 w 61"/>
                <a:gd name="T65" fmla="*/ 79 h 84"/>
                <a:gd name="T66" fmla="*/ 0 w 61"/>
                <a:gd name="T67" fmla="*/ 79 h 84"/>
                <a:gd name="T68" fmla="*/ 2 w 61"/>
                <a:gd name="T69" fmla="*/ 81 h 84"/>
                <a:gd name="T70" fmla="*/ 5 w 61"/>
                <a:gd name="T71" fmla="*/ 81 h 84"/>
                <a:gd name="T72" fmla="*/ 7 w 61"/>
                <a:gd name="T73" fmla="*/ 84 h 84"/>
                <a:gd name="T74" fmla="*/ 10 w 61"/>
                <a:gd name="T75" fmla="*/ 84 h 84"/>
                <a:gd name="T76" fmla="*/ 15 w 61"/>
                <a:gd name="T77" fmla="*/ 81 h 84"/>
                <a:gd name="T78" fmla="*/ 15 w 61"/>
                <a:gd name="T79" fmla="*/ 79 h 84"/>
                <a:gd name="T80" fmla="*/ 17 w 61"/>
                <a:gd name="T81" fmla="*/ 79 h 84"/>
                <a:gd name="T82" fmla="*/ 17 w 61"/>
                <a:gd name="T83" fmla="*/ 79 h 84"/>
                <a:gd name="T84" fmla="*/ 22 w 61"/>
                <a:gd name="T85" fmla="*/ 81 h 84"/>
                <a:gd name="T86" fmla="*/ 25 w 61"/>
                <a:gd name="T87" fmla="*/ 81 h 84"/>
                <a:gd name="T88" fmla="*/ 25 w 61"/>
                <a:gd name="T89" fmla="*/ 79 h 84"/>
                <a:gd name="T90" fmla="*/ 28 w 61"/>
                <a:gd name="T91" fmla="*/ 81 h 84"/>
                <a:gd name="T92" fmla="*/ 30 w 61"/>
                <a:gd name="T93" fmla="*/ 81 h 84"/>
                <a:gd name="T94" fmla="*/ 33 w 61"/>
                <a:gd name="T95" fmla="*/ 84 h 84"/>
                <a:gd name="T96" fmla="*/ 35 w 61"/>
                <a:gd name="T97" fmla="*/ 81 h 84"/>
                <a:gd name="T98" fmla="*/ 38 w 61"/>
                <a:gd name="T99" fmla="*/ 79 h 84"/>
                <a:gd name="T100" fmla="*/ 40 w 61"/>
                <a:gd name="T101" fmla="*/ 76 h 84"/>
                <a:gd name="T102" fmla="*/ 43 w 61"/>
                <a:gd name="T103" fmla="*/ 73 h 84"/>
                <a:gd name="T104" fmla="*/ 43 w 61"/>
                <a:gd name="T105" fmla="*/ 66 h 84"/>
                <a:gd name="T106" fmla="*/ 45 w 61"/>
                <a:gd name="T107" fmla="*/ 63 h 84"/>
                <a:gd name="T108" fmla="*/ 45 w 61"/>
                <a:gd name="T109" fmla="*/ 61 h 84"/>
                <a:gd name="T110" fmla="*/ 48 w 61"/>
                <a:gd name="T111" fmla="*/ 58 h 84"/>
                <a:gd name="T112" fmla="*/ 50 w 61"/>
                <a:gd name="T113" fmla="*/ 56 h 84"/>
                <a:gd name="T114" fmla="*/ 53 w 61"/>
                <a:gd name="T115" fmla="*/ 48 h 84"/>
                <a:gd name="T116" fmla="*/ 56 w 61"/>
                <a:gd name="T117" fmla="*/ 48 h 84"/>
                <a:gd name="T118" fmla="*/ 56 w 61"/>
                <a:gd name="T119" fmla="*/ 45 h 84"/>
                <a:gd name="T120" fmla="*/ 58 w 61"/>
                <a:gd name="T121" fmla="*/ 43 h 84"/>
                <a:gd name="T122" fmla="*/ 61 w 61"/>
                <a:gd name="T123" fmla="*/ 40 h 84"/>
                <a:gd name="T124" fmla="*/ 61 w 61"/>
                <a:gd name="T125" fmla="*/ 38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1" h="84">
                  <a:moveTo>
                    <a:pt x="61" y="38"/>
                  </a:moveTo>
                  <a:lnTo>
                    <a:pt x="61" y="35"/>
                  </a:lnTo>
                  <a:lnTo>
                    <a:pt x="61" y="35"/>
                  </a:lnTo>
                  <a:lnTo>
                    <a:pt x="58" y="28"/>
                  </a:lnTo>
                  <a:lnTo>
                    <a:pt x="58" y="28"/>
                  </a:lnTo>
                  <a:lnTo>
                    <a:pt x="56" y="28"/>
                  </a:lnTo>
                  <a:lnTo>
                    <a:pt x="56" y="30"/>
                  </a:lnTo>
                  <a:lnTo>
                    <a:pt x="56" y="30"/>
                  </a:lnTo>
                  <a:lnTo>
                    <a:pt x="56" y="33"/>
                  </a:lnTo>
                  <a:lnTo>
                    <a:pt x="53" y="33"/>
                  </a:lnTo>
                  <a:lnTo>
                    <a:pt x="53" y="33"/>
                  </a:lnTo>
                  <a:lnTo>
                    <a:pt x="53" y="30"/>
                  </a:lnTo>
                  <a:lnTo>
                    <a:pt x="56" y="30"/>
                  </a:lnTo>
                  <a:lnTo>
                    <a:pt x="53" y="28"/>
                  </a:lnTo>
                  <a:lnTo>
                    <a:pt x="53" y="25"/>
                  </a:lnTo>
                  <a:lnTo>
                    <a:pt x="50" y="23"/>
                  </a:lnTo>
                  <a:lnTo>
                    <a:pt x="48" y="23"/>
                  </a:lnTo>
                  <a:lnTo>
                    <a:pt x="48" y="20"/>
                  </a:lnTo>
                  <a:lnTo>
                    <a:pt x="48" y="20"/>
                  </a:lnTo>
                  <a:lnTo>
                    <a:pt x="45" y="17"/>
                  </a:lnTo>
                  <a:lnTo>
                    <a:pt x="38" y="12"/>
                  </a:lnTo>
                  <a:lnTo>
                    <a:pt x="35" y="10"/>
                  </a:lnTo>
                  <a:lnTo>
                    <a:pt x="30" y="7"/>
                  </a:lnTo>
                  <a:lnTo>
                    <a:pt x="25" y="5"/>
                  </a:lnTo>
                  <a:lnTo>
                    <a:pt x="17" y="0"/>
                  </a:lnTo>
                  <a:lnTo>
                    <a:pt x="15" y="2"/>
                  </a:lnTo>
                  <a:lnTo>
                    <a:pt x="15" y="2"/>
                  </a:lnTo>
                  <a:lnTo>
                    <a:pt x="12" y="10"/>
                  </a:lnTo>
                  <a:lnTo>
                    <a:pt x="12" y="10"/>
                  </a:lnTo>
                  <a:lnTo>
                    <a:pt x="10" y="12"/>
                  </a:lnTo>
                  <a:lnTo>
                    <a:pt x="7" y="15"/>
                  </a:lnTo>
                  <a:lnTo>
                    <a:pt x="5" y="17"/>
                  </a:lnTo>
                  <a:lnTo>
                    <a:pt x="5" y="20"/>
                  </a:lnTo>
                  <a:lnTo>
                    <a:pt x="5" y="20"/>
                  </a:lnTo>
                  <a:lnTo>
                    <a:pt x="5" y="23"/>
                  </a:lnTo>
                  <a:lnTo>
                    <a:pt x="5" y="25"/>
                  </a:lnTo>
                  <a:lnTo>
                    <a:pt x="5" y="25"/>
                  </a:lnTo>
                  <a:lnTo>
                    <a:pt x="5" y="28"/>
                  </a:lnTo>
                  <a:lnTo>
                    <a:pt x="5" y="30"/>
                  </a:lnTo>
                  <a:lnTo>
                    <a:pt x="5" y="30"/>
                  </a:lnTo>
                  <a:lnTo>
                    <a:pt x="5" y="33"/>
                  </a:lnTo>
                  <a:lnTo>
                    <a:pt x="5" y="35"/>
                  </a:lnTo>
                  <a:lnTo>
                    <a:pt x="5" y="38"/>
                  </a:lnTo>
                  <a:lnTo>
                    <a:pt x="7" y="38"/>
                  </a:lnTo>
                  <a:lnTo>
                    <a:pt x="7" y="38"/>
                  </a:lnTo>
                  <a:lnTo>
                    <a:pt x="7" y="40"/>
                  </a:lnTo>
                  <a:lnTo>
                    <a:pt x="7" y="43"/>
                  </a:lnTo>
                  <a:lnTo>
                    <a:pt x="10" y="45"/>
                  </a:lnTo>
                  <a:lnTo>
                    <a:pt x="10" y="45"/>
                  </a:lnTo>
                  <a:lnTo>
                    <a:pt x="12" y="48"/>
                  </a:lnTo>
                  <a:lnTo>
                    <a:pt x="12" y="51"/>
                  </a:lnTo>
                  <a:lnTo>
                    <a:pt x="12" y="51"/>
                  </a:lnTo>
                  <a:lnTo>
                    <a:pt x="12" y="51"/>
                  </a:lnTo>
                  <a:lnTo>
                    <a:pt x="12" y="53"/>
                  </a:lnTo>
                  <a:lnTo>
                    <a:pt x="12" y="53"/>
                  </a:lnTo>
                  <a:lnTo>
                    <a:pt x="12" y="56"/>
                  </a:lnTo>
                  <a:lnTo>
                    <a:pt x="10" y="61"/>
                  </a:lnTo>
                  <a:lnTo>
                    <a:pt x="10" y="61"/>
                  </a:lnTo>
                  <a:lnTo>
                    <a:pt x="10" y="63"/>
                  </a:lnTo>
                  <a:lnTo>
                    <a:pt x="10" y="66"/>
                  </a:lnTo>
                  <a:lnTo>
                    <a:pt x="10" y="68"/>
                  </a:lnTo>
                  <a:lnTo>
                    <a:pt x="7" y="71"/>
                  </a:lnTo>
                  <a:lnTo>
                    <a:pt x="5" y="76"/>
                  </a:lnTo>
                  <a:lnTo>
                    <a:pt x="2" y="76"/>
                  </a:lnTo>
                  <a:lnTo>
                    <a:pt x="2" y="79"/>
                  </a:lnTo>
                  <a:lnTo>
                    <a:pt x="2" y="79"/>
                  </a:lnTo>
                  <a:lnTo>
                    <a:pt x="0" y="79"/>
                  </a:lnTo>
                  <a:lnTo>
                    <a:pt x="0" y="79"/>
                  </a:lnTo>
                  <a:lnTo>
                    <a:pt x="0" y="79"/>
                  </a:lnTo>
                  <a:lnTo>
                    <a:pt x="2" y="81"/>
                  </a:lnTo>
                  <a:lnTo>
                    <a:pt x="2" y="81"/>
                  </a:lnTo>
                  <a:lnTo>
                    <a:pt x="5" y="81"/>
                  </a:lnTo>
                  <a:lnTo>
                    <a:pt x="7" y="84"/>
                  </a:lnTo>
                  <a:lnTo>
                    <a:pt x="7" y="84"/>
                  </a:lnTo>
                  <a:lnTo>
                    <a:pt x="10" y="84"/>
                  </a:lnTo>
                  <a:lnTo>
                    <a:pt x="10" y="84"/>
                  </a:lnTo>
                  <a:lnTo>
                    <a:pt x="10" y="84"/>
                  </a:lnTo>
                  <a:lnTo>
                    <a:pt x="15" y="81"/>
                  </a:lnTo>
                  <a:lnTo>
                    <a:pt x="15" y="81"/>
                  </a:lnTo>
                  <a:lnTo>
                    <a:pt x="15" y="79"/>
                  </a:lnTo>
                  <a:lnTo>
                    <a:pt x="17" y="79"/>
                  </a:lnTo>
                  <a:lnTo>
                    <a:pt x="17" y="79"/>
                  </a:lnTo>
                  <a:lnTo>
                    <a:pt x="17" y="79"/>
                  </a:lnTo>
                  <a:lnTo>
                    <a:pt x="17" y="79"/>
                  </a:lnTo>
                  <a:lnTo>
                    <a:pt x="20" y="81"/>
                  </a:lnTo>
                  <a:lnTo>
                    <a:pt x="22" y="81"/>
                  </a:lnTo>
                  <a:lnTo>
                    <a:pt x="22" y="81"/>
                  </a:lnTo>
                  <a:lnTo>
                    <a:pt x="25" y="81"/>
                  </a:lnTo>
                  <a:lnTo>
                    <a:pt x="25" y="79"/>
                  </a:lnTo>
                  <a:lnTo>
                    <a:pt x="25" y="79"/>
                  </a:lnTo>
                  <a:lnTo>
                    <a:pt x="28" y="81"/>
                  </a:lnTo>
                  <a:lnTo>
                    <a:pt x="28" y="81"/>
                  </a:lnTo>
                  <a:lnTo>
                    <a:pt x="28" y="81"/>
                  </a:lnTo>
                  <a:lnTo>
                    <a:pt x="30" y="81"/>
                  </a:lnTo>
                  <a:lnTo>
                    <a:pt x="30" y="81"/>
                  </a:lnTo>
                  <a:lnTo>
                    <a:pt x="33" y="84"/>
                  </a:lnTo>
                  <a:lnTo>
                    <a:pt x="33" y="84"/>
                  </a:lnTo>
                  <a:lnTo>
                    <a:pt x="35" y="81"/>
                  </a:lnTo>
                  <a:lnTo>
                    <a:pt x="35" y="81"/>
                  </a:lnTo>
                  <a:lnTo>
                    <a:pt x="38" y="79"/>
                  </a:lnTo>
                  <a:lnTo>
                    <a:pt x="38" y="79"/>
                  </a:lnTo>
                  <a:lnTo>
                    <a:pt x="40" y="76"/>
                  </a:lnTo>
                  <a:lnTo>
                    <a:pt x="40" y="73"/>
                  </a:lnTo>
                  <a:lnTo>
                    <a:pt x="43" y="73"/>
                  </a:lnTo>
                  <a:lnTo>
                    <a:pt x="43" y="71"/>
                  </a:lnTo>
                  <a:lnTo>
                    <a:pt x="43" y="66"/>
                  </a:lnTo>
                  <a:lnTo>
                    <a:pt x="45" y="66"/>
                  </a:lnTo>
                  <a:lnTo>
                    <a:pt x="45" y="63"/>
                  </a:lnTo>
                  <a:lnTo>
                    <a:pt x="45" y="63"/>
                  </a:lnTo>
                  <a:lnTo>
                    <a:pt x="45" y="61"/>
                  </a:lnTo>
                  <a:lnTo>
                    <a:pt x="45" y="61"/>
                  </a:lnTo>
                  <a:lnTo>
                    <a:pt x="48" y="58"/>
                  </a:lnTo>
                  <a:lnTo>
                    <a:pt x="48" y="58"/>
                  </a:lnTo>
                  <a:lnTo>
                    <a:pt x="50" y="56"/>
                  </a:lnTo>
                  <a:lnTo>
                    <a:pt x="50" y="53"/>
                  </a:lnTo>
                  <a:lnTo>
                    <a:pt x="53" y="48"/>
                  </a:lnTo>
                  <a:lnTo>
                    <a:pt x="53" y="48"/>
                  </a:lnTo>
                  <a:lnTo>
                    <a:pt x="56" y="48"/>
                  </a:lnTo>
                  <a:lnTo>
                    <a:pt x="56" y="45"/>
                  </a:lnTo>
                  <a:lnTo>
                    <a:pt x="56" y="45"/>
                  </a:lnTo>
                  <a:lnTo>
                    <a:pt x="58" y="43"/>
                  </a:lnTo>
                  <a:lnTo>
                    <a:pt x="58" y="43"/>
                  </a:lnTo>
                  <a:lnTo>
                    <a:pt x="58" y="40"/>
                  </a:lnTo>
                  <a:lnTo>
                    <a:pt x="61" y="40"/>
                  </a:lnTo>
                  <a:lnTo>
                    <a:pt x="61" y="40"/>
                  </a:lnTo>
                  <a:lnTo>
                    <a:pt x="61" y="38"/>
                  </a:lnTo>
                  <a:lnTo>
                    <a:pt x="61" y="3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317" name="Freeform 1936">
              <a:extLst>
                <a:ext uri="{FF2B5EF4-FFF2-40B4-BE49-F238E27FC236}">
                  <a16:creationId xmlns:a16="http://schemas.microsoft.com/office/drawing/2014/main" id="{B7AAB4E2-36C9-CF43-9EA7-B5B64EB88AE3}"/>
                </a:ext>
              </a:extLst>
            </p:cNvPr>
            <p:cNvSpPr>
              <a:spLocks noEditPoints="1"/>
            </p:cNvSpPr>
            <p:nvPr/>
          </p:nvSpPr>
          <p:spPr bwMode="auto">
            <a:xfrm>
              <a:off x="5516998" y="1911854"/>
              <a:ext cx="408934" cy="353319"/>
            </a:xfrm>
            <a:custGeom>
              <a:avLst/>
              <a:gdLst>
                <a:gd name="T0" fmla="*/ 224 w 250"/>
                <a:gd name="T1" fmla="*/ 46 h 216"/>
                <a:gd name="T2" fmla="*/ 206 w 250"/>
                <a:gd name="T3" fmla="*/ 43 h 216"/>
                <a:gd name="T4" fmla="*/ 199 w 250"/>
                <a:gd name="T5" fmla="*/ 38 h 216"/>
                <a:gd name="T6" fmla="*/ 191 w 250"/>
                <a:gd name="T7" fmla="*/ 35 h 216"/>
                <a:gd name="T8" fmla="*/ 181 w 250"/>
                <a:gd name="T9" fmla="*/ 35 h 216"/>
                <a:gd name="T10" fmla="*/ 171 w 250"/>
                <a:gd name="T11" fmla="*/ 28 h 216"/>
                <a:gd name="T12" fmla="*/ 166 w 250"/>
                <a:gd name="T13" fmla="*/ 25 h 216"/>
                <a:gd name="T14" fmla="*/ 158 w 250"/>
                <a:gd name="T15" fmla="*/ 20 h 216"/>
                <a:gd name="T16" fmla="*/ 150 w 250"/>
                <a:gd name="T17" fmla="*/ 18 h 216"/>
                <a:gd name="T18" fmla="*/ 140 w 250"/>
                <a:gd name="T19" fmla="*/ 7 h 216"/>
                <a:gd name="T20" fmla="*/ 132 w 250"/>
                <a:gd name="T21" fmla="*/ 2 h 216"/>
                <a:gd name="T22" fmla="*/ 112 w 250"/>
                <a:gd name="T23" fmla="*/ 18 h 216"/>
                <a:gd name="T24" fmla="*/ 87 w 250"/>
                <a:gd name="T25" fmla="*/ 33 h 216"/>
                <a:gd name="T26" fmla="*/ 66 w 250"/>
                <a:gd name="T27" fmla="*/ 38 h 216"/>
                <a:gd name="T28" fmla="*/ 51 w 250"/>
                <a:gd name="T29" fmla="*/ 33 h 216"/>
                <a:gd name="T30" fmla="*/ 51 w 250"/>
                <a:gd name="T31" fmla="*/ 53 h 216"/>
                <a:gd name="T32" fmla="*/ 23 w 250"/>
                <a:gd name="T33" fmla="*/ 51 h 216"/>
                <a:gd name="T34" fmla="*/ 2 w 250"/>
                <a:gd name="T35" fmla="*/ 61 h 216"/>
                <a:gd name="T36" fmla="*/ 2 w 250"/>
                <a:gd name="T37" fmla="*/ 63 h 216"/>
                <a:gd name="T38" fmla="*/ 5 w 250"/>
                <a:gd name="T39" fmla="*/ 71 h 216"/>
                <a:gd name="T40" fmla="*/ 25 w 250"/>
                <a:gd name="T41" fmla="*/ 74 h 216"/>
                <a:gd name="T42" fmla="*/ 38 w 250"/>
                <a:gd name="T43" fmla="*/ 79 h 216"/>
                <a:gd name="T44" fmla="*/ 48 w 250"/>
                <a:gd name="T45" fmla="*/ 84 h 216"/>
                <a:gd name="T46" fmla="*/ 43 w 250"/>
                <a:gd name="T47" fmla="*/ 94 h 216"/>
                <a:gd name="T48" fmla="*/ 61 w 250"/>
                <a:gd name="T49" fmla="*/ 117 h 216"/>
                <a:gd name="T50" fmla="*/ 66 w 250"/>
                <a:gd name="T51" fmla="*/ 132 h 216"/>
                <a:gd name="T52" fmla="*/ 58 w 250"/>
                <a:gd name="T53" fmla="*/ 132 h 216"/>
                <a:gd name="T54" fmla="*/ 48 w 250"/>
                <a:gd name="T55" fmla="*/ 170 h 216"/>
                <a:gd name="T56" fmla="*/ 51 w 250"/>
                <a:gd name="T57" fmla="*/ 178 h 216"/>
                <a:gd name="T58" fmla="*/ 53 w 250"/>
                <a:gd name="T59" fmla="*/ 178 h 216"/>
                <a:gd name="T60" fmla="*/ 69 w 250"/>
                <a:gd name="T61" fmla="*/ 186 h 216"/>
                <a:gd name="T62" fmla="*/ 81 w 250"/>
                <a:gd name="T63" fmla="*/ 188 h 216"/>
                <a:gd name="T64" fmla="*/ 97 w 250"/>
                <a:gd name="T65" fmla="*/ 186 h 216"/>
                <a:gd name="T66" fmla="*/ 107 w 250"/>
                <a:gd name="T67" fmla="*/ 191 h 216"/>
                <a:gd name="T68" fmla="*/ 120 w 250"/>
                <a:gd name="T69" fmla="*/ 193 h 216"/>
                <a:gd name="T70" fmla="*/ 132 w 250"/>
                <a:gd name="T71" fmla="*/ 193 h 216"/>
                <a:gd name="T72" fmla="*/ 148 w 250"/>
                <a:gd name="T73" fmla="*/ 168 h 216"/>
                <a:gd name="T74" fmla="*/ 163 w 250"/>
                <a:gd name="T75" fmla="*/ 173 h 216"/>
                <a:gd name="T76" fmla="*/ 168 w 250"/>
                <a:gd name="T77" fmla="*/ 173 h 216"/>
                <a:gd name="T78" fmla="*/ 196 w 250"/>
                <a:gd name="T79" fmla="*/ 175 h 216"/>
                <a:gd name="T80" fmla="*/ 211 w 250"/>
                <a:gd name="T81" fmla="*/ 163 h 216"/>
                <a:gd name="T82" fmla="*/ 216 w 250"/>
                <a:gd name="T83" fmla="*/ 158 h 216"/>
                <a:gd name="T84" fmla="*/ 204 w 250"/>
                <a:gd name="T85" fmla="*/ 150 h 216"/>
                <a:gd name="T86" fmla="*/ 204 w 250"/>
                <a:gd name="T87" fmla="*/ 140 h 216"/>
                <a:gd name="T88" fmla="*/ 201 w 250"/>
                <a:gd name="T89" fmla="*/ 132 h 216"/>
                <a:gd name="T90" fmla="*/ 204 w 250"/>
                <a:gd name="T91" fmla="*/ 119 h 216"/>
                <a:gd name="T92" fmla="*/ 204 w 250"/>
                <a:gd name="T93" fmla="*/ 109 h 216"/>
                <a:gd name="T94" fmla="*/ 194 w 250"/>
                <a:gd name="T95" fmla="*/ 104 h 216"/>
                <a:gd name="T96" fmla="*/ 188 w 250"/>
                <a:gd name="T97" fmla="*/ 107 h 216"/>
                <a:gd name="T98" fmla="*/ 196 w 250"/>
                <a:gd name="T99" fmla="*/ 96 h 216"/>
                <a:gd name="T100" fmla="*/ 206 w 250"/>
                <a:gd name="T101" fmla="*/ 84 h 216"/>
                <a:gd name="T102" fmla="*/ 209 w 250"/>
                <a:gd name="T103" fmla="*/ 81 h 216"/>
                <a:gd name="T104" fmla="*/ 216 w 250"/>
                <a:gd name="T105" fmla="*/ 71 h 216"/>
                <a:gd name="T106" fmla="*/ 227 w 250"/>
                <a:gd name="T107" fmla="*/ 48 h 216"/>
                <a:gd name="T108" fmla="*/ 250 w 250"/>
                <a:gd name="T109" fmla="*/ 180 h 216"/>
                <a:gd name="T110" fmla="*/ 242 w 250"/>
                <a:gd name="T111" fmla="*/ 186 h 216"/>
                <a:gd name="T112" fmla="*/ 234 w 250"/>
                <a:gd name="T113" fmla="*/ 196 h 216"/>
                <a:gd name="T114" fmla="*/ 234 w 250"/>
                <a:gd name="T115" fmla="*/ 203 h 216"/>
                <a:gd name="T116" fmla="*/ 237 w 250"/>
                <a:gd name="T117" fmla="*/ 211 h 216"/>
                <a:gd name="T118" fmla="*/ 247 w 250"/>
                <a:gd name="T119" fmla="*/ 203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50" h="216">
                  <a:moveTo>
                    <a:pt x="58" y="117"/>
                  </a:moveTo>
                  <a:lnTo>
                    <a:pt x="58" y="114"/>
                  </a:lnTo>
                  <a:lnTo>
                    <a:pt x="56" y="112"/>
                  </a:lnTo>
                  <a:lnTo>
                    <a:pt x="56" y="112"/>
                  </a:lnTo>
                  <a:lnTo>
                    <a:pt x="56" y="112"/>
                  </a:lnTo>
                  <a:lnTo>
                    <a:pt x="56" y="112"/>
                  </a:lnTo>
                  <a:lnTo>
                    <a:pt x="56" y="114"/>
                  </a:lnTo>
                  <a:lnTo>
                    <a:pt x="58" y="117"/>
                  </a:lnTo>
                  <a:close/>
                  <a:moveTo>
                    <a:pt x="227" y="46"/>
                  </a:moveTo>
                  <a:lnTo>
                    <a:pt x="224" y="46"/>
                  </a:lnTo>
                  <a:lnTo>
                    <a:pt x="222" y="46"/>
                  </a:lnTo>
                  <a:lnTo>
                    <a:pt x="216" y="43"/>
                  </a:lnTo>
                  <a:lnTo>
                    <a:pt x="216" y="43"/>
                  </a:lnTo>
                  <a:lnTo>
                    <a:pt x="214" y="43"/>
                  </a:lnTo>
                  <a:lnTo>
                    <a:pt x="214" y="43"/>
                  </a:lnTo>
                  <a:lnTo>
                    <a:pt x="211" y="43"/>
                  </a:lnTo>
                  <a:lnTo>
                    <a:pt x="211" y="43"/>
                  </a:lnTo>
                  <a:lnTo>
                    <a:pt x="209" y="43"/>
                  </a:lnTo>
                  <a:lnTo>
                    <a:pt x="209" y="43"/>
                  </a:lnTo>
                  <a:lnTo>
                    <a:pt x="206" y="43"/>
                  </a:lnTo>
                  <a:lnTo>
                    <a:pt x="206" y="43"/>
                  </a:lnTo>
                  <a:lnTo>
                    <a:pt x="206" y="40"/>
                  </a:lnTo>
                  <a:lnTo>
                    <a:pt x="206" y="40"/>
                  </a:lnTo>
                  <a:lnTo>
                    <a:pt x="204" y="40"/>
                  </a:lnTo>
                  <a:lnTo>
                    <a:pt x="204" y="40"/>
                  </a:lnTo>
                  <a:lnTo>
                    <a:pt x="204" y="43"/>
                  </a:lnTo>
                  <a:lnTo>
                    <a:pt x="204" y="43"/>
                  </a:lnTo>
                  <a:lnTo>
                    <a:pt x="201" y="43"/>
                  </a:lnTo>
                  <a:lnTo>
                    <a:pt x="199" y="40"/>
                  </a:lnTo>
                  <a:lnTo>
                    <a:pt x="199" y="38"/>
                  </a:lnTo>
                  <a:lnTo>
                    <a:pt x="199" y="38"/>
                  </a:lnTo>
                  <a:lnTo>
                    <a:pt x="199" y="38"/>
                  </a:lnTo>
                  <a:lnTo>
                    <a:pt x="199" y="35"/>
                  </a:lnTo>
                  <a:lnTo>
                    <a:pt x="196" y="35"/>
                  </a:lnTo>
                  <a:lnTo>
                    <a:pt x="196" y="35"/>
                  </a:lnTo>
                  <a:lnTo>
                    <a:pt x="194" y="35"/>
                  </a:lnTo>
                  <a:lnTo>
                    <a:pt x="194" y="35"/>
                  </a:lnTo>
                  <a:lnTo>
                    <a:pt x="194" y="35"/>
                  </a:lnTo>
                  <a:lnTo>
                    <a:pt x="191" y="35"/>
                  </a:lnTo>
                  <a:lnTo>
                    <a:pt x="191" y="35"/>
                  </a:lnTo>
                  <a:lnTo>
                    <a:pt x="188" y="35"/>
                  </a:lnTo>
                  <a:lnTo>
                    <a:pt x="188" y="35"/>
                  </a:lnTo>
                  <a:lnTo>
                    <a:pt x="188" y="35"/>
                  </a:lnTo>
                  <a:lnTo>
                    <a:pt x="188" y="35"/>
                  </a:lnTo>
                  <a:lnTo>
                    <a:pt x="186" y="35"/>
                  </a:lnTo>
                  <a:lnTo>
                    <a:pt x="186" y="33"/>
                  </a:lnTo>
                  <a:lnTo>
                    <a:pt x="183" y="33"/>
                  </a:lnTo>
                  <a:lnTo>
                    <a:pt x="183" y="33"/>
                  </a:lnTo>
                  <a:lnTo>
                    <a:pt x="181" y="35"/>
                  </a:lnTo>
                  <a:lnTo>
                    <a:pt x="181" y="35"/>
                  </a:lnTo>
                  <a:lnTo>
                    <a:pt x="178" y="33"/>
                  </a:lnTo>
                  <a:lnTo>
                    <a:pt x="178" y="33"/>
                  </a:lnTo>
                  <a:lnTo>
                    <a:pt x="178" y="30"/>
                  </a:lnTo>
                  <a:lnTo>
                    <a:pt x="176" y="30"/>
                  </a:lnTo>
                  <a:lnTo>
                    <a:pt x="176" y="30"/>
                  </a:lnTo>
                  <a:lnTo>
                    <a:pt x="173" y="30"/>
                  </a:lnTo>
                  <a:lnTo>
                    <a:pt x="173" y="28"/>
                  </a:lnTo>
                  <a:lnTo>
                    <a:pt x="173" y="28"/>
                  </a:lnTo>
                  <a:lnTo>
                    <a:pt x="171" y="28"/>
                  </a:lnTo>
                  <a:lnTo>
                    <a:pt x="171" y="28"/>
                  </a:lnTo>
                  <a:lnTo>
                    <a:pt x="171" y="28"/>
                  </a:lnTo>
                  <a:lnTo>
                    <a:pt x="171" y="25"/>
                  </a:lnTo>
                  <a:lnTo>
                    <a:pt x="168" y="25"/>
                  </a:lnTo>
                  <a:lnTo>
                    <a:pt x="171" y="20"/>
                  </a:lnTo>
                  <a:lnTo>
                    <a:pt x="168" y="20"/>
                  </a:lnTo>
                  <a:lnTo>
                    <a:pt x="168" y="20"/>
                  </a:lnTo>
                  <a:lnTo>
                    <a:pt x="168" y="23"/>
                  </a:lnTo>
                  <a:lnTo>
                    <a:pt x="166" y="23"/>
                  </a:lnTo>
                  <a:lnTo>
                    <a:pt x="166" y="23"/>
                  </a:lnTo>
                  <a:lnTo>
                    <a:pt x="166" y="25"/>
                  </a:lnTo>
                  <a:lnTo>
                    <a:pt x="160" y="25"/>
                  </a:lnTo>
                  <a:lnTo>
                    <a:pt x="158" y="25"/>
                  </a:lnTo>
                  <a:lnTo>
                    <a:pt x="158" y="25"/>
                  </a:lnTo>
                  <a:lnTo>
                    <a:pt x="158" y="23"/>
                  </a:lnTo>
                  <a:lnTo>
                    <a:pt x="158" y="23"/>
                  </a:lnTo>
                  <a:lnTo>
                    <a:pt x="158" y="23"/>
                  </a:lnTo>
                  <a:lnTo>
                    <a:pt x="158" y="23"/>
                  </a:lnTo>
                  <a:lnTo>
                    <a:pt x="158" y="23"/>
                  </a:lnTo>
                  <a:lnTo>
                    <a:pt x="158" y="20"/>
                  </a:lnTo>
                  <a:lnTo>
                    <a:pt x="158" y="20"/>
                  </a:lnTo>
                  <a:lnTo>
                    <a:pt x="158" y="20"/>
                  </a:lnTo>
                  <a:lnTo>
                    <a:pt x="158" y="18"/>
                  </a:lnTo>
                  <a:lnTo>
                    <a:pt x="158" y="18"/>
                  </a:lnTo>
                  <a:lnTo>
                    <a:pt x="155" y="18"/>
                  </a:lnTo>
                  <a:lnTo>
                    <a:pt x="155" y="15"/>
                  </a:lnTo>
                  <a:lnTo>
                    <a:pt x="153" y="15"/>
                  </a:lnTo>
                  <a:lnTo>
                    <a:pt x="150" y="15"/>
                  </a:lnTo>
                  <a:lnTo>
                    <a:pt x="150" y="15"/>
                  </a:lnTo>
                  <a:lnTo>
                    <a:pt x="150" y="18"/>
                  </a:lnTo>
                  <a:lnTo>
                    <a:pt x="150" y="18"/>
                  </a:lnTo>
                  <a:lnTo>
                    <a:pt x="150" y="18"/>
                  </a:lnTo>
                  <a:lnTo>
                    <a:pt x="148" y="12"/>
                  </a:lnTo>
                  <a:lnTo>
                    <a:pt x="148" y="12"/>
                  </a:lnTo>
                  <a:lnTo>
                    <a:pt x="145" y="12"/>
                  </a:lnTo>
                  <a:lnTo>
                    <a:pt x="143" y="12"/>
                  </a:lnTo>
                  <a:lnTo>
                    <a:pt x="143" y="12"/>
                  </a:lnTo>
                  <a:lnTo>
                    <a:pt x="143" y="10"/>
                  </a:lnTo>
                  <a:lnTo>
                    <a:pt x="143" y="10"/>
                  </a:lnTo>
                  <a:lnTo>
                    <a:pt x="140" y="7"/>
                  </a:lnTo>
                  <a:lnTo>
                    <a:pt x="140" y="7"/>
                  </a:lnTo>
                  <a:lnTo>
                    <a:pt x="140" y="7"/>
                  </a:lnTo>
                  <a:lnTo>
                    <a:pt x="137" y="7"/>
                  </a:lnTo>
                  <a:lnTo>
                    <a:pt x="137" y="7"/>
                  </a:lnTo>
                  <a:lnTo>
                    <a:pt x="135" y="7"/>
                  </a:lnTo>
                  <a:lnTo>
                    <a:pt x="135" y="7"/>
                  </a:lnTo>
                  <a:lnTo>
                    <a:pt x="135" y="7"/>
                  </a:lnTo>
                  <a:lnTo>
                    <a:pt x="132" y="5"/>
                  </a:lnTo>
                  <a:lnTo>
                    <a:pt x="132" y="5"/>
                  </a:lnTo>
                  <a:lnTo>
                    <a:pt x="130" y="2"/>
                  </a:lnTo>
                  <a:lnTo>
                    <a:pt x="132" y="2"/>
                  </a:lnTo>
                  <a:lnTo>
                    <a:pt x="130" y="2"/>
                  </a:lnTo>
                  <a:lnTo>
                    <a:pt x="130" y="0"/>
                  </a:lnTo>
                  <a:lnTo>
                    <a:pt x="130" y="0"/>
                  </a:lnTo>
                  <a:lnTo>
                    <a:pt x="130" y="0"/>
                  </a:lnTo>
                  <a:lnTo>
                    <a:pt x="120" y="2"/>
                  </a:lnTo>
                  <a:lnTo>
                    <a:pt x="117" y="2"/>
                  </a:lnTo>
                  <a:lnTo>
                    <a:pt x="115" y="5"/>
                  </a:lnTo>
                  <a:lnTo>
                    <a:pt x="115" y="5"/>
                  </a:lnTo>
                  <a:lnTo>
                    <a:pt x="115" y="7"/>
                  </a:lnTo>
                  <a:lnTo>
                    <a:pt x="112" y="18"/>
                  </a:lnTo>
                  <a:lnTo>
                    <a:pt x="112" y="18"/>
                  </a:lnTo>
                  <a:lnTo>
                    <a:pt x="112" y="18"/>
                  </a:lnTo>
                  <a:lnTo>
                    <a:pt x="112" y="20"/>
                  </a:lnTo>
                  <a:lnTo>
                    <a:pt x="109" y="23"/>
                  </a:lnTo>
                  <a:lnTo>
                    <a:pt x="107" y="23"/>
                  </a:lnTo>
                  <a:lnTo>
                    <a:pt x="102" y="25"/>
                  </a:lnTo>
                  <a:lnTo>
                    <a:pt x="97" y="28"/>
                  </a:lnTo>
                  <a:lnTo>
                    <a:pt x="89" y="30"/>
                  </a:lnTo>
                  <a:lnTo>
                    <a:pt x="87" y="33"/>
                  </a:lnTo>
                  <a:lnTo>
                    <a:pt x="87" y="33"/>
                  </a:lnTo>
                  <a:lnTo>
                    <a:pt x="87" y="35"/>
                  </a:lnTo>
                  <a:lnTo>
                    <a:pt x="89" y="35"/>
                  </a:lnTo>
                  <a:lnTo>
                    <a:pt x="92" y="35"/>
                  </a:lnTo>
                  <a:lnTo>
                    <a:pt x="92" y="35"/>
                  </a:lnTo>
                  <a:lnTo>
                    <a:pt x="87" y="38"/>
                  </a:lnTo>
                  <a:lnTo>
                    <a:pt x="84" y="38"/>
                  </a:lnTo>
                  <a:lnTo>
                    <a:pt x="81" y="38"/>
                  </a:lnTo>
                  <a:lnTo>
                    <a:pt x="74" y="38"/>
                  </a:lnTo>
                  <a:lnTo>
                    <a:pt x="71" y="38"/>
                  </a:lnTo>
                  <a:lnTo>
                    <a:pt x="66" y="38"/>
                  </a:lnTo>
                  <a:lnTo>
                    <a:pt x="64" y="38"/>
                  </a:lnTo>
                  <a:lnTo>
                    <a:pt x="64" y="35"/>
                  </a:lnTo>
                  <a:lnTo>
                    <a:pt x="64" y="35"/>
                  </a:lnTo>
                  <a:lnTo>
                    <a:pt x="64" y="33"/>
                  </a:lnTo>
                  <a:lnTo>
                    <a:pt x="64" y="30"/>
                  </a:lnTo>
                  <a:lnTo>
                    <a:pt x="61" y="30"/>
                  </a:lnTo>
                  <a:lnTo>
                    <a:pt x="56" y="30"/>
                  </a:lnTo>
                  <a:lnTo>
                    <a:pt x="56" y="30"/>
                  </a:lnTo>
                  <a:lnTo>
                    <a:pt x="51" y="30"/>
                  </a:lnTo>
                  <a:lnTo>
                    <a:pt x="51" y="33"/>
                  </a:lnTo>
                  <a:lnTo>
                    <a:pt x="51" y="33"/>
                  </a:lnTo>
                  <a:lnTo>
                    <a:pt x="53" y="35"/>
                  </a:lnTo>
                  <a:lnTo>
                    <a:pt x="53" y="38"/>
                  </a:lnTo>
                  <a:lnTo>
                    <a:pt x="56" y="40"/>
                  </a:lnTo>
                  <a:lnTo>
                    <a:pt x="56" y="51"/>
                  </a:lnTo>
                  <a:lnTo>
                    <a:pt x="58" y="53"/>
                  </a:lnTo>
                  <a:lnTo>
                    <a:pt x="58" y="53"/>
                  </a:lnTo>
                  <a:lnTo>
                    <a:pt x="58" y="53"/>
                  </a:lnTo>
                  <a:lnTo>
                    <a:pt x="51" y="53"/>
                  </a:lnTo>
                  <a:lnTo>
                    <a:pt x="51" y="53"/>
                  </a:lnTo>
                  <a:lnTo>
                    <a:pt x="51" y="53"/>
                  </a:lnTo>
                  <a:lnTo>
                    <a:pt x="48" y="53"/>
                  </a:lnTo>
                  <a:lnTo>
                    <a:pt x="48" y="56"/>
                  </a:lnTo>
                  <a:lnTo>
                    <a:pt x="46" y="53"/>
                  </a:lnTo>
                  <a:lnTo>
                    <a:pt x="41" y="53"/>
                  </a:lnTo>
                  <a:lnTo>
                    <a:pt x="36" y="56"/>
                  </a:lnTo>
                  <a:lnTo>
                    <a:pt x="33" y="56"/>
                  </a:lnTo>
                  <a:lnTo>
                    <a:pt x="30" y="51"/>
                  </a:lnTo>
                  <a:lnTo>
                    <a:pt x="28" y="48"/>
                  </a:lnTo>
                  <a:lnTo>
                    <a:pt x="23" y="51"/>
                  </a:lnTo>
                  <a:lnTo>
                    <a:pt x="20" y="51"/>
                  </a:lnTo>
                  <a:lnTo>
                    <a:pt x="18" y="53"/>
                  </a:lnTo>
                  <a:lnTo>
                    <a:pt x="15" y="53"/>
                  </a:lnTo>
                  <a:lnTo>
                    <a:pt x="13" y="53"/>
                  </a:lnTo>
                  <a:lnTo>
                    <a:pt x="2" y="53"/>
                  </a:lnTo>
                  <a:lnTo>
                    <a:pt x="0" y="56"/>
                  </a:lnTo>
                  <a:lnTo>
                    <a:pt x="0" y="58"/>
                  </a:lnTo>
                  <a:lnTo>
                    <a:pt x="0" y="58"/>
                  </a:lnTo>
                  <a:lnTo>
                    <a:pt x="0" y="61"/>
                  </a:lnTo>
                  <a:lnTo>
                    <a:pt x="2" y="61"/>
                  </a:lnTo>
                  <a:lnTo>
                    <a:pt x="2" y="61"/>
                  </a:lnTo>
                  <a:lnTo>
                    <a:pt x="5" y="61"/>
                  </a:lnTo>
                  <a:lnTo>
                    <a:pt x="5" y="61"/>
                  </a:lnTo>
                  <a:lnTo>
                    <a:pt x="8" y="61"/>
                  </a:lnTo>
                  <a:lnTo>
                    <a:pt x="8" y="61"/>
                  </a:lnTo>
                  <a:lnTo>
                    <a:pt x="5" y="61"/>
                  </a:lnTo>
                  <a:lnTo>
                    <a:pt x="2" y="61"/>
                  </a:lnTo>
                  <a:lnTo>
                    <a:pt x="2" y="61"/>
                  </a:lnTo>
                  <a:lnTo>
                    <a:pt x="2" y="61"/>
                  </a:lnTo>
                  <a:lnTo>
                    <a:pt x="2" y="63"/>
                  </a:lnTo>
                  <a:lnTo>
                    <a:pt x="2" y="63"/>
                  </a:lnTo>
                  <a:lnTo>
                    <a:pt x="5" y="63"/>
                  </a:lnTo>
                  <a:lnTo>
                    <a:pt x="5" y="63"/>
                  </a:lnTo>
                  <a:lnTo>
                    <a:pt x="5" y="66"/>
                  </a:lnTo>
                  <a:lnTo>
                    <a:pt x="2" y="66"/>
                  </a:lnTo>
                  <a:lnTo>
                    <a:pt x="0" y="66"/>
                  </a:lnTo>
                  <a:lnTo>
                    <a:pt x="0" y="66"/>
                  </a:lnTo>
                  <a:lnTo>
                    <a:pt x="5" y="68"/>
                  </a:lnTo>
                  <a:lnTo>
                    <a:pt x="5" y="71"/>
                  </a:lnTo>
                  <a:lnTo>
                    <a:pt x="5" y="71"/>
                  </a:lnTo>
                  <a:lnTo>
                    <a:pt x="8" y="71"/>
                  </a:lnTo>
                  <a:lnTo>
                    <a:pt x="10" y="71"/>
                  </a:lnTo>
                  <a:lnTo>
                    <a:pt x="13" y="71"/>
                  </a:lnTo>
                  <a:lnTo>
                    <a:pt x="20" y="74"/>
                  </a:lnTo>
                  <a:lnTo>
                    <a:pt x="20" y="74"/>
                  </a:lnTo>
                  <a:lnTo>
                    <a:pt x="23" y="74"/>
                  </a:lnTo>
                  <a:lnTo>
                    <a:pt x="23" y="74"/>
                  </a:lnTo>
                  <a:lnTo>
                    <a:pt x="25" y="76"/>
                  </a:lnTo>
                  <a:lnTo>
                    <a:pt x="25" y="74"/>
                  </a:lnTo>
                  <a:lnTo>
                    <a:pt x="25" y="74"/>
                  </a:lnTo>
                  <a:lnTo>
                    <a:pt x="28" y="76"/>
                  </a:lnTo>
                  <a:lnTo>
                    <a:pt x="30" y="76"/>
                  </a:lnTo>
                  <a:lnTo>
                    <a:pt x="30" y="76"/>
                  </a:lnTo>
                  <a:lnTo>
                    <a:pt x="33" y="76"/>
                  </a:lnTo>
                  <a:lnTo>
                    <a:pt x="33" y="76"/>
                  </a:lnTo>
                  <a:lnTo>
                    <a:pt x="33" y="79"/>
                  </a:lnTo>
                  <a:lnTo>
                    <a:pt x="33" y="79"/>
                  </a:lnTo>
                  <a:lnTo>
                    <a:pt x="36" y="79"/>
                  </a:lnTo>
                  <a:lnTo>
                    <a:pt x="36" y="79"/>
                  </a:lnTo>
                  <a:lnTo>
                    <a:pt x="38" y="79"/>
                  </a:lnTo>
                  <a:lnTo>
                    <a:pt x="38" y="79"/>
                  </a:lnTo>
                  <a:lnTo>
                    <a:pt x="38" y="81"/>
                  </a:lnTo>
                  <a:lnTo>
                    <a:pt x="36" y="81"/>
                  </a:lnTo>
                  <a:lnTo>
                    <a:pt x="38" y="84"/>
                  </a:lnTo>
                  <a:lnTo>
                    <a:pt x="38" y="84"/>
                  </a:lnTo>
                  <a:lnTo>
                    <a:pt x="41" y="84"/>
                  </a:lnTo>
                  <a:lnTo>
                    <a:pt x="46" y="84"/>
                  </a:lnTo>
                  <a:lnTo>
                    <a:pt x="51" y="86"/>
                  </a:lnTo>
                  <a:lnTo>
                    <a:pt x="48" y="86"/>
                  </a:lnTo>
                  <a:lnTo>
                    <a:pt x="48" y="84"/>
                  </a:lnTo>
                  <a:lnTo>
                    <a:pt x="46" y="84"/>
                  </a:lnTo>
                  <a:lnTo>
                    <a:pt x="43" y="84"/>
                  </a:lnTo>
                  <a:lnTo>
                    <a:pt x="43" y="86"/>
                  </a:lnTo>
                  <a:lnTo>
                    <a:pt x="43" y="86"/>
                  </a:lnTo>
                  <a:lnTo>
                    <a:pt x="43" y="86"/>
                  </a:lnTo>
                  <a:lnTo>
                    <a:pt x="43" y="89"/>
                  </a:lnTo>
                  <a:lnTo>
                    <a:pt x="46" y="89"/>
                  </a:lnTo>
                  <a:lnTo>
                    <a:pt x="43" y="91"/>
                  </a:lnTo>
                  <a:lnTo>
                    <a:pt x="43" y="94"/>
                  </a:lnTo>
                  <a:lnTo>
                    <a:pt x="43" y="94"/>
                  </a:lnTo>
                  <a:lnTo>
                    <a:pt x="46" y="96"/>
                  </a:lnTo>
                  <a:lnTo>
                    <a:pt x="48" y="102"/>
                  </a:lnTo>
                  <a:lnTo>
                    <a:pt x="56" y="104"/>
                  </a:lnTo>
                  <a:lnTo>
                    <a:pt x="56" y="104"/>
                  </a:lnTo>
                  <a:lnTo>
                    <a:pt x="58" y="104"/>
                  </a:lnTo>
                  <a:lnTo>
                    <a:pt x="61" y="107"/>
                  </a:lnTo>
                  <a:lnTo>
                    <a:pt x="61" y="107"/>
                  </a:lnTo>
                  <a:lnTo>
                    <a:pt x="61" y="107"/>
                  </a:lnTo>
                  <a:lnTo>
                    <a:pt x="61" y="114"/>
                  </a:lnTo>
                  <a:lnTo>
                    <a:pt x="61" y="117"/>
                  </a:lnTo>
                  <a:lnTo>
                    <a:pt x="61" y="117"/>
                  </a:lnTo>
                  <a:lnTo>
                    <a:pt x="61" y="117"/>
                  </a:lnTo>
                  <a:lnTo>
                    <a:pt x="58" y="117"/>
                  </a:lnTo>
                  <a:lnTo>
                    <a:pt x="58" y="117"/>
                  </a:lnTo>
                  <a:lnTo>
                    <a:pt x="58" y="119"/>
                  </a:lnTo>
                  <a:lnTo>
                    <a:pt x="58" y="119"/>
                  </a:lnTo>
                  <a:lnTo>
                    <a:pt x="64" y="122"/>
                  </a:lnTo>
                  <a:lnTo>
                    <a:pt x="66" y="124"/>
                  </a:lnTo>
                  <a:lnTo>
                    <a:pt x="66" y="127"/>
                  </a:lnTo>
                  <a:lnTo>
                    <a:pt x="66" y="132"/>
                  </a:lnTo>
                  <a:lnTo>
                    <a:pt x="69" y="132"/>
                  </a:lnTo>
                  <a:lnTo>
                    <a:pt x="69" y="135"/>
                  </a:lnTo>
                  <a:lnTo>
                    <a:pt x="66" y="132"/>
                  </a:lnTo>
                  <a:lnTo>
                    <a:pt x="66" y="132"/>
                  </a:lnTo>
                  <a:lnTo>
                    <a:pt x="66" y="127"/>
                  </a:lnTo>
                  <a:lnTo>
                    <a:pt x="64" y="127"/>
                  </a:lnTo>
                  <a:lnTo>
                    <a:pt x="64" y="124"/>
                  </a:lnTo>
                  <a:lnTo>
                    <a:pt x="61" y="122"/>
                  </a:lnTo>
                  <a:lnTo>
                    <a:pt x="58" y="127"/>
                  </a:lnTo>
                  <a:lnTo>
                    <a:pt x="58" y="132"/>
                  </a:lnTo>
                  <a:lnTo>
                    <a:pt x="56" y="145"/>
                  </a:lnTo>
                  <a:lnTo>
                    <a:pt x="56" y="142"/>
                  </a:lnTo>
                  <a:lnTo>
                    <a:pt x="56" y="142"/>
                  </a:lnTo>
                  <a:lnTo>
                    <a:pt x="58" y="142"/>
                  </a:lnTo>
                  <a:lnTo>
                    <a:pt x="58" y="142"/>
                  </a:lnTo>
                  <a:lnTo>
                    <a:pt x="56" y="145"/>
                  </a:lnTo>
                  <a:lnTo>
                    <a:pt x="56" y="145"/>
                  </a:lnTo>
                  <a:lnTo>
                    <a:pt x="53" y="158"/>
                  </a:lnTo>
                  <a:lnTo>
                    <a:pt x="51" y="168"/>
                  </a:lnTo>
                  <a:lnTo>
                    <a:pt x="48" y="170"/>
                  </a:lnTo>
                  <a:lnTo>
                    <a:pt x="43" y="170"/>
                  </a:lnTo>
                  <a:lnTo>
                    <a:pt x="43" y="173"/>
                  </a:lnTo>
                  <a:lnTo>
                    <a:pt x="46" y="173"/>
                  </a:lnTo>
                  <a:lnTo>
                    <a:pt x="46" y="173"/>
                  </a:lnTo>
                  <a:lnTo>
                    <a:pt x="48" y="173"/>
                  </a:lnTo>
                  <a:lnTo>
                    <a:pt x="48" y="173"/>
                  </a:lnTo>
                  <a:lnTo>
                    <a:pt x="51" y="175"/>
                  </a:lnTo>
                  <a:lnTo>
                    <a:pt x="51" y="175"/>
                  </a:lnTo>
                  <a:lnTo>
                    <a:pt x="51" y="175"/>
                  </a:lnTo>
                  <a:lnTo>
                    <a:pt x="51" y="178"/>
                  </a:lnTo>
                  <a:lnTo>
                    <a:pt x="51" y="178"/>
                  </a:lnTo>
                  <a:lnTo>
                    <a:pt x="48" y="178"/>
                  </a:lnTo>
                  <a:lnTo>
                    <a:pt x="51" y="178"/>
                  </a:lnTo>
                  <a:lnTo>
                    <a:pt x="51" y="180"/>
                  </a:lnTo>
                  <a:lnTo>
                    <a:pt x="51" y="180"/>
                  </a:lnTo>
                  <a:lnTo>
                    <a:pt x="51" y="180"/>
                  </a:lnTo>
                  <a:lnTo>
                    <a:pt x="51" y="178"/>
                  </a:lnTo>
                  <a:lnTo>
                    <a:pt x="53" y="178"/>
                  </a:lnTo>
                  <a:lnTo>
                    <a:pt x="53" y="178"/>
                  </a:lnTo>
                  <a:lnTo>
                    <a:pt x="53" y="178"/>
                  </a:lnTo>
                  <a:lnTo>
                    <a:pt x="53" y="178"/>
                  </a:lnTo>
                  <a:lnTo>
                    <a:pt x="56" y="180"/>
                  </a:lnTo>
                  <a:lnTo>
                    <a:pt x="58" y="180"/>
                  </a:lnTo>
                  <a:lnTo>
                    <a:pt x="61" y="180"/>
                  </a:lnTo>
                  <a:lnTo>
                    <a:pt x="64" y="180"/>
                  </a:lnTo>
                  <a:lnTo>
                    <a:pt x="64" y="183"/>
                  </a:lnTo>
                  <a:lnTo>
                    <a:pt x="66" y="186"/>
                  </a:lnTo>
                  <a:lnTo>
                    <a:pt x="66" y="186"/>
                  </a:lnTo>
                  <a:lnTo>
                    <a:pt x="66" y="186"/>
                  </a:lnTo>
                  <a:lnTo>
                    <a:pt x="69" y="186"/>
                  </a:lnTo>
                  <a:lnTo>
                    <a:pt x="71" y="183"/>
                  </a:lnTo>
                  <a:lnTo>
                    <a:pt x="71" y="183"/>
                  </a:lnTo>
                  <a:lnTo>
                    <a:pt x="71" y="186"/>
                  </a:lnTo>
                  <a:lnTo>
                    <a:pt x="71" y="186"/>
                  </a:lnTo>
                  <a:lnTo>
                    <a:pt x="74" y="186"/>
                  </a:lnTo>
                  <a:lnTo>
                    <a:pt x="74" y="186"/>
                  </a:lnTo>
                  <a:lnTo>
                    <a:pt x="76" y="188"/>
                  </a:lnTo>
                  <a:lnTo>
                    <a:pt x="79" y="186"/>
                  </a:lnTo>
                  <a:lnTo>
                    <a:pt x="81" y="188"/>
                  </a:lnTo>
                  <a:lnTo>
                    <a:pt x="81" y="188"/>
                  </a:lnTo>
                  <a:lnTo>
                    <a:pt x="84" y="186"/>
                  </a:lnTo>
                  <a:lnTo>
                    <a:pt x="87" y="188"/>
                  </a:lnTo>
                  <a:lnTo>
                    <a:pt x="87" y="188"/>
                  </a:lnTo>
                  <a:lnTo>
                    <a:pt x="87" y="186"/>
                  </a:lnTo>
                  <a:lnTo>
                    <a:pt x="89" y="186"/>
                  </a:lnTo>
                  <a:lnTo>
                    <a:pt x="89" y="183"/>
                  </a:lnTo>
                  <a:lnTo>
                    <a:pt x="89" y="183"/>
                  </a:lnTo>
                  <a:lnTo>
                    <a:pt x="89" y="183"/>
                  </a:lnTo>
                  <a:lnTo>
                    <a:pt x="94" y="186"/>
                  </a:lnTo>
                  <a:lnTo>
                    <a:pt x="97" y="186"/>
                  </a:lnTo>
                  <a:lnTo>
                    <a:pt x="99" y="186"/>
                  </a:lnTo>
                  <a:lnTo>
                    <a:pt x="99" y="186"/>
                  </a:lnTo>
                  <a:lnTo>
                    <a:pt x="102" y="188"/>
                  </a:lnTo>
                  <a:lnTo>
                    <a:pt x="102" y="188"/>
                  </a:lnTo>
                  <a:lnTo>
                    <a:pt x="102" y="188"/>
                  </a:lnTo>
                  <a:lnTo>
                    <a:pt x="104" y="188"/>
                  </a:lnTo>
                  <a:lnTo>
                    <a:pt x="104" y="188"/>
                  </a:lnTo>
                  <a:lnTo>
                    <a:pt x="107" y="188"/>
                  </a:lnTo>
                  <a:lnTo>
                    <a:pt x="107" y="191"/>
                  </a:lnTo>
                  <a:lnTo>
                    <a:pt x="107" y="191"/>
                  </a:lnTo>
                  <a:lnTo>
                    <a:pt x="107" y="191"/>
                  </a:lnTo>
                  <a:lnTo>
                    <a:pt x="107" y="191"/>
                  </a:lnTo>
                  <a:lnTo>
                    <a:pt x="109" y="193"/>
                  </a:lnTo>
                  <a:lnTo>
                    <a:pt x="112" y="193"/>
                  </a:lnTo>
                  <a:lnTo>
                    <a:pt x="112" y="193"/>
                  </a:lnTo>
                  <a:lnTo>
                    <a:pt x="112" y="193"/>
                  </a:lnTo>
                  <a:lnTo>
                    <a:pt x="112" y="193"/>
                  </a:lnTo>
                  <a:lnTo>
                    <a:pt x="115" y="193"/>
                  </a:lnTo>
                  <a:lnTo>
                    <a:pt x="117" y="193"/>
                  </a:lnTo>
                  <a:lnTo>
                    <a:pt x="120" y="193"/>
                  </a:lnTo>
                  <a:lnTo>
                    <a:pt x="122" y="196"/>
                  </a:lnTo>
                  <a:lnTo>
                    <a:pt x="125" y="196"/>
                  </a:lnTo>
                  <a:lnTo>
                    <a:pt x="125" y="193"/>
                  </a:lnTo>
                  <a:lnTo>
                    <a:pt x="125" y="193"/>
                  </a:lnTo>
                  <a:lnTo>
                    <a:pt x="125" y="193"/>
                  </a:lnTo>
                  <a:lnTo>
                    <a:pt x="127" y="193"/>
                  </a:lnTo>
                  <a:lnTo>
                    <a:pt x="127" y="193"/>
                  </a:lnTo>
                  <a:lnTo>
                    <a:pt x="130" y="193"/>
                  </a:lnTo>
                  <a:lnTo>
                    <a:pt x="130" y="191"/>
                  </a:lnTo>
                  <a:lnTo>
                    <a:pt x="132" y="193"/>
                  </a:lnTo>
                  <a:lnTo>
                    <a:pt x="132" y="193"/>
                  </a:lnTo>
                  <a:lnTo>
                    <a:pt x="135" y="193"/>
                  </a:lnTo>
                  <a:lnTo>
                    <a:pt x="135" y="193"/>
                  </a:lnTo>
                  <a:lnTo>
                    <a:pt x="132" y="188"/>
                  </a:lnTo>
                  <a:lnTo>
                    <a:pt x="132" y="183"/>
                  </a:lnTo>
                  <a:lnTo>
                    <a:pt x="132" y="183"/>
                  </a:lnTo>
                  <a:lnTo>
                    <a:pt x="135" y="178"/>
                  </a:lnTo>
                  <a:lnTo>
                    <a:pt x="135" y="175"/>
                  </a:lnTo>
                  <a:lnTo>
                    <a:pt x="145" y="170"/>
                  </a:lnTo>
                  <a:lnTo>
                    <a:pt x="148" y="168"/>
                  </a:lnTo>
                  <a:lnTo>
                    <a:pt x="148" y="168"/>
                  </a:lnTo>
                  <a:lnTo>
                    <a:pt x="150" y="168"/>
                  </a:lnTo>
                  <a:lnTo>
                    <a:pt x="150" y="168"/>
                  </a:lnTo>
                  <a:lnTo>
                    <a:pt x="153" y="168"/>
                  </a:lnTo>
                  <a:lnTo>
                    <a:pt x="153" y="170"/>
                  </a:lnTo>
                  <a:lnTo>
                    <a:pt x="153" y="170"/>
                  </a:lnTo>
                  <a:lnTo>
                    <a:pt x="155" y="170"/>
                  </a:lnTo>
                  <a:lnTo>
                    <a:pt x="158" y="170"/>
                  </a:lnTo>
                  <a:lnTo>
                    <a:pt x="160" y="173"/>
                  </a:lnTo>
                  <a:lnTo>
                    <a:pt x="163" y="173"/>
                  </a:lnTo>
                  <a:lnTo>
                    <a:pt x="163" y="173"/>
                  </a:lnTo>
                  <a:lnTo>
                    <a:pt x="163" y="170"/>
                  </a:lnTo>
                  <a:lnTo>
                    <a:pt x="166" y="170"/>
                  </a:lnTo>
                  <a:lnTo>
                    <a:pt x="166" y="170"/>
                  </a:lnTo>
                  <a:lnTo>
                    <a:pt x="166" y="170"/>
                  </a:lnTo>
                  <a:lnTo>
                    <a:pt x="166" y="170"/>
                  </a:lnTo>
                  <a:lnTo>
                    <a:pt x="168" y="170"/>
                  </a:lnTo>
                  <a:lnTo>
                    <a:pt x="168" y="170"/>
                  </a:lnTo>
                  <a:lnTo>
                    <a:pt x="168" y="170"/>
                  </a:lnTo>
                  <a:lnTo>
                    <a:pt x="168" y="173"/>
                  </a:lnTo>
                  <a:lnTo>
                    <a:pt x="171" y="173"/>
                  </a:lnTo>
                  <a:lnTo>
                    <a:pt x="171" y="173"/>
                  </a:lnTo>
                  <a:lnTo>
                    <a:pt x="173" y="173"/>
                  </a:lnTo>
                  <a:lnTo>
                    <a:pt x="176" y="175"/>
                  </a:lnTo>
                  <a:lnTo>
                    <a:pt x="181" y="175"/>
                  </a:lnTo>
                  <a:lnTo>
                    <a:pt x="183" y="178"/>
                  </a:lnTo>
                  <a:lnTo>
                    <a:pt x="186" y="178"/>
                  </a:lnTo>
                  <a:lnTo>
                    <a:pt x="188" y="178"/>
                  </a:lnTo>
                  <a:lnTo>
                    <a:pt x="191" y="178"/>
                  </a:lnTo>
                  <a:lnTo>
                    <a:pt x="196" y="175"/>
                  </a:lnTo>
                  <a:lnTo>
                    <a:pt x="196" y="175"/>
                  </a:lnTo>
                  <a:lnTo>
                    <a:pt x="199" y="175"/>
                  </a:lnTo>
                  <a:lnTo>
                    <a:pt x="199" y="173"/>
                  </a:lnTo>
                  <a:lnTo>
                    <a:pt x="199" y="173"/>
                  </a:lnTo>
                  <a:lnTo>
                    <a:pt x="201" y="170"/>
                  </a:lnTo>
                  <a:lnTo>
                    <a:pt x="209" y="165"/>
                  </a:lnTo>
                  <a:lnTo>
                    <a:pt x="209" y="165"/>
                  </a:lnTo>
                  <a:lnTo>
                    <a:pt x="211" y="165"/>
                  </a:lnTo>
                  <a:lnTo>
                    <a:pt x="211" y="163"/>
                  </a:lnTo>
                  <a:lnTo>
                    <a:pt x="211" y="163"/>
                  </a:lnTo>
                  <a:lnTo>
                    <a:pt x="211" y="163"/>
                  </a:lnTo>
                  <a:lnTo>
                    <a:pt x="211" y="163"/>
                  </a:lnTo>
                  <a:lnTo>
                    <a:pt x="211" y="163"/>
                  </a:lnTo>
                  <a:lnTo>
                    <a:pt x="214" y="163"/>
                  </a:lnTo>
                  <a:lnTo>
                    <a:pt x="214" y="163"/>
                  </a:lnTo>
                  <a:lnTo>
                    <a:pt x="214" y="160"/>
                  </a:lnTo>
                  <a:lnTo>
                    <a:pt x="214" y="160"/>
                  </a:lnTo>
                  <a:lnTo>
                    <a:pt x="214" y="160"/>
                  </a:lnTo>
                  <a:lnTo>
                    <a:pt x="216" y="158"/>
                  </a:lnTo>
                  <a:lnTo>
                    <a:pt x="216" y="158"/>
                  </a:lnTo>
                  <a:lnTo>
                    <a:pt x="216" y="155"/>
                  </a:lnTo>
                  <a:lnTo>
                    <a:pt x="216" y="155"/>
                  </a:lnTo>
                  <a:lnTo>
                    <a:pt x="216" y="155"/>
                  </a:lnTo>
                  <a:lnTo>
                    <a:pt x="211" y="155"/>
                  </a:lnTo>
                  <a:lnTo>
                    <a:pt x="211" y="155"/>
                  </a:lnTo>
                  <a:lnTo>
                    <a:pt x="206" y="155"/>
                  </a:lnTo>
                  <a:lnTo>
                    <a:pt x="204" y="152"/>
                  </a:lnTo>
                  <a:lnTo>
                    <a:pt x="204" y="150"/>
                  </a:lnTo>
                  <a:lnTo>
                    <a:pt x="201" y="150"/>
                  </a:lnTo>
                  <a:lnTo>
                    <a:pt x="204" y="150"/>
                  </a:lnTo>
                  <a:lnTo>
                    <a:pt x="201" y="147"/>
                  </a:lnTo>
                  <a:lnTo>
                    <a:pt x="201" y="147"/>
                  </a:lnTo>
                  <a:lnTo>
                    <a:pt x="201" y="145"/>
                  </a:lnTo>
                  <a:lnTo>
                    <a:pt x="204" y="145"/>
                  </a:lnTo>
                  <a:lnTo>
                    <a:pt x="204" y="142"/>
                  </a:lnTo>
                  <a:lnTo>
                    <a:pt x="204" y="142"/>
                  </a:lnTo>
                  <a:lnTo>
                    <a:pt x="206" y="142"/>
                  </a:lnTo>
                  <a:lnTo>
                    <a:pt x="204" y="140"/>
                  </a:lnTo>
                  <a:lnTo>
                    <a:pt x="204" y="140"/>
                  </a:lnTo>
                  <a:lnTo>
                    <a:pt x="204" y="140"/>
                  </a:lnTo>
                  <a:lnTo>
                    <a:pt x="204" y="140"/>
                  </a:lnTo>
                  <a:lnTo>
                    <a:pt x="201" y="140"/>
                  </a:lnTo>
                  <a:lnTo>
                    <a:pt x="201" y="137"/>
                  </a:lnTo>
                  <a:lnTo>
                    <a:pt x="199" y="137"/>
                  </a:lnTo>
                  <a:lnTo>
                    <a:pt x="199" y="135"/>
                  </a:lnTo>
                  <a:lnTo>
                    <a:pt x="199" y="132"/>
                  </a:lnTo>
                  <a:lnTo>
                    <a:pt x="199" y="132"/>
                  </a:lnTo>
                  <a:lnTo>
                    <a:pt x="199" y="132"/>
                  </a:lnTo>
                  <a:lnTo>
                    <a:pt x="201" y="132"/>
                  </a:lnTo>
                  <a:lnTo>
                    <a:pt x="201" y="132"/>
                  </a:lnTo>
                  <a:lnTo>
                    <a:pt x="204" y="130"/>
                  </a:lnTo>
                  <a:lnTo>
                    <a:pt x="206" y="130"/>
                  </a:lnTo>
                  <a:lnTo>
                    <a:pt x="206" y="130"/>
                  </a:lnTo>
                  <a:lnTo>
                    <a:pt x="206" y="127"/>
                  </a:lnTo>
                  <a:lnTo>
                    <a:pt x="209" y="127"/>
                  </a:lnTo>
                  <a:lnTo>
                    <a:pt x="209" y="124"/>
                  </a:lnTo>
                  <a:lnTo>
                    <a:pt x="206" y="124"/>
                  </a:lnTo>
                  <a:lnTo>
                    <a:pt x="206" y="124"/>
                  </a:lnTo>
                  <a:lnTo>
                    <a:pt x="204" y="122"/>
                  </a:lnTo>
                  <a:lnTo>
                    <a:pt x="204" y="119"/>
                  </a:lnTo>
                  <a:lnTo>
                    <a:pt x="201" y="119"/>
                  </a:lnTo>
                  <a:lnTo>
                    <a:pt x="201" y="117"/>
                  </a:lnTo>
                  <a:lnTo>
                    <a:pt x="201" y="117"/>
                  </a:lnTo>
                  <a:lnTo>
                    <a:pt x="201" y="117"/>
                  </a:lnTo>
                  <a:lnTo>
                    <a:pt x="204" y="114"/>
                  </a:lnTo>
                  <a:lnTo>
                    <a:pt x="206" y="114"/>
                  </a:lnTo>
                  <a:lnTo>
                    <a:pt x="206" y="114"/>
                  </a:lnTo>
                  <a:lnTo>
                    <a:pt x="204" y="112"/>
                  </a:lnTo>
                  <a:lnTo>
                    <a:pt x="204" y="112"/>
                  </a:lnTo>
                  <a:lnTo>
                    <a:pt x="204" y="109"/>
                  </a:lnTo>
                  <a:lnTo>
                    <a:pt x="201" y="109"/>
                  </a:lnTo>
                  <a:lnTo>
                    <a:pt x="201" y="109"/>
                  </a:lnTo>
                  <a:lnTo>
                    <a:pt x="201" y="107"/>
                  </a:lnTo>
                  <a:lnTo>
                    <a:pt x="201" y="104"/>
                  </a:lnTo>
                  <a:lnTo>
                    <a:pt x="201" y="104"/>
                  </a:lnTo>
                  <a:lnTo>
                    <a:pt x="201" y="104"/>
                  </a:lnTo>
                  <a:lnTo>
                    <a:pt x="201" y="104"/>
                  </a:lnTo>
                  <a:lnTo>
                    <a:pt x="199" y="102"/>
                  </a:lnTo>
                  <a:lnTo>
                    <a:pt x="196" y="102"/>
                  </a:lnTo>
                  <a:lnTo>
                    <a:pt x="194" y="104"/>
                  </a:lnTo>
                  <a:lnTo>
                    <a:pt x="191" y="104"/>
                  </a:lnTo>
                  <a:lnTo>
                    <a:pt x="191" y="104"/>
                  </a:lnTo>
                  <a:lnTo>
                    <a:pt x="191" y="107"/>
                  </a:lnTo>
                  <a:lnTo>
                    <a:pt x="194" y="107"/>
                  </a:lnTo>
                  <a:lnTo>
                    <a:pt x="191" y="109"/>
                  </a:lnTo>
                  <a:lnTo>
                    <a:pt x="188" y="109"/>
                  </a:lnTo>
                  <a:lnTo>
                    <a:pt x="188" y="109"/>
                  </a:lnTo>
                  <a:lnTo>
                    <a:pt x="186" y="109"/>
                  </a:lnTo>
                  <a:lnTo>
                    <a:pt x="186" y="107"/>
                  </a:lnTo>
                  <a:lnTo>
                    <a:pt x="188" y="107"/>
                  </a:lnTo>
                  <a:lnTo>
                    <a:pt x="188" y="107"/>
                  </a:lnTo>
                  <a:lnTo>
                    <a:pt x="188" y="104"/>
                  </a:lnTo>
                  <a:lnTo>
                    <a:pt x="191" y="104"/>
                  </a:lnTo>
                  <a:lnTo>
                    <a:pt x="188" y="102"/>
                  </a:lnTo>
                  <a:lnTo>
                    <a:pt x="188" y="102"/>
                  </a:lnTo>
                  <a:lnTo>
                    <a:pt x="188" y="102"/>
                  </a:lnTo>
                  <a:lnTo>
                    <a:pt x="191" y="99"/>
                  </a:lnTo>
                  <a:lnTo>
                    <a:pt x="191" y="99"/>
                  </a:lnTo>
                  <a:lnTo>
                    <a:pt x="194" y="96"/>
                  </a:lnTo>
                  <a:lnTo>
                    <a:pt x="196" y="96"/>
                  </a:lnTo>
                  <a:lnTo>
                    <a:pt x="196" y="94"/>
                  </a:lnTo>
                  <a:lnTo>
                    <a:pt x="196" y="91"/>
                  </a:lnTo>
                  <a:lnTo>
                    <a:pt x="196" y="91"/>
                  </a:lnTo>
                  <a:lnTo>
                    <a:pt x="199" y="89"/>
                  </a:lnTo>
                  <a:lnTo>
                    <a:pt x="199" y="89"/>
                  </a:lnTo>
                  <a:lnTo>
                    <a:pt x="201" y="89"/>
                  </a:lnTo>
                  <a:lnTo>
                    <a:pt x="204" y="86"/>
                  </a:lnTo>
                  <a:lnTo>
                    <a:pt x="204" y="84"/>
                  </a:lnTo>
                  <a:lnTo>
                    <a:pt x="206" y="84"/>
                  </a:lnTo>
                  <a:lnTo>
                    <a:pt x="206" y="84"/>
                  </a:lnTo>
                  <a:lnTo>
                    <a:pt x="206" y="84"/>
                  </a:lnTo>
                  <a:lnTo>
                    <a:pt x="206" y="81"/>
                  </a:lnTo>
                  <a:lnTo>
                    <a:pt x="204" y="81"/>
                  </a:lnTo>
                  <a:lnTo>
                    <a:pt x="204" y="81"/>
                  </a:lnTo>
                  <a:lnTo>
                    <a:pt x="206" y="81"/>
                  </a:lnTo>
                  <a:lnTo>
                    <a:pt x="206" y="79"/>
                  </a:lnTo>
                  <a:lnTo>
                    <a:pt x="209" y="79"/>
                  </a:lnTo>
                  <a:lnTo>
                    <a:pt x="209" y="79"/>
                  </a:lnTo>
                  <a:lnTo>
                    <a:pt x="209" y="81"/>
                  </a:lnTo>
                  <a:lnTo>
                    <a:pt x="209" y="81"/>
                  </a:lnTo>
                  <a:lnTo>
                    <a:pt x="211" y="81"/>
                  </a:lnTo>
                  <a:lnTo>
                    <a:pt x="211" y="81"/>
                  </a:lnTo>
                  <a:lnTo>
                    <a:pt x="214" y="81"/>
                  </a:lnTo>
                  <a:lnTo>
                    <a:pt x="214" y="79"/>
                  </a:lnTo>
                  <a:lnTo>
                    <a:pt x="214" y="79"/>
                  </a:lnTo>
                  <a:lnTo>
                    <a:pt x="216" y="76"/>
                  </a:lnTo>
                  <a:lnTo>
                    <a:pt x="216" y="76"/>
                  </a:lnTo>
                  <a:lnTo>
                    <a:pt x="216" y="76"/>
                  </a:lnTo>
                  <a:lnTo>
                    <a:pt x="216" y="74"/>
                  </a:lnTo>
                  <a:lnTo>
                    <a:pt x="216" y="71"/>
                  </a:lnTo>
                  <a:lnTo>
                    <a:pt x="216" y="68"/>
                  </a:lnTo>
                  <a:lnTo>
                    <a:pt x="216" y="66"/>
                  </a:lnTo>
                  <a:lnTo>
                    <a:pt x="216" y="63"/>
                  </a:lnTo>
                  <a:lnTo>
                    <a:pt x="219" y="61"/>
                  </a:lnTo>
                  <a:lnTo>
                    <a:pt x="219" y="58"/>
                  </a:lnTo>
                  <a:lnTo>
                    <a:pt x="222" y="56"/>
                  </a:lnTo>
                  <a:lnTo>
                    <a:pt x="222" y="53"/>
                  </a:lnTo>
                  <a:lnTo>
                    <a:pt x="222" y="53"/>
                  </a:lnTo>
                  <a:lnTo>
                    <a:pt x="227" y="48"/>
                  </a:lnTo>
                  <a:lnTo>
                    <a:pt x="227" y="48"/>
                  </a:lnTo>
                  <a:lnTo>
                    <a:pt x="227" y="46"/>
                  </a:lnTo>
                  <a:lnTo>
                    <a:pt x="227" y="46"/>
                  </a:lnTo>
                  <a:close/>
                  <a:moveTo>
                    <a:pt x="250" y="191"/>
                  </a:moveTo>
                  <a:lnTo>
                    <a:pt x="250" y="188"/>
                  </a:lnTo>
                  <a:lnTo>
                    <a:pt x="250" y="188"/>
                  </a:lnTo>
                  <a:lnTo>
                    <a:pt x="250" y="188"/>
                  </a:lnTo>
                  <a:lnTo>
                    <a:pt x="250" y="186"/>
                  </a:lnTo>
                  <a:lnTo>
                    <a:pt x="250" y="183"/>
                  </a:lnTo>
                  <a:lnTo>
                    <a:pt x="250" y="180"/>
                  </a:lnTo>
                  <a:lnTo>
                    <a:pt x="250" y="180"/>
                  </a:lnTo>
                  <a:lnTo>
                    <a:pt x="247" y="180"/>
                  </a:lnTo>
                  <a:lnTo>
                    <a:pt x="247" y="180"/>
                  </a:lnTo>
                  <a:lnTo>
                    <a:pt x="247" y="180"/>
                  </a:lnTo>
                  <a:lnTo>
                    <a:pt x="247" y="183"/>
                  </a:lnTo>
                  <a:lnTo>
                    <a:pt x="247" y="186"/>
                  </a:lnTo>
                  <a:lnTo>
                    <a:pt x="247" y="186"/>
                  </a:lnTo>
                  <a:lnTo>
                    <a:pt x="245" y="188"/>
                  </a:lnTo>
                  <a:lnTo>
                    <a:pt x="245" y="186"/>
                  </a:lnTo>
                  <a:lnTo>
                    <a:pt x="245" y="186"/>
                  </a:lnTo>
                  <a:lnTo>
                    <a:pt x="242" y="186"/>
                  </a:lnTo>
                  <a:lnTo>
                    <a:pt x="242" y="186"/>
                  </a:lnTo>
                  <a:lnTo>
                    <a:pt x="242" y="188"/>
                  </a:lnTo>
                  <a:lnTo>
                    <a:pt x="239" y="188"/>
                  </a:lnTo>
                  <a:lnTo>
                    <a:pt x="237" y="188"/>
                  </a:lnTo>
                  <a:lnTo>
                    <a:pt x="234" y="191"/>
                  </a:lnTo>
                  <a:lnTo>
                    <a:pt x="234" y="193"/>
                  </a:lnTo>
                  <a:lnTo>
                    <a:pt x="232" y="193"/>
                  </a:lnTo>
                  <a:lnTo>
                    <a:pt x="232" y="193"/>
                  </a:lnTo>
                  <a:lnTo>
                    <a:pt x="232" y="196"/>
                  </a:lnTo>
                  <a:lnTo>
                    <a:pt x="234" y="196"/>
                  </a:lnTo>
                  <a:lnTo>
                    <a:pt x="234" y="196"/>
                  </a:lnTo>
                  <a:lnTo>
                    <a:pt x="234" y="196"/>
                  </a:lnTo>
                  <a:lnTo>
                    <a:pt x="232" y="198"/>
                  </a:lnTo>
                  <a:lnTo>
                    <a:pt x="232" y="198"/>
                  </a:lnTo>
                  <a:lnTo>
                    <a:pt x="234" y="201"/>
                  </a:lnTo>
                  <a:lnTo>
                    <a:pt x="234" y="201"/>
                  </a:lnTo>
                  <a:lnTo>
                    <a:pt x="234" y="201"/>
                  </a:lnTo>
                  <a:lnTo>
                    <a:pt x="234" y="203"/>
                  </a:lnTo>
                  <a:lnTo>
                    <a:pt x="234" y="203"/>
                  </a:lnTo>
                  <a:lnTo>
                    <a:pt x="234" y="203"/>
                  </a:lnTo>
                  <a:lnTo>
                    <a:pt x="234" y="203"/>
                  </a:lnTo>
                  <a:lnTo>
                    <a:pt x="234" y="203"/>
                  </a:lnTo>
                  <a:lnTo>
                    <a:pt x="237" y="206"/>
                  </a:lnTo>
                  <a:lnTo>
                    <a:pt x="234" y="206"/>
                  </a:lnTo>
                  <a:lnTo>
                    <a:pt x="234" y="208"/>
                  </a:lnTo>
                  <a:lnTo>
                    <a:pt x="237" y="208"/>
                  </a:lnTo>
                  <a:lnTo>
                    <a:pt x="237" y="208"/>
                  </a:lnTo>
                  <a:lnTo>
                    <a:pt x="237" y="208"/>
                  </a:lnTo>
                  <a:lnTo>
                    <a:pt x="237" y="211"/>
                  </a:lnTo>
                  <a:lnTo>
                    <a:pt x="237" y="211"/>
                  </a:lnTo>
                  <a:lnTo>
                    <a:pt x="237" y="211"/>
                  </a:lnTo>
                  <a:lnTo>
                    <a:pt x="239" y="214"/>
                  </a:lnTo>
                  <a:lnTo>
                    <a:pt x="239" y="214"/>
                  </a:lnTo>
                  <a:lnTo>
                    <a:pt x="245" y="216"/>
                  </a:lnTo>
                  <a:lnTo>
                    <a:pt x="245" y="214"/>
                  </a:lnTo>
                  <a:lnTo>
                    <a:pt x="247" y="211"/>
                  </a:lnTo>
                  <a:lnTo>
                    <a:pt x="247" y="208"/>
                  </a:lnTo>
                  <a:lnTo>
                    <a:pt x="247" y="208"/>
                  </a:lnTo>
                  <a:lnTo>
                    <a:pt x="247" y="203"/>
                  </a:lnTo>
                  <a:lnTo>
                    <a:pt x="247" y="203"/>
                  </a:lnTo>
                  <a:lnTo>
                    <a:pt x="250" y="198"/>
                  </a:lnTo>
                  <a:lnTo>
                    <a:pt x="250" y="198"/>
                  </a:lnTo>
                  <a:lnTo>
                    <a:pt x="250" y="191"/>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318" name="Freeform 1937">
              <a:extLst>
                <a:ext uri="{FF2B5EF4-FFF2-40B4-BE49-F238E27FC236}">
                  <a16:creationId xmlns:a16="http://schemas.microsoft.com/office/drawing/2014/main" id="{0B43F2F4-67E3-A942-9DDD-D32DEF4F2490}"/>
                </a:ext>
              </a:extLst>
            </p:cNvPr>
            <p:cNvSpPr>
              <a:spLocks noEditPoints="1"/>
            </p:cNvSpPr>
            <p:nvPr/>
          </p:nvSpPr>
          <p:spPr bwMode="auto">
            <a:xfrm>
              <a:off x="6200736" y="1270645"/>
              <a:ext cx="291161" cy="336962"/>
            </a:xfrm>
            <a:custGeom>
              <a:avLst/>
              <a:gdLst>
                <a:gd name="T0" fmla="*/ 30 w 178"/>
                <a:gd name="T1" fmla="*/ 198 h 206"/>
                <a:gd name="T2" fmla="*/ 41 w 178"/>
                <a:gd name="T3" fmla="*/ 193 h 206"/>
                <a:gd name="T4" fmla="*/ 41 w 178"/>
                <a:gd name="T5" fmla="*/ 198 h 206"/>
                <a:gd name="T6" fmla="*/ 33 w 178"/>
                <a:gd name="T7" fmla="*/ 191 h 206"/>
                <a:gd name="T8" fmla="*/ 23 w 178"/>
                <a:gd name="T9" fmla="*/ 188 h 206"/>
                <a:gd name="T10" fmla="*/ 20 w 178"/>
                <a:gd name="T11" fmla="*/ 137 h 206"/>
                <a:gd name="T12" fmla="*/ 18 w 178"/>
                <a:gd name="T13" fmla="*/ 135 h 206"/>
                <a:gd name="T14" fmla="*/ 74 w 178"/>
                <a:gd name="T15" fmla="*/ 99 h 206"/>
                <a:gd name="T16" fmla="*/ 178 w 178"/>
                <a:gd name="T17" fmla="*/ 140 h 206"/>
                <a:gd name="T18" fmla="*/ 153 w 178"/>
                <a:gd name="T19" fmla="*/ 125 h 206"/>
                <a:gd name="T20" fmla="*/ 158 w 178"/>
                <a:gd name="T21" fmla="*/ 114 h 206"/>
                <a:gd name="T22" fmla="*/ 148 w 178"/>
                <a:gd name="T23" fmla="*/ 104 h 206"/>
                <a:gd name="T24" fmla="*/ 145 w 178"/>
                <a:gd name="T25" fmla="*/ 97 h 206"/>
                <a:gd name="T26" fmla="*/ 143 w 178"/>
                <a:gd name="T27" fmla="*/ 86 h 206"/>
                <a:gd name="T28" fmla="*/ 143 w 178"/>
                <a:gd name="T29" fmla="*/ 76 h 206"/>
                <a:gd name="T30" fmla="*/ 130 w 178"/>
                <a:gd name="T31" fmla="*/ 61 h 206"/>
                <a:gd name="T32" fmla="*/ 140 w 178"/>
                <a:gd name="T33" fmla="*/ 46 h 206"/>
                <a:gd name="T34" fmla="*/ 120 w 178"/>
                <a:gd name="T35" fmla="*/ 25 h 206"/>
                <a:gd name="T36" fmla="*/ 120 w 178"/>
                <a:gd name="T37" fmla="*/ 20 h 206"/>
                <a:gd name="T38" fmla="*/ 122 w 178"/>
                <a:gd name="T39" fmla="*/ 8 h 206"/>
                <a:gd name="T40" fmla="*/ 94 w 178"/>
                <a:gd name="T41" fmla="*/ 2 h 206"/>
                <a:gd name="T42" fmla="*/ 76 w 178"/>
                <a:gd name="T43" fmla="*/ 8 h 206"/>
                <a:gd name="T44" fmla="*/ 71 w 178"/>
                <a:gd name="T45" fmla="*/ 23 h 206"/>
                <a:gd name="T46" fmla="*/ 56 w 178"/>
                <a:gd name="T47" fmla="*/ 28 h 206"/>
                <a:gd name="T48" fmla="*/ 38 w 178"/>
                <a:gd name="T49" fmla="*/ 28 h 206"/>
                <a:gd name="T50" fmla="*/ 18 w 178"/>
                <a:gd name="T51" fmla="*/ 18 h 206"/>
                <a:gd name="T52" fmla="*/ 7 w 178"/>
                <a:gd name="T53" fmla="*/ 20 h 206"/>
                <a:gd name="T54" fmla="*/ 7 w 178"/>
                <a:gd name="T55" fmla="*/ 23 h 206"/>
                <a:gd name="T56" fmla="*/ 25 w 178"/>
                <a:gd name="T57" fmla="*/ 30 h 206"/>
                <a:gd name="T58" fmla="*/ 46 w 178"/>
                <a:gd name="T59" fmla="*/ 41 h 206"/>
                <a:gd name="T60" fmla="*/ 43 w 178"/>
                <a:gd name="T61" fmla="*/ 51 h 206"/>
                <a:gd name="T62" fmla="*/ 48 w 178"/>
                <a:gd name="T63" fmla="*/ 56 h 206"/>
                <a:gd name="T64" fmla="*/ 53 w 178"/>
                <a:gd name="T65" fmla="*/ 64 h 206"/>
                <a:gd name="T66" fmla="*/ 51 w 178"/>
                <a:gd name="T67" fmla="*/ 74 h 206"/>
                <a:gd name="T68" fmla="*/ 64 w 178"/>
                <a:gd name="T69" fmla="*/ 84 h 206"/>
                <a:gd name="T70" fmla="*/ 76 w 178"/>
                <a:gd name="T71" fmla="*/ 89 h 206"/>
                <a:gd name="T72" fmla="*/ 76 w 178"/>
                <a:gd name="T73" fmla="*/ 102 h 206"/>
                <a:gd name="T74" fmla="*/ 66 w 178"/>
                <a:gd name="T75" fmla="*/ 107 h 206"/>
                <a:gd name="T76" fmla="*/ 46 w 178"/>
                <a:gd name="T77" fmla="*/ 122 h 206"/>
                <a:gd name="T78" fmla="*/ 33 w 178"/>
                <a:gd name="T79" fmla="*/ 130 h 206"/>
                <a:gd name="T80" fmla="*/ 23 w 178"/>
                <a:gd name="T81" fmla="*/ 137 h 206"/>
                <a:gd name="T82" fmla="*/ 18 w 178"/>
                <a:gd name="T83" fmla="*/ 150 h 206"/>
                <a:gd name="T84" fmla="*/ 25 w 178"/>
                <a:gd name="T85" fmla="*/ 165 h 206"/>
                <a:gd name="T86" fmla="*/ 25 w 178"/>
                <a:gd name="T87" fmla="*/ 170 h 206"/>
                <a:gd name="T88" fmla="*/ 25 w 178"/>
                <a:gd name="T89" fmla="*/ 183 h 206"/>
                <a:gd name="T90" fmla="*/ 33 w 178"/>
                <a:gd name="T91" fmla="*/ 191 h 206"/>
                <a:gd name="T92" fmla="*/ 46 w 178"/>
                <a:gd name="T93" fmla="*/ 196 h 206"/>
                <a:gd name="T94" fmla="*/ 43 w 178"/>
                <a:gd name="T95" fmla="*/ 201 h 206"/>
                <a:gd name="T96" fmla="*/ 51 w 178"/>
                <a:gd name="T97" fmla="*/ 198 h 206"/>
                <a:gd name="T98" fmla="*/ 56 w 178"/>
                <a:gd name="T99" fmla="*/ 203 h 206"/>
                <a:gd name="T100" fmla="*/ 76 w 178"/>
                <a:gd name="T101" fmla="*/ 198 h 206"/>
                <a:gd name="T102" fmla="*/ 94 w 178"/>
                <a:gd name="T103" fmla="*/ 196 h 206"/>
                <a:gd name="T104" fmla="*/ 104 w 178"/>
                <a:gd name="T105" fmla="*/ 193 h 206"/>
                <a:gd name="T106" fmla="*/ 109 w 178"/>
                <a:gd name="T107" fmla="*/ 193 h 206"/>
                <a:gd name="T108" fmla="*/ 127 w 178"/>
                <a:gd name="T109" fmla="*/ 191 h 206"/>
                <a:gd name="T110" fmla="*/ 148 w 178"/>
                <a:gd name="T111" fmla="*/ 175 h 206"/>
                <a:gd name="T112" fmla="*/ 173 w 178"/>
                <a:gd name="T113" fmla="*/ 153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78" h="206">
                  <a:moveTo>
                    <a:pt x="28" y="198"/>
                  </a:moveTo>
                  <a:lnTo>
                    <a:pt x="28" y="198"/>
                  </a:lnTo>
                  <a:lnTo>
                    <a:pt x="28" y="198"/>
                  </a:lnTo>
                  <a:lnTo>
                    <a:pt x="28" y="198"/>
                  </a:lnTo>
                  <a:lnTo>
                    <a:pt x="30" y="198"/>
                  </a:lnTo>
                  <a:lnTo>
                    <a:pt x="30" y="198"/>
                  </a:lnTo>
                  <a:lnTo>
                    <a:pt x="30" y="198"/>
                  </a:lnTo>
                  <a:lnTo>
                    <a:pt x="28" y="198"/>
                  </a:lnTo>
                  <a:close/>
                  <a:moveTo>
                    <a:pt x="30" y="198"/>
                  </a:moveTo>
                  <a:lnTo>
                    <a:pt x="30" y="198"/>
                  </a:lnTo>
                  <a:lnTo>
                    <a:pt x="30" y="198"/>
                  </a:lnTo>
                  <a:lnTo>
                    <a:pt x="33" y="198"/>
                  </a:lnTo>
                  <a:lnTo>
                    <a:pt x="33" y="196"/>
                  </a:lnTo>
                  <a:lnTo>
                    <a:pt x="30" y="196"/>
                  </a:lnTo>
                  <a:lnTo>
                    <a:pt x="30" y="198"/>
                  </a:lnTo>
                  <a:close/>
                  <a:moveTo>
                    <a:pt x="41" y="196"/>
                  </a:moveTo>
                  <a:lnTo>
                    <a:pt x="41" y="193"/>
                  </a:lnTo>
                  <a:lnTo>
                    <a:pt x="41" y="193"/>
                  </a:lnTo>
                  <a:lnTo>
                    <a:pt x="38" y="193"/>
                  </a:lnTo>
                  <a:lnTo>
                    <a:pt x="38" y="193"/>
                  </a:lnTo>
                  <a:lnTo>
                    <a:pt x="36" y="196"/>
                  </a:lnTo>
                  <a:lnTo>
                    <a:pt x="36" y="196"/>
                  </a:lnTo>
                  <a:lnTo>
                    <a:pt x="38" y="196"/>
                  </a:lnTo>
                  <a:lnTo>
                    <a:pt x="38" y="196"/>
                  </a:lnTo>
                  <a:lnTo>
                    <a:pt x="38" y="196"/>
                  </a:lnTo>
                  <a:lnTo>
                    <a:pt x="41" y="198"/>
                  </a:lnTo>
                  <a:lnTo>
                    <a:pt x="41" y="198"/>
                  </a:lnTo>
                  <a:lnTo>
                    <a:pt x="41" y="196"/>
                  </a:lnTo>
                  <a:lnTo>
                    <a:pt x="41" y="196"/>
                  </a:lnTo>
                  <a:lnTo>
                    <a:pt x="41" y="196"/>
                  </a:lnTo>
                  <a:lnTo>
                    <a:pt x="41" y="196"/>
                  </a:lnTo>
                  <a:close/>
                  <a:moveTo>
                    <a:pt x="33" y="193"/>
                  </a:moveTo>
                  <a:lnTo>
                    <a:pt x="33" y="193"/>
                  </a:lnTo>
                  <a:lnTo>
                    <a:pt x="33" y="193"/>
                  </a:lnTo>
                  <a:lnTo>
                    <a:pt x="33" y="191"/>
                  </a:lnTo>
                  <a:lnTo>
                    <a:pt x="33" y="191"/>
                  </a:lnTo>
                  <a:lnTo>
                    <a:pt x="33" y="193"/>
                  </a:lnTo>
                  <a:lnTo>
                    <a:pt x="33" y="193"/>
                  </a:lnTo>
                  <a:lnTo>
                    <a:pt x="33" y="193"/>
                  </a:lnTo>
                  <a:lnTo>
                    <a:pt x="33" y="193"/>
                  </a:lnTo>
                  <a:lnTo>
                    <a:pt x="36" y="193"/>
                  </a:lnTo>
                  <a:lnTo>
                    <a:pt x="36" y="193"/>
                  </a:lnTo>
                  <a:lnTo>
                    <a:pt x="33" y="193"/>
                  </a:lnTo>
                  <a:close/>
                  <a:moveTo>
                    <a:pt x="23" y="188"/>
                  </a:moveTo>
                  <a:lnTo>
                    <a:pt x="23" y="188"/>
                  </a:lnTo>
                  <a:lnTo>
                    <a:pt x="23" y="188"/>
                  </a:lnTo>
                  <a:lnTo>
                    <a:pt x="23" y="191"/>
                  </a:lnTo>
                  <a:lnTo>
                    <a:pt x="23" y="191"/>
                  </a:lnTo>
                  <a:lnTo>
                    <a:pt x="25" y="191"/>
                  </a:lnTo>
                  <a:lnTo>
                    <a:pt x="25" y="191"/>
                  </a:lnTo>
                  <a:lnTo>
                    <a:pt x="25" y="191"/>
                  </a:lnTo>
                  <a:lnTo>
                    <a:pt x="23" y="188"/>
                  </a:lnTo>
                  <a:lnTo>
                    <a:pt x="23" y="188"/>
                  </a:lnTo>
                  <a:close/>
                  <a:moveTo>
                    <a:pt x="20" y="137"/>
                  </a:moveTo>
                  <a:lnTo>
                    <a:pt x="20" y="135"/>
                  </a:lnTo>
                  <a:lnTo>
                    <a:pt x="20" y="135"/>
                  </a:lnTo>
                  <a:lnTo>
                    <a:pt x="20" y="135"/>
                  </a:lnTo>
                  <a:lnTo>
                    <a:pt x="20" y="135"/>
                  </a:lnTo>
                  <a:lnTo>
                    <a:pt x="20" y="135"/>
                  </a:lnTo>
                  <a:lnTo>
                    <a:pt x="20" y="135"/>
                  </a:lnTo>
                  <a:lnTo>
                    <a:pt x="20" y="135"/>
                  </a:lnTo>
                  <a:lnTo>
                    <a:pt x="18" y="135"/>
                  </a:lnTo>
                  <a:lnTo>
                    <a:pt x="18" y="135"/>
                  </a:lnTo>
                  <a:lnTo>
                    <a:pt x="18" y="135"/>
                  </a:lnTo>
                  <a:lnTo>
                    <a:pt x="18" y="135"/>
                  </a:lnTo>
                  <a:lnTo>
                    <a:pt x="15" y="135"/>
                  </a:lnTo>
                  <a:lnTo>
                    <a:pt x="18" y="135"/>
                  </a:lnTo>
                  <a:lnTo>
                    <a:pt x="18" y="137"/>
                  </a:lnTo>
                  <a:lnTo>
                    <a:pt x="20" y="137"/>
                  </a:lnTo>
                  <a:close/>
                  <a:moveTo>
                    <a:pt x="71" y="99"/>
                  </a:moveTo>
                  <a:lnTo>
                    <a:pt x="71" y="99"/>
                  </a:lnTo>
                  <a:lnTo>
                    <a:pt x="74" y="99"/>
                  </a:lnTo>
                  <a:lnTo>
                    <a:pt x="71" y="99"/>
                  </a:lnTo>
                  <a:lnTo>
                    <a:pt x="69" y="97"/>
                  </a:lnTo>
                  <a:lnTo>
                    <a:pt x="66" y="97"/>
                  </a:lnTo>
                  <a:lnTo>
                    <a:pt x="66" y="99"/>
                  </a:lnTo>
                  <a:lnTo>
                    <a:pt x="66" y="99"/>
                  </a:lnTo>
                  <a:lnTo>
                    <a:pt x="69" y="99"/>
                  </a:lnTo>
                  <a:lnTo>
                    <a:pt x="71" y="99"/>
                  </a:lnTo>
                  <a:close/>
                  <a:moveTo>
                    <a:pt x="178" y="140"/>
                  </a:moveTo>
                  <a:lnTo>
                    <a:pt x="178" y="140"/>
                  </a:lnTo>
                  <a:lnTo>
                    <a:pt x="178" y="140"/>
                  </a:lnTo>
                  <a:lnTo>
                    <a:pt x="176" y="137"/>
                  </a:lnTo>
                  <a:lnTo>
                    <a:pt x="173" y="137"/>
                  </a:lnTo>
                  <a:lnTo>
                    <a:pt x="173" y="135"/>
                  </a:lnTo>
                  <a:lnTo>
                    <a:pt x="171" y="132"/>
                  </a:lnTo>
                  <a:lnTo>
                    <a:pt x="163" y="132"/>
                  </a:lnTo>
                  <a:lnTo>
                    <a:pt x="160" y="130"/>
                  </a:lnTo>
                  <a:lnTo>
                    <a:pt x="153" y="125"/>
                  </a:lnTo>
                  <a:lnTo>
                    <a:pt x="153" y="125"/>
                  </a:lnTo>
                  <a:lnTo>
                    <a:pt x="153" y="125"/>
                  </a:lnTo>
                  <a:lnTo>
                    <a:pt x="155" y="122"/>
                  </a:lnTo>
                  <a:lnTo>
                    <a:pt x="158" y="120"/>
                  </a:lnTo>
                  <a:lnTo>
                    <a:pt x="160" y="120"/>
                  </a:lnTo>
                  <a:lnTo>
                    <a:pt x="160" y="117"/>
                  </a:lnTo>
                  <a:lnTo>
                    <a:pt x="160" y="117"/>
                  </a:lnTo>
                  <a:lnTo>
                    <a:pt x="160" y="114"/>
                  </a:lnTo>
                  <a:lnTo>
                    <a:pt x="158" y="114"/>
                  </a:lnTo>
                  <a:lnTo>
                    <a:pt x="158" y="114"/>
                  </a:lnTo>
                  <a:lnTo>
                    <a:pt x="153" y="112"/>
                  </a:lnTo>
                  <a:lnTo>
                    <a:pt x="153" y="109"/>
                  </a:lnTo>
                  <a:lnTo>
                    <a:pt x="150" y="109"/>
                  </a:lnTo>
                  <a:lnTo>
                    <a:pt x="150" y="107"/>
                  </a:lnTo>
                  <a:lnTo>
                    <a:pt x="153" y="107"/>
                  </a:lnTo>
                  <a:lnTo>
                    <a:pt x="153" y="104"/>
                  </a:lnTo>
                  <a:lnTo>
                    <a:pt x="153" y="104"/>
                  </a:lnTo>
                  <a:lnTo>
                    <a:pt x="150" y="104"/>
                  </a:lnTo>
                  <a:lnTo>
                    <a:pt x="148" y="104"/>
                  </a:lnTo>
                  <a:lnTo>
                    <a:pt x="145" y="102"/>
                  </a:lnTo>
                  <a:lnTo>
                    <a:pt x="145" y="102"/>
                  </a:lnTo>
                  <a:lnTo>
                    <a:pt x="143" y="99"/>
                  </a:lnTo>
                  <a:lnTo>
                    <a:pt x="143" y="99"/>
                  </a:lnTo>
                  <a:lnTo>
                    <a:pt x="143" y="99"/>
                  </a:lnTo>
                  <a:lnTo>
                    <a:pt x="145" y="97"/>
                  </a:lnTo>
                  <a:lnTo>
                    <a:pt x="145" y="97"/>
                  </a:lnTo>
                  <a:lnTo>
                    <a:pt x="145" y="97"/>
                  </a:lnTo>
                  <a:lnTo>
                    <a:pt x="145" y="97"/>
                  </a:lnTo>
                  <a:lnTo>
                    <a:pt x="145" y="94"/>
                  </a:lnTo>
                  <a:lnTo>
                    <a:pt x="143" y="94"/>
                  </a:lnTo>
                  <a:lnTo>
                    <a:pt x="143" y="94"/>
                  </a:lnTo>
                  <a:lnTo>
                    <a:pt x="143" y="94"/>
                  </a:lnTo>
                  <a:lnTo>
                    <a:pt x="143" y="94"/>
                  </a:lnTo>
                  <a:lnTo>
                    <a:pt x="143" y="92"/>
                  </a:lnTo>
                  <a:lnTo>
                    <a:pt x="143" y="89"/>
                  </a:lnTo>
                  <a:lnTo>
                    <a:pt x="145" y="89"/>
                  </a:lnTo>
                  <a:lnTo>
                    <a:pt x="143" y="86"/>
                  </a:lnTo>
                  <a:lnTo>
                    <a:pt x="143" y="86"/>
                  </a:lnTo>
                  <a:lnTo>
                    <a:pt x="145" y="86"/>
                  </a:lnTo>
                  <a:lnTo>
                    <a:pt x="148" y="86"/>
                  </a:lnTo>
                  <a:lnTo>
                    <a:pt x="148" y="86"/>
                  </a:lnTo>
                  <a:lnTo>
                    <a:pt x="148" y="84"/>
                  </a:lnTo>
                  <a:lnTo>
                    <a:pt x="148" y="84"/>
                  </a:lnTo>
                  <a:lnTo>
                    <a:pt x="145" y="79"/>
                  </a:lnTo>
                  <a:lnTo>
                    <a:pt x="145" y="76"/>
                  </a:lnTo>
                  <a:lnTo>
                    <a:pt x="143" y="76"/>
                  </a:lnTo>
                  <a:lnTo>
                    <a:pt x="140" y="74"/>
                  </a:lnTo>
                  <a:lnTo>
                    <a:pt x="140" y="74"/>
                  </a:lnTo>
                  <a:lnTo>
                    <a:pt x="140" y="71"/>
                  </a:lnTo>
                  <a:lnTo>
                    <a:pt x="137" y="71"/>
                  </a:lnTo>
                  <a:lnTo>
                    <a:pt x="137" y="69"/>
                  </a:lnTo>
                  <a:lnTo>
                    <a:pt x="135" y="66"/>
                  </a:lnTo>
                  <a:lnTo>
                    <a:pt x="132" y="66"/>
                  </a:lnTo>
                  <a:lnTo>
                    <a:pt x="130" y="64"/>
                  </a:lnTo>
                  <a:lnTo>
                    <a:pt x="130" y="61"/>
                  </a:lnTo>
                  <a:lnTo>
                    <a:pt x="130" y="61"/>
                  </a:lnTo>
                  <a:lnTo>
                    <a:pt x="130" y="61"/>
                  </a:lnTo>
                  <a:lnTo>
                    <a:pt x="132" y="58"/>
                  </a:lnTo>
                  <a:lnTo>
                    <a:pt x="132" y="56"/>
                  </a:lnTo>
                  <a:lnTo>
                    <a:pt x="135" y="53"/>
                  </a:lnTo>
                  <a:lnTo>
                    <a:pt x="137" y="51"/>
                  </a:lnTo>
                  <a:lnTo>
                    <a:pt x="140" y="48"/>
                  </a:lnTo>
                  <a:lnTo>
                    <a:pt x="140" y="46"/>
                  </a:lnTo>
                  <a:lnTo>
                    <a:pt x="140" y="46"/>
                  </a:lnTo>
                  <a:lnTo>
                    <a:pt x="137" y="46"/>
                  </a:lnTo>
                  <a:lnTo>
                    <a:pt x="132" y="41"/>
                  </a:lnTo>
                  <a:lnTo>
                    <a:pt x="130" y="38"/>
                  </a:lnTo>
                  <a:lnTo>
                    <a:pt x="125" y="38"/>
                  </a:lnTo>
                  <a:lnTo>
                    <a:pt x="120" y="36"/>
                  </a:lnTo>
                  <a:lnTo>
                    <a:pt x="117" y="33"/>
                  </a:lnTo>
                  <a:lnTo>
                    <a:pt x="117" y="30"/>
                  </a:lnTo>
                  <a:lnTo>
                    <a:pt x="117" y="30"/>
                  </a:lnTo>
                  <a:lnTo>
                    <a:pt x="120" y="25"/>
                  </a:lnTo>
                  <a:lnTo>
                    <a:pt x="120" y="25"/>
                  </a:lnTo>
                  <a:lnTo>
                    <a:pt x="120" y="23"/>
                  </a:lnTo>
                  <a:lnTo>
                    <a:pt x="120" y="23"/>
                  </a:lnTo>
                  <a:lnTo>
                    <a:pt x="117" y="23"/>
                  </a:lnTo>
                  <a:lnTo>
                    <a:pt x="115" y="23"/>
                  </a:lnTo>
                  <a:lnTo>
                    <a:pt x="115" y="23"/>
                  </a:lnTo>
                  <a:lnTo>
                    <a:pt x="117" y="23"/>
                  </a:lnTo>
                  <a:lnTo>
                    <a:pt x="117" y="20"/>
                  </a:lnTo>
                  <a:lnTo>
                    <a:pt x="120" y="20"/>
                  </a:lnTo>
                  <a:lnTo>
                    <a:pt x="122" y="20"/>
                  </a:lnTo>
                  <a:lnTo>
                    <a:pt x="120" y="20"/>
                  </a:lnTo>
                  <a:lnTo>
                    <a:pt x="120" y="18"/>
                  </a:lnTo>
                  <a:lnTo>
                    <a:pt x="120" y="18"/>
                  </a:lnTo>
                  <a:lnTo>
                    <a:pt x="122" y="15"/>
                  </a:lnTo>
                  <a:lnTo>
                    <a:pt x="125" y="13"/>
                  </a:lnTo>
                  <a:lnTo>
                    <a:pt x="125" y="13"/>
                  </a:lnTo>
                  <a:lnTo>
                    <a:pt x="125" y="13"/>
                  </a:lnTo>
                  <a:lnTo>
                    <a:pt x="122" y="8"/>
                  </a:lnTo>
                  <a:lnTo>
                    <a:pt x="117" y="8"/>
                  </a:lnTo>
                  <a:lnTo>
                    <a:pt x="112" y="5"/>
                  </a:lnTo>
                  <a:lnTo>
                    <a:pt x="109" y="5"/>
                  </a:lnTo>
                  <a:lnTo>
                    <a:pt x="104" y="2"/>
                  </a:lnTo>
                  <a:lnTo>
                    <a:pt x="102" y="0"/>
                  </a:lnTo>
                  <a:lnTo>
                    <a:pt x="102" y="0"/>
                  </a:lnTo>
                  <a:lnTo>
                    <a:pt x="99" y="0"/>
                  </a:lnTo>
                  <a:lnTo>
                    <a:pt x="94" y="2"/>
                  </a:lnTo>
                  <a:lnTo>
                    <a:pt x="94" y="2"/>
                  </a:lnTo>
                  <a:lnTo>
                    <a:pt x="92" y="2"/>
                  </a:lnTo>
                  <a:lnTo>
                    <a:pt x="92" y="2"/>
                  </a:lnTo>
                  <a:lnTo>
                    <a:pt x="89" y="2"/>
                  </a:lnTo>
                  <a:lnTo>
                    <a:pt x="86" y="2"/>
                  </a:lnTo>
                  <a:lnTo>
                    <a:pt x="84" y="2"/>
                  </a:lnTo>
                  <a:lnTo>
                    <a:pt x="84" y="2"/>
                  </a:lnTo>
                  <a:lnTo>
                    <a:pt x="81" y="5"/>
                  </a:lnTo>
                  <a:lnTo>
                    <a:pt x="79" y="8"/>
                  </a:lnTo>
                  <a:lnTo>
                    <a:pt x="76" y="8"/>
                  </a:lnTo>
                  <a:lnTo>
                    <a:pt x="76" y="8"/>
                  </a:lnTo>
                  <a:lnTo>
                    <a:pt x="76" y="10"/>
                  </a:lnTo>
                  <a:lnTo>
                    <a:pt x="76" y="13"/>
                  </a:lnTo>
                  <a:lnTo>
                    <a:pt x="74" y="15"/>
                  </a:lnTo>
                  <a:lnTo>
                    <a:pt x="74" y="15"/>
                  </a:lnTo>
                  <a:lnTo>
                    <a:pt x="74" y="20"/>
                  </a:lnTo>
                  <a:lnTo>
                    <a:pt x="74" y="20"/>
                  </a:lnTo>
                  <a:lnTo>
                    <a:pt x="74" y="23"/>
                  </a:lnTo>
                  <a:lnTo>
                    <a:pt x="71" y="23"/>
                  </a:lnTo>
                  <a:lnTo>
                    <a:pt x="71" y="23"/>
                  </a:lnTo>
                  <a:lnTo>
                    <a:pt x="69" y="23"/>
                  </a:lnTo>
                  <a:lnTo>
                    <a:pt x="69" y="25"/>
                  </a:lnTo>
                  <a:lnTo>
                    <a:pt x="66" y="25"/>
                  </a:lnTo>
                  <a:lnTo>
                    <a:pt x="66" y="28"/>
                  </a:lnTo>
                  <a:lnTo>
                    <a:pt x="64" y="28"/>
                  </a:lnTo>
                  <a:lnTo>
                    <a:pt x="61" y="28"/>
                  </a:lnTo>
                  <a:lnTo>
                    <a:pt x="61" y="28"/>
                  </a:lnTo>
                  <a:lnTo>
                    <a:pt x="56" y="28"/>
                  </a:lnTo>
                  <a:lnTo>
                    <a:pt x="53" y="25"/>
                  </a:lnTo>
                  <a:lnTo>
                    <a:pt x="51" y="25"/>
                  </a:lnTo>
                  <a:lnTo>
                    <a:pt x="48" y="25"/>
                  </a:lnTo>
                  <a:lnTo>
                    <a:pt x="48" y="25"/>
                  </a:lnTo>
                  <a:lnTo>
                    <a:pt x="46" y="25"/>
                  </a:lnTo>
                  <a:lnTo>
                    <a:pt x="46" y="25"/>
                  </a:lnTo>
                  <a:lnTo>
                    <a:pt x="41" y="28"/>
                  </a:lnTo>
                  <a:lnTo>
                    <a:pt x="41" y="28"/>
                  </a:lnTo>
                  <a:lnTo>
                    <a:pt x="38" y="28"/>
                  </a:lnTo>
                  <a:lnTo>
                    <a:pt x="36" y="28"/>
                  </a:lnTo>
                  <a:lnTo>
                    <a:pt x="33" y="25"/>
                  </a:lnTo>
                  <a:lnTo>
                    <a:pt x="28" y="25"/>
                  </a:lnTo>
                  <a:lnTo>
                    <a:pt x="25" y="25"/>
                  </a:lnTo>
                  <a:lnTo>
                    <a:pt x="25" y="25"/>
                  </a:lnTo>
                  <a:lnTo>
                    <a:pt x="25" y="23"/>
                  </a:lnTo>
                  <a:lnTo>
                    <a:pt x="20" y="20"/>
                  </a:lnTo>
                  <a:lnTo>
                    <a:pt x="20" y="20"/>
                  </a:lnTo>
                  <a:lnTo>
                    <a:pt x="18" y="18"/>
                  </a:lnTo>
                  <a:lnTo>
                    <a:pt x="13" y="15"/>
                  </a:lnTo>
                  <a:lnTo>
                    <a:pt x="13" y="15"/>
                  </a:lnTo>
                  <a:lnTo>
                    <a:pt x="13" y="15"/>
                  </a:lnTo>
                  <a:lnTo>
                    <a:pt x="7" y="15"/>
                  </a:lnTo>
                  <a:lnTo>
                    <a:pt x="7" y="15"/>
                  </a:lnTo>
                  <a:lnTo>
                    <a:pt x="5" y="18"/>
                  </a:lnTo>
                  <a:lnTo>
                    <a:pt x="5" y="18"/>
                  </a:lnTo>
                  <a:lnTo>
                    <a:pt x="7" y="20"/>
                  </a:lnTo>
                  <a:lnTo>
                    <a:pt x="7" y="20"/>
                  </a:lnTo>
                  <a:lnTo>
                    <a:pt x="5" y="20"/>
                  </a:lnTo>
                  <a:lnTo>
                    <a:pt x="2" y="20"/>
                  </a:lnTo>
                  <a:lnTo>
                    <a:pt x="0" y="20"/>
                  </a:lnTo>
                  <a:lnTo>
                    <a:pt x="0" y="20"/>
                  </a:lnTo>
                  <a:lnTo>
                    <a:pt x="2" y="20"/>
                  </a:lnTo>
                  <a:lnTo>
                    <a:pt x="5" y="20"/>
                  </a:lnTo>
                  <a:lnTo>
                    <a:pt x="5" y="23"/>
                  </a:lnTo>
                  <a:lnTo>
                    <a:pt x="5" y="23"/>
                  </a:lnTo>
                  <a:lnTo>
                    <a:pt x="7" y="23"/>
                  </a:lnTo>
                  <a:lnTo>
                    <a:pt x="10" y="25"/>
                  </a:lnTo>
                  <a:lnTo>
                    <a:pt x="13" y="25"/>
                  </a:lnTo>
                  <a:lnTo>
                    <a:pt x="13" y="28"/>
                  </a:lnTo>
                  <a:lnTo>
                    <a:pt x="15" y="28"/>
                  </a:lnTo>
                  <a:lnTo>
                    <a:pt x="18" y="28"/>
                  </a:lnTo>
                  <a:lnTo>
                    <a:pt x="18" y="28"/>
                  </a:lnTo>
                  <a:lnTo>
                    <a:pt x="20" y="30"/>
                  </a:lnTo>
                  <a:lnTo>
                    <a:pt x="23" y="30"/>
                  </a:lnTo>
                  <a:lnTo>
                    <a:pt x="25" y="30"/>
                  </a:lnTo>
                  <a:lnTo>
                    <a:pt x="33" y="33"/>
                  </a:lnTo>
                  <a:lnTo>
                    <a:pt x="33" y="33"/>
                  </a:lnTo>
                  <a:lnTo>
                    <a:pt x="36" y="33"/>
                  </a:lnTo>
                  <a:lnTo>
                    <a:pt x="38" y="36"/>
                  </a:lnTo>
                  <a:lnTo>
                    <a:pt x="38" y="38"/>
                  </a:lnTo>
                  <a:lnTo>
                    <a:pt x="41" y="38"/>
                  </a:lnTo>
                  <a:lnTo>
                    <a:pt x="41" y="38"/>
                  </a:lnTo>
                  <a:lnTo>
                    <a:pt x="43" y="41"/>
                  </a:lnTo>
                  <a:lnTo>
                    <a:pt x="46" y="41"/>
                  </a:lnTo>
                  <a:lnTo>
                    <a:pt x="46" y="41"/>
                  </a:lnTo>
                  <a:lnTo>
                    <a:pt x="43" y="43"/>
                  </a:lnTo>
                  <a:lnTo>
                    <a:pt x="43" y="43"/>
                  </a:lnTo>
                  <a:lnTo>
                    <a:pt x="43" y="46"/>
                  </a:lnTo>
                  <a:lnTo>
                    <a:pt x="46" y="48"/>
                  </a:lnTo>
                  <a:lnTo>
                    <a:pt x="46" y="48"/>
                  </a:lnTo>
                  <a:lnTo>
                    <a:pt x="46" y="48"/>
                  </a:lnTo>
                  <a:lnTo>
                    <a:pt x="43" y="48"/>
                  </a:lnTo>
                  <a:lnTo>
                    <a:pt x="43" y="51"/>
                  </a:lnTo>
                  <a:lnTo>
                    <a:pt x="43" y="51"/>
                  </a:lnTo>
                  <a:lnTo>
                    <a:pt x="43" y="51"/>
                  </a:lnTo>
                  <a:lnTo>
                    <a:pt x="46" y="51"/>
                  </a:lnTo>
                  <a:lnTo>
                    <a:pt x="48" y="51"/>
                  </a:lnTo>
                  <a:lnTo>
                    <a:pt x="48" y="51"/>
                  </a:lnTo>
                  <a:lnTo>
                    <a:pt x="48" y="53"/>
                  </a:lnTo>
                  <a:lnTo>
                    <a:pt x="48" y="53"/>
                  </a:lnTo>
                  <a:lnTo>
                    <a:pt x="48" y="53"/>
                  </a:lnTo>
                  <a:lnTo>
                    <a:pt x="48" y="56"/>
                  </a:lnTo>
                  <a:lnTo>
                    <a:pt x="48" y="56"/>
                  </a:lnTo>
                  <a:lnTo>
                    <a:pt x="48" y="56"/>
                  </a:lnTo>
                  <a:lnTo>
                    <a:pt x="48" y="58"/>
                  </a:lnTo>
                  <a:lnTo>
                    <a:pt x="51" y="58"/>
                  </a:lnTo>
                  <a:lnTo>
                    <a:pt x="51" y="61"/>
                  </a:lnTo>
                  <a:lnTo>
                    <a:pt x="53" y="61"/>
                  </a:lnTo>
                  <a:lnTo>
                    <a:pt x="53" y="64"/>
                  </a:lnTo>
                  <a:lnTo>
                    <a:pt x="53" y="64"/>
                  </a:lnTo>
                  <a:lnTo>
                    <a:pt x="53" y="64"/>
                  </a:lnTo>
                  <a:lnTo>
                    <a:pt x="53" y="66"/>
                  </a:lnTo>
                  <a:lnTo>
                    <a:pt x="53" y="66"/>
                  </a:lnTo>
                  <a:lnTo>
                    <a:pt x="53" y="69"/>
                  </a:lnTo>
                  <a:lnTo>
                    <a:pt x="51" y="69"/>
                  </a:lnTo>
                  <a:lnTo>
                    <a:pt x="51" y="69"/>
                  </a:lnTo>
                  <a:lnTo>
                    <a:pt x="51" y="71"/>
                  </a:lnTo>
                  <a:lnTo>
                    <a:pt x="51" y="71"/>
                  </a:lnTo>
                  <a:lnTo>
                    <a:pt x="51" y="74"/>
                  </a:lnTo>
                  <a:lnTo>
                    <a:pt x="51" y="74"/>
                  </a:lnTo>
                  <a:lnTo>
                    <a:pt x="51" y="74"/>
                  </a:lnTo>
                  <a:lnTo>
                    <a:pt x="51" y="76"/>
                  </a:lnTo>
                  <a:lnTo>
                    <a:pt x="53" y="76"/>
                  </a:lnTo>
                  <a:lnTo>
                    <a:pt x="56" y="79"/>
                  </a:lnTo>
                  <a:lnTo>
                    <a:pt x="56" y="79"/>
                  </a:lnTo>
                  <a:lnTo>
                    <a:pt x="58" y="84"/>
                  </a:lnTo>
                  <a:lnTo>
                    <a:pt x="58" y="84"/>
                  </a:lnTo>
                  <a:lnTo>
                    <a:pt x="61" y="84"/>
                  </a:lnTo>
                  <a:lnTo>
                    <a:pt x="64" y="84"/>
                  </a:lnTo>
                  <a:lnTo>
                    <a:pt x="64" y="81"/>
                  </a:lnTo>
                  <a:lnTo>
                    <a:pt x="66" y="81"/>
                  </a:lnTo>
                  <a:lnTo>
                    <a:pt x="66" y="81"/>
                  </a:lnTo>
                  <a:lnTo>
                    <a:pt x="64" y="84"/>
                  </a:lnTo>
                  <a:lnTo>
                    <a:pt x="66" y="86"/>
                  </a:lnTo>
                  <a:lnTo>
                    <a:pt x="69" y="86"/>
                  </a:lnTo>
                  <a:lnTo>
                    <a:pt x="69" y="86"/>
                  </a:lnTo>
                  <a:lnTo>
                    <a:pt x="76" y="89"/>
                  </a:lnTo>
                  <a:lnTo>
                    <a:pt x="76" y="89"/>
                  </a:lnTo>
                  <a:lnTo>
                    <a:pt x="76" y="92"/>
                  </a:lnTo>
                  <a:lnTo>
                    <a:pt x="76" y="94"/>
                  </a:lnTo>
                  <a:lnTo>
                    <a:pt x="76" y="97"/>
                  </a:lnTo>
                  <a:lnTo>
                    <a:pt x="79" y="97"/>
                  </a:lnTo>
                  <a:lnTo>
                    <a:pt x="79" y="97"/>
                  </a:lnTo>
                  <a:lnTo>
                    <a:pt x="79" y="99"/>
                  </a:lnTo>
                  <a:lnTo>
                    <a:pt x="76" y="99"/>
                  </a:lnTo>
                  <a:lnTo>
                    <a:pt x="76" y="99"/>
                  </a:lnTo>
                  <a:lnTo>
                    <a:pt x="76" y="102"/>
                  </a:lnTo>
                  <a:lnTo>
                    <a:pt x="76" y="102"/>
                  </a:lnTo>
                  <a:lnTo>
                    <a:pt x="76" y="102"/>
                  </a:lnTo>
                  <a:lnTo>
                    <a:pt x="76" y="102"/>
                  </a:lnTo>
                  <a:lnTo>
                    <a:pt x="71" y="102"/>
                  </a:lnTo>
                  <a:lnTo>
                    <a:pt x="69" y="102"/>
                  </a:lnTo>
                  <a:lnTo>
                    <a:pt x="69" y="104"/>
                  </a:lnTo>
                  <a:lnTo>
                    <a:pt x="66" y="104"/>
                  </a:lnTo>
                  <a:lnTo>
                    <a:pt x="66" y="104"/>
                  </a:lnTo>
                  <a:lnTo>
                    <a:pt x="66" y="107"/>
                  </a:lnTo>
                  <a:lnTo>
                    <a:pt x="64" y="109"/>
                  </a:lnTo>
                  <a:lnTo>
                    <a:pt x="58" y="112"/>
                  </a:lnTo>
                  <a:lnTo>
                    <a:pt x="58" y="114"/>
                  </a:lnTo>
                  <a:lnTo>
                    <a:pt x="56" y="114"/>
                  </a:lnTo>
                  <a:lnTo>
                    <a:pt x="53" y="117"/>
                  </a:lnTo>
                  <a:lnTo>
                    <a:pt x="53" y="120"/>
                  </a:lnTo>
                  <a:lnTo>
                    <a:pt x="51" y="120"/>
                  </a:lnTo>
                  <a:lnTo>
                    <a:pt x="48" y="122"/>
                  </a:lnTo>
                  <a:lnTo>
                    <a:pt x="46" y="122"/>
                  </a:lnTo>
                  <a:lnTo>
                    <a:pt x="46" y="122"/>
                  </a:lnTo>
                  <a:lnTo>
                    <a:pt x="41" y="125"/>
                  </a:lnTo>
                  <a:lnTo>
                    <a:pt x="38" y="127"/>
                  </a:lnTo>
                  <a:lnTo>
                    <a:pt x="38" y="127"/>
                  </a:lnTo>
                  <a:lnTo>
                    <a:pt x="36" y="130"/>
                  </a:lnTo>
                  <a:lnTo>
                    <a:pt x="36" y="130"/>
                  </a:lnTo>
                  <a:lnTo>
                    <a:pt x="36" y="130"/>
                  </a:lnTo>
                  <a:lnTo>
                    <a:pt x="36" y="130"/>
                  </a:lnTo>
                  <a:lnTo>
                    <a:pt x="33" y="130"/>
                  </a:lnTo>
                  <a:lnTo>
                    <a:pt x="33" y="130"/>
                  </a:lnTo>
                  <a:lnTo>
                    <a:pt x="36" y="132"/>
                  </a:lnTo>
                  <a:lnTo>
                    <a:pt x="36" y="132"/>
                  </a:lnTo>
                  <a:lnTo>
                    <a:pt x="36" y="132"/>
                  </a:lnTo>
                  <a:lnTo>
                    <a:pt x="33" y="135"/>
                  </a:lnTo>
                  <a:lnTo>
                    <a:pt x="28" y="135"/>
                  </a:lnTo>
                  <a:lnTo>
                    <a:pt x="28" y="135"/>
                  </a:lnTo>
                  <a:lnTo>
                    <a:pt x="23" y="135"/>
                  </a:lnTo>
                  <a:lnTo>
                    <a:pt x="23" y="137"/>
                  </a:lnTo>
                  <a:lnTo>
                    <a:pt x="23" y="137"/>
                  </a:lnTo>
                  <a:lnTo>
                    <a:pt x="25" y="140"/>
                  </a:lnTo>
                  <a:lnTo>
                    <a:pt x="23" y="140"/>
                  </a:lnTo>
                  <a:lnTo>
                    <a:pt x="23" y="140"/>
                  </a:lnTo>
                  <a:lnTo>
                    <a:pt x="18" y="145"/>
                  </a:lnTo>
                  <a:lnTo>
                    <a:pt x="18" y="145"/>
                  </a:lnTo>
                  <a:lnTo>
                    <a:pt x="18" y="145"/>
                  </a:lnTo>
                  <a:lnTo>
                    <a:pt x="18" y="147"/>
                  </a:lnTo>
                  <a:lnTo>
                    <a:pt x="18" y="150"/>
                  </a:lnTo>
                  <a:lnTo>
                    <a:pt x="18" y="153"/>
                  </a:lnTo>
                  <a:lnTo>
                    <a:pt x="20" y="153"/>
                  </a:lnTo>
                  <a:lnTo>
                    <a:pt x="20" y="155"/>
                  </a:lnTo>
                  <a:lnTo>
                    <a:pt x="23" y="155"/>
                  </a:lnTo>
                  <a:lnTo>
                    <a:pt x="20" y="158"/>
                  </a:lnTo>
                  <a:lnTo>
                    <a:pt x="20" y="160"/>
                  </a:lnTo>
                  <a:lnTo>
                    <a:pt x="23" y="163"/>
                  </a:lnTo>
                  <a:lnTo>
                    <a:pt x="25" y="163"/>
                  </a:lnTo>
                  <a:lnTo>
                    <a:pt x="25" y="165"/>
                  </a:lnTo>
                  <a:lnTo>
                    <a:pt x="25" y="168"/>
                  </a:lnTo>
                  <a:lnTo>
                    <a:pt x="28" y="168"/>
                  </a:lnTo>
                  <a:lnTo>
                    <a:pt x="25" y="168"/>
                  </a:lnTo>
                  <a:lnTo>
                    <a:pt x="25" y="168"/>
                  </a:lnTo>
                  <a:lnTo>
                    <a:pt x="25" y="168"/>
                  </a:lnTo>
                  <a:lnTo>
                    <a:pt x="25" y="168"/>
                  </a:lnTo>
                  <a:lnTo>
                    <a:pt x="25" y="170"/>
                  </a:lnTo>
                  <a:lnTo>
                    <a:pt x="25" y="170"/>
                  </a:lnTo>
                  <a:lnTo>
                    <a:pt x="25" y="170"/>
                  </a:lnTo>
                  <a:lnTo>
                    <a:pt x="25" y="170"/>
                  </a:lnTo>
                  <a:lnTo>
                    <a:pt x="25" y="170"/>
                  </a:lnTo>
                  <a:lnTo>
                    <a:pt x="25" y="173"/>
                  </a:lnTo>
                  <a:lnTo>
                    <a:pt x="25" y="175"/>
                  </a:lnTo>
                  <a:lnTo>
                    <a:pt x="25" y="178"/>
                  </a:lnTo>
                  <a:lnTo>
                    <a:pt x="25" y="178"/>
                  </a:lnTo>
                  <a:lnTo>
                    <a:pt x="23" y="178"/>
                  </a:lnTo>
                  <a:lnTo>
                    <a:pt x="23" y="181"/>
                  </a:lnTo>
                  <a:lnTo>
                    <a:pt x="25" y="183"/>
                  </a:lnTo>
                  <a:lnTo>
                    <a:pt x="25" y="186"/>
                  </a:lnTo>
                  <a:lnTo>
                    <a:pt x="25" y="186"/>
                  </a:lnTo>
                  <a:lnTo>
                    <a:pt x="25" y="188"/>
                  </a:lnTo>
                  <a:lnTo>
                    <a:pt x="25" y="188"/>
                  </a:lnTo>
                  <a:lnTo>
                    <a:pt x="28" y="188"/>
                  </a:lnTo>
                  <a:lnTo>
                    <a:pt x="28" y="191"/>
                  </a:lnTo>
                  <a:lnTo>
                    <a:pt x="30" y="188"/>
                  </a:lnTo>
                  <a:lnTo>
                    <a:pt x="30" y="188"/>
                  </a:lnTo>
                  <a:lnTo>
                    <a:pt x="33" y="191"/>
                  </a:lnTo>
                  <a:lnTo>
                    <a:pt x="33" y="191"/>
                  </a:lnTo>
                  <a:lnTo>
                    <a:pt x="38" y="193"/>
                  </a:lnTo>
                  <a:lnTo>
                    <a:pt x="43" y="193"/>
                  </a:lnTo>
                  <a:lnTo>
                    <a:pt x="43" y="193"/>
                  </a:lnTo>
                  <a:lnTo>
                    <a:pt x="43" y="193"/>
                  </a:lnTo>
                  <a:lnTo>
                    <a:pt x="43" y="193"/>
                  </a:lnTo>
                  <a:lnTo>
                    <a:pt x="43" y="196"/>
                  </a:lnTo>
                  <a:lnTo>
                    <a:pt x="43" y="196"/>
                  </a:lnTo>
                  <a:lnTo>
                    <a:pt x="46" y="196"/>
                  </a:lnTo>
                  <a:lnTo>
                    <a:pt x="46" y="196"/>
                  </a:lnTo>
                  <a:lnTo>
                    <a:pt x="43" y="196"/>
                  </a:lnTo>
                  <a:lnTo>
                    <a:pt x="43" y="196"/>
                  </a:lnTo>
                  <a:lnTo>
                    <a:pt x="43" y="196"/>
                  </a:lnTo>
                  <a:lnTo>
                    <a:pt x="43" y="198"/>
                  </a:lnTo>
                  <a:lnTo>
                    <a:pt x="43" y="198"/>
                  </a:lnTo>
                  <a:lnTo>
                    <a:pt x="43" y="198"/>
                  </a:lnTo>
                  <a:lnTo>
                    <a:pt x="43" y="201"/>
                  </a:lnTo>
                  <a:lnTo>
                    <a:pt x="43" y="201"/>
                  </a:lnTo>
                  <a:lnTo>
                    <a:pt x="46" y="201"/>
                  </a:lnTo>
                  <a:lnTo>
                    <a:pt x="46" y="201"/>
                  </a:lnTo>
                  <a:lnTo>
                    <a:pt x="48" y="201"/>
                  </a:lnTo>
                  <a:lnTo>
                    <a:pt x="48" y="198"/>
                  </a:lnTo>
                  <a:lnTo>
                    <a:pt x="48" y="198"/>
                  </a:lnTo>
                  <a:lnTo>
                    <a:pt x="48" y="198"/>
                  </a:lnTo>
                  <a:lnTo>
                    <a:pt x="48" y="196"/>
                  </a:lnTo>
                  <a:lnTo>
                    <a:pt x="51" y="196"/>
                  </a:lnTo>
                  <a:lnTo>
                    <a:pt x="51" y="198"/>
                  </a:lnTo>
                  <a:lnTo>
                    <a:pt x="53" y="201"/>
                  </a:lnTo>
                  <a:lnTo>
                    <a:pt x="53" y="201"/>
                  </a:lnTo>
                  <a:lnTo>
                    <a:pt x="56" y="201"/>
                  </a:lnTo>
                  <a:lnTo>
                    <a:pt x="56" y="201"/>
                  </a:lnTo>
                  <a:lnTo>
                    <a:pt x="53" y="203"/>
                  </a:lnTo>
                  <a:lnTo>
                    <a:pt x="51" y="203"/>
                  </a:lnTo>
                  <a:lnTo>
                    <a:pt x="51" y="206"/>
                  </a:lnTo>
                  <a:lnTo>
                    <a:pt x="53" y="206"/>
                  </a:lnTo>
                  <a:lnTo>
                    <a:pt x="56" y="203"/>
                  </a:lnTo>
                  <a:lnTo>
                    <a:pt x="56" y="203"/>
                  </a:lnTo>
                  <a:lnTo>
                    <a:pt x="58" y="201"/>
                  </a:lnTo>
                  <a:lnTo>
                    <a:pt x="61" y="201"/>
                  </a:lnTo>
                  <a:lnTo>
                    <a:pt x="64" y="201"/>
                  </a:lnTo>
                  <a:lnTo>
                    <a:pt x="69" y="201"/>
                  </a:lnTo>
                  <a:lnTo>
                    <a:pt x="74" y="201"/>
                  </a:lnTo>
                  <a:lnTo>
                    <a:pt x="74" y="201"/>
                  </a:lnTo>
                  <a:lnTo>
                    <a:pt x="76" y="201"/>
                  </a:lnTo>
                  <a:lnTo>
                    <a:pt x="76" y="198"/>
                  </a:lnTo>
                  <a:lnTo>
                    <a:pt x="81" y="198"/>
                  </a:lnTo>
                  <a:lnTo>
                    <a:pt x="84" y="198"/>
                  </a:lnTo>
                  <a:lnTo>
                    <a:pt x="86" y="198"/>
                  </a:lnTo>
                  <a:lnTo>
                    <a:pt x="86" y="196"/>
                  </a:lnTo>
                  <a:lnTo>
                    <a:pt x="92" y="196"/>
                  </a:lnTo>
                  <a:lnTo>
                    <a:pt x="92" y="196"/>
                  </a:lnTo>
                  <a:lnTo>
                    <a:pt x="94" y="193"/>
                  </a:lnTo>
                  <a:lnTo>
                    <a:pt x="94" y="196"/>
                  </a:lnTo>
                  <a:lnTo>
                    <a:pt x="94" y="196"/>
                  </a:lnTo>
                  <a:lnTo>
                    <a:pt x="97" y="196"/>
                  </a:lnTo>
                  <a:lnTo>
                    <a:pt x="99" y="193"/>
                  </a:lnTo>
                  <a:lnTo>
                    <a:pt x="99" y="193"/>
                  </a:lnTo>
                  <a:lnTo>
                    <a:pt x="99" y="193"/>
                  </a:lnTo>
                  <a:lnTo>
                    <a:pt x="99" y="193"/>
                  </a:lnTo>
                  <a:lnTo>
                    <a:pt x="99" y="191"/>
                  </a:lnTo>
                  <a:lnTo>
                    <a:pt x="99" y="191"/>
                  </a:lnTo>
                  <a:lnTo>
                    <a:pt x="102" y="193"/>
                  </a:lnTo>
                  <a:lnTo>
                    <a:pt x="104" y="193"/>
                  </a:lnTo>
                  <a:lnTo>
                    <a:pt x="107" y="191"/>
                  </a:lnTo>
                  <a:lnTo>
                    <a:pt x="107" y="191"/>
                  </a:lnTo>
                  <a:lnTo>
                    <a:pt x="107" y="188"/>
                  </a:lnTo>
                  <a:lnTo>
                    <a:pt x="107" y="188"/>
                  </a:lnTo>
                  <a:lnTo>
                    <a:pt x="107" y="188"/>
                  </a:lnTo>
                  <a:lnTo>
                    <a:pt x="107" y="191"/>
                  </a:lnTo>
                  <a:lnTo>
                    <a:pt x="107" y="191"/>
                  </a:lnTo>
                  <a:lnTo>
                    <a:pt x="107" y="193"/>
                  </a:lnTo>
                  <a:lnTo>
                    <a:pt x="109" y="193"/>
                  </a:lnTo>
                  <a:lnTo>
                    <a:pt x="109" y="191"/>
                  </a:lnTo>
                  <a:lnTo>
                    <a:pt x="115" y="191"/>
                  </a:lnTo>
                  <a:lnTo>
                    <a:pt x="115" y="191"/>
                  </a:lnTo>
                  <a:lnTo>
                    <a:pt x="117" y="191"/>
                  </a:lnTo>
                  <a:lnTo>
                    <a:pt x="120" y="191"/>
                  </a:lnTo>
                  <a:lnTo>
                    <a:pt x="122" y="191"/>
                  </a:lnTo>
                  <a:lnTo>
                    <a:pt x="122" y="191"/>
                  </a:lnTo>
                  <a:lnTo>
                    <a:pt x="125" y="191"/>
                  </a:lnTo>
                  <a:lnTo>
                    <a:pt x="127" y="191"/>
                  </a:lnTo>
                  <a:lnTo>
                    <a:pt x="127" y="191"/>
                  </a:lnTo>
                  <a:lnTo>
                    <a:pt x="132" y="186"/>
                  </a:lnTo>
                  <a:lnTo>
                    <a:pt x="135" y="183"/>
                  </a:lnTo>
                  <a:lnTo>
                    <a:pt x="137" y="183"/>
                  </a:lnTo>
                  <a:lnTo>
                    <a:pt x="137" y="181"/>
                  </a:lnTo>
                  <a:lnTo>
                    <a:pt x="140" y="181"/>
                  </a:lnTo>
                  <a:lnTo>
                    <a:pt x="140" y="178"/>
                  </a:lnTo>
                  <a:lnTo>
                    <a:pt x="145" y="178"/>
                  </a:lnTo>
                  <a:lnTo>
                    <a:pt x="148" y="175"/>
                  </a:lnTo>
                  <a:lnTo>
                    <a:pt x="153" y="170"/>
                  </a:lnTo>
                  <a:lnTo>
                    <a:pt x="153" y="170"/>
                  </a:lnTo>
                  <a:lnTo>
                    <a:pt x="155" y="170"/>
                  </a:lnTo>
                  <a:lnTo>
                    <a:pt x="158" y="165"/>
                  </a:lnTo>
                  <a:lnTo>
                    <a:pt x="158" y="165"/>
                  </a:lnTo>
                  <a:lnTo>
                    <a:pt x="163" y="160"/>
                  </a:lnTo>
                  <a:lnTo>
                    <a:pt x="165" y="158"/>
                  </a:lnTo>
                  <a:lnTo>
                    <a:pt x="165" y="158"/>
                  </a:lnTo>
                  <a:lnTo>
                    <a:pt x="173" y="153"/>
                  </a:lnTo>
                  <a:lnTo>
                    <a:pt x="176" y="150"/>
                  </a:lnTo>
                  <a:lnTo>
                    <a:pt x="176" y="147"/>
                  </a:lnTo>
                  <a:lnTo>
                    <a:pt x="178" y="145"/>
                  </a:lnTo>
                  <a:lnTo>
                    <a:pt x="178" y="145"/>
                  </a:lnTo>
                  <a:lnTo>
                    <a:pt x="178" y="142"/>
                  </a:lnTo>
                  <a:lnTo>
                    <a:pt x="178" y="14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319" name="Freeform 1938">
              <a:extLst>
                <a:ext uri="{FF2B5EF4-FFF2-40B4-BE49-F238E27FC236}">
                  <a16:creationId xmlns:a16="http://schemas.microsoft.com/office/drawing/2014/main" id="{EFE21820-DAC4-1243-81FA-064F6139AADD}"/>
                </a:ext>
              </a:extLst>
            </p:cNvPr>
            <p:cNvSpPr>
              <a:spLocks noEditPoints="1"/>
            </p:cNvSpPr>
            <p:nvPr/>
          </p:nvSpPr>
          <p:spPr bwMode="auto">
            <a:xfrm>
              <a:off x="5495734" y="1520913"/>
              <a:ext cx="24537" cy="32715"/>
            </a:xfrm>
            <a:custGeom>
              <a:avLst/>
              <a:gdLst>
                <a:gd name="T0" fmla="*/ 10 w 15"/>
                <a:gd name="T1" fmla="*/ 17 h 20"/>
                <a:gd name="T2" fmla="*/ 10 w 15"/>
                <a:gd name="T3" fmla="*/ 17 h 20"/>
                <a:gd name="T4" fmla="*/ 10 w 15"/>
                <a:gd name="T5" fmla="*/ 15 h 20"/>
                <a:gd name="T6" fmla="*/ 8 w 15"/>
                <a:gd name="T7" fmla="*/ 15 h 20"/>
                <a:gd name="T8" fmla="*/ 8 w 15"/>
                <a:gd name="T9" fmla="*/ 15 h 20"/>
                <a:gd name="T10" fmla="*/ 8 w 15"/>
                <a:gd name="T11" fmla="*/ 15 h 20"/>
                <a:gd name="T12" fmla="*/ 5 w 15"/>
                <a:gd name="T13" fmla="*/ 15 h 20"/>
                <a:gd name="T14" fmla="*/ 5 w 15"/>
                <a:gd name="T15" fmla="*/ 15 h 20"/>
                <a:gd name="T16" fmla="*/ 8 w 15"/>
                <a:gd name="T17" fmla="*/ 17 h 20"/>
                <a:gd name="T18" fmla="*/ 8 w 15"/>
                <a:gd name="T19" fmla="*/ 17 h 20"/>
                <a:gd name="T20" fmla="*/ 10 w 15"/>
                <a:gd name="T21" fmla="*/ 20 h 20"/>
                <a:gd name="T22" fmla="*/ 10 w 15"/>
                <a:gd name="T23" fmla="*/ 20 h 20"/>
                <a:gd name="T24" fmla="*/ 10 w 15"/>
                <a:gd name="T25" fmla="*/ 17 h 20"/>
                <a:gd name="T26" fmla="*/ 10 w 15"/>
                <a:gd name="T27" fmla="*/ 17 h 20"/>
                <a:gd name="T28" fmla="*/ 10 w 15"/>
                <a:gd name="T29" fmla="*/ 10 h 20"/>
                <a:gd name="T30" fmla="*/ 8 w 15"/>
                <a:gd name="T31" fmla="*/ 10 h 20"/>
                <a:gd name="T32" fmla="*/ 8 w 15"/>
                <a:gd name="T33" fmla="*/ 10 h 20"/>
                <a:gd name="T34" fmla="*/ 8 w 15"/>
                <a:gd name="T35" fmla="*/ 10 h 20"/>
                <a:gd name="T36" fmla="*/ 8 w 15"/>
                <a:gd name="T37" fmla="*/ 10 h 20"/>
                <a:gd name="T38" fmla="*/ 10 w 15"/>
                <a:gd name="T39" fmla="*/ 10 h 20"/>
                <a:gd name="T40" fmla="*/ 10 w 15"/>
                <a:gd name="T41" fmla="*/ 12 h 20"/>
                <a:gd name="T42" fmla="*/ 10 w 15"/>
                <a:gd name="T43" fmla="*/ 12 h 20"/>
                <a:gd name="T44" fmla="*/ 13 w 15"/>
                <a:gd name="T45" fmla="*/ 10 h 20"/>
                <a:gd name="T46" fmla="*/ 13 w 15"/>
                <a:gd name="T47" fmla="*/ 10 h 20"/>
                <a:gd name="T48" fmla="*/ 10 w 15"/>
                <a:gd name="T49" fmla="*/ 10 h 20"/>
                <a:gd name="T50" fmla="*/ 10 w 15"/>
                <a:gd name="T51" fmla="*/ 10 h 20"/>
                <a:gd name="T52" fmla="*/ 3 w 15"/>
                <a:gd name="T53" fmla="*/ 5 h 20"/>
                <a:gd name="T54" fmla="*/ 3 w 15"/>
                <a:gd name="T55" fmla="*/ 5 h 20"/>
                <a:gd name="T56" fmla="*/ 3 w 15"/>
                <a:gd name="T57" fmla="*/ 5 h 20"/>
                <a:gd name="T58" fmla="*/ 0 w 15"/>
                <a:gd name="T59" fmla="*/ 5 h 20"/>
                <a:gd name="T60" fmla="*/ 0 w 15"/>
                <a:gd name="T61" fmla="*/ 5 h 20"/>
                <a:gd name="T62" fmla="*/ 3 w 15"/>
                <a:gd name="T63" fmla="*/ 5 h 20"/>
                <a:gd name="T64" fmla="*/ 3 w 15"/>
                <a:gd name="T65" fmla="*/ 7 h 20"/>
                <a:gd name="T66" fmla="*/ 5 w 15"/>
                <a:gd name="T67" fmla="*/ 5 h 20"/>
                <a:gd name="T68" fmla="*/ 5 w 15"/>
                <a:gd name="T69" fmla="*/ 5 h 20"/>
                <a:gd name="T70" fmla="*/ 5 w 15"/>
                <a:gd name="T71" fmla="*/ 5 h 20"/>
                <a:gd name="T72" fmla="*/ 3 w 15"/>
                <a:gd name="T73" fmla="*/ 5 h 20"/>
                <a:gd name="T74" fmla="*/ 8 w 15"/>
                <a:gd name="T75" fmla="*/ 0 h 20"/>
                <a:gd name="T76" fmla="*/ 5 w 15"/>
                <a:gd name="T77" fmla="*/ 2 h 20"/>
                <a:gd name="T78" fmla="*/ 8 w 15"/>
                <a:gd name="T79" fmla="*/ 5 h 20"/>
                <a:gd name="T80" fmla="*/ 10 w 15"/>
                <a:gd name="T81" fmla="*/ 7 h 20"/>
                <a:gd name="T82" fmla="*/ 10 w 15"/>
                <a:gd name="T83" fmla="*/ 7 h 20"/>
                <a:gd name="T84" fmla="*/ 10 w 15"/>
                <a:gd name="T85" fmla="*/ 7 h 20"/>
                <a:gd name="T86" fmla="*/ 10 w 15"/>
                <a:gd name="T87" fmla="*/ 7 h 20"/>
                <a:gd name="T88" fmla="*/ 10 w 15"/>
                <a:gd name="T89" fmla="*/ 5 h 20"/>
                <a:gd name="T90" fmla="*/ 10 w 15"/>
                <a:gd name="T91" fmla="*/ 5 h 20"/>
                <a:gd name="T92" fmla="*/ 10 w 15"/>
                <a:gd name="T93" fmla="*/ 5 h 20"/>
                <a:gd name="T94" fmla="*/ 10 w 15"/>
                <a:gd name="T95" fmla="*/ 5 h 20"/>
                <a:gd name="T96" fmla="*/ 10 w 15"/>
                <a:gd name="T97" fmla="*/ 5 h 20"/>
                <a:gd name="T98" fmla="*/ 10 w 15"/>
                <a:gd name="T99" fmla="*/ 5 h 20"/>
                <a:gd name="T100" fmla="*/ 13 w 15"/>
                <a:gd name="T101" fmla="*/ 5 h 20"/>
                <a:gd name="T102" fmla="*/ 13 w 15"/>
                <a:gd name="T103" fmla="*/ 2 h 20"/>
                <a:gd name="T104" fmla="*/ 10 w 15"/>
                <a:gd name="T105" fmla="*/ 2 h 20"/>
                <a:gd name="T106" fmla="*/ 8 w 15"/>
                <a:gd name="T107" fmla="*/ 0 h 20"/>
                <a:gd name="T108" fmla="*/ 15 w 15"/>
                <a:gd name="T109" fmla="*/ 2 h 20"/>
                <a:gd name="T110" fmla="*/ 15 w 15"/>
                <a:gd name="T111" fmla="*/ 0 h 20"/>
                <a:gd name="T112" fmla="*/ 15 w 15"/>
                <a:gd name="T113" fmla="*/ 2 h 20"/>
                <a:gd name="T114" fmla="*/ 13 w 15"/>
                <a:gd name="T115" fmla="*/ 2 h 20"/>
                <a:gd name="T116" fmla="*/ 15 w 15"/>
                <a:gd name="T117" fmla="*/ 2 h 20"/>
                <a:gd name="T118" fmla="*/ 15 w 15"/>
                <a:gd name="T119" fmla="*/ 2 h 20"/>
                <a:gd name="T120" fmla="*/ 15 w 15"/>
                <a:gd name="T121" fmla="*/ 2 h 20"/>
                <a:gd name="T122" fmla="*/ 15 w 15"/>
                <a:gd name="T123" fmla="*/ 2 h 20"/>
                <a:gd name="T124" fmla="*/ 15 w 15"/>
                <a:gd name="T125" fmla="*/ 2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 h="20">
                  <a:moveTo>
                    <a:pt x="10" y="17"/>
                  </a:moveTo>
                  <a:lnTo>
                    <a:pt x="10" y="17"/>
                  </a:lnTo>
                  <a:lnTo>
                    <a:pt x="10" y="15"/>
                  </a:lnTo>
                  <a:lnTo>
                    <a:pt x="8" y="15"/>
                  </a:lnTo>
                  <a:lnTo>
                    <a:pt x="8" y="15"/>
                  </a:lnTo>
                  <a:lnTo>
                    <a:pt x="8" y="15"/>
                  </a:lnTo>
                  <a:lnTo>
                    <a:pt x="5" y="15"/>
                  </a:lnTo>
                  <a:lnTo>
                    <a:pt x="5" y="15"/>
                  </a:lnTo>
                  <a:lnTo>
                    <a:pt x="8" y="17"/>
                  </a:lnTo>
                  <a:lnTo>
                    <a:pt x="8" y="17"/>
                  </a:lnTo>
                  <a:lnTo>
                    <a:pt x="10" y="20"/>
                  </a:lnTo>
                  <a:lnTo>
                    <a:pt x="10" y="20"/>
                  </a:lnTo>
                  <a:lnTo>
                    <a:pt x="10" y="17"/>
                  </a:lnTo>
                  <a:lnTo>
                    <a:pt x="10" y="17"/>
                  </a:lnTo>
                  <a:close/>
                  <a:moveTo>
                    <a:pt x="10" y="10"/>
                  </a:moveTo>
                  <a:lnTo>
                    <a:pt x="8" y="10"/>
                  </a:lnTo>
                  <a:lnTo>
                    <a:pt x="8" y="10"/>
                  </a:lnTo>
                  <a:lnTo>
                    <a:pt x="8" y="10"/>
                  </a:lnTo>
                  <a:lnTo>
                    <a:pt x="8" y="10"/>
                  </a:lnTo>
                  <a:lnTo>
                    <a:pt x="10" y="10"/>
                  </a:lnTo>
                  <a:lnTo>
                    <a:pt x="10" y="12"/>
                  </a:lnTo>
                  <a:lnTo>
                    <a:pt x="10" y="12"/>
                  </a:lnTo>
                  <a:lnTo>
                    <a:pt x="13" y="10"/>
                  </a:lnTo>
                  <a:lnTo>
                    <a:pt x="13" y="10"/>
                  </a:lnTo>
                  <a:lnTo>
                    <a:pt x="10" y="10"/>
                  </a:lnTo>
                  <a:lnTo>
                    <a:pt x="10" y="10"/>
                  </a:lnTo>
                  <a:close/>
                  <a:moveTo>
                    <a:pt x="3" y="5"/>
                  </a:moveTo>
                  <a:lnTo>
                    <a:pt x="3" y="5"/>
                  </a:lnTo>
                  <a:lnTo>
                    <a:pt x="3" y="5"/>
                  </a:lnTo>
                  <a:lnTo>
                    <a:pt x="0" y="5"/>
                  </a:lnTo>
                  <a:lnTo>
                    <a:pt x="0" y="5"/>
                  </a:lnTo>
                  <a:lnTo>
                    <a:pt x="3" y="5"/>
                  </a:lnTo>
                  <a:lnTo>
                    <a:pt x="3" y="7"/>
                  </a:lnTo>
                  <a:lnTo>
                    <a:pt x="5" y="5"/>
                  </a:lnTo>
                  <a:lnTo>
                    <a:pt x="5" y="5"/>
                  </a:lnTo>
                  <a:lnTo>
                    <a:pt x="5" y="5"/>
                  </a:lnTo>
                  <a:lnTo>
                    <a:pt x="3" y="5"/>
                  </a:lnTo>
                  <a:close/>
                  <a:moveTo>
                    <a:pt x="8" y="0"/>
                  </a:moveTo>
                  <a:lnTo>
                    <a:pt x="5" y="2"/>
                  </a:lnTo>
                  <a:lnTo>
                    <a:pt x="8" y="5"/>
                  </a:lnTo>
                  <a:lnTo>
                    <a:pt x="10" y="7"/>
                  </a:lnTo>
                  <a:lnTo>
                    <a:pt x="10" y="7"/>
                  </a:lnTo>
                  <a:lnTo>
                    <a:pt x="10" y="7"/>
                  </a:lnTo>
                  <a:lnTo>
                    <a:pt x="10" y="7"/>
                  </a:lnTo>
                  <a:lnTo>
                    <a:pt x="10" y="5"/>
                  </a:lnTo>
                  <a:lnTo>
                    <a:pt x="10" y="5"/>
                  </a:lnTo>
                  <a:lnTo>
                    <a:pt x="10" y="5"/>
                  </a:lnTo>
                  <a:lnTo>
                    <a:pt x="10" y="5"/>
                  </a:lnTo>
                  <a:lnTo>
                    <a:pt x="10" y="5"/>
                  </a:lnTo>
                  <a:lnTo>
                    <a:pt x="10" y="5"/>
                  </a:lnTo>
                  <a:lnTo>
                    <a:pt x="13" y="5"/>
                  </a:lnTo>
                  <a:lnTo>
                    <a:pt x="13" y="2"/>
                  </a:lnTo>
                  <a:lnTo>
                    <a:pt x="10" y="2"/>
                  </a:lnTo>
                  <a:lnTo>
                    <a:pt x="8" y="0"/>
                  </a:lnTo>
                  <a:close/>
                  <a:moveTo>
                    <a:pt x="15" y="2"/>
                  </a:moveTo>
                  <a:lnTo>
                    <a:pt x="15" y="0"/>
                  </a:lnTo>
                  <a:lnTo>
                    <a:pt x="15" y="2"/>
                  </a:lnTo>
                  <a:lnTo>
                    <a:pt x="13" y="2"/>
                  </a:lnTo>
                  <a:lnTo>
                    <a:pt x="15" y="2"/>
                  </a:lnTo>
                  <a:lnTo>
                    <a:pt x="15" y="2"/>
                  </a:lnTo>
                  <a:lnTo>
                    <a:pt x="15" y="2"/>
                  </a:lnTo>
                  <a:lnTo>
                    <a:pt x="15" y="2"/>
                  </a:lnTo>
                  <a:lnTo>
                    <a:pt x="15" y="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320" name="Freeform 1939">
              <a:extLst>
                <a:ext uri="{FF2B5EF4-FFF2-40B4-BE49-F238E27FC236}">
                  <a16:creationId xmlns:a16="http://schemas.microsoft.com/office/drawing/2014/main" id="{E76B3EB5-3BD1-D240-B5B7-B809789C228E}"/>
                </a:ext>
              </a:extLst>
            </p:cNvPr>
            <p:cNvSpPr>
              <a:spLocks noEditPoints="1"/>
            </p:cNvSpPr>
            <p:nvPr/>
          </p:nvSpPr>
          <p:spPr bwMode="auto">
            <a:xfrm>
              <a:off x="3936876" y="5698584"/>
              <a:ext cx="91601" cy="37622"/>
            </a:xfrm>
            <a:custGeom>
              <a:avLst/>
              <a:gdLst>
                <a:gd name="T0" fmla="*/ 28 w 56"/>
                <a:gd name="T1" fmla="*/ 18 h 23"/>
                <a:gd name="T2" fmla="*/ 28 w 56"/>
                <a:gd name="T3" fmla="*/ 21 h 23"/>
                <a:gd name="T4" fmla="*/ 28 w 56"/>
                <a:gd name="T5" fmla="*/ 18 h 23"/>
                <a:gd name="T6" fmla="*/ 48 w 56"/>
                <a:gd name="T7" fmla="*/ 16 h 23"/>
                <a:gd name="T8" fmla="*/ 48 w 56"/>
                <a:gd name="T9" fmla="*/ 16 h 23"/>
                <a:gd name="T10" fmla="*/ 3 w 56"/>
                <a:gd name="T11" fmla="*/ 10 h 23"/>
                <a:gd name="T12" fmla="*/ 3 w 56"/>
                <a:gd name="T13" fmla="*/ 13 h 23"/>
                <a:gd name="T14" fmla="*/ 5 w 56"/>
                <a:gd name="T15" fmla="*/ 13 h 23"/>
                <a:gd name="T16" fmla="*/ 28 w 56"/>
                <a:gd name="T17" fmla="*/ 5 h 23"/>
                <a:gd name="T18" fmla="*/ 31 w 56"/>
                <a:gd name="T19" fmla="*/ 3 h 23"/>
                <a:gd name="T20" fmla="*/ 28 w 56"/>
                <a:gd name="T21" fmla="*/ 0 h 23"/>
                <a:gd name="T22" fmla="*/ 23 w 56"/>
                <a:gd name="T23" fmla="*/ 3 h 23"/>
                <a:gd name="T24" fmla="*/ 18 w 56"/>
                <a:gd name="T25" fmla="*/ 3 h 23"/>
                <a:gd name="T26" fmla="*/ 13 w 56"/>
                <a:gd name="T27" fmla="*/ 3 h 23"/>
                <a:gd name="T28" fmla="*/ 5 w 56"/>
                <a:gd name="T29" fmla="*/ 0 h 23"/>
                <a:gd name="T30" fmla="*/ 8 w 56"/>
                <a:gd name="T31" fmla="*/ 5 h 23"/>
                <a:gd name="T32" fmla="*/ 15 w 56"/>
                <a:gd name="T33" fmla="*/ 8 h 23"/>
                <a:gd name="T34" fmla="*/ 10 w 56"/>
                <a:gd name="T35" fmla="*/ 8 h 23"/>
                <a:gd name="T36" fmla="*/ 13 w 56"/>
                <a:gd name="T37" fmla="*/ 10 h 23"/>
                <a:gd name="T38" fmla="*/ 15 w 56"/>
                <a:gd name="T39" fmla="*/ 10 h 23"/>
                <a:gd name="T40" fmla="*/ 15 w 56"/>
                <a:gd name="T41" fmla="*/ 13 h 23"/>
                <a:gd name="T42" fmla="*/ 8 w 56"/>
                <a:gd name="T43" fmla="*/ 13 h 23"/>
                <a:gd name="T44" fmla="*/ 13 w 56"/>
                <a:gd name="T45" fmla="*/ 21 h 23"/>
                <a:gd name="T46" fmla="*/ 15 w 56"/>
                <a:gd name="T47" fmla="*/ 18 h 23"/>
                <a:gd name="T48" fmla="*/ 18 w 56"/>
                <a:gd name="T49" fmla="*/ 18 h 23"/>
                <a:gd name="T50" fmla="*/ 20 w 56"/>
                <a:gd name="T51" fmla="*/ 16 h 23"/>
                <a:gd name="T52" fmla="*/ 25 w 56"/>
                <a:gd name="T53" fmla="*/ 10 h 23"/>
                <a:gd name="T54" fmla="*/ 28 w 56"/>
                <a:gd name="T55" fmla="*/ 5 h 23"/>
                <a:gd name="T56" fmla="*/ 15 w 56"/>
                <a:gd name="T57" fmla="*/ 0 h 23"/>
                <a:gd name="T58" fmla="*/ 10 w 56"/>
                <a:gd name="T59" fmla="*/ 0 h 23"/>
                <a:gd name="T60" fmla="*/ 56 w 56"/>
                <a:gd name="T61" fmla="*/ 8 h 23"/>
                <a:gd name="T62" fmla="*/ 53 w 56"/>
                <a:gd name="T63" fmla="*/ 5 h 23"/>
                <a:gd name="T64" fmla="*/ 51 w 56"/>
                <a:gd name="T65" fmla="*/ 3 h 23"/>
                <a:gd name="T66" fmla="*/ 46 w 56"/>
                <a:gd name="T67" fmla="*/ 3 h 23"/>
                <a:gd name="T68" fmla="*/ 48 w 56"/>
                <a:gd name="T69" fmla="*/ 5 h 23"/>
                <a:gd name="T70" fmla="*/ 43 w 56"/>
                <a:gd name="T71" fmla="*/ 5 h 23"/>
                <a:gd name="T72" fmla="*/ 43 w 56"/>
                <a:gd name="T73" fmla="*/ 3 h 23"/>
                <a:gd name="T74" fmla="*/ 41 w 56"/>
                <a:gd name="T75" fmla="*/ 0 h 23"/>
                <a:gd name="T76" fmla="*/ 33 w 56"/>
                <a:gd name="T77" fmla="*/ 0 h 23"/>
                <a:gd name="T78" fmla="*/ 33 w 56"/>
                <a:gd name="T79" fmla="*/ 5 h 23"/>
                <a:gd name="T80" fmla="*/ 36 w 56"/>
                <a:gd name="T81" fmla="*/ 8 h 23"/>
                <a:gd name="T82" fmla="*/ 33 w 56"/>
                <a:gd name="T83" fmla="*/ 10 h 23"/>
                <a:gd name="T84" fmla="*/ 28 w 56"/>
                <a:gd name="T85" fmla="*/ 18 h 23"/>
                <a:gd name="T86" fmla="*/ 36 w 56"/>
                <a:gd name="T87" fmla="*/ 23 h 23"/>
                <a:gd name="T88" fmla="*/ 38 w 56"/>
                <a:gd name="T89" fmla="*/ 21 h 23"/>
                <a:gd name="T90" fmla="*/ 38 w 56"/>
                <a:gd name="T91" fmla="*/ 16 h 23"/>
                <a:gd name="T92" fmla="*/ 46 w 56"/>
                <a:gd name="T93" fmla="*/ 16 h 23"/>
                <a:gd name="T94" fmla="*/ 51 w 56"/>
                <a:gd name="T95" fmla="*/ 10 h 23"/>
                <a:gd name="T96" fmla="*/ 56 w 56"/>
                <a:gd name="T97" fmla="*/ 8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6" h="23">
                  <a:moveTo>
                    <a:pt x="28" y="18"/>
                  </a:moveTo>
                  <a:lnTo>
                    <a:pt x="28" y="18"/>
                  </a:lnTo>
                  <a:lnTo>
                    <a:pt x="28" y="18"/>
                  </a:lnTo>
                  <a:lnTo>
                    <a:pt x="28" y="21"/>
                  </a:lnTo>
                  <a:lnTo>
                    <a:pt x="28" y="21"/>
                  </a:lnTo>
                  <a:lnTo>
                    <a:pt x="28" y="21"/>
                  </a:lnTo>
                  <a:lnTo>
                    <a:pt x="31" y="21"/>
                  </a:lnTo>
                  <a:lnTo>
                    <a:pt x="28" y="18"/>
                  </a:lnTo>
                  <a:lnTo>
                    <a:pt x="28" y="18"/>
                  </a:lnTo>
                  <a:close/>
                  <a:moveTo>
                    <a:pt x="48" y="16"/>
                  </a:moveTo>
                  <a:lnTo>
                    <a:pt x="48" y="16"/>
                  </a:lnTo>
                  <a:lnTo>
                    <a:pt x="48" y="16"/>
                  </a:lnTo>
                  <a:lnTo>
                    <a:pt x="48" y="18"/>
                  </a:lnTo>
                  <a:lnTo>
                    <a:pt x="51" y="18"/>
                  </a:lnTo>
                  <a:lnTo>
                    <a:pt x="48" y="16"/>
                  </a:lnTo>
                  <a:lnTo>
                    <a:pt x="48" y="16"/>
                  </a:lnTo>
                  <a:close/>
                  <a:moveTo>
                    <a:pt x="5" y="10"/>
                  </a:moveTo>
                  <a:lnTo>
                    <a:pt x="3" y="10"/>
                  </a:lnTo>
                  <a:lnTo>
                    <a:pt x="3" y="10"/>
                  </a:lnTo>
                  <a:lnTo>
                    <a:pt x="0" y="13"/>
                  </a:lnTo>
                  <a:lnTo>
                    <a:pt x="3" y="13"/>
                  </a:lnTo>
                  <a:lnTo>
                    <a:pt x="3" y="13"/>
                  </a:lnTo>
                  <a:lnTo>
                    <a:pt x="5" y="13"/>
                  </a:lnTo>
                  <a:lnTo>
                    <a:pt x="5" y="13"/>
                  </a:lnTo>
                  <a:lnTo>
                    <a:pt x="5" y="10"/>
                  </a:lnTo>
                  <a:lnTo>
                    <a:pt x="5" y="10"/>
                  </a:lnTo>
                  <a:close/>
                  <a:moveTo>
                    <a:pt x="28" y="5"/>
                  </a:moveTo>
                  <a:lnTo>
                    <a:pt x="28" y="5"/>
                  </a:lnTo>
                  <a:lnTo>
                    <a:pt x="28" y="5"/>
                  </a:lnTo>
                  <a:lnTo>
                    <a:pt x="31" y="3"/>
                  </a:lnTo>
                  <a:lnTo>
                    <a:pt x="31" y="3"/>
                  </a:lnTo>
                  <a:lnTo>
                    <a:pt x="28" y="3"/>
                  </a:lnTo>
                  <a:lnTo>
                    <a:pt x="28" y="0"/>
                  </a:lnTo>
                  <a:lnTo>
                    <a:pt x="25" y="3"/>
                  </a:lnTo>
                  <a:lnTo>
                    <a:pt x="25" y="3"/>
                  </a:lnTo>
                  <a:lnTo>
                    <a:pt x="23" y="3"/>
                  </a:lnTo>
                  <a:lnTo>
                    <a:pt x="20" y="3"/>
                  </a:lnTo>
                  <a:lnTo>
                    <a:pt x="20" y="3"/>
                  </a:lnTo>
                  <a:lnTo>
                    <a:pt x="18" y="3"/>
                  </a:lnTo>
                  <a:lnTo>
                    <a:pt x="15" y="3"/>
                  </a:lnTo>
                  <a:lnTo>
                    <a:pt x="15" y="3"/>
                  </a:lnTo>
                  <a:lnTo>
                    <a:pt x="13" y="3"/>
                  </a:lnTo>
                  <a:lnTo>
                    <a:pt x="8" y="3"/>
                  </a:lnTo>
                  <a:lnTo>
                    <a:pt x="8" y="0"/>
                  </a:lnTo>
                  <a:lnTo>
                    <a:pt x="5" y="0"/>
                  </a:lnTo>
                  <a:lnTo>
                    <a:pt x="8" y="3"/>
                  </a:lnTo>
                  <a:lnTo>
                    <a:pt x="8" y="3"/>
                  </a:lnTo>
                  <a:lnTo>
                    <a:pt x="8" y="5"/>
                  </a:lnTo>
                  <a:lnTo>
                    <a:pt x="10" y="5"/>
                  </a:lnTo>
                  <a:lnTo>
                    <a:pt x="13" y="5"/>
                  </a:lnTo>
                  <a:lnTo>
                    <a:pt x="15" y="8"/>
                  </a:lnTo>
                  <a:lnTo>
                    <a:pt x="15" y="8"/>
                  </a:lnTo>
                  <a:lnTo>
                    <a:pt x="10" y="8"/>
                  </a:lnTo>
                  <a:lnTo>
                    <a:pt x="10" y="8"/>
                  </a:lnTo>
                  <a:lnTo>
                    <a:pt x="10" y="8"/>
                  </a:lnTo>
                  <a:lnTo>
                    <a:pt x="10" y="10"/>
                  </a:lnTo>
                  <a:lnTo>
                    <a:pt x="13" y="10"/>
                  </a:lnTo>
                  <a:lnTo>
                    <a:pt x="13" y="10"/>
                  </a:lnTo>
                  <a:lnTo>
                    <a:pt x="15" y="10"/>
                  </a:lnTo>
                  <a:lnTo>
                    <a:pt x="15" y="10"/>
                  </a:lnTo>
                  <a:lnTo>
                    <a:pt x="15" y="10"/>
                  </a:lnTo>
                  <a:lnTo>
                    <a:pt x="15" y="10"/>
                  </a:lnTo>
                  <a:lnTo>
                    <a:pt x="15" y="13"/>
                  </a:lnTo>
                  <a:lnTo>
                    <a:pt x="13" y="13"/>
                  </a:lnTo>
                  <a:lnTo>
                    <a:pt x="10" y="16"/>
                  </a:lnTo>
                  <a:lnTo>
                    <a:pt x="8" y="13"/>
                  </a:lnTo>
                  <a:lnTo>
                    <a:pt x="5" y="16"/>
                  </a:lnTo>
                  <a:lnTo>
                    <a:pt x="10" y="18"/>
                  </a:lnTo>
                  <a:lnTo>
                    <a:pt x="13" y="21"/>
                  </a:lnTo>
                  <a:lnTo>
                    <a:pt x="15" y="21"/>
                  </a:lnTo>
                  <a:lnTo>
                    <a:pt x="15" y="18"/>
                  </a:lnTo>
                  <a:lnTo>
                    <a:pt x="15" y="18"/>
                  </a:lnTo>
                  <a:lnTo>
                    <a:pt x="18" y="18"/>
                  </a:lnTo>
                  <a:lnTo>
                    <a:pt x="18" y="18"/>
                  </a:lnTo>
                  <a:lnTo>
                    <a:pt x="18" y="18"/>
                  </a:lnTo>
                  <a:lnTo>
                    <a:pt x="18" y="16"/>
                  </a:lnTo>
                  <a:lnTo>
                    <a:pt x="18" y="16"/>
                  </a:lnTo>
                  <a:lnTo>
                    <a:pt x="20" y="16"/>
                  </a:lnTo>
                  <a:lnTo>
                    <a:pt x="23" y="16"/>
                  </a:lnTo>
                  <a:lnTo>
                    <a:pt x="23" y="16"/>
                  </a:lnTo>
                  <a:lnTo>
                    <a:pt x="25" y="10"/>
                  </a:lnTo>
                  <a:lnTo>
                    <a:pt x="25" y="8"/>
                  </a:lnTo>
                  <a:lnTo>
                    <a:pt x="28" y="8"/>
                  </a:lnTo>
                  <a:lnTo>
                    <a:pt x="28" y="5"/>
                  </a:lnTo>
                  <a:close/>
                  <a:moveTo>
                    <a:pt x="13" y="3"/>
                  </a:moveTo>
                  <a:lnTo>
                    <a:pt x="15" y="3"/>
                  </a:lnTo>
                  <a:lnTo>
                    <a:pt x="15" y="0"/>
                  </a:lnTo>
                  <a:lnTo>
                    <a:pt x="15" y="0"/>
                  </a:lnTo>
                  <a:lnTo>
                    <a:pt x="13" y="0"/>
                  </a:lnTo>
                  <a:lnTo>
                    <a:pt x="10" y="0"/>
                  </a:lnTo>
                  <a:lnTo>
                    <a:pt x="10" y="0"/>
                  </a:lnTo>
                  <a:lnTo>
                    <a:pt x="13" y="3"/>
                  </a:lnTo>
                  <a:close/>
                  <a:moveTo>
                    <a:pt x="56" y="8"/>
                  </a:moveTo>
                  <a:lnTo>
                    <a:pt x="56" y="8"/>
                  </a:lnTo>
                  <a:lnTo>
                    <a:pt x="53" y="5"/>
                  </a:lnTo>
                  <a:lnTo>
                    <a:pt x="53" y="5"/>
                  </a:lnTo>
                  <a:lnTo>
                    <a:pt x="56" y="5"/>
                  </a:lnTo>
                  <a:lnTo>
                    <a:pt x="53" y="3"/>
                  </a:lnTo>
                  <a:lnTo>
                    <a:pt x="51" y="3"/>
                  </a:lnTo>
                  <a:lnTo>
                    <a:pt x="48" y="3"/>
                  </a:lnTo>
                  <a:lnTo>
                    <a:pt x="46" y="3"/>
                  </a:lnTo>
                  <a:lnTo>
                    <a:pt x="46" y="3"/>
                  </a:lnTo>
                  <a:lnTo>
                    <a:pt x="48" y="5"/>
                  </a:lnTo>
                  <a:lnTo>
                    <a:pt x="48" y="5"/>
                  </a:lnTo>
                  <a:lnTo>
                    <a:pt x="48" y="5"/>
                  </a:lnTo>
                  <a:lnTo>
                    <a:pt x="48" y="5"/>
                  </a:lnTo>
                  <a:lnTo>
                    <a:pt x="43" y="5"/>
                  </a:lnTo>
                  <a:lnTo>
                    <a:pt x="43" y="5"/>
                  </a:lnTo>
                  <a:lnTo>
                    <a:pt x="43" y="3"/>
                  </a:lnTo>
                  <a:lnTo>
                    <a:pt x="43" y="3"/>
                  </a:lnTo>
                  <a:lnTo>
                    <a:pt x="43" y="3"/>
                  </a:lnTo>
                  <a:lnTo>
                    <a:pt x="43" y="3"/>
                  </a:lnTo>
                  <a:lnTo>
                    <a:pt x="43" y="0"/>
                  </a:lnTo>
                  <a:lnTo>
                    <a:pt x="41" y="0"/>
                  </a:lnTo>
                  <a:lnTo>
                    <a:pt x="38" y="0"/>
                  </a:lnTo>
                  <a:lnTo>
                    <a:pt x="36" y="0"/>
                  </a:lnTo>
                  <a:lnTo>
                    <a:pt x="33" y="0"/>
                  </a:lnTo>
                  <a:lnTo>
                    <a:pt x="36" y="0"/>
                  </a:lnTo>
                  <a:lnTo>
                    <a:pt x="33" y="5"/>
                  </a:lnTo>
                  <a:lnTo>
                    <a:pt x="33" y="5"/>
                  </a:lnTo>
                  <a:lnTo>
                    <a:pt x="36" y="8"/>
                  </a:lnTo>
                  <a:lnTo>
                    <a:pt x="36" y="8"/>
                  </a:lnTo>
                  <a:lnTo>
                    <a:pt x="36" y="8"/>
                  </a:lnTo>
                  <a:lnTo>
                    <a:pt x="33" y="8"/>
                  </a:lnTo>
                  <a:lnTo>
                    <a:pt x="33" y="10"/>
                  </a:lnTo>
                  <a:lnTo>
                    <a:pt x="33" y="10"/>
                  </a:lnTo>
                  <a:lnTo>
                    <a:pt x="28" y="13"/>
                  </a:lnTo>
                  <a:lnTo>
                    <a:pt x="31" y="16"/>
                  </a:lnTo>
                  <a:lnTo>
                    <a:pt x="28" y="18"/>
                  </a:lnTo>
                  <a:lnTo>
                    <a:pt x="31" y="18"/>
                  </a:lnTo>
                  <a:lnTo>
                    <a:pt x="33" y="21"/>
                  </a:lnTo>
                  <a:lnTo>
                    <a:pt x="36" y="23"/>
                  </a:lnTo>
                  <a:lnTo>
                    <a:pt x="36" y="21"/>
                  </a:lnTo>
                  <a:lnTo>
                    <a:pt x="36" y="21"/>
                  </a:lnTo>
                  <a:lnTo>
                    <a:pt x="38" y="21"/>
                  </a:lnTo>
                  <a:lnTo>
                    <a:pt x="41" y="18"/>
                  </a:lnTo>
                  <a:lnTo>
                    <a:pt x="36" y="16"/>
                  </a:lnTo>
                  <a:lnTo>
                    <a:pt x="38" y="16"/>
                  </a:lnTo>
                  <a:lnTo>
                    <a:pt x="46" y="18"/>
                  </a:lnTo>
                  <a:lnTo>
                    <a:pt x="46" y="16"/>
                  </a:lnTo>
                  <a:lnTo>
                    <a:pt x="46" y="16"/>
                  </a:lnTo>
                  <a:lnTo>
                    <a:pt x="43" y="13"/>
                  </a:lnTo>
                  <a:lnTo>
                    <a:pt x="48" y="13"/>
                  </a:lnTo>
                  <a:lnTo>
                    <a:pt x="51" y="10"/>
                  </a:lnTo>
                  <a:lnTo>
                    <a:pt x="51" y="10"/>
                  </a:lnTo>
                  <a:lnTo>
                    <a:pt x="53" y="10"/>
                  </a:lnTo>
                  <a:lnTo>
                    <a:pt x="56" y="8"/>
                  </a:lnTo>
                  <a:lnTo>
                    <a:pt x="56" y="8"/>
                  </a:lnTo>
                  <a:lnTo>
                    <a:pt x="56" y="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321" name="Freeform 1940">
              <a:extLst>
                <a:ext uri="{FF2B5EF4-FFF2-40B4-BE49-F238E27FC236}">
                  <a16:creationId xmlns:a16="http://schemas.microsoft.com/office/drawing/2014/main" id="{C781E2D0-74BE-644D-AE92-4289CC15EE23}"/>
                </a:ext>
              </a:extLst>
            </p:cNvPr>
            <p:cNvSpPr>
              <a:spLocks/>
            </p:cNvSpPr>
            <p:nvPr/>
          </p:nvSpPr>
          <p:spPr bwMode="auto">
            <a:xfrm>
              <a:off x="6693093" y="3248251"/>
              <a:ext cx="490721" cy="423656"/>
            </a:xfrm>
            <a:custGeom>
              <a:avLst/>
              <a:gdLst>
                <a:gd name="T0" fmla="*/ 257 w 300"/>
                <a:gd name="T1" fmla="*/ 147 h 259"/>
                <a:gd name="T2" fmla="*/ 224 w 300"/>
                <a:gd name="T3" fmla="*/ 137 h 259"/>
                <a:gd name="T4" fmla="*/ 211 w 300"/>
                <a:gd name="T5" fmla="*/ 127 h 259"/>
                <a:gd name="T6" fmla="*/ 201 w 300"/>
                <a:gd name="T7" fmla="*/ 114 h 259"/>
                <a:gd name="T8" fmla="*/ 196 w 300"/>
                <a:gd name="T9" fmla="*/ 104 h 259"/>
                <a:gd name="T10" fmla="*/ 191 w 300"/>
                <a:gd name="T11" fmla="*/ 96 h 259"/>
                <a:gd name="T12" fmla="*/ 196 w 300"/>
                <a:gd name="T13" fmla="*/ 89 h 259"/>
                <a:gd name="T14" fmla="*/ 188 w 300"/>
                <a:gd name="T15" fmla="*/ 86 h 259"/>
                <a:gd name="T16" fmla="*/ 178 w 300"/>
                <a:gd name="T17" fmla="*/ 89 h 259"/>
                <a:gd name="T18" fmla="*/ 173 w 300"/>
                <a:gd name="T19" fmla="*/ 76 h 259"/>
                <a:gd name="T20" fmla="*/ 180 w 300"/>
                <a:gd name="T21" fmla="*/ 63 h 259"/>
                <a:gd name="T22" fmla="*/ 180 w 300"/>
                <a:gd name="T23" fmla="*/ 48 h 259"/>
                <a:gd name="T24" fmla="*/ 168 w 300"/>
                <a:gd name="T25" fmla="*/ 35 h 259"/>
                <a:gd name="T26" fmla="*/ 150 w 300"/>
                <a:gd name="T27" fmla="*/ 17 h 259"/>
                <a:gd name="T28" fmla="*/ 137 w 300"/>
                <a:gd name="T29" fmla="*/ 10 h 259"/>
                <a:gd name="T30" fmla="*/ 127 w 300"/>
                <a:gd name="T31" fmla="*/ 7 h 259"/>
                <a:gd name="T32" fmla="*/ 119 w 300"/>
                <a:gd name="T33" fmla="*/ 7 h 259"/>
                <a:gd name="T34" fmla="*/ 107 w 300"/>
                <a:gd name="T35" fmla="*/ 10 h 259"/>
                <a:gd name="T36" fmla="*/ 99 w 300"/>
                <a:gd name="T37" fmla="*/ 5 h 259"/>
                <a:gd name="T38" fmla="*/ 91 w 300"/>
                <a:gd name="T39" fmla="*/ 5 h 259"/>
                <a:gd name="T40" fmla="*/ 86 w 300"/>
                <a:gd name="T41" fmla="*/ 17 h 259"/>
                <a:gd name="T42" fmla="*/ 79 w 300"/>
                <a:gd name="T43" fmla="*/ 12 h 259"/>
                <a:gd name="T44" fmla="*/ 68 w 300"/>
                <a:gd name="T45" fmla="*/ 12 h 259"/>
                <a:gd name="T46" fmla="*/ 63 w 300"/>
                <a:gd name="T47" fmla="*/ 28 h 259"/>
                <a:gd name="T48" fmla="*/ 61 w 300"/>
                <a:gd name="T49" fmla="*/ 40 h 259"/>
                <a:gd name="T50" fmla="*/ 56 w 300"/>
                <a:gd name="T51" fmla="*/ 50 h 259"/>
                <a:gd name="T52" fmla="*/ 45 w 300"/>
                <a:gd name="T53" fmla="*/ 58 h 259"/>
                <a:gd name="T54" fmla="*/ 38 w 300"/>
                <a:gd name="T55" fmla="*/ 73 h 259"/>
                <a:gd name="T56" fmla="*/ 38 w 300"/>
                <a:gd name="T57" fmla="*/ 91 h 259"/>
                <a:gd name="T58" fmla="*/ 30 w 300"/>
                <a:gd name="T59" fmla="*/ 91 h 259"/>
                <a:gd name="T60" fmla="*/ 22 w 300"/>
                <a:gd name="T61" fmla="*/ 99 h 259"/>
                <a:gd name="T62" fmla="*/ 22 w 300"/>
                <a:gd name="T63" fmla="*/ 114 h 259"/>
                <a:gd name="T64" fmla="*/ 20 w 300"/>
                <a:gd name="T65" fmla="*/ 129 h 259"/>
                <a:gd name="T66" fmla="*/ 20 w 300"/>
                <a:gd name="T67" fmla="*/ 145 h 259"/>
                <a:gd name="T68" fmla="*/ 10 w 300"/>
                <a:gd name="T69" fmla="*/ 147 h 259"/>
                <a:gd name="T70" fmla="*/ 0 w 300"/>
                <a:gd name="T71" fmla="*/ 155 h 259"/>
                <a:gd name="T72" fmla="*/ 5 w 300"/>
                <a:gd name="T73" fmla="*/ 162 h 259"/>
                <a:gd name="T74" fmla="*/ 17 w 300"/>
                <a:gd name="T75" fmla="*/ 168 h 259"/>
                <a:gd name="T76" fmla="*/ 22 w 300"/>
                <a:gd name="T77" fmla="*/ 178 h 259"/>
                <a:gd name="T78" fmla="*/ 33 w 300"/>
                <a:gd name="T79" fmla="*/ 188 h 259"/>
                <a:gd name="T80" fmla="*/ 40 w 300"/>
                <a:gd name="T81" fmla="*/ 206 h 259"/>
                <a:gd name="T82" fmla="*/ 45 w 300"/>
                <a:gd name="T83" fmla="*/ 213 h 259"/>
                <a:gd name="T84" fmla="*/ 48 w 300"/>
                <a:gd name="T85" fmla="*/ 216 h 259"/>
                <a:gd name="T86" fmla="*/ 56 w 300"/>
                <a:gd name="T87" fmla="*/ 221 h 259"/>
                <a:gd name="T88" fmla="*/ 56 w 300"/>
                <a:gd name="T89" fmla="*/ 231 h 259"/>
                <a:gd name="T90" fmla="*/ 66 w 300"/>
                <a:gd name="T91" fmla="*/ 236 h 259"/>
                <a:gd name="T92" fmla="*/ 84 w 300"/>
                <a:gd name="T93" fmla="*/ 241 h 259"/>
                <a:gd name="T94" fmla="*/ 101 w 300"/>
                <a:gd name="T95" fmla="*/ 254 h 259"/>
                <a:gd name="T96" fmla="*/ 119 w 300"/>
                <a:gd name="T97" fmla="*/ 259 h 259"/>
                <a:gd name="T98" fmla="*/ 135 w 300"/>
                <a:gd name="T99" fmla="*/ 257 h 259"/>
                <a:gd name="T100" fmla="*/ 150 w 300"/>
                <a:gd name="T101" fmla="*/ 244 h 259"/>
                <a:gd name="T102" fmla="*/ 163 w 300"/>
                <a:gd name="T103" fmla="*/ 249 h 259"/>
                <a:gd name="T104" fmla="*/ 175 w 300"/>
                <a:gd name="T105" fmla="*/ 249 h 259"/>
                <a:gd name="T106" fmla="*/ 188 w 300"/>
                <a:gd name="T107" fmla="*/ 241 h 259"/>
                <a:gd name="T108" fmla="*/ 201 w 300"/>
                <a:gd name="T109" fmla="*/ 234 h 259"/>
                <a:gd name="T110" fmla="*/ 216 w 300"/>
                <a:gd name="T111" fmla="*/ 226 h 259"/>
                <a:gd name="T112" fmla="*/ 234 w 300"/>
                <a:gd name="T113" fmla="*/ 226 h 259"/>
                <a:gd name="T114" fmla="*/ 252 w 300"/>
                <a:gd name="T115" fmla="*/ 208 h 259"/>
                <a:gd name="T116" fmla="*/ 280 w 300"/>
                <a:gd name="T117" fmla="*/ 178 h 259"/>
                <a:gd name="T118" fmla="*/ 280 w 300"/>
                <a:gd name="T119" fmla="*/ 15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00" h="259">
                  <a:moveTo>
                    <a:pt x="280" y="157"/>
                  </a:moveTo>
                  <a:lnTo>
                    <a:pt x="277" y="155"/>
                  </a:lnTo>
                  <a:lnTo>
                    <a:pt x="272" y="155"/>
                  </a:lnTo>
                  <a:lnTo>
                    <a:pt x="265" y="152"/>
                  </a:lnTo>
                  <a:lnTo>
                    <a:pt x="257" y="147"/>
                  </a:lnTo>
                  <a:lnTo>
                    <a:pt x="249" y="145"/>
                  </a:lnTo>
                  <a:lnTo>
                    <a:pt x="244" y="142"/>
                  </a:lnTo>
                  <a:lnTo>
                    <a:pt x="237" y="140"/>
                  </a:lnTo>
                  <a:lnTo>
                    <a:pt x="231" y="140"/>
                  </a:lnTo>
                  <a:lnTo>
                    <a:pt x="224" y="137"/>
                  </a:lnTo>
                  <a:lnTo>
                    <a:pt x="219" y="134"/>
                  </a:lnTo>
                  <a:lnTo>
                    <a:pt x="219" y="134"/>
                  </a:lnTo>
                  <a:lnTo>
                    <a:pt x="216" y="129"/>
                  </a:lnTo>
                  <a:lnTo>
                    <a:pt x="211" y="127"/>
                  </a:lnTo>
                  <a:lnTo>
                    <a:pt x="211" y="127"/>
                  </a:lnTo>
                  <a:lnTo>
                    <a:pt x="209" y="124"/>
                  </a:lnTo>
                  <a:lnTo>
                    <a:pt x="206" y="122"/>
                  </a:lnTo>
                  <a:lnTo>
                    <a:pt x="203" y="119"/>
                  </a:lnTo>
                  <a:lnTo>
                    <a:pt x="203" y="117"/>
                  </a:lnTo>
                  <a:lnTo>
                    <a:pt x="201" y="114"/>
                  </a:lnTo>
                  <a:lnTo>
                    <a:pt x="201" y="112"/>
                  </a:lnTo>
                  <a:lnTo>
                    <a:pt x="198" y="112"/>
                  </a:lnTo>
                  <a:lnTo>
                    <a:pt x="196" y="106"/>
                  </a:lnTo>
                  <a:lnTo>
                    <a:pt x="196" y="106"/>
                  </a:lnTo>
                  <a:lnTo>
                    <a:pt x="196" y="104"/>
                  </a:lnTo>
                  <a:lnTo>
                    <a:pt x="193" y="101"/>
                  </a:lnTo>
                  <a:lnTo>
                    <a:pt x="193" y="99"/>
                  </a:lnTo>
                  <a:lnTo>
                    <a:pt x="191" y="99"/>
                  </a:lnTo>
                  <a:lnTo>
                    <a:pt x="191" y="96"/>
                  </a:lnTo>
                  <a:lnTo>
                    <a:pt x="191" y="96"/>
                  </a:lnTo>
                  <a:lnTo>
                    <a:pt x="193" y="94"/>
                  </a:lnTo>
                  <a:lnTo>
                    <a:pt x="193" y="91"/>
                  </a:lnTo>
                  <a:lnTo>
                    <a:pt x="196" y="91"/>
                  </a:lnTo>
                  <a:lnTo>
                    <a:pt x="196" y="89"/>
                  </a:lnTo>
                  <a:lnTo>
                    <a:pt x="196" y="89"/>
                  </a:lnTo>
                  <a:lnTo>
                    <a:pt x="196" y="89"/>
                  </a:lnTo>
                  <a:lnTo>
                    <a:pt x="193" y="89"/>
                  </a:lnTo>
                  <a:lnTo>
                    <a:pt x="193" y="86"/>
                  </a:lnTo>
                  <a:lnTo>
                    <a:pt x="191" y="86"/>
                  </a:lnTo>
                  <a:lnTo>
                    <a:pt x="188" y="86"/>
                  </a:lnTo>
                  <a:lnTo>
                    <a:pt x="188" y="86"/>
                  </a:lnTo>
                  <a:lnTo>
                    <a:pt x="183" y="89"/>
                  </a:lnTo>
                  <a:lnTo>
                    <a:pt x="180" y="89"/>
                  </a:lnTo>
                  <a:lnTo>
                    <a:pt x="178" y="89"/>
                  </a:lnTo>
                  <a:lnTo>
                    <a:pt x="178" y="89"/>
                  </a:lnTo>
                  <a:lnTo>
                    <a:pt x="175" y="89"/>
                  </a:lnTo>
                  <a:lnTo>
                    <a:pt x="173" y="89"/>
                  </a:lnTo>
                  <a:lnTo>
                    <a:pt x="173" y="84"/>
                  </a:lnTo>
                  <a:lnTo>
                    <a:pt x="173" y="78"/>
                  </a:lnTo>
                  <a:lnTo>
                    <a:pt x="173" y="76"/>
                  </a:lnTo>
                  <a:lnTo>
                    <a:pt x="173" y="73"/>
                  </a:lnTo>
                  <a:lnTo>
                    <a:pt x="173" y="71"/>
                  </a:lnTo>
                  <a:lnTo>
                    <a:pt x="175" y="68"/>
                  </a:lnTo>
                  <a:lnTo>
                    <a:pt x="178" y="68"/>
                  </a:lnTo>
                  <a:lnTo>
                    <a:pt x="180" y="63"/>
                  </a:lnTo>
                  <a:lnTo>
                    <a:pt x="183" y="58"/>
                  </a:lnTo>
                  <a:lnTo>
                    <a:pt x="186" y="56"/>
                  </a:lnTo>
                  <a:lnTo>
                    <a:pt x="183" y="53"/>
                  </a:lnTo>
                  <a:lnTo>
                    <a:pt x="180" y="50"/>
                  </a:lnTo>
                  <a:lnTo>
                    <a:pt x="180" y="48"/>
                  </a:lnTo>
                  <a:lnTo>
                    <a:pt x="178" y="48"/>
                  </a:lnTo>
                  <a:lnTo>
                    <a:pt x="175" y="45"/>
                  </a:lnTo>
                  <a:lnTo>
                    <a:pt x="173" y="43"/>
                  </a:lnTo>
                  <a:lnTo>
                    <a:pt x="173" y="38"/>
                  </a:lnTo>
                  <a:lnTo>
                    <a:pt x="168" y="35"/>
                  </a:lnTo>
                  <a:lnTo>
                    <a:pt x="163" y="30"/>
                  </a:lnTo>
                  <a:lnTo>
                    <a:pt x="158" y="25"/>
                  </a:lnTo>
                  <a:lnTo>
                    <a:pt x="155" y="20"/>
                  </a:lnTo>
                  <a:lnTo>
                    <a:pt x="152" y="17"/>
                  </a:lnTo>
                  <a:lnTo>
                    <a:pt x="150" y="17"/>
                  </a:lnTo>
                  <a:lnTo>
                    <a:pt x="147" y="15"/>
                  </a:lnTo>
                  <a:lnTo>
                    <a:pt x="142" y="12"/>
                  </a:lnTo>
                  <a:lnTo>
                    <a:pt x="140" y="10"/>
                  </a:lnTo>
                  <a:lnTo>
                    <a:pt x="137" y="10"/>
                  </a:lnTo>
                  <a:lnTo>
                    <a:pt x="137" y="10"/>
                  </a:lnTo>
                  <a:lnTo>
                    <a:pt x="135" y="10"/>
                  </a:lnTo>
                  <a:lnTo>
                    <a:pt x="130" y="10"/>
                  </a:lnTo>
                  <a:lnTo>
                    <a:pt x="130" y="10"/>
                  </a:lnTo>
                  <a:lnTo>
                    <a:pt x="127" y="7"/>
                  </a:lnTo>
                  <a:lnTo>
                    <a:pt x="127" y="7"/>
                  </a:lnTo>
                  <a:lnTo>
                    <a:pt x="124" y="7"/>
                  </a:lnTo>
                  <a:lnTo>
                    <a:pt x="122" y="10"/>
                  </a:lnTo>
                  <a:lnTo>
                    <a:pt x="119" y="10"/>
                  </a:lnTo>
                  <a:lnTo>
                    <a:pt x="119" y="7"/>
                  </a:lnTo>
                  <a:lnTo>
                    <a:pt x="119" y="7"/>
                  </a:lnTo>
                  <a:lnTo>
                    <a:pt x="117" y="5"/>
                  </a:lnTo>
                  <a:lnTo>
                    <a:pt x="117" y="5"/>
                  </a:lnTo>
                  <a:lnTo>
                    <a:pt x="114" y="7"/>
                  </a:lnTo>
                  <a:lnTo>
                    <a:pt x="112" y="10"/>
                  </a:lnTo>
                  <a:lnTo>
                    <a:pt x="107" y="10"/>
                  </a:lnTo>
                  <a:lnTo>
                    <a:pt x="104" y="10"/>
                  </a:lnTo>
                  <a:lnTo>
                    <a:pt x="104" y="10"/>
                  </a:lnTo>
                  <a:lnTo>
                    <a:pt x="99" y="5"/>
                  </a:lnTo>
                  <a:lnTo>
                    <a:pt x="99" y="5"/>
                  </a:lnTo>
                  <a:lnTo>
                    <a:pt x="99" y="5"/>
                  </a:lnTo>
                  <a:lnTo>
                    <a:pt x="96" y="5"/>
                  </a:lnTo>
                  <a:lnTo>
                    <a:pt x="96" y="2"/>
                  </a:lnTo>
                  <a:lnTo>
                    <a:pt x="94" y="2"/>
                  </a:lnTo>
                  <a:lnTo>
                    <a:pt x="94" y="0"/>
                  </a:lnTo>
                  <a:lnTo>
                    <a:pt x="91" y="5"/>
                  </a:lnTo>
                  <a:lnTo>
                    <a:pt x="89" y="10"/>
                  </a:lnTo>
                  <a:lnTo>
                    <a:pt x="89" y="12"/>
                  </a:lnTo>
                  <a:lnTo>
                    <a:pt x="86" y="17"/>
                  </a:lnTo>
                  <a:lnTo>
                    <a:pt x="86" y="17"/>
                  </a:lnTo>
                  <a:lnTo>
                    <a:pt x="86" y="17"/>
                  </a:lnTo>
                  <a:lnTo>
                    <a:pt x="84" y="12"/>
                  </a:lnTo>
                  <a:lnTo>
                    <a:pt x="81" y="10"/>
                  </a:lnTo>
                  <a:lnTo>
                    <a:pt x="79" y="10"/>
                  </a:lnTo>
                  <a:lnTo>
                    <a:pt x="79" y="10"/>
                  </a:lnTo>
                  <a:lnTo>
                    <a:pt x="79" y="12"/>
                  </a:lnTo>
                  <a:lnTo>
                    <a:pt x="76" y="12"/>
                  </a:lnTo>
                  <a:lnTo>
                    <a:pt x="76" y="15"/>
                  </a:lnTo>
                  <a:lnTo>
                    <a:pt x="76" y="15"/>
                  </a:lnTo>
                  <a:lnTo>
                    <a:pt x="71" y="12"/>
                  </a:lnTo>
                  <a:lnTo>
                    <a:pt x="68" y="12"/>
                  </a:lnTo>
                  <a:lnTo>
                    <a:pt x="66" y="15"/>
                  </a:lnTo>
                  <a:lnTo>
                    <a:pt x="66" y="15"/>
                  </a:lnTo>
                  <a:lnTo>
                    <a:pt x="66" y="20"/>
                  </a:lnTo>
                  <a:lnTo>
                    <a:pt x="66" y="22"/>
                  </a:lnTo>
                  <a:lnTo>
                    <a:pt x="63" y="28"/>
                  </a:lnTo>
                  <a:lnTo>
                    <a:pt x="63" y="30"/>
                  </a:lnTo>
                  <a:lnTo>
                    <a:pt x="63" y="33"/>
                  </a:lnTo>
                  <a:lnTo>
                    <a:pt x="63" y="33"/>
                  </a:lnTo>
                  <a:lnTo>
                    <a:pt x="61" y="38"/>
                  </a:lnTo>
                  <a:lnTo>
                    <a:pt x="61" y="40"/>
                  </a:lnTo>
                  <a:lnTo>
                    <a:pt x="61" y="45"/>
                  </a:lnTo>
                  <a:lnTo>
                    <a:pt x="61" y="48"/>
                  </a:lnTo>
                  <a:lnTo>
                    <a:pt x="58" y="48"/>
                  </a:lnTo>
                  <a:lnTo>
                    <a:pt x="58" y="48"/>
                  </a:lnTo>
                  <a:lnTo>
                    <a:pt x="56" y="50"/>
                  </a:lnTo>
                  <a:lnTo>
                    <a:pt x="53" y="50"/>
                  </a:lnTo>
                  <a:lnTo>
                    <a:pt x="51" y="50"/>
                  </a:lnTo>
                  <a:lnTo>
                    <a:pt x="51" y="50"/>
                  </a:lnTo>
                  <a:lnTo>
                    <a:pt x="48" y="53"/>
                  </a:lnTo>
                  <a:lnTo>
                    <a:pt x="45" y="58"/>
                  </a:lnTo>
                  <a:lnTo>
                    <a:pt x="45" y="63"/>
                  </a:lnTo>
                  <a:lnTo>
                    <a:pt x="43" y="66"/>
                  </a:lnTo>
                  <a:lnTo>
                    <a:pt x="40" y="71"/>
                  </a:lnTo>
                  <a:lnTo>
                    <a:pt x="40" y="71"/>
                  </a:lnTo>
                  <a:lnTo>
                    <a:pt x="38" y="73"/>
                  </a:lnTo>
                  <a:lnTo>
                    <a:pt x="38" y="78"/>
                  </a:lnTo>
                  <a:lnTo>
                    <a:pt x="38" y="81"/>
                  </a:lnTo>
                  <a:lnTo>
                    <a:pt x="38" y="84"/>
                  </a:lnTo>
                  <a:lnTo>
                    <a:pt x="35" y="89"/>
                  </a:lnTo>
                  <a:lnTo>
                    <a:pt x="38" y="91"/>
                  </a:lnTo>
                  <a:lnTo>
                    <a:pt x="35" y="94"/>
                  </a:lnTo>
                  <a:lnTo>
                    <a:pt x="35" y="94"/>
                  </a:lnTo>
                  <a:lnTo>
                    <a:pt x="33" y="94"/>
                  </a:lnTo>
                  <a:lnTo>
                    <a:pt x="33" y="94"/>
                  </a:lnTo>
                  <a:lnTo>
                    <a:pt x="30" y="91"/>
                  </a:lnTo>
                  <a:lnTo>
                    <a:pt x="30" y="91"/>
                  </a:lnTo>
                  <a:lnTo>
                    <a:pt x="28" y="91"/>
                  </a:lnTo>
                  <a:lnTo>
                    <a:pt x="28" y="94"/>
                  </a:lnTo>
                  <a:lnTo>
                    <a:pt x="25" y="96"/>
                  </a:lnTo>
                  <a:lnTo>
                    <a:pt x="22" y="99"/>
                  </a:lnTo>
                  <a:lnTo>
                    <a:pt x="25" y="106"/>
                  </a:lnTo>
                  <a:lnTo>
                    <a:pt x="25" y="106"/>
                  </a:lnTo>
                  <a:lnTo>
                    <a:pt x="25" y="109"/>
                  </a:lnTo>
                  <a:lnTo>
                    <a:pt x="22" y="112"/>
                  </a:lnTo>
                  <a:lnTo>
                    <a:pt x="22" y="114"/>
                  </a:lnTo>
                  <a:lnTo>
                    <a:pt x="20" y="117"/>
                  </a:lnTo>
                  <a:lnTo>
                    <a:pt x="20" y="122"/>
                  </a:lnTo>
                  <a:lnTo>
                    <a:pt x="20" y="124"/>
                  </a:lnTo>
                  <a:lnTo>
                    <a:pt x="20" y="124"/>
                  </a:lnTo>
                  <a:lnTo>
                    <a:pt x="20" y="129"/>
                  </a:lnTo>
                  <a:lnTo>
                    <a:pt x="20" y="132"/>
                  </a:lnTo>
                  <a:lnTo>
                    <a:pt x="20" y="140"/>
                  </a:lnTo>
                  <a:lnTo>
                    <a:pt x="20" y="142"/>
                  </a:lnTo>
                  <a:lnTo>
                    <a:pt x="20" y="142"/>
                  </a:lnTo>
                  <a:lnTo>
                    <a:pt x="20" y="145"/>
                  </a:lnTo>
                  <a:lnTo>
                    <a:pt x="20" y="145"/>
                  </a:lnTo>
                  <a:lnTo>
                    <a:pt x="17" y="147"/>
                  </a:lnTo>
                  <a:lnTo>
                    <a:pt x="15" y="147"/>
                  </a:lnTo>
                  <a:lnTo>
                    <a:pt x="12" y="147"/>
                  </a:lnTo>
                  <a:lnTo>
                    <a:pt x="10" y="147"/>
                  </a:lnTo>
                  <a:lnTo>
                    <a:pt x="7" y="147"/>
                  </a:lnTo>
                  <a:lnTo>
                    <a:pt x="5" y="147"/>
                  </a:lnTo>
                  <a:lnTo>
                    <a:pt x="5" y="147"/>
                  </a:lnTo>
                  <a:lnTo>
                    <a:pt x="2" y="150"/>
                  </a:lnTo>
                  <a:lnTo>
                    <a:pt x="0" y="155"/>
                  </a:lnTo>
                  <a:lnTo>
                    <a:pt x="0" y="157"/>
                  </a:lnTo>
                  <a:lnTo>
                    <a:pt x="0" y="160"/>
                  </a:lnTo>
                  <a:lnTo>
                    <a:pt x="0" y="160"/>
                  </a:lnTo>
                  <a:lnTo>
                    <a:pt x="0" y="160"/>
                  </a:lnTo>
                  <a:lnTo>
                    <a:pt x="5" y="162"/>
                  </a:lnTo>
                  <a:lnTo>
                    <a:pt x="7" y="162"/>
                  </a:lnTo>
                  <a:lnTo>
                    <a:pt x="10" y="162"/>
                  </a:lnTo>
                  <a:lnTo>
                    <a:pt x="12" y="162"/>
                  </a:lnTo>
                  <a:lnTo>
                    <a:pt x="12" y="165"/>
                  </a:lnTo>
                  <a:lnTo>
                    <a:pt x="17" y="168"/>
                  </a:lnTo>
                  <a:lnTo>
                    <a:pt x="17" y="170"/>
                  </a:lnTo>
                  <a:lnTo>
                    <a:pt x="20" y="170"/>
                  </a:lnTo>
                  <a:lnTo>
                    <a:pt x="20" y="173"/>
                  </a:lnTo>
                  <a:lnTo>
                    <a:pt x="20" y="175"/>
                  </a:lnTo>
                  <a:lnTo>
                    <a:pt x="22" y="178"/>
                  </a:lnTo>
                  <a:lnTo>
                    <a:pt x="25" y="180"/>
                  </a:lnTo>
                  <a:lnTo>
                    <a:pt x="30" y="180"/>
                  </a:lnTo>
                  <a:lnTo>
                    <a:pt x="30" y="183"/>
                  </a:lnTo>
                  <a:lnTo>
                    <a:pt x="33" y="185"/>
                  </a:lnTo>
                  <a:lnTo>
                    <a:pt x="33" y="188"/>
                  </a:lnTo>
                  <a:lnTo>
                    <a:pt x="35" y="188"/>
                  </a:lnTo>
                  <a:lnTo>
                    <a:pt x="35" y="196"/>
                  </a:lnTo>
                  <a:lnTo>
                    <a:pt x="38" y="198"/>
                  </a:lnTo>
                  <a:lnTo>
                    <a:pt x="38" y="201"/>
                  </a:lnTo>
                  <a:lnTo>
                    <a:pt x="40" y="206"/>
                  </a:lnTo>
                  <a:lnTo>
                    <a:pt x="40" y="206"/>
                  </a:lnTo>
                  <a:lnTo>
                    <a:pt x="40" y="208"/>
                  </a:lnTo>
                  <a:lnTo>
                    <a:pt x="43" y="211"/>
                  </a:lnTo>
                  <a:lnTo>
                    <a:pt x="45" y="213"/>
                  </a:lnTo>
                  <a:lnTo>
                    <a:pt x="45" y="213"/>
                  </a:lnTo>
                  <a:lnTo>
                    <a:pt x="45" y="213"/>
                  </a:lnTo>
                  <a:lnTo>
                    <a:pt x="45" y="216"/>
                  </a:lnTo>
                  <a:lnTo>
                    <a:pt x="45" y="216"/>
                  </a:lnTo>
                  <a:lnTo>
                    <a:pt x="45" y="216"/>
                  </a:lnTo>
                  <a:lnTo>
                    <a:pt x="48" y="216"/>
                  </a:lnTo>
                  <a:lnTo>
                    <a:pt x="48" y="216"/>
                  </a:lnTo>
                  <a:lnTo>
                    <a:pt x="48" y="216"/>
                  </a:lnTo>
                  <a:lnTo>
                    <a:pt x="56" y="216"/>
                  </a:lnTo>
                  <a:lnTo>
                    <a:pt x="56" y="218"/>
                  </a:lnTo>
                  <a:lnTo>
                    <a:pt x="56" y="221"/>
                  </a:lnTo>
                  <a:lnTo>
                    <a:pt x="56" y="221"/>
                  </a:lnTo>
                  <a:lnTo>
                    <a:pt x="56" y="221"/>
                  </a:lnTo>
                  <a:lnTo>
                    <a:pt x="56" y="226"/>
                  </a:lnTo>
                  <a:lnTo>
                    <a:pt x="56" y="229"/>
                  </a:lnTo>
                  <a:lnTo>
                    <a:pt x="56" y="231"/>
                  </a:lnTo>
                  <a:lnTo>
                    <a:pt x="58" y="234"/>
                  </a:lnTo>
                  <a:lnTo>
                    <a:pt x="61" y="236"/>
                  </a:lnTo>
                  <a:lnTo>
                    <a:pt x="61" y="236"/>
                  </a:lnTo>
                  <a:lnTo>
                    <a:pt x="61" y="236"/>
                  </a:lnTo>
                  <a:lnTo>
                    <a:pt x="66" y="236"/>
                  </a:lnTo>
                  <a:lnTo>
                    <a:pt x="71" y="236"/>
                  </a:lnTo>
                  <a:lnTo>
                    <a:pt x="76" y="236"/>
                  </a:lnTo>
                  <a:lnTo>
                    <a:pt x="76" y="239"/>
                  </a:lnTo>
                  <a:lnTo>
                    <a:pt x="79" y="239"/>
                  </a:lnTo>
                  <a:lnTo>
                    <a:pt x="84" y="241"/>
                  </a:lnTo>
                  <a:lnTo>
                    <a:pt x="89" y="244"/>
                  </a:lnTo>
                  <a:lnTo>
                    <a:pt x="91" y="246"/>
                  </a:lnTo>
                  <a:lnTo>
                    <a:pt x="96" y="251"/>
                  </a:lnTo>
                  <a:lnTo>
                    <a:pt x="99" y="254"/>
                  </a:lnTo>
                  <a:lnTo>
                    <a:pt x="101" y="254"/>
                  </a:lnTo>
                  <a:lnTo>
                    <a:pt x="104" y="257"/>
                  </a:lnTo>
                  <a:lnTo>
                    <a:pt x="109" y="257"/>
                  </a:lnTo>
                  <a:lnTo>
                    <a:pt x="112" y="257"/>
                  </a:lnTo>
                  <a:lnTo>
                    <a:pt x="114" y="257"/>
                  </a:lnTo>
                  <a:lnTo>
                    <a:pt x="119" y="259"/>
                  </a:lnTo>
                  <a:lnTo>
                    <a:pt x="122" y="259"/>
                  </a:lnTo>
                  <a:lnTo>
                    <a:pt x="124" y="259"/>
                  </a:lnTo>
                  <a:lnTo>
                    <a:pt x="130" y="259"/>
                  </a:lnTo>
                  <a:lnTo>
                    <a:pt x="132" y="259"/>
                  </a:lnTo>
                  <a:lnTo>
                    <a:pt x="135" y="257"/>
                  </a:lnTo>
                  <a:lnTo>
                    <a:pt x="137" y="254"/>
                  </a:lnTo>
                  <a:lnTo>
                    <a:pt x="137" y="251"/>
                  </a:lnTo>
                  <a:lnTo>
                    <a:pt x="140" y="249"/>
                  </a:lnTo>
                  <a:lnTo>
                    <a:pt x="147" y="246"/>
                  </a:lnTo>
                  <a:lnTo>
                    <a:pt x="150" y="244"/>
                  </a:lnTo>
                  <a:lnTo>
                    <a:pt x="155" y="241"/>
                  </a:lnTo>
                  <a:lnTo>
                    <a:pt x="158" y="244"/>
                  </a:lnTo>
                  <a:lnTo>
                    <a:pt x="160" y="246"/>
                  </a:lnTo>
                  <a:lnTo>
                    <a:pt x="163" y="246"/>
                  </a:lnTo>
                  <a:lnTo>
                    <a:pt x="163" y="249"/>
                  </a:lnTo>
                  <a:lnTo>
                    <a:pt x="165" y="249"/>
                  </a:lnTo>
                  <a:lnTo>
                    <a:pt x="168" y="249"/>
                  </a:lnTo>
                  <a:lnTo>
                    <a:pt x="168" y="249"/>
                  </a:lnTo>
                  <a:lnTo>
                    <a:pt x="170" y="249"/>
                  </a:lnTo>
                  <a:lnTo>
                    <a:pt x="175" y="249"/>
                  </a:lnTo>
                  <a:lnTo>
                    <a:pt x="178" y="249"/>
                  </a:lnTo>
                  <a:lnTo>
                    <a:pt x="178" y="246"/>
                  </a:lnTo>
                  <a:lnTo>
                    <a:pt x="180" y="244"/>
                  </a:lnTo>
                  <a:lnTo>
                    <a:pt x="186" y="244"/>
                  </a:lnTo>
                  <a:lnTo>
                    <a:pt x="188" y="241"/>
                  </a:lnTo>
                  <a:lnTo>
                    <a:pt x="196" y="241"/>
                  </a:lnTo>
                  <a:lnTo>
                    <a:pt x="198" y="239"/>
                  </a:lnTo>
                  <a:lnTo>
                    <a:pt x="198" y="239"/>
                  </a:lnTo>
                  <a:lnTo>
                    <a:pt x="198" y="236"/>
                  </a:lnTo>
                  <a:lnTo>
                    <a:pt x="201" y="234"/>
                  </a:lnTo>
                  <a:lnTo>
                    <a:pt x="203" y="234"/>
                  </a:lnTo>
                  <a:lnTo>
                    <a:pt x="206" y="231"/>
                  </a:lnTo>
                  <a:lnTo>
                    <a:pt x="211" y="229"/>
                  </a:lnTo>
                  <a:lnTo>
                    <a:pt x="211" y="229"/>
                  </a:lnTo>
                  <a:lnTo>
                    <a:pt x="216" y="226"/>
                  </a:lnTo>
                  <a:lnTo>
                    <a:pt x="219" y="226"/>
                  </a:lnTo>
                  <a:lnTo>
                    <a:pt x="221" y="226"/>
                  </a:lnTo>
                  <a:lnTo>
                    <a:pt x="221" y="226"/>
                  </a:lnTo>
                  <a:lnTo>
                    <a:pt x="229" y="226"/>
                  </a:lnTo>
                  <a:lnTo>
                    <a:pt x="234" y="226"/>
                  </a:lnTo>
                  <a:lnTo>
                    <a:pt x="239" y="226"/>
                  </a:lnTo>
                  <a:lnTo>
                    <a:pt x="239" y="226"/>
                  </a:lnTo>
                  <a:lnTo>
                    <a:pt x="244" y="221"/>
                  </a:lnTo>
                  <a:lnTo>
                    <a:pt x="249" y="213"/>
                  </a:lnTo>
                  <a:lnTo>
                    <a:pt x="252" y="208"/>
                  </a:lnTo>
                  <a:lnTo>
                    <a:pt x="260" y="201"/>
                  </a:lnTo>
                  <a:lnTo>
                    <a:pt x="265" y="196"/>
                  </a:lnTo>
                  <a:lnTo>
                    <a:pt x="270" y="190"/>
                  </a:lnTo>
                  <a:lnTo>
                    <a:pt x="272" y="185"/>
                  </a:lnTo>
                  <a:lnTo>
                    <a:pt x="280" y="178"/>
                  </a:lnTo>
                  <a:lnTo>
                    <a:pt x="282" y="175"/>
                  </a:lnTo>
                  <a:lnTo>
                    <a:pt x="288" y="168"/>
                  </a:lnTo>
                  <a:lnTo>
                    <a:pt x="295" y="162"/>
                  </a:lnTo>
                  <a:lnTo>
                    <a:pt x="300" y="157"/>
                  </a:lnTo>
                  <a:lnTo>
                    <a:pt x="280" y="157"/>
                  </a:lnTo>
                  <a:close/>
                </a:path>
              </a:pathLst>
            </a:custGeom>
            <a:solidFill>
              <a:srgbClr val="FFC000"/>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322" name="Freeform 1941">
              <a:extLst>
                <a:ext uri="{FF2B5EF4-FFF2-40B4-BE49-F238E27FC236}">
                  <a16:creationId xmlns:a16="http://schemas.microsoft.com/office/drawing/2014/main" id="{8DD24AC8-6FBC-C147-BCEB-E273D06FE42C}"/>
                </a:ext>
              </a:extLst>
            </p:cNvPr>
            <p:cNvSpPr>
              <a:spLocks noEditPoints="1"/>
            </p:cNvSpPr>
            <p:nvPr/>
          </p:nvSpPr>
          <p:spPr bwMode="auto">
            <a:xfrm>
              <a:off x="6259622" y="1612514"/>
              <a:ext cx="161938" cy="73609"/>
            </a:xfrm>
            <a:custGeom>
              <a:avLst/>
              <a:gdLst>
                <a:gd name="T0" fmla="*/ 12 w 99"/>
                <a:gd name="T1" fmla="*/ 22 h 45"/>
                <a:gd name="T2" fmla="*/ 7 w 99"/>
                <a:gd name="T3" fmla="*/ 22 h 45"/>
                <a:gd name="T4" fmla="*/ 5 w 99"/>
                <a:gd name="T5" fmla="*/ 25 h 45"/>
                <a:gd name="T6" fmla="*/ 2 w 99"/>
                <a:gd name="T7" fmla="*/ 25 h 45"/>
                <a:gd name="T8" fmla="*/ 0 w 99"/>
                <a:gd name="T9" fmla="*/ 28 h 45"/>
                <a:gd name="T10" fmla="*/ 5 w 99"/>
                <a:gd name="T11" fmla="*/ 30 h 45"/>
                <a:gd name="T12" fmla="*/ 2 w 99"/>
                <a:gd name="T13" fmla="*/ 35 h 45"/>
                <a:gd name="T14" fmla="*/ 7 w 99"/>
                <a:gd name="T15" fmla="*/ 30 h 45"/>
                <a:gd name="T16" fmla="*/ 15 w 99"/>
                <a:gd name="T17" fmla="*/ 28 h 45"/>
                <a:gd name="T18" fmla="*/ 20 w 99"/>
                <a:gd name="T19" fmla="*/ 25 h 45"/>
                <a:gd name="T20" fmla="*/ 17 w 99"/>
                <a:gd name="T21" fmla="*/ 22 h 45"/>
                <a:gd name="T22" fmla="*/ 22 w 99"/>
                <a:gd name="T23" fmla="*/ 22 h 45"/>
                <a:gd name="T24" fmla="*/ 20 w 99"/>
                <a:gd name="T25" fmla="*/ 20 h 45"/>
                <a:gd name="T26" fmla="*/ 10 w 99"/>
                <a:gd name="T27" fmla="*/ 20 h 45"/>
                <a:gd name="T28" fmla="*/ 15 w 99"/>
                <a:gd name="T29" fmla="*/ 17 h 45"/>
                <a:gd name="T30" fmla="*/ 17 w 99"/>
                <a:gd name="T31" fmla="*/ 15 h 45"/>
                <a:gd name="T32" fmla="*/ 12 w 99"/>
                <a:gd name="T33" fmla="*/ 12 h 45"/>
                <a:gd name="T34" fmla="*/ 10 w 99"/>
                <a:gd name="T35" fmla="*/ 15 h 45"/>
                <a:gd name="T36" fmla="*/ 99 w 99"/>
                <a:gd name="T37" fmla="*/ 5 h 45"/>
                <a:gd name="T38" fmla="*/ 96 w 99"/>
                <a:gd name="T39" fmla="*/ 5 h 45"/>
                <a:gd name="T40" fmla="*/ 76 w 99"/>
                <a:gd name="T41" fmla="*/ 2 h 45"/>
                <a:gd name="T42" fmla="*/ 56 w 99"/>
                <a:gd name="T43" fmla="*/ 0 h 45"/>
                <a:gd name="T44" fmla="*/ 48 w 99"/>
                <a:gd name="T45" fmla="*/ 2 h 45"/>
                <a:gd name="T46" fmla="*/ 33 w 99"/>
                <a:gd name="T47" fmla="*/ 5 h 45"/>
                <a:gd name="T48" fmla="*/ 25 w 99"/>
                <a:gd name="T49" fmla="*/ 10 h 45"/>
                <a:gd name="T50" fmla="*/ 25 w 99"/>
                <a:gd name="T51" fmla="*/ 12 h 45"/>
                <a:gd name="T52" fmla="*/ 25 w 99"/>
                <a:gd name="T53" fmla="*/ 17 h 45"/>
                <a:gd name="T54" fmla="*/ 28 w 99"/>
                <a:gd name="T55" fmla="*/ 20 h 45"/>
                <a:gd name="T56" fmla="*/ 30 w 99"/>
                <a:gd name="T57" fmla="*/ 25 h 45"/>
                <a:gd name="T58" fmla="*/ 38 w 99"/>
                <a:gd name="T59" fmla="*/ 28 h 45"/>
                <a:gd name="T60" fmla="*/ 43 w 99"/>
                <a:gd name="T61" fmla="*/ 28 h 45"/>
                <a:gd name="T62" fmla="*/ 43 w 99"/>
                <a:gd name="T63" fmla="*/ 33 h 45"/>
                <a:gd name="T64" fmla="*/ 43 w 99"/>
                <a:gd name="T65" fmla="*/ 35 h 45"/>
                <a:gd name="T66" fmla="*/ 53 w 99"/>
                <a:gd name="T67" fmla="*/ 33 h 45"/>
                <a:gd name="T68" fmla="*/ 56 w 99"/>
                <a:gd name="T69" fmla="*/ 33 h 45"/>
                <a:gd name="T70" fmla="*/ 61 w 99"/>
                <a:gd name="T71" fmla="*/ 35 h 45"/>
                <a:gd name="T72" fmla="*/ 68 w 99"/>
                <a:gd name="T73" fmla="*/ 38 h 45"/>
                <a:gd name="T74" fmla="*/ 73 w 99"/>
                <a:gd name="T75" fmla="*/ 43 h 45"/>
                <a:gd name="T76" fmla="*/ 84 w 99"/>
                <a:gd name="T77" fmla="*/ 43 h 45"/>
                <a:gd name="T78" fmla="*/ 91 w 99"/>
                <a:gd name="T79" fmla="*/ 45 h 45"/>
                <a:gd name="T80" fmla="*/ 91 w 99"/>
                <a:gd name="T81" fmla="*/ 40 h 45"/>
                <a:gd name="T82" fmla="*/ 96 w 99"/>
                <a:gd name="T83" fmla="*/ 38 h 45"/>
                <a:gd name="T84" fmla="*/ 96 w 99"/>
                <a:gd name="T85" fmla="*/ 35 h 45"/>
                <a:gd name="T86" fmla="*/ 91 w 99"/>
                <a:gd name="T87" fmla="*/ 30 h 45"/>
                <a:gd name="T88" fmla="*/ 91 w 99"/>
                <a:gd name="T89" fmla="*/ 25 h 45"/>
                <a:gd name="T90" fmla="*/ 91 w 99"/>
                <a:gd name="T91" fmla="*/ 15 h 45"/>
                <a:gd name="T92" fmla="*/ 96 w 99"/>
                <a:gd name="T93" fmla="*/ 7 h 45"/>
                <a:gd name="T94" fmla="*/ 99 w 99"/>
                <a:gd name="T95" fmla="*/ 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9" h="45">
                  <a:moveTo>
                    <a:pt x="17" y="22"/>
                  </a:moveTo>
                  <a:lnTo>
                    <a:pt x="15" y="20"/>
                  </a:lnTo>
                  <a:lnTo>
                    <a:pt x="15" y="22"/>
                  </a:lnTo>
                  <a:lnTo>
                    <a:pt x="12" y="22"/>
                  </a:lnTo>
                  <a:lnTo>
                    <a:pt x="12" y="20"/>
                  </a:lnTo>
                  <a:lnTo>
                    <a:pt x="10" y="20"/>
                  </a:lnTo>
                  <a:lnTo>
                    <a:pt x="10" y="22"/>
                  </a:lnTo>
                  <a:lnTo>
                    <a:pt x="7" y="22"/>
                  </a:lnTo>
                  <a:lnTo>
                    <a:pt x="7" y="22"/>
                  </a:lnTo>
                  <a:lnTo>
                    <a:pt x="5" y="22"/>
                  </a:lnTo>
                  <a:lnTo>
                    <a:pt x="5" y="22"/>
                  </a:lnTo>
                  <a:lnTo>
                    <a:pt x="5" y="25"/>
                  </a:lnTo>
                  <a:lnTo>
                    <a:pt x="2" y="22"/>
                  </a:lnTo>
                  <a:lnTo>
                    <a:pt x="2" y="22"/>
                  </a:lnTo>
                  <a:lnTo>
                    <a:pt x="0" y="22"/>
                  </a:lnTo>
                  <a:lnTo>
                    <a:pt x="2" y="25"/>
                  </a:lnTo>
                  <a:lnTo>
                    <a:pt x="2" y="28"/>
                  </a:lnTo>
                  <a:lnTo>
                    <a:pt x="2" y="28"/>
                  </a:lnTo>
                  <a:lnTo>
                    <a:pt x="0" y="28"/>
                  </a:lnTo>
                  <a:lnTo>
                    <a:pt x="0" y="28"/>
                  </a:lnTo>
                  <a:lnTo>
                    <a:pt x="0" y="28"/>
                  </a:lnTo>
                  <a:lnTo>
                    <a:pt x="2" y="30"/>
                  </a:lnTo>
                  <a:lnTo>
                    <a:pt x="5" y="30"/>
                  </a:lnTo>
                  <a:lnTo>
                    <a:pt x="5" y="30"/>
                  </a:lnTo>
                  <a:lnTo>
                    <a:pt x="5" y="33"/>
                  </a:lnTo>
                  <a:lnTo>
                    <a:pt x="2" y="35"/>
                  </a:lnTo>
                  <a:lnTo>
                    <a:pt x="2" y="35"/>
                  </a:lnTo>
                  <a:lnTo>
                    <a:pt x="2" y="35"/>
                  </a:lnTo>
                  <a:lnTo>
                    <a:pt x="5" y="35"/>
                  </a:lnTo>
                  <a:lnTo>
                    <a:pt x="5" y="35"/>
                  </a:lnTo>
                  <a:lnTo>
                    <a:pt x="7" y="33"/>
                  </a:lnTo>
                  <a:lnTo>
                    <a:pt x="7" y="30"/>
                  </a:lnTo>
                  <a:lnTo>
                    <a:pt x="10" y="30"/>
                  </a:lnTo>
                  <a:lnTo>
                    <a:pt x="10" y="30"/>
                  </a:lnTo>
                  <a:lnTo>
                    <a:pt x="15" y="30"/>
                  </a:lnTo>
                  <a:lnTo>
                    <a:pt x="15" y="28"/>
                  </a:lnTo>
                  <a:lnTo>
                    <a:pt x="17" y="28"/>
                  </a:lnTo>
                  <a:lnTo>
                    <a:pt x="17" y="28"/>
                  </a:lnTo>
                  <a:lnTo>
                    <a:pt x="20" y="25"/>
                  </a:lnTo>
                  <a:lnTo>
                    <a:pt x="20" y="25"/>
                  </a:lnTo>
                  <a:lnTo>
                    <a:pt x="20" y="25"/>
                  </a:lnTo>
                  <a:lnTo>
                    <a:pt x="22" y="25"/>
                  </a:lnTo>
                  <a:lnTo>
                    <a:pt x="22" y="25"/>
                  </a:lnTo>
                  <a:lnTo>
                    <a:pt x="17" y="22"/>
                  </a:lnTo>
                  <a:close/>
                  <a:moveTo>
                    <a:pt x="20" y="20"/>
                  </a:moveTo>
                  <a:lnTo>
                    <a:pt x="20" y="20"/>
                  </a:lnTo>
                  <a:lnTo>
                    <a:pt x="20" y="22"/>
                  </a:lnTo>
                  <a:lnTo>
                    <a:pt x="22" y="22"/>
                  </a:lnTo>
                  <a:lnTo>
                    <a:pt x="25" y="22"/>
                  </a:lnTo>
                  <a:lnTo>
                    <a:pt x="25" y="22"/>
                  </a:lnTo>
                  <a:lnTo>
                    <a:pt x="22" y="20"/>
                  </a:lnTo>
                  <a:lnTo>
                    <a:pt x="20" y="20"/>
                  </a:lnTo>
                  <a:close/>
                  <a:moveTo>
                    <a:pt x="7" y="15"/>
                  </a:moveTo>
                  <a:lnTo>
                    <a:pt x="7" y="15"/>
                  </a:lnTo>
                  <a:lnTo>
                    <a:pt x="10" y="17"/>
                  </a:lnTo>
                  <a:lnTo>
                    <a:pt x="10" y="20"/>
                  </a:lnTo>
                  <a:lnTo>
                    <a:pt x="10" y="20"/>
                  </a:lnTo>
                  <a:lnTo>
                    <a:pt x="12" y="20"/>
                  </a:lnTo>
                  <a:lnTo>
                    <a:pt x="15" y="17"/>
                  </a:lnTo>
                  <a:lnTo>
                    <a:pt x="15" y="17"/>
                  </a:lnTo>
                  <a:lnTo>
                    <a:pt x="15" y="17"/>
                  </a:lnTo>
                  <a:lnTo>
                    <a:pt x="17" y="17"/>
                  </a:lnTo>
                  <a:lnTo>
                    <a:pt x="17" y="17"/>
                  </a:lnTo>
                  <a:lnTo>
                    <a:pt x="17" y="15"/>
                  </a:lnTo>
                  <a:lnTo>
                    <a:pt x="15" y="12"/>
                  </a:lnTo>
                  <a:lnTo>
                    <a:pt x="12" y="12"/>
                  </a:lnTo>
                  <a:lnTo>
                    <a:pt x="12" y="12"/>
                  </a:lnTo>
                  <a:lnTo>
                    <a:pt x="12" y="12"/>
                  </a:lnTo>
                  <a:lnTo>
                    <a:pt x="12" y="12"/>
                  </a:lnTo>
                  <a:lnTo>
                    <a:pt x="10" y="12"/>
                  </a:lnTo>
                  <a:lnTo>
                    <a:pt x="10" y="12"/>
                  </a:lnTo>
                  <a:lnTo>
                    <a:pt x="10" y="15"/>
                  </a:lnTo>
                  <a:lnTo>
                    <a:pt x="2" y="15"/>
                  </a:lnTo>
                  <a:lnTo>
                    <a:pt x="5" y="15"/>
                  </a:lnTo>
                  <a:lnTo>
                    <a:pt x="7" y="15"/>
                  </a:lnTo>
                  <a:close/>
                  <a:moveTo>
                    <a:pt x="99" y="5"/>
                  </a:moveTo>
                  <a:lnTo>
                    <a:pt x="99" y="5"/>
                  </a:lnTo>
                  <a:lnTo>
                    <a:pt x="96" y="2"/>
                  </a:lnTo>
                  <a:lnTo>
                    <a:pt x="96" y="2"/>
                  </a:lnTo>
                  <a:lnTo>
                    <a:pt x="96" y="5"/>
                  </a:lnTo>
                  <a:lnTo>
                    <a:pt x="86" y="5"/>
                  </a:lnTo>
                  <a:lnTo>
                    <a:pt x="81" y="5"/>
                  </a:lnTo>
                  <a:lnTo>
                    <a:pt x="79" y="2"/>
                  </a:lnTo>
                  <a:lnTo>
                    <a:pt x="76" y="2"/>
                  </a:lnTo>
                  <a:lnTo>
                    <a:pt x="73" y="2"/>
                  </a:lnTo>
                  <a:lnTo>
                    <a:pt x="61" y="0"/>
                  </a:lnTo>
                  <a:lnTo>
                    <a:pt x="58" y="0"/>
                  </a:lnTo>
                  <a:lnTo>
                    <a:pt x="56" y="0"/>
                  </a:lnTo>
                  <a:lnTo>
                    <a:pt x="56" y="0"/>
                  </a:lnTo>
                  <a:lnTo>
                    <a:pt x="58" y="2"/>
                  </a:lnTo>
                  <a:lnTo>
                    <a:pt x="56" y="2"/>
                  </a:lnTo>
                  <a:lnTo>
                    <a:pt x="48" y="2"/>
                  </a:lnTo>
                  <a:lnTo>
                    <a:pt x="43" y="5"/>
                  </a:lnTo>
                  <a:lnTo>
                    <a:pt x="38" y="2"/>
                  </a:lnTo>
                  <a:lnTo>
                    <a:pt x="35" y="5"/>
                  </a:lnTo>
                  <a:lnTo>
                    <a:pt x="33" y="5"/>
                  </a:lnTo>
                  <a:lnTo>
                    <a:pt x="35" y="7"/>
                  </a:lnTo>
                  <a:lnTo>
                    <a:pt x="30" y="7"/>
                  </a:lnTo>
                  <a:lnTo>
                    <a:pt x="28" y="7"/>
                  </a:lnTo>
                  <a:lnTo>
                    <a:pt x="25" y="10"/>
                  </a:lnTo>
                  <a:lnTo>
                    <a:pt x="25" y="10"/>
                  </a:lnTo>
                  <a:lnTo>
                    <a:pt x="25" y="12"/>
                  </a:lnTo>
                  <a:lnTo>
                    <a:pt x="25" y="12"/>
                  </a:lnTo>
                  <a:lnTo>
                    <a:pt x="25" y="12"/>
                  </a:lnTo>
                  <a:lnTo>
                    <a:pt x="25" y="15"/>
                  </a:lnTo>
                  <a:lnTo>
                    <a:pt x="25" y="15"/>
                  </a:lnTo>
                  <a:lnTo>
                    <a:pt x="25" y="17"/>
                  </a:lnTo>
                  <a:lnTo>
                    <a:pt x="25" y="17"/>
                  </a:lnTo>
                  <a:lnTo>
                    <a:pt x="28" y="17"/>
                  </a:lnTo>
                  <a:lnTo>
                    <a:pt x="30" y="17"/>
                  </a:lnTo>
                  <a:lnTo>
                    <a:pt x="28" y="17"/>
                  </a:lnTo>
                  <a:lnTo>
                    <a:pt x="28" y="20"/>
                  </a:lnTo>
                  <a:lnTo>
                    <a:pt x="28" y="20"/>
                  </a:lnTo>
                  <a:lnTo>
                    <a:pt x="28" y="22"/>
                  </a:lnTo>
                  <a:lnTo>
                    <a:pt x="30" y="22"/>
                  </a:lnTo>
                  <a:lnTo>
                    <a:pt x="30" y="25"/>
                  </a:lnTo>
                  <a:lnTo>
                    <a:pt x="30" y="28"/>
                  </a:lnTo>
                  <a:lnTo>
                    <a:pt x="35" y="28"/>
                  </a:lnTo>
                  <a:lnTo>
                    <a:pt x="38" y="28"/>
                  </a:lnTo>
                  <a:lnTo>
                    <a:pt x="38" y="28"/>
                  </a:lnTo>
                  <a:lnTo>
                    <a:pt x="40" y="28"/>
                  </a:lnTo>
                  <a:lnTo>
                    <a:pt x="40" y="25"/>
                  </a:lnTo>
                  <a:lnTo>
                    <a:pt x="40" y="25"/>
                  </a:lnTo>
                  <a:lnTo>
                    <a:pt x="43" y="28"/>
                  </a:lnTo>
                  <a:lnTo>
                    <a:pt x="43" y="28"/>
                  </a:lnTo>
                  <a:lnTo>
                    <a:pt x="43" y="28"/>
                  </a:lnTo>
                  <a:lnTo>
                    <a:pt x="43" y="28"/>
                  </a:lnTo>
                  <a:lnTo>
                    <a:pt x="43" y="33"/>
                  </a:lnTo>
                  <a:lnTo>
                    <a:pt x="40" y="35"/>
                  </a:lnTo>
                  <a:lnTo>
                    <a:pt x="40" y="38"/>
                  </a:lnTo>
                  <a:lnTo>
                    <a:pt x="43" y="38"/>
                  </a:lnTo>
                  <a:lnTo>
                    <a:pt x="43" y="35"/>
                  </a:lnTo>
                  <a:lnTo>
                    <a:pt x="48" y="35"/>
                  </a:lnTo>
                  <a:lnTo>
                    <a:pt x="50" y="35"/>
                  </a:lnTo>
                  <a:lnTo>
                    <a:pt x="50" y="35"/>
                  </a:lnTo>
                  <a:lnTo>
                    <a:pt x="53" y="33"/>
                  </a:lnTo>
                  <a:lnTo>
                    <a:pt x="56" y="33"/>
                  </a:lnTo>
                  <a:lnTo>
                    <a:pt x="56" y="35"/>
                  </a:lnTo>
                  <a:lnTo>
                    <a:pt x="56" y="35"/>
                  </a:lnTo>
                  <a:lnTo>
                    <a:pt x="56" y="33"/>
                  </a:lnTo>
                  <a:lnTo>
                    <a:pt x="56" y="33"/>
                  </a:lnTo>
                  <a:lnTo>
                    <a:pt x="56" y="33"/>
                  </a:lnTo>
                  <a:lnTo>
                    <a:pt x="58" y="33"/>
                  </a:lnTo>
                  <a:lnTo>
                    <a:pt x="61" y="35"/>
                  </a:lnTo>
                  <a:lnTo>
                    <a:pt x="63" y="35"/>
                  </a:lnTo>
                  <a:lnTo>
                    <a:pt x="63" y="35"/>
                  </a:lnTo>
                  <a:lnTo>
                    <a:pt x="66" y="38"/>
                  </a:lnTo>
                  <a:lnTo>
                    <a:pt x="68" y="38"/>
                  </a:lnTo>
                  <a:lnTo>
                    <a:pt x="68" y="38"/>
                  </a:lnTo>
                  <a:lnTo>
                    <a:pt x="68" y="38"/>
                  </a:lnTo>
                  <a:lnTo>
                    <a:pt x="73" y="40"/>
                  </a:lnTo>
                  <a:lnTo>
                    <a:pt x="73" y="43"/>
                  </a:lnTo>
                  <a:lnTo>
                    <a:pt x="76" y="43"/>
                  </a:lnTo>
                  <a:lnTo>
                    <a:pt x="79" y="43"/>
                  </a:lnTo>
                  <a:lnTo>
                    <a:pt x="84" y="43"/>
                  </a:lnTo>
                  <a:lnTo>
                    <a:pt x="84" y="43"/>
                  </a:lnTo>
                  <a:lnTo>
                    <a:pt x="86" y="43"/>
                  </a:lnTo>
                  <a:lnTo>
                    <a:pt x="86" y="43"/>
                  </a:lnTo>
                  <a:lnTo>
                    <a:pt x="89" y="43"/>
                  </a:lnTo>
                  <a:lnTo>
                    <a:pt x="91" y="45"/>
                  </a:lnTo>
                  <a:lnTo>
                    <a:pt x="91" y="43"/>
                  </a:lnTo>
                  <a:lnTo>
                    <a:pt x="91" y="43"/>
                  </a:lnTo>
                  <a:lnTo>
                    <a:pt x="91" y="43"/>
                  </a:lnTo>
                  <a:lnTo>
                    <a:pt x="91" y="40"/>
                  </a:lnTo>
                  <a:lnTo>
                    <a:pt x="94" y="40"/>
                  </a:lnTo>
                  <a:lnTo>
                    <a:pt x="94" y="40"/>
                  </a:lnTo>
                  <a:lnTo>
                    <a:pt x="94" y="38"/>
                  </a:lnTo>
                  <a:lnTo>
                    <a:pt x="96" y="38"/>
                  </a:lnTo>
                  <a:lnTo>
                    <a:pt x="99" y="38"/>
                  </a:lnTo>
                  <a:lnTo>
                    <a:pt x="99" y="38"/>
                  </a:lnTo>
                  <a:lnTo>
                    <a:pt x="96" y="38"/>
                  </a:lnTo>
                  <a:lnTo>
                    <a:pt x="96" y="35"/>
                  </a:lnTo>
                  <a:lnTo>
                    <a:pt x="96" y="35"/>
                  </a:lnTo>
                  <a:lnTo>
                    <a:pt x="96" y="33"/>
                  </a:lnTo>
                  <a:lnTo>
                    <a:pt x="94" y="30"/>
                  </a:lnTo>
                  <a:lnTo>
                    <a:pt x="91" y="30"/>
                  </a:lnTo>
                  <a:lnTo>
                    <a:pt x="91" y="28"/>
                  </a:lnTo>
                  <a:lnTo>
                    <a:pt x="91" y="28"/>
                  </a:lnTo>
                  <a:lnTo>
                    <a:pt x="91" y="25"/>
                  </a:lnTo>
                  <a:lnTo>
                    <a:pt x="91" y="25"/>
                  </a:lnTo>
                  <a:lnTo>
                    <a:pt x="89" y="20"/>
                  </a:lnTo>
                  <a:lnTo>
                    <a:pt x="89" y="17"/>
                  </a:lnTo>
                  <a:lnTo>
                    <a:pt x="91" y="17"/>
                  </a:lnTo>
                  <a:lnTo>
                    <a:pt x="91" y="15"/>
                  </a:lnTo>
                  <a:lnTo>
                    <a:pt x="91" y="15"/>
                  </a:lnTo>
                  <a:lnTo>
                    <a:pt x="94" y="12"/>
                  </a:lnTo>
                  <a:lnTo>
                    <a:pt x="96" y="10"/>
                  </a:lnTo>
                  <a:lnTo>
                    <a:pt x="96" y="7"/>
                  </a:lnTo>
                  <a:lnTo>
                    <a:pt x="96" y="7"/>
                  </a:lnTo>
                  <a:lnTo>
                    <a:pt x="99" y="7"/>
                  </a:lnTo>
                  <a:lnTo>
                    <a:pt x="99" y="7"/>
                  </a:lnTo>
                  <a:lnTo>
                    <a:pt x="99" y="5"/>
                  </a:lnTo>
                  <a:lnTo>
                    <a:pt x="99" y="5"/>
                  </a:lnTo>
                  <a:lnTo>
                    <a:pt x="99" y="5"/>
                  </a:lnTo>
                  <a:lnTo>
                    <a:pt x="99" y="5"/>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323" name="Freeform 1942">
              <a:extLst>
                <a:ext uri="{FF2B5EF4-FFF2-40B4-BE49-F238E27FC236}">
                  <a16:creationId xmlns:a16="http://schemas.microsoft.com/office/drawing/2014/main" id="{AF5AC22F-1DD9-B14E-9148-CAF1A4E82AAC}"/>
                </a:ext>
              </a:extLst>
            </p:cNvPr>
            <p:cNvSpPr>
              <a:spLocks noEditPoints="1"/>
            </p:cNvSpPr>
            <p:nvPr/>
          </p:nvSpPr>
          <p:spPr bwMode="auto">
            <a:xfrm>
              <a:off x="6796144" y="3130478"/>
              <a:ext cx="220825" cy="212646"/>
            </a:xfrm>
            <a:custGeom>
              <a:avLst/>
              <a:gdLst>
                <a:gd name="T0" fmla="*/ 72 w 135"/>
                <a:gd name="T1" fmla="*/ 54 h 130"/>
                <a:gd name="T2" fmla="*/ 77 w 135"/>
                <a:gd name="T3" fmla="*/ 56 h 130"/>
                <a:gd name="T4" fmla="*/ 77 w 135"/>
                <a:gd name="T5" fmla="*/ 54 h 130"/>
                <a:gd name="T6" fmla="*/ 74 w 135"/>
                <a:gd name="T7" fmla="*/ 51 h 130"/>
                <a:gd name="T8" fmla="*/ 72 w 135"/>
                <a:gd name="T9" fmla="*/ 51 h 130"/>
                <a:gd name="T10" fmla="*/ 72 w 135"/>
                <a:gd name="T11" fmla="*/ 54 h 130"/>
                <a:gd name="T12" fmla="*/ 72 w 135"/>
                <a:gd name="T13" fmla="*/ 44 h 130"/>
                <a:gd name="T14" fmla="*/ 74 w 135"/>
                <a:gd name="T15" fmla="*/ 46 h 130"/>
                <a:gd name="T16" fmla="*/ 130 w 135"/>
                <a:gd name="T17" fmla="*/ 117 h 130"/>
                <a:gd name="T18" fmla="*/ 120 w 135"/>
                <a:gd name="T19" fmla="*/ 105 h 130"/>
                <a:gd name="T20" fmla="*/ 97 w 135"/>
                <a:gd name="T21" fmla="*/ 77 h 130"/>
                <a:gd name="T22" fmla="*/ 82 w 135"/>
                <a:gd name="T23" fmla="*/ 69 h 130"/>
                <a:gd name="T24" fmla="*/ 74 w 135"/>
                <a:gd name="T25" fmla="*/ 64 h 130"/>
                <a:gd name="T26" fmla="*/ 69 w 135"/>
                <a:gd name="T27" fmla="*/ 59 h 130"/>
                <a:gd name="T28" fmla="*/ 67 w 135"/>
                <a:gd name="T29" fmla="*/ 66 h 130"/>
                <a:gd name="T30" fmla="*/ 61 w 135"/>
                <a:gd name="T31" fmla="*/ 56 h 130"/>
                <a:gd name="T32" fmla="*/ 54 w 135"/>
                <a:gd name="T33" fmla="*/ 31 h 130"/>
                <a:gd name="T34" fmla="*/ 41 w 135"/>
                <a:gd name="T35" fmla="*/ 3 h 130"/>
                <a:gd name="T36" fmla="*/ 38 w 135"/>
                <a:gd name="T37" fmla="*/ 8 h 130"/>
                <a:gd name="T38" fmla="*/ 36 w 135"/>
                <a:gd name="T39" fmla="*/ 11 h 130"/>
                <a:gd name="T40" fmla="*/ 33 w 135"/>
                <a:gd name="T41" fmla="*/ 13 h 130"/>
                <a:gd name="T42" fmla="*/ 28 w 135"/>
                <a:gd name="T43" fmla="*/ 13 h 130"/>
                <a:gd name="T44" fmla="*/ 23 w 135"/>
                <a:gd name="T45" fmla="*/ 16 h 130"/>
                <a:gd name="T46" fmla="*/ 21 w 135"/>
                <a:gd name="T47" fmla="*/ 21 h 130"/>
                <a:gd name="T48" fmla="*/ 13 w 135"/>
                <a:gd name="T49" fmla="*/ 23 h 130"/>
                <a:gd name="T50" fmla="*/ 10 w 135"/>
                <a:gd name="T51" fmla="*/ 26 h 130"/>
                <a:gd name="T52" fmla="*/ 10 w 135"/>
                <a:gd name="T53" fmla="*/ 36 h 130"/>
                <a:gd name="T54" fmla="*/ 5 w 135"/>
                <a:gd name="T55" fmla="*/ 51 h 130"/>
                <a:gd name="T56" fmla="*/ 0 w 135"/>
                <a:gd name="T57" fmla="*/ 66 h 130"/>
                <a:gd name="T58" fmla="*/ 3 w 135"/>
                <a:gd name="T59" fmla="*/ 87 h 130"/>
                <a:gd name="T60" fmla="*/ 13 w 135"/>
                <a:gd name="T61" fmla="*/ 87 h 130"/>
                <a:gd name="T62" fmla="*/ 16 w 135"/>
                <a:gd name="T63" fmla="*/ 82 h 130"/>
                <a:gd name="T64" fmla="*/ 23 w 135"/>
                <a:gd name="T65" fmla="*/ 89 h 130"/>
                <a:gd name="T66" fmla="*/ 26 w 135"/>
                <a:gd name="T67" fmla="*/ 82 h 130"/>
                <a:gd name="T68" fmla="*/ 33 w 135"/>
                <a:gd name="T69" fmla="*/ 74 h 130"/>
                <a:gd name="T70" fmla="*/ 36 w 135"/>
                <a:gd name="T71" fmla="*/ 77 h 130"/>
                <a:gd name="T72" fmla="*/ 49 w 135"/>
                <a:gd name="T73" fmla="*/ 82 h 130"/>
                <a:gd name="T74" fmla="*/ 56 w 135"/>
                <a:gd name="T75" fmla="*/ 79 h 130"/>
                <a:gd name="T76" fmla="*/ 61 w 135"/>
                <a:gd name="T77" fmla="*/ 79 h 130"/>
                <a:gd name="T78" fmla="*/ 67 w 135"/>
                <a:gd name="T79" fmla="*/ 82 h 130"/>
                <a:gd name="T80" fmla="*/ 77 w 135"/>
                <a:gd name="T81" fmla="*/ 82 h 130"/>
                <a:gd name="T82" fmla="*/ 89 w 135"/>
                <a:gd name="T83" fmla="*/ 89 h 130"/>
                <a:gd name="T84" fmla="*/ 105 w 135"/>
                <a:gd name="T85" fmla="*/ 107 h 130"/>
                <a:gd name="T86" fmla="*/ 115 w 135"/>
                <a:gd name="T87" fmla="*/ 120 h 130"/>
                <a:gd name="T88" fmla="*/ 123 w 135"/>
                <a:gd name="T89" fmla="*/ 128 h 130"/>
                <a:gd name="T90" fmla="*/ 128 w 135"/>
                <a:gd name="T91" fmla="*/ 130 h 130"/>
                <a:gd name="T92" fmla="*/ 130 w 135"/>
                <a:gd name="T93" fmla="*/ 122 h 130"/>
                <a:gd name="T94" fmla="*/ 135 w 135"/>
                <a:gd name="T95" fmla="*/ 12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35" h="130">
                  <a:moveTo>
                    <a:pt x="74" y="54"/>
                  </a:moveTo>
                  <a:lnTo>
                    <a:pt x="72" y="54"/>
                  </a:lnTo>
                  <a:lnTo>
                    <a:pt x="72" y="54"/>
                  </a:lnTo>
                  <a:lnTo>
                    <a:pt x="72" y="54"/>
                  </a:lnTo>
                  <a:lnTo>
                    <a:pt x="72" y="56"/>
                  </a:lnTo>
                  <a:lnTo>
                    <a:pt x="74" y="56"/>
                  </a:lnTo>
                  <a:lnTo>
                    <a:pt x="77" y="56"/>
                  </a:lnTo>
                  <a:lnTo>
                    <a:pt x="77" y="56"/>
                  </a:lnTo>
                  <a:lnTo>
                    <a:pt x="79" y="56"/>
                  </a:lnTo>
                  <a:lnTo>
                    <a:pt x="79" y="54"/>
                  </a:lnTo>
                  <a:lnTo>
                    <a:pt x="77" y="54"/>
                  </a:lnTo>
                  <a:lnTo>
                    <a:pt x="77" y="54"/>
                  </a:lnTo>
                  <a:lnTo>
                    <a:pt x="77" y="54"/>
                  </a:lnTo>
                  <a:lnTo>
                    <a:pt x="74" y="54"/>
                  </a:lnTo>
                  <a:lnTo>
                    <a:pt x="74" y="54"/>
                  </a:lnTo>
                  <a:lnTo>
                    <a:pt x="74" y="51"/>
                  </a:lnTo>
                  <a:lnTo>
                    <a:pt x="74" y="51"/>
                  </a:lnTo>
                  <a:lnTo>
                    <a:pt x="72" y="49"/>
                  </a:lnTo>
                  <a:lnTo>
                    <a:pt x="72" y="49"/>
                  </a:lnTo>
                  <a:lnTo>
                    <a:pt x="72" y="51"/>
                  </a:lnTo>
                  <a:lnTo>
                    <a:pt x="72" y="51"/>
                  </a:lnTo>
                  <a:lnTo>
                    <a:pt x="72" y="51"/>
                  </a:lnTo>
                  <a:lnTo>
                    <a:pt x="72" y="51"/>
                  </a:lnTo>
                  <a:lnTo>
                    <a:pt x="72" y="54"/>
                  </a:lnTo>
                  <a:lnTo>
                    <a:pt x="74" y="54"/>
                  </a:lnTo>
                  <a:close/>
                  <a:moveTo>
                    <a:pt x="74" y="46"/>
                  </a:moveTo>
                  <a:lnTo>
                    <a:pt x="72" y="44"/>
                  </a:lnTo>
                  <a:lnTo>
                    <a:pt x="72" y="44"/>
                  </a:lnTo>
                  <a:lnTo>
                    <a:pt x="72" y="44"/>
                  </a:lnTo>
                  <a:lnTo>
                    <a:pt x="72" y="46"/>
                  </a:lnTo>
                  <a:lnTo>
                    <a:pt x="72" y="46"/>
                  </a:lnTo>
                  <a:lnTo>
                    <a:pt x="74" y="46"/>
                  </a:lnTo>
                  <a:close/>
                  <a:moveTo>
                    <a:pt x="135" y="120"/>
                  </a:moveTo>
                  <a:lnTo>
                    <a:pt x="133" y="117"/>
                  </a:lnTo>
                  <a:lnTo>
                    <a:pt x="133" y="120"/>
                  </a:lnTo>
                  <a:lnTo>
                    <a:pt x="130" y="117"/>
                  </a:lnTo>
                  <a:lnTo>
                    <a:pt x="128" y="115"/>
                  </a:lnTo>
                  <a:lnTo>
                    <a:pt x="123" y="110"/>
                  </a:lnTo>
                  <a:lnTo>
                    <a:pt x="123" y="110"/>
                  </a:lnTo>
                  <a:lnTo>
                    <a:pt x="120" y="105"/>
                  </a:lnTo>
                  <a:lnTo>
                    <a:pt x="117" y="102"/>
                  </a:lnTo>
                  <a:lnTo>
                    <a:pt x="105" y="92"/>
                  </a:lnTo>
                  <a:lnTo>
                    <a:pt x="102" y="87"/>
                  </a:lnTo>
                  <a:lnTo>
                    <a:pt x="97" y="77"/>
                  </a:lnTo>
                  <a:lnTo>
                    <a:pt x="89" y="74"/>
                  </a:lnTo>
                  <a:lnTo>
                    <a:pt x="84" y="72"/>
                  </a:lnTo>
                  <a:lnTo>
                    <a:pt x="82" y="72"/>
                  </a:lnTo>
                  <a:lnTo>
                    <a:pt x="82" y="69"/>
                  </a:lnTo>
                  <a:lnTo>
                    <a:pt x="79" y="69"/>
                  </a:lnTo>
                  <a:lnTo>
                    <a:pt x="77" y="69"/>
                  </a:lnTo>
                  <a:lnTo>
                    <a:pt x="74" y="66"/>
                  </a:lnTo>
                  <a:lnTo>
                    <a:pt x="74" y="64"/>
                  </a:lnTo>
                  <a:lnTo>
                    <a:pt x="72" y="61"/>
                  </a:lnTo>
                  <a:lnTo>
                    <a:pt x="72" y="61"/>
                  </a:lnTo>
                  <a:lnTo>
                    <a:pt x="69" y="59"/>
                  </a:lnTo>
                  <a:lnTo>
                    <a:pt x="69" y="59"/>
                  </a:lnTo>
                  <a:lnTo>
                    <a:pt x="67" y="61"/>
                  </a:lnTo>
                  <a:lnTo>
                    <a:pt x="69" y="64"/>
                  </a:lnTo>
                  <a:lnTo>
                    <a:pt x="69" y="64"/>
                  </a:lnTo>
                  <a:lnTo>
                    <a:pt x="67" y="66"/>
                  </a:lnTo>
                  <a:lnTo>
                    <a:pt x="67" y="64"/>
                  </a:lnTo>
                  <a:lnTo>
                    <a:pt x="64" y="59"/>
                  </a:lnTo>
                  <a:lnTo>
                    <a:pt x="64" y="56"/>
                  </a:lnTo>
                  <a:lnTo>
                    <a:pt x="61" y="56"/>
                  </a:lnTo>
                  <a:lnTo>
                    <a:pt x="59" y="51"/>
                  </a:lnTo>
                  <a:lnTo>
                    <a:pt x="56" y="49"/>
                  </a:lnTo>
                  <a:lnTo>
                    <a:pt x="56" y="41"/>
                  </a:lnTo>
                  <a:lnTo>
                    <a:pt x="54" y="31"/>
                  </a:lnTo>
                  <a:lnTo>
                    <a:pt x="51" y="21"/>
                  </a:lnTo>
                  <a:lnTo>
                    <a:pt x="49" y="13"/>
                  </a:lnTo>
                  <a:lnTo>
                    <a:pt x="41" y="0"/>
                  </a:lnTo>
                  <a:lnTo>
                    <a:pt x="41" y="3"/>
                  </a:lnTo>
                  <a:lnTo>
                    <a:pt x="38" y="5"/>
                  </a:lnTo>
                  <a:lnTo>
                    <a:pt x="38" y="5"/>
                  </a:lnTo>
                  <a:lnTo>
                    <a:pt x="38" y="8"/>
                  </a:lnTo>
                  <a:lnTo>
                    <a:pt x="38" y="8"/>
                  </a:lnTo>
                  <a:lnTo>
                    <a:pt x="36" y="8"/>
                  </a:lnTo>
                  <a:lnTo>
                    <a:pt x="36" y="11"/>
                  </a:lnTo>
                  <a:lnTo>
                    <a:pt x="36" y="11"/>
                  </a:lnTo>
                  <a:lnTo>
                    <a:pt x="36" y="11"/>
                  </a:lnTo>
                  <a:lnTo>
                    <a:pt x="33" y="11"/>
                  </a:lnTo>
                  <a:lnTo>
                    <a:pt x="33" y="11"/>
                  </a:lnTo>
                  <a:lnTo>
                    <a:pt x="33" y="11"/>
                  </a:lnTo>
                  <a:lnTo>
                    <a:pt x="33" y="13"/>
                  </a:lnTo>
                  <a:lnTo>
                    <a:pt x="31" y="11"/>
                  </a:lnTo>
                  <a:lnTo>
                    <a:pt x="28" y="13"/>
                  </a:lnTo>
                  <a:lnTo>
                    <a:pt x="28" y="13"/>
                  </a:lnTo>
                  <a:lnTo>
                    <a:pt x="28" y="13"/>
                  </a:lnTo>
                  <a:lnTo>
                    <a:pt x="26" y="13"/>
                  </a:lnTo>
                  <a:lnTo>
                    <a:pt x="26" y="13"/>
                  </a:lnTo>
                  <a:lnTo>
                    <a:pt x="26" y="13"/>
                  </a:lnTo>
                  <a:lnTo>
                    <a:pt x="23" y="16"/>
                  </a:lnTo>
                  <a:lnTo>
                    <a:pt x="23" y="16"/>
                  </a:lnTo>
                  <a:lnTo>
                    <a:pt x="21" y="16"/>
                  </a:lnTo>
                  <a:lnTo>
                    <a:pt x="21" y="18"/>
                  </a:lnTo>
                  <a:lnTo>
                    <a:pt x="21" y="21"/>
                  </a:lnTo>
                  <a:lnTo>
                    <a:pt x="18" y="23"/>
                  </a:lnTo>
                  <a:lnTo>
                    <a:pt x="18" y="23"/>
                  </a:lnTo>
                  <a:lnTo>
                    <a:pt x="16" y="23"/>
                  </a:lnTo>
                  <a:lnTo>
                    <a:pt x="13" y="23"/>
                  </a:lnTo>
                  <a:lnTo>
                    <a:pt x="13" y="23"/>
                  </a:lnTo>
                  <a:lnTo>
                    <a:pt x="10" y="23"/>
                  </a:lnTo>
                  <a:lnTo>
                    <a:pt x="10" y="23"/>
                  </a:lnTo>
                  <a:lnTo>
                    <a:pt x="10" y="26"/>
                  </a:lnTo>
                  <a:lnTo>
                    <a:pt x="10" y="28"/>
                  </a:lnTo>
                  <a:lnTo>
                    <a:pt x="10" y="31"/>
                  </a:lnTo>
                  <a:lnTo>
                    <a:pt x="8" y="33"/>
                  </a:lnTo>
                  <a:lnTo>
                    <a:pt x="10" y="36"/>
                  </a:lnTo>
                  <a:lnTo>
                    <a:pt x="10" y="41"/>
                  </a:lnTo>
                  <a:lnTo>
                    <a:pt x="8" y="46"/>
                  </a:lnTo>
                  <a:lnTo>
                    <a:pt x="8" y="46"/>
                  </a:lnTo>
                  <a:lnTo>
                    <a:pt x="5" y="51"/>
                  </a:lnTo>
                  <a:lnTo>
                    <a:pt x="5" y="54"/>
                  </a:lnTo>
                  <a:lnTo>
                    <a:pt x="3" y="61"/>
                  </a:lnTo>
                  <a:lnTo>
                    <a:pt x="3" y="64"/>
                  </a:lnTo>
                  <a:lnTo>
                    <a:pt x="0" y="66"/>
                  </a:lnTo>
                  <a:lnTo>
                    <a:pt x="0" y="72"/>
                  </a:lnTo>
                  <a:lnTo>
                    <a:pt x="3" y="74"/>
                  </a:lnTo>
                  <a:lnTo>
                    <a:pt x="3" y="79"/>
                  </a:lnTo>
                  <a:lnTo>
                    <a:pt x="3" y="87"/>
                  </a:lnTo>
                  <a:lnTo>
                    <a:pt x="3" y="87"/>
                  </a:lnTo>
                  <a:lnTo>
                    <a:pt x="5" y="84"/>
                  </a:lnTo>
                  <a:lnTo>
                    <a:pt x="8" y="84"/>
                  </a:lnTo>
                  <a:lnTo>
                    <a:pt x="13" y="87"/>
                  </a:lnTo>
                  <a:lnTo>
                    <a:pt x="13" y="87"/>
                  </a:lnTo>
                  <a:lnTo>
                    <a:pt x="13" y="84"/>
                  </a:lnTo>
                  <a:lnTo>
                    <a:pt x="16" y="84"/>
                  </a:lnTo>
                  <a:lnTo>
                    <a:pt x="16" y="82"/>
                  </a:lnTo>
                  <a:lnTo>
                    <a:pt x="16" y="82"/>
                  </a:lnTo>
                  <a:lnTo>
                    <a:pt x="18" y="82"/>
                  </a:lnTo>
                  <a:lnTo>
                    <a:pt x="21" y="84"/>
                  </a:lnTo>
                  <a:lnTo>
                    <a:pt x="23" y="89"/>
                  </a:lnTo>
                  <a:lnTo>
                    <a:pt x="23" y="89"/>
                  </a:lnTo>
                  <a:lnTo>
                    <a:pt x="23" y="89"/>
                  </a:lnTo>
                  <a:lnTo>
                    <a:pt x="26" y="84"/>
                  </a:lnTo>
                  <a:lnTo>
                    <a:pt x="26" y="82"/>
                  </a:lnTo>
                  <a:lnTo>
                    <a:pt x="28" y="77"/>
                  </a:lnTo>
                  <a:lnTo>
                    <a:pt x="31" y="72"/>
                  </a:lnTo>
                  <a:lnTo>
                    <a:pt x="31" y="74"/>
                  </a:lnTo>
                  <a:lnTo>
                    <a:pt x="33" y="74"/>
                  </a:lnTo>
                  <a:lnTo>
                    <a:pt x="33" y="77"/>
                  </a:lnTo>
                  <a:lnTo>
                    <a:pt x="36" y="77"/>
                  </a:lnTo>
                  <a:lnTo>
                    <a:pt x="36" y="77"/>
                  </a:lnTo>
                  <a:lnTo>
                    <a:pt x="36" y="77"/>
                  </a:lnTo>
                  <a:lnTo>
                    <a:pt x="41" y="82"/>
                  </a:lnTo>
                  <a:lnTo>
                    <a:pt x="41" y="82"/>
                  </a:lnTo>
                  <a:lnTo>
                    <a:pt x="44" y="82"/>
                  </a:lnTo>
                  <a:lnTo>
                    <a:pt x="49" y="82"/>
                  </a:lnTo>
                  <a:lnTo>
                    <a:pt x="51" y="79"/>
                  </a:lnTo>
                  <a:lnTo>
                    <a:pt x="54" y="77"/>
                  </a:lnTo>
                  <a:lnTo>
                    <a:pt x="54" y="77"/>
                  </a:lnTo>
                  <a:lnTo>
                    <a:pt x="56" y="79"/>
                  </a:lnTo>
                  <a:lnTo>
                    <a:pt x="56" y="79"/>
                  </a:lnTo>
                  <a:lnTo>
                    <a:pt x="56" y="82"/>
                  </a:lnTo>
                  <a:lnTo>
                    <a:pt x="59" y="82"/>
                  </a:lnTo>
                  <a:lnTo>
                    <a:pt x="61" y="79"/>
                  </a:lnTo>
                  <a:lnTo>
                    <a:pt x="64" y="79"/>
                  </a:lnTo>
                  <a:lnTo>
                    <a:pt x="64" y="79"/>
                  </a:lnTo>
                  <a:lnTo>
                    <a:pt x="67" y="82"/>
                  </a:lnTo>
                  <a:lnTo>
                    <a:pt x="67" y="82"/>
                  </a:lnTo>
                  <a:lnTo>
                    <a:pt x="72" y="82"/>
                  </a:lnTo>
                  <a:lnTo>
                    <a:pt x="74" y="82"/>
                  </a:lnTo>
                  <a:lnTo>
                    <a:pt x="74" y="82"/>
                  </a:lnTo>
                  <a:lnTo>
                    <a:pt x="77" y="82"/>
                  </a:lnTo>
                  <a:lnTo>
                    <a:pt x="79" y="84"/>
                  </a:lnTo>
                  <a:lnTo>
                    <a:pt x="84" y="87"/>
                  </a:lnTo>
                  <a:lnTo>
                    <a:pt x="87" y="89"/>
                  </a:lnTo>
                  <a:lnTo>
                    <a:pt x="89" y="89"/>
                  </a:lnTo>
                  <a:lnTo>
                    <a:pt x="92" y="92"/>
                  </a:lnTo>
                  <a:lnTo>
                    <a:pt x="95" y="97"/>
                  </a:lnTo>
                  <a:lnTo>
                    <a:pt x="100" y="102"/>
                  </a:lnTo>
                  <a:lnTo>
                    <a:pt x="105" y="107"/>
                  </a:lnTo>
                  <a:lnTo>
                    <a:pt x="110" y="110"/>
                  </a:lnTo>
                  <a:lnTo>
                    <a:pt x="110" y="115"/>
                  </a:lnTo>
                  <a:lnTo>
                    <a:pt x="112" y="117"/>
                  </a:lnTo>
                  <a:lnTo>
                    <a:pt x="115" y="120"/>
                  </a:lnTo>
                  <a:lnTo>
                    <a:pt x="117" y="120"/>
                  </a:lnTo>
                  <a:lnTo>
                    <a:pt x="117" y="122"/>
                  </a:lnTo>
                  <a:lnTo>
                    <a:pt x="120" y="125"/>
                  </a:lnTo>
                  <a:lnTo>
                    <a:pt x="123" y="128"/>
                  </a:lnTo>
                  <a:lnTo>
                    <a:pt x="123" y="125"/>
                  </a:lnTo>
                  <a:lnTo>
                    <a:pt x="123" y="125"/>
                  </a:lnTo>
                  <a:lnTo>
                    <a:pt x="123" y="125"/>
                  </a:lnTo>
                  <a:lnTo>
                    <a:pt x="128" y="130"/>
                  </a:lnTo>
                  <a:lnTo>
                    <a:pt x="128" y="128"/>
                  </a:lnTo>
                  <a:lnTo>
                    <a:pt x="130" y="128"/>
                  </a:lnTo>
                  <a:lnTo>
                    <a:pt x="130" y="125"/>
                  </a:lnTo>
                  <a:lnTo>
                    <a:pt x="130" y="122"/>
                  </a:lnTo>
                  <a:lnTo>
                    <a:pt x="130" y="122"/>
                  </a:lnTo>
                  <a:lnTo>
                    <a:pt x="133" y="122"/>
                  </a:lnTo>
                  <a:lnTo>
                    <a:pt x="135" y="122"/>
                  </a:lnTo>
                  <a:lnTo>
                    <a:pt x="135" y="120"/>
                  </a:lnTo>
                  <a:close/>
                </a:path>
              </a:pathLst>
            </a:custGeom>
            <a:solidFill>
              <a:srgbClr val="FFC000"/>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324" name="Freeform 1943">
              <a:extLst>
                <a:ext uri="{FF2B5EF4-FFF2-40B4-BE49-F238E27FC236}">
                  <a16:creationId xmlns:a16="http://schemas.microsoft.com/office/drawing/2014/main" id="{1A58D6D2-DAFB-904C-88E5-B9BA39BBE733}"/>
                </a:ext>
              </a:extLst>
            </p:cNvPr>
            <p:cNvSpPr>
              <a:spLocks noEditPoints="1"/>
            </p:cNvSpPr>
            <p:nvPr/>
          </p:nvSpPr>
          <p:spPr bwMode="auto">
            <a:xfrm>
              <a:off x="5883403" y="3658820"/>
              <a:ext cx="96509" cy="104687"/>
            </a:xfrm>
            <a:custGeom>
              <a:avLst/>
              <a:gdLst>
                <a:gd name="T0" fmla="*/ 59 w 59"/>
                <a:gd name="T1" fmla="*/ 56 h 64"/>
                <a:gd name="T2" fmla="*/ 59 w 59"/>
                <a:gd name="T3" fmla="*/ 46 h 64"/>
                <a:gd name="T4" fmla="*/ 59 w 59"/>
                <a:gd name="T5" fmla="*/ 39 h 64"/>
                <a:gd name="T6" fmla="*/ 49 w 59"/>
                <a:gd name="T7" fmla="*/ 39 h 64"/>
                <a:gd name="T8" fmla="*/ 38 w 59"/>
                <a:gd name="T9" fmla="*/ 39 h 64"/>
                <a:gd name="T10" fmla="*/ 31 w 59"/>
                <a:gd name="T11" fmla="*/ 36 h 64"/>
                <a:gd name="T12" fmla="*/ 28 w 59"/>
                <a:gd name="T13" fmla="*/ 36 h 64"/>
                <a:gd name="T14" fmla="*/ 28 w 59"/>
                <a:gd name="T15" fmla="*/ 34 h 64"/>
                <a:gd name="T16" fmla="*/ 28 w 59"/>
                <a:gd name="T17" fmla="*/ 44 h 64"/>
                <a:gd name="T18" fmla="*/ 26 w 59"/>
                <a:gd name="T19" fmla="*/ 51 h 64"/>
                <a:gd name="T20" fmla="*/ 26 w 59"/>
                <a:gd name="T21" fmla="*/ 51 h 64"/>
                <a:gd name="T22" fmla="*/ 21 w 59"/>
                <a:gd name="T23" fmla="*/ 56 h 64"/>
                <a:gd name="T24" fmla="*/ 21 w 59"/>
                <a:gd name="T25" fmla="*/ 62 h 64"/>
                <a:gd name="T26" fmla="*/ 26 w 59"/>
                <a:gd name="T27" fmla="*/ 64 h 64"/>
                <a:gd name="T28" fmla="*/ 26 w 59"/>
                <a:gd name="T29" fmla="*/ 64 h 64"/>
                <a:gd name="T30" fmla="*/ 28 w 59"/>
                <a:gd name="T31" fmla="*/ 62 h 64"/>
                <a:gd name="T32" fmla="*/ 28 w 59"/>
                <a:gd name="T33" fmla="*/ 64 h 64"/>
                <a:gd name="T34" fmla="*/ 31 w 59"/>
                <a:gd name="T35" fmla="*/ 64 h 64"/>
                <a:gd name="T36" fmla="*/ 31 w 59"/>
                <a:gd name="T37" fmla="*/ 64 h 64"/>
                <a:gd name="T38" fmla="*/ 33 w 59"/>
                <a:gd name="T39" fmla="*/ 64 h 64"/>
                <a:gd name="T40" fmla="*/ 38 w 59"/>
                <a:gd name="T41" fmla="*/ 64 h 64"/>
                <a:gd name="T42" fmla="*/ 51 w 59"/>
                <a:gd name="T43" fmla="*/ 64 h 64"/>
                <a:gd name="T44" fmla="*/ 59 w 59"/>
                <a:gd name="T45" fmla="*/ 64 h 64"/>
                <a:gd name="T46" fmla="*/ 8 w 59"/>
                <a:gd name="T47" fmla="*/ 3 h 64"/>
                <a:gd name="T48" fmla="*/ 5 w 59"/>
                <a:gd name="T49" fmla="*/ 3 h 64"/>
                <a:gd name="T50" fmla="*/ 5 w 59"/>
                <a:gd name="T51" fmla="*/ 6 h 64"/>
                <a:gd name="T52" fmla="*/ 3 w 59"/>
                <a:gd name="T53" fmla="*/ 8 h 64"/>
                <a:gd name="T54" fmla="*/ 3 w 59"/>
                <a:gd name="T55" fmla="*/ 8 h 64"/>
                <a:gd name="T56" fmla="*/ 3 w 59"/>
                <a:gd name="T57" fmla="*/ 13 h 64"/>
                <a:gd name="T58" fmla="*/ 5 w 59"/>
                <a:gd name="T59" fmla="*/ 13 h 64"/>
                <a:gd name="T60" fmla="*/ 8 w 59"/>
                <a:gd name="T61" fmla="*/ 13 h 64"/>
                <a:gd name="T62" fmla="*/ 13 w 59"/>
                <a:gd name="T63" fmla="*/ 6 h 64"/>
                <a:gd name="T64" fmla="*/ 10 w 59"/>
                <a:gd name="T65"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9" h="64">
                  <a:moveTo>
                    <a:pt x="59" y="62"/>
                  </a:moveTo>
                  <a:lnTo>
                    <a:pt x="59" y="56"/>
                  </a:lnTo>
                  <a:lnTo>
                    <a:pt x="59" y="51"/>
                  </a:lnTo>
                  <a:lnTo>
                    <a:pt x="59" y="46"/>
                  </a:lnTo>
                  <a:lnTo>
                    <a:pt x="59" y="44"/>
                  </a:lnTo>
                  <a:lnTo>
                    <a:pt x="59" y="39"/>
                  </a:lnTo>
                  <a:lnTo>
                    <a:pt x="54" y="39"/>
                  </a:lnTo>
                  <a:lnTo>
                    <a:pt x="49" y="39"/>
                  </a:lnTo>
                  <a:lnTo>
                    <a:pt x="43" y="39"/>
                  </a:lnTo>
                  <a:lnTo>
                    <a:pt x="38" y="39"/>
                  </a:lnTo>
                  <a:lnTo>
                    <a:pt x="33" y="39"/>
                  </a:lnTo>
                  <a:lnTo>
                    <a:pt x="31" y="36"/>
                  </a:lnTo>
                  <a:lnTo>
                    <a:pt x="31" y="36"/>
                  </a:lnTo>
                  <a:lnTo>
                    <a:pt x="28" y="36"/>
                  </a:lnTo>
                  <a:lnTo>
                    <a:pt x="28" y="36"/>
                  </a:lnTo>
                  <a:lnTo>
                    <a:pt x="28" y="34"/>
                  </a:lnTo>
                  <a:lnTo>
                    <a:pt x="28" y="41"/>
                  </a:lnTo>
                  <a:lnTo>
                    <a:pt x="28" y="44"/>
                  </a:lnTo>
                  <a:lnTo>
                    <a:pt x="28" y="46"/>
                  </a:lnTo>
                  <a:lnTo>
                    <a:pt x="26" y="51"/>
                  </a:lnTo>
                  <a:lnTo>
                    <a:pt x="26" y="51"/>
                  </a:lnTo>
                  <a:lnTo>
                    <a:pt x="26" y="51"/>
                  </a:lnTo>
                  <a:lnTo>
                    <a:pt x="23" y="54"/>
                  </a:lnTo>
                  <a:lnTo>
                    <a:pt x="21" y="56"/>
                  </a:lnTo>
                  <a:lnTo>
                    <a:pt x="21" y="62"/>
                  </a:lnTo>
                  <a:lnTo>
                    <a:pt x="21" y="62"/>
                  </a:lnTo>
                  <a:lnTo>
                    <a:pt x="23" y="62"/>
                  </a:lnTo>
                  <a:lnTo>
                    <a:pt x="26" y="64"/>
                  </a:lnTo>
                  <a:lnTo>
                    <a:pt x="26" y="64"/>
                  </a:lnTo>
                  <a:lnTo>
                    <a:pt x="26" y="64"/>
                  </a:lnTo>
                  <a:lnTo>
                    <a:pt x="26" y="62"/>
                  </a:lnTo>
                  <a:lnTo>
                    <a:pt x="28" y="62"/>
                  </a:lnTo>
                  <a:lnTo>
                    <a:pt x="28" y="62"/>
                  </a:lnTo>
                  <a:lnTo>
                    <a:pt x="28" y="64"/>
                  </a:lnTo>
                  <a:lnTo>
                    <a:pt x="28" y="64"/>
                  </a:lnTo>
                  <a:lnTo>
                    <a:pt x="31" y="64"/>
                  </a:lnTo>
                  <a:lnTo>
                    <a:pt x="31" y="64"/>
                  </a:lnTo>
                  <a:lnTo>
                    <a:pt x="31" y="64"/>
                  </a:lnTo>
                  <a:lnTo>
                    <a:pt x="33" y="64"/>
                  </a:lnTo>
                  <a:lnTo>
                    <a:pt x="33" y="64"/>
                  </a:lnTo>
                  <a:lnTo>
                    <a:pt x="36" y="64"/>
                  </a:lnTo>
                  <a:lnTo>
                    <a:pt x="38" y="64"/>
                  </a:lnTo>
                  <a:lnTo>
                    <a:pt x="43" y="64"/>
                  </a:lnTo>
                  <a:lnTo>
                    <a:pt x="51" y="64"/>
                  </a:lnTo>
                  <a:lnTo>
                    <a:pt x="56" y="64"/>
                  </a:lnTo>
                  <a:lnTo>
                    <a:pt x="59" y="64"/>
                  </a:lnTo>
                  <a:lnTo>
                    <a:pt x="59" y="62"/>
                  </a:lnTo>
                  <a:close/>
                  <a:moveTo>
                    <a:pt x="8" y="3"/>
                  </a:moveTo>
                  <a:lnTo>
                    <a:pt x="8" y="0"/>
                  </a:lnTo>
                  <a:lnTo>
                    <a:pt x="5" y="3"/>
                  </a:lnTo>
                  <a:lnTo>
                    <a:pt x="5" y="3"/>
                  </a:lnTo>
                  <a:lnTo>
                    <a:pt x="5" y="6"/>
                  </a:lnTo>
                  <a:lnTo>
                    <a:pt x="5" y="8"/>
                  </a:lnTo>
                  <a:lnTo>
                    <a:pt x="3" y="8"/>
                  </a:lnTo>
                  <a:lnTo>
                    <a:pt x="3" y="8"/>
                  </a:lnTo>
                  <a:lnTo>
                    <a:pt x="3" y="8"/>
                  </a:lnTo>
                  <a:lnTo>
                    <a:pt x="0" y="11"/>
                  </a:lnTo>
                  <a:lnTo>
                    <a:pt x="3" y="13"/>
                  </a:lnTo>
                  <a:lnTo>
                    <a:pt x="3" y="13"/>
                  </a:lnTo>
                  <a:lnTo>
                    <a:pt x="5" y="13"/>
                  </a:lnTo>
                  <a:lnTo>
                    <a:pt x="8" y="13"/>
                  </a:lnTo>
                  <a:lnTo>
                    <a:pt x="8" y="13"/>
                  </a:lnTo>
                  <a:lnTo>
                    <a:pt x="8" y="11"/>
                  </a:lnTo>
                  <a:lnTo>
                    <a:pt x="13" y="6"/>
                  </a:lnTo>
                  <a:lnTo>
                    <a:pt x="13" y="3"/>
                  </a:lnTo>
                  <a:lnTo>
                    <a:pt x="10" y="0"/>
                  </a:lnTo>
                  <a:lnTo>
                    <a:pt x="8" y="3"/>
                  </a:lnTo>
                  <a:close/>
                </a:path>
              </a:pathLst>
            </a:custGeom>
            <a:solidFill>
              <a:srgbClr val="FFC000"/>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325" name="Freeform 1944">
              <a:extLst>
                <a:ext uri="{FF2B5EF4-FFF2-40B4-BE49-F238E27FC236}">
                  <a16:creationId xmlns:a16="http://schemas.microsoft.com/office/drawing/2014/main" id="{ED4CB1EE-28E5-1343-909B-9C89D0EDAC24}"/>
                </a:ext>
              </a:extLst>
            </p:cNvPr>
            <p:cNvSpPr>
              <a:spLocks/>
            </p:cNvSpPr>
            <p:nvPr/>
          </p:nvSpPr>
          <p:spPr bwMode="auto">
            <a:xfrm>
              <a:off x="2674087" y="3264608"/>
              <a:ext cx="78515" cy="45801"/>
            </a:xfrm>
            <a:custGeom>
              <a:avLst/>
              <a:gdLst>
                <a:gd name="T0" fmla="*/ 46 w 48"/>
                <a:gd name="T1" fmla="*/ 20 h 28"/>
                <a:gd name="T2" fmla="*/ 48 w 48"/>
                <a:gd name="T3" fmla="*/ 15 h 28"/>
                <a:gd name="T4" fmla="*/ 46 w 48"/>
                <a:gd name="T5" fmla="*/ 12 h 28"/>
                <a:gd name="T6" fmla="*/ 41 w 48"/>
                <a:gd name="T7" fmla="*/ 12 h 28"/>
                <a:gd name="T8" fmla="*/ 41 w 48"/>
                <a:gd name="T9" fmla="*/ 10 h 28"/>
                <a:gd name="T10" fmla="*/ 35 w 48"/>
                <a:gd name="T11" fmla="*/ 12 h 28"/>
                <a:gd name="T12" fmla="*/ 33 w 48"/>
                <a:gd name="T13" fmla="*/ 12 h 28"/>
                <a:gd name="T14" fmla="*/ 33 w 48"/>
                <a:gd name="T15" fmla="*/ 12 h 28"/>
                <a:gd name="T16" fmla="*/ 30 w 48"/>
                <a:gd name="T17" fmla="*/ 10 h 28"/>
                <a:gd name="T18" fmla="*/ 28 w 48"/>
                <a:gd name="T19" fmla="*/ 10 h 28"/>
                <a:gd name="T20" fmla="*/ 28 w 48"/>
                <a:gd name="T21" fmla="*/ 7 h 28"/>
                <a:gd name="T22" fmla="*/ 25 w 48"/>
                <a:gd name="T23" fmla="*/ 7 h 28"/>
                <a:gd name="T24" fmla="*/ 23 w 48"/>
                <a:gd name="T25" fmla="*/ 2 h 28"/>
                <a:gd name="T26" fmla="*/ 20 w 48"/>
                <a:gd name="T27" fmla="*/ 2 h 28"/>
                <a:gd name="T28" fmla="*/ 15 w 48"/>
                <a:gd name="T29" fmla="*/ 0 h 28"/>
                <a:gd name="T30" fmla="*/ 15 w 48"/>
                <a:gd name="T31" fmla="*/ 0 h 28"/>
                <a:gd name="T32" fmla="*/ 12 w 48"/>
                <a:gd name="T33" fmla="*/ 0 h 28"/>
                <a:gd name="T34" fmla="*/ 12 w 48"/>
                <a:gd name="T35" fmla="*/ 2 h 28"/>
                <a:gd name="T36" fmla="*/ 12 w 48"/>
                <a:gd name="T37" fmla="*/ 5 h 28"/>
                <a:gd name="T38" fmla="*/ 10 w 48"/>
                <a:gd name="T39" fmla="*/ 5 h 28"/>
                <a:gd name="T40" fmla="*/ 7 w 48"/>
                <a:gd name="T41" fmla="*/ 7 h 28"/>
                <a:gd name="T42" fmla="*/ 7 w 48"/>
                <a:gd name="T43" fmla="*/ 10 h 28"/>
                <a:gd name="T44" fmla="*/ 5 w 48"/>
                <a:gd name="T45" fmla="*/ 10 h 28"/>
                <a:gd name="T46" fmla="*/ 0 w 48"/>
                <a:gd name="T47" fmla="*/ 12 h 28"/>
                <a:gd name="T48" fmla="*/ 0 w 48"/>
                <a:gd name="T49" fmla="*/ 15 h 28"/>
                <a:gd name="T50" fmla="*/ 2 w 48"/>
                <a:gd name="T51" fmla="*/ 18 h 28"/>
                <a:gd name="T52" fmla="*/ 10 w 48"/>
                <a:gd name="T53" fmla="*/ 20 h 28"/>
                <a:gd name="T54" fmla="*/ 23 w 48"/>
                <a:gd name="T55" fmla="*/ 25 h 28"/>
                <a:gd name="T56" fmla="*/ 30 w 48"/>
                <a:gd name="T57" fmla="*/ 28 h 28"/>
                <a:gd name="T58" fmla="*/ 28 w 48"/>
                <a:gd name="T59" fmla="*/ 28 h 28"/>
                <a:gd name="T60" fmla="*/ 28 w 48"/>
                <a:gd name="T61" fmla="*/ 25 h 28"/>
                <a:gd name="T62" fmla="*/ 35 w 48"/>
                <a:gd name="T63" fmla="*/ 28 h 28"/>
                <a:gd name="T64" fmla="*/ 41 w 48"/>
                <a:gd name="T65" fmla="*/ 28 h 28"/>
                <a:gd name="T66" fmla="*/ 43 w 48"/>
                <a:gd name="T67" fmla="*/ 25 h 28"/>
                <a:gd name="T68" fmla="*/ 43 w 48"/>
                <a:gd name="T69" fmla="*/ 23 h 28"/>
                <a:gd name="T70" fmla="*/ 46 w 48"/>
                <a:gd name="T71" fmla="*/ 23 h 28"/>
                <a:gd name="T72" fmla="*/ 46 w 48"/>
                <a:gd name="T73" fmla="*/ 2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 h="28">
                  <a:moveTo>
                    <a:pt x="46" y="20"/>
                  </a:moveTo>
                  <a:lnTo>
                    <a:pt x="46" y="20"/>
                  </a:lnTo>
                  <a:lnTo>
                    <a:pt x="46" y="18"/>
                  </a:lnTo>
                  <a:lnTo>
                    <a:pt x="48" y="15"/>
                  </a:lnTo>
                  <a:lnTo>
                    <a:pt x="46" y="12"/>
                  </a:lnTo>
                  <a:lnTo>
                    <a:pt x="46" y="12"/>
                  </a:lnTo>
                  <a:lnTo>
                    <a:pt x="43" y="12"/>
                  </a:lnTo>
                  <a:lnTo>
                    <a:pt x="41" y="12"/>
                  </a:lnTo>
                  <a:lnTo>
                    <a:pt x="41" y="12"/>
                  </a:lnTo>
                  <a:lnTo>
                    <a:pt x="41" y="10"/>
                  </a:lnTo>
                  <a:lnTo>
                    <a:pt x="38" y="10"/>
                  </a:lnTo>
                  <a:lnTo>
                    <a:pt x="35" y="12"/>
                  </a:lnTo>
                  <a:lnTo>
                    <a:pt x="33" y="12"/>
                  </a:lnTo>
                  <a:lnTo>
                    <a:pt x="33" y="12"/>
                  </a:lnTo>
                  <a:lnTo>
                    <a:pt x="33" y="12"/>
                  </a:lnTo>
                  <a:lnTo>
                    <a:pt x="33" y="12"/>
                  </a:lnTo>
                  <a:lnTo>
                    <a:pt x="33" y="10"/>
                  </a:lnTo>
                  <a:lnTo>
                    <a:pt x="30" y="10"/>
                  </a:lnTo>
                  <a:lnTo>
                    <a:pt x="30" y="10"/>
                  </a:lnTo>
                  <a:lnTo>
                    <a:pt x="28" y="10"/>
                  </a:lnTo>
                  <a:lnTo>
                    <a:pt x="28" y="10"/>
                  </a:lnTo>
                  <a:lnTo>
                    <a:pt x="28" y="7"/>
                  </a:lnTo>
                  <a:lnTo>
                    <a:pt x="25" y="7"/>
                  </a:lnTo>
                  <a:lnTo>
                    <a:pt x="25" y="7"/>
                  </a:lnTo>
                  <a:lnTo>
                    <a:pt x="23" y="5"/>
                  </a:lnTo>
                  <a:lnTo>
                    <a:pt x="23" y="2"/>
                  </a:lnTo>
                  <a:lnTo>
                    <a:pt x="23" y="2"/>
                  </a:lnTo>
                  <a:lnTo>
                    <a:pt x="20" y="2"/>
                  </a:lnTo>
                  <a:lnTo>
                    <a:pt x="20" y="2"/>
                  </a:lnTo>
                  <a:lnTo>
                    <a:pt x="15" y="0"/>
                  </a:lnTo>
                  <a:lnTo>
                    <a:pt x="15" y="0"/>
                  </a:lnTo>
                  <a:lnTo>
                    <a:pt x="15" y="0"/>
                  </a:lnTo>
                  <a:lnTo>
                    <a:pt x="15" y="0"/>
                  </a:lnTo>
                  <a:lnTo>
                    <a:pt x="12" y="0"/>
                  </a:lnTo>
                  <a:lnTo>
                    <a:pt x="12" y="0"/>
                  </a:lnTo>
                  <a:lnTo>
                    <a:pt x="12" y="2"/>
                  </a:lnTo>
                  <a:lnTo>
                    <a:pt x="12" y="2"/>
                  </a:lnTo>
                  <a:lnTo>
                    <a:pt x="12" y="5"/>
                  </a:lnTo>
                  <a:lnTo>
                    <a:pt x="12" y="5"/>
                  </a:lnTo>
                  <a:lnTo>
                    <a:pt x="10" y="5"/>
                  </a:lnTo>
                  <a:lnTo>
                    <a:pt x="10" y="5"/>
                  </a:lnTo>
                  <a:lnTo>
                    <a:pt x="7" y="7"/>
                  </a:lnTo>
                  <a:lnTo>
                    <a:pt x="7" y="7"/>
                  </a:lnTo>
                  <a:lnTo>
                    <a:pt x="7" y="10"/>
                  </a:lnTo>
                  <a:lnTo>
                    <a:pt x="5" y="10"/>
                  </a:lnTo>
                  <a:lnTo>
                    <a:pt x="5" y="10"/>
                  </a:lnTo>
                  <a:lnTo>
                    <a:pt x="2" y="10"/>
                  </a:lnTo>
                  <a:lnTo>
                    <a:pt x="0" y="12"/>
                  </a:lnTo>
                  <a:lnTo>
                    <a:pt x="0" y="15"/>
                  </a:lnTo>
                  <a:lnTo>
                    <a:pt x="0" y="15"/>
                  </a:lnTo>
                  <a:lnTo>
                    <a:pt x="0" y="15"/>
                  </a:lnTo>
                  <a:lnTo>
                    <a:pt x="2" y="18"/>
                  </a:lnTo>
                  <a:lnTo>
                    <a:pt x="5" y="20"/>
                  </a:lnTo>
                  <a:lnTo>
                    <a:pt x="10" y="20"/>
                  </a:lnTo>
                  <a:lnTo>
                    <a:pt x="15" y="23"/>
                  </a:lnTo>
                  <a:lnTo>
                    <a:pt x="23" y="25"/>
                  </a:lnTo>
                  <a:lnTo>
                    <a:pt x="30" y="28"/>
                  </a:lnTo>
                  <a:lnTo>
                    <a:pt x="30" y="28"/>
                  </a:lnTo>
                  <a:lnTo>
                    <a:pt x="28" y="28"/>
                  </a:lnTo>
                  <a:lnTo>
                    <a:pt x="28" y="28"/>
                  </a:lnTo>
                  <a:lnTo>
                    <a:pt x="25" y="25"/>
                  </a:lnTo>
                  <a:lnTo>
                    <a:pt x="28" y="25"/>
                  </a:lnTo>
                  <a:lnTo>
                    <a:pt x="33" y="28"/>
                  </a:lnTo>
                  <a:lnTo>
                    <a:pt x="35" y="28"/>
                  </a:lnTo>
                  <a:lnTo>
                    <a:pt x="41" y="28"/>
                  </a:lnTo>
                  <a:lnTo>
                    <a:pt x="41" y="28"/>
                  </a:lnTo>
                  <a:lnTo>
                    <a:pt x="43" y="28"/>
                  </a:lnTo>
                  <a:lnTo>
                    <a:pt x="43" y="25"/>
                  </a:lnTo>
                  <a:lnTo>
                    <a:pt x="43" y="25"/>
                  </a:lnTo>
                  <a:lnTo>
                    <a:pt x="43" y="23"/>
                  </a:lnTo>
                  <a:lnTo>
                    <a:pt x="46" y="23"/>
                  </a:lnTo>
                  <a:lnTo>
                    <a:pt x="46" y="23"/>
                  </a:lnTo>
                  <a:lnTo>
                    <a:pt x="46" y="20"/>
                  </a:lnTo>
                  <a:lnTo>
                    <a:pt x="46" y="2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326" name="Freeform 1945">
              <a:extLst>
                <a:ext uri="{FF2B5EF4-FFF2-40B4-BE49-F238E27FC236}">
                  <a16:creationId xmlns:a16="http://schemas.microsoft.com/office/drawing/2014/main" id="{D8385627-0921-3E40-BCFA-7B65F9B15778}"/>
                </a:ext>
              </a:extLst>
            </p:cNvPr>
            <p:cNvSpPr>
              <a:spLocks/>
            </p:cNvSpPr>
            <p:nvPr/>
          </p:nvSpPr>
          <p:spPr bwMode="auto">
            <a:xfrm>
              <a:off x="6400296" y="2623400"/>
              <a:ext cx="400756" cy="361498"/>
            </a:xfrm>
            <a:custGeom>
              <a:avLst/>
              <a:gdLst>
                <a:gd name="T0" fmla="*/ 232 w 245"/>
                <a:gd name="T1" fmla="*/ 206 h 221"/>
                <a:gd name="T2" fmla="*/ 222 w 245"/>
                <a:gd name="T3" fmla="*/ 198 h 221"/>
                <a:gd name="T4" fmla="*/ 217 w 245"/>
                <a:gd name="T5" fmla="*/ 178 h 221"/>
                <a:gd name="T6" fmla="*/ 222 w 245"/>
                <a:gd name="T7" fmla="*/ 175 h 221"/>
                <a:gd name="T8" fmla="*/ 212 w 245"/>
                <a:gd name="T9" fmla="*/ 165 h 221"/>
                <a:gd name="T10" fmla="*/ 191 w 245"/>
                <a:gd name="T11" fmla="*/ 130 h 221"/>
                <a:gd name="T12" fmla="*/ 181 w 245"/>
                <a:gd name="T13" fmla="*/ 102 h 221"/>
                <a:gd name="T14" fmla="*/ 176 w 245"/>
                <a:gd name="T15" fmla="*/ 94 h 221"/>
                <a:gd name="T16" fmla="*/ 171 w 245"/>
                <a:gd name="T17" fmla="*/ 84 h 221"/>
                <a:gd name="T18" fmla="*/ 161 w 245"/>
                <a:gd name="T19" fmla="*/ 69 h 221"/>
                <a:gd name="T20" fmla="*/ 156 w 245"/>
                <a:gd name="T21" fmla="*/ 61 h 221"/>
                <a:gd name="T22" fmla="*/ 151 w 245"/>
                <a:gd name="T23" fmla="*/ 48 h 221"/>
                <a:gd name="T24" fmla="*/ 151 w 245"/>
                <a:gd name="T25" fmla="*/ 41 h 221"/>
                <a:gd name="T26" fmla="*/ 158 w 245"/>
                <a:gd name="T27" fmla="*/ 51 h 221"/>
                <a:gd name="T28" fmla="*/ 166 w 245"/>
                <a:gd name="T29" fmla="*/ 61 h 221"/>
                <a:gd name="T30" fmla="*/ 171 w 245"/>
                <a:gd name="T31" fmla="*/ 76 h 221"/>
                <a:gd name="T32" fmla="*/ 189 w 245"/>
                <a:gd name="T33" fmla="*/ 89 h 221"/>
                <a:gd name="T34" fmla="*/ 191 w 245"/>
                <a:gd name="T35" fmla="*/ 76 h 221"/>
                <a:gd name="T36" fmla="*/ 199 w 245"/>
                <a:gd name="T37" fmla="*/ 51 h 221"/>
                <a:gd name="T38" fmla="*/ 194 w 245"/>
                <a:gd name="T39" fmla="*/ 33 h 221"/>
                <a:gd name="T40" fmla="*/ 186 w 245"/>
                <a:gd name="T41" fmla="*/ 20 h 221"/>
                <a:gd name="T42" fmla="*/ 184 w 245"/>
                <a:gd name="T43" fmla="*/ 8 h 221"/>
                <a:gd name="T44" fmla="*/ 168 w 245"/>
                <a:gd name="T45" fmla="*/ 13 h 221"/>
                <a:gd name="T46" fmla="*/ 158 w 245"/>
                <a:gd name="T47" fmla="*/ 13 h 221"/>
                <a:gd name="T48" fmla="*/ 151 w 245"/>
                <a:gd name="T49" fmla="*/ 13 h 221"/>
                <a:gd name="T50" fmla="*/ 145 w 245"/>
                <a:gd name="T51" fmla="*/ 10 h 221"/>
                <a:gd name="T52" fmla="*/ 143 w 245"/>
                <a:gd name="T53" fmla="*/ 13 h 221"/>
                <a:gd name="T54" fmla="*/ 138 w 245"/>
                <a:gd name="T55" fmla="*/ 8 h 221"/>
                <a:gd name="T56" fmla="*/ 140 w 245"/>
                <a:gd name="T57" fmla="*/ 5 h 221"/>
                <a:gd name="T58" fmla="*/ 130 w 245"/>
                <a:gd name="T59" fmla="*/ 5 h 221"/>
                <a:gd name="T60" fmla="*/ 122 w 245"/>
                <a:gd name="T61" fmla="*/ 5 h 221"/>
                <a:gd name="T62" fmla="*/ 112 w 245"/>
                <a:gd name="T63" fmla="*/ 8 h 221"/>
                <a:gd name="T64" fmla="*/ 110 w 245"/>
                <a:gd name="T65" fmla="*/ 5 h 221"/>
                <a:gd name="T66" fmla="*/ 107 w 245"/>
                <a:gd name="T67" fmla="*/ 10 h 221"/>
                <a:gd name="T68" fmla="*/ 94 w 245"/>
                <a:gd name="T69" fmla="*/ 15 h 221"/>
                <a:gd name="T70" fmla="*/ 84 w 245"/>
                <a:gd name="T71" fmla="*/ 20 h 221"/>
                <a:gd name="T72" fmla="*/ 64 w 245"/>
                <a:gd name="T73" fmla="*/ 13 h 221"/>
                <a:gd name="T74" fmla="*/ 49 w 245"/>
                <a:gd name="T75" fmla="*/ 8 h 221"/>
                <a:gd name="T76" fmla="*/ 13 w 245"/>
                <a:gd name="T77" fmla="*/ 5 h 221"/>
                <a:gd name="T78" fmla="*/ 8 w 245"/>
                <a:gd name="T79" fmla="*/ 2 h 221"/>
                <a:gd name="T80" fmla="*/ 3 w 245"/>
                <a:gd name="T81" fmla="*/ 13 h 221"/>
                <a:gd name="T82" fmla="*/ 5 w 245"/>
                <a:gd name="T83" fmla="*/ 23 h 221"/>
                <a:gd name="T84" fmla="*/ 0 w 245"/>
                <a:gd name="T85" fmla="*/ 33 h 221"/>
                <a:gd name="T86" fmla="*/ 5 w 245"/>
                <a:gd name="T87" fmla="*/ 48 h 221"/>
                <a:gd name="T88" fmla="*/ 8 w 245"/>
                <a:gd name="T89" fmla="*/ 61 h 221"/>
                <a:gd name="T90" fmla="*/ 8 w 245"/>
                <a:gd name="T91" fmla="*/ 81 h 221"/>
                <a:gd name="T92" fmla="*/ 8 w 245"/>
                <a:gd name="T93" fmla="*/ 104 h 221"/>
                <a:gd name="T94" fmla="*/ 10 w 245"/>
                <a:gd name="T95" fmla="*/ 125 h 221"/>
                <a:gd name="T96" fmla="*/ 10 w 245"/>
                <a:gd name="T97" fmla="*/ 145 h 221"/>
                <a:gd name="T98" fmla="*/ 10 w 245"/>
                <a:gd name="T99" fmla="*/ 165 h 221"/>
                <a:gd name="T100" fmla="*/ 10 w 245"/>
                <a:gd name="T101" fmla="*/ 186 h 221"/>
                <a:gd name="T102" fmla="*/ 13 w 245"/>
                <a:gd name="T103" fmla="*/ 206 h 221"/>
                <a:gd name="T104" fmla="*/ 28 w 245"/>
                <a:gd name="T105" fmla="*/ 221 h 221"/>
                <a:gd name="T106" fmla="*/ 64 w 245"/>
                <a:gd name="T107" fmla="*/ 221 h 221"/>
                <a:gd name="T108" fmla="*/ 94 w 245"/>
                <a:gd name="T109" fmla="*/ 221 h 221"/>
                <a:gd name="T110" fmla="*/ 125 w 245"/>
                <a:gd name="T111" fmla="*/ 221 h 221"/>
                <a:gd name="T112" fmla="*/ 138 w 245"/>
                <a:gd name="T113" fmla="*/ 216 h 221"/>
                <a:gd name="T114" fmla="*/ 140 w 245"/>
                <a:gd name="T115" fmla="*/ 219 h 221"/>
                <a:gd name="T116" fmla="*/ 156 w 245"/>
                <a:gd name="T117" fmla="*/ 221 h 221"/>
                <a:gd name="T118" fmla="*/ 194 w 245"/>
                <a:gd name="T119" fmla="*/ 221 h 221"/>
                <a:gd name="T120" fmla="*/ 219 w 245"/>
                <a:gd name="T121" fmla="*/ 221 h 221"/>
                <a:gd name="T122" fmla="*/ 245 w 245"/>
                <a:gd name="T123" fmla="*/ 221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5" h="221">
                  <a:moveTo>
                    <a:pt x="245" y="219"/>
                  </a:moveTo>
                  <a:lnTo>
                    <a:pt x="245" y="219"/>
                  </a:lnTo>
                  <a:lnTo>
                    <a:pt x="237" y="211"/>
                  </a:lnTo>
                  <a:lnTo>
                    <a:pt x="232" y="206"/>
                  </a:lnTo>
                  <a:lnTo>
                    <a:pt x="227" y="203"/>
                  </a:lnTo>
                  <a:lnTo>
                    <a:pt x="224" y="203"/>
                  </a:lnTo>
                  <a:lnTo>
                    <a:pt x="224" y="201"/>
                  </a:lnTo>
                  <a:lnTo>
                    <a:pt x="222" y="198"/>
                  </a:lnTo>
                  <a:lnTo>
                    <a:pt x="219" y="191"/>
                  </a:lnTo>
                  <a:lnTo>
                    <a:pt x="219" y="188"/>
                  </a:lnTo>
                  <a:lnTo>
                    <a:pt x="217" y="181"/>
                  </a:lnTo>
                  <a:lnTo>
                    <a:pt x="217" y="178"/>
                  </a:lnTo>
                  <a:lnTo>
                    <a:pt x="219" y="175"/>
                  </a:lnTo>
                  <a:lnTo>
                    <a:pt x="219" y="175"/>
                  </a:lnTo>
                  <a:lnTo>
                    <a:pt x="219" y="175"/>
                  </a:lnTo>
                  <a:lnTo>
                    <a:pt x="222" y="175"/>
                  </a:lnTo>
                  <a:lnTo>
                    <a:pt x="219" y="173"/>
                  </a:lnTo>
                  <a:lnTo>
                    <a:pt x="217" y="170"/>
                  </a:lnTo>
                  <a:lnTo>
                    <a:pt x="214" y="168"/>
                  </a:lnTo>
                  <a:lnTo>
                    <a:pt x="212" y="165"/>
                  </a:lnTo>
                  <a:lnTo>
                    <a:pt x="204" y="150"/>
                  </a:lnTo>
                  <a:lnTo>
                    <a:pt x="199" y="142"/>
                  </a:lnTo>
                  <a:lnTo>
                    <a:pt x="196" y="137"/>
                  </a:lnTo>
                  <a:lnTo>
                    <a:pt x="191" y="130"/>
                  </a:lnTo>
                  <a:lnTo>
                    <a:pt x="186" y="117"/>
                  </a:lnTo>
                  <a:lnTo>
                    <a:pt x="184" y="114"/>
                  </a:lnTo>
                  <a:lnTo>
                    <a:pt x="184" y="107"/>
                  </a:lnTo>
                  <a:lnTo>
                    <a:pt x="181" y="102"/>
                  </a:lnTo>
                  <a:lnTo>
                    <a:pt x="181" y="102"/>
                  </a:lnTo>
                  <a:lnTo>
                    <a:pt x="179" y="99"/>
                  </a:lnTo>
                  <a:lnTo>
                    <a:pt x="179" y="97"/>
                  </a:lnTo>
                  <a:lnTo>
                    <a:pt x="176" y="94"/>
                  </a:lnTo>
                  <a:lnTo>
                    <a:pt x="176" y="91"/>
                  </a:lnTo>
                  <a:lnTo>
                    <a:pt x="176" y="86"/>
                  </a:lnTo>
                  <a:lnTo>
                    <a:pt x="173" y="84"/>
                  </a:lnTo>
                  <a:lnTo>
                    <a:pt x="171" y="84"/>
                  </a:lnTo>
                  <a:lnTo>
                    <a:pt x="168" y="79"/>
                  </a:lnTo>
                  <a:lnTo>
                    <a:pt x="163" y="74"/>
                  </a:lnTo>
                  <a:lnTo>
                    <a:pt x="161" y="71"/>
                  </a:lnTo>
                  <a:lnTo>
                    <a:pt x="161" y="69"/>
                  </a:lnTo>
                  <a:lnTo>
                    <a:pt x="161" y="69"/>
                  </a:lnTo>
                  <a:lnTo>
                    <a:pt x="158" y="66"/>
                  </a:lnTo>
                  <a:lnTo>
                    <a:pt x="156" y="64"/>
                  </a:lnTo>
                  <a:lnTo>
                    <a:pt x="156" y="61"/>
                  </a:lnTo>
                  <a:lnTo>
                    <a:pt x="156" y="56"/>
                  </a:lnTo>
                  <a:lnTo>
                    <a:pt x="156" y="53"/>
                  </a:lnTo>
                  <a:lnTo>
                    <a:pt x="153" y="53"/>
                  </a:lnTo>
                  <a:lnTo>
                    <a:pt x="151" y="48"/>
                  </a:lnTo>
                  <a:lnTo>
                    <a:pt x="151" y="46"/>
                  </a:lnTo>
                  <a:lnTo>
                    <a:pt x="151" y="43"/>
                  </a:lnTo>
                  <a:lnTo>
                    <a:pt x="153" y="43"/>
                  </a:lnTo>
                  <a:lnTo>
                    <a:pt x="151" y="41"/>
                  </a:lnTo>
                  <a:lnTo>
                    <a:pt x="153" y="38"/>
                  </a:lnTo>
                  <a:lnTo>
                    <a:pt x="156" y="43"/>
                  </a:lnTo>
                  <a:lnTo>
                    <a:pt x="156" y="48"/>
                  </a:lnTo>
                  <a:lnTo>
                    <a:pt x="158" y="51"/>
                  </a:lnTo>
                  <a:lnTo>
                    <a:pt x="158" y="53"/>
                  </a:lnTo>
                  <a:lnTo>
                    <a:pt x="161" y="56"/>
                  </a:lnTo>
                  <a:lnTo>
                    <a:pt x="163" y="58"/>
                  </a:lnTo>
                  <a:lnTo>
                    <a:pt x="166" y="61"/>
                  </a:lnTo>
                  <a:lnTo>
                    <a:pt x="168" y="66"/>
                  </a:lnTo>
                  <a:lnTo>
                    <a:pt x="168" y="69"/>
                  </a:lnTo>
                  <a:lnTo>
                    <a:pt x="168" y="71"/>
                  </a:lnTo>
                  <a:lnTo>
                    <a:pt x="171" y="76"/>
                  </a:lnTo>
                  <a:lnTo>
                    <a:pt x="176" y="79"/>
                  </a:lnTo>
                  <a:lnTo>
                    <a:pt x="179" y="84"/>
                  </a:lnTo>
                  <a:lnTo>
                    <a:pt x="184" y="89"/>
                  </a:lnTo>
                  <a:lnTo>
                    <a:pt x="189" y="89"/>
                  </a:lnTo>
                  <a:lnTo>
                    <a:pt x="189" y="86"/>
                  </a:lnTo>
                  <a:lnTo>
                    <a:pt x="191" y="84"/>
                  </a:lnTo>
                  <a:lnTo>
                    <a:pt x="191" y="81"/>
                  </a:lnTo>
                  <a:lnTo>
                    <a:pt x="191" y="76"/>
                  </a:lnTo>
                  <a:lnTo>
                    <a:pt x="194" y="66"/>
                  </a:lnTo>
                  <a:lnTo>
                    <a:pt x="196" y="56"/>
                  </a:lnTo>
                  <a:lnTo>
                    <a:pt x="199" y="51"/>
                  </a:lnTo>
                  <a:lnTo>
                    <a:pt x="199" y="51"/>
                  </a:lnTo>
                  <a:lnTo>
                    <a:pt x="199" y="48"/>
                  </a:lnTo>
                  <a:lnTo>
                    <a:pt x="196" y="43"/>
                  </a:lnTo>
                  <a:lnTo>
                    <a:pt x="194" y="38"/>
                  </a:lnTo>
                  <a:lnTo>
                    <a:pt x="194" y="33"/>
                  </a:lnTo>
                  <a:lnTo>
                    <a:pt x="191" y="28"/>
                  </a:lnTo>
                  <a:lnTo>
                    <a:pt x="191" y="28"/>
                  </a:lnTo>
                  <a:lnTo>
                    <a:pt x="189" y="25"/>
                  </a:lnTo>
                  <a:lnTo>
                    <a:pt x="186" y="20"/>
                  </a:lnTo>
                  <a:lnTo>
                    <a:pt x="186" y="15"/>
                  </a:lnTo>
                  <a:lnTo>
                    <a:pt x="184" y="10"/>
                  </a:lnTo>
                  <a:lnTo>
                    <a:pt x="184" y="10"/>
                  </a:lnTo>
                  <a:lnTo>
                    <a:pt x="184" y="8"/>
                  </a:lnTo>
                  <a:lnTo>
                    <a:pt x="181" y="10"/>
                  </a:lnTo>
                  <a:lnTo>
                    <a:pt x="176" y="13"/>
                  </a:lnTo>
                  <a:lnTo>
                    <a:pt x="173" y="13"/>
                  </a:lnTo>
                  <a:lnTo>
                    <a:pt x="168" y="13"/>
                  </a:lnTo>
                  <a:lnTo>
                    <a:pt x="163" y="15"/>
                  </a:lnTo>
                  <a:lnTo>
                    <a:pt x="163" y="13"/>
                  </a:lnTo>
                  <a:lnTo>
                    <a:pt x="163" y="13"/>
                  </a:lnTo>
                  <a:lnTo>
                    <a:pt x="158" y="13"/>
                  </a:lnTo>
                  <a:lnTo>
                    <a:pt x="158" y="13"/>
                  </a:lnTo>
                  <a:lnTo>
                    <a:pt x="153" y="15"/>
                  </a:lnTo>
                  <a:lnTo>
                    <a:pt x="153" y="15"/>
                  </a:lnTo>
                  <a:lnTo>
                    <a:pt x="151" y="13"/>
                  </a:lnTo>
                  <a:lnTo>
                    <a:pt x="148" y="10"/>
                  </a:lnTo>
                  <a:lnTo>
                    <a:pt x="145" y="10"/>
                  </a:lnTo>
                  <a:lnTo>
                    <a:pt x="145" y="10"/>
                  </a:lnTo>
                  <a:lnTo>
                    <a:pt x="145" y="10"/>
                  </a:lnTo>
                  <a:lnTo>
                    <a:pt x="145" y="13"/>
                  </a:lnTo>
                  <a:lnTo>
                    <a:pt x="145" y="13"/>
                  </a:lnTo>
                  <a:lnTo>
                    <a:pt x="143" y="13"/>
                  </a:lnTo>
                  <a:lnTo>
                    <a:pt x="143" y="13"/>
                  </a:lnTo>
                  <a:lnTo>
                    <a:pt x="140" y="10"/>
                  </a:lnTo>
                  <a:lnTo>
                    <a:pt x="138" y="10"/>
                  </a:lnTo>
                  <a:lnTo>
                    <a:pt x="135" y="10"/>
                  </a:lnTo>
                  <a:lnTo>
                    <a:pt x="138" y="8"/>
                  </a:lnTo>
                  <a:lnTo>
                    <a:pt x="138" y="5"/>
                  </a:lnTo>
                  <a:lnTo>
                    <a:pt x="143" y="8"/>
                  </a:lnTo>
                  <a:lnTo>
                    <a:pt x="143" y="8"/>
                  </a:lnTo>
                  <a:lnTo>
                    <a:pt x="140" y="5"/>
                  </a:lnTo>
                  <a:lnTo>
                    <a:pt x="138" y="2"/>
                  </a:lnTo>
                  <a:lnTo>
                    <a:pt x="138" y="5"/>
                  </a:lnTo>
                  <a:lnTo>
                    <a:pt x="133" y="5"/>
                  </a:lnTo>
                  <a:lnTo>
                    <a:pt x="130" y="5"/>
                  </a:lnTo>
                  <a:lnTo>
                    <a:pt x="125" y="2"/>
                  </a:lnTo>
                  <a:lnTo>
                    <a:pt x="122" y="2"/>
                  </a:lnTo>
                  <a:lnTo>
                    <a:pt x="122" y="2"/>
                  </a:lnTo>
                  <a:lnTo>
                    <a:pt x="122" y="5"/>
                  </a:lnTo>
                  <a:lnTo>
                    <a:pt x="120" y="5"/>
                  </a:lnTo>
                  <a:lnTo>
                    <a:pt x="117" y="5"/>
                  </a:lnTo>
                  <a:lnTo>
                    <a:pt x="115" y="8"/>
                  </a:lnTo>
                  <a:lnTo>
                    <a:pt x="112" y="8"/>
                  </a:lnTo>
                  <a:lnTo>
                    <a:pt x="120" y="5"/>
                  </a:lnTo>
                  <a:lnTo>
                    <a:pt x="120" y="2"/>
                  </a:lnTo>
                  <a:lnTo>
                    <a:pt x="112" y="5"/>
                  </a:lnTo>
                  <a:lnTo>
                    <a:pt x="110" y="5"/>
                  </a:lnTo>
                  <a:lnTo>
                    <a:pt x="110" y="8"/>
                  </a:lnTo>
                  <a:lnTo>
                    <a:pt x="107" y="8"/>
                  </a:lnTo>
                  <a:lnTo>
                    <a:pt x="107" y="8"/>
                  </a:lnTo>
                  <a:lnTo>
                    <a:pt x="107" y="10"/>
                  </a:lnTo>
                  <a:lnTo>
                    <a:pt x="105" y="10"/>
                  </a:lnTo>
                  <a:lnTo>
                    <a:pt x="102" y="10"/>
                  </a:lnTo>
                  <a:lnTo>
                    <a:pt x="102" y="10"/>
                  </a:lnTo>
                  <a:lnTo>
                    <a:pt x="94" y="15"/>
                  </a:lnTo>
                  <a:lnTo>
                    <a:pt x="92" y="18"/>
                  </a:lnTo>
                  <a:lnTo>
                    <a:pt x="89" y="18"/>
                  </a:lnTo>
                  <a:lnTo>
                    <a:pt x="87" y="20"/>
                  </a:lnTo>
                  <a:lnTo>
                    <a:pt x="84" y="20"/>
                  </a:lnTo>
                  <a:lnTo>
                    <a:pt x="82" y="20"/>
                  </a:lnTo>
                  <a:lnTo>
                    <a:pt x="79" y="18"/>
                  </a:lnTo>
                  <a:lnTo>
                    <a:pt x="74" y="15"/>
                  </a:lnTo>
                  <a:lnTo>
                    <a:pt x="64" y="13"/>
                  </a:lnTo>
                  <a:lnTo>
                    <a:pt x="61" y="13"/>
                  </a:lnTo>
                  <a:lnTo>
                    <a:pt x="56" y="13"/>
                  </a:lnTo>
                  <a:lnTo>
                    <a:pt x="54" y="10"/>
                  </a:lnTo>
                  <a:lnTo>
                    <a:pt x="49" y="8"/>
                  </a:lnTo>
                  <a:lnTo>
                    <a:pt x="41" y="5"/>
                  </a:lnTo>
                  <a:lnTo>
                    <a:pt x="33" y="5"/>
                  </a:lnTo>
                  <a:lnTo>
                    <a:pt x="23" y="2"/>
                  </a:lnTo>
                  <a:lnTo>
                    <a:pt x="13" y="5"/>
                  </a:lnTo>
                  <a:lnTo>
                    <a:pt x="10" y="5"/>
                  </a:lnTo>
                  <a:lnTo>
                    <a:pt x="8" y="0"/>
                  </a:lnTo>
                  <a:lnTo>
                    <a:pt x="8" y="2"/>
                  </a:lnTo>
                  <a:lnTo>
                    <a:pt x="8" y="2"/>
                  </a:lnTo>
                  <a:lnTo>
                    <a:pt x="5" y="5"/>
                  </a:lnTo>
                  <a:lnTo>
                    <a:pt x="5" y="5"/>
                  </a:lnTo>
                  <a:lnTo>
                    <a:pt x="3" y="8"/>
                  </a:lnTo>
                  <a:lnTo>
                    <a:pt x="3" y="13"/>
                  </a:lnTo>
                  <a:lnTo>
                    <a:pt x="3" y="15"/>
                  </a:lnTo>
                  <a:lnTo>
                    <a:pt x="5" y="18"/>
                  </a:lnTo>
                  <a:lnTo>
                    <a:pt x="5" y="20"/>
                  </a:lnTo>
                  <a:lnTo>
                    <a:pt x="5" y="23"/>
                  </a:lnTo>
                  <a:lnTo>
                    <a:pt x="5" y="25"/>
                  </a:lnTo>
                  <a:lnTo>
                    <a:pt x="5" y="28"/>
                  </a:lnTo>
                  <a:lnTo>
                    <a:pt x="3" y="33"/>
                  </a:lnTo>
                  <a:lnTo>
                    <a:pt x="0" y="33"/>
                  </a:lnTo>
                  <a:lnTo>
                    <a:pt x="3" y="36"/>
                  </a:lnTo>
                  <a:lnTo>
                    <a:pt x="3" y="41"/>
                  </a:lnTo>
                  <a:lnTo>
                    <a:pt x="3" y="43"/>
                  </a:lnTo>
                  <a:lnTo>
                    <a:pt x="5" y="48"/>
                  </a:lnTo>
                  <a:lnTo>
                    <a:pt x="5" y="53"/>
                  </a:lnTo>
                  <a:lnTo>
                    <a:pt x="8" y="56"/>
                  </a:lnTo>
                  <a:lnTo>
                    <a:pt x="8" y="56"/>
                  </a:lnTo>
                  <a:lnTo>
                    <a:pt x="8" y="61"/>
                  </a:lnTo>
                  <a:lnTo>
                    <a:pt x="8" y="66"/>
                  </a:lnTo>
                  <a:lnTo>
                    <a:pt x="8" y="71"/>
                  </a:lnTo>
                  <a:lnTo>
                    <a:pt x="8" y="76"/>
                  </a:lnTo>
                  <a:lnTo>
                    <a:pt x="8" y="81"/>
                  </a:lnTo>
                  <a:lnTo>
                    <a:pt x="8" y="86"/>
                  </a:lnTo>
                  <a:lnTo>
                    <a:pt x="8" y="91"/>
                  </a:lnTo>
                  <a:lnTo>
                    <a:pt x="8" y="99"/>
                  </a:lnTo>
                  <a:lnTo>
                    <a:pt x="8" y="104"/>
                  </a:lnTo>
                  <a:lnTo>
                    <a:pt x="10" y="109"/>
                  </a:lnTo>
                  <a:lnTo>
                    <a:pt x="10" y="114"/>
                  </a:lnTo>
                  <a:lnTo>
                    <a:pt x="10" y="119"/>
                  </a:lnTo>
                  <a:lnTo>
                    <a:pt x="10" y="125"/>
                  </a:lnTo>
                  <a:lnTo>
                    <a:pt x="10" y="130"/>
                  </a:lnTo>
                  <a:lnTo>
                    <a:pt x="10" y="135"/>
                  </a:lnTo>
                  <a:lnTo>
                    <a:pt x="10" y="140"/>
                  </a:lnTo>
                  <a:lnTo>
                    <a:pt x="10" y="145"/>
                  </a:lnTo>
                  <a:lnTo>
                    <a:pt x="10" y="150"/>
                  </a:lnTo>
                  <a:lnTo>
                    <a:pt x="10" y="155"/>
                  </a:lnTo>
                  <a:lnTo>
                    <a:pt x="10" y="160"/>
                  </a:lnTo>
                  <a:lnTo>
                    <a:pt x="10" y="165"/>
                  </a:lnTo>
                  <a:lnTo>
                    <a:pt x="10" y="170"/>
                  </a:lnTo>
                  <a:lnTo>
                    <a:pt x="10" y="175"/>
                  </a:lnTo>
                  <a:lnTo>
                    <a:pt x="10" y="181"/>
                  </a:lnTo>
                  <a:lnTo>
                    <a:pt x="10" y="186"/>
                  </a:lnTo>
                  <a:lnTo>
                    <a:pt x="10" y="191"/>
                  </a:lnTo>
                  <a:lnTo>
                    <a:pt x="10" y="196"/>
                  </a:lnTo>
                  <a:lnTo>
                    <a:pt x="10" y="201"/>
                  </a:lnTo>
                  <a:lnTo>
                    <a:pt x="13" y="206"/>
                  </a:lnTo>
                  <a:lnTo>
                    <a:pt x="13" y="211"/>
                  </a:lnTo>
                  <a:lnTo>
                    <a:pt x="13" y="216"/>
                  </a:lnTo>
                  <a:lnTo>
                    <a:pt x="13" y="221"/>
                  </a:lnTo>
                  <a:lnTo>
                    <a:pt x="28" y="221"/>
                  </a:lnTo>
                  <a:lnTo>
                    <a:pt x="36" y="221"/>
                  </a:lnTo>
                  <a:lnTo>
                    <a:pt x="41" y="221"/>
                  </a:lnTo>
                  <a:lnTo>
                    <a:pt x="49" y="221"/>
                  </a:lnTo>
                  <a:lnTo>
                    <a:pt x="64" y="221"/>
                  </a:lnTo>
                  <a:lnTo>
                    <a:pt x="72" y="221"/>
                  </a:lnTo>
                  <a:lnTo>
                    <a:pt x="79" y="221"/>
                  </a:lnTo>
                  <a:lnTo>
                    <a:pt x="87" y="221"/>
                  </a:lnTo>
                  <a:lnTo>
                    <a:pt x="94" y="221"/>
                  </a:lnTo>
                  <a:lnTo>
                    <a:pt x="102" y="221"/>
                  </a:lnTo>
                  <a:lnTo>
                    <a:pt x="110" y="221"/>
                  </a:lnTo>
                  <a:lnTo>
                    <a:pt x="117" y="221"/>
                  </a:lnTo>
                  <a:lnTo>
                    <a:pt x="125" y="221"/>
                  </a:lnTo>
                  <a:lnTo>
                    <a:pt x="133" y="221"/>
                  </a:lnTo>
                  <a:lnTo>
                    <a:pt x="135" y="221"/>
                  </a:lnTo>
                  <a:lnTo>
                    <a:pt x="135" y="221"/>
                  </a:lnTo>
                  <a:lnTo>
                    <a:pt x="138" y="216"/>
                  </a:lnTo>
                  <a:lnTo>
                    <a:pt x="138" y="216"/>
                  </a:lnTo>
                  <a:lnTo>
                    <a:pt x="140" y="216"/>
                  </a:lnTo>
                  <a:lnTo>
                    <a:pt x="140" y="216"/>
                  </a:lnTo>
                  <a:lnTo>
                    <a:pt x="140" y="219"/>
                  </a:lnTo>
                  <a:lnTo>
                    <a:pt x="140" y="221"/>
                  </a:lnTo>
                  <a:lnTo>
                    <a:pt x="143" y="221"/>
                  </a:lnTo>
                  <a:lnTo>
                    <a:pt x="148" y="221"/>
                  </a:lnTo>
                  <a:lnTo>
                    <a:pt x="156" y="221"/>
                  </a:lnTo>
                  <a:lnTo>
                    <a:pt x="163" y="221"/>
                  </a:lnTo>
                  <a:lnTo>
                    <a:pt x="168" y="221"/>
                  </a:lnTo>
                  <a:lnTo>
                    <a:pt x="189" y="221"/>
                  </a:lnTo>
                  <a:lnTo>
                    <a:pt x="194" y="221"/>
                  </a:lnTo>
                  <a:lnTo>
                    <a:pt x="201" y="221"/>
                  </a:lnTo>
                  <a:lnTo>
                    <a:pt x="207" y="221"/>
                  </a:lnTo>
                  <a:lnTo>
                    <a:pt x="214" y="221"/>
                  </a:lnTo>
                  <a:lnTo>
                    <a:pt x="219" y="221"/>
                  </a:lnTo>
                  <a:lnTo>
                    <a:pt x="227" y="221"/>
                  </a:lnTo>
                  <a:lnTo>
                    <a:pt x="232" y="221"/>
                  </a:lnTo>
                  <a:lnTo>
                    <a:pt x="240" y="221"/>
                  </a:lnTo>
                  <a:lnTo>
                    <a:pt x="245" y="221"/>
                  </a:lnTo>
                  <a:lnTo>
                    <a:pt x="245" y="219"/>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327" name="Freeform 1946">
              <a:extLst>
                <a:ext uri="{FF2B5EF4-FFF2-40B4-BE49-F238E27FC236}">
                  <a16:creationId xmlns:a16="http://schemas.microsoft.com/office/drawing/2014/main" id="{670E4B46-C2E1-D240-8387-229DC8CDC7A5}"/>
                </a:ext>
              </a:extLst>
            </p:cNvPr>
            <p:cNvSpPr>
              <a:spLocks noEditPoints="1"/>
            </p:cNvSpPr>
            <p:nvPr/>
          </p:nvSpPr>
          <p:spPr bwMode="auto">
            <a:xfrm>
              <a:off x="2593937" y="3747150"/>
              <a:ext cx="538158" cy="242089"/>
            </a:xfrm>
            <a:custGeom>
              <a:avLst/>
              <a:gdLst>
                <a:gd name="T0" fmla="*/ 237 w 329"/>
                <a:gd name="T1" fmla="*/ 94 h 148"/>
                <a:gd name="T2" fmla="*/ 230 w 329"/>
                <a:gd name="T3" fmla="*/ 99 h 148"/>
                <a:gd name="T4" fmla="*/ 23 w 329"/>
                <a:gd name="T5" fmla="*/ 64 h 148"/>
                <a:gd name="T6" fmla="*/ 49 w 329"/>
                <a:gd name="T7" fmla="*/ 48 h 148"/>
                <a:gd name="T8" fmla="*/ 41 w 329"/>
                <a:gd name="T9" fmla="*/ 53 h 148"/>
                <a:gd name="T10" fmla="*/ 49 w 329"/>
                <a:gd name="T11" fmla="*/ 51 h 148"/>
                <a:gd name="T12" fmla="*/ 26 w 329"/>
                <a:gd name="T13" fmla="*/ 51 h 148"/>
                <a:gd name="T14" fmla="*/ 28 w 329"/>
                <a:gd name="T15" fmla="*/ 43 h 148"/>
                <a:gd name="T16" fmla="*/ 0 w 329"/>
                <a:gd name="T17" fmla="*/ 41 h 148"/>
                <a:gd name="T18" fmla="*/ 18 w 329"/>
                <a:gd name="T19" fmla="*/ 36 h 148"/>
                <a:gd name="T20" fmla="*/ 23 w 329"/>
                <a:gd name="T21" fmla="*/ 41 h 148"/>
                <a:gd name="T22" fmla="*/ 13 w 329"/>
                <a:gd name="T23" fmla="*/ 43 h 148"/>
                <a:gd name="T24" fmla="*/ 3 w 329"/>
                <a:gd name="T25" fmla="*/ 30 h 148"/>
                <a:gd name="T26" fmla="*/ 5 w 329"/>
                <a:gd name="T27" fmla="*/ 33 h 148"/>
                <a:gd name="T28" fmla="*/ 5 w 329"/>
                <a:gd name="T29" fmla="*/ 48 h 148"/>
                <a:gd name="T30" fmla="*/ 11 w 329"/>
                <a:gd name="T31" fmla="*/ 56 h 148"/>
                <a:gd name="T32" fmla="*/ 258 w 329"/>
                <a:gd name="T33" fmla="*/ 2 h 148"/>
                <a:gd name="T34" fmla="*/ 329 w 329"/>
                <a:gd name="T35" fmla="*/ 48 h 148"/>
                <a:gd name="T36" fmla="*/ 324 w 329"/>
                <a:gd name="T37" fmla="*/ 38 h 148"/>
                <a:gd name="T38" fmla="*/ 327 w 329"/>
                <a:gd name="T39" fmla="*/ 36 h 148"/>
                <a:gd name="T40" fmla="*/ 316 w 329"/>
                <a:gd name="T41" fmla="*/ 30 h 148"/>
                <a:gd name="T42" fmla="*/ 306 w 329"/>
                <a:gd name="T43" fmla="*/ 23 h 148"/>
                <a:gd name="T44" fmla="*/ 301 w 329"/>
                <a:gd name="T45" fmla="*/ 28 h 148"/>
                <a:gd name="T46" fmla="*/ 293 w 329"/>
                <a:gd name="T47" fmla="*/ 25 h 148"/>
                <a:gd name="T48" fmla="*/ 286 w 329"/>
                <a:gd name="T49" fmla="*/ 18 h 148"/>
                <a:gd name="T50" fmla="*/ 281 w 329"/>
                <a:gd name="T51" fmla="*/ 15 h 148"/>
                <a:gd name="T52" fmla="*/ 263 w 329"/>
                <a:gd name="T53" fmla="*/ 5 h 148"/>
                <a:gd name="T54" fmla="*/ 258 w 329"/>
                <a:gd name="T55" fmla="*/ 5 h 148"/>
                <a:gd name="T56" fmla="*/ 237 w 329"/>
                <a:gd name="T57" fmla="*/ 13 h 148"/>
                <a:gd name="T58" fmla="*/ 232 w 329"/>
                <a:gd name="T59" fmla="*/ 33 h 148"/>
                <a:gd name="T60" fmla="*/ 230 w 329"/>
                <a:gd name="T61" fmla="*/ 48 h 148"/>
                <a:gd name="T62" fmla="*/ 217 w 329"/>
                <a:gd name="T63" fmla="*/ 56 h 148"/>
                <a:gd name="T64" fmla="*/ 220 w 329"/>
                <a:gd name="T65" fmla="*/ 76 h 148"/>
                <a:gd name="T66" fmla="*/ 217 w 329"/>
                <a:gd name="T67" fmla="*/ 86 h 148"/>
                <a:gd name="T68" fmla="*/ 230 w 329"/>
                <a:gd name="T69" fmla="*/ 94 h 148"/>
                <a:gd name="T70" fmla="*/ 237 w 329"/>
                <a:gd name="T71" fmla="*/ 92 h 148"/>
                <a:gd name="T72" fmla="*/ 237 w 329"/>
                <a:gd name="T73" fmla="*/ 86 h 148"/>
                <a:gd name="T74" fmla="*/ 235 w 329"/>
                <a:gd name="T75" fmla="*/ 107 h 148"/>
                <a:gd name="T76" fmla="*/ 230 w 329"/>
                <a:gd name="T77" fmla="*/ 112 h 148"/>
                <a:gd name="T78" fmla="*/ 232 w 329"/>
                <a:gd name="T79" fmla="*/ 117 h 148"/>
                <a:gd name="T80" fmla="*/ 232 w 329"/>
                <a:gd name="T81" fmla="*/ 122 h 148"/>
                <a:gd name="T82" fmla="*/ 227 w 329"/>
                <a:gd name="T83" fmla="*/ 125 h 148"/>
                <a:gd name="T84" fmla="*/ 227 w 329"/>
                <a:gd name="T85" fmla="*/ 132 h 148"/>
                <a:gd name="T86" fmla="*/ 232 w 329"/>
                <a:gd name="T87" fmla="*/ 132 h 148"/>
                <a:gd name="T88" fmla="*/ 242 w 329"/>
                <a:gd name="T89" fmla="*/ 135 h 148"/>
                <a:gd name="T90" fmla="*/ 250 w 329"/>
                <a:gd name="T91" fmla="*/ 142 h 148"/>
                <a:gd name="T92" fmla="*/ 258 w 329"/>
                <a:gd name="T93" fmla="*/ 145 h 148"/>
                <a:gd name="T94" fmla="*/ 260 w 329"/>
                <a:gd name="T95" fmla="*/ 140 h 148"/>
                <a:gd name="T96" fmla="*/ 263 w 329"/>
                <a:gd name="T97" fmla="*/ 132 h 148"/>
                <a:gd name="T98" fmla="*/ 265 w 329"/>
                <a:gd name="T99" fmla="*/ 122 h 148"/>
                <a:gd name="T100" fmla="*/ 268 w 329"/>
                <a:gd name="T101" fmla="*/ 114 h 148"/>
                <a:gd name="T102" fmla="*/ 270 w 329"/>
                <a:gd name="T103" fmla="*/ 112 h 148"/>
                <a:gd name="T104" fmla="*/ 273 w 329"/>
                <a:gd name="T105" fmla="*/ 109 h 148"/>
                <a:gd name="T106" fmla="*/ 283 w 329"/>
                <a:gd name="T107" fmla="*/ 99 h 148"/>
                <a:gd name="T108" fmla="*/ 306 w 329"/>
                <a:gd name="T109" fmla="*/ 89 h 148"/>
                <a:gd name="T110" fmla="*/ 321 w 329"/>
                <a:gd name="T111" fmla="*/ 69 h 148"/>
                <a:gd name="T112" fmla="*/ 327 w 329"/>
                <a:gd name="T113" fmla="*/ 53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9" h="148">
                  <a:moveTo>
                    <a:pt x="232" y="102"/>
                  </a:moveTo>
                  <a:lnTo>
                    <a:pt x="232" y="102"/>
                  </a:lnTo>
                  <a:lnTo>
                    <a:pt x="232" y="97"/>
                  </a:lnTo>
                  <a:lnTo>
                    <a:pt x="235" y="97"/>
                  </a:lnTo>
                  <a:lnTo>
                    <a:pt x="235" y="97"/>
                  </a:lnTo>
                  <a:lnTo>
                    <a:pt x="237" y="94"/>
                  </a:lnTo>
                  <a:lnTo>
                    <a:pt x="235" y="94"/>
                  </a:lnTo>
                  <a:lnTo>
                    <a:pt x="235" y="94"/>
                  </a:lnTo>
                  <a:lnTo>
                    <a:pt x="232" y="94"/>
                  </a:lnTo>
                  <a:lnTo>
                    <a:pt x="230" y="97"/>
                  </a:lnTo>
                  <a:lnTo>
                    <a:pt x="230" y="97"/>
                  </a:lnTo>
                  <a:lnTo>
                    <a:pt x="230" y="99"/>
                  </a:lnTo>
                  <a:lnTo>
                    <a:pt x="230" y="102"/>
                  </a:lnTo>
                  <a:lnTo>
                    <a:pt x="230" y="102"/>
                  </a:lnTo>
                  <a:lnTo>
                    <a:pt x="232" y="102"/>
                  </a:lnTo>
                  <a:close/>
                  <a:moveTo>
                    <a:pt x="26" y="61"/>
                  </a:moveTo>
                  <a:lnTo>
                    <a:pt x="23" y="61"/>
                  </a:lnTo>
                  <a:lnTo>
                    <a:pt x="23" y="64"/>
                  </a:lnTo>
                  <a:lnTo>
                    <a:pt x="23" y="64"/>
                  </a:lnTo>
                  <a:lnTo>
                    <a:pt x="26" y="64"/>
                  </a:lnTo>
                  <a:lnTo>
                    <a:pt x="26" y="64"/>
                  </a:lnTo>
                  <a:lnTo>
                    <a:pt x="26" y="61"/>
                  </a:lnTo>
                  <a:lnTo>
                    <a:pt x="26" y="61"/>
                  </a:lnTo>
                  <a:close/>
                  <a:moveTo>
                    <a:pt x="49" y="48"/>
                  </a:moveTo>
                  <a:lnTo>
                    <a:pt x="46" y="48"/>
                  </a:lnTo>
                  <a:lnTo>
                    <a:pt x="46" y="48"/>
                  </a:lnTo>
                  <a:lnTo>
                    <a:pt x="44" y="51"/>
                  </a:lnTo>
                  <a:lnTo>
                    <a:pt x="44" y="51"/>
                  </a:lnTo>
                  <a:lnTo>
                    <a:pt x="41" y="53"/>
                  </a:lnTo>
                  <a:lnTo>
                    <a:pt x="41" y="53"/>
                  </a:lnTo>
                  <a:lnTo>
                    <a:pt x="41" y="53"/>
                  </a:lnTo>
                  <a:lnTo>
                    <a:pt x="44" y="56"/>
                  </a:lnTo>
                  <a:lnTo>
                    <a:pt x="46" y="53"/>
                  </a:lnTo>
                  <a:lnTo>
                    <a:pt x="46" y="51"/>
                  </a:lnTo>
                  <a:lnTo>
                    <a:pt x="49" y="51"/>
                  </a:lnTo>
                  <a:lnTo>
                    <a:pt x="49" y="51"/>
                  </a:lnTo>
                  <a:lnTo>
                    <a:pt x="49" y="48"/>
                  </a:lnTo>
                  <a:lnTo>
                    <a:pt x="49" y="48"/>
                  </a:lnTo>
                  <a:close/>
                  <a:moveTo>
                    <a:pt x="23" y="46"/>
                  </a:moveTo>
                  <a:lnTo>
                    <a:pt x="23" y="46"/>
                  </a:lnTo>
                  <a:lnTo>
                    <a:pt x="23" y="48"/>
                  </a:lnTo>
                  <a:lnTo>
                    <a:pt x="26" y="51"/>
                  </a:lnTo>
                  <a:lnTo>
                    <a:pt x="26" y="51"/>
                  </a:lnTo>
                  <a:lnTo>
                    <a:pt x="26" y="51"/>
                  </a:lnTo>
                  <a:lnTo>
                    <a:pt x="28" y="51"/>
                  </a:lnTo>
                  <a:lnTo>
                    <a:pt x="28" y="48"/>
                  </a:lnTo>
                  <a:lnTo>
                    <a:pt x="28" y="46"/>
                  </a:lnTo>
                  <a:lnTo>
                    <a:pt x="28" y="43"/>
                  </a:lnTo>
                  <a:lnTo>
                    <a:pt x="23" y="46"/>
                  </a:lnTo>
                  <a:close/>
                  <a:moveTo>
                    <a:pt x="5" y="43"/>
                  </a:moveTo>
                  <a:lnTo>
                    <a:pt x="5" y="41"/>
                  </a:lnTo>
                  <a:lnTo>
                    <a:pt x="3" y="38"/>
                  </a:lnTo>
                  <a:lnTo>
                    <a:pt x="0" y="41"/>
                  </a:lnTo>
                  <a:lnTo>
                    <a:pt x="0" y="41"/>
                  </a:lnTo>
                  <a:lnTo>
                    <a:pt x="0" y="43"/>
                  </a:lnTo>
                  <a:lnTo>
                    <a:pt x="0" y="43"/>
                  </a:lnTo>
                  <a:lnTo>
                    <a:pt x="3" y="43"/>
                  </a:lnTo>
                  <a:lnTo>
                    <a:pt x="5" y="43"/>
                  </a:lnTo>
                  <a:lnTo>
                    <a:pt x="5" y="43"/>
                  </a:lnTo>
                  <a:close/>
                  <a:moveTo>
                    <a:pt x="18" y="36"/>
                  </a:moveTo>
                  <a:lnTo>
                    <a:pt x="16" y="38"/>
                  </a:lnTo>
                  <a:lnTo>
                    <a:pt x="16" y="38"/>
                  </a:lnTo>
                  <a:lnTo>
                    <a:pt x="18" y="41"/>
                  </a:lnTo>
                  <a:lnTo>
                    <a:pt x="21" y="41"/>
                  </a:lnTo>
                  <a:lnTo>
                    <a:pt x="21" y="41"/>
                  </a:lnTo>
                  <a:lnTo>
                    <a:pt x="23" y="41"/>
                  </a:lnTo>
                  <a:lnTo>
                    <a:pt x="21" y="38"/>
                  </a:lnTo>
                  <a:lnTo>
                    <a:pt x="18" y="36"/>
                  </a:lnTo>
                  <a:close/>
                  <a:moveTo>
                    <a:pt x="13" y="46"/>
                  </a:moveTo>
                  <a:lnTo>
                    <a:pt x="13" y="46"/>
                  </a:lnTo>
                  <a:lnTo>
                    <a:pt x="13" y="46"/>
                  </a:lnTo>
                  <a:lnTo>
                    <a:pt x="13" y="43"/>
                  </a:lnTo>
                  <a:lnTo>
                    <a:pt x="11" y="38"/>
                  </a:lnTo>
                  <a:lnTo>
                    <a:pt x="8" y="33"/>
                  </a:lnTo>
                  <a:lnTo>
                    <a:pt x="8" y="33"/>
                  </a:lnTo>
                  <a:lnTo>
                    <a:pt x="8" y="30"/>
                  </a:lnTo>
                  <a:lnTo>
                    <a:pt x="5" y="30"/>
                  </a:lnTo>
                  <a:lnTo>
                    <a:pt x="3" y="30"/>
                  </a:lnTo>
                  <a:lnTo>
                    <a:pt x="3" y="30"/>
                  </a:lnTo>
                  <a:lnTo>
                    <a:pt x="0" y="33"/>
                  </a:lnTo>
                  <a:lnTo>
                    <a:pt x="0" y="33"/>
                  </a:lnTo>
                  <a:lnTo>
                    <a:pt x="3" y="33"/>
                  </a:lnTo>
                  <a:lnTo>
                    <a:pt x="3" y="33"/>
                  </a:lnTo>
                  <a:lnTo>
                    <a:pt x="5" y="33"/>
                  </a:lnTo>
                  <a:lnTo>
                    <a:pt x="5" y="41"/>
                  </a:lnTo>
                  <a:lnTo>
                    <a:pt x="8" y="41"/>
                  </a:lnTo>
                  <a:lnTo>
                    <a:pt x="11" y="43"/>
                  </a:lnTo>
                  <a:lnTo>
                    <a:pt x="11" y="46"/>
                  </a:lnTo>
                  <a:lnTo>
                    <a:pt x="11" y="48"/>
                  </a:lnTo>
                  <a:lnTo>
                    <a:pt x="5" y="48"/>
                  </a:lnTo>
                  <a:lnTo>
                    <a:pt x="3" y="51"/>
                  </a:lnTo>
                  <a:lnTo>
                    <a:pt x="3" y="53"/>
                  </a:lnTo>
                  <a:lnTo>
                    <a:pt x="3" y="53"/>
                  </a:lnTo>
                  <a:lnTo>
                    <a:pt x="5" y="56"/>
                  </a:lnTo>
                  <a:lnTo>
                    <a:pt x="5" y="56"/>
                  </a:lnTo>
                  <a:lnTo>
                    <a:pt x="11" y="56"/>
                  </a:lnTo>
                  <a:lnTo>
                    <a:pt x="16" y="53"/>
                  </a:lnTo>
                  <a:lnTo>
                    <a:pt x="18" y="51"/>
                  </a:lnTo>
                  <a:lnTo>
                    <a:pt x="16" y="48"/>
                  </a:lnTo>
                  <a:lnTo>
                    <a:pt x="13" y="46"/>
                  </a:lnTo>
                  <a:close/>
                  <a:moveTo>
                    <a:pt x="258" y="5"/>
                  </a:moveTo>
                  <a:lnTo>
                    <a:pt x="258" y="2"/>
                  </a:lnTo>
                  <a:lnTo>
                    <a:pt x="255" y="2"/>
                  </a:lnTo>
                  <a:lnTo>
                    <a:pt x="255" y="2"/>
                  </a:lnTo>
                  <a:lnTo>
                    <a:pt x="255" y="5"/>
                  </a:lnTo>
                  <a:lnTo>
                    <a:pt x="258" y="5"/>
                  </a:lnTo>
                  <a:close/>
                  <a:moveTo>
                    <a:pt x="329" y="48"/>
                  </a:moveTo>
                  <a:lnTo>
                    <a:pt x="329" y="48"/>
                  </a:lnTo>
                  <a:lnTo>
                    <a:pt x="329" y="46"/>
                  </a:lnTo>
                  <a:lnTo>
                    <a:pt x="329" y="46"/>
                  </a:lnTo>
                  <a:lnTo>
                    <a:pt x="329" y="46"/>
                  </a:lnTo>
                  <a:lnTo>
                    <a:pt x="327" y="43"/>
                  </a:lnTo>
                  <a:lnTo>
                    <a:pt x="327" y="41"/>
                  </a:lnTo>
                  <a:lnTo>
                    <a:pt x="324" y="38"/>
                  </a:lnTo>
                  <a:lnTo>
                    <a:pt x="324" y="38"/>
                  </a:lnTo>
                  <a:lnTo>
                    <a:pt x="321" y="36"/>
                  </a:lnTo>
                  <a:lnTo>
                    <a:pt x="321" y="36"/>
                  </a:lnTo>
                  <a:lnTo>
                    <a:pt x="324" y="36"/>
                  </a:lnTo>
                  <a:lnTo>
                    <a:pt x="327" y="36"/>
                  </a:lnTo>
                  <a:lnTo>
                    <a:pt x="327" y="36"/>
                  </a:lnTo>
                  <a:lnTo>
                    <a:pt x="329" y="36"/>
                  </a:lnTo>
                  <a:lnTo>
                    <a:pt x="329" y="36"/>
                  </a:lnTo>
                  <a:lnTo>
                    <a:pt x="327" y="33"/>
                  </a:lnTo>
                  <a:lnTo>
                    <a:pt x="321" y="30"/>
                  </a:lnTo>
                  <a:lnTo>
                    <a:pt x="319" y="30"/>
                  </a:lnTo>
                  <a:lnTo>
                    <a:pt x="316" y="30"/>
                  </a:lnTo>
                  <a:lnTo>
                    <a:pt x="316" y="28"/>
                  </a:lnTo>
                  <a:lnTo>
                    <a:pt x="314" y="25"/>
                  </a:lnTo>
                  <a:lnTo>
                    <a:pt x="314" y="25"/>
                  </a:lnTo>
                  <a:lnTo>
                    <a:pt x="309" y="23"/>
                  </a:lnTo>
                  <a:lnTo>
                    <a:pt x="309" y="23"/>
                  </a:lnTo>
                  <a:lnTo>
                    <a:pt x="306" y="23"/>
                  </a:lnTo>
                  <a:lnTo>
                    <a:pt x="306" y="25"/>
                  </a:lnTo>
                  <a:lnTo>
                    <a:pt x="306" y="25"/>
                  </a:lnTo>
                  <a:lnTo>
                    <a:pt x="306" y="28"/>
                  </a:lnTo>
                  <a:lnTo>
                    <a:pt x="304" y="28"/>
                  </a:lnTo>
                  <a:lnTo>
                    <a:pt x="304" y="28"/>
                  </a:lnTo>
                  <a:lnTo>
                    <a:pt x="301" y="28"/>
                  </a:lnTo>
                  <a:lnTo>
                    <a:pt x="301" y="28"/>
                  </a:lnTo>
                  <a:lnTo>
                    <a:pt x="301" y="28"/>
                  </a:lnTo>
                  <a:lnTo>
                    <a:pt x="299" y="28"/>
                  </a:lnTo>
                  <a:lnTo>
                    <a:pt x="299" y="28"/>
                  </a:lnTo>
                  <a:lnTo>
                    <a:pt x="296" y="28"/>
                  </a:lnTo>
                  <a:lnTo>
                    <a:pt x="293" y="25"/>
                  </a:lnTo>
                  <a:lnTo>
                    <a:pt x="293" y="25"/>
                  </a:lnTo>
                  <a:lnTo>
                    <a:pt x="291" y="25"/>
                  </a:lnTo>
                  <a:lnTo>
                    <a:pt x="288" y="25"/>
                  </a:lnTo>
                  <a:lnTo>
                    <a:pt x="286" y="25"/>
                  </a:lnTo>
                  <a:lnTo>
                    <a:pt x="286" y="23"/>
                  </a:lnTo>
                  <a:lnTo>
                    <a:pt x="286" y="18"/>
                  </a:lnTo>
                  <a:lnTo>
                    <a:pt x="286" y="18"/>
                  </a:lnTo>
                  <a:lnTo>
                    <a:pt x="283" y="18"/>
                  </a:lnTo>
                  <a:lnTo>
                    <a:pt x="283" y="18"/>
                  </a:lnTo>
                  <a:lnTo>
                    <a:pt x="281" y="18"/>
                  </a:lnTo>
                  <a:lnTo>
                    <a:pt x="281" y="15"/>
                  </a:lnTo>
                  <a:lnTo>
                    <a:pt x="281" y="15"/>
                  </a:lnTo>
                  <a:lnTo>
                    <a:pt x="278" y="15"/>
                  </a:lnTo>
                  <a:lnTo>
                    <a:pt x="273" y="13"/>
                  </a:lnTo>
                  <a:lnTo>
                    <a:pt x="270" y="10"/>
                  </a:lnTo>
                  <a:lnTo>
                    <a:pt x="268" y="10"/>
                  </a:lnTo>
                  <a:lnTo>
                    <a:pt x="265" y="5"/>
                  </a:lnTo>
                  <a:lnTo>
                    <a:pt x="263" y="5"/>
                  </a:lnTo>
                  <a:lnTo>
                    <a:pt x="260" y="5"/>
                  </a:lnTo>
                  <a:lnTo>
                    <a:pt x="260" y="2"/>
                  </a:lnTo>
                  <a:lnTo>
                    <a:pt x="258" y="0"/>
                  </a:lnTo>
                  <a:lnTo>
                    <a:pt x="258" y="0"/>
                  </a:lnTo>
                  <a:lnTo>
                    <a:pt x="258" y="2"/>
                  </a:lnTo>
                  <a:lnTo>
                    <a:pt x="258" y="5"/>
                  </a:lnTo>
                  <a:lnTo>
                    <a:pt x="250" y="8"/>
                  </a:lnTo>
                  <a:lnTo>
                    <a:pt x="245" y="10"/>
                  </a:lnTo>
                  <a:lnTo>
                    <a:pt x="242" y="10"/>
                  </a:lnTo>
                  <a:lnTo>
                    <a:pt x="240" y="10"/>
                  </a:lnTo>
                  <a:lnTo>
                    <a:pt x="237" y="13"/>
                  </a:lnTo>
                  <a:lnTo>
                    <a:pt x="237" y="13"/>
                  </a:lnTo>
                  <a:lnTo>
                    <a:pt x="235" y="15"/>
                  </a:lnTo>
                  <a:lnTo>
                    <a:pt x="232" y="15"/>
                  </a:lnTo>
                  <a:lnTo>
                    <a:pt x="232" y="20"/>
                  </a:lnTo>
                  <a:lnTo>
                    <a:pt x="235" y="23"/>
                  </a:lnTo>
                  <a:lnTo>
                    <a:pt x="232" y="30"/>
                  </a:lnTo>
                  <a:lnTo>
                    <a:pt x="232" y="33"/>
                  </a:lnTo>
                  <a:lnTo>
                    <a:pt x="230" y="36"/>
                  </a:lnTo>
                  <a:lnTo>
                    <a:pt x="227" y="38"/>
                  </a:lnTo>
                  <a:lnTo>
                    <a:pt x="225" y="41"/>
                  </a:lnTo>
                  <a:lnTo>
                    <a:pt x="225" y="43"/>
                  </a:lnTo>
                  <a:lnTo>
                    <a:pt x="227" y="46"/>
                  </a:lnTo>
                  <a:lnTo>
                    <a:pt x="230" y="48"/>
                  </a:lnTo>
                  <a:lnTo>
                    <a:pt x="227" y="48"/>
                  </a:lnTo>
                  <a:lnTo>
                    <a:pt x="225" y="46"/>
                  </a:lnTo>
                  <a:lnTo>
                    <a:pt x="225" y="48"/>
                  </a:lnTo>
                  <a:lnTo>
                    <a:pt x="222" y="53"/>
                  </a:lnTo>
                  <a:lnTo>
                    <a:pt x="222" y="53"/>
                  </a:lnTo>
                  <a:lnTo>
                    <a:pt x="217" y="56"/>
                  </a:lnTo>
                  <a:lnTo>
                    <a:pt x="217" y="58"/>
                  </a:lnTo>
                  <a:lnTo>
                    <a:pt x="217" y="64"/>
                  </a:lnTo>
                  <a:lnTo>
                    <a:pt x="220" y="64"/>
                  </a:lnTo>
                  <a:lnTo>
                    <a:pt x="217" y="71"/>
                  </a:lnTo>
                  <a:lnTo>
                    <a:pt x="220" y="74"/>
                  </a:lnTo>
                  <a:lnTo>
                    <a:pt x="220" y="76"/>
                  </a:lnTo>
                  <a:lnTo>
                    <a:pt x="220" y="81"/>
                  </a:lnTo>
                  <a:lnTo>
                    <a:pt x="217" y="81"/>
                  </a:lnTo>
                  <a:lnTo>
                    <a:pt x="214" y="84"/>
                  </a:lnTo>
                  <a:lnTo>
                    <a:pt x="217" y="84"/>
                  </a:lnTo>
                  <a:lnTo>
                    <a:pt x="217" y="84"/>
                  </a:lnTo>
                  <a:lnTo>
                    <a:pt x="217" y="86"/>
                  </a:lnTo>
                  <a:lnTo>
                    <a:pt x="222" y="86"/>
                  </a:lnTo>
                  <a:lnTo>
                    <a:pt x="227" y="92"/>
                  </a:lnTo>
                  <a:lnTo>
                    <a:pt x="227" y="94"/>
                  </a:lnTo>
                  <a:lnTo>
                    <a:pt x="230" y="94"/>
                  </a:lnTo>
                  <a:lnTo>
                    <a:pt x="230" y="94"/>
                  </a:lnTo>
                  <a:lnTo>
                    <a:pt x="230" y="94"/>
                  </a:lnTo>
                  <a:lnTo>
                    <a:pt x="232" y="92"/>
                  </a:lnTo>
                  <a:lnTo>
                    <a:pt x="235" y="86"/>
                  </a:lnTo>
                  <a:lnTo>
                    <a:pt x="235" y="86"/>
                  </a:lnTo>
                  <a:lnTo>
                    <a:pt x="235" y="92"/>
                  </a:lnTo>
                  <a:lnTo>
                    <a:pt x="235" y="92"/>
                  </a:lnTo>
                  <a:lnTo>
                    <a:pt x="237" y="92"/>
                  </a:lnTo>
                  <a:lnTo>
                    <a:pt x="237" y="89"/>
                  </a:lnTo>
                  <a:lnTo>
                    <a:pt x="237" y="81"/>
                  </a:lnTo>
                  <a:lnTo>
                    <a:pt x="237" y="79"/>
                  </a:lnTo>
                  <a:lnTo>
                    <a:pt x="237" y="81"/>
                  </a:lnTo>
                  <a:lnTo>
                    <a:pt x="237" y="81"/>
                  </a:lnTo>
                  <a:lnTo>
                    <a:pt x="237" y="86"/>
                  </a:lnTo>
                  <a:lnTo>
                    <a:pt x="240" y="89"/>
                  </a:lnTo>
                  <a:lnTo>
                    <a:pt x="240" y="92"/>
                  </a:lnTo>
                  <a:lnTo>
                    <a:pt x="240" y="97"/>
                  </a:lnTo>
                  <a:lnTo>
                    <a:pt x="237" y="104"/>
                  </a:lnTo>
                  <a:lnTo>
                    <a:pt x="237" y="104"/>
                  </a:lnTo>
                  <a:lnTo>
                    <a:pt x="235" y="107"/>
                  </a:lnTo>
                  <a:lnTo>
                    <a:pt x="235" y="107"/>
                  </a:lnTo>
                  <a:lnTo>
                    <a:pt x="232" y="109"/>
                  </a:lnTo>
                  <a:lnTo>
                    <a:pt x="230" y="109"/>
                  </a:lnTo>
                  <a:lnTo>
                    <a:pt x="230" y="109"/>
                  </a:lnTo>
                  <a:lnTo>
                    <a:pt x="230" y="109"/>
                  </a:lnTo>
                  <a:lnTo>
                    <a:pt x="230" y="112"/>
                  </a:lnTo>
                  <a:lnTo>
                    <a:pt x="230" y="112"/>
                  </a:lnTo>
                  <a:lnTo>
                    <a:pt x="230" y="112"/>
                  </a:lnTo>
                  <a:lnTo>
                    <a:pt x="230" y="112"/>
                  </a:lnTo>
                  <a:lnTo>
                    <a:pt x="230" y="114"/>
                  </a:lnTo>
                  <a:lnTo>
                    <a:pt x="232" y="114"/>
                  </a:lnTo>
                  <a:lnTo>
                    <a:pt x="232" y="117"/>
                  </a:lnTo>
                  <a:lnTo>
                    <a:pt x="232" y="117"/>
                  </a:lnTo>
                  <a:lnTo>
                    <a:pt x="232" y="117"/>
                  </a:lnTo>
                  <a:lnTo>
                    <a:pt x="232" y="120"/>
                  </a:lnTo>
                  <a:lnTo>
                    <a:pt x="232" y="122"/>
                  </a:lnTo>
                  <a:lnTo>
                    <a:pt x="232" y="122"/>
                  </a:lnTo>
                  <a:lnTo>
                    <a:pt x="232" y="122"/>
                  </a:lnTo>
                  <a:lnTo>
                    <a:pt x="230" y="122"/>
                  </a:lnTo>
                  <a:lnTo>
                    <a:pt x="230" y="125"/>
                  </a:lnTo>
                  <a:lnTo>
                    <a:pt x="230" y="125"/>
                  </a:lnTo>
                  <a:lnTo>
                    <a:pt x="227" y="125"/>
                  </a:lnTo>
                  <a:lnTo>
                    <a:pt x="227" y="125"/>
                  </a:lnTo>
                  <a:lnTo>
                    <a:pt x="227" y="125"/>
                  </a:lnTo>
                  <a:lnTo>
                    <a:pt x="227" y="127"/>
                  </a:lnTo>
                  <a:lnTo>
                    <a:pt x="227" y="127"/>
                  </a:lnTo>
                  <a:lnTo>
                    <a:pt x="227" y="130"/>
                  </a:lnTo>
                  <a:lnTo>
                    <a:pt x="230" y="130"/>
                  </a:lnTo>
                  <a:lnTo>
                    <a:pt x="227" y="132"/>
                  </a:lnTo>
                  <a:lnTo>
                    <a:pt x="227" y="132"/>
                  </a:lnTo>
                  <a:lnTo>
                    <a:pt x="227" y="135"/>
                  </a:lnTo>
                  <a:lnTo>
                    <a:pt x="227" y="135"/>
                  </a:lnTo>
                  <a:lnTo>
                    <a:pt x="230" y="135"/>
                  </a:lnTo>
                  <a:lnTo>
                    <a:pt x="230" y="132"/>
                  </a:lnTo>
                  <a:lnTo>
                    <a:pt x="232" y="132"/>
                  </a:lnTo>
                  <a:lnTo>
                    <a:pt x="232" y="132"/>
                  </a:lnTo>
                  <a:lnTo>
                    <a:pt x="232" y="130"/>
                  </a:lnTo>
                  <a:lnTo>
                    <a:pt x="235" y="132"/>
                  </a:lnTo>
                  <a:lnTo>
                    <a:pt x="237" y="132"/>
                  </a:lnTo>
                  <a:lnTo>
                    <a:pt x="240" y="135"/>
                  </a:lnTo>
                  <a:lnTo>
                    <a:pt x="240" y="135"/>
                  </a:lnTo>
                  <a:lnTo>
                    <a:pt x="242" y="135"/>
                  </a:lnTo>
                  <a:lnTo>
                    <a:pt x="242" y="135"/>
                  </a:lnTo>
                  <a:lnTo>
                    <a:pt x="245" y="135"/>
                  </a:lnTo>
                  <a:lnTo>
                    <a:pt x="245" y="137"/>
                  </a:lnTo>
                  <a:lnTo>
                    <a:pt x="248" y="140"/>
                  </a:lnTo>
                  <a:lnTo>
                    <a:pt x="248" y="142"/>
                  </a:lnTo>
                  <a:lnTo>
                    <a:pt x="250" y="142"/>
                  </a:lnTo>
                  <a:lnTo>
                    <a:pt x="250" y="145"/>
                  </a:lnTo>
                  <a:lnTo>
                    <a:pt x="253" y="145"/>
                  </a:lnTo>
                  <a:lnTo>
                    <a:pt x="253" y="145"/>
                  </a:lnTo>
                  <a:lnTo>
                    <a:pt x="255" y="148"/>
                  </a:lnTo>
                  <a:lnTo>
                    <a:pt x="255" y="145"/>
                  </a:lnTo>
                  <a:lnTo>
                    <a:pt x="258" y="145"/>
                  </a:lnTo>
                  <a:lnTo>
                    <a:pt x="258" y="145"/>
                  </a:lnTo>
                  <a:lnTo>
                    <a:pt x="258" y="142"/>
                  </a:lnTo>
                  <a:lnTo>
                    <a:pt x="258" y="142"/>
                  </a:lnTo>
                  <a:lnTo>
                    <a:pt x="258" y="142"/>
                  </a:lnTo>
                  <a:lnTo>
                    <a:pt x="258" y="140"/>
                  </a:lnTo>
                  <a:lnTo>
                    <a:pt x="260" y="140"/>
                  </a:lnTo>
                  <a:lnTo>
                    <a:pt x="263" y="137"/>
                  </a:lnTo>
                  <a:lnTo>
                    <a:pt x="263" y="137"/>
                  </a:lnTo>
                  <a:lnTo>
                    <a:pt x="263" y="135"/>
                  </a:lnTo>
                  <a:lnTo>
                    <a:pt x="263" y="135"/>
                  </a:lnTo>
                  <a:lnTo>
                    <a:pt x="263" y="135"/>
                  </a:lnTo>
                  <a:lnTo>
                    <a:pt x="263" y="132"/>
                  </a:lnTo>
                  <a:lnTo>
                    <a:pt x="263" y="132"/>
                  </a:lnTo>
                  <a:lnTo>
                    <a:pt x="263" y="130"/>
                  </a:lnTo>
                  <a:lnTo>
                    <a:pt x="265" y="127"/>
                  </a:lnTo>
                  <a:lnTo>
                    <a:pt x="265" y="125"/>
                  </a:lnTo>
                  <a:lnTo>
                    <a:pt x="265" y="125"/>
                  </a:lnTo>
                  <a:lnTo>
                    <a:pt x="265" y="122"/>
                  </a:lnTo>
                  <a:lnTo>
                    <a:pt x="265" y="122"/>
                  </a:lnTo>
                  <a:lnTo>
                    <a:pt x="268" y="120"/>
                  </a:lnTo>
                  <a:lnTo>
                    <a:pt x="268" y="120"/>
                  </a:lnTo>
                  <a:lnTo>
                    <a:pt x="268" y="117"/>
                  </a:lnTo>
                  <a:lnTo>
                    <a:pt x="268" y="117"/>
                  </a:lnTo>
                  <a:lnTo>
                    <a:pt x="268" y="114"/>
                  </a:lnTo>
                  <a:lnTo>
                    <a:pt x="268" y="112"/>
                  </a:lnTo>
                  <a:lnTo>
                    <a:pt x="268" y="109"/>
                  </a:lnTo>
                  <a:lnTo>
                    <a:pt x="270" y="109"/>
                  </a:lnTo>
                  <a:lnTo>
                    <a:pt x="270" y="109"/>
                  </a:lnTo>
                  <a:lnTo>
                    <a:pt x="270" y="112"/>
                  </a:lnTo>
                  <a:lnTo>
                    <a:pt x="270" y="112"/>
                  </a:lnTo>
                  <a:lnTo>
                    <a:pt x="270" y="112"/>
                  </a:lnTo>
                  <a:lnTo>
                    <a:pt x="273" y="112"/>
                  </a:lnTo>
                  <a:lnTo>
                    <a:pt x="273" y="112"/>
                  </a:lnTo>
                  <a:lnTo>
                    <a:pt x="273" y="112"/>
                  </a:lnTo>
                  <a:lnTo>
                    <a:pt x="273" y="109"/>
                  </a:lnTo>
                  <a:lnTo>
                    <a:pt x="273" y="109"/>
                  </a:lnTo>
                  <a:lnTo>
                    <a:pt x="273" y="109"/>
                  </a:lnTo>
                  <a:lnTo>
                    <a:pt x="273" y="107"/>
                  </a:lnTo>
                  <a:lnTo>
                    <a:pt x="276" y="107"/>
                  </a:lnTo>
                  <a:lnTo>
                    <a:pt x="276" y="102"/>
                  </a:lnTo>
                  <a:lnTo>
                    <a:pt x="278" y="102"/>
                  </a:lnTo>
                  <a:lnTo>
                    <a:pt x="283" y="99"/>
                  </a:lnTo>
                  <a:lnTo>
                    <a:pt x="286" y="99"/>
                  </a:lnTo>
                  <a:lnTo>
                    <a:pt x="288" y="97"/>
                  </a:lnTo>
                  <a:lnTo>
                    <a:pt x="293" y="94"/>
                  </a:lnTo>
                  <a:lnTo>
                    <a:pt x="299" y="94"/>
                  </a:lnTo>
                  <a:lnTo>
                    <a:pt x="301" y="92"/>
                  </a:lnTo>
                  <a:lnTo>
                    <a:pt x="306" y="89"/>
                  </a:lnTo>
                  <a:lnTo>
                    <a:pt x="309" y="86"/>
                  </a:lnTo>
                  <a:lnTo>
                    <a:pt x="311" y="84"/>
                  </a:lnTo>
                  <a:lnTo>
                    <a:pt x="314" y="81"/>
                  </a:lnTo>
                  <a:lnTo>
                    <a:pt x="316" y="76"/>
                  </a:lnTo>
                  <a:lnTo>
                    <a:pt x="321" y="71"/>
                  </a:lnTo>
                  <a:lnTo>
                    <a:pt x="321" y="69"/>
                  </a:lnTo>
                  <a:lnTo>
                    <a:pt x="324" y="69"/>
                  </a:lnTo>
                  <a:lnTo>
                    <a:pt x="324" y="64"/>
                  </a:lnTo>
                  <a:lnTo>
                    <a:pt x="327" y="58"/>
                  </a:lnTo>
                  <a:lnTo>
                    <a:pt x="327" y="56"/>
                  </a:lnTo>
                  <a:lnTo>
                    <a:pt x="327" y="53"/>
                  </a:lnTo>
                  <a:lnTo>
                    <a:pt x="327" y="53"/>
                  </a:lnTo>
                  <a:lnTo>
                    <a:pt x="329" y="56"/>
                  </a:lnTo>
                  <a:lnTo>
                    <a:pt x="329" y="56"/>
                  </a:lnTo>
                  <a:lnTo>
                    <a:pt x="329" y="56"/>
                  </a:lnTo>
                  <a:lnTo>
                    <a:pt x="329" y="56"/>
                  </a:lnTo>
                  <a:lnTo>
                    <a:pt x="329" y="4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328" name="Freeform 1947">
              <a:extLst>
                <a:ext uri="{FF2B5EF4-FFF2-40B4-BE49-F238E27FC236}">
                  <a16:creationId xmlns:a16="http://schemas.microsoft.com/office/drawing/2014/main" id="{23BE6BEB-7E03-584E-8D2B-9D68B1A661C7}"/>
                </a:ext>
              </a:extLst>
            </p:cNvPr>
            <p:cNvSpPr>
              <a:spLocks noEditPoints="1"/>
            </p:cNvSpPr>
            <p:nvPr/>
          </p:nvSpPr>
          <p:spPr bwMode="auto">
            <a:xfrm>
              <a:off x="9673406" y="4105377"/>
              <a:ext cx="107959" cy="49072"/>
            </a:xfrm>
            <a:custGeom>
              <a:avLst/>
              <a:gdLst>
                <a:gd name="T0" fmla="*/ 0 w 66"/>
                <a:gd name="T1" fmla="*/ 28 h 30"/>
                <a:gd name="T2" fmla="*/ 0 w 66"/>
                <a:gd name="T3" fmla="*/ 28 h 30"/>
                <a:gd name="T4" fmla="*/ 5 w 66"/>
                <a:gd name="T5" fmla="*/ 28 h 30"/>
                <a:gd name="T6" fmla="*/ 5 w 66"/>
                <a:gd name="T7" fmla="*/ 28 h 30"/>
                <a:gd name="T8" fmla="*/ 7 w 66"/>
                <a:gd name="T9" fmla="*/ 25 h 30"/>
                <a:gd name="T10" fmla="*/ 2 w 66"/>
                <a:gd name="T11" fmla="*/ 25 h 30"/>
                <a:gd name="T12" fmla="*/ 66 w 66"/>
                <a:gd name="T13" fmla="*/ 5 h 30"/>
                <a:gd name="T14" fmla="*/ 61 w 66"/>
                <a:gd name="T15" fmla="*/ 5 h 30"/>
                <a:gd name="T16" fmla="*/ 58 w 66"/>
                <a:gd name="T17" fmla="*/ 5 h 30"/>
                <a:gd name="T18" fmla="*/ 56 w 66"/>
                <a:gd name="T19" fmla="*/ 5 h 30"/>
                <a:gd name="T20" fmla="*/ 51 w 66"/>
                <a:gd name="T21" fmla="*/ 7 h 30"/>
                <a:gd name="T22" fmla="*/ 38 w 66"/>
                <a:gd name="T23" fmla="*/ 7 h 30"/>
                <a:gd name="T24" fmla="*/ 28 w 66"/>
                <a:gd name="T25" fmla="*/ 10 h 30"/>
                <a:gd name="T26" fmla="*/ 23 w 66"/>
                <a:gd name="T27" fmla="*/ 10 h 30"/>
                <a:gd name="T28" fmla="*/ 20 w 66"/>
                <a:gd name="T29" fmla="*/ 15 h 30"/>
                <a:gd name="T30" fmla="*/ 18 w 66"/>
                <a:gd name="T31" fmla="*/ 20 h 30"/>
                <a:gd name="T32" fmla="*/ 18 w 66"/>
                <a:gd name="T33" fmla="*/ 20 h 30"/>
                <a:gd name="T34" fmla="*/ 23 w 66"/>
                <a:gd name="T35" fmla="*/ 20 h 30"/>
                <a:gd name="T36" fmla="*/ 23 w 66"/>
                <a:gd name="T37" fmla="*/ 20 h 30"/>
                <a:gd name="T38" fmla="*/ 18 w 66"/>
                <a:gd name="T39" fmla="*/ 23 h 30"/>
                <a:gd name="T40" fmla="*/ 18 w 66"/>
                <a:gd name="T41" fmla="*/ 25 h 30"/>
                <a:gd name="T42" fmla="*/ 18 w 66"/>
                <a:gd name="T43" fmla="*/ 25 h 30"/>
                <a:gd name="T44" fmla="*/ 20 w 66"/>
                <a:gd name="T45" fmla="*/ 30 h 30"/>
                <a:gd name="T46" fmla="*/ 28 w 66"/>
                <a:gd name="T47" fmla="*/ 25 h 30"/>
                <a:gd name="T48" fmla="*/ 35 w 66"/>
                <a:gd name="T49" fmla="*/ 23 h 30"/>
                <a:gd name="T50" fmla="*/ 38 w 66"/>
                <a:gd name="T51" fmla="*/ 20 h 30"/>
                <a:gd name="T52" fmla="*/ 43 w 66"/>
                <a:gd name="T53" fmla="*/ 18 h 30"/>
                <a:gd name="T54" fmla="*/ 48 w 66"/>
                <a:gd name="T55" fmla="*/ 18 h 30"/>
                <a:gd name="T56" fmla="*/ 51 w 66"/>
                <a:gd name="T57" fmla="*/ 15 h 30"/>
                <a:gd name="T58" fmla="*/ 56 w 66"/>
                <a:gd name="T59" fmla="*/ 12 h 30"/>
                <a:gd name="T60" fmla="*/ 63 w 66"/>
                <a:gd name="T61" fmla="*/ 10 h 30"/>
                <a:gd name="T62" fmla="*/ 66 w 66"/>
                <a:gd name="T63" fmla="*/ 5 h 30"/>
                <a:gd name="T64" fmla="*/ 33 w 66"/>
                <a:gd name="T65" fmla="*/ 0 h 30"/>
                <a:gd name="T66" fmla="*/ 30 w 66"/>
                <a:gd name="T67" fmla="*/ 2 h 30"/>
                <a:gd name="T68" fmla="*/ 33 w 66"/>
                <a:gd name="T69"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6" h="30">
                  <a:moveTo>
                    <a:pt x="0" y="25"/>
                  </a:moveTo>
                  <a:lnTo>
                    <a:pt x="0" y="28"/>
                  </a:lnTo>
                  <a:lnTo>
                    <a:pt x="0" y="28"/>
                  </a:lnTo>
                  <a:lnTo>
                    <a:pt x="0" y="28"/>
                  </a:lnTo>
                  <a:lnTo>
                    <a:pt x="2" y="28"/>
                  </a:lnTo>
                  <a:lnTo>
                    <a:pt x="5" y="28"/>
                  </a:lnTo>
                  <a:lnTo>
                    <a:pt x="5" y="28"/>
                  </a:lnTo>
                  <a:lnTo>
                    <a:pt x="5" y="28"/>
                  </a:lnTo>
                  <a:lnTo>
                    <a:pt x="7" y="25"/>
                  </a:lnTo>
                  <a:lnTo>
                    <a:pt x="7" y="25"/>
                  </a:lnTo>
                  <a:lnTo>
                    <a:pt x="7" y="23"/>
                  </a:lnTo>
                  <a:lnTo>
                    <a:pt x="2" y="25"/>
                  </a:lnTo>
                  <a:lnTo>
                    <a:pt x="0" y="25"/>
                  </a:lnTo>
                  <a:close/>
                  <a:moveTo>
                    <a:pt x="66" y="5"/>
                  </a:moveTo>
                  <a:lnTo>
                    <a:pt x="63" y="5"/>
                  </a:lnTo>
                  <a:lnTo>
                    <a:pt x="61" y="5"/>
                  </a:lnTo>
                  <a:lnTo>
                    <a:pt x="61" y="2"/>
                  </a:lnTo>
                  <a:lnTo>
                    <a:pt x="58" y="5"/>
                  </a:lnTo>
                  <a:lnTo>
                    <a:pt x="58" y="5"/>
                  </a:lnTo>
                  <a:lnTo>
                    <a:pt x="56" y="5"/>
                  </a:lnTo>
                  <a:lnTo>
                    <a:pt x="53" y="7"/>
                  </a:lnTo>
                  <a:lnTo>
                    <a:pt x="51" y="7"/>
                  </a:lnTo>
                  <a:lnTo>
                    <a:pt x="43" y="7"/>
                  </a:lnTo>
                  <a:lnTo>
                    <a:pt x="38" y="7"/>
                  </a:lnTo>
                  <a:lnTo>
                    <a:pt x="35" y="7"/>
                  </a:lnTo>
                  <a:lnTo>
                    <a:pt x="28" y="10"/>
                  </a:lnTo>
                  <a:lnTo>
                    <a:pt x="25" y="10"/>
                  </a:lnTo>
                  <a:lnTo>
                    <a:pt x="23" y="10"/>
                  </a:lnTo>
                  <a:lnTo>
                    <a:pt x="23" y="12"/>
                  </a:lnTo>
                  <a:lnTo>
                    <a:pt x="20" y="15"/>
                  </a:lnTo>
                  <a:lnTo>
                    <a:pt x="18" y="18"/>
                  </a:lnTo>
                  <a:lnTo>
                    <a:pt x="18" y="20"/>
                  </a:lnTo>
                  <a:lnTo>
                    <a:pt x="18" y="20"/>
                  </a:lnTo>
                  <a:lnTo>
                    <a:pt x="18" y="20"/>
                  </a:lnTo>
                  <a:lnTo>
                    <a:pt x="20" y="18"/>
                  </a:lnTo>
                  <a:lnTo>
                    <a:pt x="23" y="20"/>
                  </a:lnTo>
                  <a:lnTo>
                    <a:pt x="23" y="20"/>
                  </a:lnTo>
                  <a:lnTo>
                    <a:pt x="23" y="20"/>
                  </a:lnTo>
                  <a:lnTo>
                    <a:pt x="20" y="23"/>
                  </a:lnTo>
                  <a:lnTo>
                    <a:pt x="18" y="23"/>
                  </a:lnTo>
                  <a:lnTo>
                    <a:pt x="18" y="23"/>
                  </a:lnTo>
                  <a:lnTo>
                    <a:pt x="18" y="25"/>
                  </a:lnTo>
                  <a:lnTo>
                    <a:pt x="18" y="25"/>
                  </a:lnTo>
                  <a:lnTo>
                    <a:pt x="18" y="25"/>
                  </a:lnTo>
                  <a:lnTo>
                    <a:pt x="20" y="28"/>
                  </a:lnTo>
                  <a:lnTo>
                    <a:pt x="20" y="30"/>
                  </a:lnTo>
                  <a:lnTo>
                    <a:pt x="23" y="28"/>
                  </a:lnTo>
                  <a:lnTo>
                    <a:pt x="28" y="25"/>
                  </a:lnTo>
                  <a:lnTo>
                    <a:pt x="33" y="23"/>
                  </a:lnTo>
                  <a:lnTo>
                    <a:pt x="35" y="23"/>
                  </a:lnTo>
                  <a:lnTo>
                    <a:pt x="38" y="23"/>
                  </a:lnTo>
                  <a:lnTo>
                    <a:pt x="38" y="20"/>
                  </a:lnTo>
                  <a:lnTo>
                    <a:pt x="41" y="20"/>
                  </a:lnTo>
                  <a:lnTo>
                    <a:pt x="43" y="18"/>
                  </a:lnTo>
                  <a:lnTo>
                    <a:pt x="46" y="18"/>
                  </a:lnTo>
                  <a:lnTo>
                    <a:pt x="48" y="18"/>
                  </a:lnTo>
                  <a:lnTo>
                    <a:pt x="48" y="18"/>
                  </a:lnTo>
                  <a:lnTo>
                    <a:pt x="51" y="15"/>
                  </a:lnTo>
                  <a:lnTo>
                    <a:pt x="53" y="12"/>
                  </a:lnTo>
                  <a:lnTo>
                    <a:pt x="56" y="12"/>
                  </a:lnTo>
                  <a:lnTo>
                    <a:pt x="58" y="12"/>
                  </a:lnTo>
                  <a:lnTo>
                    <a:pt x="63" y="10"/>
                  </a:lnTo>
                  <a:lnTo>
                    <a:pt x="66" y="5"/>
                  </a:lnTo>
                  <a:lnTo>
                    <a:pt x="66" y="5"/>
                  </a:lnTo>
                  <a:close/>
                  <a:moveTo>
                    <a:pt x="33" y="0"/>
                  </a:moveTo>
                  <a:lnTo>
                    <a:pt x="33" y="0"/>
                  </a:lnTo>
                  <a:lnTo>
                    <a:pt x="33" y="0"/>
                  </a:lnTo>
                  <a:lnTo>
                    <a:pt x="30" y="2"/>
                  </a:lnTo>
                  <a:lnTo>
                    <a:pt x="33" y="2"/>
                  </a:lnTo>
                  <a:lnTo>
                    <a:pt x="33" y="0"/>
                  </a:lnTo>
                  <a:close/>
                </a:path>
              </a:pathLst>
            </a:custGeom>
            <a:solidFill>
              <a:srgbClr val="FFC000"/>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329" name="Freeform 1948">
              <a:extLst>
                <a:ext uri="{FF2B5EF4-FFF2-40B4-BE49-F238E27FC236}">
                  <a16:creationId xmlns:a16="http://schemas.microsoft.com/office/drawing/2014/main" id="{45A7F22F-8205-CE49-8FB9-743DF29499A5}"/>
                </a:ext>
              </a:extLst>
            </p:cNvPr>
            <p:cNvSpPr>
              <a:spLocks/>
            </p:cNvSpPr>
            <p:nvPr/>
          </p:nvSpPr>
          <p:spPr bwMode="auto">
            <a:xfrm>
              <a:off x="3282582" y="3060141"/>
              <a:ext cx="121045" cy="88330"/>
            </a:xfrm>
            <a:custGeom>
              <a:avLst/>
              <a:gdLst>
                <a:gd name="T0" fmla="*/ 71 w 74"/>
                <a:gd name="T1" fmla="*/ 28 h 54"/>
                <a:gd name="T2" fmla="*/ 64 w 74"/>
                <a:gd name="T3" fmla="*/ 20 h 54"/>
                <a:gd name="T4" fmla="*/ 58 w 74"/>
                <a:gd name="T5" fmla="*/ 20 h 54"/>
                <a:gd name="T6" fmla="*/ 53 w 74"/>
                <a:gd name="T7" fmla="*/ 20 h 54"/>
                <a:gd name="T8" fmla="*/ 48 w 74"/>
                <a:gd name="T9" fmla="*/ 18 h 54"/>
                <a:gd name="T10" fmla="*/ 48 w 74"/>
                <a:gd name="T11" fmla="*/ 18 h 54"/>
                <a:gd name="T12" fmla="*/ 53 w 74"/>
                <a:gd name="T13" fmla="*/ 18 h 54"/>
                <a:gd name="T14" fmla="*/ 56 w 74"/>
                <a:gd name="T15" fmla="*/ 15 h 54"/>
                <a:gd name="T16" fmla="*/ 46 w 74"/>
                <a:gd name="T17" fmla="*/ 15 h 54"/>
                <a:gd name="T18" fmla="*/ 43 w 74"/>
                <a:gd name="T19" fmla="*/ 10 h 54"/>
                <a:gd name="T20" fmla="*/ 43 w 74"/>
                <a:gd name="T21" fmla="*/ 5 h 54"/>
                <a:gd name="T22" fmla="*/ 41 w 74"/>
                <a:gd name="T23" fmla="*/ 8 h 54"/>
                <a:gd name="T24" fmla="*/ 36 w 74"/>
                <a:gd name="T25" fmla="*/ 5 h 54"/>
                <a:gd name="T26" fmla="*/ 33 w 74"/>
                <a:gd name="T27" fmla="*/ 3 h 54"/>
                <a:gd name="T28" fmla="*/ 30 w 74"/>
                <a:gd name="T29" fmla="*/ 3 h 54"/>
                <a:gd name="T30" fmla="*/ 28 w 74"/>
                <a:gd name="T31" fmla="*/ 0 h 54"/>
                <a:gd name="T32" fmla="*/ 23 w 74"/>
                <a:gd name="T33" fmla="*/ 0 h 54"/>
                <a:gd name="T34" fmla="*/ 18 w 74"/>
                <a:gd name="T35" fmla="*/ 3 h 54"/>
                <a:gd name="T36" fmla="*/ 13 w 74"/>
                <a:gd name="T37" fmla="*/ 0 h 54"/>
                <a:gd name="T38" fmla="*/ 10 w 74"/>
                <a:gd name="T39" fmla="*/ 3 h 54"/>
                <a:gd name="T40" fmla="*/ 7 w 74"/>
                <a:gd name="T41" fmla="*/ 5 h 54"/>
                <a:gd name="T42" fmla="*/ 7 w 74"/>
                <a:gd name="T43" fmla="*/ 5 h 54"/>
                <a:gd name="T44" fmla="*/ 7 w 74"/>
                <a:gd name="T45" fmla="*/ 13 h 54"/>
                <a:gd name="T46" fmla="*/ 7 w 74"/>
                <a:gd name="T47" fmla="*/ 15 h 54"/>
                <a:gd name="T48" fmla="*/ 7 w 74"/>
                <a:gd name="T49" fmla="*/ 18 h 54"/>
                <a:gd name="T50" fmla="*/ 7 w 74"/>
                <a:gd name="T51" fmla="*/ 20 h 54"/>
                <a:gd name="T52" fmla="*/ 5 w 74"/>
                <a:gd name="T53" fmla="*/ 23 h 54"/>
                <a:gd name="T54" fmla="*/ 5 w 74"/>
                <a:gd name="T55" fmla="*/ 26 h 54"/>
                <a:gd name="T56" fmla="*/ 2 w 74"/>
                <a:gd name="T57" fmla="*/ 31 h 54"/>
                <a:gd name="T58" fmla="*/ 0 w 74"/>
                <a:gd name="T59" fmla="*/ 31 h 54"/>
                <a:gd name="T60" fmla="*/ 0 w 74"/>
                <a:gd name="T61" fmla="*/ 33 h 54"/>
                <a:gd name="T62" fmla="*/ 5 w 74"/>
                <a:gd name="T63" fmla="*/ 36 h 54"/>
                <a:gd name="T64" fmla="*/ 2 w 74"/>
                <a:gd name="T65" fmla="*/ 38 h 54"/>
                <a:gd name="T66" fmla="*/ 5 w 74"/>
                <a:gd name="T67" fmla="*/ 43 h 54"/>
                <a:gd name="T68" fmla="*/ 5 w 74"/>
                <a:gd name="T69" fmla="*/ 46 h 54"/>
                <a:gd name="T70" fmla="*/ 5 w 74"/>
                <a:gd name="T71" fmla="*/ 48 h 54"/>
                <a:gd name="T72" fmla="*/ 7 w 74"/>
                <a:gd name="T73" fmla="*/ 51 h 54"/>
                <a:gd name="T74" fmla="*/ 10 w 74"/>
                <a:gd name="T75" fmla="*/ 51 h 54"/>
                <a:gd name="T76" fmla="*/ 13 w 74"/>
                <a:gd name="T77" fmla="*/ 48 h 54"/>
                <a:gd name="T78" fmla="*/ 18 w 74"/>
                <a:gd name="T79" fmla="*/ 41 h 54"/>
                <a:gd name="T80" fmla="*/ 18 w 74"/>
                <a:gd name="T81" fmla="*/ 38 h 54"/>
                <a:gd name="T82" fmla="*/ 20 w 74"/>
                <a:gd name="T83" fmla="*/ 38 h 54"/>
                <a:gd name="T84" fmla="*/ 25 w 74"/>
                <a:gd name="T85" fmla="*/ 36 h 54"/>
                <a:gd name="T86" fmla="*/ 28 w 74"/>
                <a:gd name="T87" fmla="*/ 38 h 54"/>
                <a:gd name="T88" fmla="*/ 36 w 74"/>
                <a:gd name="T89" fmla="*/ 38 h 54"/>
                <a:gd name="T90" fmla="*/ 38 w 74"/>
                <a:gd name="T91" fmla="*/ 36 h 54"/>
                <a:gd name="T92" fmla="*/ 43 w 74"/>
                <a:gd name="T93" fmla="*/ 33 h 54"/>
                <a:gd name="T94" fmla="*/ 48 w 74"/>
                <a:gd name="T95" fmla="*/ 36 h 54"/>
                <a:gd name="T96" fmla="*/ 53 w 74"/>
                <a:gd name="T97" fmla="*/ 33 h 54"/>
                <a:gd name="T98" fmla="*/ 61 w 74"/>
                <a:gd name="T99" fmla="*/ 36 h 54"/>
                <a:gd name="T100" fmla="*/ 64 w 74"/>
                <a:gd name="T101" fmla="*/ 38 h 54"/>
                <a:gd name="T102" fmla="*/ 64 w 74"/>
                <a:gd name="T103" fmla="*/ 38 h 54"/>
                <a:gd name="T104" fmla="*/ 66 w 74"/>
                <a:gd name="T105" fmla="*/ 38 h 54"/>
                <a:gd name="T106" fmla="*/ 69 w 74"/>
                <a:gd name="T107" fmla="*/ 36 h 54"/>
                <a:gd name="T108" fmla="*/ 71 w 74"/>
                <a:gd name="T109" fmla="*/ 33 h 54"/>
                <a:gd name="T110" fmla="*/ 71 w 74"/>
                <a:gd name="T111" fmla="*/ 28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4" h="54">
                  <a:moveTo>
                    <a:pt x="71" y="28"/>
                  </a:moveTo>
                  <a:lnTo>
                    <a:pt x="71" y="28"/>
                  </a:lnTo>
                  <a:lnTo>
                    <a:pt x="66" y="23"/>
                  </a:lnTo>
                  <a:lnTo>
                    <a:pt x="64" y="20"/>
                  </a:lnTo>
                  <a:lnTo>
                    <a:pt x="61" y="20"/>
                  </a:lnTo>
                  <a:lnTo>
                    <a:pt x="58" y="20"/>
                  </a:lnTo>
                  <a:lnTo>
                    <a:pt x="56" y="20"/>
                  </a:lnTo>
                  <a:lnTo>
                    <a:pt x="53" y="20"/>
                  </a:lnTo>
                  <a:lnTo>
                    <a:pt x="51" y="18"/>
                  </a:lnTo>
                  <a:lnTo>
                    <a:pt x="48" y="18"/>
                  </a:lnTo>
                  <a:lnTo>
                    <a:pt x="48" y="18"/>
                  </a:lnTo>
                  <a:lnTo>
                    <a:pt x="48" y="18"/>
                  </a:lnTo>
                  <a:lnTo>
                    <a:pt x="51" y="15"/>
                  </a:lnTo>
                  <a:lnTo>
                    <a:pt x="53" y="18"/>
                  </a:lnTo>
                  <a:lnTo>
                    <a:pt x="56" y="15"/>
                  </a:lnTo>
                  <a:lnTo>
                    <a:pt x="56" y="15"/>
                  </a:lnTo>
                  <a:lnTo>
                    <a:pt x="56" y="13"/>
                  </a:lnTo>
                  <a:lnTo>
                    <a:pt x="46" y="15"/>
                  </a:lnTo>
                  <a:lnTo>
                    <a:pt x="46" y="13"/>
                  </a:lnTo>
                  <a:lnTo>
                    <a:pt x="43" y="10"/>
                  </a:lnTo>
                  <a:lnTo>
                    <a:pt x="43" y="8"/>
                  </a:lnTo>
                  <a:lnTo>
                    <a:pt x="43" y="5"/>
                  </a:lnTo>
                  <a:lnTo>
                    <a:pt x="43" y="5"/>
                  </a:lnTo>
                  <a:lnTo>
                    <a:pt x="41" y="8"/>
                  </a:lnTo>
                  <a:lnTo>
                    <a:pt x="38" y="8"/>
                  </a:lnTo>
                  <a:lnTo>
                    <a:pt x="36" y="5"/>
                  </a:lnTo>
                  <a:lnTo>
                    <a:pt x="33" y="5"/>
                  </a:lnTo>
                  <a:lnTo>
                    <a:pt x="33" y="3"/>
                  </a:lnTo>
                  <a:lnTo>
                    <a:pt x="30" y="3"/>
                  </a:lnTo>
                  <a:lnTo>
                    <a:pt x="30" y="3"/>
                  </a:lnTo>
                  <a:lnTo>
                    <a:pt x="28" y="3"/>
                  </a:lnTo>
                  <a:lnTo>
                    <a:pt x="28" y="0"/>
                  </a:lnTo>
                  <a:lnTo>
                    <a:pt x="25" y="0"/>
                  </a:lnTo>
                  <a:lnTo>
                    <a:pt x="23" y="0"/>
                  </a:lnTo>
                  <a:lnTo>
                    <a:pt x="18" y="3"/>
                  </a:lnTo>
                  <a:lnTo>
                    <a:pt x="18" y="3"/>
                  </a:lnTo>
                  <a:lnTo>
                    <a:pt x="15" y="0"/>
                  </a:lnTo>
                  <a:lnTo>
                    <a:pt x="13" y="0"/>
                  </a:lnTo>
                  <a:lnTo>
                    <a:pt x="10" y="3"/>
                  </a:lnTo>
                  <a:lnTo>
                    <a:pt x="10" y="3"/>
                  </a:lnTo>
                  <a:lnTo>
                    <a:pt x="10" y="3"/>
                  </a:lnTo>
                  <a:lnTo>
                    <a:pt x="7" y="5"/>
                  </a:lnTo>
                  <a:lnTo>
                    <a:pt x="7" y="5"/>
                  </a:lnTo>
                  <a:lnTo>
                    <a:pt x="7" y="5"/>
                  </a:lnTo>
                  <a:lnTo>
                    <a:pt x="7" y="10"/>
                  </a:lnTo>
                  <a:lnTo>
                    <a:pt x="7" y="13"/>
                  </a:lnTo>
                  <a:lnTo>
                    <a:pt x="7" y="13"/>
                  </a:lnTo>
                  <a:lnTo>
                    <a:pt x="7" y="15"/>
                  </a:lnTo>
                  <a:lnTo>
                    <a:pt x="7" y="18"/>
                  </a:lnTo>
                  <a:lnTo>
                    <a:pt x="7" y="18"/>
                  </a:lnTo>
                  <a:lnTo>
                    <a:pt x="7" y="18"/>
                  </a:lnTo>
                  <a:lnTo>
                    <a:pt x="7" y="20"/>
                  </a:lnTo>
                  <a:lnTo>
                    <a:pt x="5" y="23"/>
                  </a:lnTo>
                  <a:lnTo>
                    <a:pt x="5" y="23"/>
                  </a:lnTo>
                  <a:lnTo>
                    <a:pt x="5" y="26"/>
                  </a:lnTo>
                  <a:lnTo>
                    <a:pt x="5" y="26"/>
                  </a:lnTo>
                  <a:lnTo>
                    <a:pt x="5" y="28"/>
                  </a:lnTo>
                  <a:lnTo>
                    <a:pt x="2" y="31"/>
                  </a:lnTo>
                  <a:lnTo>
                    <a:pt x="2" y="31"/>
                  </a:lnTo>
                  <a:lnTo>
                    <a:pt x="0" y="31"/>
                  </a:lnTo>
                  <a:lnTo>
                    <a:pt x="0" y="31"/>
                  </a:lnTo>
                  <a:lnTo>
                    <a:pt x="0" y="33"/>
                  </a:lnTo>
                  <a:lnTo>
                    <a:pt x="2" y="36"/>
                  </a:lnTo>
                  <a:lnTo>
                    <a:pt x="5" y="36"/>
                  </a:lnTo>
                  <a:lnTo>
                    <a:pt x="5" y="38"/>
                  </a:lnTo>
                  <a:lnTo>
                    <a:pt x="2" y="38"/>
                  </a:lnTo>
                  <a:lnTo>
                    <a:pt x="2" y="43"/>
                  </a:lnTo>
                  <a:lnTo>
                    <a:pt x="5" y="43"/>
                  </a:lnTo>
                  <a:lnTo>
                    <a:pt x="5" y="46"/>
                  </a:lnTo>
                  <a:lnTo>
                    <a:pt x="5" y="46"/>
                  </a:lnTo>
                  <a:lnTo>
                    <a:pt x="5" y="48"/>
                  </a:lnTo>
                  <a:lnTo>
                    <a:pt x="5" y="48"/>
                  </a:lnTo>
                  <a:lnTo>
                    <a:pt x="7" y="48"/>
                  </a:lnTo>
                  <a:lnTo>
                    <a:pt x="7" y="51"/>
                  </a:lnTo>
                  <a:lnTo>
                    <a:pt x="7" y="54"/>
                  </a:lnTo>
                  <a:lnTo>
                    <a:pt x="10" y="51"/>
                  </a:lnTo>
                  <a:lnTo>
                    <a:pt x="10" y="51"/>
                  </a:lnTo>
                  <a:lnTo>
                    <a:pt x="13" y="48"/>
                  </a:lnTo>
                  <a:lnTo>
                    <a:pt x="15" y="43"/>
                  </a:lnTo>
                  <a:lnTo>
                    <a:pt x="18" y="41"/>
                  </a:lnTo>
                  <a:lnTo>
                    <a:pt x="18" y="38"/>
                  </a:lnTo>
                  <a:lnTo>
                    <a:pt x="18" y="38"/>
                  </a:lnTo>
                  <a:lnTo>
                    <a:pt x="18" y="38"/>
                  </a:lnTo>
                  <a:lnTo>
                    <a:pt x="20" y="38"/>
                  </a:lnTo>
                  <a:lnTo>
                    <a:pt x="23" y="36"/>
                  </a:lnTo>
                  <a:lnTo>
                    <a:pt x="25" y="36"/>
                  </a:lnTo>
                  <a:lnTo>
                    <a:pt x="28" y="38"/>
                  </a:lnTo>
                  <a:lnTo>
                    <a:pt x="28" y="38"/>
                  </a:lnTo>
                  <a:lnTo>
                    <a:pt x="36" y="38"/>
                  </a:lnTo>
                  <a:lnTo>
                    <a:pt x="36" y="38"/>
                  </a:lnTo>
                  <a:lnTo>
                    <a:pt x="38" y="36"/>
                  </a:lnTo>
                  <a:lnTo>
                    <a:pt x="38" y="36"/>
                  </a:lnTo>
                  <a:lnTo>
                    <a:pt x="41" y="36"/>
                  </a:lnTo>
                  <a:lnTo>
                    <a:pt x="43" y="33"/>
                  </a:lnTo>
                  <a:lnTo>
                    <a:pt x="46" y="33"/>
                  </a:lnTo>
                  <a:lnTo>
                    <a:pt x="48" y="36"/>
                  </a:lnTo>
                  <a:lnTo>
                    <a:pt x="51" y="36"/>
                  </a:lnTo>
                  <a:lnTo>
                    <a:pt x="53" y="33"/>
                  </a:lnTo>
                  <a:lnTo>
                    <a:pt x="58" y="36"/>
                  </a:lnTo>
                  <a:lnTo>
                    <a:pt x="61" y="36"/>
                  </a:lnTo>
                  <a:lnTo>
                    <a:pt x="64" y="36"/>
                  </a:lnTo>
                  <a:lnTo>
                    <a:pt x="64" y="38"/>
                  </a:lnTo>
                  <a:lnTo>
                    <a:pt x="64" y="38"/>
                  </a:lnTo>
                  <a:lnTo>
                    <a:pt x="64" y="38"/>
                  </a:lnTo>
                  <a:lnTo>
                    <a:pt x="66" y="38"/>
                  </a:lnTo>
                  <a:lnTo>
                    <a:pt x="66" y="38"/>
                  </a:lnTo>
                  <a:lnTo>
                    <a:pt x="69" y="36"/>
                  </a:lnTo>
                  <a:lnTo>
                    <a:pt x="69" y="36"/>
                  </a:lnTo>
                  <a:lnTo>
                    <a:pt x="69" y="36"/>
                  </a:lnTo>
                  <a:lnTo>
                    <a:pt x="71" y="33"/>
                  </a:lnTo>
                  <a:lnTo>
                    <a:pt x="74" y="31"/>
                  </a:lnTo>
                  <a:lnTo>
                    <a:pt x="71" y="2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330" name="Freeform 1949">
              <a:extLst>
                <a:ext uri="{FF2B5EF4-FFF2-40B4-BE49-F238E27FC236}">
                  <a16:creationId xmlns:a16="http://schemas.microsoft.com/office/drawing/2014/main" id="{8CF5B910-CDEE-8947-ADEC-0D650B6386AC}"/>
                </a:ext>
              </a:extLst>
            </p:cNvPr>
            <p:cNvSpPr>
              <a:spLocks/>
            </p:cNvSpPr>
            <p:nvPr/>
          </p:nvSpPr>
          <p:spPr bwMode="auto">
            <a:xfrm>
              <a:off x="3611365" y="3218808"/>
              <a:ext cx="8179" cy="16357"/>
            </a:xfrm>
            <a:custGeom>
              <a:avLst/>
              <a:gdLst>
                <a:gd name="T0" fmla="*/ 5 w 5"/>
                <a:gd name="T1" fmla="*/ 2 h 10"/>
                <a:gd name="T2" fmla="*/ 3 w 5"/>
                <a:gd name="T3" fmla="*/ 2 h 10"/>
                <a:gd name="T4" fmla="*/ 0 w 5"/>
                <a:gd name="T5" fmla="*/ 0 h 10"/>
                <a:gd name="T6" fmla="*/ 0 w 5"/>
                <a:gd name="T7" fmla="*/ 2 h 10"/>
                <a:gd name="T8" fmla="*/ 0 w 5"/>
                <a:gd name="T9" fmla="*/ 2 h 10"/>
                <a:gd name="T10" fmla="*/ 0 w 5"/>
                <a:gd name="T11" fmla="*/ 7 h 10"/>
                <a:gd name="T12" fmla="*/ 3 w 5"/>
                <a:gd name="T13" fmla="*/ 10 h 10"/>
                <a:gd name="T14" fmla="*/ 3 w 5"/>
                <a:gd name="T15" fmla="*/ 10 h 10"/>
                <a:gd name="T16" fmla="*/ 5 w 5"/>
                <a:gd name="T17" fmla="*/ 7 h 10"/>
                <a:gd name="T18" fmla="*/ 5 w 5"/>
                <a:gd name="T19" fmla="*/ 2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10">
                  <a:moveTo>
                    <a:pt x="5" y="2"/>
                  </a:moveTo>
                  <a:lnTo>
                    <a:pt x="3" y="2"/>
                  </a:lnTo>
                  <a:lnTo>
                    <a:pt x="0" y="0"/>
                  </a:lnTo>
                  <a:lnTo>
                    <a:pt x="0" y="2"/>
                  </a:lnTo>
                  <a:lnTo>
                    <a:pt x="0" y="2"/>
                  </a:lnTo>
                  <a:lnTo>
                    <a:pt x="0" y="7"/>
                  </a:lnTo>
                  <a:lnTo>
                    <a:pt x="3" y="10"/>
                  </a:lnTo>
                  <a:lnTo>
                    <a:pt x="3" y="10"/>
                  </a:lnTo>
                  <a:lnTo>
                    <a:pt x="5" y="7"/>
                  </a:lnTo>
                  <a:lnTo>
                    <a:pt x="5" y="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331" name="Freeform 1950">
              <a:extLst>
                <a:ext uri="{FF2B5EF4-FFF2-40B4-BE49-F238E27FC236}">
                  <a16:creationId xmlns:a16="http://schemas.microsoft.com/office/drawing/2014/main" id="{96730A10-47E7-B641-9F73-F7D43241464C}"/>
                </a:ext>
              </a:extLst>
            </p:cNvPr>
            <p:cNvSpPr>
              <a:spLocks/>
            </p:cNvSpPr>
            <p:nvPr/>
          </p:nvSpPr>
          <p:spPr bwMode="auto">
            <a:xfrm>
              <a:off x="6976075" y="3330038"/>
              <a:ext cx="53980" cy="63794"/>
            </a:xfrm>
            <a:custGeom>
              <a:avLst/>
              <a:gdLst>
                <a:gd name="T0" fmla="*/ 30 w 33"/>
                <a:gd name="T1" fmla="*/ 8 h 39"/>
                <a:gd name="T2" fmla="*/ 30 w 33"/>
                <a:gd name="T3" fmla="*/ 6 h 39"/>
                <a:gd name="T4" fmla="*/ 25 w 33"/>
                <a:gd name="T5" fmla="*/ 0 h 39"/>
                <a:gd name="T6" fmla="*/ 25 w 33"/>
                <a:gd name="T7" fmla="*/ 0 h 39"/>
                <a:gd name="T8" fmla="*/ 23 w 33"/>
                <a:gd name="T9" fmla="*/ 0 h 39"/>
                <a:gd name="T10" fmla="*/ 20 w 33"/>
                <a:gd name="T11" fmla="*/ 0 h 39"/>
                <a:gd name="T12" fmla="*/ 20 w 33"/>
                <a:gd name="T13" fmla="*/ 0 h 39"/>
                <a:gd name="T14" fmla="*/ 20 w 33"/>
                <a:gd name="T15" fmla="*/ 3 h 39"/>
                <a:gd name="T16" fmla="*/ 20 w 33"/>
                <a:gd name="T17" fmla="*/ 6 h 39"/>
                <a:gd name="T18" fmla="*/ 18 w 33"/>
                <a:gd name="T19" fmla="*/ 6 h 39"/>
                <a:gd name="T20" fmla="*/ 18 w 33"/>
                <a:gd name="T21" fmla="*/ 8 h 39"/>
                <a:gd name="T22" fmla="*/ 13 w 33"/>
                <a:gd name="T23" fmla="*/ 3 h 39"/>
                <a:gd name="T24" fmla="*/ 13 w 33"/>
                <a:gd name="T25" fmla="*/ 3 h 39"/>
                <a:gd name="T26" fmla="*/ 13 w 33"/>
                <a:gd name="T27" fmla="*/ 3 h 39"/>
                <a:gd name="T28" fmla="*/ 13 w 33"/>
                <a:gd name="T29" fmla="*/ 6 h 39"/>
                <a:gd name="T30" fmla="*/ 10 w 33"/>
                <a:gd name="T31" fmla="*/ 8 h 39"/>
                <a:gd name="T32" fmla="*/ 7 w 33"/>
                <a:gd name="T33" fmla="*/ 13 h 39"/>
                <a:gd name="T34" fmla="*/ 5 w 33"/>
                <a:gd name="T35" fmla="*/ 18 h 39"/>
                <a:gd name="T36" fmla="*/ 2 w 33"/>
                <a:gd name="T37" fmla="*/ 18 h 39"/>
                <a:gd name="T38" fmla="*/ 0 w 33"/>
                <a:gd name="T39" fmla="*/ 21 h 39"/>
                <a:gd name="T40" fmla="*/ 0 w 33"/>
                <a:gd name="T41" fmla="*/ 23 h 39"/>
                <a:gd name="T42" fmla="*/ 0 w 33"/>
                <a:gd name="T43" fmla="*/ 26 h 39"/>
                <a:gd name="T44" fmla="*/ 0 w 33"/>
                <a:gd name="T45" fmla="*/ 28 h 39"/>
                <a:gd name="T46" fmla="*/ 0 w 33"/>
                <a:gd name="T47" fmla="*/ 34 h 39"/>
                <a:gd name="T48" fmla="*/ 0 w 33"/>
                <a:gd name="T49" fmla="*/ 39 h 39"/>
                <a:gd name="T50" fmla="*/ 2 w 33"/>
                <a:gd name="T51" fmla="*/ 39 h 39"/>
                <a:gd name="T52" fmla="*/ 5 w 33"/>
                <a:gd name="T53" fmla="*/ 39 h 39"/>
                <a:gd name="T54" fmla="*/ 5 w 33"/>
                <a:gd name="T55" fmla="*/ 39 h 39"/>
                <a:gd name="T56" fmla="*/ 7 w 33"/>
                <a:gd name="T57" fmla="*/ 39 h 39"/>
                <a:gd name="T58" fmla="*/ 10 w 33"/>
                <a:gd name="T59" fmla="*/ 39 h 39"/>
                <a:gd name="T60" fmla="*/ 15 w 33"/>
                <a:gd name="T61" fmla="*/ 36 h 39"/>
                <a:gd name="T62" fmla="*/ 15 w 33"/>
                <a:gd name="T63" fmla="*/ 36 h 39"/>
                <a:gd name="T64" fmla="*/ 18 w 33"/>
                <a:gd name="T65" fmla="*/ 36 h 39"/>
                <a:gd name="T66" fmla="*/ 20 w 33"/>
                <a:gd name="T67" fmla="*/ 36 h 39"/>
                <a:gd name="T68" fmla="*/ 20 w 33"/>
                <a:gd name="T69" fmla="*/ 39 h 39"/>
                <a:gd name="T70" fmla="*/ 23 w 33"/>
                <a:gd name="T71" fmla="*/ 39 h 39"/>
                <a:gd name="T72" fmla="*/ 23 w 33"/>
                <a:gd name="T73" fmla="*/ 39 h 39"/>
                <a:gd name="T74" fmla="*/ 25 w 33"/>
                <a:gd name="T75" fmla="*/ 34 h 39"/>
                <a:gd name="T76" fmla="*/ 28 w 33"/>
                <a:gd name="T77" fmla="*/ 31 h 39"/>
                <a:gd name="T78" fmla="*/ 30 w 33"/>
                <a:gd name="T79" fmla="*/ 26 h 39"/>
                <a:gd name="T80" fmla="*/ 28 w 33"/>
                <a:gd name="T81" fmla="*/ 26 h 39"/>
                <a:gd name="T82" fmla="*/ 25 w 33"/>
                <a:gd name="T83" fmla="*/ 26 h 39"/>
                <a:gd name="T84" fmla="*/ 23 w 33"/>
                <a:gd name="T85" fmla="*/ 26 h 39"/>
                <a:gd name="T86" fmla="*/ 20 w 33"/>
                <a:gd name="T87" fmla="*/ 26 h 39"/>
                <a:gd name="T88" fmla="*/ 18 w 33"/>
                <a:gd name="T89" fmla="*/ 26 h 39"/>
                <a:gd name="T90" fmla="*/ 15 w 33"/>
                <a:gd name="T91" fmla="*/ 26 h 39"/>
                <a:gd name="T92" fmla="*/ 15 w 33"/>
                <a:gd name="T93" fmla="*/ 26 h 39"/>
                <a:gd name="T94" fmla="*/ 15 w 33"/>
                <a:gd name="T95" fmla="*/ 26 h 39"/>
                <a:gd name="T96" fmla="*/ 18 w 33"/>
                <a:gd name="T97" fmla="*/ 26 h 39"/>
                <a:gd name="T98" fmla="*/ 20 w 33"/>
                <a:gd name="T99" fmla="*/ 21 h 39"/>
                <a:gd name="T100" fmla="*/ 25 w 33"/>
                <a:gd name="T101" fmla="*/ 18 h 39"/>
                <a:gd name="T102" fmla="*/ 30 w 33"/>
                <a:gd name="T103" fmla="*/ 16 h 39"/>
                <a:gd name="T104" fmla="*/ 30 w 33"/>
                <a:gd name="T105" fmla="*/ 16 h 39"/>
                <a:gd name="T106" fmla="*/ 30 w 33"/>
                <a:gd name="T107" fmla="*/ 13 h 39"/>
                <a:gd name="T108" fmla="*/ 33 w 33"/>
                <a:gd name="T109" fmla="*/ 11 h 39"/>
                <a:gd name="T110" fmla="*/ 30 w 33"/>
                <a:gd name="T111"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3" h="39">
                  <a:moveTo>
                    <a:pt x="30" y="8"/>
                  </a:moveTo>
                  <a:lnTo>
                    <a:pt x="30" y="6"/>
                  </a:lnTo>
                  <a:lnTo>
                    <a:pt x="25" y="0"/>
                  </a:lnTo>
                  <a:lnTo>
                    <a:pt x="25" y="0"/>
                  </a:lnTo>
                  <a:lnTo>
                    <a:pt x="23" y="0"/>
                  </a:lnTo>
                  <a:lnTo>
                    <a:pt x="20" y="0"/>
                  </a:lnTo>
                  <a:lnTo>
                    <a:pt x="20" y="0"/>
                  </a:lnTo>
                  <a:lnTo>
                    <a:pt x="20" y="3"/>
                  </a:lnTo>
                  <a:lnTo>
                    <a:pt x="20" y="6"/>
                  </a:lnTo>
                  <a:lnTo>
                    <a:pt x="18" y="6"/>
                  </a:lnTo>
                  <a:lnTo>
                    <a:pt x="18" y="8"/>
                  </a:lnTo>
                  <a:lnTo>
                    <a:pt x="13" y="3"/>
                  </a:lnTo>
                  <a:lnTo>
                    <a:pt x="13" y="3"/>
                  </a:lnTo>
                  <a:lnTo>
                    <a:pt x="13" y="3"/>
                  </a:lnTo>
                  <a:lnTo>
                    <a:pt x="13" y="6"/>
                  </a:lnTo>
                  <a:lnTo>
                    <a:pt x="10" y="8"/>
                  </a:lnTo>
                  <a:lnTo>
                    <a:pt x="7" y="13"/>
                  </a:lnTo>
                  <a:lnTo>
                    <a:pt x="5" y="18"/>
                  </a:lnTo>
                  <a:lnTo>
                    <a:pt x="2" y="18"/>
                  </a:lnTo>
                  <a:lnTo>
                    <a:pt x="0" y="21"/>
                  </a:lnTo>
                  <a:lnTo>
                    <a:pt x="0" y="23"/>
                  </a:lnTo>
                  <a:lnTo>
                    <a:pt x="0" y="26"/>
                  </a:lnTo>
                  <a:lnTo>
                    <a:pt x="0" y="28"/>
                  </a:lnTo>
                  <a:lnTo>
                    <a:pt x="0" y="34"/>
                  </a:lnTo>
                  <a:lnTo>
                    <a:pt x="0" y="39"/>
                  </a:lnTo>
                  <a:lnTo>
                    <a:pt x="2" y="39"/>
                  </a:lnTo>
                  <a:lnTo>
                    <a:pt x="5" y="39"/>
                  </a:lnTo>
                  <a:lnTo>
                    <a:pt x="5" y="39"/>
                  </a:lnTo>
                  <a:lnTo>
                    <a:pt x="7" y="39"/>
                  </a:lnTo>
                  <a:lnTo>
                    <a:pt x="10" y="39"/>
                  </a:lnTo>
                  <a:lnTo>
                    <a:pt x="15" y="36"/>
                  </a:lnTo>
                  <a:lnTo>
                    <a:pt x="15" y="36"/>
                  </a:lnTo>
                  <a:lnTo>
                    <a:pt x="18" y="36"/>
                  </a:lnTo>
                  <a:lnTo>
                    <a:pt x="20" y="36"/>
                  </a:lnTo>
                  <a:lnTo>
                    <a:pt x="20" y="39"/>
                  </a:lnTo>
                  <a:lnTo>
                    <a:pt x="23" y="39"/>
                  </a:lnTo>
                  <a:lnTo>
                    <a:pt x="23" y="39"/>
                  </a:lnTo>
                  <a:lnTo>
                    <a:pt x="25" y="34"/>
                  </a:lnTo>
                  <a:lnTo>
                    <a:pt x="28" y="31"/>
                  </a:lnTo>
                  <a:lnTo>
                    <a:pt x="30" y="26"/>
                  </a:lnTo>
                  <a:lnTo>
                    <a:pt x="28" y="26"/>
                  </a:lnTo>
                  <a:lnTo>
                    <a:pt x="25" y="26"/>
                  </a:lnTo>
                  <a:lnTo>
                    <a:pt x="23" y="26"/>
                  </a:lnTo>
                  <a:lnTo>
                    <a:pt x="20" y="26"/>
                  </a:lnTo>
                  <a:lnTo>
                    <a:pt x="18" y="26"/>
                  </a:lnTo>
                  <a:lnTo>
                    <a:pt x="15" y="26"/>
                  </a:lnTo>
                  <a:lnTo>
                    <a:pt x="15" y="26"/>
                  </a:lnTo>
                  <a:lnTo>
                    <a:pt x="15" y="26"/>
                  </a:lnTo>
                  <a:lnTo>
                    <a:pt x="18" y="26"/>
                  </a:lnTo>
                  <a:lnTo>
                    <a:pt x="20" y="21"/>
                  </a:lnTo>
                  <a:lnTo>
                    <a:pt x="25" y="18"/>
                  </a:lnTo>
                  <a:lnTo>
                    <a:pt x="30" y="16"/>
                  </a:lnTo>
                  <a:lnTo>
                    <a:pt x="30" y="16"/>
                  </a:lnTo>
                  <a:lnTo>
                    <a:pt x="30" y="13"/>
                  </a:lnTo>
                  <a:lnTo>
                    <a:pt x="33" y="11"/>
                  </a:lnTo>
                  <a:lnTo>
                    <a:pt x="30" y="8"/>
                  </a:lnTo>
                  <a:close/>
                </a:path>
              </a:pathLst>
            </a:custGeom>
            <a:solidFill>
              <a:srgbClr val="FFC000"/>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332" name="Freeform 1951">
              <a:extLst>
                <a:ext uri="{FF2B5EF4-FFF2-40B4-BE49-F238E27FC236}">
                  <a16:creationId xmlns:a16="http://schemas.microsoft.com/office/drawing/2014/main" id="{19B703FF-194E-B14C-99B5-7380EF7BC7E1}"/>
                </a:ext>
              </a:extLst>
            </p:cNvPr>
            <p:cNvSpPr>
              <a:spLocks noEditPoints="1"/>
            </p:cNvSpPr>
            <p:nvPr/>
          </p:nvSpPr>
          <p:spPr bwMode="auto">
            <a:xfrm>
              <a:off x="5891582" y="1677944"/>
              <a:ext cx="191382" cy="107959"/>
            </a:xfrm>
            <a:custGeom>
              <a:avLst/>
              <a:gdLst>
                <a:gd name="T0" fmla="*/ 51 w 117"/>
                <a:gd name="T1" fmla="*/ 59 h 66"/>
                <a:gd name="T2" fmla="*/ 59 w 117"/>
                <a:gd name="T3" fmla="*/ 64 h 66"/>
                <a:gd name="T4" fmla="*/ 36 w 117"/>
                <a:gd name="T5" fmla="*/ 59 h 66"/>
                <a:gd name="T6" fmla="*/ 38 w 117"/>
                <a:gd name="T7" fmla="*/ 61 h 66"/>
                <a:gd name="T8" fmla="*/ 72 w 117"/>
                <a:gd name="T9" fmla="*/ 56 h 66"/>
                <a:gd name="T10" fmla="*/ 69 w 117"/>
                <a:gd name="T11" fmla="*/ 59 h 66"/>
                <a:gd name="T12" fmla="*/ 72 w 117"/>
                <a:gd name="T13" fmla="*/ 59 h 66"/>
                <a:gd name="T14" fmla="*/ 31 w 117"/>
                <a:gd name="T15" fmla="*/ 59 h 66"/>
                <a:gd name="T16" fmla="*/ 28 w 117"/>
                <a:gd name="T17" fmla="*/ 61 h 66"/>
                <a:gd name="T18" fmla="*/ 46 w 117"/>
                <a:gd name="T19" fmla="*/ 56 h 66"/>
                <a:gd name="T20" fmla="*/ 44 w 117"/>
                <a:gd name="T21" fmla="*/ 64 h 66"/>
                <a:gd name="T22" fmla="*/ 46 w 117"/>
                <a:gd name="T23" fmla="*/ 54 h 66"/>
                <a:gd name="T24" fmla="*/ 110 w 117"/>
                <a:gd name="T25" fmla="*/ 56 h 66"/>
                <a:gd name="T26" fmla="*/ 117 w 117"/>
                <a:gd name="T27" fmla="*/ 54 h 66"/>
                <a:gd name="T28" fmla="*/ 38 w 117"/>
                <a:gd name="T29" fmla="*/ 46 h 66"/>
                <a:gd name="T30" fmla="*/ 28 w 117"/>
                <a:gd name="T31" fmla="*/ 46 h 66"/>
                <a:gd name="T32" fmla="*/ 36 w 117"/>
                <a:gd name="T33" fmla="*/ 56 h 66"/>
                <a:gd name="T34" fmla="*/ 44 w 117"/>
                <a:gd name="T35" fmla="*/ 51 h 66"/>
                <a:gd name="T36" fmla="*/ 74 w 117"/>
                <a:gd name="T37" fmla="*/ 44 h 66"/>
                <a:gd name="T38" fmla="*/ 77 w 117"/>
                <a:gd name="T39" fmla="*/ 44 h 66"/>
                <a:gd name="T40" fmla="*/ 41 w 117"/>
                <a:gd name="T41" fmla="*/ 41 h 66"/>
                <a:gd name="T42" fmla="*/ 41 w 117"/>
                <a:gd name="T43" fmla="*/ 38 h 66"/>
                <a:gd name="T44" fmla="*/ 72 w 117"/>
                <a:gd name="T45" fmla="*/ 49 h 66"/>
                <a:gd name="T46" fmla="*/ 72 w 117"/>
                <a:gd name="T47" fmla="*/ 44 h 66"/>
                <a:gd name="T48" fmla="*/ 74 w 117"/>
                <a:gd name="T49" fmla="*/ 38 h 66"/>
                <a:gd name="T50" fmla="*/ 72 w 117"/>
                <a:gd name="T51" fmla="*/ 33 h 66"/>
                <a:gd name="T52" fmla="*/ 64 w 117"/>
                <a:gd name="T53" fmla="*/ 38 h 66"/>
                <a:gd name="T54" fmla="*/ 61 w 117"/>
                <a:gd name="T55" fmla="*/ 44 h 66"/>
                <a:gd name="T56" fmla="*/ 59 w 117"/>
                <a:gd name="T57" fmla="*/ 38 h 66"/>
                <a:gd name="T58" fmla="*/ 54 w 117"/>
                <a:gd name="T59" fmla="*/ 41 h 66"/>
                <a:gd name="T60" fmla="*/ 49 w 117"/>
                <a:gd name="T61" fmla="*/ 44 h 66"/>
                <a:gd name="T62" fmla="*/ 51 w 117"/>
                <a:gd name="T63" fmla="*/ 51 h 66"/>
                <a:gd name="T64" fmla="*/ 59 w 117"/>
                <a:gd name="T65" fmla="*/ 54 h 66"/>
                <a:gd name="T66" fmla="*/ 61 w 117"/>
                <a:gd name="T67" fmla="*/ 64 h 66"/>
                <a:gd name="T68" fmla="*/ 66 w 117"/>
                <a:gd name="T69" fmla="*/ 54 h 66"/>
                <a:gd name="T70" fmla="*/ 49 w 117"/>
                <a:gd name="T71" fmla="*/ 8 h 66"/>
                <a:gd name="T72" fmla="*/ 26 w 117"/>
                <a:gd name="T73" fmla="*/ 59 h 66"/>
                <a:gd name="T74" fmla="*/ 23 w 117"/>
                <a:gd name="T75" fmla="*/ 56 h 66"/>
                <a:gd name="T76" fmla="*/ 23 w 117"/>
                <a:gd name="T77" fmla="*/ 46 h 66"/>
                <a:gd name="T78" fmla="*/ 31 w 117"/>
                <a:gd name="T79" fmla="*/ 41 h 66"/>
                <a:gd name="T80" fmla="*/ 33 w 117"/>
                <a:gd name="T81" fmla="*/ 38 h 66"/>
                <a:gd name="T82" fmla="*/ 38 w 117"/>
                <a:gd name="T83" fmla="*/ 31 h 66"/>
                <a:gd name="T84" fmla="*/ 46 w 117"/>
                <a:gd name="T85" fmla="*/ 31 h 66"/>
                <a:gd name="T86" fmla="*/ 38 w 117"/>
                <a:gd name="T87" fmla="*/ 26 h 66"/>
                <a:gd name="T88" fmla="*/ 36 w 117"/>
                <a:gd name="T89" fmla="*/ 16 h 66"/>
                <a:gd name="T90" fmla="*/ 41 w 117"/>
                <a:gd name="T91" fmla="*/ 5 h 66"/>
                <a:gd name="T92" fmla="*/ 41 w 117"/>
                <a:gd name="T93" fmla="*/ 0 h 66"/>
                <a:gd name="T94" fmla="*/ 23 w 117"/>
                <a:gd name="T95" fmla="*/ 10 h 66"/>
                <a:gd name="T96" fmla="*/ 8 w 117"/>
                <a:gd name="T97" fmla="*/ 13 h 66"/>
                <a:gd name="T98" fmla="*/ 3 w 117"/>
                <a:gd name="T99" fmla="*/ 21 h 66"/>
                <a:gd name="T100" fmla="*/ 16 w 117"/>
                <a:gd name="T101" fmla="*/ 16 h 66"/>
                <a:gd name="T102" fmla="*/ 18 w 117"/>
                <a:gd name="T103" fmla="*/ 21 h 66"/>
                <a:gd name="T104" fmla="*/ 10 w 117"/>
                <a:gd name="T105" fmla="*/ 26 h 66"/>
                <a:gd name="T106" fmla="*/ 3 w 117"/>
                <a:gd name="T107" fmla="*/ 23 h 66"/>
                <a:gd name="T108" fmla="*/ 0 w 117"/>
                <a:gd name="T109" fmla="*/ 36 h 66"/>
                <a:gd name="T110" fmla="*/ 8 w 117"/>
                <a:gd name="T111" fmla="*/ 51 h 66"/>
                <a:gd name="T112" fmla="*/ 8 w 117"/>
                <a:gd name="T113" fmla="*/ 59 h 66"/>
                <a:gd name="T114" fmla="*/ 18 w 117"/>
                <a:gd name="T115" fmla="*/ 61 h 66"/>
                <a:gd name="T116" fmla="*/ 26 w 117"/>
                <a:gd name="T1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7" h="66">
                  <a:moveTo>
                    <a:pt x="61" y="61"/>
                  </a:moveTo>
                  <a:lnTo>
                    <a:pt x="59" y="61"/>
                  </a:lnTo>
                  <a:lnTo>
                    <a:pt x="56" y="61"/>
                  </a:lnTo>
                  <a:lnTo>
                    <a:pt x="54" y="61"/>
                  </a:lnTo>
                  <a:lnTo>
                    <a:pt x="51" y="59"/>
                  </a:lnTo>
                  <a:lnTo>
                    <a:pt x="49" y="59"/>
                  </a:lnTo>
                  <a:lnTo>
                    <a:pt x="49" y="61"/>
                  </a:lnTo>
                  <a:lnTo>
                    <a:pt x="49" y="64"/>
                  </a:lnTo>
                  <a:lnTo>
                    <a:pt x="56" y="66"/>
                  </a:lnTo>
                  <a:lnTo>
                    <a:pt x="59" y="64"/>
                  </a:lnTo>
                  <a:lnTo>
                    <a:pt x="59" y="66"/>
                  </a:lnTo>
                  <a:lnTo>
                    <a:pt x="61" y="64"/>
                  </a:lnTo>
                  <a:lnTo>
                    <a:pt x="61" y="64"/>
                  </a:lnTo>
                  <a:lnTo>
                    <a:pt x="61" y="61"/>
                  </a:lnTo>
                  <a:close/>
                  <a:moveTo>
                    <a:pt x="36" y="59"/>
                  </a:moveTo>
                  <a:lnTo>
                    <a:pt x="36" y="59"/>
                  </a:lnTo>
                  <a:lnTo>
                    <a:pt x="33" y="59"/>
                  </a:lnTo>
                  <a:lnTo>
                    <a:pt x="36" y="59"/>
                  </a:lnTo>
                  <a:lnTo>
                    <a:pt x="36" y="61"/>
                  </a:lnTo>
                  <a:lnTo>
                    <a:pt x="38" y="61"/>
                  </a:lnTo>
                  <a:lnTo>
                    <a:pt x="38" y="61"/>
                  </a:lnTo>
                  <a:lnTo>
                    <a:pt x="38" y="61"/>
                  </a:lnTo>
                  <a:lnTo>
                    <a:pt x="38" y="61"/>
                  </a:lnTo>
                  <a:lnTo>
                    <a:pt x="36" y="59"/>
                  </a:lnTo>
                  <a:close/>
                  <a:moveTo>
                    <a:pt x="72" y="56"/>
                  </a:moveTo>
                  <a:lnTo>
                    <a:pt x="72" y="56"/>
                  </a:lnTo>
                  <a:lnTo>
                    <a:pt x="69" y="56"/>
                  </a:lnTo>
                  <a:lnTo>
                    <a:pt x="69" y="56"/>
                  </a:lnTo>
                  <a:lnTo>
                    <a:pt x="69" y="56"/>
                  </a:lnTo>
                  <a:lnTo>
                    <a:pt x="69" y="59"/>
                  </a:lnTo>
                  <a:lnTo>
                    <a:pt x="66" y="59"/>
                  </a:lnTo>
                  <a:lnTo>
                    <a:pt x="66" y="59"/>
                  </a:lnTo>
                  <a:lnTo>
                    <a:pt x="66" y="59"/>
                  </a:lnTo>
                  <a:lnTo>
                    <a:pt x="69" y="61"/>
                  </a:lnTo>
                  <a:lnTo>
                    <a:pt x="72" y="59"/>
                  </a:lnTo>
                  <a:lnTo>
                    <a:pt x="74" y="59"/>
                  </a:lnTo>
                  <a:lnTo>
                    <a:pt x="74" y="59"/>
                  </a:lnTo>
                  <a:lnTo>
                    <a:pt x="74" y="59"/>
                  </a:lnTo>
                  <a:lnTo>
                    <a:pt x="72" y="56"/>
                  </a:lnTo>
                  <a:close/>
                  <a:moveTo>
                    <a:pt x="31" y="59"/>
                  </a:moveTo>
                  <a:lnTo>
                    <a:pt x="28" y="56"/>
                  </a:lnTo>
                  <a:lnTo>
                    <a:pt x="28" y="56"/>
                  </a:lnTo>
                  <a:lnTo>
                    <a:pt x="28" y="56"/>
                  </a:lnTo>
                  <a:lnTo>
                    <a:pt x="28" y="59"/>
                  </a:lnTo>
                  <a:lnTo>
                    <a:pt x="28" y="61"/>
                  </a:lnTo>
                  <a:lnTo>
                    <a:pt x="31" y="61"/>
                  </a:lnTo>
                  <a:lnTo>
                    <a:pt x="33" y="61"/>
                  </a:lnTo>
                  <a:lnTo>
                    <a:pt x="33" y="59"/>
                  </a:lnTo>
                  <a:lnTo>
                    <a:pt x="31" y="59"/>
                  </a:lnTo>
                  <a:close/>
                  <a:moveTo>
                    <a:pt x="46" y="56"/>
                  </a:moveTo>
                  <a:lnTo>
                    <a:pt x="44" y="59"/>
                  </a:lnTo>
                  <a:lnTo>
                    <a:pt x="44" y="59"/>
                  </a:lnTo>
                  <a:lnTo>
                    <a:pt x="41" y="61"/>
                  </a:lnTo>
                  <a:lnTo>
                    <a:pt x="41" y="61"/>
                  </a:lnTo>
                  <a:lnTo>
                    <a:pt x="44" y="64"/>
                  </a:lnTo>
                  <a:lnTo>
                    <a:pt x="44" y="64"/>
                  </a:lnTo>
                  <a:lnTo>
                    <a:pt x="44" y="61"/>
                  </a:lnTo>
                  <a:lnTo>
                    <a:pt x="46" y="56"/>
                  </a:lnTo>
                  <a:lnTo>
                    <a:pt x="46" y="54"/>
                  </a:lnTo>
                  <a:lnTo>
                    <a:pt x="46" y="54"/>
                  </a:lnTo>
                  <a:lnTo>
                    <a:pt x="46" y="56"/>
                  </a:lnTo>
                  <a:close/>
                  <a:moveTo>
                    <a:pt x="117" y="54"/>
                  </a:moveTo>
                  <a:lnTo>
                    <a:pt x="110" y="51"/>
                  </a:lnTo>
                  <a:lnTo>
                    <a:pt x="110" y="54"/>
                  </a:lnTo>
                  <a:lnTo>
                    <a:pt x="110" y="56"/>
                  </a:lnTo>
                  <a:lnTo>
                    <a:pt x="112" y="56"/>
                  </a:lnTo>
                  <a:lnTo>
                    <a:pt x="115" y="59"/>
                  </a:lnTo>
                  <a:lnTo>
                    <a:pt x="117" y="56"/>
                  </a:lnTo>
                  <a:lnTo>
                    <a:pt x="117" y="56"/>
                  </a:lnTo>
                  <a:lnTo>
                    <a:pt x="117" y="54"/>
                  </a:lnTo>
                  <a:close/>
                  <a:moveTo>
                    <a:pt x="44" y="49"/>
                  </a:moveTo>
                  <a:lnTo>
                    <a:pt x="44" y="46"/>
                  </a:lnTo>
                  <a:lnTo>
                    <a:pt x="41" y="46"/>
                  </a:lnTo>
                  <a:lnTo>
                    <a:pt x="41" y="44"/>
                  </a:lnTo>
                  <a:lnTo>
                    <a:pt x="38" y="46"/>
                  </a:lnTo>
                  <a:lnTo>
                    <a:pt x="38" y="46"/>
                  </a:lnTo>
                  <a:lnTo>
                    <a:pt x="36" y="46"/>
                  </a:lnTo>
                  <a:lnTo>
                    <a:pt x="36" y="46"/>
                  </a:lnTo>
                  <a:lnTo>
                    <a:pt x="31" y="46"/>
                  </a:lnTo>
                  <a:lnTo>
                    <a:pt x="28" y="46"/>
                  </a:lnTo>
                  <a:lnTo>
                    <a:pt x="28" y="51"/>
                  </a:lnTo>
                  <a:lnTo>
                    <a:pt x="31" y="54"/>
                  </a:lnTo>
                  <a:lnTo>
                    <a:pt x="31" y="54"/>
                  </a:lnTo>
                  <a:lnTo>
                    <a:pt x="31" y="54"/>
                  </a:lnTo>
                  <a:lnTo>
                    <a:pt x="36" y="56"/>
                  </a:lnTo>
                  <a:lnTo>
                    <a:pt x="38" y="56"/>
                  </a:lnTo>
                  <a:lnTo>
                    <a:pt x="41" y="56"/>
                  </a:lnTo>
                  <a:lnTo>
                    <a:pt x="44" y="56"/>
                  </a:lnTo>
                  <a:lnTo>
                    <a:pt x="44" y="54"/>
                  </a:lnTo>
                  <a:lnTo>
                    <a:pt x="44" y="51"/>
                  </a:lnTo>
                  <a:lnTo>
                    <a:pt x="46" y="51"/>
                  </a:lnTo>
                  <a:lnTo>
                    <a:pt x="44" y="49"/>
                  </a:lnTo>
                  <a:close/>
                  <a:moveTo>
                    <a:pt x="74" y="44"/>
                  </a:moveTo>
                  <a:lnTo>
                    <a:pt x="74" y="44"/>
                  </a:lnTo>
                  <a:lnTo>
                    <a:pt x="74" y="44"/>
                  </a:lnTo>
                  <a:lnTo>
                    <a:pt x="74" y="44"/>
                  </a:lnTo>
                  <a:lnTo>
                    <a:pt x="74" y="46"/>
                  </a:lnTo>
                  <a:lnTo>
                    <a:pt x="74" y="46"/>
                  </a:lnTo>
                  <a:lnTo>
                    <a:pt x="77" y="46"/>
                  </a:lnTo>
                  <a:lnTo>
                    <a:pt x="77" y="44"/>
                  </a:lnTo>
                  <a:lnTo>
                    <a:pt x="74" y="44"/>
                  </a:lnTo>
                  <a:close/>
                  <a:moveTo>
                    <a:pt x="41" y="41"/>
                  </a:moveTo>
                  <a:lnTo>
                    <a:pt x="41" y="41"/>
                  </a:lnTo>
                  <a:lnTo>
                    <a:pt x="41" y="41"/>
                  </a:lnTo>
                  <a:lnTo>
                    <a:pt x="41" y="41"/>
                  </a:lnTo>
                  <a:lnTo>
                    <a:pt x="44" y="38"/>
                  </a:lnTo>
                  <a:lnTo>
                    <a:pt x="41" y="38"/>
                  </a:lnTo>
                  <a:lnTo>
                    <a:pt x="41" y="36"/>
                  </a:lnTo>
                  <a:lnTo>
                    <a:pt x="41" y="38"/>
                  </a:lnTo>
                  <a:lnTo>
                    <a:pt x="41" y="38"/>
                  </a:lnTo>
                  <a:lnTo>
                    <a:pt x="41" y="41"/>
                  </a:lnTo>
                  <a:lnTo>
                    <a:pt x="41" y="41"/>
                  </a:lnTo>
                  <a:close/>
                  <a:moveTo>
                    <a:pt x="69" y="54"/>
                  </a:moveTo>
                  <a:lnTo>
                    <a:pt x="72" y="51"/>
                  </a:lnTo>
                  <a:lnTo>
                    <a:pt x="72" y="49"/>
                  </a:lnTo>
                  <a:lnTo>
                    <a:pt x="69" y="49"/>
                  </a:lnTo>
                  <a:lnTo>
                    <a:pt x="69" y="49"/>
                  </a:lnTo>
                  <a:lnTo>
                    <a:pt x="69" y="46"/>
                  </a:lnTo>
                  <a:lnTo>
                    <a:pt x="69" y="46"/>
                  </a:lnTo>
                  <a:lnTo>
                    <a:pt x="72" y="44"/>
                  </a:lnTo>
                  <a:lnTo>
                    <a:pt x="74" y="44"/>
                  </a:lnTo>
                  <a:lnTo>
                    <a:pt x="74" y="44"/>
                  </a:lnTo>
                  <a:lnTo>
                    <a:pt x="74" y="44"/>
                  </a:lnTo>
                  <a:lnTo>
                    <a:pt x="74" y="41"/>
                  </a:lnTo>
                  <a:lnTo>
                    <a:pt x="74" y="38"/>
                  </a:lnTo>
                  <a:lnTo>
                    <a:pt x="74" y="38"/>
                  </a:lnTo>
                  <a:lnTo>
                    <a:pt x="74" y="36"/>
                  </a:lnTo>
                  <a:lnTo>
                    <a:pt x="74" y="36"/>
                  </a:lnTo>
                  <a:lnTo>
                    <a:pt x="74" y="36"/>
                  </a:lnTo>
                  <a:lnTo>
                    <a:pt x="72" y="33"/>
                  </a:lnTo>
                  <a:lnTo>
                    <a:pt x="69" y="33"/>
                  </a:lnTo>
                  <a:lnTo>
                    <a:pt x="69" y="33"/>
                  </a:lnTo>
                  <a:lnTo>
                    <a:pt x="66" y="36"/>
                  </a:lnTo>
                  <a:lnTo>
                    <a:pt x="61" y="38"/>
                  </a:lnTo>
                  <a:lnTo>
                    <a:pt x="64" y="38"/>
                  </a:lnTo>
                  <a:lnTo>
                    <a:pt x="64" y="38"/>
                  </a:lnTo>
                  <a:lnTo>
                    <a:pt x="64" y="41"/>
                  </a:lnTo>
                  <a:lnTo>
                    <a:pt x="64" y="41"/>
                  </a:lnTo>
                  <a:lnTo>
                    <a:pt x="61" y="41"/>
                  </a:lnTo>
                  <a:lnTo>
                    <a:pt x="61" y="44"/>
                  </a:lnTo>
                  <a:lnTo>
                    <a:pt x="61" y="44"/>
                  </a:lnTo>
                  <a:lnTo>
                    <a:pt x="59" y="44"/>
                  </a:lnTo>
                  <a:lnTo>
                    <a:pt x="59" y="41"/>
                  </a:lnTo>
                  <a:lnTo>
                    <a:pt x="59" y="38"/>
                  </a:lnTo>
                  <a:lnTo>
                    <a:pt x="59" y="38"/>
                  </a:lnTo>
                  <a:lnTo>
                    <a:pt x="56" y="38"/>
                  </a:lnTo>
                  <a:lnTo>
                    <a:pt x="56" y="38"/>
                  </a:lnTo>
                  <a:lnTo>
                    <a:pt x="56" y="38"/>
                  </a:lnTo>
                  <a:lnTo>
                    <a:pt x="54" y="41"/>
                  </a:lnTo>
                  <a:lnTo>
                    <a:pt x="54" y="41"/>
                  </a:lnTo>
                  <a:lnTo>
                    <a:pt x="51" y="41"/>
                  </a:lnTo>
                  <a:lnTo>
                    <a:pt x="49" y="41"/>
                  </a:lnTo>
                  <a:lnTo>
                    <a:pt x="49" y="44"/>
                  </a:lnTo>
                  <a:lnTo>
                    <a:pt x="49" y="44"/>
                  </a:lnTo>
                  <a:lnTo>
                    <a:pt x="49" y="44"/>
                  </a:lnTo>
                  <a:lnTo>
                    <a:pt x="51" y="46"/>
                  </a:lnTo>
                  <a:lnTo>
                    <a:pt x="51" y="46"/>
                  </a:lnTo>
                  <a:lnTo>
                    <a:pt x="51" y="46"/>
                  </a:lnTo>
                  <a:lnTo>
                    <a:pt x="51" y="49"/>
                  </a:lnTo>
                  <a:lnTo>
                    <a:pt x="51" y="51"/>
                  </a:lnTo>
                  <a:lnTo>
                    <a:pt x="54" y="54"/>
                  </a:lnTo>
                  <a:lnTo>
                    <a:pt x="54" y="54"/>
                  </a:lnTo>
                  <a:lnTo>
                    <a:pt x="54" y="54"/>
                  </a:lnTo>
                  <a:lnTo>
                    <a:pt x="56" y="54"/>
                  </a:lnTo>
                  <a:lnTo>
                    <a:pt x="59" y="54"/>
                  </a:lnTo>
                  <a:lnTo>
                    <a:pt x="59" y="56"/>
                  </a:lnTo>
                  <a:lnTo>
                    <a:pt x="59" y="56"/>
                  </a:lnTo>
                  <a:lnTo>
                    <a:pt x="61" y="59"/>
                  </a:lnTo>
                  <a:lnTo>
                    <a:pt x="61" y="59"/>
                  </a:lnTo>
                  <a:lnTo>
                    <a:pt x="61" y="64"/>
                  </a:lnTo>
                  <a:lnTo>
                    <a:pt x="66" y="61"/>
                  </a:lnTo>
                  <a:lnTo>
                    <a:pt x="66" y="59"/>
                  </a:lnTo>
                  <a:lnTo>
                    <a:pt x="66" y="59"/>
                  </a:lnTo>
                  <a:lnTo>
                    <a:pt x="66" y="56"/>
                  </a:lnTo>
                  <a:lnTo>
                    <a:pt x="66" y="54"/>
                  </a:lnTo>
                  <a:lnTo>
                    <a:pt x="69" y="54"/>
                  </a:lnTo>
                  <a:close/>
                  <a:moveTo>
                    <a:pt x="49" y="10"/>
                  </a:moveTo>
                  <a:lnTo>
                    <a:pt x="49" y="10"/>
                  </a:lnTo>
                  <a:lnTo>
                    <a:pt x="51" y="8"/>
                  </a:lnTo>
                  <a:lnTo>
                    <a:pt x="49" y="8"/>
                  </a:lnTo>
                  <a:lnTo>
                    <a:pt x="46" y="8"/>
                  </a:lnTo>
                  <a:lnTo>
                    <a:pt x="46" y="10"/>
                  </a:lnTo>
                  <a:lnTo>
                    <a:pt x="49" y="10"/>
                  </a:lnTo>
                  <a:lnTo>
                    <a:pt x="49" y="10"/>
                  </a:lnTo>
                  <a:close/>
                  <a:moveTo>
                    <a:pt x="26" y="59"/>
                  </a:moveTo>
                  <a:lnTo>
                    <a:pt x="26" y="59"/>
                  </a:lnTo>
                  <a:lnTo>
                    <a:pt x="26" y="56"/>
                  </a:lnTo>
                  <a:lnTo>
                    <a:pt x="23" y="56"/>
                  </a:lnTo>
                  <a:lnTo>
                    <a:pt x="23" y="56"/>
                  </a:lnTo>
                  <a:lnTo>
                    <a:pt x="23" y="56"/>
                  </a:lnTo>
                  <a:lnTo>
                    <a:pt x="26" y="54"/>
                  </a:lnTo>
                  <a:lnTo>
                    <a:pt x="26" y="51"/>
                  </a:lnTo>
                  <a:lnTo>
                    <a:pt x="26" y="51"/>
                  </a:lnTo>
                  <a:lnTo>
                    <a:pt x="26" y="49"/>
                  </a:lnTo>
                  <a:lnTo>
                    <a:pt x="23" y="46"/>
                  </a:lnTo>
                  <a:lnTo>
                    <a:pt x="26" y="46"/>
                  </a:lnTo>
                  <a:lnTo>
                    <a:pt x="28" y="46"/>
                  </a:lnTo>
                  <a:lnTo>
                    <a:pt x="28" y="44"/>
                  </a:lnTo>
                  <a:lnTo>
                    <a:pt x="31" y="44"/>
                  </a:lnTo>
                  <a:lnTo>
                    <a:pt x="31" y="41"/>
                  </a:lnTo>
                  <a:lnTo>
                    <a:pt x="31" y="41"/>
                  </a:lnTo>
                  <a:lnTo>
                    <a:pt x="31" y="41"/>
                  </a:lnTo>
                  <a:lnTo>
                    <a:pt x="31" y="41"/>
                  </a:lnTo>
                  <a:lnTo>
                    <a:pt x="31" y="38"/>
                  </a:lnTo>
                  <a:lnTo>
                    <a:pt x="33" y="38"/>
                  </a:lnTo>
                  <a:lnTo>
                    <a:pt x="33" y="38"/>
                  </a:lnTo>
                  <a:lnTo>
                    <a:pt x="33" y="38"/>
                  </a:lnTo>
                  <a:lnTo>
                    <a:pt x="36" y="36"/>
                  </a:lnTo>
                  <a:lnTo>
                    <a:pt x="36" y="31"/>
                  </a:lnTo>
                  <a:lnTo>
                    <a:pt x="38" y="31"/>
                  </a:lnTo>
                  <a:lnTo>
                    <a:pt x="38" y="31"/>
                  </a:lnTo>
                  <a:lnTo>
                    <a:pt x="41" y="33"/>
                  </a:lnTo>
                  <a:lnTo>
                    <a:pt x="41" y="33"/>
                  </a:lnTo>
                  <a:lnTo>
                    <a:pt x="44" y="31"/>
                  </a:lnTo>
                  <a:lnTo>
                    <a:pt x="46" y="31"/>
                  </a:lnTo>
                  <a:lnTo>
                    <a:pt x="46" y="28"/>
                  </a:lnTo>
                  <a:lnTo>
                    <a:pt x="46" y="28"/>
                  </a:lnTo>
                  <a:lnTo>
                    <a:pt x="46" y="26"/>
                  </a:lnTo>
                  <a:lnTo>
                    <a:pt x="46" y="26"/>
                  </a:lnTo>
                  <a:lnTo>
                    <a:pt x="38" y="26"/>
                  </a:lnTo>
                  <a:lnTo>
                    <a:pt x="38" y="26"/>
                  </a:lnTo>
                  <a:lnTo>
                    <a:pt x="36" y="23"/>
                  </a:lnTo>
                  <a:lnTo>
                    <a:pt x="36" y="21"/>
                  </a:lnTo>
                  <a:lnTo>
                    <a:pt x="36" y="18"/>
                  </a:lnTo>
                  <a:lnTo>
                    <a:pt x="36" y="16"/>
                  </a:lnTo>
                  <a:lnTo>
                    <a:pt x="36" y="16"/>
                  </a:lnTo>
                  <a:lnTo>
                    <a:pt x="38" y="10"/>
                  </a:lnTo>
                  <a:lnTo>
                    <a:pt x="41" y="10"/>
                  </a:lnTo>
                  <a:lnTo>
                    <a:pt x="41" y="8"/>
                  </a:lnTo>
                  <a:lnTo>
                    <a:pt x="41" y="5"/>
                  </a:lnTo>
                  <a:lnTo>
                    <a:pt x="38" y="3"/>
                  </a:lnTo>
                  <a:lnTo>
                    <a:pt x="38" y="3"/>
                  </a:lnTo>
                  <a:lnTo>
                    <a:pt x="38" y="0"/>
                  </a:lnTo>
                  <a:lnTo>
                    <a:pt x="41" y="0"/>
                  </a:lnTo>
                  <a:lnTo>
                    <a:pt x="41" y="0"/>
                  </a:lnTo>
                  <a:lnTo>
                    <a:pt x="36" y="3"/>
                  </a:lnTo>
                  <a:lnTo>
                    <a:pt x="31" y="3"/>
                  </a:lnTo>
                  <a:lnTo>
                    <a:pt x="28" y="5"/>
                  </a:lnTo>
                  <a:lnTo>
                    <a:pt x="23" y="10"/>
                  </a:lnTo>
                  <a:lnTo>
                    <a:pt x="23" y="10"/>
                  </a:lnTo>
                  <a:lnTo>
                    <a:pt x="21" y="13"/>
                  </a:lnTo>
                  <a:lnTo>
                    <a:pt x="16" y="13"/>
                  </a:lnTo>
                  <a:lnTo>
                    <a:pt x="13" y="13"/>
                  </a:lnTo>
                  <a:lnTo>
                    <a:pt x="13" y="13"/>
                  </a:lnTo>
                  <a:lnTo>
                    <a:pt x="8" y="13"/>
                  </a:lnTo>
                  <a:lnTo>
                    <a:pt x="5" y="16"/>
                  </a:lnTo>
                  <a:lnTo>
                    <a:pt x="3" y="18"/>
                  </a:lnTo>
                  <a:lnTo>
                    <a:pt x="3" y="18"/>
                  </a:lnTo>
                  <a:lnTo>
                    <a:pt x="3" y="21"/>
                  </a:lnTo>
                  <a:lnTo>
                    <a:pt x="3" y="21"/>
                  </a:lnTo>
                  <a:lnTo>
                    <a:pt x="5" y="23"/>
                  </a:lnTo>
                  <a:lnTo>
                    <a:pt x="8" y="21"/>
                  </a:lnTo>
                  <a:lnTo>
                    <a:pt x="10" y="21"/>
                  </a:lnTo>
                  <a:lnTo>
                    <a:pt x="13" y="18"/>
                  </a:lnTo>
                  <a:lnTo>
                    <a:pt x="16" y="16"/>
                  </a:lnTo>
                  <a:lnTo>
                    <a:pt x="16" y="16"/>
                  </a:lnTo>
                  <a:lnTo>
                    <a:pt x="18" y="16"/>
                  </a:lnTo>
                  <a:lnTo>
                    <a:pt x="18" y="18"/>
                  </a:lnTo>
                  <a:lnTo>
                    <a:pt x="18" y="21"/>
                  </a:lnTo>
                  <a:lnTo>
                    <a:pt x="18" y="21"/>
                  </a:lnTo>
                  <a:lnTo>
                    <a:pt x="16" y="21"/>
                  </a:lnTo>
                  <a:lnTo>
                    <a:pt x="16" y="21"/>
                  </a:lnTo>
                  <a:lnTo>
                    <a:pt x="13" y="21"/>
                  </a:lnTo>
                  <a:lnTo>
                    <a:pt x="10" y="23"/>
                  </a:lnTo>
                  <a:lnTo>
                    <a:pt x="10" y="26"/>
                  </a:lnTo>
                  <a:lnTo>
                    <a:pt x="10" y="26"/>
                  </a:lnTo>
                  <a:lnTo>
                    <a:pt x="8" y="26"/>
                  </a:lnTo>
                  <a:lnTo>
                    <a:pt x="8" y="26"/>
                  </a:lnTo>
                  <a:lnTo>
                    <a:pt x="5" y="26"/>
                  </a:lnTo>
                  <a:lnTo>
                    <a:pt x="3" y="23"/>
                  </a:lnTo>
                  <a:lnTo>
                    <a:pt x="3" y="23"/>
                  </a:lnTo>
                  <a:lnTo>
                    <a:pt x="0" y="23"/>
                  </a:lnTo>
                  <a:lnTo>
                    <a:pt x="0" y="31"/>
                  </a:lnTo>
                  <a:lnTo>
                    <a:pt x="0" y="33"/>
                  </a:lnTo>
                  <a:lnTo>
                    <a:pt x="0" y="36"/>
                  </a:lnTo>
                  <a:lnTo>
                    <a:pt x="0" y="38"/>
                  </a:lnTo>
                  <a:lnTo>
                    <a:pt x="0" y="46"/>
                  </a:lnTo>
                  <a:lnTo>
                    <a:pt x="3" y="46"/>
                  </a:lnTo>
                  <a:lnTo>
                    <a:pt x="8" y="49"/>
                  </a:lnTo>
                  <a:lnTo>
                    <a:pt x="8" y="51"/>
                  </a:lnTo>
                  <a:lnTo>
                    <a:pt x="8" y="54"/>
                  </a:lnTo>
                  <a:lnTo>
                    <a:pt x="8" y="56"/>
                  </a:lnTo>
                  <a:lnTo>
                    <a:pt x="8" y="56"/>
                  </a:lnTo>
                  <a:lnTo>
                    <a:pt x="8" y="59"/>
                  </a:lnTo>
                  <a:lnTo>
                    <a:pt x="8" y="59"/>
                  </a:lnTo>
                  <a:lnTo>
                    <a:pt x="8" y="59"/>
                  </a:lnTo>
                  <a:lnTo>
                    <a:pt x="13" y="59"/>
                  </a:lnTo>
                  <a:lnTo>
                    <a:pt x="13" y="61"/>
                  </a:lnTo>
                  <a:lnTo>
                    <a:pt x="18" y="61"/>
                  </a:lnTo>
                  <a:lnTo>
                    <a:pt x="18" y="61"/>
                  </a:lnTo>
                  <a:lnTo>
                    <a:pt x="21" y="61"/>
                  </a:lnTo>
                  <a:lnTo>
                    <a:pt x="23" y="61"/>
                  </a:lnTo>
                  <a:lnTo>
                    <a:pt x="26" y="61"/>
                  </a:lnTo>
                  <a:lnTo>
                    <a:pt x="26" y="61"/>
                  </a:lnTo>
                  <a:lnTo>
                    <a:pt x="26" y="61"/>
                  </a:lnTo>
                  <a:lnTo>
                    <a:pt x="26" y="61"/>
                  </a:lnTo>
                  <a:lnTo>
                    <a:pt x="26" y="59"/>
                  </a:lnTo>
                  <a:lnTo>
                    <a:pt x="26" y="59"/>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333" name="Freeform 1952">
              <a:extLst>
                <a:ext uri="{FF2B5EF4-FFF2-40B4-BE49-F238E27FC236}">
                  <a16:creationId xmlns:a16="http://schemas.microsoft.com/office/drawing/2014/main" id="{80930C69-8F4C-2A4D-B8C2-059F916C3267}"/>
                </a:ext>
              </a:extLst>
            </p:cNvPr>
            <p:cNvSpPr>
              <a:spLocks/>
            </p:cNvSpPr>
            <p:nvPr/>
          </p:nvSpPr>
          <p:spPr bwMode="auto">
            <a:xfrm>
              <a:off x="6009355" y="3604841"/>
              <a:ext cx="628123" cy="695189"/>
            </a:xfrm>
            <a:custGeom>
              <a:avLst/>
              <a:gdLst>
                <a:gd name="T0" fmla="*/ 372 w 384"/>
                <a:gd name="T1" fmla="*/ 64 h 425"/>
                <a:gd name="T2" fmla="*/ 374 w 384"/>
                <a:gd name="T3" fmla="*/ 46 h 425"/>
                <a:gd name="T4" fmla="*/ 369 w 384"/>
                <a:gd name="T5" fmla="*/ 39 h 425"/>
                <a:gd name="T6" fmla="*/ 354 w 384"/>
                <a:gd name="T7" fmla="*/ 18 h 425"/>
                <a:gd name="T8" fmla="*/ 331 w 384"/>
                <a:gd name="T9" fmla="*/ 18 h 425"/>
                <a:gd name="T10" fmla="*/ 316 w 384"/>
                <a:gd name="T11" fmla="*/ 16 h 425"/>
                <a:gd name="T12" fmla="*/ 298 w 384"/>
                <a:gd name="T13" fmla="*/ 3 h 425"/>
                <a:gd name="T14" fmla="*/ 265 w 384"/>
                <a:gd name="T15" fmla="*/ 0 h 425"/>
                <a:gd name="T16" fmla="*/ 234 w 384"/>
                <a:gd name="T17" fmla="*/ 11 h 425"/>
                <a:gd name="T18" fmla="*/ 211 w 384"/>
                <a:gd name="T19" fmla="*/ 16 h 425"/>
                <a:gd name="T20" fmla="*/ 183 w 384"/>
                <a:gd name="T21" fmla="*/ 21 h 425"/>
                <a:gd name="T22" fmla="*/ 158 w 384"/>
                <a:gd name="T23" fmla="*/ 8 h 425"/>
                <a:gd name="T24" fmla="*/ 127 w 384"/>
                <a:gd name="T25" fmla="*/ 23 h 425"/>
                <a:gd name="T26" fmla="*/ 117 w 384"/>
                <a:gd name="T27" fmla="*/ 74 h 425"/>
                <a:gd name="T28" fmla="*/ 112 w 384"/>
                <a:gd name="T29" fmla="*/ 133 h 425"/>
                <a:gd name="T30" fmla="*/ 86 w 384"/>
                <a:gd name="T31" fmla="*/ 166 h 425"/>
                <a:gd name="T32" fmla="*/ 71 w 384"/>
                <a:gd name="T33" fmla="*/ 212 h 425"/>
                <a:gd name="T34" fmla="*/ 48 w 384"/>
                <a:gd name="T35" fmla="*/ 232 h 425"/>
                <a:gd name="T36" fmla="*/ 45 w 384"/>
                <a:gd name="T37" fmla="*/ 222 h 425"/>
                <a:gd name="T38" fmla="*/ 33 w 384"/>
                <a:gd name="T39" fmla="*/ 222 h 425"/>
                <a:gd name="T40" fmla="*/ 25 w 384"/>
                <a:gd name="T41" fmla="*/ 229 h 425"/>
                <a:gd name="T42" fmla="*/ 17 w 384"/>
                <a:gd name="T43" fmla="*/ 227 h 425"/>
                <a:gd name="T44" fmla="*/ 7 w 384"/>
                <a:gd name="T45" fmla="*/ 237 h 425"/>
                <a:gd name="T46" fmla="*/ 5 w 384"/>
                <a:gd name="T47" fmla="*/ 257 h 425"/>
                <a:gd name="T48" fmla="*/ 23 w 384"/>
                <a:gd name="T49" fmla="*/ 252 h 425"/>
                <a:gd name="T50" fmla="*/ 66 w 384"/>
                <a:gd name="T51" fmla="*/ 252 h 425"/>
                <a:gd name="T52" fmla="*/ 91 w 384"/>
                <a:gd name="T53" fmla="*/ 262 h 425"/>
                <a:gd name="T54" fmla="*/ 99 w 384"/>
                <a:gd name="T55" fmla="*/ 288 h 425"/>
                <a:gd name="T56" fmla="*/ 117 w 384"/>
                <a:gd name="T57" fmla="*/ 303 h 425"/>
                <a:gd name="T58" fmla="*/ 145 w 384"/>
                <a:gd name="T59" fmla="*/ 296 h 425"/>
                <a:gd name="T60" fmla="*/ 160 w 384"/>
                <a:gd name="T61" fmla="*/ 278 h 425"/>
                <a:gd name="T62" fmla="*/ 186 w 384"/>
                <a:gd name="T63" fmla="*/ 285 h 425"/>
                <a:gd name="T64" fmla="*/ 193 w 384"/>
                <a:gd name="T65" fmla="*/ 324 h 425"/>
                <a:gd name="T66" fmla="*/ 201 w 384"/>
                <a:gd name="T67" fmla="*/ 359 h 425"/>
                <a:gd name="T68" fmla="*/ 203 w 384"/>
                <a:gd name="T69" fmla="*/ 374 h 425"/>
                <a:gd name="T70" fmla="*/ 229 w 384"/>
                <a:gd name="T71" fmla="*/ 369 h 425"/>
                <a:gd name="T72" fmla="*/ 239 w 384"/>
                <a:gd name="T73" fmla="*/ 372 h 425"/>
                <a:gd name="T74" fmla="*/ 249 w 384"/>
                <a:gd name="T75" fmla="*/ 377 h 425"/>
                <a:gd name="T76" fmla="*/ 262 w 384"/>
                <a:gd name="T77" fmla="*/ 382 h 425"/>
                <a:gd name="T78" fmla="*/ 282 w 384"/>
                <a:gd name="T79" fmla="*/ 392 h 425"/>
                <a:gd name="T80" fmla="*/ 298 w 384"/>
                <a:gd name="T81" fmla="*/ 385 h 425"/>
                <a:gd name="T82" fmla="*/ 311 w 384"/>
                <a:gd name="T83" fmla="*/ 400 h 425"/>
                <a:gd name="T84" fmla="*/ 328 w 384"/>
                <a:gd name="T85" fmla="*/ 413 h 425"/>
                <a:gd name="T86" fmla="*/ 341 w 384"/>
                <a:gd name="T87" fmla="*/ 423 h 425"/>
                <a:gd name="T88" fmla="*/ 351 w 384"/>
                <a:gd name="T89" fmla="*/ 425 h 425"/>
                <a:gd name="T90" fmla="*/ 349 w 384"/>
                <a:gd name="T91" fmla="*/ 397 h 425"/>
                <a:gd name="T92" fmla="*/ 336 w 384"/>
                <a:gd name="T93" fmla="*/ 400 h 425"/>
                <a:gd name="T94" fmla="*/ 323 w 384"/>
                <a:gd name="T95" fmla="*/ 382 h 425"/>
                <a:gd name="T96" fmla="*/ 328 w 384"/>
                <a:gd name="T97" fmla="*/ 346 h 425"/>
                <a:gd name="T98" fmla="*/ 333 w 384"/>
                <a:gd name="T99" fmla="*/ 321 h 425"/>
                <a:gd name="T100" fmla="*/ 364 w 384"/>
                <a:gd name="T101" fmla="*/ 308 h 425"/>
                <a:gd name="T102" fmla="*/ 361 w 384"/>
                <a:gd name="T103" fmla="*/ 280 h 425"/>
                <a:gd name="T104" fmla="*/ 346 w 384"/>
                <a:gd name="T105" fmla="*/ 255 h 425"/>
                <a:gd name="T106" fmla="*/ 344 w 384"/>
                <a:gd name="T107" fmla="*/ 229 h 425"/>
                <a:gd name="T108" fmla="*/ 341 w 384"/>
                <a:gd name="T109" fmla="*/ 196 h 425"/>
                <a:gd name="T110" fmla="*/ 336 w 384"/>
                <a:gd name="T111" fmla="*/ 181 h 425"/>
                <a:gd name="T112" fmla="*/ 341 w 384"/>
                <a:gd name="T113" fmla="*/ 163 h 425"/>
                <a:gd name="T114" fmla="*/ 349 w 384"/>
                <a:gd name="T115" fmla="*/ 145 h 425"/>
                <a:gd name="T116" fmla="*/ 354 w 384"/>
                <a:gd name="T117" fmla="*/ 117 h 425"/>
                <a:gd name="T118" fmla="*/ 361 w 384"/>
                <a:gd name="T119" fmla="*/ 95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84" h="425">
                  <a:moveTo>
                    <a:pt x="382" y="69"/>
                  </a:moveTo>
                  <a:lnTo>
                    <a:pt x="382" y="69"/>
                  </a:lnTo>
                  <a:lnTo>
                    <a:pt x="382" y="69"/>
                  </a:lnTo>
                  <a:lnTo>
                    <a:pt x="382" y="69"/>
                  </a:lnTo>
                  <a:lnTo>
                    <a:pt x="379" y="69"/>
                  </a:lnTo>
                  <a:lnTo>
                    <a:pt x="379" y="67"/>
                  </a:lnTo>
                  <a:lnTo>
                    <a:pt x="377" y="67"/>
                  </a:lnTo>
                  <a:lnTo>
                    <a:pt x="377" y="67"/>
                  </a:lnTo>
                  <a:lnTo>
                    <a:pt x="374" y="67"/>
                  </a:lnTo>
                  <a:lnTo>
                    <a:pt x="372" y="64"/>
                  </a:lnTo>
                  <a:lnTo>
                    <a:pt x="372" y="61"/>
                  </a:lnTo>
                  <a:lnTo>
                    <a:pt x="374" y="59"/>
                  </a:lnTo>
                  <a:lnTo>
                    <a:pt x="374" y="56"/>
                  </a:lnTo>
                  <a:lnTo>
                    <a:pt x="374" y="54"/>
                  </a:lnTo>
                  <a:lnTo>
                    <a:pt x="374" y="54"/>
                  </a:lnTo>
                  <a:lnTo>
                    <a:pt x="374" y="54"/>
                  </a:lnTo>
                  <a:lnTo>
                    <a:pt x="374" y="51"/>
                  </a:lnTo>
                  <a:lnTo>
                    <a:pt x="372" y="51"/>
                  </a:lnTo>
                  <a:lnTo>
                    <a:pt x="374" y="49"/>
                  </a:lnTo>
                  <a:lnTo>
                    <a:pt x="374" y="46"/>
                  </a:lnTo>
                  <a:lnTo>
                    <a:pt x="374" y="44"/>
                  </a:lnTo>
                  <a:lnTo>
                    <a:pt x="377" y="44"/>
                  </a:lnTo>
                  <a:lnTo>
                    <a:pt x="377" y="41"/>
                  </a:lnTo>
                  <a:lnTo>
                    <a:pt x="374" y="41"/>
                  </a:lnTo>
                  <a:lnTo>
                    <a:pt x="374" y="39"/>
                  </a:lnTo>
                  <a:lnTo>
                    <a:pt x="374" y="39"/>
                  </a:lnTo>
                  <a:lnTo>
                    <a:pt x="372" y="39"/>
                  </a:lnTo>
                  <a:lnTo>
                    <a:pt x="372" y="36"/>
                  </a:lnTo>
                  <a:lnTo>
                    <a:pt x="372" y="39"/>
                  </a:lnTo>
                  <a:lnTo>
                    <a:pt x="369" y="39"/>
                  </a:lnTo>
                  <a:lnTo>
                    <a:pt x="369" y="36"/>
                  </a:lnTo>
                  <a:lnTo>
                    <a:pt x="369" y="36"/>
                  </a:lnTo>
                  <a:lnTo>
                    <a:pt x="369" y="33"/>
                  </a:lnTo>
                  <a:lnTo>
                    <a:pt x="367" y="33"/>
                  </a:lnTo>
                  <a:lnTo>
                    <a:pt x="367" y="31"/>
                  </a:lnTo>
                  <a:lnTo>
                    <a:pt x="361" y="28"/>
                  </a:lnTo>
                  <a:lnTo>
                    <a:pt x="359" y="26"/>
                  </a:lnTo>
                  <a:lnTo>
                    <a:pt x="356" y="23"/>
                  </a:lnTo>
                  <a:lnTo>
                    <a:pt x="354" y="21"/>
                  </a:lnTo>
                  <a:lnTo>
                    <a:pt x="354" y="18"/>
                  </a:lnTo>
                  <a:lnTo>
                    <a:pt x="351" y="16"/>
                  </a:lnTo>
                  <a:lnTo>
                    <a:pt x="349" y="16"/>
                  </a:lnTo>
                  <a:lnTo>
                    <a:pt x="346" y="16"/>
                  </a:lnTo>
                  <a:lnTo>
                    <a:pt x="346" y="18"/>
                  </a:lnTo>
                  <a:lnTo>
                    <a:pt x="341" y="21"/>
                  </a:lnTo>
                  <a:lnTo>
                    <a:pt x="341" y="21"/>
                  </a:lnTo>
                  <a:lnTo>
                    <a:pt x="339" y="18"/>
                  </a:lnTo>
                  <a:lnTo>
                    <a:pt x="336" y="18"/>
                  </a:lnTo>
                  <a:lnTo>
                    <a:pt x="331" y="18"/>
                  </a:lnTo>
                  <a:lnTo>
                    <a:pt x="331" y="18"/>
                  </a:lnTo>
                  <a:lnTo>
                    <a:pt x="328" y="21"/>
                  </a:lnTo>
                  <a:lnTo>
                    <a:pt x="326" y="21"/>
                  </a:lnTo>
                  <a:lnTo>
                    <a:pt x="326" y="21"/>
                  </a:lnTo>
                  <a:lnTo>
                    <a:pt x="323" y="21"/>
                  </a:lnTo>
                  <a:lnTo>
                    <a:pt x="323" y="21"/>
                  </a:lnTo>
                  <a:lnTo>
                    <a:pt x="321" y="21"/>
                  </a:lnTo>
                  <a:lnTo>
                    <a:pt x="318" y="21"/>
                  </a:lnTo>
                  <a:lnTo>
                    <a:pt x="318" y="18"/>
                  </a:lnTo>
                  <a:lnTo>
                    <a:pt x="318" y="18"/>
                  </a:lnTo>
                  <a:lnTo>
                    <a:pt x="316" y="16"/>
                  </a:lnTo>
                  <a:lnTo>
                    <a:pt x="313" y="16"/>
                  </a:lnTo>
                  <a:lnTo>
                    <a:pt x="313" y="16"/>
                  </a:lnTo>
                  <a:lnTo>
                    <a:pt x="313" y="13"/>
                  </a:lnTo>
                  <a:lnTo>
                    <a:pt x="311" y="11"/>
                  </a:lnTo>
                  <a:lnTo>
                    <a:pt x="311" y="11"/>
                  </a:lnTo>
                  <a:lnTo>
                    <a:pt x="308" y="8"/>
                  </a:lnTo>
                  <a:lnTo>
                    <a:pt x="305" y="5"/>
                  </a:lnTo>
                  <a:lnTo>
                    <a:pt x="305" y="3"/>
                  </a:lnTo>
                  <a:lnTo>
                    <a:pt x="300" y="3"/>
                  </a:lnTo>
                  <a:lnTo>
                    <a:pt x="298" y="3"/>
                  </a:lnTo>
                  <a:lnTo>
                    <a:pt x="298" y="3"/>
                  </a:lnTo>
                  <a:lnTo>
                    <a:pt x="295" y="5"/>
                  </a:lnTo>
                  <a:lnTo>
                    <a:pt x="293" y="5"/>
                  </a:lnTo>
                  <a:lnTo>
                    <a:pt x="293" y="5"/>
                  </a:lnTo>
                  <a:lnTo>
                    <a:pt x="290" y="5"/>
                  </a:lnTo>
                  <a:lnTo>
                    <a:pt x="280" y="3"/>
                  </a:lnTo>
                  <a:lnTo>
                    <a:pt x="272" y="0"/>
                  </a:lnTo>
                  <a:lnTo>
                    <a:pt x="272" y="0"/>
                  </a:lnTo>
                  <a:lnTo>
                    <a:pt x="267" y="0"/>
                  </a:lnTo>
                  <a:lnTo>
                    <a:pt x="265" y="0"/>
                  </a:lnTo>
                  <a:lnTo>
                    <a:pt x="262" y="5"/>
                  </a:lnTo>
                  <a:lnTo>
                    <a:pt x="262" y="5"/>
                  </a:lnTo>
                  <a:lnTo>
                    <a:pt x="260" y="8"/>
                  </a:lnTo>
                  <a:lnTo>
                    <a:pt x="257" y="8"/>
                  </a:lnTo>
                  <a:lnTo>
                    <a:pt x="252" y="8"/>
                  </a:lnTo>
                  <a:lnTo>
                    <a:pt x="247" y="5"/>
                  </a:lnTo>
                  <a:lnTo>
                    <a:pt x="244" y="5"/>
                  </a:lnTo>
                  <a:lnTo>
                    <a:pt x="242" y="8"/>
                  </a:lnTo>
                  <a:lnTo>
                    <a:pt x="237" y="11"/>
                  </a:lnTo>
                  <a:lnTo>
                    <a:pt x="234" y="11"/>
                  </a:lnTo>
                  <a:lnTo>
                    <a:pt x="232" y="11"/>
                  </a:lnTo>
                  <a:lnTo>
                    <a:pt x="226" y="13"/>
                  </a:lnTo>
                  <a:lnTo>
                    <a:pt x="226" y="13"/>
                  </a:lnTo>
                  <a:lnTo>
                    <a:pt x="224" y="13"/>
                  </a:lnTo>
                  <a:lnTo>
                    <a:pt x="221" y="13"/>
                  </a:lnTo>
                  <a:lnTo>
                    <a:pt x="219" y="13"/>
                  </a:lnTo>
                  <a:lnTo>
                    <a:pt x="216" y="13"/>
                  </a:lnTo>
                  <a:lnTo>
                    <a:pt x="214" y="13"/>
                  </a:lnTo>
                  <a:lnTo>
                    <a:pt x="211" y="16"/>
                  </a:lnTo>
                  <a:lnTo>
                    <a:pt x="211" y="16"/>
                  </a:lnTo>
                  <a:lnTo>
                    <a:pt x="209" y="18"/>
                  </a:lnTo>
                  <a:lnTo>
                    <a:pt x="206" y="23"/>
                  </a:lnTo>
                  <a:lnTo>
                    <a:pt x="206" y="26"/>
                  </a:lnTo>
                  <a:lnTo>
                    <a:pt x="206" y="26"/>
                  </a:lnTo>
                  <a:lnTo>
                    <a:pt x="206" y="26"/>
                  </a:lnTo>
                  <a:lnTo>
                    <a:pt x="196" y="23"/>
                  </a:lnTo>
                  <a:lnTo>
                    <a:pt x="191" y="23"/>
                  </a:lnTo>
                  <a:lnTo>
                    <a:pt x="188" y="23"/>
                  </a:lnTo>
                  <a:lnTo>
                    <a:pt x="183" y="23"/>
                  </a:lnTo>
                  <a:lnTo>
                    <a:pt x="183" y="21"/>
                  </a:lnTo>
                  <a:lnTo>
                    <a:pt x="181" y="23"/>
                  </a:lnTo>
                  <a:lnTo>
                    <a:pt x="181" y="21"/>
                  </a:lnTo>
                  <a:lnTo>
                    <a:pt x="175" y="21"/>
                  </a:lnTo>
                  <a:lnTo>
                    <a:pt x="173" y="18"/>
                  </a:lnTo>
                  <a:lnTo>
                    <a:pt x="170" y="18"/>
                  </a:lnTo>
                  <a:lnTo>
                    <a:pt x="168" y="18"/>
                  </a:lnTo>
                  <a:lnTo>
                    <a:pt x="165" y="16"/>
                  </a:lnTo>
                  <a:lnTo>
                    <a:pt x="165" y="13"/>
                  </a:lnTo>
                  <a:lnTo>
                    <a:pt x="160" y="11"/>
                  </a:lnTo>
                  <a:lnTo>
                    <a:pt x="158" y="8"/>
                  </a:lnTo>
                  <a:lnTo>
                    <a:pt x="155" y="5"/>
                  </a:lnTo>
                  <a:lnTo>
                    <a:pt x="153" y="5"/>
                  </a:lnTo>
                  <a:lnTo>
                    <a:pt x="150" y="3"/>
                  </a:lnTo>
                  <a:lnTo>
                    <a:pt x="147" y="3"/>
                  </a:lnTo>
                  <a:lnTo>
                    <a:pt x="142" y="5"/>
                  </a:lnTo>
                  <a:lnTo>
                    <a:pt x="137" y="8"/>
                  </a:lnTo>
                  <a:lnTo>
                    <a:pt x="132" y="18"/>
                  </a:lnTo>
                  <a:lnTo>
                    <a:pt x="130" y="21"/>
                  </a:lnTo>
                  <a:lnTo>
                    <a:pt x="130" y="21"/>
                  </a:lnTo>
                  <a:lnTo>
                    <a:pt x="127" y="23"/>
                  </a:lnTo>
                  <a:lnTo>
                    <a:pt x="130" y="26"/>
                  </a:lnTo>
                  <a:lnTo>
                    <a:pt x="130" y="31"/>
                  </a:lnTo>
                  <a:lnTo>
                    <a:pt x="130" y="36"/>
                  </a:lnTo>
                  <a:lnTo>
                    <a:pt x="130" y="41"/>
                  </a:lnTo>
                  <a:lnTo>
                    <a:pt x="130" y="46"/>
                  </a:lnTo>
                  <a:lnTo>
                    <a:pt x="127" y="49"/>
                  </a:lnTo>
                  <a:lnTo>
                    <a:pt x="127" y="54"/>
                  </a:lnTo>
                  <a:lnTo>
                    <a:pt x="124" y="59"/>
                  </a:lnTo>
                  <a:lnTo>
                    <a:pt x="122" y="64"/>
                  </a:lnTo>
                  <a:lnTo>
                    <a:pt x="117" y="74"/>
                  </a:lnTo>
                  <a:lnTo>
                    <a:pt x="119" y="82"/>
                  </a:lnTo>
                  <a:lnTo>
                    <a:pt x="117" y="84"/>
                  </a:lnTo>
                  <a:lnTo>
                    <a:pt x="117" y="87"/>
                  </a:lnTo>
                  <a:lnTo>
                    <a:pt x="114" y="95"/>
                  </a:lnTo>
                  <a:lnTo>
                    <a:pt x="114" y="100"/>
                  </a:lnTo>
                  <a:lnTo>
                    <a:pt x="114" y="107"/>
                  </a:lnTo>
                  <a:lnTo>
                    <a:pt x="114" y="115"/>
                  </a:lnTo>
                  <a:lnTo>
                    <a:pt x="112" y="120"/>
                  </a:lnTo>
                  <a:lnTo>
                    <a:pt x="112" y="128"/>
                  </a:lnTo>
                  <a:lnTo>
                    <a:pt x="112" y="133"/>
                  </a:lnTo>
                  <a:lnTo>
                    <a:pt x="107" y="138"/>
                  </a:lnTo>
                  <a:lnTo>
                    <a:pt x="102" y="143"/>
                  </a:lnTo>
                  <a:lnTo>
                    <a:pt x="99" y="145"/>
                  </a:lnTo>
                  <a:lnTo>
                    <a:pt x="96" y="145"/>
                  </a:lnTo>
                  <a:lnTo>
                    <a:pt x="94" y="148"/>
                  </a:lnTo>
                  <a:lnTo>
                    <a:pt x="94" y="148"/>
                  </a:lnTo>
                  <a:lnTo>
                    <a:pt x="91" y="151"/>
                  </a:lnTo>
                  <a:lnTo>
                    <a:pt x="89" y="158"/>
                  </a:lnTo>
                  <a:lnTo>
                    <a:pt x="86" y="161"/>
                  </a:lnTo>
                  <a:lnTo>
                    <a:pt x="86" y="166"/>
                  </a:lnTo>
                  <a:lnTo>
                    <a:pt x="81" y="168"/>
                  </a:lnTo>
                  <a:lnTo>
                    <a:pt x="81" y="168"/>
                  </a:lnTo>
                  <a:lnTo>
                    <a:pt x="81" y="171"/>
                  </a:lnTo>
                  <a:lnTo>
                    <a:pt x="81" y="176"/>
                  </a:lnTo>
                  <a:lnTo>
                    <a:pt x="81" y="189"/>
                  </a:lnTo>
                  <a:lnTo>
                    <a:pt x="81" y="194"/>
                  </a:lnTo>
                  <a:lnTo>
                    <a:pt x="79" y="199"/>
                  </a:lnTo>
                  <a:lnTo>
                    <a:pt x="76" y="207"/>
                  </a:lnTo>
                  <a:lnTo>
                    <a:pt x="73" y="209"/>
                  </a:lnTo>
                  <a:lnTo>
                    <a:pt x="71" y="212"/>
                  </a:lnTo>
                  <a:lnTo>
                    <a:pt x="68" y="212"/>
                  </a:lnTo>
                  <a:lnTo>
                    <a:pt x="66" y="214"/>
                  </a:lnTo>
                  <a:lnTo>
                    <a:pt x="66" y="214"/>
                  </a:lnTo>
                  <a:lnTo>
                    <a:pt x="63" y="217"/>
                  </a:lnTo>
                  <a:lnTo>
                    <a:pt x="61" y="217"/>
                  </a:lnTo>
                  <a:lnTo>
                    <a:pt x="58" y="222"/>
                  </a:lnTo>
                  <a:lnTo>
                    <a:pt x="56" y="227"/>
                  </a:lnTo>
                  <a:lnTo>
                    <a:pt x="51" y="229"/>
                  </a:lnTo>
                  <a:lnTo>
                    <a:pt x="51" y="232"/>
                  </a:lnTo>
                  <a:lnTo>
                    <a:pt x="48" y="232"/>
                  </a:lnTo>
                  <a:lnTo>
                    <a:pt x="48" y="229"/>
                  </a:lnTo>
                  <a:lnTo>
                    <a:pt x="45" y="229"/>
                  </a:lnTo>
                  <a:lnTo>
                    <a:pt x="45" y="229"/>
                  </a:lnTo>
                  <a:lnTo>
                    <a:pt x="45" y="229"/>
                  </a:lnTo>
                  <a:lnTo>
                    <a:pt x="45" y="229"/>
                  </a:lnTo>
                  <a:lnTo>
                    <a:pt x="45" y="229"/>
                  </a:lnTo>
                  <a:lnTo>
                    <a:pt x="45" y="227"/>
                  </a:lnTo>
                  <a:lnTo>
                    <a:pt x="43" y="224"/>
                  </a:lnTo>
                  <a:lnTo>
                    <a:pt x="45" y="222"/>
                  </a:lnTo>
                  <a:lnTo>
                    <a:pt x="45" y="222"/>
                  </a:lnTo>
                  <a:lnTo>
                    <a:pt x="45" y="219"/>
                  </a:lnTo>
                  <a:lnTo>
                    <a:pt x="45" y="219"/>
                  </a:lnTo>
                  <a:lnTo>
                    <a:pt x="43" y="217"/>
                  </a:lnTo>
                  <a:lnTo>
                    <a:pt x="43" y="217"/>
                  </a:lnTo>
                  <a:lnTo>
                    <a:pt x="40" y="219"/>
                  </a:lnTo>
                  <a:lnTo>
                    <a:pt x="38" y="219"/>
                  </a:lnTo>
                  <a:lnTo>
                    <a:pt x="38" y="219"/>
                  </a:lnTo>
                  <a:lnTo>
                    <a:pt x="35" y="222"/>
                  </a:lnTo>
                  <a:lnTo>
                    <a:pt x="35" y="222"/>
                  </a:lnTo>
                  <a:lnTo>
                    <a:pt x="33" y="222"/>
                  </a:lnTo>
                  <a:lnTo>
                    <a:pt x="33" y="222"/>
                  </a:lnTo>
                  <a:lnTo>
                    <a:pt x="33" y="222"/>
                  </a:lnTo>
                  <a:lnTo>
                    <a:pt x="30" y="222"/>
                  </a:lnTo>
                  <a:lnTo>
                    <a:pt x="30" y="222"/>
                  </a:lnTo>
                  <a:lnTo>
                    <a:pt x="30" y="224"/>
                  </a:lnTo>
                  <a:lnTo>
                    <a:pt x="30" y="224"/>
                  </a:lnTo>
                  <a:lnTo>
                    <a:pt x="30" y="227"/>
                  </a:lnTo>
                  <a:lnTo>
                    <a:pt x="30" y="227"/>
                  </a:lnTo>
                  <a:lnTo>
                    <a:pt x="28" y="227"/>
                  </a:lnTo>
                  <a:lnTo>
                    <a:pt x="25" y="229"/>
                  </a:lnTo>
                  <a:lnTo>
                    <a:pt x="25" y="229"/>
                  </a:lnTo>
                  <a:lnTo>
                    <a:pt x="23" y="229"/>
                  </a:lnTo>
                  <a:lnTo>
                    <a:pt x="23" y="229"/>
                  </a:lnTo>
                  <a:lnTo>
                    <a:pt x="20" y="227"/>
                  </a:lnTo>
                  <a:lnTo>
                    <a:pt x="20" y="227"/>
                  </a:lnTo>
                  <a:lnTo>
                    <a:pt x="20" y="224"/>
                  </a:lnTo>
                  <a:lnTo>
                    <a:pt x="20" y="224"/>
                  </a:lnTo>
                  <a:lnTo>
                    <a:pt x="17" y="224"/>
                  </a:lnTo>
                  <a:lnTo>
                    <a:pt x="17" y="224"/>
                  </a:lnTo>
                  <a:lnTo>
                    <a:pt x="17" y="227"/>
                  </a:lnTo>
                  <a:lnTo>
                    <a:pt x="15" y="227"/>
                  </a:lnTo>
                  <a:lnTo>
                    <a:pt x="12" y="227"/>
                  </a:lnTo>
                  <a:lnTo>
                    <a:pt x="10" y="232"/>
                  </a:lnTo>
                  <a:lnTo>
                    <a:pt x="7" y="232"/>
                  </a:lnTo>
                  <a:lnTo>
                    <a:pt x="7" y="235"/>
                  </a:lnTo>
                  <a:lnTo>
                    <a:pt x="7" y="235"/>
                  </a:lnTo>
                  <a:lnTo>
                    <a:pt x="5" y="235"/>
                  </a:lnTo>
                  <a:lnTo>
                    <a:pt x="5" y="235"/>
                  </a:lnTo>
                  <a:lnTo>
                    <a:pt x="5" y="237"/>
                  </a:lnTo>
                  <a:lnTo>
                    <a:pt x="7" y="237"/>
                  </a:lnTo>
                  <a:lnTo>
                    <a:pt x="7" y="242"/>
                  </a:lnTo>
                  <a:lnTo>
                    <a:pt x="7" y="250"/>
                  </a:lnTo>
                  <a:lnTo>
                    <a:pt x="5" y="250"/>
                  </a:lnTo>
                  <a:lnTo>
                    <a:pt x="5" y="250"/>
                  </a:lnTo>
                  <a:lnTo>
                    <a:pt x="2" y="250"/>
                  </a:lnTo>
                  <a:lnTo>
                    <a:pt x="0" y="250"/>
                  </a:lnTo>
                  <a:lnTo>
                    <a:pt x="0" y="252"/>
                  </a:lnTo>
                  <a:lnTo>
                    <a:pt x="2" y="255"/>
                  </a:lnTo>
                  <a:lnTo>
                    <a:pt x="5" y="255"/>
                  </a:lnTo>
                  <a:lnTo>
                    <a:pt x="5" y="257"/>
                  </a:lnTo>
                  <a:lnTo>
                    <a:pt x="7" y="257"/>
                  </a:lnTo>
                  <a:lnTo>
                    <a:pt x="10" y="255"/>
                  </a:lnTo>
                  <a:lnTo>
                    <a:pt x="12" y="255"/>
                  </a:lnTo>
                  <a:lnTo>
                    <a:pt x="12" y="252"/>
                  </a:lnTo>
                  <a:lnTo>
                    <a:pt x="15" y="252"/>
                  </a:lnTo>
                  <a:lnTo>
                    <a:pt x="17" y="252"/>
                  </a:lnTo>
                  <a:lnTo>
                    <a:pt x="20" y="252"/>
                  </a:lnTo>
                  <a:lnTo>
                    <a:pt x="23" y="255"/>
                  </a:lnTo>
                  <a:lnTo>
                    <a:pt x="23" y="252"/>
                  </a:lnTo>
                  <a:lnTo>
                    <a:pt x="23" y="252"/>
                  </a:lnTo>
                  <a:lnTo>
                    <a:pt x="30" y="252"/>
                  </a:lnTo>
                  <a:lnTo>
                    <a:pt x="30" y="252"/>
                  </a:lnTo>
                  <a:lnTo>
                    <a:pt x="35" y="252"/>
                  </a:lnTo>
                  <a:lnTo>
                    <a:pt x="38" y="252"/>
                  </a:lnTo>
                  <a:lnTo>
                    <a:pt x="40" y="252"/>
                  </a:lnTo>
                  <a:lnTo>
                    <a:pt x="43" y="255"/>
                  </a:lnTo>
                  <a:lnTo>
                    <a:pt x="51" y="255"/>
                  </a:lnTo>
                  <a:lnTo>
                    <a:pt x="51" y="255"/>
                  </a:lnTo>
                  <a:lnTo>
                    <a:pt x="58" y="252"/>
                  </a:lnTo>
                  <a:lnTo>
                    <a:pt x="66" y="252"/>
                  </a:lnTo>
                  <a:lnTo>
                    <a:pt x="71" y="252"/>
                  </a:lnTo>
                  <a:lnTo>
                    <a:pt x="79" y="252"/>
                  </a:lnTo>
                  <a:lnTo>
                    <a:pt x="84" y="252"/>
                  </a:lnTo>
                  <a:lnTo>
                    <a:pt x="84" y="255"/>
                  </a:lnTo>
                  <a:lnTo>
                    <a:pt x="86" y="255"/>
                  </a:lnTo>
                  <a:lnTo>
                    <a:pt x="89" y="257"/>
                  </a:lnTo>
                  <a:lnTo>
                    <a:pt x="89" y="257"/>
                  </a:lnTo>
                  <a:lnTo>
                    <a:pt x="89" y="260"/>
                  </a:lnTo>
                  <a:lnTo>
                    <a:pt x="91" y="260"/>
                  </a:lnTo>
                  <a:lnTo>
                    <a:pt x="91" y="262"/>
                  </a:lnTo>
                  <a:lnTo>
                    <a:pt x="91" y="265"/>
                  </a:lnTo>
                  <a:lnTo>
                    <a:pt x="91" y="268"/>
                  </a:lnTo>
                  <a:lnTo>
                    <a:pt x="91" y="270"/>
                  </a:lnTo>
                  <a:lnTo>
                    <a:pt x="91" y="273"/>
                  </a:lnTo>
                  <a:lnTo>
                    <a:pt x="94" y="278"/>
                  </a:lnTo>
                  <a:lnTo>
                    <a:pt x="96" y="280"/>
                  </a:lnTo>
                  <a:lnTo>
                    <a:pt x="96" y="283"/>
                  </a:lnTo>
                  <a:lnTo>
                    <a:pt x="96" y="285"/>
                  </a:lnTo>
                  <a:lnTo>
                    <a:pt x="96" y="288"/>
                  </a:lnTo>
                  <a:lnTo>
                    <a:pt x="99" y="288"/>
                  </a:lnTo>
                  <a:lnTo>
                    <a:pt x="99" y="290"/>
                  </a:lnTo>
                  <a:lnTo>
                    <a:pt x="102" y="293"/>
                  </a:lnTo>
                  <a:lnTo>
                    <a:pt x="104" y="298"/>
                  </a:lnTo>
                  <a:lnTo>
                    <a:pt x="107" y="303"/>
                  </a:lnTo>
                  <a:lnTo>
                    <a:pt x="107" y="303"/>
                  </a:lnTo>
                  <a:lnTo>
                    <a:pt x="109" y="303"/>
                  </a:lnTo>
                  <a:lnTo>
                    <a:pt x="112" y="303"/>
                  </a:lnTo>
                  <a:lnTo>
                    <a:pt x="114" y="303"/>
                  </a:lnTo>
                  <a:lnTo>
                    <a:pt x="117" y="303"/>
                  </a:lnTo>
                  <a:lnTo>
                    <a:pt x="117" y="303"/>
                  </a:lnTo>
                  <a:lnTo>
                    <a:pt x="119" y="303"/>
                  </a:lnTo>
                  <a:lnTo>
                    <a:pt x="122" y="301"/>
                  </a:lnTo>
                  <a:lnTo>
                    <a:pt x="127" y="301"/>
                  </a:lnTo>
                  <a:lnTo>
                    <a:pt x="127" y="301"/>
                  </a:lnTo>
                  <a:lnTo>
                    <a:pt x="130" y="301"/>
                  </a:lnTo>
                  <a:lnTo>
                    <a:pt x="135" y="301"/>
                  </a:lnTo>
                  <a:lnTo>
                    <a:pt x="135" y="301"/>
                  </a:lnTo>
                  <a:lnTo>
                    <a:pt x="140" y="301"/>
                  </a:lnTo>
                  <a:lnTo>
                    <a:pt x="142" y="301"/>
                  </a:lnTo>
                  <a:lnTo>
                    <a:pt x="145" y="296"/>
                  </a:lnTo>
                  <a:lnTo>
                    <a:pt x="145" y="293"/>
                  </a:lnTo>
                  <a:lnTo>
                    <a:pt x="145" y="293"/>
                  </a:lnTo>
                  <a:lnTo>
                    <a:pt x="145" y="290"/>
                  </a:lnTo>
                  <a:lnTo>
                    <a:pt x="145" y="288"/>
                  </a:lnTo>
                  <a:lnTo>
                    <a:pt x="145" y="285"/>
                  </a:lnTo>
                  <a:lnTo>
                    <a:pt x="147" y="283"/>
                  </a:lnTo>
                  <a:lnTo>
                    <a:pt x="150" y="280"/>
                  </a:lnTo>
                  <a:lnTo>
                    <a:pt x="155" y="278"/>
                  </a:lnTo>
                  <a:lnTo>
                    <a:pt x="158" y="278"/>
                  </a:lnTo>
                  <a:lnTo>
                    <a:pt x="160" y="278"/>
                  </a:lnTo>
                  <a:lnTo>
                    <a:pt x="165" y="278"/>
                  </a:lnTo>
                  <a:lnTo>
                    <a:pt x="168" y="278"/>
                  </a:lnTo>
                  <a:lnTo>
                    <a:pt x="168" y="278"/>
                  </a:lnTo>
                  <a:lnTo>
                    <a:pt x="168" y="283"/>
                  </a:lnTo>
                  <a:lnTo>
                    <a:pt x="168" y="283"/>
                  </a:lnTo>
                  <a:lnTo>
                    <a:pt x="168" y="285"/>
                  </a:lnTo>
                  <a:lnTo>
                    <a:pt x="168" y="285"/>
                  </a:lnTo>
                  <a:lnTo>
                    <a:pt x="175" y="285"/>
                  </a:lnTo>
                  <a:lnTo>
                    <a:pt x="181" y="285"/>
                  </a:lnTo>
                  <a:lnTo>
                    <a:pt x="186" y="285"/>
                  </a:lnTo>
                  <a:lnTo>
                    <a:pt x="191" y="285"/>
                  </a:lnTo>
                  <a:lnTo>
                    <a:pt x="193" y="285"/>
                  </a:lnTo>
                  <a:lnTo>
                    <a:pt x="193" y="285"/>
                  </a:lnTo>
                  <a:lnTo>
                    <a:pt x="193" y="288"/>
                  </a:lnTo>
                  <a:lnTo>
                    <a:pt x="193" y="293"/>
                  </a:lnTo>
                  <a:lnTo>
                    <a:pt x="193" y="298"/>
                  </a:lnTo>
                  <a:lnTo>
                    <a:pt x="193" y="303"/>
                  </a:lnTo>
                  <a:lnTo>
                    <a:pt x="193" y="311"/>
                  </a:lnTo>
                  <a:lnTo>
                    <a:pt x="193" y="318"/>
                  </a:lnTo>
                  <a:lnTo>
                    <a:pt x="193" y="324"/>
                  </a:lnTo>
                  <a:lnTo>
                    <a:pt x="193" y="329"/>
                  </a:lnTo>
                  <a:lnTo>
                    <a:pt x="193" y="336"/>
                  </a:lnTo>
                  <a:lnTo>
                    <a:pt x="193" y="339"/>
                  </a:lnTo>
                  <a:lnTo>
                    <a:pt x="196" y="341"/>
                  </a:lnTo>
                  <a:lnTo>
                    <a:pt x="198" y="344"/>
                  </a:lnTo>
                  <a:lnTo>
                    <a:pt x="201" y="349"/>
                  </a:lnTo>
                  <a:lnTo>
                    <a:pt x="201" y="354"/>
                  </a:lnTo>
                  <a:lnTo>
                    <a:pt x="201" y="357"/>
                  </a:lnTo>
                  <a:lnTo>
                    <a:pt x="201" y="357"/>
                  </a:lnTo>
                  <a:lnTo>
                    <a:pt x="201" y="359"/>
                  </a:lnTo>
                  <a:lnTo>
                    <a:pt x="201" y="362"/>
                  </a:lnTo>
                  <a:lnTo>
                    <a:pt x="201" y="364"/>
                  </a:lnTo>
                  <a:lnTo>
                    <a:pt x="201" y="367"/>
                  </a:lnTo>
                  <a:lnTo>
                    <a:pt x="198" y="367"/>
                  </a:lnTo>
                  <a:lnTo>
                    <a:pt x="201" y="369"/>
                  </a:lnTo>
                  <a:lnTo>
                    <a:pt x="201" y="372"/>
                  </a:lnTo>
                  <a:lnTo>
                    <a:pt x="201" y="374"/>
                  </a:lnTo>
                  <a:lnTo>
                    <a:pt x="201" y="374"/>
                  </a:lnTo>
                  <a:lnTo>
                    <a:pt x="201" y="374"/>
                  </a:lnTo>
                  <a:lnTo>
                    <a:pt x="203" y="374"/>
                  </a:lnTo>
                  <a:lnTo>
                    <a:pt x="206" y="372"/>
                  </a:lnTo>
                  <a:lnTo>
                    <a:pt x="206" y="372"/>
                  </a:lnTo>
                  <a:lnTo>
                    <a:pt x="209" y="372"/>
                  </a:lnTo>
                  <a:lnTo>
                    <a:pt x="211" y="372"/>
                  </a:lnTo>
                  <a:lnTo>
                    <a:pt x="216" y="372"/>
                  </a:lnTo>
                  <a:lnTo>
                    <a:pt x="219" y="372"/>
                  </a:lnTo>
                  <a:lnTo>
                    <a:pt x="224" y="369"/>
                  </a:lnTo>
                  <a:lnTo>
                    <a:pt x="226" y="369"/>
                  </a:lnTo>
                  <a:lnTo>
                    <a:pt x="226" y="369"/>
                  </a:lnTo>
                  <a:lnTo>
                    <a:pt x="229" y="369"/>
                  </a:lnTo>
                  <a:lnTo>
                    <a:pt x="232" y="369"/>
                  </a:lnTo>
                  <a:lnTo>
                    <a:pt x="234" y="369"/>
                  </a:lnTo>
                  <a:lnTo>
                    <a:pt x="234" y="369"/>
                  </a:lnTo>
                  <a:lnTo>
                    <a:pt x="234" y="367"/>
                  </a:lnTo>
                  <a:lnTo>
                    <a:pt x="234" y="367"/>
                  </a:lnTo>
                  <a:lnTo>
                    <a:pt x="237" y="367"/>
                  </a:lnTo>
                  <a:lnTo>
                    <a:pt x="237" y="367"/>
                  </a:lnTo>
                  <a:lnTo>
                    <a:pt x="239" y="369"/>
                  </a:lnTo>
                  <a:lnTo>
                    <a:pt x="239" y="369"/>
                  </a:lnTo>
                  <a:lnTo>
                    <a:pt x="239" y="372"/>
                  </a:lnTo>
                  <a:lnTo>
                    <a:pt x="242" y="372"/>
                  </a:lnTo>
                  <a:lnTo>
                    <a:pt x="244" y="372"/>
                  </a:lnTo>
                  <a:lnTo>
                    <a:pt x="244" y="377"/>
                  </a:lnTo>
                  <a:lnTo>
                    <a:pt x="244" y="377"/>
                  </a:lnTo>
                  <a:lnTo>
                    <a:pt x="242" y="380"/>
                  </a:lnTo>
                  <a:lnTo>
                    <a:pt x="244" y="380"/>
                  </a:lnTo>
                  <a:lnTo>
                    <a:pt x="244" y="380"/>
                  </a:lnTo>
                  <a:lnTo>
                    <a:pt x="247" y="380"/>
                  </a:lnTo>
                  <a:lnTo>
                    <a:pt x="249" y="377"/>
                  </a:lnTo>
                  <a:lnTo>
                    <a:pt x="249" y="377"/>
                  </a:lnTo>
                  <a:lnTo>
                    <a:pt x="252" y="377"/>
                  </a:lnTo>
                  <a:lnTo>
                    <a:pt x="254" y="377"/>
                  </a:lnTo>
                  <a:lnTo>
                    <a:pt x="257" y="377"/>
                  </a:lnTo>
                  <a:lnTo>
                    <a:pt x="260" y="374"/>
                  </a:lnTo>
                  <a:lnTo>
                    <a:pt x="260" y="374"/>
                  </a:lnTo>
                  <a:lnTo>
                    <a:pt x="262" y="374"/>
                  </a:lnTo>
                  <a:lnTo>
                    <a:pt x="262" y="374"/>
                  </a:lnTo>
                  <a:lnTo>
                    <a:pt x="262" y="377"/>
                  </a:lnTo>
                  <a:lnTo>
                    <a:pt x="262" y="380"/>
                  </a:lnTo>
                  <a:lnTo>
                    <a:pt x="262" y="382"/>
                  </a:lnTo>
                  <a:lnTo>
                    <a:pt x="262" y="385"/>
                  </a:lnTo>
                  <a:lnTo>
                    <a:pt x="265" y="385"/>
                  </a:lnTo>
                  <a:lnTo>
                    <a:pt x="265" y="385"/>
                  </a:lnTo>
                  <a:lnTo>
                    <a:pt x="265" y="387"/>
                  </a:lnTo>
                  <a:lnTo>
                    <a:pt x="267" y="387"/>
                  </a:lnTo>
                  <a:lnTo>
                    <a:pt x="272" y="390"/>
                  </a:lnTo>
                  <a:lnTo>
                    <a:pt x="275" y="390"/>
                  </a:lnTo>
                  <a:lnTo>
                    <a:pt x="277" y="390"/>
                  </a:lnTo>
                  <a:lnTo>
                    <a:pt x="277" y="390"/>
                  </a:lnTo>
                  <a:lnTo>
                    <a:pt x="282" y="392"/>
                  </a:lnTo>
                  <a:lnTo>
                    <a:pt x="285" y="392"/>
                  </a:lnTo>
                  <a:lnTo>
                    <a:pt x="288" y="392"/>
                  </a:lnTo>
                  <a:lnTo>
                    <a:pt x="290" y="392"/>
                  </a:lnTo>
                  <a:lnTo>
                    <a:pt x="293" y="392"/>
                  </a:lnTo>
                  <a:lnTo>
                    <a:pt x="293" y="392"/>
                  </a:lnTo>
                  <a:lnTo>
                    <a:pt x="295" y="390"/>
                  </a:lnTo>
                  <a:lnTo>
                    <a:pt x="295" y="390"/>
                  </a:lnTo>
                  <a:lnTo>
                    <a:pt x="295" y="390"/>
                  </a:lnTo>
                  <a:lnTo>
                    <a:pt x="295" y="385"/>
                  </a:lnTo>
                  <a:lnTo>
                    <a:pt x="298" y="385"/>
                  </a:lnTo>
                  <a:lnTo>
                    <a:pt x="298" y="385"/>
                  </a:lnTo>
                  <a:lnTo>
                    <a:pt x="298" y="382"/>
                  </a:lnTo>
                  <a:lnTo>
                    <a:pt x="300" y="385"/>
                  </a:lnTo>
                  <a:lnTo>
                    <a:pt x="300" y="387"/>
                  </a:lnTo>
                  <a:lnTo>
                    <a:pt x="303" y="392"/>
                  </a:lnTo>
                  <a:lnTo>
                    <a:pt x="305" y="395"/>
                  </a:lnTo>
                  <a:lnTo>
                    <a:pt x="305" y="397"/>
                  </a:lnTo>
                  <a:lnTo>
                    <a:pt x="308" y="397"/>
                  </a:lnTo>
                  <a:lnTo>
                    <a:pt x="308" y="400"/>
                  </a:lnTo>
                  <a:lnTo>
                    <a:pt x="311" y="400"/>
                  </a:lnTo>
                  <a:lnTo>
                    <a:pt x="313" y="400"/>
                  </a:lnTo>
                  <a:lnTo>
                    <a:pt x="316" y="400"/>
                  </a:lnTo>
                  <a:lnTo>
                    <a:pt x="321" y="402"/>
                  </a:lnTo>
                  <a:lnTo>
                    <a:pt x="323" y="402"/>
                  </a:lnTo>
                  <a:lnTo>
                    <a:pt x="323" y="405"/>
                  </a:lnTo>
                  <a:lnTo>
                    <a:pt x="323" y="405"/>
                  </a:lnTo>
                  <a:lnTo>
                    <a:pt x="326" y="408"/>
                  </a:lnTo>
                  <a:lnTo>
                    <a:pt x="326" y="410"/>
                  </a:lnTo>
                  <a:lnTo>
                    <a:pt x="326" y="413"/>
                  </a:lnTo>
                  <a:lnTo>
                    <a:pt x="328" y="413"/>
                  </a:lnTo>
                  <a:lnTo>
                    <a:pt x="328" y="413"/>
                  </a:lnTo>
                  <a:lnTo>
                    <a:pt x="331" y="413"/>
                  </a:lnTo>
                  <a:lnTo>
                    <a:pt x="331" y="415"/>
                  </a:lnTo>
                  <a:lnTo>
                    <a:pt x="333" y="418"/>
                  </a:lnTo>
                  <a:lnTo>
                    <a:pt x="333" y="420"/>
                  </a:lnTo>
                  <a:lnTo>
                    <a:pt x="333" y="423"/>
                  </a:lnTo>
                  <a:lnTo>
                    <a:pt x="336" y="423"/>
                  </a:lnTo>
                  <a:lnTo>
                    <a:pt x="336" y="425"/>
                  </a:lnTo>
                  <a:lnTo>
                    <a:pt x="339" y="425"/>
                  </a:lnTo>
                  <a:lnTo>
                    <a:pt x="341" y="423"/>
                  </a:lnTo>
                  <a:lnTo>
                    <a:pt x="344" y="423"/>
                  </a:lnTo>
                  <a:lnTo>
                    <a:pt x="344" y="420"/>
                  </a:lnTo>
                  <a:lnTo>
                    <a:pt x="346" y="420"/>
                  </a:lnTo>
                  <a:lnTo>
                    <a:pt x="346" y="420"/>
                  </a:lnTo>
                  <a:lnTo>
                    <a:pt x="349" y="423"/>
                  </a:lnTo>
                  <a:lnTo>
                    <a:pt x="349" y="423"/>
                  </a:lnTo>
                  <a:lnTo>
                    <a:pt x="349" y="425"/>
                  </a:lnTo>
                  <a:lnTo>
                    <a:pt x="349" y="425"/>
                  </a:lnTo>
                  <a:lnTo>
                    <a:pt x="351" y="425"/>
                  </a:lnTo>
                  <a:lnTo>
                    <a:pt x="351" y="425"/>
                  </a:lnTo>
                  <a:lnTo>
                    <a:pt x="351" y="423"/>
                  </a:lnTo>
                  <a:lnTo>
                    <a:pt x="351" y="420"/>
                  </a:lnTo>
                  <a:lnTo>
                    <a:pt x="351" y="415"/>
                  </a:lnTo>
                  <a:lnTo>
                    <a:pt x="351" y="413"/>
                  </a:lnTo>
                  <a:lnTo>
                    <a:pt x="351" y="408"/>
                  </a:lnTo>
                  <a:lnTo>
                    <a:pt x="351" y="402"/>
                  </a:lnTo>
                  <a:lnTo>
                    <a:pt x="351" y="400"/>
                  </a:lnTo>
                  <a:lnTo>
                    <a:pt x="351" y="397"/>
                  </a:lnTo>
                  <a:lnTo>
                    <a:pt x="351" y="397"/>
                  </a:lnTo>
                  <a:lnTo>
                    <a:pt x="349" y="397"/>
                  </a:lnTo>
                  <a:lnTo>
                    <a:pt x="346" y="397"/>
                  </a:lnTo>
                  <a:lnTo>
                    <a:pt x="346" y="397"/>
                  </a:lnTo>
                  <a:lnTo>
                    <a:pt x="346" y="400"/>
                  </a:lnTo>
                  <a:lnTo>
                    <a:pt x="346" y="400"/>
                  </a:lnTo>
                  <a:lnTo>
                    <a:pt x="346" y="402"/>
                  </a:lnTo>
                  <a:lnTo>
                    <a:pt x="346" y="402"/>
                  </a:lnTo>
                  <a:lnTo>
                    <a:pt x="344" y="402"/>
                  </a:lnTo>
                  <a:lnTo>
                    <a:pt x="341" y="402"/>
                  </a:lnTo>
                  <a:lnTo>
                    <a:pt x="339" y="400"/>
                  </a:lnTo>
                  <a:lnTo>
                    <a:pt x="336" y="400"/>
                  </a:lnTo>
                  <a:lnTo>
                    <a:pt x="336" y="397"/>
                  </a:lnTo>
                  <a:lnTo>
                    <a:pt x="333" y="395"/>
                  </a:lnTo>
                  <a:lnTo>
                    <a:pt x="331" y="395"/>
                  </a:lnTo>
                  <a:lnTo>
                    <a:pt x="326" y="390"/>
                  </a:lnTo>
                  <a:lnTo>
                    <a:pt x="326" y="390"/>
                  </a:lnTo>
                  <a:lnTo>
                    <a:pt x="326" y="387"/>
                  </a:lnTo>
                  <a:lnTo>
                    <a:pt x="323" y="385"/>
                  </a:lnTo>
                  <a:lnTo>
                    <a:pt x="323" y="385"/>
                  </a:lnTo>
                  <a:lnTo>
                    <a:pt x="323" y="382"/>
                  </a:lnTo>
                  <a:lnTo>
                    <a:pt x="323" y="382"/>
                  </a:lnTo>
                  <a:lnTo>
                    <a:pt x="323" y="377"/>
                  </a:lnTo>
                  <a:lnTo>
                    <a:pt x="326" y="372"/>
                  </a:lnTo>
                  <a:lnTo>
                    <a:pt x="326" y="369"/>
                  </a:lnTo>
                  <a:lnTo>
                    <a:pt x="326" y="364"/>
                  </a:lnTo>
                  <a:lnTo>
                    <a:pt x="328" y="362"/>
                  </a:lnTo>
                  <a:lnTo>
                    <a:pt x="328" y="359"/>
                  </a:lnTo>
                  <a:lnTo>
                    <a:pt x="328" y="357"/>
                  </a:lnTo>
                  <a:lnTo>
                    <a:pt x="328" y="354"/>
                  </a:lnTo>
                  <a:lnTo>
                    <a:pt x="328" y="349"/>
                  </a:lnTo>
                  <a:lnTo>
                    <a:pt x="328" y="346"/>
                  </a:lnTo>
                  <a:lnTo>
                    <a:pt x="328" y="344"/>
                  </a:lnTo>
                  <a:lnTo>
                    <a:pt x="328" y="339"/>
                  </a:lnTo>
                  <a:lnTo>
                    <a:pt x="328" y="336"/>
                  </a:lnTo>
                  <a:lnTo>
                    <a:pt x="323" y="331"/>
                  </a:lnTo>
                  <a:lnTo>
                    <a:pt x="323" y="329"/>
                  </a:lnTo>
                  <a:lnTo>
                    <a:pt x="326" y="329"/>
                  </a:lnTo>
                  <a:lnTo>
                    <a:pt x="328" y="326"/>
                  </a:lnTo>
                  <a:lnTo>
                    <a:pt x="331" y="326"/>
                  </a:lnTo>
                  <a:lnTo>
                    <a:pt x="331" y="324"/>
                  </a:lnTo>
                  <a:lnTo>
                    <a:pt x="333" y="321"/>
                  </a:lnTo>
                  <a:lnTo>
                    <a:pt x="333" y="318"/>
                  </a:lnTo>
                  <a:lnTo>
                    <a:pt x="336" y="318"/>
                  </a:lnTo>
                  <a:lnTo>
                    <a:pt x="336" y="316"/>
                  </a:lnTo>
                  <a:lnTo>
                    <a:pt x="333" y="313"/>
                  </a:lnTo>
                  <a:lnTo>
                    <a:pt x="336" y="313"/>
                  </a:lnTo>
                  <a:lnTo>
                    <a:pt x="341" y="311"/>
                  </a:lnTo>
                  <a:lnTo>
                    <a:pt x="346" y="311"/>
                  </a:lnTo>
                  <a:lnTo>
                    <a:pt x="351" y="311"/>
                  </a:lnTo>
                  <a:lnTo>
                    <a:pt x="359" y="308"/>
                  </a:lnTo>
                  <a:lnTo>
                    <a:pt x="364" y="308"/>
                  </a:lnTo>
                  <a:lnTo>
                    <a:pt x="369" y="306"/>
                  </a:lnTo>
                  <a:lnTo>
                    <a:pt x="372" y="306"/>
                  </a:lnTo>
                  <a:lnTo>
                    <a:pt x="372" y="303"/>
                  </a:lnTo>
                  <a:lnTo>
                    <a:pt x="369" y="301"/>
                  </a:lnTo>
                  <a:lnTo>
                    <a:pt x="369" y="298"/>
                  </a:lnTo>
                  <a:lnTo>
                    <a:pt x="367" y="293"/>
                  </a:lnTo>
                  <a:lnTo>
                    <a:pt x="364" y="290"/>
                  </a:lnTo>
                  <a:lnTo>
                    <a:pt x="364" y="288"/>
                  </a:lnTo>
                  <a:lnTo>
                    <a:pt x="364" y="283"/>
                  </a:lnTo>
                  <a:lnTo>
                    <a:pt x="361" y="280"/>
                  </a:lnTo>
                  <a:lnTo>
                    <a:pt x="361" y="278"/>
                  </a:lnTo>
                  <a:lnTo>
                    <a:pt x="359" y="278"/>
                  </a:lnTo>
                  <a:lnTo>
                    <a:pt x="356" y="275"/>
                  </a:lnTo>
                  <a:lnTo>
                    <a:pt x="354" y="273"/>
                  </a:lnTo>
                  <a:lnTo>
                    <a:pt x="351" y="270"/>
                  </a:lnTo>
                  <a:lnTo>
                    <a:pt x="349" y="265"/>
                  </a:lnTo>
                  <a:lnTo>
                    <a:pt x="349" y="262"/>
                  </a:lnTo>
                  <a:lnTo>
                    <a:pt x="346" y="260"/>
                  </a:lnTo>
                  <a:lnTo>
                    <a:pt x="346" y="257"/>
                  </a:lnTo>
                  <a:lnTo>
                    <a:pt x="346" y="255"/>
                  </a:lnTo>
                  <a:lnTo>
                    <a:pt x="349" y="252"/>
                  </a:lnTo>
                  <a:lnTo>
                    <a:pt x="349" y="250"/>
                  </a:lnTo>
                  <a:lnTo>
                    <a:pt x="349" y="247"/>
                  </a:lnTo>
                  <a:lnTo>
                    <a:pt x="349" y="245"/>
                  </a:lnTo>
                  <a:lnTo>
                    <a:pt x="346" y="242"/>
                  </a:lnTo>
                  <a:lnTo>
                    <a:pt x="346" y="240"/>
                  </a:lnTo>
                  <a:lnTo>
                    <a:pt x="346" y="237"/>
                  </a:lnTo>
                  <a:lnTo>
                    <a:pt x="344" y="235"/>
                  </a:lnTo>
                  <a:lnTo>
                    <a:pt x="344" y="232"/>
                  </a:lnTo>
                  <a:lnTo>
                    <a:pt x="344" y="229"/>
                  </a:lnTo>
                  <a:lnTo>
                    <a:pt x="344" y="227"/>
                  </a:lnTo>
                  <a:lnTo>
                    <a:pt x="346" y="222"/>
                  </a:lnTo>
                  <a:lnTo>
                    <a:pt x="346" y="222"/>
                  </a:lnTo>
                  <a:lnTo>
                    <a:pt x="346" y="217"/>
                  </a:lnTo>
                  <a:lnTo>
                    <a:pt x="344" y="214"/>
                  </a:lnTo>
                  <a:lnTo>
                    <a:pt x="341" y="209"/>
                  </a:lnTo>
                  <a:lnTo>
                    <a:pt x="341" y="207"/>
                  </a:lnTo>
                  <a:lnTo>
                    <a:pt x="341" y="204"/>
                  </a:lnTo>
                  <a:lnTo>
                    <a:pt x="341" y="199"/>
                  </a:lnTo>
                  <a:lnTo>
                    <a:pt x="341" y="196"/>
                  </a:lnTo>
                  <a:lnTo>
                    <a:pt x="341" y="194"/>
                  </a:lnTo>
                  <a:lnTo>
                    <a:pt x="341" y="191"/>
                  </a:lnTo>
                  <a:lnTo>
                    <a:pt x="341" y="189"/>
                  </a:lnTo>
                  <a:lnTo>
                    <a:pt x="341" y="186"/>
                  </a:lnTo>
                  <a:lnTo>
                    <a:pt x="339" y="184"/>
                  </a:lnTo>
                  <a:lnTo>
                    <a:pt x="339" y="184"/>
                  </a:lnTo>
                  <a:lnTo>
                    <a:pt x="339" y="184"/>
                  </a:lnTo>
                  <a:lnTo>
                    <a:pt x="339" y="181"/>
                  </a:lnTo>
                  <a:lnTo>
                    <a:pt x="336" y="181"/>
                  </a:lnTo>
                  <a:lnTo>
                    <a:pt x="336" y="181"/>
                  </a:lnTo>
                  <a:lnTo>
                    <a:pt x="336" y="179"/>
                  </a:lnTo>
                  <a:lnTo>
                    <a:pt x="336" y="176"/>
                  </a:lnTo>
                  <a:lnTo>
                    <a:pt x="336" y="173"/>
                  </a:lnTo>
                  <a:lnTo>
                    <a:pt x="336" y="173"/>
                  </a:lnTo>
                  <a:lnTo>
                    <a:pt x="339" y="173"/>
                  </a:lnTo>
                  <a:lnTo>
                    <a:pt x="341" y="171"/>
                  </a:lnTo>
                  <a:lnTo>
                    <a:pt x="341" y="171"/>
                  </a:lnTo>
                  <a:lnTo>
                    <a:pt x="341" y="168"/>
                  </a:lnTo>
                  <a:lnTo>
                    <a:pt x="341" y="166"/>
                  </a:lnTo>
                  <a:lnTo>
                    <a:pt x="341" y="163"/>
                  </a:lnTo>
                  <a:lnTo>
                    <a:pt x="341" y="161"/>
                  </a:lnTo>
                  <a:lnTo>
                    <a:pt x="341" y="158"/>
                  </a:lnTo>
                  <a:lnTo>
                    <a:pt x="344" y="158"/>
                  </a:lnTo>
                  <a:lnTo>
                    <a:pt x="344" y="156"/>
                  </a:lnTo>
                  <a:lnTo>
                    <a:pt x="346" y="153"/>
                  </a:lnTo>
                  <a:lnTo>
                    <a:pt x="346" y="153"/>
                  </a:lnTo>
                  <a:lnTo>
                    <a:pt x="349" y="153"/>
                  </a:lnTo>
                  <a:lnTo>
                    <a:pt x="349" y="151"/>
                  </a:lnTo>
                  <a:lnTo>
                    <a:pt x="349" y="151"/>
                  </a:lnTo>
                  <a:lnTo>
                    <a:pt x="349" y="145"/>
                  </a:lnTo>
                  <a:lnTo>
                    <a:pt x="349" y="143"/>
                  </a:lnTo>
                  <a:lnTo>
                    <a:pt x="349" y="140"/>
                  </a:lnTo>
                  <a:lnTo>
                    <a:pt x="349" y="138"/>
                  </a:lnTo>
                  <a:lnTo>
                    <a:pt x="351" y="135"/>
                  </a:lnTo>
                  <a:lnTo>
                    <a:pt x="351" y="133"/>
                  </a:lnTo>
                  <a:lnTo>
                    <a:pt x="351" y="130"/>
                  </a:lnTo>
                  <a:lnTo>
                    <a:pt x="351" y="123"/>
                  </a:lnTo>
                  <a:lnTo>
                    <a:pt x="351" y="123"/>
                  </a:lnTo>
                  <a:lnTo>
                    <a:pt x="351" y="117"/>
                  </a:lnTo>
                  <a:lnTo>
                    <a:pt x="354" y="117"/>
                  </a:lnTo>
                  <a:lnTo>
                    <a:pt x="354" y="117"/>
                  </a:lnTo>
                  <a:lnTo>
                    <a:pt x="354" y="115"/>
                  </a:lnTo>
                  <a:lnTo>
                    <a:pt x="356" y="110"/>
                  </a:lnTo>
                  <a:lnTo>
                    <a:pt x="356" y="110"/>
                  </a:lnTo>
                  <a:lnTo>
                    <a:pt x="356" y="105"/>
                  </a:lnTo>
                  <a:lnTo>
                    <a:pt x="356" y="102"/>
                  </a:lnTo>
                  <a:lnTo>
                    <a:pt x="356" y="102"/>
                  </a:lnTo>
                  <a:lnTo>
                    <a:pt x="359" y="100"/>
                  </a:lnTo>
                  <a:lnTo>
                    <a:pt x="361" y="97"/>
                  </a:lnTo>
                  <a:lnTo>
                    <a:pt x="361" y="95"/>
                  </a:lnTo>
                  <a:lnTo>
                    <a:pt x="364" y="92"/>
                  </a:lnTo>
                  <a:lnTo>
                    <a:pt x="367" y="92"/>
                  </a:lnTo>
                  <a:lnTo>
                    <a:pt x="367" y="92"/>
                  </a:lnTo>
                  <a:lnTo>
                    <a:pt x="377" y="82"/>
                  </a:lnTo>
                  <a:lnTo>
                    <a:pt x="382" y="77"/>
                  </a:lnTo>
                  <a:lnTo>
                    <a:pt x="382" y="74"/>
                  </a:lnTo>
                  <a:lnTo>
                    <a:pt x="382" y="72"/>
                  </a:lnTo>
                  <a:lnTo>
                    <a:pt x="384" y="72"/>
                  </a:lnTo>
                  <a:lnTo>
                    <a:pt x="382" y="69"/>
                  </a:lnTo>
                  <a:close/>
                </a:path>
              </a:pathLst>
            </a:custGeom>
            <a:solidFill>
              <a:srgbClr val="FFC000"/>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334" name="Freeform 1953">
              <a:extLst>
                <a:ext uri="{FF2B5EF4-FFF2-40B4-BE49-F238E27FC236}">
                  <a16:creationId xmlns:a16="http://schemas.microsoft.com/office/drawing/2014/main" id="{94488957-C60D-8A40-ADAB-0E951F885FD3}"/>
                </a:ext>
              </a:extLst>
            </p:cNvPr>
            <p:cNvSpPr>
              <a:spLocks/>
            </p:cNvSpPr>
            <p:nvPr/>
          </p:nvSpPr>
          <p:spPr bwMode="auto">
            <a:xfrm>
              <a:off x="5999541" y="1911854"/>
              <a:ext cx="196288" cy="91601"/>
            </a:xfrm>
            <a:custGeom>
              <a:avLst/>
              <a:gdLst>
                <a:gd name="T0" fmla="*/ 115 w 120"/>
                <a:gd name="T1" fmla="*/ 28 h 56"/>
                <a:gd name="T2" fmla="*/ 110 w 120"/>
                <a:gd name="T3" fmla="*/ 25 h 56"/>
                <a:gd name="T4" fmla="*/ 105 w 120"/>
                <a:gd name="T5" fmla="*/ 23 h 56"/>
                <a:gd name="T6" fmla="*/ 105 w 120"/>
                <a:gd name="T7" fmla="*/ 23 h 56"/>
                <a:gd name="T8" fmla="*/ 100 w 120"/>
                <a:gd name="T9" fmla="*/ 23 h 56"/>
                <a:gd name="T10" fmla="*/ 97 w 120"/>
                <a:gd name="T11" fmla="*/ 20 h 56"/>
                <a:gd name="T12" fmla="*/ 100 w 120"/>
                <a:gd name="T13" fmla="*/ 18 h 56"/>
                <a:gd name="T14" fmla="*/ 95 w 120"/>
                <a:gd name="T15" fmla="*/ 18 h 56"/>
                <a:gd name="T16" fmla="*/ 85 w 120"/>
                <a:gd name="T17" fmla="*/ 15 h 56"/>
                <a:gd name="T18" fmla="*/ 87 w 120"/>
                <a:gd name="T19" fmla="*/ 18 h 56"/>
                <a:gd name="T20" fmla="*/ 82 w 120"/>
                <a:gd name="T21" fmla="*/ 20 h 56"/>
                <a:gd name="T22" fmla="*/ 77 w 120"/>
                <a:gd name="T23" fmla="*/ 18 h 56"/>
                <a:gd name="T24" fmla="*/ 72 w 120"/>
                <a:gd name="T25" fmla="*/ 15 h 56"/>
                <a:gd name="T26" fmla="*/ 74 w 120"/>
                <a:gd name="T27" fmla="*/ 12 h 56"/>
                <a:gd name="T28" fmla="*/ 77 w 120"/>
                <a:gd name="T29" fmla="*/ 10 h 56"/>
                <a:gd name="T30" fmla="*/ 69 w 120"/>
                <a:gd name="T31" fmla="*/ 10 h 56"/>
                <a:gd name="T32" fmla="*/ 67 w 120"/>
                <a:gd name="T33" fmla="*/ 7 h 56"/>
                <a:gd name="T34" fmla="*/ 59 w 120"/>
                <a:gd name="T35" fmla="*/ 5 h 56"/>
                <a:gd name="T36" fmla="*/ 57 w 120"/>
                <a:gd name="T37" fmla="*/ 2 h 56"/>
                <a:gd name="T38" fmla="*/ 51 w 120"/>
                <a:gd name="T39" fmla="*/ 2 h 56"/>
                <a:gd name="T40" fmla="*/ 49 w 120"/>
                <a:gd name="T41" fmla="*/ 5 h 56"/>
                <a:gd name="T42" fmla="*/ 44 w 120"/>
                <a:gd name="T43" fmla="*/ 5 h 56"/>
                <a:gd name="T44" fmla="*/ 44 w 120"/>
                <a:gd name="T45" fmla="*/ 2 h 56"/>
                <a:gd name="T46" fmla="*/ 39 w 120"/>
                <a:gd name="T47" fmla="*/ 0 h 56"/>
                <a:gd name="T48" fmla="*/ 41 w 120"/>
                <a:gd name="T49" fmla="*/ 2 h 56"/>
                <a:gd name="T50" fmla="*/ 34 w 120"/>
                <a:gd name="T51" fmla="*/ 5 h 56"/>
                <a:gd name="T52" fmla="*/ 26 w 120"/>
                <a:gd name="T53" fmla="*/ 7 h 56"/>
                <a:gd name="T54" fmla="*/ 23 w 120"/>
                <a:gd name="T55" fmla="*/ 10 h 56"/>
                <a:gd name="T56" fmla="*/ 21 w 120"/>
                <a:gd name="T57" fmla="*/ 10 h 56"/>
                <a:gd name="T58" fmla="*/ 16 w 120"/>
                <a:gd name="T59" fmla="*/ 15 h 56"/>
                <a:gd name="T60" fmla="*/ 11 w 120"/>
                <a:gd name="T61" fmla="*/ 15 h 56"/>
                <a:gd name="T62" fmla="*/ 6 w 120"/>
                <a:gd name="T63" fmla="*/ 18 h 56"/>
                <a:gd name="T64" fmla="*/ 3 w 120"/>
                <a:gd name="T65" fmla="*/ 18 h 56"/>
                <a:gd name="T66" fmla="*/ 0 w 120"/>
                <a:gd name="T67" fmla="*/ 18 h 56"/>
                <a:gd name="T68" fmla="*/ 3 w 120"/>
                <a:gd name="T69" fmla="*/ 20 h 56"/>
                <a:gd name="T70" fmla="*/ 8 w 120"/>
                <a:gd name="T71" fmla="*/ 25 h 56"/>
                <a:gd name="T72" fmla="*/ 8 w 120"/>
                <a:gd name="T73" fmla="*/ 28 h 56"/>
                <a:gd name="T74" fmla="*/ 8 w 120"/>
                <a:gd name="T75" fmla="*/ 30 h 56"/>
                <a:gd name="T76" fmla="*/ 13 w 120"/>
                <a:gd name="T77" fmla="*/ 38 h 56"/>
                <a:gd name="T78" fmla="*/ 18 w 120"/>
                <a:gd name="T79" fmla="*/ 43 h 56"/>
                <a:gd name="T80" fmla="*/ 23 w 120"/>
                <a:gd name="T81" fmla="*/ 46 h 56"/>
                <a:gd name="T82" fmla="*/ 29 w 120"/>
                <a:gd name="T83" fmla="*/ 48 h 56"/>
                <a:gd name="T84" fmla="*/ 34 w 120"/>
                <a:gd name="T85" fmla="*/ 51 h 56"/>
                <a:gd name="T86" fmla="*/ 41 w 120"/>
                <a:gd name="T87" fmla="*/ 56 h 56"/>
                <a:gd name="T88" fmla="*/ 46 w 120"/>
                <a:gd name="T89" fmla="*/ 56 h 56"/>
                <a:gd name="T90" fmla="*/ 51 w 120"/>
                <a:gd name="T91" fmla="*/ 51 h 56"/>
                <a:gd name="T92" fmla="*/ 54 w 120"/>
                <a:gd name="T93" fmla="*/ 46 h 56"/>
                <a:gd name="T94" fmla="*/ 57 w 120"/>
                <a:gd name="T95" fmla="*/ 46 h 56"/>
                <a:gd name="T96" fmla="*/ 64 w 120"/>
                <a:gd name="T97" fmla="*/ 48 h 56"/>
                <a:gd name="T98" fmla="*/ 74 w 120"/>
                <a:gd name="T99" fmla="*/ 51 h 56"/>
                <a:gd name="T100" fmla="*/ 79 w 120"/>
                <a:gd name="T101" fmla="*/ 51 h 56"/>
                <a:gd name="T102" fmla="*/ 85 w 120"/>
                <a:gd name="T103" fmla="*/ 53 h 56"/>
                <a:gd name="T104" fmla="*/ 87 w 120"/>
                <a:gd name="T105" fmla="*/ 53 h 56"/>
                <a:gd name="T106" fmla="*/ 92 w 120"/>
                <a:gd name="T107" fmla="*/ 48 h 56"/>
                <a:gd name="T108" fmla="*/ 102 w 120"/>
                <a:gd name="T109" fmla="*/ 48 h 56"/>
                <a:gd name="T110" fmla="*/ 105 w 120"/>
                <a:gd name="T111" fmla="*/ 46 h 56"/>
                <a:gd name="T112" fmla="*/ 108 w 120"/>
                <a:gd name="T113" fmla="*/ 40 h 56"/>
                <a:gd name="T114" fmla="*/ 113 w 120"/>
                <a:gd name="T115" fmla="*/ 38 h 56"/>
                <a:gd name="T116" fmla="*/ 115 w 120"/>
                <a:gd name="T117" fmla="*/ 35 h 56"/>
                <a:gd name="T118" fmla="*/ 118 w 120"/>
                <a:gd name="T119" fmla="*/ 33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0" h="56">
                  <a:moveTo>
                    <a:pt x="118" y="33"/>
                  </a:moveTo>
                  <a:lnTo>
                    <a:pt x="118" y="33"/>
                  </a:lnTo>
                  <a:lnTo>
                    <a:pt x="115" y="28"/>
                  </a:lnTo>
                  <a:lnTo>
                    <a:pt x="115" y="28"/>
                  </a:lnTo>
                  <a:lnTo>
                    <a:pt x="115" y="28"/>
                  </a:lnTo>
                  <a:lnTo>
                    <a:pt x="115" y="25"/>
                  </a:lnTo>
                  <a:lnTo>
                    <a:pt x="113" y="25"/>
                  </a:lnTo>
                  <a:lnTo>
                    <a:pt x="110" y="25"/>
                  </a:lnTo>
                  <a:lnTo>
                    <a:pt x="110" y="25"/>
                  </a:lnTo>
                  <a:lnTo>
                    <a:pt x="108" y="25"/>
                  </a:lnTo>
                  <a:lnTo>
                    <a:pt x="108" y="25"/>
                  </a:lnTo>
                  <a:lnTo>
                    <a:pt x="105" y="23"/>
                  </a:lnTo>
                  <a:lnTo>
                    <a:pt x="105" y="23"/>
                  </a:lnTo>
                  <a:lnTo>
                    <a:pt x="105" y="23"/>
                  </a:lnTo>
                  <a:lnTo>
                    <a:pt x="105" y="23"/>
                  </a:lnTo>
                  <a:lnTo>
                    <a:pt x="105" y="23"/>
                  </a:lnTo>
                  <a:lnTo>
                    <a:pt x="105" y="23"/>
                  </a:lnTo>
                  <a:lnTo>
                    <a:pt x="102" y="25"/>
                  </a:lnTo>
                  <a:lnTo>
                    <a:pt x="100" y="23"/>
                  </a:lnTo>
                  <a:lnTo>
                    <a:pt x="100" y="23"/>
                  </a:lnTo>
                  <a:lnTo>
                    <a:pt x="100" y="23"/>
                  </a:lnTo>
                  <a:lnTo>
                    <a:pt x="97" y="20"/>
                  </a:lnTo>
                  <a:lnTo>
                    <a:pt x="97" y="20"/>
                  </a:lnTo>
                  <a:lnTo>
                    <a:pt x="97" y="20"/>
                  </a:lnTo>
                  <a:lnTo>
                    <a:pt x="97" y="20"/>
                  </a:lnTo>
                  <a:lnTo>
                    <a:pt x="100" y="20"/>
                  </a:lnTo>
                  <a:lnTo>
                    <a:pt x="100" y="18"/>
                  </a:lnTo>
                  <a:lnTo>
                    <a:pt x="100" y="18"/>
                  </a:lnTo>
                  <a:lnTo>
                    <a:pt x="100" y="18"/>
                  </a:lnTo>
                  <a:lnTo>
                    <a:pt x="97" y="18"/>
                  </a:lnTo>
                  <a:lnTo>
                    <a:pt x="97" y="18"/>
                  </a:lnTo>
                  <a:lnTo>
                    <a:pt x="95" y="18"/>
                  </a:lnTo>
                  <a:lnTo>
                    <a:pt x="95" y="18"/>
                  </a:lnTo>
                  <a:lnTo>
                    <a:pt x="90" y="15"/>
                  </a:lnTo>
                  <a:lnTo>
                    <a:pt x="87" y="15"/>
                  </a:lnTo>
                  <a:lnTo>
                    <a:pt x="85" y="15"/>
                  </a:lnTo>
                  <a:lnTo>
                    <a:pt x="85" y="15"/>
                  </a:lnTo>
                  <a:lnTo>
                    <a:pt x="85" y="15"/>
                  </a:lnTo>
                  <a:lnTo>
                    <a:pt x="87" y="18"/>
                  </a:lnTo>
                  <a:lnTo>
                    <a:pt x="87" y="18"/>
                  </a:lnTo>
                  <a:lnTo>
                    <a:pt x="85" y="20"/>
                  </a:lnTo>
                  <a:lnTo>
                    <a:pt x="85" y="20"/>
                  </a:lnTo>
                  <a:lnTo>
                    <a:pt x="82" y="20"/>
                  </a:lnTo>
                  <a:lnTo>
                    <a:pt x="82" y="20"/>
                  </a:lnTo>
                  <a:lnTo>
                    <a:pt x="82" y="20"/>
                  </a:lnTo>
                  <a:lnTo>
                    <a:pt x="79" y="20"/>
                  </a:lnTo>
                  <a:lnTo>
                    <a:pt x="79" y="20"/>
                  </a:lnTo>
                  <a:lnTo>
                    <a:pt x="77" y="18"/>
                  </a:lnTo>
                  <a:lnTo>
                    <a:pt x="74" y="15"/>
                  </a:lnTo>
                  <a:lnTo>
                    <a:pt x="74" y="15"/>
                  </a:lnTo>
                  <a:lnTo>
                    <a:pt x="74" y="15"/>
                  </a:lnTo>
                  <a:lnTo>
                    <a:pt x="72" y="15"/>
                  </a:lnTo>
                  <a:lnTo>
                    <a:pt x="72" y="15"/>
                  </a:lnTo>
                  <a:lnTo>
                    <a:pt x="72" y="12"/>
                  </a:lnTo>
                  <a:lnTo>
                    <a:pt x="74" y="12"/>
                  </a:lnTo>
                  <a:lnTo>
                    <a:pt x="74" y="12"/>
                  </a:lnTo>
                  <a:lnTo>
                    <a:pt x="74" y="12"/>
                  </a:lnTo>
                  <a:lnTo>
                    <a:pt x="74" y="12"/>
                  </a:lnTo>
                  <a:lnTo>
                    <a:pt x="77" y="10"/>
                  </a:lnTo>
                  <a:lnTo>
                    <a:pt x="77" y="10"/>
                  </a:lnTo>
                  <a:lnTo>
                    <a:pt x="74" y="10"/>
                  </a:lnTo>
                  <a:lnTo>
                    <a:pt x="74" y="10"/>
                  </a:lnTo>
                  <a:lnTo>
                    <a:pt x="69" y="10"/>
                  </a:lnTo>
                  <a:lnTo>
                    <a:pt x="69" y="10"/>
                  </a:lnTo>
                  <a:lnTo>
                    <a:pt x="69" y="10"/>
                  </a:lnTo>
                  <a:lnTo>
                    <a:pt x="67" y="10"/>
                  </a:lnTo>
                  <a:lnTo>
                    <a:pt x="67" y="7"/>
                  </a:lnTo>
                  <a:lnTo>
                    <a:pt x="67" y="7"/>
                  </a:lnTo>
                  <a:lnTo>
                    <a:pt x="64" y="7"/>
                  </a:lnTo>
                  <a:lnTo>
                    <a:pt x="62" y="7"/>
                  </a:lnTo>
                  <a:lnTo>
                    <a:pt x="59" y="5"/>
                  </a:lnTo>
                  <a:lnTo>
                    <a:pt x="59" y="5"/>
                  </a:lnTo>
                  <a:lnTo>
                    <a:pt x="57" y="5"/>
                  </a:lnTo>
                  <a:lnTo>
                    <a:pt x="57" y="5"/>
                  </a:lnTo>
                  <a:lnTo>
                    <a:pt x="57" y="5"/>
                  </a:lnTo>
                  <a:lnTo>
                    <a:pt x="57" y="2"/>
                  </a:lnTo>
                  <a:lnTo>
                    <a:pt x="54" y="2"/>
                  </a:lnTo>
                  <a:lnTo>
                    <a:pt x="51" y="2"/>
                  </a:lnTo>
                  <a:lnTo>
                    <a:pt x="51" y="2"/>
                  </a:lnTo>
                  <a:lnTo>
                    <a:pt x="51" y="2"/>
                  </a:lnTo>
                  <a:lnTo>
                    <a:pt x="51" y="5"/>
                  </a:lnTo>
                  <a:lnTo>
                    <a:pt x="49" y="5"/>
                  </a:lnTo>
                  <a:lnTo>
                    <a:pt x="49" y="5"/>
                  </a:lnTo>
                  <a:lnTo>
                    <a:pt x="49" y="5"/>
                  </a:lnTo>
                  <a:lnTo>
                    <a:pt x="46" y="5"/>
                  </a:lnTo>
                  <a:lnTo>
                    <a:pt x="46" y="5"/>
                  </a:lnTo>
                  <a:lnTo>
                    <a:pt x="46" y="5"/>
                  </a:lnTo>
                  <a:lnTo>
                    <a:pt x="44" y="5"/>
                  </a:lnTo>
                  <a:lnTo>
                    <a:pt x="44" y="2"/>
                  </a:lnTo>
                  <a:lnTo>
                    <a:pt x="44" y="2"/>
                  </a:lnTo>
                  <a:lnTo>
                    <a:pt x="44" y="2"/>
                  </a:lnTo>
                  <a:lnTo>
                    <a:pt x="44" y="2"/>
                  </a:lnTo>
                  <a:lnTo>
                    <a:pt x="44" y="2"/>
                  </a:lnTo>
                  <a:lnTo>
                    <a:pt x="41" y="0"/>
                  </a:lnTo>
                  <a:lnTo>
                    <a:pt x="39" y="0"/>
                  </a:lnTo>
                  <a:lnTo>
                    <a:pt x="39" y="0"/>
                  </a:lnTo>
                  <a:lnTo>
                    <a:pt x="39" y="2"/>
                  </a:lnTo>
                  <a:lnTo>
                    <a:pt x="39" y="2"/>
                  </a:lnTo>
                  <a:lnTo>
                    <a:pt x="39" y="2"/>
                  </a:lnTo>
                  <a:lnTo>
                    <a:pt x="41" y="2"/>
                  </a:lnTo>
                  <a:lnTo>
                    <a:pt x="41" y="5"/>
                  </a:lnTo>
                  <a:lnTo>
                    <a:pt x="39" y="5"/>
                  </a:lnTo>
                  <a:lnTo>
                    <a:pt x="36" y="5"/>
                  </a:lnTo>
                  <a:lnTo>
                    <a:pt x="34" y="5"/>
                  </a:lnTo>
                  <a:lnTo>
                    <a:pt x="31" y="7"/>
                  </a:lnTo>
                  <a:lnTo>
                    <a:pt x="29" y="7"/>
                  </a:lnTo>
                  <a:lnTo>
                    <a:pt x="26" y="7"/>
                  </a:lnTo>
                  <a:lnTo>
                    <a:pt x="26" y="7"/>
                  </a:lnTo>
                  <a:lnTo>
                    <a:pt x="26" y="10"/>
                  </a:lnTo>
                  <a:lnTo>
                    <a:pt x="23" y="10"/>
                  </a:lnTo>
                  <a:lnTo>
                    <a:pt x="23" y="10"/>
                  </a:lnTo>
                  <a:lnTo>
                    <a:pt x="23" y="10"/>
                  </a:lnTo>
                  <a:lnTo>
                    <a:pt x="23" y="10"/>
                  </a:lnTo>
                  <a:lnTo>
                    <a:pt x="21" y="10"/>
                  </a:lnTo>
                  <a:lnTo>
                    <a:pt x="21" y="10"/>
                  </a:lnTo>
                  <a:lnTo>
                    <a:pt x="21" y="10"/>
                  </a:lnTo>
                  <a:lnTo>
                    <a:pt x="21" y="12"/>
                  </a:lnTo>
                  <a:lnTo>
                    <a:pt x="16" y="12"/>
                  </a:lnTo>
                  <a:lnTo>
                    <a:pt x="16" y="12"/>
                  </a:lnTo>
                  <a:lnTo>
                    <a:pt x="16" y="15"/>
                  </a:lnTo>
                  <a:lnTo>
                    <a:pt x="16" y="15"/>
                  </a:lnTo>
                  <a:lnTo>
                    <a:pt x="13" y="15"/>
                  </a:lnTo>
                  <a:lnTo>
                    <a:pt x="13" y="15"/>
                  </a:lnTo>
                  <a:lnTo>
                    <a:pt x="11" y="15"/>
                  </a:lnTo>
                  <a:lnTo>
                    <a:pt x="11" y="15"/>
                  </a:lnTo>
                  <a:lnTo>
                    <a:pt x="8" y="15"/>
                  </a:lnTo>
                  <a:lnTo>
                    <a:pt x="8" y="15"/>
                  </a:lnTo>
                  <a:lnTo>
                    <a:pt x="6" y="18"/>
                  </a:lnTo>
                  <a:lnTo>
                    <a:pt x="6" y="20"/>
                  </a:lnTo>
                  <a:lnTo>
                    <a:pt x="3" y="20"/>
                  </a:lnTo>
                  <a:lnTo>
                    <a:pt x="3" y="18"/>
                  </a:lnTo>
                  <a:lnTo>
                    <a:pt x="3" y="18"/>
                  </a:lnTo>
                  <a:lnTo>
                    <a:pt x="0" y="18"/>
                  </a:lnTo>
                  <a:lnTo>
                    <a:pt x="0" y="18"/>
                  </a:lnTo>
                  <a:lnTo>
                    <a:pt x="0" y="18"/>
                  </a:lnTo>
                  <a:lnTo>
                    <a:pt x="0" y="18"/>
                  </a:lnTo>
                  <a:lnTo>
                    <a:pt x="0" y="18"/>
                  </a:lnTo>
                  <a:lnTo>
                    <a:pt x="3" y="20"/>
                  </a:lnTo>
                  <a:lnTo>
                    <a:pt x="3" y="20"/>
                  </a:lnTo>
                  <a:lnTo>
                    <a:pt x="3" y="20"/>
                  </a:lnTo>
                  <a:lnTo>
                    <a:pt x="3" y="23"/>
                  </a:lnTo>
                  <a:lnTo>
                    <a:pt x="6" y="23"/>
                  </a:lnTo>
                  <a:lnTo>
                    <a:pt x="8" y="25"/>
                  </a:lnTo>
                  <a:lnTo>
                    <a:pt x="8" y="25"/>
                  </a:lnTo>
                  <a:lnTo>
                    <a:pt x="8" y="25"/>
                  </a:lnTo>
                  <a:lnTo>
                    <a:pt x="8" y="28"/>
                  </a:lnTo>
                  <a:lnTo>
                    <a:pt x="8" y="28"/>
                  </a:lnTo>
                  <a:lnTo>
                    <a:pt x="8" y="28"/>
                  </a:lnTo>
                  <a:lnTo>
                    <a:pt x="6" y="30"/>
                  </a:lnTo>
                  <a:lnTo>
                    <a:pt x="6" y="30"/>
                  </a:lnTo>
                  <a:lnTo>
                    <a:pt x="8" y="30"/>
                  </a:lnTo>
                  <a:lnTo>
                    <a:pt x="8" y="30"/>
                  </a:lnTo>
                  <a:lnTo>
                    <a:pt x="8" y="33"/>
                  </a:lnTo>
                  <a:lnTo>
                    <a:pt x="11" y="35"/>
                  </a:lnTo>
                  <a:lnTo>
                    <a:pt x="11" y="35"/>
                  </a:lnTo>
                  <a:lnTo>
                    <a:pt x="13" y="38"/>
                  </a:lnTo>
                  <a:lnTo>
                    <a:pt x="13" y="38"/>
                  </a:lnTo>
                  <a:lnTo>
                    <a:pt x="16" y="38"/>
                  </a:lnTo>
                  <a:lnTo>
                    <a:pt x="18" y="40"/>
                  </a:lnTo>
                  <a:lnTo>
                    <a:pt x="18" y="43"/>
                  </a:lnTo>
                  <a:lnTo>
                    <a:pt x="21" y="43"/>
                  </a:lnTo>
                  <a:lnTo>
                    <a:pt x="21" y="43"/>
                  </a:lnTo>
                  <a:lnTo>
                    <a:pt x="23" y="46"/>
                  </a:lnTo>
                  <a:lnTo>
                    <a:pt x="23" y="46"/>
                  </a:lnTo>
                  <a:lnTo>
                    <a:pt x="23" y="46"/>
                  </a:lnTo>
                  <a:lnTo>
                    <a:pt x="26" y="46"/>
                  </a:lnTo>
                  <a:lnTo>
                    <a:pt x="26" y="46"/>
                  </a:lnTo>
                  <a:lnTo>
                    <a:pt x="29" y="48"/>
                  </a:lnTo>
                  <a:lnTo>
                    <a:pt x="31" y="51"/>
                  </a:lnTo>
                  <a:lnTo>
                    <a:pt x="31" y="51"/>
                  </a:lnTo>
                  <a:lnTo>
                    <a:pt x="31" y="51"/>
                  </a:lnTo>
                  <a:lnTo>
                    <a:pt x="34" y="51"/>
                  </a:lnTo>
                  <a:lnTo>
                    <a:pt x="34" y="53"/>
                  </a:lnTo>
                  <a:lnTo>
                    <a:pt x="36" y="53"/>
                  </a:lnTo>
                  <a:lnTo>
                    <a:pt x="39" y="56"/>
                  </a:lnTo>
                  <a:lnTo>
                    <a:pt x="41" y="56"/>
                  </a:lnTo>
                  <a:lnTo>
                    <a:pt x="41" y="53"/>
                  </a:lnTo>
                  <a:lnTo>
                    <a:pt x="44" y="53"/>
                  </a:lnTo>
                  <a:lnTo>
                    <a:pt x="44" y="53"/>
                  </a:lnTo>
                  <a:lnTo>
                    <a:pt x="46" y="56"/>
                  </a:lnTo>
                  <a:lnTo>
                    <a:pt x="46" y="53"/>
                  </a:lnTo>
                  <a:lnTo>
                    <a:pt x="49" y="51"/>
                  </a:lnTo>
                  <a:lnTo>
                    <a:pt x="49" y="51"/>
                  </a:lnTo>
                  <a:lnTo>
                    <a:pt x="51" y="51"/>
                  </a:lnTo>
                  <a:lnTo>
                    <a:pt x="51" y="51"/>
                  </a:lnTo>
                  <a:lnTo>
                    <a:pt x="51" y="46"/>
                  </a:lnTo>
                  <a:lnTo>
                    <a:pt x="51" y="46"/>
                  </a:lnTo>
                  <a:lnTo>
                    <a:pt x="54" y="46"/>
                  </a:lnTo>
                  <a:lnTo>
                    <a:pt x="54" y="46"/>
                  </a:lnTo>
                  <a:lnTo>
                    <a:pt x="54" y="48"/>
                  </a:lnTo>
                  <a:lnTo>
                    <a:pt x="57" y="46"/>
                  </a:lnTo>
                  <a:lnTo>
                    <a:pt x="57" y="46"/>
                  </a:lnTo>
                  <a:lnTo>
                    <a:pt x="57" y="46"/>
                  </a:lnTo>
                  <a:lnTo>
                    <a:pt x="59" y="46"/>
                  </a:lnTo>
                  <a:lnTo>
                    <a:pt x="62" y="48"/>
                  </a:lnTo>
                  <a:lnTo>
                    <a:pt x="64" y="48"/>
                  </a:lnTo>
                  <a:lnTo>
                    <a:pt x="67" y="48"/>
                  </a:lnTo>
                  <a:lnTo>
                    <a:pt x="67" y="48"/>
                  </a:lnTo>
                  <a:lnTo>
                    <a:pt x="72" y="51"/>
                  </a:lnTo>
                  <a:lnTo>
                    <a:pt x="74" y="51"/>
                  </a:lnTo>
                  <a:lnTo>
                    <a:pt x="77" y="51"/>
                  </a:lnTo>
                  <a:lnTo>
                    <a:pt x="77" y="51"/>
                  </a:lnTo>
                  <a:lnTo>
                    <a:pt x="79" y="51"/>
                  </a:lnTo>
                  <a:lnTo>
                    <a:pt x="79" y="51"/>
                  </a:lnTo>
                  <a:lnTo>
                    <a:pt x="79" y="51"/>
                  </a:lnTo>
                  <a:lnTo>
                    <a:pt x="82" y="51"/>
                  </a:lnTo>
                  <a:lnTo>
                    <a:pt x="85" y="51"/>
                  </a:lnTo>
                  <a:lnTo>
                    <a:pt x="85" y="53"/>
                  </a:lnTo>
                  <a:lnTo>
                    <a:pt x="85" y="53"/>
                  </a:lnTo>
                  <a:lnTo>
                    <a:pt x="87" y="53"/>
                  </a:lnTo>
                  <a:lnTo>
                    <a:pt x="87" y="56"/>
                  </a:lnTo>
                  <a:lnTo>
                    <a:pt x="87" y="53"/>
                  </a:lnTo>
                  <a:lnTo>
                    <a:pt x="90" y="51"/>
                  </a:lnTo>
                  <a:lnTo>
                    <a:pt x="90" y="48"/>
                  </a:lnTo>
                  <a:lnTo>
                    <a:pt x="90" y="48"/>
                  </a:lnTo>
                  <a:lnTo>
                    <a:pt x="92" y="48"/>
                  </a:lnTo>
                  <a:lnTo>
                    <a:pt x="95" y="51"/>
                  </a:lnTo>
                  <a:lnTo>
                    <a:pt x="97" y="48"/>
                  </a:lnTo>
                  <a:lnTo>
                    <a:pt x="100" y="48"/>
                  </a:lnTo>
                  <a:lnTo>
                    <a:pt x="102" y="48"/>
                  </a:lnTo>
                  <a:lnTo>
                    <a:pt x="102" y="46"/>
                  </a:lnTo>
                  <a:lnTo>
                    <a:pt x="102" y="46"/>
                  </a:lnTo>
                  <a:lnTo>
                    <a:pt x="105" y="46"/>
                  </a:lnTo>
                  <a:lnTo>
                    <a:pt x="105" y="46"/>
                  </a:lnTo>
                  <a:lnTo>
                    <a:pt x="108" y="43"/>
                  </a:lnTo>
                  <a:lnTo>
                    <a:pt x="108" y="43"/>
                  </a:lnTo>
                  <a:lnTo>
                    <a:pt x="108" y="40"/>
                  </a:lnTo>
                  <a:lnTo>
                    <a:pt x="108" y="40"/>
                  </a:lnTo>
                  <a:lnTo>
                    <a:pt x="108" y="40"/>
                  </a:lnTo>
                  <a:lnTo>
                    <a:pt x="110" y="38"/>
                  </a:lnTo>
                  <a:lnTo>
                    <a:pt x="110" y="38"/>
                  </a:lnTo>
                  <a:lnTo>
                    <a:pt x="113" y="38"/>
                  </a:lnTo>
                  <a:lnTo>
                    <a:pt x="113" y="35"/>
                  </a:lnTo>
                  <a:lnTo>
                    <a:pt x="113" y="35"/>
                  </a:lnTo>
                  <a:lnTo>
                    <a:pt x="115" y="35"/>
                  </a:lnTo>
                  <a:lnTo>
                    <a:pt x="115" y="35"/>
                  </a:lnTo>
                  <a:lnTo>
                    <a:pt x="118" y="35"/>
                  </a:lnTo>
                  <a:lnTo>
                    <a:pt x="118" y="35"/>
                  </a:lnTo>
                  <a:lnTo>
                    <a:pt x="120" y="35"/>
                  </a:lnTo>
                  <a:lnTo>
                    <a:pt x="118" y="33"/>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335" name="Freeform 1954">
              <a:extLst>
                <a:ext uri="{FF2B5EF4-FFF2-40B4-BE49-F238E27FC236}">
                  <a16:creationId xmlns:a16="http://schemas.microsoft.com/office/drawing/2014/main" id="{41AC6A26-4827-694B-9A0C-6337EFDAB4F3}"/>
                </a:ext>
              </a:extLst>
            </p:cNvPr>
            <p:cNvSpPr>
              <a:spLocks/>
            </p:cNvSpPr>
            <p:nvPr/>
          </p:nvSpPr>
          <p:spPr bwMode="auto">
            <a:xfrm>
              <a:off x="6629299" y="2477818"/>
              <a:ext cx="67066" cy="37622"/>
            </a:xfrm>
            <a:custGeom>
              <a:avLst/>
              <a:gdLst>
                <a:gd name="T0" fmla="*/ 41 w 41"/>
                <a:gd name="T1" fmla="*/ 0 h 23"/>
                <a:gd name="T2" fmla="*/ 41 w 41"/>
                <a:gd name="T3" fmla="*/ 0 h 23"/>
                <a:gd name="T4" fmla="*/ 39 w 41"/>
                <a:gd name="T5" fmla="*/ 0 h 23"/>
                <a:gd name="T6" fmla="*/ 36 w 41"/>
                <a:gd name="T7" fmla="*/ 0 h 23"/>
                <a:gd name="T8" fmla="*/ 36 w 41"/>
                <a:gd name="T9" fmla="*/ 2 h 23"/>
                <a:gd name="T10" fmla="*/ 33 w 41"/>
                <a:gd name="T11" fmla="*/ 2 h 23"/>
                <a:gd name="T12" fmla="*/ 26 w 41"/>
                <a:gd name="T13" fmla="*/ 5 h 23"/>
                <a:gd name="T14" fmla="*/ 23 w 41"/>
                <a:gd name="T15" fmla="*/ 5 h 23"/>
                <a:gd name="T16" fmla="*/ 18 w 41"/>
                <a:gd name="T17" fmla="*/ 5 h 23"/>
                <a:gd name="T18" fmla="*/ 16 w 41"/>
                <a:gd name="T19" fmla="*/ 5 h 23"/>
                <a:gd name="T20" fmla="*/ 13 w 41"/>
                <a:gd name="T21" fmla="*/ 5 h 23"/>
                <a:gd name="T22" fmla="*/ 13 w 41"/>
                <a:gd name="T23" fmla="*/ 7 h 23"/>
                <a:gd name="T24" fmla="*/ 11 w 41"/>
                <a:gd name="T25" fmla="*/ 10 h 23"/>
                <a:gd name="T26" fmla="*/ 11 w 41"/>
                <a:gd name="T27" fmla="*/ 10 h 23"/>
                <a:gd name="T28" fmla="*/ 8 w 41"/>
                <a:gd name="T29" fmla="*/ 10 h 23"/>
                <a:gd name="T30" fmla="*/ 8 w 41"/>
                <a:gd name="T31" fmla="*/ 10 h 23"/>
                <a:gd name="T32" fmla="*/ 5 w 41"/>
                <a:gd name="T33" fmla="*/ 10 h 23"/>
                <a:gd name="T34" fmla="*/ 3 w 41"/>
                <a:gd name="T35" fmla="*/ 13 h 23"/>
                <a:gd name="T36" fmla="*/ 3 w 41"/>
                <a:gd name="T37" fmla="*/ 13 h 23"/>
                <a:gd name="T38" fmla="*/ 0 w 41"/>
                <a:gd name="T39" fmla="*/ 13 h 23"/>
                <a:gd name="T40" fmla="*/ 0 w 41"/>
                <a:gd name="T41" fmla="*/ 15 h 23"/>
                <a:gd name="T42" fmla="*/ 3 w 41"/>
                <a:gd name="T43" fmla="*/ 20 h 23"/>
                <a:gd name="T44" fmla="*/ 3 w 41"/>
                <a:gd name="T45" fmla="*/ 20 h 23"/>
                <a:gd name="T46" fmla="*/ 5 w 41"/>
                <a:gd name="T47" fmla="*/ 20 h 23"/>
                <a:gd name="T48" fmla="*/ 8 w 41"/>
                <a:gd name="T49" fmla="*/ 23 h 23"/>
                <a:gd name="T50" fmla="*/ 11 w 41"/>
                <a:gd name="T51" fmla="*/ 23 h 23"/>
                <a:gd name="T52" fmla="*/ 13 w 41"/>
                <a:gd name="T53" fmla="*/ 23 h 23"/>
                <a:gd name="T54" fmla="*/ 13 w 41"/>
                <a:gd name="T55" fmla="*/ 23 h 23"/>
                <a:gd name="T56" fmla="*/ 13 w 41"/>
                <a:gd name="T57" fmla="*/ 23 h 23"/>
                <a:gd name="T58" fmla="*/ 16 w 41"/>
                <a:gd name="T59" fmla="*/ 23 h 23"/>
                <a:gd name="T60" fmla="*/ 16 w 41"/>
                <a:gd name="T61" fmla="*/ 23 h 23"/>
                <a:gd name="T62" fmla="*/ 16 w 41"/>
                <a:gd name="T63" fmla="*/ 23 h 23"/>
                <a:gd name="T64" fmla="*/ 16 w 41"/>
                <a:gd name="T65" fmla="*/ 20 h 23"/>
                <a:gd name="T66" fmla="*/ 16 w 41"/>
                <a:gd name="T67" fmla="*/ 20 h 23"/>
                <a:gd name="T68" fmla="*/ 18 w 41"/>
                <a:gd name="T69" fmla="*/ 20 h 23"/>
                <a:gd name="T70" fmla="*/ 21 w 41"/>
                <a:gd name="T71" fmla="*/ 20 h 23"/>
                <a:gd name="T72" fmla="*/ 23 w 41"/>
                <a:gd name="T73" fmla="*/ 20 h 23"/>
                <a:gd name="T74" fmla="*/ 23 w 41"/>
                <a:gd name="T75" fmla="*/ 18 h 23"/>
                <a:gd name="T76" fmla="*/ 28 w 41"/>
                <a:gd name="T77" fmla="*/ 15 h 23"/>
                <a:gd name="T78" fmla="*/ 28 w 41"/>
                <a:gd name="T79" fmla="*/ 15 h 23"/>
                <a:gd name="T80" fmla="*/ 28 w 41"/>
                <a:gd name="T81" fmla="*/ 15 h 23"/>
                <a:gd name="T82" fmla="*/ 31 w 41"/>
                <a:gd name="T83" fmla="*/ 15 h 23"/>
                <a:gd name="T84" fmla="*/ 33 w 41"/>
                <a:gd name="T85" fmla="*/ 15 h 23"/>
                <a:gd name="T86" fmla="*/ 33 w 41"/>
                <a:gd name="T87" fmla="*/ 13 h 23"/>
                <a:gd name="T88" fmla="*/ 33 w 41"/>
                <a:gd name="T89" fmla="*/ 13 h 23"/>
                <a:gd name="T90" fmla="*/ 31 w 41"/>
                <a:gd name="T91" fmla="*/ 10 h 23"/>
                <a:gd name="T92" fmla="*/ 31 w 41"/>
                <a:gd name="T93" fmla="*/ 10 h 23"/>
                <a:gd name="T94" fmla="*/ 31 w 41"/>
                <a:gd name="T95" fmla="*/ 7 h 23"/>
                <a:gd name="T96" fmla="*/ 41 w 41"/>
                <a:gd name="T9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1" h="23">
                  <a:moveTo>
                    <a:pt x="41" y="0"/>
                  </a:moveTo>
                  <a:lnTo>
                    <a:pt x="41" y="0"/>
                  </a:lnTo>
                  <a:lnTo>
                    <a:pt x="39" y="0"/>
                  </a:lnTo>
                  <a:lnTo>
                    <a:pt x="36" y="0"/>
                  </a:lnTo>
                  <a:lnTo>
                    <a:pt x="36" y="2"/>
                  </a:lnTo>
                  <a:lnTo>
                    <a:pt x="33" y="2"/>
                  </a:lnTo>
                  <a:lnTo>
                    <a:pt x="26" y="5"/>
                  </a:lnTo>
                  <a:lnTo>
                    <a:pt x="23" y="5"/>
                  </a:lnTo>
                  <a:lnTo>
                    <a:pt x="18" y="5"/>
                  </a:lnTo>
                  <a:lnTo>
                    <a:pt x="16" y="5"/>
                  </a:lnTo>
                  <a:lnTo>
                    <a:pt x="13" y="5"/>
                  </a:lnTo>
                  <a:lnTo>
                    <a:pt x="13" y="7"/>
                  </a:lnTo>
                  <a:lnTo>
                    <a:pt x="11" y="10"/>
                  </a:lnTo>
                  <a:lnTo>
                    <a:pt x="11" y="10"/>
                  </a:lnTo>
                  <a:lnTo>
                    <a:pt x="8" y="10"/>
                  </a:lnTo>
                  <a:lnTo>
                    <a:pt x="8" y="10"/>
                  </a:lnTo>
                  <a:lnTo>
                    <a:pt x="5" y="10"/>
                  </a:lnTo>
                  <a:lnTo>
                    <a:pt x="3" y="13"/>
                  </a:lnTo>
                  <a:lnTo>
                    <a:pt x="3" y="13"/>
                  </a:lnTo>
                  <a:lnTo>
                    <a:pt x="0" y="13"/>
                  </a:lnTo>
                  <a:lnTo>
                    <a:pt x="0" y="15"/>
                  </a:lnTo>
                  <a:lnTo>
                    <a:pt x="3" y="20"/>
                  </a:lnTo>
                  <a:lnTo>
                    <a:pt x="3" y="20"/>
                  </a:lnTo>
                  <a:lnTo>
                    <a:pt x="5" y="20"/>
                  </a:lnTo>
                  <a:lnTo>
                    <a:pt x="8" y="23"/>
                  </a:lnTo>
                  <a:lnTo>
                    <a:pt x="11" y="23"/>
                  </a:lnTo>
                  <a:lnTo>
                    <a:pt x="13" y="23"/>
                  </a:lnTo>
                  <a:lnTo>
                    <a:pt x="13" y="23"/>
                  </a:lnTo>
                  <a:lnTo>
                    <a:pt x="13" y="23"/>
                  </a:lnTo>
                  <a:lnTo>
                    <a:pt x="16" y="23"/>
                  </a:lnTo>
                  <a:lnTo>
                    <a:pt x="16" y="23"/>
                  </a:lnTo>
                  <a:lnTo>
                    <a:pt x="16" y="23"/>
                  </a:lnTo>
                  <a:lnTo>
                    <a:pt x="16" y="20"/>
                  </a:lnTo>
                  <a:lnTo>
                    <a:pt x="16" y="20"/>
                  </a:lnTo>
                  <a:lnTo>
                    <a:pt x="18" y="20"/>
                  </a:lnTo>
                  <a:lnTo>
                    <a:pt x="21" y="20"/>
                  </a:lnTo>
                  <a:lnTo>
                    <a:pt x="23" y="20"/>
                  </a:lnTo>
                  <a:lnTo>
                    <a:pt x="23" y="18"/>
                  </a:lnTo>
                  <a:lnTo>
                    <a:pt x="28" y="15"/>
                  </a:lnTo>
                  <a:lnTo>
                    <a:pt x="28" y="15"/>
                  </a:lnTo>
                  <a:lnTo>
                    <a:pt x="28" y="15"/>
                  </a:lnTo>
                  <a:lnTo>
                    <a:pt x="31" y="15"/>
                  </a:lnTo>
                  <a:lnTo>
                    <a:pt x="33" y="15"/>
                  </a:lnTo>
                  <a:lnTo>
                    <a:pt x="33" y="13"/>
                  </a:lnTo>
                  <a:lnTo>
                    <a:pt x="33" y="13"/>
                  </a:lnTo>
                  <a:lnTo>
                    <a:pt x="31" y="10"/>
                  </a:lnTo>
                  <a:lnTo>
                    <a:pt x="31" y="10"/>
                  </a:lnTo>
                  <a:lnTo>
                    <a:pt x="31" y="7"/>
                  </a:lnTo>
                  <a:lnTo>
                    <a:pt x="41"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336" name="Freeform 1955">
              <a:extLst>
                <a:ext uri="{FF2B5EF4-FFF2-40B4-BE49-F238E27FC236}">
                  <a16:creationId xmlns:a16="http://schemas.microsoft.com/office/drawing/2014/main" id="{8AFF11B9-327A-D749-BD38-7B5360C873A4}"/>
                </a:ext>
              </a:extLst>
            </p:cNvPr>
            <p:cNvSpPr>
              <a:spLocks noEditPoints="1"/>
            </p:cNvSpPr>
            <p:nvPr/>
          </p:nvSpPr>
          <p:spPr bwMode="auto">
            <a:xfrm>
              <a:off x="2881827" y="2939096"/>
              <a:ext cx="338598" cy="125952"/>
            </a:xfrm>
            <a:custGeom>
              <a:avLst/>
              <a:gdLst>
                <a:gd name="T0" fmla="*/ 36 w 207"/>
                <a:gd name="T1" fmla="*/ 31 h 77"/>
                <a:gd name="T2" fmla="*/ 33 w 207"/>
                <a:gd name="T3" fmla="*/ 36 h 77"/>
                <a:gd name="T4" fmla="*/ 36 w 207"/>
                <a:gd name="T5" fmla="*/ 41 h 77"/>
                <a:gd name="T6" fmla="*/ 44 w 207"/>
                <a:gd name="T7" fmla="*/ 33 h 77"/>
                <a:gd name="T8" fmla="*/ 140 w 207"/>
                <a:gd name="T9" fmla="*/ 28 h 77"/>
                <a:gd name="T10" fmla="*/ 143 w 207"/>
                <a:gd name="T11" fmla="*/ 26 h 77"/>
                <a:gd name="T12" fmla="*/ 138 w 207"/>
                <a:gd name="T13" fmla="*/ 23 h 77"/>
                <a:gd name="T14" fmla="*/ 138 w 207"/>
                <a:gd name="T15" fmla="*/ 21 h 77"/>
                <a:gd name="T16" fmla="*/ 138 w 207"/>
                <a:gd name="T17" fmla="*/ 23 h 77"/>
                <a:gd name="T18" fmla="*/ 138 w 207"/>
                <a:gd name="T19" fmla="*/ 21 h 77"/>
                <a:gd name="T20" fmla="*/ 133 w 207"/>
                <a:gd name="T21" fmla="*/ 18 h 77"/>
                <a:gd name="T22" fmla="*/ 130 w 207"/>
                <a:gd name="T23" fmla="*/ 18 h 77"/>
                <a:gd name="T24" fmla="*/ 130 w 207"/>
                <a:gd name="T25" fmla="*/ 16 h 77"/>
                <a:gd name="T26" fmla="*/ 125 w 207"/>
                <a:gd name="T27" fmla="*/ 16 h 77"/>
                <a:gd name="T28" fmla="*/ 112 w 207"/>
                <a:gd name="T29" fmla="*/ 13 h 77"/>
                <a:gd name="T30" fmla="*/ 207 w 207"/>
                <a:gd name="T31" fmla="*/ 66 h 77"/>
                <a:gd name="T32" fmla="*/ 202 w 207"/>
                <a:gd name="T33" fmla="*/ 64 h 77"/>
                <a:gd name="T34" fmla="*/ 189 w 207"/>
                <a:gd name="T35" fmla="*/ 56 h 77"/>
                <a:gd name="T36" fmla="*/ 176 w 207"/>
                <a:gd name="T37" fmla="*/ 56 h 77"/>
                <a:gd name="T38" fmla="*/ 179 w 207"/>
                <a:gd name="T39" fmla="*/ 51 h 77"/>
                <a:gd name="T40" fmla="*/ 171 w 207"/>
                <a:gd name="T41" fmla="*/ 46 h 77"/>
                <a:gd name="T42" fmla="*/ 161 w 207"/>
                <a:gd name="T43" fmla="*/ 41 h 77"/>
                <a:gd name="T44" fmla="*/ 158 w 207"/>
                <a:gd name="T45" fmla="*/ 41 h 77"/>
                <a:gd name="T46" fmla="*/ 151 w 207"/>
                <a:gd name="T47" fmla="*/ 38 h 77"/>
                <a:gd name="T48" fmla="*/ 153 w 207"/>
                <a:gd name="T49" fmla="*/ 36 h 77"/>
                <a:gd name="T50" fmla="*/ 145 w 207"/>
                <a:gd name="T51" fmla="*/ 31 h 77"/>
                <a:gd name="T52" fmla="*/ 143 w 207"/>
                <a:gd name="T53" fmla="*/ 31 h 77"/>
                <a:gd name="T54" fmla="*/ 123 w 207"/>
                <a:gd name="T55" fmla="*/ 18 h 77"/>
                <a:gd name="T56" fmla="*/ 112 w 207"/>
                <a:gd name="T57" fmla="*/ 18 h 77"/>
                <a:gd name="T58" fmla="*/ 102 w 207"/>
                <a:gd name="T59" fmla="*/ 8 h 77"/>
                <a:gd name="T60" fmla="*/ 97 w 207"/>
                <a:gd name="T61" fmla="*/ 5 h 77"/>
                <a:gd name="T62" fmla="*/ 89 w 207"/>
                <a:gd name="T63" fmla="*/ 3 h 77"/>
                <a:gd name="T64" fmla="*/ 77 w 207"/>
                <a:gd name="T65" fmla="*/ 3 h 77"/>
                <a:gd name="T66" fmla="*/ 59 w 207"/>
                <a:gd name="T67" fmla="*/ 0 h 77"/>
                <a:gd name="T68" fmla="*/ 36 w 207"/>
                <a:gd name="T69" fmla="*/ 5 h 77"/>
                <a:gd name="T70" fmla="*/ 13 w 207"/>
                <a:gd name="T71" fmla="*/ 21 h 77"/>
                <a:gd name="T72" fmla="*/ 8 w 207"/>
                <a:gd name="T73" fmla="*/ 26 h 77"/>
                <a:gd name="T74" fmla="*/ 5 w 207"/>
                <a:gd name="T75" fmla="*/ 31 h 77"/>
                <a:gd name="T76" fmla="*/ 8 w 207"/>
                <a:gd name="T77" fmla="*/ 33 h 77"/>
                <a:gd name="T78" fmla="*/ 18 w 207"/>
                <a:gd name="T79" fmla="*/ 28 h 77"/>
                <a:gd name="T80" fmla="*/ 26 w 207"/>
                <a:gd name="T81" fmla="*/ 23 h 77"/>
                <a:gd name="T82" fmla="*/ 33 w 207"/>
                <a:gd name="T83" fmla="*/ 21 h 77"/>
                <a:gd name="T84" fmla="*/ 44 w 207"/>
                <a:gd name="T85" fmla="*/ 13 h 77"/>
                <a:gd name="T86" fmla="*/ 64 w 207"/>
                <a:gd name="T87" fmla="*/ 13 h 77"/>
                <a:gd name="T88" fmla="*/ 64 w 207"/>
                <a:gd name="T89" fmla="*/ 16 h 77"/>
                <a:gd name="T90" fmla="*/ 61 w 207"/>
                <a:gd name="T91" fmla="*/ 23 h 77"/>
                <a:gd name="T92" fmla="*/ 74 w 207"/>
                <a:gd name="T93" fmla="*/ 23 h 77"/>
                <a:gd name="T94" fmla="*/ 77 w 207"/>
                <a:gd name="T95" fmla="*/ 26 h 77"/>
                <a:gd name="T96" fmla="*/ 89 w 207"/>
                <a:gd name="T97" fmla="*/ 26 h 77"/>
                <a:gd name="T98" fmla="*/ 107 w 207"/>
                <a:gd name="T99" fmla="*/ 36 h 77"/>
                <a:gd name="T100" fmla="*/ 123 w 207"/>
                <a:gd name="T101" fmla="*/ 38 h 77"/>
                <a:gd name="T102" fmla="*/ 125 w 207"/>
                <a:gd name="T103" fmla="*/ 51 h 77"/>
                <a:gd name="T104" fmla="*/ 140 w 207"/>
                <a:gd name="T105" fmla="*/ 56 h 77"/>
                <a:gd name="T106" fmla="*/ 148 w 207"/>
                <a:gd name="T107" fmla="*/ 59 h 77"/>
                <a:gd name="T108" fmla="*/ 148 w 207"/>
                <a:gd name="T109" fmla="*/ 66 h 77"/>
                <a:gd name="T110" fmla="*/ 151 w 207"/>
                <a:gd name="T111" fmla="*/ 74 h 77"/>
                <a:gd name="T112" fmla="*/ 166 w 207"/>
                <a:gd name="T113" fmla="*/ 74 h 77"/>
                <a:gd name="T114" fmla="*/ 186 w 207"/>
                <a:gd name="T115" fmla="*/ 74 h 77"/>
                <a:gd name="T116" fmla="*/ 186 w 207"/>
                <a:gd name="T117" fmla="*/ 74 h 77"/>
                <a:gd name="T118" fmla="*/ 202 w 207"/>
                <a:gd name="T119" fmla="*/ 72 h 77"/>
                <a:gd name="T120" fmla="*/ 207 w 207"/>
                <a:gd name="T121" fmla="*/ 66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07" h="77">
                  <a:moveTo>
                    <a:pt x="44" y="31"/>
                  </a:moveTo>
                  <a:lnTo>
                    <a:pt x="44" y="31"/>
                  </a:lnTo>
                  <a:lnTo>
                    <a:pt x="44" y="28"/>
                  </a:lnTo>
                  <a:lnTo>
                    <a:pt x="38" y="28"/>
                  </a:lnTo>
                  <a:lnTo>
                    <a:pt x="36" y="31"/>
                  </a:lnTo>
                  <a:lnTo>
                    <a:pt x="36" y="31"/>
                  </a:lnTo>
                  <a:lnTo>
                    <a:pt x="38" y="36"/>
                  </a:lnTo>
                  <a:lnTo>
                    <a:pt x="36" y="36"/>
                  </a:lnTo>
                  <a:lnTo>
                    <a:pt x="36" y="38"/>
                  </a:lnTo>
                  <a:lnTo>
                    <a:pt x="33" y="36"/>
                  </a:lnTo>
                  <a:lnTo>
                    <a:pt x="33" y="36"/>
                  </a:lnTo>
                  <a:lnTo>
                    <a:pt x="33" y="36"/>
                  </a:lnTo>
                  <a:lnTo>
                    <a:pt x="33" y="38"/>
                  </a:lnTo>
                  <a:lnTo>
                    <a:pt x="36" y="38"/>
                  </a:lnTo>
                  <a:lnTo>
                    <a:pt x="36" y="41"/>
                  </a:lnTo>
                  <a:lnTo>
                    <a:pt x="38" y="41"/>
                  </a:lnTo>
                  <a:lnTo>
                    <a:pt x="44" y="38"/>
                  </a:lnTo>
                  <a:lnTo>
                    <a:pt x="46" y="36"/>
                  </a:lnTo>
                  <a:lnTo>
                    <a:pt x="46" y="36"/>
                  </a:lnTo>
                  <a:lnTo>
                    <a:pt x="44" y="33"/>
                  </a:lnTo>
                  <a:lnTo>
                    <a:pt x="44" y="31"/>
                  </a:lnTo>
                  <a:close/>
                  <a:moveTo>
                    <a:pt x="138" y="26"/>
                  </a:moveTo>
                  <a:lnTo>
                    <a:pt x="138" y="26"/>
                  </a:lnTo>
                  <a:lnTo>
                    <a:pt x="140" y="28"/>
                  </a:lnTo>
                  <a:lnTo>
                    <a:pt x="140" y="28"/>
                  </a:lnTo>
                  <a:lnTo>
                    <a:pt x="140" y="28"/>
                  </a:lnTo>
                  <a:lnTo>
                    <a:pt x="143" y="28"/>
                  </a:lnTo>
                  <a:lnTo>
                    <a:pt x="143" y="28"/>
                  </a:lnTo>
                  <a:lnTo>
                    <a:pt x="143" y="28"/>
                  </a:lnTo>
                  <a:lnTo>
                    <a:pt x="143" y="26"/>
                  </a:lnTo>
                  <a:lnTo>
                    <a:pt x="140" y="26"/>
                  </a:lnTo>
                  <a:lnTo>
                    <a:pt x="140" y="26"/>
                  </a:lnTo>
                  <a:lnTo>
                    <a:pt x="138" y="26"/>
                  </a:lnTo>
                  <a:close/>
                  <a:moveTo>
                    <a:pt x="138" y="23"/>
                  </a:moveTo>
                  <a:lnTo>
                    <a:pt x="138" y="23"/>
                  </a:lnTo>
                  <a:lnTo>
                    <a:pt x="140" y="23"/>
                  </a:lnTo>
                  <a:lnTo>
                    <a:pt x="140" y="23"/>
                  </a:lnTo>
                  <a:lnTo>
                    <a:pt x="140" y="23"/>
                  </a:lnTo>
                  <a:lnTo>
                    <a:pt x="140" y="23"/>
                  </a:lnTo>
                  <a:lnTo>
                    <a:pt x="138" y="21"/>
                  </a:lnTo>
                  <a:lnTo>
                    <a:pt x="138" y="21"/>
                  </a:lnTo>
                  <a:lnTo>
                    <a:pt x="138" y="21"/>
                  </a:lnTo>
                  <a:lnTo>
                    <a:pt x="138" y="21"/>
                  </a:lnTo>
                  <a:lnTo>
                    <a:pt x="135" y="23"/>
                  </a:lnTo>
                  <a:lnTo>
                    <a:pt x="138" y="23"/>
                  </a:lnTo>
                  <a:close/>
                  <a:moveTo>
                    <a:pt x="133" y="18"/>
                  </a:moveTo>
                  <a:lnTo>
                    <a:pt x="135" y="21"/>
                  </a:lnTo>
                  <a:lnTo>
                    <a:pt x="135" y="21"/>
                  </a:lnTo>
                  <a:lnTo>
                    <a:pt x="135" y="21"/>
                  </a:lnTo>
                  <a:lnTo>
                    <a:pt x="138" y="21"/>
                  </a:lnTo>
                  <a:lnTo>
                    <a:pt x="135" y="21"/>
                  </a:lnTo>
                  <a:lnTo>
                    <a:pt x="135" y="18"/>
                  </a:lnTo>
                  <a:lnTo>
                    <a:pt x="135" y="18"/>
                  </a:lnTo>
                  <a:lnTo>
                    <a:pt x="133" y="18"/>
                  </a:lnTo>
                  <a:lnTo>
                    <a:pt x="133" y="18"/>
                  </a:lnTo>
                  <a:lnTo>
                    <a:pt x="133" y="18"/>
                  </a:lnTo>
                  <a:lnTo>
                    <a:pt x="133" y="18"/>
                  </a:lnTo>
                  <a:close/>
                  <a:moveTo>
                    <a:pt x="125" y="16"/>
                  </a:moveTo>
                  <a:lnTo>
                    <a:pt x="128" y="16"/>
                  </a:lnTo>
                  <a:lnTo>
                    <a:pt x="130" y="18"/>
                  </a:lnTo>
                  <a:lnTo>
                    <a:pt x="130" y="18"/>
                  </a:lnTo>
                  <a:lnTo>
                    <a:pt x="130" y="18"/>
                  </a:lnTo>
                  <a:lnTo>
                    <a:pt x="133" y="18"/>
                  </a:lnTo>
                  <a:lnTo>
                    <a:pt x="130" y="16"/>
                  </a:lnTo>
                  <a:lnTo>
                    <a:pt x="130" y="16"/>
                  </a:lnTo>
                  <a:lnTo>
                    <a:pt x="130" y="16"/>
                  </a:lnTo>
                  <a:lnTo>
                    <a:pt x="128" y="16"/>
                  </a:lnTo>
                  <a:lnTo>
                    <a:pt x="125" y="16"/>
                  </a:lnTo>
                  <a:lnTo>
                    <a:pt x="125" y="16"/>
                  </a:lnTo>
                  <a:lnTo>
                    <a:pt x="125" y="16"/>
                  </a:lnTo>
                  <a:lnTo>
                    <a:pt x="125" y="16"/>
                  </a:lnTo>
                  <a:close/>
                  <a:moveTo>
                    <a:pt x="110" y="10"/>
                  </a:moveTo>
                  <a:lnTo>
                    <a:pt x="112" y="13"/>
                  </a:lnTo>
                  <a:lnTo>
                    <a:pt x="112" y="13"/>
                  </a:lnTo>
                  <a:lnTo>
                    <a:pt x="112" y="13"/>
                  </a:lnTo>
                  <a:lnTo>
                    <a:pt x="107" y="8"/>
                  </a:lnTo>
                  <a:lnTo>
                    <a:pt x="107" y="8"/>
                  </a:lnTo>
                  <a:lnTo>
                    <a:pt x="107" y="10"/>
                  </a:lnTo>
                  <a:lnTo>
                    <a:pt x="110" y="10"/>
                  </a:lnTo>
                  <a:close/>
                  <a:moveTo>
                    <a:pt x="207" y="66"/>
                  </a:moveTo>
                  <a:lnTo>
                    <a:pt x="207" y="66"/>
                  </a:lnTo>
                  <a:lnTo>
                    <a:pt x="207" y="66"/>
                  </a:lnTo>
                  <a:lnTo>
                    <a:pt x="204" y="66"/>
                  </a:lnTo>
                  <a:lnTo>
                    <a:pt x="202" y="66"/>
                  </a:lnTo>
                  <a:lnTo>
                    <a:pt x="202" y="64"/>
                  </a:lnTo>
                  <a:lnTo>
                    <a:pt x="199" y="61"/>
                  </a:lnTo>
                  <a:lnTo>
                    <a:pt x="196" y="59"/>
                  </a:lnTo>
                  <a:lnTo>
                    <a:pt x="194" y="59"/>
                  </a:lnTo>
                  <a:lnTo>
                    <a:pt x="191" y="56"/>
                  </a:lnTo>
                  <a:lnTo>
                    <a:pt x="189" y="56"/>
                  </a:lnTo>
                  <a:lnTo>
                    <a:pt x="186" y="56"/>
                  </a:lnTo>
                  <a:lnTo>
                    <a:pt x="181" y="56"/>
                  </a:lnTo>
                  <a:lnTo>
                    <a:pt x="179" y="56"/>
                  </a:lnTo>
                  <a:lnTo>
                    <a:pt x="179" y="56"/>
                  </a:lnTo>
                  <a:lnTo>
                    <a:pt x="176" y="56"/>
                  </a:lnTo>
                  <a:lnTo>
                    <a:pt x="176" y="56"/>
                  </a:lnTo>
                  <a:lnTo>
                    <a:pt x="179" y="54"/>
                  </a:lnTo>
                  <a:lnTo>
                    <a:pt x="181" y="54"/>
                  </a:lnTo>
                  <a:lnTo>
                    <a:pt x="179" y="51"/>
                  </a:lnTo>
                  <a:lnTo>
                    <a:pt x="179" y="51"/>
                  </a:lnTo>
                  <a:lnTo>
                    <a:pt x="181" y="51"/>
                  </a:lnTo>
                  <a:lnTo>
                    <a:pt x="181" y="49"/>
                  </a:lnTo>
                  <a:lnTo>
                    <a:pt x="179" y="49"/>
                  </a:lnTo>
                  <a:lnTo>
                    <a:pt x="176" y="49"/>
                  </a:lnTo>
                  <a:lnTo>
                    <a:pt x="171" y="46"/>
                  </a:lnTo>
                  <a:lnTo>
                    <a:pt x="168" y="46"/>
                  </a:lnTo>
                  <a:lnTo>
                    <a:pt x="166" y="44"/>
                  </a:lnTo>
                  <a:lnTo>
                    <a:pt x="163" y="44"/>
                  </a:lnTo>
                  <a:lnTo>
                    <a:pt x="161" y="44"/>
                  </a:lnTo>
                  <a:lnTo>
                    <a:pt x="161" y="41"/>
                  </a:lnTo>
                  <a:lnTo>
                    <a:pt x="161" y="41"/>
                  </a:lnTo>
                  <a:lnTo>
                    <a:pt x="158" y="41"/>
                  </a:lnTo>
                  <a:lnTo>
                    <a:pt x="156" y="44"/>
                  </a:lnTo>
                  <a:lnTo>
                    <a:pt x="158" y="41"/>
                  </a:lnTo>
                  <a:lnTo>
                    <a:pt x="158" y="41"/>
                  </a:lnTo>
                  <a:lnTo>
                    <a:pt x="156" y="38"/>
                  </a:lnTo>
                  <a:lnTo>
                    <a:pt x="153" y="36"/>
                  </a:lnTo>
                  <a:lnTo>
                    <a:pt x="153" y="38"/>
                  </a:lnTo>
                  <a:lnTo>
                    <a:pt x="151" y="38"/>
                  </a:lnTo>
                  <a:lnTo>
                    <a:pt x="151" y="38"/>
                  </a:lnTo>
                  <a:lnTo>
                    <a:pt x="151" y="38"/>
                  </a:lnTo>
                  <a:lnTo>
                    <a:pt x="148" y="36"/>
                  </a:lnTo>
                  <a:lnTo>
                    <a:pt x="151" y="36"/>
                  </a:lnTo>
                  <a:lnTo>
                    <a:pt x="151" y="36"/>
                  </a:lnTo>
                  <a:lnTo>
                    <a:pt x="153" y="36"/>
                  </a:lnTo>
                  <a:lnTo>
                    <a:pt x="151" y="36"/>
                  </a:lnTo>
                  <a:lnTo>
                    <a:pt x="151" y="33"/>
                  </a:lnTo>
                  <a:lnTo>
                    <a:pt x="148" y="33"/>
                  </a:lnTo>
                  <a:lnTo>
                    <a:pt x="145" y="31"/>
                  </a:lnTo>
                  <a:lnTo>
                    <a:pt x="145" y="31"/>
                  </a:lnTo>
                  <a:lnTo>
                    <a:pt x="145" y="31"/>
                  </a:lnTo>
                  <a:lnTo>
                    <a:pt x="145" y="31"/>
                  </a:lnTo>
                  <a:lnTo>
                    <a:pt x="145" y="33"/>
                  </a:lnTo>
                  <a:lnTo>
                    <a:pt x="145" y="33"/>
                  </a:lnTo>
                  <a:lnTo>
                    <a:pt x="143" y="31"/>
                  </a:lnTo>
                  <a:lnTo>
                    <a:pt x="138" y="28"/>
                  </a:lnTo>
                  <a:lnTo>
                    <a:pt x="138" y="28"/>
                  </a:lnTo>
                  <a:lnTo>
                    <a:pt x="135" y="26"/>
                  </a:lnTo>
                  <a:lnTo>
                    <a:pt x="125" y="18"/>
                  </a:lnTo>
                  <a:lnTo>
                    <a:pt x="123" y="18"/>
                  </a:lnTo>
                  <a:lnTo>
                    <a:pt x="123" y="18"/>
                  </a:lnTo>
                  <a:lnTo>
                    <a:pt x="123" y="18"/>
                  </a:lnTo>
                  <a:lnTo>
                    <a:pt x="120" y="18"/>
                  </a:lnTo>
                  <a:lnTo>
                    <a:pt x="115" y="18"/>
                  </a:lnTo>
                  <a:lnTo>
                    <a:pt x="112" y="18"/>
                  </a:lnTo>
                  <a:lnTo>
                    <a:pt x="112" y="18"/>
                  </a:lnTo>
                  <a:lnTo>
                    <a:pt x="110" y="16"/>
                  </a:lnTo>
                  <a:lnTo>
                    <a:pt x="107" y="13"/>
                  </a:lnTo>
                  <a:lnTo>
                    <a:pt x="107" y="10"/>
                  </a:lnTo>
                  <a:lnTo>
                    <a:pt x="102" y="8"/>
                  </a:lnTo>
                  <a:lnTo>
                    <a:pt x="105" y="8"/>
                  </a:lnTo>
                  <a:lnTo>
                    <a:pt x="102" y="8"/>
                  </a:lnTo>
                  <a:lnTo>
                    <a:pt x="100" y="8"/>
                  </a:lnTo>
                  <a:lnTo>
                    <a:pt x="100" y="5"/>
                  </a:lnTo>
                  <a:lnTo>
                    <a:pt x="97" y="5"/>
                  </a:lnTo>
                  <a:lnTo>
                    <a:pt x="94" y="5"/>
                  </a:lnTo>
                  <a:lnTo>
                    <a:pt x="92" y="5"/>
                  </a:lnTo>
                  <a:lnTo>
                    <a:pt x="92" y="5"/>
                  </a:lnTo>
                  <a:lnTo>
                    <a:pt x="89" y="5"/>
                  </a:lnTo>
                  <a:lnTo>
                    <a:pt x="89" y="3"/>
                  </a:lnTo>
                  <a:lnTo>
                    <a:pt x="87" y="3"/>
                  </a:lnTo>
                  <a:lnTo>
                    <a:pt x="82" y="3"/>
                  </a:lnTo>
                  <a:lnTo>
                    <a:pt x="79" y="3"/>
                  </a:lnTo>
                  <a:lnTo>
                    <a:pt x="77" y="3"/>
                  </a:lnTo>
                  <a:lnTo>
                    <a:pt x="77" y="3"/>
                  </a:lnTo>
                  <a:lnTo>
                    <a:pt x="77" y="0"/>
                  </a:lnTo>
                  <a:lnTo>
                    <a:pt x="74" y="3"/>
                  </a:lnTo>
                  <a:lnTo>
                    <a:pt x="69" y="3"/>
                  </a:lnTo>
                  <a:lnTo>
                    <a:pt x="64" y="0"/>
                  </a:lnTo>
                  <a:lnTo>
                    <a:pt x="59" y="0"/>
                  </a:lnTo>
                  <a:lnTo>
                    <a:pt x="54" y="0"/>
                  </a:lnTo>
                  <a:lnTo>
                    <a:pt x="49" y="3"/>
                  </a:lnTo>
                  <a:lnTo>
                    <a:pt x="49" y="3"/>
                  </a:lnTo>
                  <a:lnTo>
                    <a:pt x="38" y="5"/>
                  </a:lnTo>
                  <a:lnTo>
                    <a:pt x="36" y="5"/>
                  </a:lnTo>
                  <a:lnTo>
                    <a:pt x="21" y="13"/>
                  </a:lnTo>
                  <a:lnTo>
                    <a:pt x="18" y="13"/>
                  </a:lnTo>
                  <a:lnTo>
                    <a:pt x="15" y="16"/>
                  </a:lnTo>
                  <a:lnTo>
                    <a:pt x="13" y="18"/>
                  </a:lnTo>
                  <a:lnTo>
                    <a:pt x="13" y="21"/>
                  </a:lnTo>
                  <a:lnTo>
                    <a:pt x="13" y="26"/>
                  </a:lnTo>
                  <a:lnTo>
                    <a:pt x="10" y="26"/>
                  </a:lnTo>
                  <a:lnTo>
                    <a:pt x="10" y="26"/>
                  </a:lnTo>
                  <a:lnTo>
                    <a:pt x="8" y="26"/>
                  </a:lnTo>
                  <a:lnTo>
                    <a:pt x="8" y="26"/>
                  </a:lnTo>
                  <a:lnTo>
                    <a:pt x="0" y="31"/>
                  </a:lnTo>
                  <a:lnTo>
                    <a:pt x="0" y="31"/>
                  </a:lnTo>
                  <a:lnTo>
                    <a:pt x="0" y="31"/>
                  </a:lnTo>
                  <a:lnTo>
                    <a:pt x="3" y="31"/>
                  </a:lnTo>
                  <a:lnTo>
                    <a:pt x="5" y="31"/>
                  </a:lnTo>
                  <a:lnTo>
                    <a:pt x="5" y="28"/>
                  </a:lnTo>
                  <a:lnTo>
                    <a:pt x="8" y="28"/>
                  </a:lnTo>
                  <a:lnTo>
                    <a:pt x="8" y="28"/>
                  </a:lnTo>
                  <a:lnTo>
                    <a:pt x="8" y="31"/>
                  </a:lnTo>
                  <a:lnTo>
                    <a:pt x="8" y="33"/>
                  </a:lnTo>
                  <a:lnTo>
                    <a:pt x="8" y="31"/>
                  </a:lnTo>
                  <a:lnTo>
                    <a:pt x="13" y="31"/>
                  </a:lnTo>
                  <a:lnTo>
                    <a:pt x="15" y="28"/>
                  </a:lnTo>
                  <a:lnTo>
                    <a:pt x="18" y="28"/>
                  </a:lnTo>
                  <a:lnTo>
                    <a:pt x="18" y="28"/>
                  </a:lnTo>
                  <a:lnTo>
                    <a:pt x="21" y="26"/>
                  </a:lnTo>
                  <a:lnTo>
                    <a:pt x="21" y="23"/>
                  </a:lnTo>
                  <a:lnTo>
                    <a:pt x="21" y="23"/>
                  </a:lnTo>
                  <a:lnTo>
                    <a:pt x="26" y="23"/>
                  </a:lnTo>
                  <a:lnTo>
                    <a:pt x="26" y="23"/>
                  </a:lnTo>
                  <a:lnTo>
                    <a:pt x="28" y="23"/>
                  </a:lnTo>
                  <a:lnTo>
                    <a:pt x="28" y="23"/>
                  </a:lnTo>
                  <a:lnTo>
                    <a:pt x="28" y="23"/>
                  </a:lnTo>
                  <a:lnTo>
                    <a:pt x="31" y="23"/>
                  </a:lnTo>
                  <a:lnTo>
                    <a:pt x="33" y="21"/>
                  </a:lnTo>
                  <a:lnTo>
                    <a:pt x="36" y="18"/>
                  </a:lnTo>
                  <a:lnTo>
                    <a:pt x="36" y="18"/>
                  </a:lnTo>
                  <a:lnTo>
                    <a:pt x="38" y="18"/>
                  </a:lnTo>
                  <a:lnTo>
                    <a:pt x="38" y="16"/>
                  </a:lnTo>
                  <a:lnTo>
                    <a:pt x="44" y="13"/>
                  </a:lnTo>
                  <a:lnTo>
                    <a:pt x="44" y="13"/>
                  </a:lnTo>
                  <a:lnTo>
                    <a:pt x="46" y="10"/>
                  </a:lnTo>
                  <a:lnTo>
                    <a:pt x="61" y="13"/>
                  </a:lnTo>
                  <a:lnTo>
                    <a:pt x="64" y="13"/>
                  </a:lnTo>
                  <a:lnTo>
                    <a:pt x="64" y="13"/>
                  </a:lnTo>
                  <a:lnTo>
                    <a:pt x="64" y="13"/>
                  </a:lnTo>
                  <a:lnTo>
                    <a:pt x="66" y="13"/>
                  </a:lnTo>
                  <a:lnTo>
                    <a:pt x="66" y="16"/>
                  </a:lnTo>
                  <a:lnTo>
                    <a:pt x="64" y="16"/>
                  </a:lnTo>
                  <a:lnTo>
                    <a:pt x="64" y="16"/>
                  </a:lnTo>
                  <a:lnTo>
                    <a:pt x="59" y="18"/>
                  </a:lnTo>
                  <a:lnTo>
                    <a:pt x="59" y="18"/>
                  </a:lnTo>
                  <a:lnTo>
                    <a:pt x="59" y="21"/>
                  </a:lnTo>
                  <a:lnTo>
                    <a:pt x="61" y="23"/>
                  </a:lnTo>
                  <a:lnTo>
                    <a:pt x="61" y="23"/>
                  </a:lnTo>
                  <a:lnTo>
                    <a:pt x="69" y="23"/>
                  </a:lnTo>
                  <a:lnTo>
                    <a:pt x="72" y="26"/>
                  </a:lnTo>
                  <a:lnTo>
                    <a:pt x="72" y="26"/>
                  </a:lnTo>
                  <a:lnTo>
                    <a:pt x="74" y="23"/>
                  </a:lnTo>
                  <a:lnTo>
                    <a:pt x="74" y="23"/>
                  </a:lnTo>
                  <a:lnTo>
                    <a:pt x="74" y="21"/>
                  </a:lnTo>
                  <a:lnTo>
                    <a:pt x="77" y="23"/>
                  </a:lnTo>
                  <a:lnTo>
                    <a:pt x="77" y="23"/>
                  </a:lnTo>
                  <a:lnTo>
                    <a:pt x="77" y="26"/>
                  </a:lnTo>
                  <a:lnTo>
                    <a:pt x="77" y="26"/>
                  </a:lnTo>
                  <a:lnTo>
                    <a:pt x="79" y="26"/>
                  </a:lnTo>
                  <a:lnTo>
                    <a:pt x="87" y="26"/>
                  </a:lnTo>
                  <a:lnTo>
                    <a:pt x="87" y="26"/>
                  </a:lnTo>
                  <a:lnTo>
                    <a:pt x="87" y="26"/>
                  </a:lnTo>
                  <a:lnTo>
                    <a:pt x="89" y="26"/>
                  </a:lnTo>
                  <a:lnTo>
                    <a:pt x="92" y="28"/>
                  </a:lnTo>
                  <a:lnTo>
                    <a:pt x="92" y="31"/>
                  </a:lnTo>
                  <a:lnTo>
                    <a:pt x="94" y="31"/>
                  </a:lnTo>
                  <a:lnTo>
                    <a:pt x="97" y="33"/>
                  </a:lnTo>
                  <a:lnTo>
                    <a:pt x="107" y="36"/>
                  </a:lnTo>
                  <a:lnTo>
                    <a:pt x="110" y="38"/>
                  </a:lnTo>
                  <a:lnTo>
                    <a:pt x="112" y="38"/>
                  </a:lnTo>
                  <a:lnTo>
                    <a:pt x="120" y="36"/>
                  </a:lnTo>
                  <a:lnTo>
                    <a:pt x="120" y="36"/>
                  </a:lnTo>
                  <a:lnTo>
                    <a:pt x="123" y="38"/>
                  </a:lnTo>
                  <a:lnTo>
                    <a:pt x="123" y="41"/>
                  </a:lnTo>
                  <a:lnTo>
                    <a:pt x="123" y="44"/>
                  </a:lnTo>
                  <a:lnTo>
                    <a:pt x="125" y="49"/>
                  </a:lnTo>
                  <a:lnTo>
                    <a:pt x="125" y="49"/>
                  </a:lnTo>
                  <a:lnTo>
                    <a:pt x="125" y="51"/>
                  </a:lnTo>
                  <a:lnTo>
                    <a:pt x="128" y="51"/>
                  </a:lnTo>
                  <a:lnTo>
                    <a:pt x="130" y="56"/>
                  </a:lnTo>
                  <a:lnTo>
                    <a:pt x="133" y="56"/>
                  </a:lnTo>
                  <a:lnTo>
                    <a:pt x="135" y="56"/>
                  </a:lnTo>
                  <a:lnTo>
                    <a:pt x="140" y="56"/>
                  </a:lnTo>
                  <a:lnTo>
                    <a:pt x="143" y="56"/>
                  </a:lnTo>
                  <a:lnTo>
                    <a:pt x="145" y="56"/>
                  </a:lnTo>
                  <a:lnTo>
                    <a:pt x="148" y="59"/>
                  </a:lnTo>
                  <a:lnTo>
                    <a:pt x="148" y="59"/>
                  </a:lnTo>
                  <a:lnTo>
                    <a:pt x="148" y="59"/>
                  </a:lnTo>
                  <a:lnTo>
                    <a:pt x="151" y="61"/>
                  </a:lnTo>
                  <a:lnTo>
                    <a:pt x="151" y="61"/>
                  </a:lnTo>
                  <a:lnTo>
                    <a:pt x="151" y="64"/>
                  </a:lnTo>
                  <a:lnTo>
                    <a:pt x="148" y="64"/>
                  </a:lnTo>
                  <a:lnTo>
                    <a:pt x="148" y="66"/>
                  </a:lnTo>
                  <a:lnTo>
                    <a:pt x="140" y="72"/>
                  </a:lnTo>
                  <a:lnTo>
                    <a:pt x="135" y="77"/>
                  </a:lnTo>
                  <a:lnTo>
                    <a:pt x="140" y="77"/>
                  </a:lnTo>
                  <a:lnTo>
                    <a:pt x="145" y="74"/>
                  </a:lnTo>
                  <a:lnTo>
                    <a:pt x="151" y="74"/>
                  </a:lnTo>
                  <a:lnTo>
                    <a:pt x="153" y="74"/>
                  </a:lnTo>
                  <a:lnTo>
                    <a:pt x="153" y="74"/>
                  </a:lnTo>
                  <a:lnTo>
                    <a:pt x="161" y="74"/>
                  </a:lnTo>
                  <a:lnTo>
                    <a:pt x="166" y="74"/>
                  </a:lnTo>
                  <a:lnTo>
                    <a:pt x="166" y="74"/>
                  </a:lnTo>
                  <a:lnTo>
                    <a:pt x="173" y="74"/>
                  </a:lnTo>
                  <a:lnTo>
                    <a:pt x="176" y="74"/>
                  </a:lnTo>
                  <a:lnTo>
                    <a:pt x="179" y="74"/>
                  </a:lnTo>
                  <a:lnTo>
                    <a:pt x="184" y="74"/>
                  </a:lnTo>
                  <a:lnTo>
                    <a:pt x="186" y="74"/>
                  </a:lnTo>
                  <a:lnTo>
                    <a:pt x="186" y="74"/>
                  </a:lnTo>
                  <a:lnTo>
                    <a:pt x="186" y="72"/>
                  </a:lnTo>
                  <a:lnTo>
                    <a:pt x="186" y="74"/>
                  </a:lnTo>
                  <a:lnTo>
                    <a:pt x="186" y="74"/>
                  </a:lnTo>
                  <a:lnTo>
                    <a:pt x="186" y="74"/>
                  </a:lnTo>
                  <a:lnTo>
                    <a:pt x="189" y="74"/>
                  </a:lnTo>
                  <a:lnTo>
                    <a:pt x="191" y="74"/>
                  </a:lnTo>
                  <a:lnTo>
                    <a:pt x="194" y="72"/>
                  </a:lnTo>
                  <a:lnTo>
                    <a:pt x="196" y="72"/>
                  </a:lnTo>
                  <a:lnTo>
                    <a:pt x="202" y="72"/>
                  </a:lnTo>
                  <a:lnTo>
                    <a:pt x="204" y="72"/>
                  </a:lnTo>
                  <a:lnTo>
                    <a:pt x="207" y="69"/>
                  </a:lnTo>
                  <a:lnTo>
                    <a:pt x="207" y="69"/>
                  </a:lnTo>
                  <a:lnTo>
                    <a:pt x="207" y="66"/>
                  </a:lnTo>
                  <a:lnTo>
                    <a:pt x="207" y="66"/>
                  </a:lnTo>
                  <a:close/>
                </a:path>
              </a:pathLst>
            </a:custGeom>
            <a:solidFill>
              <a:schemeClr val="bg2">
                <a:lumMod val="60000"/>
                <a:lumOff val="40000"/>
              </a:schemeClr>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337" name="Freeform 1956">
              <a:extLst>
                <a:ext uri="{FF2B5EF4-FFF2-40B4-BE49-F238E27FC236}">
                  <a16:creationId xmlns:a16="http://schemas.microsoft.com/office/drawing/2014/main" id="{F745E5C1-901C-6248-A06A-E415F0D8F3D3}"/>
                </a:ext>
              </a:extLst>
            </p:cNvPr>
            <p:cNvSpPr>
              <a:spLocks noEditPoints="1"/>
            </p:cNvSpPr>
            <p:nvPr/>
          </p:nvSpPr>
          <p:spPr bwMode="auto">
            <a:xfrm>
              <a:off x="6042070" y="2078699"/>
              <a:ext cx="175024" cy="148853"/>
            </a:xfrm>
            <a:custGeom>
              <a:avLst/>
              <a:gdLst>
                <a:gd name="T0" fmla="*/ 74 w 107"/>
                <a:gd name="T1" fmla="*/ 84 h 91"/>
                <a:gd name="T2" fmla="*/ 59 w 107"/>
                <a:gd name="T3" fmla="*/ 78 h 91"/>
                <a:gd name="T4" fmla="*/ 69 w 107"/>
                <a:gd name="T5" fmla="*/ 78 h 91"/>
                <a:gd name="T6" fmla="*/ 87 w 107"/>
                <a:gd name="T7" fmla="*/ 86 h 91"/>
                <a:gd name="T8" fmla="*/ 76 w 107"/>
                <a:gd name="T9" fmla="*/ 81 h 91"/>
                <a:gd name="T10" fmla="*/ 76 w 107"/>
                <a:gd name="T11" fmla="*/ 81 h 91"/>
                <a:gd name="T12" fmla="*/ 92 w 107"/>
                <a:gd name="T13" fmla="*/ 89 h 91"/>
                <a:gd name="T14" fmla="*/ 56 w 107"/>
                <a:gd name="T15" fmla="*/ 73 h 91"/>
                <a:gd name="T16" fmla="*/ 61 w 107"/>
                <a:gd name="T17" fmla="*/ 73 h 91"/>
                <a:gd name="T18" fmla="*/ 53 w 107"/>
                <a:gd name="T19" fmla="*/ 71 h 91"/>
                <a:gd name="T20" fmla="*/ 33 w 107"/>
                <a:gd name="T21" fmla="*/ 58 h 91"/>
                <a:gd name="T22" fmla="*/ 31 w 107"/>
                <a:gd name="T23" fmla="*/ 53 h 91"/>
                <a:gd name="T24" fmla="*/ 25 w 107"/>
                <a:gd name="T25" fmla="*/ 53 h 91"/>
                <a:gd name="T26" fmla="*/ 33 w 107"/>
                <a:gd name="T27" fmla="*/ 58 h 91"/>
                <a:gd name="T28" fmla="*/ 31 w 107"/>
                <a:gd name="T29" fmla="*/ 50 h 91"/>
                <a:gd name="T30" fmla="*/ 25 w 107"/>
                <a:gd name="T31" fmla="*/ 43 h 91"/>
                <a:gd name="T32" fmla="*/ 25 w 107"/>
                <a:gd name="T33" fmla="*/ 45 h 91"/>
                <a:gd name="T34" fmla="*/ 23 w 107"/>
                <a:gd name="T35" fmla="*/ 38 h 91"/>
                <a:gd name="T36" fmla="*/ 18 w 107"/>
                <a:gd name="T37" fmla="*/ 38 h 91"/>
                <a:gd name="T38" fmla="*/ 15 w 107"/>
                <a:gd name="T39" fmla="*/ 30 h 91"/>
                <a:gd name="T40" fmla="*/ 18 w 107"/>
                <a:gd name="T41" fmla="*/ 40 h 91"/>
                <a:gd name="T42" fmla="*/ 23 w 107"/>
                <a:gd name="T43" fmla="*/ 30 h 91"/>
                <a:gd name="T44" fmla="*/ 18 w 107"/>
                <a:gd name="T45" fmla="*/ 30 h 91"/>
                <a:gd name="T46" fmla="*/ 107 w 107"/>
                <a:gd name="T47" fmla="*/ 28 h 91"/>
                <a:gd name="T48" fmla="*/ 99 w 107"/>
                <a:gd name="T49" fmla="*/ 22 h 91"/>
                <a:gd name="T50" fmla="*/ 97 w 107"/>
                <a:gd name="T51" fmla="*/ 20 h 91"/>
                <a:gd name="T52" fmla="*/ 97 w 107"/>
                <a:gd name="T53" fmla="*/ 12 h 91"/>
                <a:gd name="T54" fmla="*/ 92 w 107"/>
                <a:gd name="T55" fmla="*/ 15 h 91"/>
                <a:gd name="T56" fmla="*/ 79 w 107"/>
                <a:gd name="T57" fmla="*/ 15 h 91"/>
                <a:gd name="T58" fmla="*/ 69 w 107"/>
                <a:gd name="T59" fmla="*/ 10 h 91"/>
                <a:gd name="T60" fmla="*/ 59 w 107"/>
                <a:gd name="T61" fmla="*/ 2 h 91"/>
                <a:gd name="T62" fmla="*/ 51 w 107"/>
                <a:gd name="T63" fmla="*/ 0 h 91"/>
                <a:gd name="T64" fmla="*/ 46 w 107"/>
                <a:gd name="T65" fmla="*/ 5 h 91"/>
                <a:gd name="T66" fmla="*/ 38 w 107"/>
                <a:gd name="T67" fmla="*/ 7 h 91"/>
                <a:gd name="T68" fmla="*/ 38 w 107"/>
                <a:gd name="T69" fmla="*/ 12 h 91"/>
                <a:gd name="T70" fmla="*/ 33 w 107"/>
                <a:gd name="T71" fmla="*/ 17 h 91"/>
                <a:gd name="T72" fmla="*/ 33 w 107"/>
                <a:gd name="T73" fmla="*/ 22 h 91"/>
                <a:gd name="T74" fmla="*/ 23 w 107"/>
                <a:gd name="T75" fmla="*/ 20 h 91"/>
                <a:gd name="T76" fmla="*/ 18 w 107"/>
                <a:gd name="T77" fmla="*/ 20 h 91"/>
                <a:gd name="T78" fmla="*/ 10 w 107"/>
                <a:gd name="T79" fmla="*/ 20 h 91"/>
                <a:gd name="T80" fmla="*/ 3 w 107"/>
                <a:gd name="T81" fmla="*/ 20 h 91"/>
                <a:gd name="T82" fmla="*/ 8 w 107"/>
                <a:gd name="T83" fmla="*/ 38 h 91"/>
                <a:gd name="T84" fmla="*/ 15 w 107"/>
                <a:gd name="T85" fmla="*/ 25 h 91"/>
                <a:gd name="T86" fmla="*/ 25 w 107"/>
                <a:gd name="T87" fmla="*/ 35 h 91"/>
                <a:gd name="T88" fmla="*/ 36 w 107"/>
                <a:gd name="T89" fmla="*/ 50 h 91"/>
                <a:gd name="T90" fmla="*/ 31 w 107"/>
                <a:gd name="T91" fmla="*/ 53 h 91"/>
                <a:gd name="T92" fmla="*/ 46 w 107"/>
                <a:gd name="T93" fmla="*/ 66 h 91"/>
                <a:gd name="T94" fmla="*/ 59 w 107"/>
                <a:gd name="T95" fmla="*/ 68 h 91"/>
                <a:gd name="T96" fmla="*/ 76 w 107"/>
                <a:gd name="T97" fmla="*/ 78 h 91"/>
                <a:gd name="T98" fmla="*/ 71 w 107"/>
                <a:gd name="T99" fmla="*/ 71 h 91"/>
                <a:gd name="T100" fmla="*/ 59 w 107"/>
                <a:gd name="T101" fmla="*/ 61 h 91"/>
                <a:gd name="T102" fmla="*/ 48 w 107"/>
                <a:gd name="T103" fmla="*/ 48 h 91"/>
                <a:gd name="T104" fmla="*/ 41 w 107"/>
                <a:gd name="T105" fmla="*/ 38 h 91"/>
                <a:gd name="T106" fmla="*/ 46 w 107"/>
                <a:gd name="T107" fmla="*/ 28 h 91"/>
                <a:gd name="T108" fmla="*/ 56 w 107"/>
                <a:gd name="T109" fmla="*/ 28 h 91"/>
                <a:gd name="T110" fmla="*/ 69 w 107"/>
                <a:gd name="T111" fmla="*/ 28 h 91"/>
                <a:gd name="T112" fmla="*/ 79 w 107"/>
                <a:gd name="T113" fmla="*/ 30 h 91"/>
                <a:gd name="T114" fmla="*/ 87 w 107"/>
                <a:gd name="T115" fmla="*/ 30 h 91"/>
                <a:gd name="T116" fmla="*/ 97 w 107"/>
                <a:gd name="T117" fmla="*/ 35 h 91"/>
                <a:gd name="T118" fmla="*/ 99 w 107"/>
                <a:gd name="T119" fmla="*/ 35 h 91"/>
                <a:gd name="T120" fmla="*/ 102 w 107"/>
                <a:gd name="T121" fmla="*/ 30 h 91"/>
                <a:gd name="T122" fmla="*/ 107 w 107"/>
                <a:gd name="T123" fmla="*/ 28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7" h="91">
                  <a:moveTo>
                    <a:pt x="74" y="84"/>
                  </a:moveTo>
                  <a:lnTo>
                    <a:pt x="71" y="84"/>
                  </a:lnTo>
                  <a:lnTo>
                    <a:pt x="71" y="84"/>
                  </a:lnTo>
                  <a:lnTo>
                    <a:pt x="79" y="84"/>
                  </a:lnTo>
                  <a:lnTo>
                    <a:pt x="76" y="84"/>
                  </a:lnTo>
                  <a:lnTo>
                    <a:pt x="74" y="84"/>
                  </a:lnTo>
                  <a:close/>
                  <a:moveTo>
                    <a:pt x="66" y="78"/>
                  </a:moveTo>
                  <a:lnTo>
                    <a:pt x="64" y="78"/>
                  </a:lnTo>
                  <a:lnTo>
                    <a:pt x="61" y="78"/>
                  </a:lnTo>
                  <a:lnTo>
                    <a:pt x="59" y="78"/>
                  </a:lnTo>
                  <a:lnTo>
                    <a:pt x="59" y="78"/>
                  </a:lnTo>
                  <a:lnTo>
                    <a:pt x="59" y="78"/>
                  </a:lnTo>
                  <a:lnTo>
                    <a:pt x="61" y="81"/>
                  </a:lnTo>
                  <a:lnTo>
                    <a:pt x="64" y="81"/>
                  </a:lnTo>
                  <a:lnTo>
                    <a:pt x="64" y="81"/>
                  </a:lnTo>
                  <a:lnTo>
                    <a:pt x="66" y="81"/>
                  </a:lnTo>
                  <a:lnTo>
                    <a:pt x="69" y="81"/>
                  </a:lnTo>
                  <a:lnTo>
                    <a:pt x="69" y="78"/>
                  </a:lnTo>
                  <a:lnTo>
                    <a:pt x="66" y="78"/>
                  </a:lnTo>
                  <a:close/>
                  <a:moveTo>
                    <a:pt x="92" y="89"/>
                  </a:moveTo>
                  <a:lnTo>
                    <a:pt x="92" y="89"/>
                  </a:lnTo>
                  <a:lnTo>
                    <a:pt x="89" y="86"/>
                  </a:lnTo>
                  <a:lnTo>
                    <a:pt x="89" y="86"/>
                  </a:lnTo>
                  <a:lnTo>
                    <a:pt x="87" y="86"/>
                  </a:lnTo>
                  <a:lnTo>
                    <a:pt x="84" y="84"/>
                  </a:lnTo>
                  <a:lnTo>
                    <a:pt x="82" y="84"/>
                  </a:lnTo>
                  <a:lnTo>
                    <a:pt x="82" y="81"/>
                  </a:lnTo>
                  <a:lnTo>
                    <a:pt x="79" y="81"/>
                  </a:lnTo>
                  <a:lnTo>
                    <a:pt x="79" y="81"/>
                  </a:lnTo>
                  <a:lnTo>
                    <a:pt x="76" y="81"/>
                  </a:lnTo>
                  <a:lnTo>
                    <a:pt x="79" y="81"/>
                  </a:lnTo>
                  <a:lnTo>
                    <a:pt x="69" y="78"/>
                  </a:lnTo>
                  <a:lnTo>
                    <a:pt x="69" y="78"/>
                  </a:lnTo>
                  <a:lnTo>
                    <a:pt x="66" y="78"/>
                  </a:lnTo>
                  <a:lnTo>
                    <a:pt x="69" y="78"/>
                  </a:lnTo>
                  <a:lnTo>
                    <a:pt x="76" y="81"/>
                  </a:lnTo>
                  <a:lnTo>
                    <a:pt x="82" y="84"/>
                  </a:lnTo>
                  <a:lnTo>
                    <a:pt x="87" y="86"/>
                  </a:lnTo>
                  <a:lnTo>
                    <a:pt x="89" y="89"/>
                  </a:lnTo>
                  <a:lnTo>
                    <a:pt x="94" y="91"/>
                  </a:lnTo>
                  <a:lnTo>
                    <a:pt x="92" y="89"/>
                  </a:lnTo>
                  <a:lnTo>
                    <a:pt x="92" y="89"/>
                  </a:lnTo>
                  <a:close/>
                  <a:moveTo>
                    <a:pt x="66" y="76"/>
                  </a:moveTo>
                  <a:lnTo>
                    <a:pt x="69" y="76"/>
                  </a:lnTo>
                  <a:lnTo>
                    <a:pt x="66" y="76"/>
                  </a:lnTo>
                  <a:lnTo>
                    <a:pt x="59" y="73"/>
                  </a:lnTo>
                  <a:lnTo>
                    <a:pt x="59" y="73"/>
                  </a:lnTo>
                  <a:lnTo>
                    <a:pt x="56" y="73"/>
                  </a:lnTo>
                  <a:lnTo>
                    <a:pt x="53" y="73"/>
                  </a:lnTo>
                  <a:lnTo>
                    <a:pt x="53" y="73"/>
                  </a:lnTo>
                  <a:lnTo>
                    <a:pt x="56" y="76"/>
                  </a:lnTo>
                  <a:lnTo>
                    <a:pt x="59" y="76"/>
                  </a:lnTo>
                  <a:lnTo>
                    <a:pt x="66" y="76"/>
                  </a:lnTo>
                  <a:close/>
                  <a:moveTo>
                    <a:pt x="61" y="73"/>
                  </a:moveTo>
                  <a:lnTo>
                    <a:pt x="64" y="71"/>
                  </a:lnTo>
                  <a:lnTo>
                    <a:pt x="64" y="71"/>
                  </a:lnTo>
                  <a:lnTo>
                    <a:pt x="61" y="71"/>
                  </a:lnTo>
                  <a:lnTo>
                    <a:pt x="59" y="71"/>
                  </a:lnTo>
                  <a:lnTo>
                    <a:pt x="56" y="71"/>
                  </a:lnTo>
                  <a:lnTo>
                    <a:pt x="53" y="71"/>
                  </a:lnTo>
                  <a:lnTo>
                    <a:pt x="53" y="71"/>
                  </a:lnTo>
                  <a:lnTo>
                    <a:pt x="56" y="71"/>
                  </a:lnTo>
                  <a:lnTo>
                    <a:pt x="59" y="73"/>
                  </a:lnTo>
                  <a:lnTo>
                    <a:pt x="61" y="73"/>
                  </a:lnTo>
                  <a:close/>
                  <a:moveTo>
                    <a:pt x="33" y="56"/>
                  </a:moveTo>
                  <a:lnTo>
                    <a:pt x="33" y="58"/>
                  </a:lnTo>
                  <a:lnTo>
                    <a:pt x="36" y="58"/>
                  </a:lnTo>
                  <a:lnTo>
                    <a:pt x="36" y="58"/>
                  </a:lnTo>
                  <a:lnTo>
                    <a:pt x="36" y="56"/>
                  </a:lnTo>
                  <a:lnTo>
                    <a:pt x="33" y="56"/>
                  </a:lnTo>
                  <a:close/>
                  <a:moveTo>
                    <a:pt x="31" y="53"/>
                  </a:moveTo>
                  <a:lnTo>
                    <a:pt x="31" y="53"/>
                  </a:lnTo>
                  <a:lnTo>
                    <a:pt x="31" y="53"/>
                  </a:lnTo>
                  <a:lnTo>
                    <a:pt x="33" y="56"/>
                  </a:lnTo>
                  <a:lnTo>
                    <a:pt x="33" y="56"/>
                  </a:lnTo>
                  <a:lnTo>
                    <a:pt x="31" y="53"/>
                  </a:lnTo>
                  <a:close/>
                  <a:moveTo>
                    <a:pt x="28" y="53"/>
                  </a:moveTo>
                  <a:lnTo>
                    <a:pt x="25" y="53"/>
                  </a:lnTo>
                  <a:lnTo>
                    <a:pt x="25" y="53"/>
                  </a:lnTo>
                  <a:lnTo>
                    <a:pt x="31" y="58"/>
                  </a:lnTo>
                  <a:lnTo>
                    <a:pt x="31" y="58"/>
                  </a:lnTo>
                  <a:lnTo>
                    <a:pt x="33" y="58"/>
                  </a:lnTo>
                  <a:lnTo>
                    <a:pt x="33" y="58"/>
                  </a:lnTo>
                  <a:lnTo>
                    <a:pt x="33" y="58"/>
                  </a:lnTo>
                  <a:lnTo>
                    <a:pt x="28" y="53"/>
                  </a:lnTo>
                  <a:close/>
                  <a:moveTo>
                    <a:pt x="25" y="45"/>
                  </a:moveTo>
                  <a:lnTo>
                    <a:pt x="28" y="48"/>
                  </a:lnTo>
                  <a:lnTo>
                    <a:pt x="28" y="48"/>
                  </a:lnTo>
                  <a:lnTo>
                    <a:pt x="31" y="48"/>
                  </a:lnTo>
                  <a:lnTo>
                    <a:pt x="31" y="50"/>
                  </a:lnTo>
                  <a:lnTo>
                    <a:pt x="31" y="48"/>
                  </a:lnTo>
                  <a:lnTo>
                    <a:pt x="33" y="48"/>
                  </a:lnTo>
                  <a:lnTo>
                    <a:pt x="33" y="48"/>
                  </a:lnTo>
                  <a:lnTo>
                    <a:pt x="31" y="48"/>
                  </a:lnTo>
                  <a:lnTo>
                    <a:pt x="28" y="45"/>
                  </a:lnTo>
                  <a:lnTo>
                    <a:pt x="25" y="43"/>
                  </a:lnTo>
                  <a:lnTo>
                    <a:pt x="25" y="43"/>
                  </a:lnTo>
                  <a:lnTo>
                    <a:pt x="25" y="43"/>
                  </a:lnTo>
                  <a:lnTo>
                    <a:pt x="23" y="40"/>
                  </a:lnTo>
                  <a:lnTo>
                    <a:pt x="23" y="43"/>
                  </a:lnTo>
                  <a:lnTo>
                    <a:pt x="25" y="45"/>
                  </a:lnTo>
                  <a:lnTo>
                    <a:pt x="25" y="45"/>
                  </a:lnTo>
                  <a:close/>
                  <a:moveTo>
                    <a:pt x="25" y="40"/>
                  </a:moveTo>
                  <a:lnTo>
                    <a:pt x="25" y="40"/>
                  </a:lnTo>
                  <a:lnTo>
                    <a:pt x="23" y="38"/>
                  </a:lnTo>
                  <a:lnTo>
                    <a:pt x="23" y="38"/>
                  </a:lnTo>
                  <a:lnTo>
                    <a:pt x="23" y="38"/>
                  </a:lnTo>
                  <a:lnTo>
                    <a:pt x="23" y="38"/>
                  </a:lnTo>
                  <a:lnTo>
                    <a:pt x="23" y="38"/>
                  </a:lnTo>
                  <a:lnTo>
                    <a:pt x="23" y="40"/>
                  </a:lnTo>
                  <a:lnTo>
                    <a:pt x="23" y="40"/>
                  </a:lnTo>
                  <a:lnTo>
                    <a:pt x="25" y="40"/>
                  </a:lnTo>
                  <a:close/>
                  <a:moveTo>
                    <a:pt x="18" y="40"/>
                  </a:moveTo>
                  <a:lnTo>
                    <a:pt x="18" y="38"/>
                  </a:lnTo>
                  <a:lnTo>
                    <a:pt x="18" y="35"/>
                  </a:lnTo>
                  <a:lnTo>
                    <a:pt x="18" y="33"/>
                  </a:lnTo>
                  <a:lnTo>
                    <a:pt x="18" y="30"/>
                  </a:lnTo>
                  <a:lnTo>
                    <a:pt x="15" y="28"/>
                  </a:lnTo>
                  <a:lnTo>
                    <a:pt x="15" y="28"/>
                  </a:lnTo>
                  <a:lnTo>
                    <a:pt x="15" y="30"/>
                  </a:lnTo>
                  <a:lnTo>
                    <a:pt x="15" y="33"/>
                  </a:lnTo>
                  <a:lnTo>
                    <a:pt x="15" y="35"/>
                  </a:lnTo>
                  <a:lnTo>
                    <a:pt x="15" y="35"/>
                  </a:lnTo>
                  <a:lnTo>
                    <a:pt x="15" y="35"/>
                  </a:lnTo>
                  <a:lnTo>
                    <a:pt x="18" y="40"/>
                  </a:lnTo>
                  <a:lnTo>
                    <a:pt x="18" y="40"/>
                  </a:lnTo>
                  <a:lnTo>
                    <a:pt x="18" y="43"/>
                  </a:lnTo>
                  <a:lnTo>
                    <a:pt x="18" y="43"/>
                  </a:lnTo>
                  <a:lnTo>
                    <a:pt x="18" y="40"/>
                  </a:lnTo>
                  <a:lnTo>
                    <a:pt x="18" y="40"/>
                  </a:lnTo>
                  <a:close/>
                  <a:moveTo>
                    <a:pt x="25" y="35"/>
                  </a:moveTo>
                  <a:lnTo>
                    <a:pt x="23" y="30"/>
                  </a:lnTo>
                  <a:lnTo>
                    <a:pt x="23" y="30"/>
                  </a:lnTo>
                  <a:lnTo>
                    <a:pt x="20" y="28"/>
                  </a:lnTo>
                  <a:lnTo>
                    <a:pt x="20" y="28"/>
                  </a:lnTo>
                  <a:lnTo>
                    <a:pt x="20" y="30"/>
                  </a:lnTo>
                  <a:lnTo>
                    <a:pt x="18" y="30"/>
                  </a:lnTo>
                  <a:lnTo>
                    <a:pt x="18" y="30"/>
                  </a:lnTo>
                  <a:lnTo>
                    <a:pt x="20" y="33"/>
                  </a:lnTo>
                  <a:lnTo>
                    <a:pt x="20" y="33"/>
                  </a:lnTo>
                  <a:lnTo>
                    <a:pt x="20" y="35"/>
                  </a:lnTo>
                  <a:lnTo>
                    <a:pt x="23" y="35"/>
                  </a:lnTo>
                  <a:lnTo>
                    <a:pt x="25" y="35"/>
                  </a:lnTo>
                  <a:close/>
                  <a:moveTo>
                    <a:pt x="107" y="28"/>
                  </a:moveTo>
                  <a:lnTo>
                    <a:pt x="107" y="28"/>
                  </a:lnTo>
                  <a:lnTo>
                    <a:pt x="107" y="28"/>
                  </a:lnTo>
                  <a:lnTo>
                    <a:pt x="107" y="28"/>
                  </a:lnTo>
                  <a:lnTo>
                    <a:pt x="104" y="25"/>
                  </a:lnTo>
                  <a:lnTo>
                    <a:pt x="102" y="25"/>
                  </a:lnTo>
                  <a:lnTo>
                    <a:pt x="99" y="22"/>
                  </a:lnTo>
                  <a:lnTo>
                    <a:pt x="99" y="22"/>
                  </a:lnTo>
                  <a:lnTo>
                    <a:pt x="99" y="22"/>
                  </a:lnTo>
                  <a:lnTo>
                    <a:pt x="102" y="20"/>
                  </a:lnTo>
                  <a:lnTo>
                    <a:pt x="99" y="20"/>
                  </a:lnTo>
                  <a:lnTo>
                    <a:pt x="99" y="20"/>
                  </a:lnTo>
                  <a:lnTo>
                    <a:pt x="97" y="20"/>
                  </a:lnTo>
                  <a:lnTo>
                    <a:pt x="99" y="17"/>
                  </a:lnTo>
                  <a:lnTo>
                    <a:pt x="97" y="15"/>
                  </a:lnTo>
                  <a:lnTo>
                    <a:pt x="97" y="15"/>
                  </a:lnTo>
                  <a:lnTo>
                    <a:pt x="97" y="12"/>
                  </a:lnTo>
                  <a:lnTo>
                    <a:pt x="97" y="12"/>
                  </a:lnTo>
                  <a:lnTo>
                    <a:pt x="97" y="12"/>
                  </a:lnTo>
                  <a:lnTo>
                    <a:pt x="97" y="12"/>
                  </a:lnTo>
                  <a:lnTo>
                    <a:pt x="97" y="12"/>
                  </a:lnTo>
                  <a:lnTo>
                    <a:pt x="94" y="12"/>
                  </a:lnTo>
                  <a:lnTo>
                    <a:pt x="94" y="12"/>
                  </a:lnTo>
                  <a:lnTo>
                    <a:pt x="92" y="15"/>
                  </a:lnTo>
                  <a:lnTo>
                    <a:pt x="92" y="15"/>
                  </a:lnTo>
                  <a:lnTo>
                    <a:pt x="89" y="15"/>
                  </a:lnTo>
                  <a:lnTo>
                    <a:pt x="89" y="15"/>
                  </a:lnTo>
                  <a:lnTo>
                    <a:pt x="87" y="15"/>
                  </a:lnTo>
                  <a:lnTo>
                    <a:pt x="87" y="15"/>
                  </a:lnTo>
                  <a:lnTo>
                    <a:pt x="82" y="15"/>
                  </a:lnTo>
                  <a:lnTo>
                    <a:pt x="79" y="15"/>
                  </a:lnTo>
                  <a:lnTo>
                    <a:pt x="76" y="15"/>
                  </a:lnTo>
                  <a:lnTo>
                    <a:pt x="74" y="12"/>
                  </a:lnTo>
                  <a:lnTo>
                    <a:pt x="74" y="12"/>
                  </a:lnTo>
                  <a:lnTo>
                    <a:pt x="74" y="12"/>
                  </a:lnTo>
                  <a:lnTo>
                    <a:pt x="71" y="12"/>
                  </a:lnTo>
                  <a:lnTo>
                    <a:pt x="69" y="10"/>
                  </a:lnTo>
                  <a:lnTo>
                    <a:pt x="69" y="10"/>
                  </a:lnTo>
                  <a:lnTo>
                    <a:pt x="66" y="7"/>
                  </a:lnTo>
                  <a:lnTo>
                    <a:pt x="64" y="7"/>
                  </a:lnTo>
                  <a:lnTo>
                    <a:pt x="61" y="5"/>
                  </a:lnTo>
                  <a:lnTo>
                    <a:pt x="61" y="2"/>
                  </a:lnTo>
                  <a:lnTo>
                    <a:pt x="59" y="2"/>
                  </a:lnTo>
                  <a:lnTo>
                    <a:pt x="56" y="0"/>
                  </a:lnTo>
                  <a:lnTo>
                    <a:pt x="53" y="0"/>
                  </a:lnTo>
                  <a:lnTo>
                    <a:pt x="53" y="0"/>
                  </a:lnTo>
                  <a:lnTo>
                    <a:pt x="51" y="0"/>
                  </a:lnTo>
                  <a:lnTo>
                    <a:pt x="51" y="0"/>
                  </a:lnTo>
                  <a:lnTo>
                    <a:pt x="51" y="0"/>
                  </a:lnTo>
                  <a:lnTo>
                    <a:pt x="48" y="0"/>
                  </a:lnTo>
                  <a:lnTo>
                    <a:pt x="51" y="2"/>
                  </a:lnTo>
                  <a:lnTo>
                    <a:pt x="48" y="2"/>
                  </a:lnTo>
                  <a:lnTo>
                    <a:pt x="48" y="2"/>
                  </a:lnTo>
                  <a:lnTo>
                    <a:pt x="46" y="2"/>
                  </a:lnTo>
                  <a:lnTo>
                    <a:pt x="46" y="5"/>
                  </a:lnTo>
                  <a:lnTo>
                    <a:pt x="43" y="5"/>
                  </a:lnTo>
                  <a:lnTo>
                    <a:pt x="43" y="5"/>
                  </a:lnTo>
                  <a:lnTo>
                    <a:pt x="41" y="5"/>
                  </a:lnTo>
                  <a:lnTo>
                    <a:pt x="41" y="5"/>
                  </a:lnTo>
                  <a:lnTo>
                    <a:pt x="38" y="5"/>
                  </a:lnTo>
                  <a:lnTo>
                    <a:pt x="38" y="7"/>
                  </a:lnTo>
                  <a:lnTo>
                    <a:pt x="38" y="7"/>
                  </a:lnTo>
                  <a:lnTo>
                    <a:pt x="38" y="7"/>
                  </a:lnTo>
                  <a:lnTo>
                    <a:pt x="41" y="10"/>
                  </a:lnTo>
                  <a:lnTo>
                    <a:pt x="41" y="10"/>
                  </a:lnTo>
                  <a:lnTo>
                    <a:pt x="41" y="12"/>
                  </a:lnTo>
                  <a:lnTo>
                    <a:pt x="38" y="12"/>
                  </a:lnTo>
                  <a:lnTo>
                    <a:pt x="38" y="15"/>
                  </a:lnTo>
                  <a:lnTo>
                    <a:pt x="36" y="15"/>
                  </a:lnTo>
                  <a:lnTo>
                    <a:pt x="33" y="17"/>
                  </a:lnTo>
                  <a:lnTo>
                    <a:pt x="33" y="17"/>
                  </a:lnTo>
                  <a:lnTo>
                    <a:pt x="33" y="17"/>
                  </a:lnTo>
                  <a:lnTo>
                    <a:pt x="33" y="17"/>
                  </a:lnTo>
                  <a:lnTo>
                    <a:pt x="33" y="20"/>
                  </a:lnTo>
                  <a:lnTo>
                    <a:pt x="33" y="20"/>
                  </a:lnTo>
                  <a:lnTo>
                    <a:pt x="33" y="20"/>
                  </a:lnTo>
                  <a:lnTo>
                    <a:pt x="33" y="22"/>
                  </a:lnTo>
                  <a:lnTo>
                    <a:pt x="33" y="22"/>
                  </a:lnTo>
                  <a:lnTo>
                    <a:pt x="33" y="22"/>
                  </a:lnTo>
                  <a:lnTo>
                    <a:pt x="31" y="22"/>
                  </a:lnTo>
                  <a:lnTo>
                    <a:pt x="28" y="22"/>
                  </a:lnTo>
                  <a:lnTo>
                    <a:pt x="25" y="22"/>
                  </a:lnTo>
                  <a:lnTo>
                    <a:pt x="25" y="22"/>
                  </a:lnTo>
                  <a:lnTo>
                    <a:pt x="23" y="22"/>
                  </a:lnTo>
                  <a:lnTo>
                    <a:pt x="23" y="20"/>
                  </a:lnTo>
                  <a:lnTo>
                    <a:pt x="20" y="20"/>
                  </a:lnTo>
                  <a:lnTo>
                    <a:pt x="20" y="20"/>
                  </a:lnTo>
                  <a:lnTo>
                    <a:pt x="20" y="17"/>
                  </a:lnTo>
                  <a:lnTo>
                    <a:pt x="20" y="17"/>
                  </a:lnTo>
                  <a:lnTo>
                    <a:pt x="20" y="17"/>
                  </a:lnTo>
                  <a:lnTo>
                    <a:pt x="18" y="20"/>
                  </a:lnTo>
                  <a:lnTo>
                    <a:pt x="18" y="22"/>
                  </a:lnTo>
                  <a:lnTo>
                    <a:pt x="15" y="22"/>
                  </a:lnTo>
                  <a:lnTo>
                    <a:pt x="15" y="22"/>
                  </a:lnTo>
                  <a:lnTo>
                    <a:pt x="13" y="22"/>
                  </a:lnTo>
                  <a:lnTo>
                    <a:pt x="10" y="22"/>
                  </a:lnTo>
                  <a:lnTo>
                    <a:pt x="10" y="20"/>
                  </a:lnTo>
                  <a:lnTo>
                    <a:pt x="10" y="22"/>
                  </a:lnTo>
                  <a:lnTo>
                    <a:pt x="10" y="22"/>
                  </a:lnTo>
                  <a:lnTo>
                    <a:pt x="8" y="22"/>
                  </a:lnTo>
                  <a:lnTo>
                    <a:pt x="8" y="22"/>
                  </a:lnTo>
                  <a:lnTo>
                    <a:pt x="3" y="22"/>
                  </a:lnTo>
                  <a:lnTo>
                    <a:pt x="3" y="20"/>
                  </a:lnTo>
                  <a:lnTo>
                    <a:pt x="0" y="22"/>
                  </a:lnTo>
                  <a:lnTo>
                    <a:pt x="3" y="28"/>
                  </a:lnTo>
                  <a:lnTo>
                    <a:pt x="3" y="28"/>
                  </a:lnTo>
                  <a:lnTo>
                    <a:pt x="3" y="30"/>
                  </a:lnTo>
                  <a:lnTo>
                    <a:pt x="5" y="35"/>
                  </a:lnTo>
                  <a:lnTo>
                    <a:pt x="8" y="38"/>
                  </a:lnTo>
                  <a:lnTo>
                    <a:pt x="8" y="38"/>
                  </a:lnTo>
                  <a:lnTo>
                    <a:pt x="10" y="38"/>
                  </a:lnTo>
                  <a:lnTo>
                    <a:pt x="10" y="35"/>
                  </a:lnTo>
                  <a:lnTo>
                    <a:pt x="13" y="35"/>
                  </a:lnTo>
                  <a:lnTo>
                    <a:pt x="15" y="30"/>
                  </a:lnTo>
                  <a:lnTo>
                    <a:pt x="15" y="25"/>
                  </a:lnTo>
                  <a:lnTo>
                    <a:pt x="15" y="25"/>
                  </a:lnTo>
                  <a:lnTo>
                    <a:pt x="18" y="25"/>
                  </a:lnTo>
                  <a:lnTo>
                    <a:pt x="20" y="25"/>
                  </a:lnTo>
                  <a:lnTo>
                    <a:pt x="20" y="28"/>
                  </a:lnTo>
                  <a:lnTo>
                    <a:pt x="25" y="30"/>
                  </a:lnTo>
                  <a:lnTo>
                    <a:pt x="25" y="35"/>
                  </a:lnTo>
                  <a:lnTo>
                    <a:pt x="25" y="38"/>
                  </a:lnTo>
                  <a:lnTo>
                    <a:pt x="25" y="40"/>
                  </a:lnTo>
                  <a:lnTo>
                    <a:pt x="28" y="43"/>
                  </a:lnTo>
                  <a:lnTo>
                    <a:pt x="33" y="48"/>
                  </a:lnTo>
                  <a:lnTo>
                    <a:pt x="36" y="48"/>
                  </a:lnTo>
                  <a:lnTo>
                    <a:pt x="36" y="50"/>
                  </a:lnTo>
                  <a:lnTo>
                    <a:pt x="36" y="50"/>
                  </a:lnTo>
                  <a:lnTo>
                    <a:pt x="33" y="50"/>
                  </a:lnTo>
                  <a:lnTo>
                    <a:pt x="33" y="50"/>
                  </a:lnTo>
                  <a:lnTo>
                    <a:pt x="31" y="50"/>
                  </a:lnTo>
                  <a:lnTo>
                    <a:pt x="31" y="50"/>
                  </a:lnTo>
                  <a:lnTo>
                    <a:pt x="31" y="53"/>
                  </a:lnTo>
                  <a:lnTo>
                    <a:pt x="38" y="58"/>
                  </a:lnTo>
                  <a:lnTo>
                    <a:pt x="41" y="61"/>
                  </a:lnTo>
                  <a:lnTo>
                    <a:pt x="43" y="63"/>
                  </a:lnTo>
                  <a:lnTo>
                    <a:pt x="46" y="63"/>
                  </a:lnTo>
                  <a:lnTo>
                    <a:pt x="46" y="66"/>
                  </a:lnTo>
                  <a:lnTo>
                    <a:pt x="46" y="66"/>
                  </a:lnTo>
                  <a:lnTo>
                    <a:pt x="46" y="66"/>
                  </a:lnTo>
                  <a:lnTo>
                    <a:pt x="48" y="68"/>
                  </a:lnTo>
                  <a:lnTo>
                    <a:pt x="48" y="68"/>
                  </a:lnTo>
                  <a:lnTo>
                    <a:pt x="51" y="66"/>
                  </a:lnTo>
                  <a:lnTo>
                    <a:pt x="53" y="66"/>
                  </a:lnTo>
                  <a:lnTo>
                    <a:pt x="59" y="68"/>
                  </a:lnTo>
                  <a:lnTo>
                    <a:pt x="64" y="71"/>
                  </a:lnTo>
                  <a:lnTo>
                    <a:pt x="69" y="73"/>
                  </a:lnTo>
                  <a:lnTo>
                    <a:pt x="71" y="76"/>
                  </a:lnTo>
                  <a:lnTo>
                    <a:pt x="74" y="78"/>
                  </a:lnTo>
                  <a:lnTo>
                    <a:pt x="76" y="78"/>
                  </a:lnTo>
                  <a:lnTo>
                    <a:pt x="76" y="78"/>
                  </a:lnTo>
                  <a:lnTo>
                    <a:pt x="76" y="78"/>
                  </a:lnTo>
                  <a:lnTo>
                    <a:pt x="76" y="78"/>
                  </a:lnTo>
                  <a:lnTo>
                    <a:pt x="76" y="78"/>
                  </a:lnTo>
                  <a:lnTo>
                    <a:pt x="71" y="73"/>
                  </a:lnTo>
                  <a:lnTo>
                    <a:pt x="71" y="71"/>
                  </a:lnTo>
                  <a:lnTo>
                    <a:pt x="71" y="71"/>
                  </a:lnTo>
                  <a:lnTo>
                    <a:pt x="69" y="68"/>
                  </a:lnTo>
                  <a:lnTo>
                    <a:pt x="69" y="68"/>
                  </a:lnTo>
                  <a:lnTo>
                    <a:pt x="66" y="66"/>
                  </a:lnTo>
                  <a:lnTo>
                    <a:pt x="64" y="63"/>
                  </a:lnTo>
                  <a:lnTo>
                    <a:pt x="59" y="61"/>
                  </a:lnTo>
                  <a:lnTo>
                    <a:pt x="59" y="61"/>
                  </a:lnTo>
                  <a:lnTo>
                    <a:pt x="59" y="58"/>
                  </a:lnTo>
                  <a:lnTo>
                    <a:pt x="56" y="56"/>
                  </a:lnTo>
                  <a:lnTo>
                    <a:pt x="53" y="56"/>
                  </a:lnTo>
                  <a:lnTo>
                    <a:pt x="51" y="53"/>
                  </a:lnTo>
                  <a:lnTo>
                    <a:pt x="51" y="50"/>
                  </a:lnTo>
                  <a:lnTo>
                    <a:pt x="48" y="48"/>
                  </a:lnTo>
                  <a:lnTo>
                    <a:pt x="48" y="45"/>
                  </a:lnTo>
                  <a:lnTo>
                    <a:pt x="48" y="45"/>
                  </a:lnTo>
                  <a:lnTo>
                    <a:pt x="48" y="45"/>
                  </a:lnTo>
                  <a:lnTo>
                    <a:pt x="43" y="40"/>
                  </a:lnTo>
                  <a:lnTo>
                    <a:pt x="41" y="40"/>
                  </a:lnTo>
                  <a:lnTo>
                    <a:pt x="41" y="38"/>
                  </a:lnTo>
                  <a:lnTo>
                    <a:pt x="41" y="33"/>
                  </a:lnTo>
                  <a:lnTo>
                    <a:pt x="43" y="28"/>
                  </a:lnTo>
                  <a:lnTo>
                    <a:pt x="43" y="28"/>
                  </a:lnTo>
                  <a:lnTo>
                    <a:pt x="43" y="28"/>
                  </a:lnTo>
                  <a:lnTo>
                    <a:pt x="46" y="28"/>
                  </a:lnTo>
                  <a:lnTo>
                    <a:pt x="46" y="28"/>
                  </a:lnTo>
                  <a:lnTo>
                    <a:pt x="48" y="30"/>
                  </a:lnTo>
                  <a:lnTo>
                    <a:pt x="51" y="33"/>
                  </a:lnTo>
                  <a:lnTo>
                    <a:pt x="51" y="33"/>
                  </a:lnTo>
                  <a:lnTo>
                    <a:pt x="53" y="30"/>
                  </a:lnTo>
                  <a:lnTo>
                    <a:pt x="53" y="28"/>
                  </a:lnTo>
                  <a:lnTo>
                    <a:pt x="56" y="28"/>
                  </a:lnTo>
                  <a:lnTo>
                    <a:pt x="61" y="28"/>
                  </a:lnTo>
                  <a:lnTo>
                    <a:pt x="61" y="28"/>
                  </a:lnTo>
                  <a:lnTo>
                    <a:pt x="66" y="28"/>
                  </a:lnTo>
                  <a:lnTo>
                    <a:pt x="69" y="30"/>
                  </a:lnTo>
                  <a:lnTo>
                    <a:pt x="69" y="28"/>
                  </a:lnTo>
                  <a:lnTo>
                    <a:pt x="69" y="28"/>
                  </a:lnTo>
                  <a:lnTo>
                    <a:pt x="71" y="30"/>
                  </a:lnTo>
                  <a:lnTo>
                    <a:pt x="74" y="30"/>
                  </a:lnTo>
                  <a:lnTo>
                    <a:pt x="74" y="30"/>
                  </a:lnTo>
                  <a:lnTo>
                    <a:pt x="76" y="28"/>
                  </a:lnTo>
                  <a:lnTo>
                    <a:pt x="76" y="30"/>
                  </a:lnTo>
                  <a:lnTo>
                    <a:pt x="79" y="30"/>
                  </a:lnTo>
                  <a:lnTo>
                    <a:pt x="79" y="30"/>
                  </a:lnTo>
                  <a:lnTo>
                    <a:pt x="82" y="30"/>
                  </a:lnTo>
                  <a:lnTo>
                    <a:pt x="82" y="30"/>
                  </a:lnTo>
                  <a:lnTo>
                    <a:pt x="84" y="30"/>
                  </a:lnTo>
                  <a:lnTo>
                    <a:pt x="87" y="30"/>
                  </a:lnTo>
                  <a:lnTo>
                    <a:pt x="87" y="30"/>
                  </a:lnTo>
                  <a:lnTo>
                    <a:pt x="89" y="30"/>
                  </a:lnTo>
                  <a:lnTo>
                    <a:pt x="89" y="30"/>
                  </a:lnTo>
                  <a:lnTo>
                    <a:pt x="92" y="30"/>
                  </a:lnTo>
                  <a:lnTo>
                    <a:pt x="94" y="30"/>
                  </a:lnTo>
                  <a:lnTo>
                    <a:pt x="94" y="33"/>
                  </a:lnTo>
                  <a:lnTo>
                    <a:pt x="97" y="35"/>
                  </a:lnTo>
                  <a:lnTo>
                    <a:pt x="97" y="35"/>
                  </a:lnTo>
                  <a:lnTo>
                    <a:pt x="97" y="35"/>
                  </a:lnTo>
                  <a:lnTo>
                    <a:pt x="97" y="38"/>
                  </a:lnTo>
                  <a:lnTo>
                    <a:pt x="99" y="38"/>
                  </a:lnTo>
                  <a:lnTo>
                    <a:pt x="99" y="38"/>
                  </a:lnTo>
                  <a:lnTo>
                    <a:pt x="99" y="35"/>
                  </a:lnTo>
                  <a:lnTo>
                    <a:pt x="99" y="35"/>
                  </a:lnTo>
                  <a:lnTo>
                    <a:pt x="102" y="35"/>
                  </a:lnTo>
                  <a:lnTo>
                    <a:pt x="102" y="35"/>
                  </a:lnTo>
                  <a:lnTo>
                    <a:pt x="102" y="35"/>
                  </a:lnTo>
                  <a:lnTo>
                    <a:pt x="102" y="35"/>
                  </a:lnTo>
                  <a:lnTo>
                    <a:pt x="102" y="30"/>
                  </a:lnTo>
                  <a:lnTo>
                    <a:pt x="102" y="30"/>
                  </a:lnTo>
                  <a:lnTo>
                    <a:pt x="102" y="28"/>
                  </a:lnTo>
                  <a:lnTo>
                    <a:pt x="102" y="28"/>
                  </a:lnTo>
                  <a:lnTo>
                    <a:pt x="104" y="28"/>
                  </a:lnTo>
                  <a:lnTo>
                    <a:pt x="104" y="28"/>
                  </a:lnTo>
                  <a:lnTo>
                    <a:pt x="107" y="28"/>
                  </a:lnTo>
                  <a:lnTo>
                    <a:pt x="107" y="28"/>
                  </a:lnTo>
                  <a:lnTo>
                    <a:pt x="107" y="2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338" name="Freeform 1957">
              <a:extLst>
                <a:ext uri="{FF2B5EF4-FFF2-40B4-BE49-F238E27FC236}">
                  <a16:creationId xmlns:a16="http://schemas.microsoft.com/office/drawing/2014/main" id="{3C6152B3-6904-3544-833E-57A1FA9D375C}"/>
                </a:ext>
              </a:extLst>
            </p:cNvPr>
            <p:cNvSpPr>
              <a:spLocks/>
            </p:cNvSpPr>
            <p:nvPr/>
          </p:nvSpPr>
          <p:spPr bwMode="auto">
            <a:xfrm>
              <a:off x="2798403" y="3385653"/>
              <a:ext cx="107959" cy="116138"/>
            </a:xfrm>
            <a:custGeom>
              <a:avLst/>
              <a:gdLst>
                <a:gd name="T0" fmla="*/ 61 w 66"/>
                <a:gd name="T1" fmla="*/ 33 h 71"/>
                <a:gd name="T2" fmla="*/ 56 w 66"/>
                <a:gd name="T3" fmla="*/ 25 h 71"/>
                <a:gd name="T4" fmla="*/ 49 w 66"/>
                <a:gd name="T5" fmla="*/ 10 h 71"/>
                <a:gd name="T6" fmla="*/ 46 w 66"/>
                <a:gd name="T7" fmla="*/ 7 h 71"/>
                <a:gd name="T8" fmla="*/ 44 w 66"/>
                <a:gd name="T9" fmla="*/ 10 h 71"/>
                <a:gd name="T10" fmla="*/ 36 w 66"/>
                <a:gd name="T11" fmla="*/ 10 h 71"/>
                <a:gd name="T12" fmla="*/ 33 w 66"/>
                <a:gd name="T13" fmla="*/ 7 h 71"/>
                <a:gd name="T14" fmla="*/ 31 w 66"/>
                <a:gd name="T15" fmla="*/ 5 h 71"/>
                <a:gd name="T16" fmla="*/ 23 w 66"/>
                <a:gd name="T17" fmla="*/ 5 h 71"/>
                <a:gd name="T18" fmla="*/ 13 w 66"/>
                <a:gd name="T19" fmla="*/ 2 h 71"/>
                <a:gd name="T20" fmla="*/ 8 w 66"/>
                <a:gd name="T21" fmla="*/ 0 h 71"/>
                <a:gd name="T22" fmla="*/ 5 w 66"/>
                <a:gd name="T23" fmla="*/ 2 h 71"/>
                <a:gd name="T24" fmla="*/ 5 w 66"/>
                <a:gd name="T25" fmla="*/ 2 h 71"/>
                <a:gd name="T26" fmla="*/ 0 w 66"/>
                <a:gd name="T27" fmla="*/ 7 h 71"/>
                <a:gd name="T28" fmla="*/ 5 w 66"/>
                <a:gd name="T29" fmla="*/ 10 h 71"/>
                <a:gd name="T30" fmla="*/ 5 w 66"/>
                <a:gd name="T31" fmla="*/ 15 h 71"/>
                <a:gd name="T32" fmla="*/ 3 w 66"/>
                <a:gd name="T33" fmla="*/ 25 h 71"/>
                <a:gd name="T34" fmla="*/ 10 w 66"/>
                <a:gd name="T35" fmla="*/ 30 h 71"/>
                <a:gd name="T36" fmla="*/ 16 w 66"/>
                <a:gd name="T37" fmla="*/ 35 h 71"/>
                <a:gd name="T38" fmla="*/ 21 w 66"/>
                <a:gd name="T39" fmla="*/ 30 h 71"/>
                <a:gd name="T40" fmla="*/ 16 w 66"/>
                <a:gd name="T41" fmla="*/ 28 h 71"/>
                <a:gd name="T42" fmla="*/ 13 w 66"/>
                <a:gd name="T43" fmla="*/ 22 h 71"/>
                <a:gd name="T44" fmla="*/ 23 w 66"/>
                <a:gd name="T45" fmla="*/ 30 h 71"/>
                <a:gd name="T46" fmla="*/ 23 w 66"/>
                <a:gd name="T47" fmla="*/ 35 h 71"/>
                <a:gd name="T48" fmla="*/ 33 w 66"/>
                <a:gd name="T49" fmla="*/ 40 h 71"/>
                <a:gd name="T50" fmla="*/ 41 w 66"/>
                <a:gd name="T51" fmla="*/ 45 h 71"/>
                <a:gd name="T52" fmla="*/ 44 w 66"/>
                <a:gd name="T53" fmla="*/ 53 h 71"/>
                <a:gd name="T54" fmla="*/ 44 w 66"/>
                <a:gd name="T55" fmla="*/ 61 h 71"/>
                <a:gd name="T56" fmla="*/ 49 w 66"/>
                <a:gd name="T57" fmla="*/ 63 h 71"/>
                <a:gd name="T58" fmla="*/ 49 w 66"/>
                <a:gd name="T59" fmla="*/ 61 h 71"/>
                <a:gd name="T60" fmla="*/ 49 w 66"/>
                <a:gd name="T61" fmla="*/ 56 h 71"/>
                <a:gd name="T62" fmla="*/ 54 w 66"/>
                <a:gd name="T63" fmla="*/ 61 h 71"/>
                <a:gd name="T64" fmla="*/ 56 w 66"/>
                <a:gd name="T65" fmla="*/ 68 h 71"/>
                <a:gd name="T66" fmla="*/ 56 w 66"/>
                <a:gd name="T67" fmla="*/ 68 h 71"/>
                <a:gd name="T68" fmla="*/ 54 w 66"/>
                <a:gd name="T69" fmla="*/ 66 h 71"/>
                <a:gd name="T70" fmla="*/ 59 w 66"/>
                <a:gd name="T71" fmla="*/ 61 h 71"/>
                <a:gd name="T72" fmla="*/ 56 w 66"/>
                <a:gd name="T73" fmla="*/ 56 h 71"/>
                <a:gd name="T74" fmla="*/ 61 w 66"/>
                <a:gd name="T75" fmla="*/ 53 h 71"/>
                <a:gd name="T76" fmla="*/ 61 w 66"/>
                <a:gd name="T77" fmla="*/ 50 h 71"/>
                <a:gd name="T78" fmla="*/ 59 w 66"/>
                <a:gd name="T79" fmla="*/ 43 h 71"/>
                <a:gd name="T80" fmla="*/ 59 w 66"/>
                <a:gd name="T81" fmla="*/ 38 h 71"/>
                <a:gd name="T82" fmla="*/ 61 w 66"/>
                <a:gd name="T83" fmla="*/ 35 h 71"/>
                <a:gd name="T84" fmla="*/ 64 w 66"/>
                <a:gd name="T85" fmla="*/ 38 h 71"/>
                <a:gd name="T86" fmla="*/ 66 w 66"/>
                <a:gd name="T87" fmla="*/ 38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6" h="71">
                  <a:moveTo>
                    <a:pt x="64" y="35"/>
                  </a:moveTo>
                  <a:lnTo>
                    <a:pt x="61" y="35"/>
                  </a:lnTo>
                  <a:lnTo>
                    <a:pt x="61" y="33"/>
                  </a:lnTo>
                  <a:lnTo>
                    <a:pt x="59" y="33"/>
                  </a:lnTo>
                  <a:lnTo>
                    <a:pt x="56" y="28"/>
                  </a:lnTo>
                  <a:lnTo>
                    <a:pt x="56" y="25"/>
                  </a:lnTo>
                  <a:lnTo>
                    <a:pt x="51" y="20"/>
                  </a:lnTo>
                  <a:lnTo>
                    <a:pt x="49" y="17"/>
                  </a:lnTo>
                  <a:lnTo>
                    <a:pt x="49" y="10"/>
                  </a:lnTo>
                  <a:lnTo>
                    <a:pt x="46" y="7"/>
                  </a:lnTo>
                  <a:lnTo>
                    <a:pt x="46" y="7"/>
                  </a:lnTo>
                  <a:lnTo>
                    <a:pt x="46" y="7"/>
                  </a:lnTo>
                  <a:lnTo>
                    <a:pt x="46" y="7"/>
                  </a:lnTo>
                  <a:lnTo>
                    <a:pt x="44" y="10"/>
                  </a:lnTo>
                  <a:lnTo>
                    <a:pt x="44" y="10"/>
                  </a:lnTo>
                  <a:lnTo>
                    <a:pt x="41" y="10"/>
                  </a:lnTo>
                  <a:lnTo>
                    <a:pt x="36" y="10"/>
                  </a:lnTo>
                  <a:lnTo>
                    <a:pt x="36" y="10"/>
                  </a:lnTo>
                  <a:lnTo>
                    <a:pt x="36" y="10"/>
                  </a:lnTo>
                  <a:lnTo>
                    <a:pt x="36" y="7"/>
                  </a:lnTo>
                  <a:lnTo>
                    <a:pt x="33" y="7"/>
                  </a:lnTo>
                  <a:lnTo>
                    <a:pt x="33" y="5"/>
                  </a:lnTo>
                  <a:lnTo>
                    <a:pt x="31" y="5"/>
                  </a:lnTo>
                  <a:lnTo>
                    <a:pt x="31" y="5"/>
                  </a:lnTo>
                  <a:lnTo>
                    <a:pt x="26" y="2"/>
                  </a:lnTo>
                  <a:lnTo>
                    <a:pt x="26" y="2"/>
                  </a:lnTo>
                  <a:lnTo>
                    <a:pt x="23" y="5"/>
                  </a:lnTo>
                  <a:lnTo>
                    <a:pt x="21" y="5"/>
                  </a:lnTo>
                  <a:lnTo>
                    <a:pt x="16" y="2"/>
                  </a:lnTo>
                  <a:lnTo>
                    <a:pt x="13" y="2"/>
                  </a:lnTo>
                  <a:lnTo>
                    <a:pt x="8" y="0"/>
                  </a:lnTo>
                  <a:lnTo>
                    <a:pt x="8" y="0"/>
                  </a:lnTo>
                  <a:lnTo>
                    <a:pt x="8" y="0"/>
                  </a:lnTo>
                  <a:lnTo>
                    <a:pt x="8" y="0"/>
                  </a:lnTo>
                  <a:lnTo>
                    <a:pt x="5" y="2"/>
                  </a:lnTo>
                  <a:lnTo>
                    <a:pt x="5" y="2"/>
                  </a:lnTo>
                  <a:lnTo>
                    <a:pt x="5" y="2"/>
                  </a:lnTo>
                  <a:lnTo>
                    <a:pt x="5" y="2"/>
                  </a:lnTo>
                  <a:lnTo>
                    <a:pt x="5" y="2"/>
                  </a:lnTo>
                  <a:lnTo>
                    <a:pt x="5" y="5"/>
                  </a:lnTo>
                  <a:lnTo>
                    <a:pt x="3" y="7"/>
                  </a:lnTo>
                  <a:lnTo>
                    <a:pt x="0" y="7"/>
                  </a:lnTo>
                  <a:lnTo>
                    <a:pt x="3" y="7"/>
                  </a:lnTo>
                  <a:lnTo>
                    <a:pt x="5" y="10"/>
                  </a:lnTo>
                  <a:lnTo>
                    <a:pt x="5" y="10"/>
                  </a:lnTo>
                  <a:lnTo>
                    <a:pt x="5" y="12"/>
                  </a:lnTo>
                  <a:lnTo>
                    <a:pt x="5" y="12"/>
                  </a:lnTo>
                  <a:lnTo>
                    <a:pt x="5" y="15"/>
                  </a:lnTo>
                  <a:lnTo>
                    <a:pt x="3" y="17"/>
                  </a:lnTo>
                  <a:lnTo>
                    <a:pt x="0" y="20"/>
                  </a:lnTo>
                  <a:lnTo>
                    <a:pt x="3" y="25"/>
                  </a:lnTo>
                  <a:lnTo>
                    <a:pt x="3" y="28"/>
                  </a:lnTo>
                  <a:lnTo>
                    <a:pt x="5" y="30"/>
                  </a:lnTo>
                  <a:lnTo>
                    <a:pt x="10" y="30"/>
                  </a:lnTo>
                  <a:lnTo>
                    <a:pt x="13" y="35"/>
                  </a:lnTo>
                  <a:lnTo>
                    <a:pt x="16" y="35"/>
                  </a:lnTo>
                  <a:lnTo>
                    <a:pt x="16" y="35"/>
                  </a:lnTo>
                  <a:lnTo>
                    <a:pt x="16" y="35"/>
                  </a:lnTo>
                  <a:lnTo>
                    <a:pt x="18" y="33"/>
                  </a:lnTo>
                  <a:lnTo>
                    <a:pt x="21" y="30"/>
                  </a:lnTo>
                  <a:lnTo>
                    <a:pt x="21" y="30"/>
                  </a:lnTo>
                  <a:lnTo>
                    <a:pt x="18" y="28"/>
                  </a:lnTo>
                  <a:lnTo>
                    <a:pt x="16" y="28"/>
                  </a:lnTo>
                  <a:lnTo>
                    <a:pt x="13" y="25"/>
                  </a:lnTo>
                  <a:lnTo>
                    <a:pt x="13" y="20"/>
                  </a:lnTo>
                  <a:lnTo>
                    <a:pt x="13" y="22"/>
                  </a:lnTo>
                  <a:lnTo>
                    <a:pt x="13" y="22"/>
                  </a:lnTo>
                  <a:lnTo>
                    <a:pt x="18" y="25"/>
                  </a:lnTo>
                  <a:lnTo>
                    <a:pt x="23" y="30"/>
                  </a:lnTo>
                  <a:lnTo>
                    <a:pt x="26" y="33"/>
                  </a:lnTo>
                  <a:lnTo>
                    <a:pt x="23" y="33"/>
                  </a:lnTo>
                  <a:lnTo>
                    <a:pt x="23" y="35"/>
                  </a:lnTo>
                  <a:lnTo>
                    <a:pt x="26" y="38"/>
                  </a:lnTo>
                  <a:lnTo>
                    <a:pt x="28" y="38"/>
                  </a:lnTo>
                  <a:lnTo>
                    <a:pt x="33" y="40"/>
                  </a:lnTo>
                  <a:lnTo>
                    <a:pt x="33" y="40"/>
                  </a:lnTo>
                  <a:lnTo>
                    <a:pt x="38" y="43"/>
                  </a:lnTo>
                  <a:lnTo>
                    <a:pt x="41" y="45"/>
                  </a:lnTo>
                  <a:lnTo>
                    <a:pt x="44" y="48"/>
                  </a:lnTo>
                  <a:lnTo>
                    <a:pt x="44" y="50"/>
                  </a:lnTo>
                  <a:lnTo>
                    <a:pt x="44" y="53"/>
                  </a:lnTo>
                  <a:lnTo>
                    <a:pt x="44" y="56"/>
                  </a:lnTo>
                  <a:lnTo>
                    <a:pt x="41" y="58"/>
                  </a:lnTo>
                  <a:lnTo>
                    <a:pt x="44" y="61"/>
                  </a:lnTo>
                  <a:lnTo>
                    <a:pt x="44" y="63"/>
                  </a:lnTo>
                  <a:lnTo>
                    <a:pt x="46" y="63"/>
                  </a:lnTo>
                  <a:lnTo>
                    <a:pt x="49" y="63"/>
                  </a:lnTo>
                  <a:lnTo>
                    <a:pt x="49" y="63"/>
                  </a:lnTo>
                  <a:lnTo>
                    <a:pt x="49" y="61"/>
                  </a:lnTo>
                  <a:lnTo>
                    <a:pt x="49" y="61"/>
                  </a:lnTo>
                  <a:lnTo>
                    <a:pt x="46" y="58"/>
                  </a:lnTo>
                  <a:lnTo>
                    <a:pt x="46" y="56"/>
                  </a:lnTo>
                  <a:lnTo>
                    <a:pt x="49" y="56"/>
                  </a:lnTo>
                  <a:lnTo>
                    <a:pt x="51" y="58"/>
                  </a:lnTo>
                  <a:lnTo>
                    <a:pt x="51" y="58"/>
                  </a:lnTo>
                  <a:lnTo>
                    <a:pt x="54" y="61"/>
                  </a:lnTo>
                  <a:lnTo>
                    <a:pt x="54" y="63"/>
                  </a:lnTo>
                  <a:lnTo>
                    <a:pt x="54" y="66"/>
                  </a:lnTo>
                  <a:lnTo>
                    <a:pt x="56" y="68"/>
                  </a:lnTo>
                  <a:lnTo>
                    <a:pt x="56" y="71"/>
                  </a:lnTo>
                  <a:lnTo>
                    <a:pt x="56" y="68"/>
                  </a:lnTo>
                  <a:lnTo>
                    <a:pt x="56" y="68"/>
                  </a:lnTo>
                  <a:lnTo>
                    <a:pt x="56" y="66"/>
                  </a:lnTo>
                  <a:lnTo>
                    <a:pt x="54" y="66"/>
                  </a:lnTo>
                  <a:lnTo>
                    <a:pt x="54" y="66"/>
                  </a:lnTo>
                  <a:lnTo>
                    <a:pt x="56" y="63"/>
                  </a:lnTo>
                  <a:lnTo>
                    <a:pt x="59" y="63"/>
                  </a:lnTo>
                  <a:lnTo>
                    <a:pt x="59" y="61"/>
                  </a:lnTo>
                  <a:lnTo>
                    <a:pt x="59" y="61"/>
                  </a:lnTo>
                  <a:lnTo>
                    <a:pt x="59" y="58"/>
                  </a:lnTo>
                  <a:lnTo>
                    <a:pt x="56" y="56"/>
                  </a:lnTo>
                  <a:lnTo>
                    <a:pt x="59" y="53"/>
                  </a:lnTo>
                  <a:lnTo>
                    <a:pt x="59" y="53"/>
                  </a:lnTo>
                  <a:lnTo>
                    <a:pt x="61" y="53"/>
                  </a:lnTo>
                  <a:lnTo>
                    <a:pt x="61" y="50"/>
                  </a:lnTo>
                  <a:lnTo>
                    <a:pt x="61" y="50"/>
                  </a:lnTo>
                  <a:lnTo>
                    <a:pt x="61" y="50"/>
                  </a:lnTo>
                  <a:lnTo>
                    <a:pt x="59" y="48"/>
                  </a:lnTo>
                  <a:lnTo>
                    <a:pt x="56" y="48"/>
                  </a:lnTo>
                  <a:lnTo>
                    <a:pt x="59" y="43"/>
                  </a:lnTo>
                  <a:lnTo>
                    <a:pt x="59" y="40"/>
                  </a:lnTo>
                  <a:lnTo>
                    <a:pt x="59" y="38"/>
                  </a:lnTo>
                  <a:lnTo>
                    <a:pt x="59" y="38"/>
                  </a:lnTo>
                  <a:lnTo>
                    <a:pt x="59" y="38"/>
                  </a:lnTo>
                  <a:lnTo>
                    <a:pt x="61" y="38"/>
                  </a:lnTo>
                  <a:lnTo>
                    <a:pt x="61" y="35"/>
                  </a:lnTo>
                  <a:lnTo>
                    <a:pt x="61" y="38"/>
                  </a:lnTo>
                  <a:lnTo>
                    <a:pt x="64" y="38"/>
                  </a:lnTo>
                  <a:lnTo>
                    <a:pt x="64" y="38"/>
                  </a:lnTo>
                  <a:lnTo>
                    <a:pt x="66" y="38"/>
                  </a:lnTo>
                  <a:lnTo>
                    <a:pt x="66" y="38"/>
                  </a:lnTo>
                  <a:lnTo>
                    <a:pt x="66" y="38"/>
                  </a:lnTo>
                  <a:lnTo>
                    <a:pt x="64" y="35"/>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339" name="Freeform 1958">
              <a:extLst>
                <a:ext uri="{FF2B5EF4-FFF2-40B4-BE49-F238E27FC236}">
                  <a16:creationId xmlns:a16="http://schemas.microsoft.com/office/drawing/2014/main" id="{167C2B89-AD96-954C-9C12-9AEB831A7C2F}"/>
                </a:ext>
              </a:extLst>
            </p:cNvPr>
            <p:cNvSpPr>
              <a:spLocks/>
            </p:cNvSpPr>
            <p:nvPr/>
          </p:nvSpPr>
          <p:spPr bwMode="auto">
            <a:xfrm>
              <a:off x="5975004" y="3663728"/>
              <a:ext cx="246997" cy="325512"/>
            </a:xfrm>
            <a:custGeom>
              <a:avLst/>
              <a:gdLst>
                <a:gd name="T0" fmla="*/ 143 w 151"/>
                <a:gd name="T1" fmla="*/ 3 h 199"/>
                <a:gd name="T2" fmla="*/ 135 w 151"/>
                <a:gd name="T3" fmla="*/ 3 h 199"/>
                <a:gd name="T4" fmla="*/ 125 w 151"/>
                <a:gd name="T5" fmla="*/ 0 h 199"/>
                <a:gd name="T6" fmla="*/ 110 w 151"/>
                <a:gd name="T7" fmla="*/ 5 h 199"/>
                <a:gd name="T8" fmla="*/ 107 w 151"/>
                <a:gd name="T9" fmla="*/ 15 h 199"/>
                <a:gd name="T10" fmla="*/ 102 w 151"/>
                <a:gd name="T11" fmla="*/ 33 h 199"/>
                <a:gd name="T12" fmla="*/ 100 w 151"/>
                <a:gd name="T13" fmla="*/ 41 h 199"/>
                <a:gd name="T14" fmla="*/ 97 w 151"/>
                <a:gd name="T15" fmla="*/ 43 h 199"/>
                <a:gd name="T16" fmla="*/ 82 w 151"/>
                <a:gd name="T17" fmla="*/ 38 h 199"/>
                <a:gd name="T18" fmla="*/ 74 w 151"/>
                <a:gd name="T19" fmla="*/ 38 h 199"/>
                <a:gd name="T20" fmla="*/ 72 w 151"/>
                <a:gd name="T21" fmla="*/ 36 h 199"/>
                <a:gd name="T22" fmla="*/ 49 w 151"/>
                <a:gd name="T23" fmla="*/ 36 h 199"/>
                <a:gd name="T24" fmla="*/ 41 w 151"/>
                <a:gd name="T25" fmla="*/ 48 h 199"/>
                <a:gd name="T26" fmla="*/ 44 w 151"/>
                <a:gd name="T27" fmla="*/ 56 h 199"/>
                <a:gd name="T28" fmla="*/ 61 w 151"/>
                <a:gd name="T29" fmla="*/ 53 h 199"/>
                <a:gd name="T30" fmla="*/ 66 w 151"/>
                <a:gd name="T31" fmla="*/ 64 h 199"/>
                <a:gd name="T32" fmla="*/ 61 w 151"/>
                <a:gd name="T33" fmla="*/ 71 h 199"/>
                <a:gd name="T34" fmla="*/ 54 w 151"/>
                <a:gd name="T35" fmla="*/ 79 h 199"/>
                <a:gd name="T36" fmla="*/ 59 w 151"/>
                <a:gd name="T37" fmla="*/ 92 h 199"/>
                <a:gd name="T38" fmla="*/ 66 w 151"/>
                <a:gd name="T39" fmla="*/ 99 h 199"/>
                <a:gd name="T40" fmla="*/ 66 w 151"/>
                <a:gd name="T41" fmla="*/ 120 h 199"/>
                <a:gd name="T42" fmla="*/ 64 w 151"/>
                <a:gd name="T43" fmla="*/ 127 h 199"/>
                <a:gd name="T44" fmla="*/ 61 w 151"/>
                <a:gd name="T45" fmla="*/ 137 h 199"/>
                <a:gd name="T46" fmla="*/ 54 w 151"/>
                <a:gd name="T47" fmla="*/ 140 h 199"/>
                <a:gd name="T48" fmla="*/ 51 w 151"/>
                <a:gd name="T49" fmla="*/ 135 h 199"/>
                <a:gd name="T50" fmla="*/ 36 w 151"/>
                <a:gd name="T51" fmla="*/ 132 h 199"/>
                <a:gd name="T52" fmla="*/ 26 w 151"/>
                <a:gd name="T53" fmla="*/ 127 h 199"/>
                <a:gd name="T54" fmla="*/ 26 w 151"/>
                <a:gd name="T55" fmla="*/ 132 h 199"/>
                <a:gd name="T56" fmla="*/ 15 w 151"/>
                <a:gd name="T57" fmla="*/ 137 h 199"/>
                <a:gd name="T58" fmla="*/ 8 w 151"/>
                <a:gd name="T59" fmla="*/ 143 h 199"/>
                <a:gd name="T60" fmla="*/ 10 w 151"/>
                <a:gd name="T61" fmla="*/ 150 h 199"/>
                <a:gd name="T62" fmla="*/ 13 w 151"/>
                <a:gd name="T63" fmla="*/ 158 h 199"/>
                <a:gd name="T64" fmla="*/ 13 w 151"/>
                <a:gd name="T65" fmla="*/ 165 h 199"/>
                <a:gd name="T66" fmla="*/ 10 w 151"/>
                <a:gd name="T67" fmla="*/ 168 h 199"/>
                <a:gd name="T68" fmla="*/ 0 w 151"/>
                <a:gd name="T69" fmla="*/ 171 h 199"/>
                <a:gd name="T70" fmla="*/ 13 w 151"/>
                <a:gd name="T71" fmla="*/ 191 h 199"/>
                <a:gd name="T72" fmla="*/ 18 w 151"/>
                <a:gd name="T73" fmla="*/ 199 h 199"/>
                <a:gd name="T74" fmla="*/ 26 w 151"/>
                <a:gd name="T75" fmla="*/ 191 h 199"/>
                <a:gd name="T76" fmla="*/ 33 w 151"/>
                <a:gd name="T77" fmla="*/ 186 h 199"/>
                <a:gd name="T78" fmla="*/ 41 w 151"/>
                <a:gd name="T79" fmla="*/ 188 h 199"/>
                <a:gd name="T80" fmla="*/ 46 w 151"/>
                <a:gd name="T81" fmla="*/ 193 h 199"/>
                <a:gd name="T82" fmla="*/ 51 w 151"/>
                <a:gd name="T83" fmla="*/ 188 h 199"/>
                <a:gd name="T84" fmla="*/ 56 w 151"/>
                <a:gd name="T85" fmla="*/ 186 h 199"/>
                <a:gd name="T86" fmla="*/ 64 w 151"/>
                <a:gd name="T87" fmla="*/ 181 h 199"/>
                <a:gd name="T88" fmla="*/ 66 w 151"/>
                <a:gd name="T89" fmla="*/ 191 h 199"/>
                <a:gd name="T90" fmla="*/ 69 w 151"/>
                <a:gd name="T91" fmla="*/ 193 h 199"/>
                <a:gd name="T92" fmla="*/ 82 w 151"/>
                <a:gd name="T93" fmla="*/ 181 h 199"/>
                <a:gd name="T94" fmla="*/ 94 w 151"/>
                <a:gd name="T95" fmla="*/ 173 h 199"/>
                <a:gd name="T96" fmla="*/ 102 w 151"/>
                <a:gd name="T97" fmla="*/ 135 h 199"/>
                <a:gd name="T98" fmla="*/ 112 w 151"/>
                <a:gd name="T99" fmla="*/ 115 h 199"/>
                <a:gd name="T100" fmla="*/ 128 w 151"/>
                <a:gd name="T101" fmla="*/ 102 h 199"/>
                <a:gd name="T102" fmla="*/ 135 w 151"/>
                <a:gd name="T103" fmla="*/ 64 h 199"/>
                <a:gd name="T104" fmla="*/ 143 w 151"/>
                <a:gd name="T105" fmla="*/ 28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1" h="199">
                  <a:moveTo>
                    <a:pt x="151" y="5"/>
                  </a:moveTo>
                  <a:lnTo>
                    <a:pt x="148" y="5"/>
                  </a:lnTo>
                  <a:lnTo>
                    <a:pt x="148" y="3"/>
                  </a:lnTo>
                  <a:lnTo>
                    <a:pt x="148" y="3"/>
                  </a:lnTo>
                  <a:lnTo>
                    <a:pt x="143" y="3"/>
                  </a:lnTo>
                  <a:lnTo>
                    <a:pt x="143" y="3"/>
                  </a:lnTo>
                  <a:lnTo>
                    <a:pt x="140" y="5"/>
                  </a:lnTo>
                  <a:lnTo>
                    <a:pt x="140" y="5"/>
                  </a:lnTo>
                  <a:lnTo>
                    <a:pt x="140" y="3"/>
                  </a:lnTo>
                  <a:lnTo>
                    <a:pt x="138" y="3"/>
                  </a:lnTo>
                  <a:lnTo>
                    <a:pt x="138" y="3"/>
                  </a:lnTo>
                  <a:lnTo>
                    <a:pt x="135" y="3"/>
                  </a:lnTo>
                  <a:lnTo>
                    <a:pt x="135" y="3"/>
                  </a:lnTo>
                  <a:lnTo>
                    <a:pt x="135" y="3"/>
                  </a:lnTo>
                  <a:lnTo>
                    <a:pt x="133" y="3"/>
                  </a:lnTo>
                  <a:lnTo>
                    <a:pt x="128" y="0"/>
                  </a:lnTo>
                  <a:lnTo>
                    <a:pt x="128" y="0"/>
                  </a:lnTo>
                  <a:lnTo>
                    <a:pt x="125" y="0"/>
                  </a:lnTo>
                  <a:lnTo>
                    <a:pt x="123" y="3"/>
                  </a:lnTo>
                  <a:lnTo>
                    <a:pt x="123" y="3"/>
                  </a:lnTo>
                  <a:lnTo>
                    <a:pt x="117" y="3"/>
                  </a:lnTo>
                  <a:lnTo>
                    <a:pt x="112" y="3"/>
                  </a:lnTo>
                  <a:lnTo>
                    <a:pt x="110" y="3"/>
                  </a:lnTo>
                  <a:lnTo>
                    <a:pt x="110" y="5"/>
                  </a:lnTo>
                  <a:lnTo>
                    <a:pt x="110" y="5"/>
                  </a:lnTo>
                  <a:lnTo>
                    <a:pt x="107" y="8"/>
                  </a:lnTo>
                  <a:lnTo>
                    <a:pt x="107" y="10"/>
                  </a:lnTo>
                  <a:lnTo>
                    <a:pt x="107" y="13"/>
                  </a:lnTo>
                  <a:lnTo>
                    <a:pt x="107" y="13"/>
                  </a:lnTo>
                  <a:lnTo>
                    <a:pt x="107" y="15"/>
                  </a:lnTo>
                  <a:lnTo>
                    <a:pt x="107" y="18"/>
                  </a:lnTo>
                  <a:lnTo>
                    <a:pt x="107" y="20"/>
                  </a:lnTo>
                  <a:lnTo>
                    <a:pt x="105" y="23"/>
                  </a:lnTo>
                  <a:lnTo>
                    <a:pt x="105" y="25"/>
                  </a:lnTo>
                  <a:lnTo>
                    <a:pt x="102" y="31"/>
                  </a:lnTo>
                  <a:lnTo>
                    <a:pt x="102" y="33"/>
                  </a:lnTo>
                  <a:lnTo>
                    <a:pt x="102" y="33"/>
                  </a:lnTo>
                  <a:lnTo>
                    <a:pt x="102" y="33"/>
                  </a:lnTo>
                  <a:lnTo>
                    <a:pt x="100" y="36"/>
                  </a:lnTo>
                  <a:lnTo>
                    <a:pt x="100" y="36"/>
                  </a:lnTo>
                  <a:lnTo>
                    <a:pt x="100" y="38"/>
                  </a:lnTo>
                  <a:lnTo>
                    <a:pt x="100" y="41"/>
                  </a:lnTo>
                  <a:lnTo>
                    <a:pt x="100" y="43"/>
                  </a:lnTo>
                  <a:lnTo>
                    <a:pt x="100" y="46"/>
                  </a:lnTo>
                  <a:lnTo>
                    <a:pt x="100" y="46"/>
                  </a:lnTo>
                  <a:lnTo>
                    <a:pt x="100" y="46"/>
                  </a:lnTo>
                  <a:lnTo>
                    <a:pt x="100" y="46"/>
                  </a:lnTo>
                  <a:lnTo>
                    <a:pt x="97" y="43"/>
                  </a:lnTo>
                  <a:lnTo>
                    <a:pt x="94" y="43"/>
                  </a:lnTo>
                  <a:lnTo>
                    <a:pt x="92" y="41"/>
                  </a:lnTo>
                  <a:lnTo>
                    <a:pt x="89" y="41"/>
                  </a:lnTo>
                  <a:lnTo>
                    <a:pt x="87" y="41"/>
                  </a:lnTo>
                  <a:lnTo>
                    <a:pt x="84" y="41"/>
                  </a:lnTo>
                  <a:lnTo>
                    <a:pt x="82" y="38"/>
                  </a:lnTo>
                  <a:lnTo>
                    <a:pt x="82" y="38"/>
                  </a:lnTo>
                  <a:lnTo>
                    <a:pt x="82" y="38"/>
                  </a:lnTo>
                  <a:lnTo>
                    <a:pt x="79" y="38"/>
                  </a:lnTo>
                  <a:lnTo>
                    <a:pt x="79" y="38"/>
                  </a:lnTo>
                  <a:lnTo>
                    <a:pt x="77" y="38"/>
                  </a:lnTo>
                  <a:lnTo>
                    <a:pt x="74" y="38"/>
                  </a:lnTo>
                  <a:lnTo>
                    <a:pt x="74" y="38"/>
                  </a:lnTo>
                  <a:lnTo>
                    <a:pt x="74" y="36"/>
                  </a:lnTo>
                  <a:lnTo>
                    <a:pt x="72" y="38"/>
                  </a:lnTo>
                  <a:lnTo>
                    <a:pt x="72" y="36"/>
                  </a:lnTo>
                  <a:lnTo>
                    <a:pt x="72" y="36"/>
                  </a:lnTo>
                  <a:lnTo>
                    <a:pt x="72" y="36"/>
                  </a:lnTo>
                  <a:lnTo>
                    <a:pt x="69" y="33"/>
                  </a:lnTo>
                  <a:lnTo>
                    <a:pt x="66" y="36"/>
                  </a:lnTo>
                  <a:lnTo>
                    <a:pt x="64" y="36"/>
                  </a:lnTo>
                  <a:lnTo>
                    <a:pt x="59" y="36"/>
                  </a:lnTo>
                  <a:lnTo>
                    <a:pt x="54" y="36"/>
                  </a:lnTo>
                  <a:lnTo>
                    <a:pt x="49" y="36"/>
                  </a:lnTo>
                  <a:lnTo>
                    <a:pt x="44" y="36"/>
                  </a:lnTo>
                  <a:lnTo>
                    <a:pt x="44" y="36"/>
                  </a:lnTo>
                  <a:lnTo>
                    <a:pt x="41" y="41"/>
                  </a:lnTo>
                  <a:lnTo>
                    <a:pt x="41" y="43"/>
                  </a:lnTo>
                  <a:lnTo>
                    <a:pt x="41" y="46"/>
                  </a:lnTo>
                  <a:lnTo>
                    <a:pt x="41" y="48"/>
                  </a:lnTo>
                  <a:lnTo>
                    <a:pt x="41" y="51"/>
                  </a:lnTo>
                  <a:lnTo>
                    <a:pt x="41" y="53"/>
                  </a:lnTo>
                  <a:lnTo>
                    <a:pt x="41" y="53"/>
                  </a:lnTo>
                  <a:lnTo>
                    <a:pt x="41" y="56"/>
                  </a:lnTo>
                  <a:lnTo>
                    <a:pt x="41" y="56"/>
                  </a:lnTo>
                  <a:lnTo>
                    <a:pt x="44" y="56"/>
                  </a:lnTo>
                  <a:lnTo>
                    <a:pt x="44" y="56"/>
                  </a:lnTo>
                  <a:lnTo>
                    <a:pt x="49" y="53"/>
                  </a:lnTo>
                  <a:lnTo>
                    <a:pt x="51" y="53"/>
                  </a:lnTo>
                  <a:lnTo>
                    <a:pt x="54" y="51"/>
                  </a:lnTo>
                  <a:lnTo>
                    <a:pt x="59" y="53"/>
                  </a:lnTo>
                  <a:lnTo>
                    <a:pt x="61" y="53"/>
                  </a:lnTo>
                  <a:lnTo>
                    <a:pt x="61" y="53"/>
                  </a:lnTo>
                  <a:lnTo>
                    <a:pt x="64" y="59"/>
                  </a:lnTo>
                  <a:lnTo>
                    <a:pt x="64" y="59"/>
                  </a:lnTo>
                  <a:lnTo>
                    <a:pt x="64" y="61"/>
                  </a:lnTo>
                  <a:lnTo>
                    <a:pt x="66" y="64"/>
                  </a:lnTo>
                  <a:lnTo>
                    <a:pt x="66" y="64"/>
                  </a:lnTo>
                  <a:lnTo>
                    <a:pt x="66" y="66"/>
                  </a:lnTo>
                  <a:lnTo>
                    <a:pt x="64" y="66"/>
                  </a:lnTo>
                  <a:lnTo>
                    <a:pt x="64" y="69"/>
                  </a:lnTo>
                  <a:lnTo>
                    <a:pt x="64" y="69"/>
                  </a:lnTo>
                  <a:lnTo>
                    <a:pt x="64" y="71"/>
                  </a:lnTo>
                  <a:lnTo>
                    <a:pt x="61" y="71"/>
                  </a:lnTo>
                  <a:lnTo>
                    <a:pt x="59" y="71"/>
                  </a:lnTo>
                  <a:lnTo>
                    <a:pt x="59" y="71"/>
                  </a:lnTo>
                  <a:lnTo>
                    <a:pt x="59" y="74"/>
                  </a:lnTo>
                  <a:lnTo>
                    <a:pt x="56" y="76"/>
                  </a:lnTo>
                  <a:lnTo>
                    <a:pt x="56" y="76"/>
                  </a:lnTo>
                  <a:lnTo>
                    <a:pt x="54" y="79"/>
                  </a:lnTo>
                  <a:lnTo>
                    <a:pt x="56" y="81"/>
                  </a:lnTo>
                  <a:lnTo>
                    <a:pt x="54" y="87"/>
                  </a:lnTo>
                  <a:lnTo>
                    <a:pt x="54" y="89"/>
                  </a:lnTo>
                  <a:lnTo>
                    <a:pt x="56" y="89"/>
                  </a:lnTo>
                  <a:lnTo>
                    <a:pt x="59" y="89"/>
                  </a:lnTo>
                  <a:lnTo>
                    <a:pt x="59" y="92"/>
                  </a:lnTo>
                  <a:lnTo>
                    <a:pt x="61" y="92"/>
                  </a:lnTo>
                  <a:lnTo>
                    <a:pt x="61" y="94"/>
                  </a:lnTo>
                  <a:lnTo>
                    <a:pt x="64" y="94"/>
                  </a:lnTo>
                  <a:lnTo>
                    <a:pt x="66" y="97"/>
                  </a:lnTo>
                  <a:lnTo>
                    <a:pt x="66" y="97"/>
                  </a:lnTo>
                  <a:lnTo>
                    <a:pt x="66" y="99"/>
                  </a:lnTo>
                  <a:lnTo>
                    <a:pt x="66" y="102"/>
                  </a:lnTo>
                  <a:lnTo>
                    <a:pt x="66" y="107"/>
                  </a:lnTo>
                  <a:lnTo>
                    <a:pt x="66" y="109"/>
                  </a:lnTo>
                  <a:lnTo>
                    <a:pt x="66" y="112"/>
                  </a:lnTo>
                  <a:lnTo>
                    <a:pt x="66" y="117"/>
                  </a:lnTo>
                  <a:lnTo>
                    <a:pt x="66" y="120"/>
                  </a:lnTo>
                  <a:lnTo>
                    <a:pt x="66" y="120"/>
                  </a:lnTo>
                  <a:lnTo>
                    <a:pt x="66" y="122"/>
                  </a:lnTo>
                  <a:lnTo>
                    <a:pt x="66" y="122"/>
                  </a:lnTo>
                  <a:lnTo>
                    <a:pt x="64" y="127"/>
                  </a:lnTo>
                  <a:lnTo>
                    <a:pt x="64" y="127"/>
                  </a:lnTo>
                  <a:lnTo>
                    <a:pt x="64" y="127"/>
                  </a:lnTo>
                  <a:lnTo>
                    <a:pt x="61" y="130"/>
                  </a:lnTo>
                  <a:lnTo>
                    <a:pt x="61" y="132"/>
                  </a:lnTo>
                  <a:lnTo>
                    <a:pt x="61" y="132"/>
                  </a:lnTo>
                  <a:lnTo>
                    <a:pt x="61" y="135"/>
                  </a:lnTo>
                  <a:lnTo>
                    <a:pt x="61" y="135"/>
                  </a:lnTo>
                  <a:lnTo>
                    <a:pt x="61" y="137"/>
                  </a:lnTo>
                  <a:lnTo>
                    <a:pt x="61" y="137"/>
                  </a:lnTo>
                  <a:lnTo>
                    <a:pt x="59" y="140"/>
                  </a:lnTo>
                  <a:lnTo>
                    <a:pt x="59" y="140"/>
                  </a:lnTo>
                  <a:lnTo>
                    <a:pt x="56" y="140"/>
                  </a:lnTo>
                  <a:lnTo>
                    <a:pt x="54" y="140"/>
                  </a:lnTo>
                  <a:lnTo>
                    <a:pt x="54" y="140"/>
                  </a:lnTo>
                  <a:lnTo>
                    <a:pt x="54" y="137"/>
                  </a:lnTo>
                  <a:lnTo>
                    <a:pt x="54" y="137"/>
                  </a:lnTo>
                  <a:lnTo>
                    <a:pt x="54" y="135"/>
                  </a:lnTo>
                  <a:lnTo>
                    <a:pt x="54" y="132"/>
                  </a:lnTo>
                  <a:lnTo>
                    <a:pt x="51" y="132"/>
                  </a:lnTo>
                  <a:lnTo>
                    <a:pt x="51" y="135"/>
                  </a:lnTo>
                  <a:lnTo>
                    <a:pt x="49" y="135"/>
                  </a:lnTo>
                  <a:lnTo>
                    <a:pt x="46" y="137"/>
                  </a:lnTo>
                  <a:lnTo>
                    <a:pt x="44" y="137"/>
                  </a:lnTo>
                  <a:lnTo>
                    <a:pt x="41" y="137"/>
                  </a:lnTo>
                  <a:lnTo>
                    <a:pt x="36" y="137"/>
                  </a:lnTo>
                  <a:lnTo>
                    <a:pt x="36" y="132"/>
                  </a:lnTo>
                  <a:lnTo>
                    <a:pt x="33" y="130"/>
                  </a:lnTo>
                  <a:lnTo>
                    <a:pt x="33" y="127"/>
                  </a:lnTo>
                  <a:lnTo>
                    <a:pt x="31" y="127"/>
                  </a:lnTo>
                  <a:lnTo>
                    <a:pt x="31" y="125"/>
                  </a:lnTo>
                  <a:lnTo>
                    <a:pt x="28" y="125"/>
                  </a:lnTo>
                  <a:lnTo>
                    <a:pt x="26" y="127"/>
                  </a:lnTo>
                  <a:lnTo>
                    <a:pt x="26" y="127"/>
                  </a:lnTo>
                  <a:lnTo>
                    <a:pt x="26" y="130"/>
                  </a:lnTo>
                  <a:lnTo>
                    <a:pt x="26" y="130"/>
                  </a:lnTo>
                  <a:lnTo>
                    <a:pt x="26" y="132"/>
                  </a:lnTo>
                  <a:lnTo>
                    <a:pt x="26" y="132"/>
                  </a:lnTo>
                  <a:lnTo>
                    <a:pt x="26" y="132"/>
                  </a:lnTo>
                  <a:lnTo>
                    <a:pt x="26" y="135"/>
                  </a:lnTo>
                  <a:lnTo>
                    <a:pt x="26" y="137"/>
                  </a:lnTo>
                  <a:lnTo>
                    <a:pt x="18" y="140"/>
                  </a:lnTo>
                  <a:lnTo>
                    <a:pt x="18" y="137"/>
                  </a:lnTo>
                  <a:lnTo>
                    <a:pt x="15" y="137"/>
                  </a:lnTo>
                  <a:lnTo>
                    <a:pt x="15" y="137"/>
                  </a:lnTo>
                  <a:lnTo>
                    <a:pt x="10" y="137"/>
                  </a:lnTo>
                  <a:lnTo>
                    <a:pt x="10" y="137"/>
                  </a:lnTo>
                  <a:lnTo>
                    <a:pt x="8" y="137"/>
                  </a:lnTo>
                  <a:lnTo>
                    <a:pt x="8" y="137"/>
                  </a:lnTo>
                  <a:lnTo>
                    <a:pt x="8" y="137"/>
                  </a:lnTo>
                  <a:lnTo>
                    <a:pt x="8" y="143"/>
                  </a:lnTo>
                  <a:lnTo>
                    <a:pt x="8" y="145"/>
                  </a:lnTo>
                  <a:lnTo>
                    <a:pt x="8" y="148"/>
                  </a:lnTo>
                  <a:lnTo>
                    <a:pt x="8" y="148"/>
                  </a:lnTo>
                  <a:lnTo>
                    <a:pt x="10" y="150"/>
                  </a:lnTo>
                  <a:lnTo>
                    <a:pt x="10" y="150"/>
                  </a:lnTo>
                  <a:lnTo>
                    <a:pt x="10" y="150"/>
                  </a:lnTo>
                  <a:lnTo>
                    <a:pt x="13" y="153"/>
                  </a:lnTo>
                  <a:lnTo>
                    <a:pt x="13" y="153"/>
                  </a:lnTo>
                  <a:lnTo>
                    <a:pt x="10" y="153"/>
                  </a:lnTo>
                  <a:lnTo>
                    <a:pt x="10" y="155"/>
                  </a:lnTo>
                  <a:lnTo>
                    <a:pt x="10" y="155"/>
                  </a:lnTo>
                  <a:lnTo>
                    <a:pt x="13" y="158"/>
                  </a:lnTo>
                  <a:lnTo>
                    <a:pt x="15" y="158"/>
                  </a:lnTo>
                  <a:lnTo>
                    <a:pt x="15" y="160"/>
                  </a:lnTo>
                  <a:lnTo>
                    <a:pt x="15" y="160"/>
                  </a:lnTo>
                  <a:lnTo>
                    <a:pt x="15" y="163"/>
                  </a:lnTo>
                  <a:lnTo>
                    <a:pt x="15" y="163"/>
                  </a:lnTo>
                  <a:lnTo>
                    <a:pt x="13" y="165"/>
                  </a:lnTo>
                  <a:lnTo>
                    <a:pt x="13" y="165"/>
                  </a:lnTo>
                  <a:lnTo>
                    <a:pt x="15" y="165"/>
                  </a:lnTo>
                  <a:lnTo>
                    <a:pt x="15" y="168"/>
                  </a:lnTo>
                  <a:lnTo>
                    <a:pt x="13" y="168"/>
                  </a:lnTo>
                  <a:lnTo>
                    <a:pt x="13" y="168"/>
                  </a:lnTo>
                  <a:lnTo>
                    <a:pt x="10" y="168"/>
                  </a:lnTo>
                  <a:lnTo>
                    <a:pt x="10" y="168"/>
                  </a:lnTo>
                  <a:lnTo>
                    <a:pt x="8" y="165"/>
                  </a:lnTo>
                  <a:lnTo>
                    <a:pt x="8" y="163"/>
                  </a:lnTo>
                  <a:lnTo>
                    <a:pt x="3" y="168"/>
                  </a:lnTo>
                  <a:lnTo>
                    <a:pt x="3" y="168"/>
                  </a:lnTo>
                  <a:lnTo>
                    <a:pt x="0" y="171"/>
                  </a:lnTo>
                  <a:lnTo>
                    <a:pt x="0" y="173"/>
                  </a:lnTo>
                  <a:lnTo>
                    <a:pt x="5" y="178"/>
                  </a:lnTo>
                  <a:lnTo>
                    <a:pt x="5" y="181"/>
                  </a:lnTo>
                  <a:lnTo>
                    <a:pt x="10" y="186"/>
                  </a:lnTo>
                  <a:lnTo>
                    <a:pt x="13" y="188"/>
                  </a:lnTo>
                  <a:lnTo>
                    <a:pt x="13" y="191"/>
                  </a:lnTo>
                  <a:lnTo>
                    <a:pt x="13" y="191"/>
                  </a:lnTo>
                  <a:lnTo>
                    <a:pt x="13" y="191"/>
                  </a:lnTo>
                  <a:lnTo>
                    <a:pt x="15" y="193"/>
                  </a:lnTo>
                  <a:lnTo>
                    <a:pt x="15" y="196"/>
                  </a:lnTo>
                  <a:lnTo>
                    <a:pt x="18" y="199"/>
                  </a:lnTo>
                  <a:lnTo>
                    <a:pt x="18" y="199"/>
                  </a:lnTo>
                  <a:lnTo>
                    <a:pt x="18" y="196"/>
                  </a:lnTo>
                  <a:lnTo>
                    <a:pt x="21" y="193"/>
                  </a:lnTo>
                  <a:lnTo>
                    <a:pt x="21" y="193"/>
                  </a:lnTo>
                  <a:lnTo>
                    <a:pt x="23" y="193"/>
                  </a:lnTo>
                  <a:lnTo>
                    <a:pt x="23" y="191"/>
                  </a:lnTo>
                  <a:lnTo>
                    <a:pt x="26" y="191"/>
                  </a:lnTo>
                  <a:lnTo>
                    <a:pt x="26" y="188"/>
                  </a:lnTo>
                  <a:lnTo>
                    <a:pt x="28" y="188"/>
                  </a:lnTo>
                  <a:lnTo>
                    <a:pt x="31" y="186"/>
                  </a:lnTo>
                  <a:lnTo>
                    <a:pt x="31" y="186"/>
                  </a:lnTo>
                  <a:lnTo>
                    <a:pt x="33" y="186"/>
                  </a:lnTo>
                  <a:lnTo>
                    <a:pt x="33" y="186"/>
                  </a:lnTo>
                  <a:lnTo>
                    <a:pt x="36" y="186"/>
                  </a:lnTo>
                  <a:lnTo>
                    <a:pt x="36" y="188"/>
                  </a:lnTo>
                  <a:lnTo>
                    <a:pt x="38" y="188"/>
                  </a:lnTo>
                  <a:lnTo>
                    <a:pt x="38" y="188"/>
                  </a:lnTo>
                  <a:lnTo>
                    <a:pt x="38" y="188"/>
                  </a:lnTo>
                  <a:lnTo>
                    <a:pt x="41" y="188"/>
                  </a:lnTo>
                  <a:lnTo>
                    <a:pt x="41" y="188"/>
                  </a:lnTo>
                  <a:lnTo>
                    <a:pt x="41" y="191"/>
                  </a:lnTo>
                  <a:lnTo>
                    <a:pt x="41" y="191"/>
                  </a:lnTo>
                  <a:lnTo>
                    <a:pt x="44" y="193"/>
                  </a:lnTo>
                  <a:lnTo>
                    <a:pt x="44" y="193"/>
                  </a:lnTo>
                  <a:lnTo>
                    <a:pt x="46" y="193"/>
                  </a:lnTo>
                  <a:lnTo>
                    <a:pt x="46" y="193"/>
                  </a:lnTo>
                  <a:lnTo>
                    <a:pt x="49" y="191"/>
                  </a:lnTo>
                  <a:lnTo>
                    <a:pt x="51" y="191"/>
                  </a:lnTo>
                  <a:lnTo>
                    <a:pt x="51" y="191"/>
                  </a:lnTo>
                  <a:lnTo>
                    <a:pt x="51" y="188"/>
                  </a:lnTo>
                  <a:lnTo>
                    <a:pt x="51" y="188"/>
                  </a:lnTo>
                  <a:lnTo>
                    <a:pt x="51" y="186"/>
                  </a:lnTo>
                  <a:lnTo>
                    <a:pt x="51" y="186"/>
                  </a:lnTo>
                  <a:lnTo>
                    <a:pt x="54" y="186"/>
                  </a:lnTo>
                  <a:lnTo>
                    <a:pt x="54" y="186"/>
                  </a:lnTo>
                  <a:lnTo>
                    <a:pt x="54" y="186"/>
                  </a:lnTo>
                  <a:lnTo>
                    <a:pt x="56" y="186"/>
                  </a:lnTo>
                  <a:lnTo>
                    <a:pt x="56" y="186"/>
                  </a:lnTo>
                  <a:lnTo>
                    <a:pt x="59" y="183"/>
                  </a:lnTo>
                  <a:lnTo>
                    <a:pt x="59" y="183"/>
                  </a:lnTo>
                  <a:lnTo>
                    <a:pt x="61" y="183"/>
                  </a:lnTo>
                  <a:lnTo>
                    <a:pt x="64" y="181"/>
                  </a:lnTo>
                  <a:lnTo>
                    <a:pt x="64" y="181"/>
                  </a:lnTo>
                  <a:lnTo>
                    <a:pt x="66" y="183"/>
                  </a:lnTo>
                  <a:lnTo>
                    <a:pt x="66" y="183"/>
                  </a:lnTo>
                  <a:lnTo>
                    <a:pt x="66" y="186"/>
                  </a:lnTo>
                  <a:lnTo>
                    <a:pt x="66" y="186"/>
                  </a:lnTo>
                  <a:lnTo>
                    <a:pt x="64" y="188"/>
                  </a:lnTo>
                  <a:lnTo>
                    <a:pt x="66" y="191"/>
                  </a:lnTo>
                  <a:lnTo>
                    <a:pt x="66" y="193"/>
                  </a:lnTo>
                  <a:lnTo>
                    <a:pt x="66" y="193"/>
                  </a:lnTo>
                  <a:lnTo>
                    <a:pt x="66" y="193"/>
                  </a:lnTo>
                  <a:lnTo>
                    <a:pt x="66" y="193"/>
                  </a:lnTo>
                  <a:lnTo>
                    <a:pt x="66" y="193"/>
                  </a:lnTo>
                  <a:lnTo>
                    <a:pt x="69" y="193"/>
                  </a:lnTo>
                  <a:lnTo>
                    <a:pt x="69" y="196"/>
                  </a:lnTo>
                  <a:lnTo>
                    <a:pt x="72" y="196"/>
                  </a:lnTo>
                  <a:lnTo>
                    <a:pt x="72" y="193"/>
                  </a:lnTo>
                  <a:lnTo>
                    <a:pt x="77" y="191"/>
                  </a:lnTo>
                  <a:lnTo>
                    <a:pt x="79" y="186"/>
                  </a:lnTo>
                  <a:lnTo>
                    <a:pt x="82" y="181"/>
                  </a:lnTo>
                  <a:lnTo>
                    <a:pt x="84" y="181"/>
                  </a:lnTo>
                  <a:lnTo>
                    <a:pt x="87" y="178"/>
                  </a:lnTo>
                  <a:lnTo>
                    <a:pt x="87" y="178"/>
                  </a:lnTo>
                  <a:lnTo>
                    <a:pt x="89" y="176"/>
                  </a:lnTo>
                  <a:lnTo>
                    <a:pt x="92" y="176"/>
                  </a:lnTo>
                  <a:lnTo>
                    <a:pt x="94" y="173"/>
                  </a:lnTo>
                  <a:lnTo>
                    <a:pt x="97" y="171"/>
                  </a:lnTo>
                  <a:lnTo>
                    <a:pt x="100" y="163"/>
                  </a:lnTo>
                  <a:lnTo>
                    <a:pt x="102" y="158"/>
                  </a:lnTo>
                  <a:lnTo>
                    <a:pt x="102" y="153"/>
                  </a:lnTo>
                  <a:lnTo>
                    <a:pt x="102" y="140"/>
                  </a:lnTo>
                  <a:lnTo>
                    <a:pt x="102" y="135"/>
                  </a:lnTo>
                  <a:lnTo>
                    <a:pt x="102" y="132"/>
                  </a:lnTo>
                  <a:lnTo>
                    <a:pt x="102" y="132"/>
                  </a:lnTo>
                  <a:lnTo>
                    <a:pt x="107" y="130"/>
                  </a:lnTo>
                  <a:lnTo>
                    <a:pt x="107" y="125"/>
                  </a:lnTo>
                  <a:lnTo>
                    <a:pt x="110" y="122"/>
                  </a:lnTo>
                  <a:lnTo>
                    <a:pt x="112" y="115"/>
                  </a:lnTo>
                  <a:lnTo>
                    <a:pt x="115" y="112"/>
                  </a:lnTo>
                  <a:lnTo>
                    <a:pt x="115" y="112"/>
                  </a:lnTo>
                  <a:lnTo>
                    <a:pt x="117" y="109"/>
                  </a:lnTo>
                  <a:lnTo>
                    <a:pt x="120" y="109"/>
                  </a:lnTo>
                  <a:lnTo>
                    <a:pt x="123" y="107"/>
                  </a:lnTo>
                  <a:lnTo>
                    <a:pt x="128" y="102"/>
                  </a:lnTo>
                  <a:lnTo>
                    <a:pt x="133" y="97"/>
                  </a:lnTo>
                  <a:lnTo>
                    <a:pt x="133" y="92"/>
                  </a:lnTo>
                  <a:lnTo>
                    <a:pt x="133" y="84"/>
                  </a:lnTo>
                  <a:lnTo>
                    <a:pt x="135" y="79"/>
                  </a:lnTo>
                  <a:lnTo>
                    <a:pt x="135" y="71"/>
                  </a:lnTo>
                  <a:lnTo>
                    <a:pt x="135" y="64"/>
                  </a:lnTo>
                  <a:lnTo>
                    <a:pt x="135" y="59"/>
                  </a:lnTo>
                  <a:lnTo>
                    <a:pt x="138" y="51"/>
                  </a:lnTo>
                  <a:lnTo>
                    <a:pt x="138" y="48"/>
                  </a:lnTo>
                  <a:lnTo>
                    <a:pt x="140" y="46"/>
                  </a:lnTo>
                  <a:lnTo>
                    <a:pt x="138" y="38"/>
                  </a:lnTo>
                  <a:lnTo>
                    <a:pt x="143" y="28"/>
                  </a:lnTo>
                  <a:lnTo>
                    <a:pt x="145" y="23"/>
                  </a:lnTo>
                  <a:lnTo>
                    <a:pt x="148" y="18"/>
                  </a:lnTo>
                  <a:lnTo>
                    <a:pt x="148" y="13"/>
                  </a:lnTo>
                  <a:lnTo>
                    <a:pt x="151" y="10"/>
                  </a:lnTo>
                  <a:lnTo>
                    <a:pt x="151" y="5"/>
                  </a:lnTo>
                  <a:close/>
                </a:path>
              </a:pathLst>
            </a:custGeom>
            <a:solidFill>
              <a:srgbClr val="FFC000"/>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340" name="Freeform 1959">
              <a:extLst>
                <a:ext uri="{FF2B5EF4-FFF2-40B4-BE49-F238E27FC236}">
                  <a16:creationId xmlns:a16="http://schemas.microsoft.com/office/drawing/2014/main" id="{D63DE530-6DD3-B64A-BA13-6420C2013581}"/>
                </a:ext>
              </a:extLst>
            </p:cNvPr>
            <p:cNvSpPr>
              <a:spLocks noEditPoints="1"/>
            </p:cNvSpPr>
            <p:nvPr/>
          </p:nvSpPr>
          <p:spPr bwMode="auto">
            <a:xfrm>
              <a:off x="7021876" y="4226421"/>
              <a:ext cx="40894" cy="32715"/>
            </a:xfrm>
            <a:custGeom>
              <a:avLst/>
              <a:gdLst>
                <a:gd name="T0" fmla="*/ 10 w 25"/>
                <a:gd name="T1" fmla="*/ 17 h 20"/>
                <a:gd name="T2" fmla="*/ 8 w 25"/>
                <a:gd name="T3" fmla="*/ 17 h 20"/>
                <a:gd name="T4" fmla="*/ 8 w 25"/>
                <a:gd name="T5" fmla="*/ 20 h 20"/>
                <a:gd name="T6" fmla="*/ 10 w 25"/>
                <a:gd name="T7" fmla="*/ 20 h 20"/>
                <a:gd name="T8" fmla="*/ 13 w 25"/>
                <a:gd name="T9" fmla="*/ 20 h 20"/>
                <a:gd name="T10" fmla="*/ 13 w 25"/>
                <a:gd name="T11" fmla="*/ 20 h 20"/>
                <a:gd name="T12" fmla="*/ 10 w 25"/>
                <a:gd name="T13" fmla="*/ 17 h 20"/>
                <a:gd name="T14" fmla="*/ 5 w 25"/>
                <a:gd name="T15" fmla="*/ 5 h 20"/>
                <a:gd name="T16" fmla="*/ 5 w 25"/>
                <a:gd name="T17" fmla="*/ 0 h 20"/>
                <a:gd name="T18" fmla="*/ 2 w 25"/>
                <a:gd name="T19" fmla="*/ 0 h 20"/>
                <a:gd name="T20" fmla="*/ 2 w 25"/>
                <a:gd name="T21" fmla="*/ 0 h 20"/>
                <a:gd name="T22" fmla="*/ 2 w 25"/>
                <a:gd name="T23" fmla="*/ 0 h 20"/>
                <a:gd name="T24" fmla="*/ 2 w 25"/>
                <a:gd name="T25" fmla="*/ 0 h 20"/>
                <a:gd name="T26" fmla="*/ 0 w 25"/>
                <a:gd name="T27" fmla="*/ 7 h 20"/>
                <a:gd name="T28" fmla="*/ 2 w 25"/>
                <a:gd name="T29" fmla="*/ 10 h 20"/>
                <a:gd name="T30" fmla="*/ 2 w 25"/>
                <a:gd name="T31" fmla="*/ 10 h 20"/>
                <a:gd name="T32" fmla="*/ 5 w 25"/>
                <a:gd name="T33" fmla="*/ 10 h 20"/>
                <a:gd name="T34" fmla="*/ 5 w 25"/>
                <a:gd name="T35" fmla="*/ 10 h 20"/>
                <a:gd name="T36" fmla="*/ 5 w 25"/>
                <a:gd name="T37" fmla="*/ 10 h 20"/>
                <a:gd name="T38" fmla="*/ 5 w 25"/>
                <a:gd name="T39" fmla="*/ 7 h 20"/>
                <a:gd name="T40" fmla="*/ 5 w 25"/>
                <a:gd name="T41" fmla="*/ 5 h 20"/>
                <a:gd name="T42" fmla="*/ 25 w 25"/>
                <a:gd name="T43" fmla="*/ 15 h 20"/>
                <a:gd name="T44" fmla="*/ 25 w 25"/>
                <a:gd name="T45" fmla="*/ 15 h 20"/>
                <a:gd name="T46" fmla="*/ 25 w 25"/>
                <a:gd name="T47" fmla="*/ 15 h 20"/>
                <a:gd name="T48" fmla="*/ 25 w 25"/>
                <a:gd name="T49" fmla="*/ 15 h 20"/>
                <a:gd name="T50" fmla="*/ 23 w 25"/>
                <a:gd name="T51" fmla="*/ 17 h 20"/>
                <a:gd name="T52" fmla="*/ 23 w 25"/>
                <a:gd name="T53" fmla="*/ 17 h 20"/>
                <a:gd name="T54" fmla="*/ 23 w 25"/>
                <a:gd name="T55" fmla="*/ 17 h 20"/>
                <a:gd name="T56" fmla="*/ 20 w 25"/>
                <a:gd name="T57" fmla="*/ 17 h 20"/>
                <a:gd name="T58" fmla="*/ 23 w 25"/>
                <a:gd name="T59" fmla="*/ 17 h 20"/>
                <a:gd name="T60" fmla="*/ 25 w 25"/>
                <a:gd name="T61" fmla="*/ 20 h 20"/>
                <a:gd name="T62" fmla="*/ 25 w 25"/>
                <a:gd name="T63" fmla="*/ 20 h 20"/>
                <a:gd name="T64" fmla="*/ 25 w 25"/>
                <a:gd name="T65" fmla="*/ 20 h 20"/>
                <a:gd name="T66" fmla="*/ 25 w 25"/>
                <a:gd name="T67" fmla="*/ 17 h 20"/>
                <a:gd name="T68" fmla="*/ 25 w 25"/>
                <a:gd name="T69" fmla="*/ 15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 h="20">
                  <a:moveTo>
                    <a:pt x="10" y="17"/>
                  </a:moveTo>
                  <a:lnTo>
                    <a:pt x="8" y="17"/>
                  </a:lnTo>
                  <a:lnTo>
                    <a:pt x="8" y="20"/>
                  </a:lnTo>
                  <a:lnTo>
                    <a:pt x="10" y="20"/>
                  </a:lnTo>
                  <a:lnTo>
                    <a:pt x="13" y="20"/>
                  </a:lnTo>
                  <a:lnTo>
                    <a:pt x="13" y="20"/>
                  </a:lnTo>
                  <a:lnTo>
                    <a:pt x="10" y="17"/>
                  </a:lnTo>
                  <a:close/>
                  <a:moveTo>
                    <a:pt x="5" y="5"/>
                  </a:moveTo>
                  <a:lnTo>
                    <a:pt x="5" y="0"/>
                  </a:lnTo>
                  <a:lnTo>
                    <a:pt x="2" y="0"/>
                  </a:lnTo>
                  <a:lnTo>
                    <a:pt x="2" y="0"/>
                  </a:lnTo>
                  <a:lnTo>
                    <a:pt x="2" y="0"/>
                  </a:lnTo>
                  <a:lnTo>
                    <a:pt x="2" y="0"/>
                  </a:lnTo>
                  <a:lnTo>
                    <a:pt x="0" y="7"/>
                  </a:lnTo>
                  <a:lnTo>
                    <a:pt x="2" y="10"/>
                  </a:lnTo>
                  <a:lnTo>
                    <a:pt x="2" y="10"/>
                  </a:lnTo>
                  <a:lnTo>
                    <a:pt x="5" y="10"/>
                  </a:lnTo>
                  <a:lnTo>
                    <a:pt x="5" y="10"/>
                  </a:lnTo>
                  <a:lnTo>
                    <a:pt x="5" y="10"/>
                  </a:lnTo>
                  <a:lnTo>
                    <a:pt x="5" y="7"/>
                  </a:lnTo>
                  <a:lnTo>
                    <a:pt x="5" y="5"/>
                  </a:lnTo>
                  <a:close/>
                  <a:moveTo>
                    <a:pt x="25" y="15"/>
                  </a:moveTo>
                  <a:lnTo>
                    <a:pt x="25" y="15"/>
                  </a:lnTo>
                  <a:lnTo>
                    <a:pt x="25" y="15"/>
                  </a:lnTo>
                  <a:lnTo>
                    <a:pt x="25" y="15"/>
                  </a:lnTo>
                  <a:lnTo>
                    <a:pt x="23" y="17"/>
                  </a:lnTo>
                  <a:lnTo>
                    <a:pt x="23" y="17"/>
                  </a:lnTo>
                  <a:lnTo>
                    <a:pt x="23" y="17"/>
                  </a:lnTo>
                  <a:lnTo>
                    <a:pt x="20" y="17"/>
                  </a:lnTo>
                  <a:lnTo>
                    <a:pt x="23" y="17"/>
                  </a:lnTo>
                  <a:lnTo>
                    <a:pt x="25" y="20"/>
                  </a:lnTo>
                  <a:lnTo>
                    <a:pt x="25" y="20"/>
                  </a:lnTo>
                  <a:lnTo>
                    <a:pt x="25" y="20"/>
                  </a:lnTo>
                  <a:lnTo>
                    <a:pt x="25" y="17"/>
                  </a:lnTo>
                  <a:lnTo>
                    <a:pt x="25" y="15"/>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341" name="Freeform 1960">
              <a:extLst>
                <a:ext uri="{FF2B5EF4-FFF2-40B4-BE49-F238E27FC236}">
                  <a16:creationId xmlns:a16="http://schemas.microsoft.com/office/drawing/2014/main" id="{19A4E7E4-A0F4-1745-A4F0-728BAF8E2AE3}"/>
                </a:ext>
              </a:extLst>
            </p:cNvPr>
            <p:cNvSpPr>
              <a:spLocks noEditPoints="1"/>
            </p:cNvSpPr>
            <p:nvPr/>
          </p:nvSpPr>
          <p:spPr bwMode="auto">
            <a:xfrm>
              <a:off x="3011049" y="3339852"/>
              <a:ext cx="395848" cy="619945"/>
            </a:xfrm>
            <a:custGeom>
              <a:avLst/>
              <a:gdLst>
                <a:gd name="T0" fmla="*/ 242 w 242"/>
                <a:gd name="T1" fmla="*/ 251 h 379"/>
                <a:gd name="T2" fmla="*/ 237 w 242"/>
                <a:gd name="T3" fmla="*/ 234 h 379"/>
                <a:gd name="T4" fmla="*/ 230 w 242"/>
                <a:gd name="T5" fmla="*/ 218 h 379"/>
                <a:gd name="T6" fmla="*/ 235 w 242"/>
                <a:gd name="T7" fmla="*/ 206 h 379"/>
                <a:gd name="T8" fmla="*/ 227 w 242"/>
                <a:gd name="T9" fmla="*/ 183 h 379"/>
                <a:gd name="T10" fmla="*/ 230 w 242"/>
                <a:gd name="T11" fmla="*/ 152 h 379"/>
                <a:gd name="T12" fmla="*/ 222 w 242"/>
                <a:gd name="T13" fmla="*/ 142 h 379"/>
                <a:gd name="T14" fmla="*/ 194 w 242"/>
                <a:gd name="T15" fmla="*/ 142 h 379"/>
                <a:gd name="T16" fmla="*/ 173 w 242"/>
                <a:gd name="T17" fmla="*/ 122 h 379"/>
                <a:gd name="T18" fmla="*/ 145 w 242"/>
                <a:gd name="T19" fmla="*/ 124 h 379"/>
                <a:gd name="T20" fmla="*/ 135 w 242"/>
                <a:gd name="T21" fmla="*/ 106 h 379"/>
                <a:gd name="T22" fmla="*/ 133 w 242"/>
                <a:gd name="T23" fmla="*/ 81 h 379"/>
                <a:gd name="T24" fmla="*/ 120 w 242"/>
                <a:gd name="T25" fmla="*/ 73 h 379"/>
                <a:gd name="T26" fmla="*/ 135 w 242"/>
                <a:gd name="T27" fmla="*/ 38 h 379"/>
                <a:gd name="T28" fmla="*/ 163 w 242"/>
                <a:gd name="T29" fmla="*/ 12 h 379"/>
                <a:gd name="T30" fmla="*/ 153 w 242"/>
                <a:gd name="T31" fmla="*/ 2 h 379"/>
                <a:gd name="T32" fmla="*/ 117 w 242"/>
                <a:gd name="T33" fmla="*/ 25 h 379"/>
                <a:gd name="T34" fmla="*/ 100 w 242"/>
                <a:gd name="T35" fmla="*/ 38 h 379"/>
                <a:gd name="T36" fmla="*/ 84 w 242"/>
                <a:gd name="T37" fmla="*/ 38 h 379"/>
                <a:gd name="T38" fmla="*/ 77 w 242"/>
                <a:gd name="T39" fmla="*/ 53 h 379"/>
                <a:gd name="T40" fmla="*/ 64 w 242"/>
                <a:gd name="T41" fmla="*/ 71 h 379"/>
                <a:gd name="T42" fmla="*/ 49 w 242"/>
                <a:gd name="T43" fmla="*/ 101 h 379"/>
                <a:gd name="T44" fmla="*/ 44 w 242"/>
                <a:gd name="T45" fmla="*/ 91 h 379"/>
                <a:gd name="T46" fmla="*/ 41 w 242"/>
                <a:gd name="T47" fmla="*/ 96 h 379"/>
                <a:gd name="T48" fmla="*/ 33 w 242"/>
                <a:gd name="T49" fmla="*/ 109 h 379"/>
                <a:gd name="T50" fmla="*/ 26 w 242"/>
                <a:gd name="T51" fmla="*/ 117 h 379"/>
                <a:gd name="T52" fmla="*/ 33 w 242"/>
                <a:gd name="T53" fmla="*/ 140 h 379"/>
                <a:gd name="T54" fmla="*/ 36 w 242"/>
                <a:gd name="T55" fmla="*/ 167 h 379"/>
                <a:gd name="T56" fmla="*/ 31 w 242"/>
                <a:gd name="T57" fmla="*/ 185 h 379"/>
                <a:gd name="T58" fmla="*/ 38 w 242"/>
                <a:gd name="T59" fmla="*/ 195 h 379"/>
                <a:gd name="T60" fmla="*/ 28 w 242"/>
                <a:gd name="T61" fmla="*/ 213 h 379"/>
                <a:gd name="T62" fmla="*/ 21 w 242"/>
                <a:gd name="T63" fmla="*/ 223 h 379"/>
                <a:gd name="T64" fmla="*/ 8 w 242"/>
                <a:gd name="T65" fmla="*/ 229 h 379"/>
                <a:gd name="T66" fmla="*/ 3 w 242"/>
                <a:gd name="T67" fmla="*/ 249 h 379"/>
                <a:gd name="T68" fmla="*/ 26 w 242"/>
                <a:gd name="T69" fmla="*/ 264 h 379"/>
                <a:gd name="T70" fmla="*/ 38 w 242"/>
                <a:gd name="T71" fmla="*/ 274 h 379"/>
                <a:gd name="T72" fmla="*/ 51 w 242"/>
                <a:gd name="T73" fmla="*/ 277 h 379"/>
                <a:gd name="T74" fmla="*/ 64 w 242"/>
                <a:gd name="T75" fmla="*/ 279 h 379"/>
                <a:gd name="T76" fmla="*/ 82 w 242"/>
                <a:gd name="T77" fmla="*/ 287 h 379"/>
                <a:gd name="T78" fmla="*/ 92 w 242"/>
                <a:gd name="T79" fmla="*/ 295 h 379"/>
                <a:gd name="T80" fmla="*/ 102 w 242"/>
                <a:gd name="T81" fmla="*/ 307 h 379"/>
                <a:gd name="T82" fmla="*/ 110 w 242"/>
                <a:gd name="T83" fmla="*/ 320 h 379"/>
                <a:gd name="T84" fmla="*/ 117 w 242"/>
                <a:gd name="T85" fmla="*/ 333 h 379"/>
                <a:gd name="T86" fmla="*/ 130 w 242"/>
                <a:gd name="T87" fmla="*/ 335 h 379"/>
                <a:gd name="T88" fmla="*/ 145 w 242"/>
                <a:gd name="T89" fmla="*/ 330 h 379"/>
                <a:gd name="T90" fmla="*/ 161 w 242"/>
                <a:gd name="T91" fmla="*/ 333 h 379"/>
                <a:gd name="T92" fmla="*/ 176 w 242"/>
                <a:gd name="T93" fmla="*/ 341 h 379"/>
                <a:gd name="T94" fmla="*/ 166 w 242"/>
                <a:gd name="T95" fmla="*/ 369 h 379"/>
                <a:gd name="T96" fmla="*/ 179 w 242"/>
                <a:gd name="T97" fmla="*/ 374 h 379"/>
                <a:gd name="T98" fmla="*/ 189 w 242"/>
                <a:gd name="T99" fmla="*/ 335 h 379"/>
                <a:gd name="T100" fmla="*/ 191 w 242"/>
                <a:gd name="T101" fmla="*/ 305 h 379"/>
                <a:gd name="T102" fmla="*/ 189 w 242"/>
                <a:gd name="T103" fmla="*/ 297 h 379"/>
                <a:gd name="T104" fmla="*/ 179 w 242"/>
                <a:gd name="T105" fmla="*/ 285 h 379"/>
                <a:gd name="T106" fmla="*/ 186 w 242"/>
                <a:gd name="T107" fmla="*/ 267 h 379"/>
                <a:gd name="T108" fmla="*/ 194 w 242"/>
                <a:gd name="T109" fmla="*/ 267 h 379"/>
                <a:gd name="T110" fmla="*/ 196 w 242"/>
                <a:gd name="T111" fmla="*/ 264 h 379"/>
                <a:gd name="T112" fmla="*/ 191 w 242"/>
                <a:gd name="T113" fmla="*/ 259 h 379"/>
                <a:gd name="T114" fmla="*/ 184 w 242"/>
                <a:gd name="T115" fmla="*/ 244 h 379"/>
                <a:gd name="T116" fmla="*/ 202 w 242"/>
                <a:gd name="T117" fmla="*/ 244 h 379"/>
                <a:gd name="T118" fmla="*/ 219 w 242"/>
                <a:gd name="T119" fmla="*/ 239 h 379"/>
                <a:gd name="T120" fmla="*/ 232 w 242"/>
                <a:gd name="T121" fmla="*/ 234 h 379"/>
                <a:gd name="T122" fmla="*/ 240 w 242"/>
                <a:gd name="T123" fmla="*/ 254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2" h="379">
                  <a:moveTo>
                    <a:pt x="18" y="226"/>
                  </a:moveTo>
                  <a:lnTo>
                    <a:pt x="18" y="223"/>
                  </a:lnTo>
                  <a:lnTo>
                    <a:pt x="18" y="223"/>
                  </a:lnTo>
                  <a:lnTo>
                    <a:pt x="18" y="223"/>
                  </a:lnTo>
                  <a:lnTo>
                    <a:pt x="18" y="221"/>
                  </a:lnTo>
                  <a:lnTo>
                    <a:pt x="15" y="223"/>
                  </a:lnTo>
                  <a:lnTo>
                    <a:pt x="15" y="223"/>
                  </a:lnTo>
                  <a:lnTo>
                    <a:pt x="18" y="226"/>
                  </a:lnTo>
                  <a:close/>
                  <a:moveTo>
                    <a:pt x="242" y="254"/>
                  </a:moveTo>
                  <a:lnTo>
                    <a:pt x="242" y="251"/>
                  </a:lnTo>
                  <a:lnTo>
                    <a:pt x="242" y="249"/>
                  </a:lnTo>
                  <a:lnTo>
                    <a:pt x="242" y="246"/>
                  </a:lnTo>
                  <a:lnTo>
                    <a:pt x="242" y="246"/>
                  </a:lnTo>
                  <a:lnTo>
                    <a:pt x="242" y="244"/>
                  </a:lnTo>
                  <a:lnTo>
                    <a:pt x="240" y="241"/>
                  </a:lnTo>
                  <a:lnTo>
                    <a:pt x="240" y="239"/>
                  </a:lnTo>
                  <a:lnTo>
                    <a:pt x="240" y="236"/>
                  </a:lnTo>
                  <a:lnTo>
                    <a:pt x="240" y="236"/>
                  </a:lnTo>
                  <a:lnTo>
                    <a:pt x="240" y="234"/>
                  </a:lnTo>
                  <a:lnTo>
                    <a:pt x="237" y="234"/>
                  </a:lnTo>
                  <a:lnTo>
                    <a:pt x="237" y="231"/>
                  </a:lnTo>
                  <a:lnTo>
                    <a:pt x="237" y="229"/>
                  </a:lnTo>
                  <a:lnTo>
                    <a:pt x="237" y="229"/>
                  </a:lnTo>
                  <a:lnTo>
                    <a:pt x="237" y="226"/>
                  </a:lnTo>
                  <a:lnTo>
                    <a:pt x="235" y="226"/>
                  </a:lnTo>
                  <a:lnTo>
                    <a:pt x="235" y="223"/>
                  </a:lnTo>
                  <a:lnTo>
                    <a:pt x="232" y="221"/>
                  </a:lnTo>
                  <a:lnTo>
                    <a:pt x="230" y="221"/>
                  </a:lnTo>
                  <a:lnTo>
                    <a:pt x="230" y="221"/>
                  </a:lnTo>
                  <a:lnTo>
                    <a:pt x="230" y="218"/>
                  </a:lnTo>
                  <a:lnTo>
                    <a:pt x="230" y="218"/>
                  </a:lnTo>
                  <a:lnTo>
                    <a:pt x="227" y="218"/>
                  </a:lnTo>
                  <a:lnTo>
                    <a:pt x="227" y="218"/>
                  </a:lnTo>
                  <a:lnTo>
                    <a:pt x="224" y="218"/>
                  </a:lnTo>
                  <a:lnTo>
                    <a:pt x="224" y="218"/>
                  </a:lnTo>
                  <a:lnTo>
                    <a:pt x="224" y="216"/>
                  </a:lnTo>
                  <a:lnTo>
                    <a:pt x="232" y="211"/>
                  </a:lnTo>
                  <a:lnTo>
                    <a:pt x="235" y="206"/>
                  </a:lnTo>
                  <a:lnTo>
                    <a:pt x="235" y="206"/>
                  </a:lnTo>
                  <a:lnTo>
                    <a:pt x="235" y="206"/>
                  </a:lnTo>
                  <a:lnTo>
                    <a:pt x="235" y="206"/>
                  </a:lnTo>
                  <a:lnTo>
                    <a:pt x="235" y="203"/>
                  </a:lnTo>
                  <a:lnTo>
                    <a:pt x="232" y="198"/>
                  </a:lnTo>
                  <a:lnTo>
                    <a:pt x="232" y="198"/>
                  </a:lnTo>
                  <a:lnTo>
                    <a:pt x="230" y="195"/>
                  </a:lnTo>
                  <a:lnTo>
                    <a:pt x="230" y="195"/>
                  </a:lnTo>
                  <a:lnTo>
                    <a:pt x="227" y="190"/>
                  </a:lnTo>
                  <a:lnTo>
                    <a:pt x="227" y="188"/>
                  </a:lnTo>
                  <a:lnTo>
                    <a:pt x="227" y="185"/>
                  </a:lnTo>
                  <a:lnTo>
                    <a:pt x="227" y="183"/>
                  </a:lnTo>
                  <a:lnTo>
                    <a:pt x="227" y="180"/>
                  </a:lnTo>
                  <a:lnTo>
                    <a:pt x="224" y="180"/>
                  </a:lnTo>
                  <a:lnTo>
                    <a:pt x="224" y="175"/>
                  </a:lnTo>
                  <a:lnTo>
                    <a:pt x="227" y="170"/>
                  </a:lnTo>
                  <a:lnTo>
                    <a:pt x="227" y="165"/>
                  </a:lnTo>
                  <a:lnTo>
                    <a:pt x="227" y="162"/>
                  </a:lnTo>
                  <a:lnTo>
                    <a:pt x="227" y="160"/>
                  </a:lnTo>
                  <a:lnTo>
                    <a:pt x="230" y="157"/>
                  </a:lnTo>
                  <a:lnTo>
                    <a:pt x="230" y="155"/>
                  </a:lnTo>
                  <a:lnTo>
                    <a:pt x="230" y="152"/>
                  </a:lnTo>
                  <a:lnTo>
                    <a:pt x="232" y="150"/>
                  </a:lnTo>
                  <a:lnTo>
                    <a:pt x="235" y="147"/>
                  </a:lnTo>
                  <a:lnTo>
                    <a:pt x="235" y="145"/>
                  </a:lnTo>
                  <a:lnTo>
                    <a:pt x="235" y="142"/>
                  </a:lnTo>
                  <a:lnTo>
                    <a:pt x="235" y="142"/>
                  </a:lnTo>
                  <a:lnTo>
                    <a:pt x="232" y="140"/>
                  </a:lnTo>
                  <a:lnTo>
                    <a:pt x="230" y="140"/>
                  </a:lnTo>
                  <a:lnTo>
                    <a:pt x="227" y="140"/>
                  </a:lnTo>
                  <a:lnTo>
                    <a:pt x="224" y="140"/>
                  </a:lnTo>
                  <a:lnTo>
                    <a:pt x="222" y="142"/>
                  </a:lnTo>
                  <a:lnTo>
                    <a:pt x="214" y="142"/>
                  </a:lnTo>
                  <a:lnTo>
                    <a:pt x="209" y="142"/>
                  </a:lnTo>
                  <a:lnTo>
                    <a:pt x="204" y="142"/>
                  </a:lnTo>
                  <a:lnTo>
                    <a:pt x="202" y="142"/>
                  </a:lnTo>
                  <a:lnTo>
                    <a:pt x="199" y="142"/>
                  </a:lnTo>
                  <a:lnTo>
                    <a:pt x="199" y="145"/>
                  </a:lnTo>
                  <a:lnTo>
                    <a:pt x="196" y="142"/>
                  </a:lnTo>
                  <a:lnTo>
                    <a:pt x="196" y="142"/>
                  </a:lnTo>
                  <a:lnTo>
                    <a:pt x="194" y="142"/>
                  </a:lnTo>
                  <a:lnTo>
                    <a:pt x="194" y="142"/>
                  </a:lnTo>
                  <a:lnTo>
                    <a:pt x="191" y="140"/>
                  </a:lnTo>
                  <a:lnTo>
                    <a:pt x="189" y="134"/>
                  </a:lnTo>
                  <a:lnTo>
                    <a:pt x="186" y="129"/>
                  </a:lnTo>
                  <a:lnTo>
                    <a:pt x="184" y="124"/>
                  </a:lnTo>
                  <a:lnTo>
                    <a:pt x="181" y="124"/>
                  </a:lnTo>
                  <a:lnTo>
                    <a:pt x="181" y="124"/>
                  </a:lnTo>
                  <a:lnTo>
                    <a:pt x="179" y="124"/>
                  </a:lnTo>
                  <a:lnTo>
                    <a:pt x="176" y="124"/>
                  </a:lnTo>
                  <a:lnTo>
                    <a:pt x="176" y="122"/>
                  </a:lnTo>
                  <a:lnTo>
                    <a:pt x="173" y="122"/>
                  </a:lnTo>
                  <a:lnTo>
                    <a:pt x="171" y="122"/>
                  </a:lnTo>
                  <a:lnTo>
                    <a:pt x="171" y="122"/>
                  </a:lnTo>
                  <a:lnTo>
                    <a:pt x="168" y="122"/>
                  </a:lnTo>
                  <a:lnTo>
                    <a:pt x="163" y="124"/>
                  </a:lnTo>
                  <a:lnTo>
                    <a:pt x="161" y="124"/>
                  </a:lnTo>
                  <a:lnTo>
                    <a:pt x="161" y="124"/>
                  </a:lnTo>
                  <a:lnTo>
                    <a:pt x="156" y="122"/>
                  </a:lnTo>
                  <a:lnTo>
                    <a:pt x="153" y="122"/>
                  </a:lnTo>
                  <a:lnTo>
                    <a:pt x="148" y="122"/>
                  </a:lnTo>
                  <a:lnTo>
                    <a:pt x="145" y="124"/>
                  </a:lnTo>
                  <a:lnTo>
                    <a:pt x="145" y="122"/>
                  </a:lnTo>
                  <a:lnTo>
                    <a:pt x="143" y="122"/>
                  </a:lnTo>
                  <a:lnTo>
                    <a:pt x="140" y="117"/>
                  </a:lnTo>
                  <a:lnTo>
                    <a:pt x="140" y="114"/>
                  </a:lnTo>
                  <a:lnTo>
                    <a:pt x="138" y="114"/>
                  </a:lnTo>
                  <a:lnTo>
                    <a:pt x="138" y="114"/>
                  </a:lnTo>
                  <a:lnTo>
                    <a:pt x="135" y="112"/>
                  </a:lnTo>
                  <a:lnTo>
                    <a:pt x="135" y="112"/>
                  </a:lnTo>
                  <a:lnTo>
                    <a:pt x="135" y="109"/>
                  </a:lnTo>
                  <a:lnTo>
                    <a:pt x="135" y="106"/>
                  </a:lnTo>
                  <a:lnTo>
                    <a:pt x="135" y="104"/>
                  </a:lnTo>
                  <a:lnTo>
                    <a:pt x="135" y="101"/>
                  </a:lnTo>
                  <a:lnTo>
                    <a:pt x="138" y="99"/>
                  </a:lnTo>
                  <a:lnTo>
                    <a:pt x="138" y="99"/>
                  </a:lnTo>
                  <a:lnTo>
                    <a:pt x="138" y="96"/>
                  </a:lnTo>
                  <a:lnTo>
                    <a:pt x="138" y="94"/>
                  </a:lnTo>
                  <a:lnTo>
                    <a:pt x="138" y="91"/>
                  </a:lnTo>
                  <a:lnTo>
                    <a:pt x="135" y="89"/>
                  </a:lnTo>
                  <a:lnTo>
                    <a:pt x="133" y="86"/>
                  </a:lnTo>
                  <a:lnTo>
                    <a:pt x="133" y="81"/>
                  </a:lnTo>
                  <a:lnTo>
                    <a:pt x="130" y="76"/>
                  </a:lnTo>
                  <a:lnTo>
                    <a:pt x="130" y="73"/>
                  </a:lnTo>
                  <a:lnTo>
                    <a:pt x="128" y="76"/>
                  </a:lnTo>
                  <a:lnTo>
                    <a:pt x="128" y="73"/>
                  </a:lnTo>
                  <a:lnTo>
                    <a:pt x="128" y="73"/>
                  </a:lnTo>
                  <a:lnTo>
                    <a:pt x="125" y="71"/>
                  </a:lnTo>
                  <a:lnTo>
                    <a:pt x="125" y="73"/>
                  </a:lnTo>
                  <a:lnTo>
                    <a:pt x="123" y="73"/>
                  </a:lnTo>
                  <a:lnTo>
                    <a:pt x="120" y="73"/>
                  </a:lnTo>
                  <a:lnTo>
                    <a:pt x="120" y="73"/>
                  </a:lnTo>
                  <a:lnTo>
                    <a:pt x="120" y="73"/>
                  </a:lnTo>
                  <a:lnTo>
                    <a:pt x="120" y="71"/>
                  </a:lnTo>
                  <a:lnTo>
                    <a:pt x="123" y="68"/>
                  </a:lnTo>
                  <a:lnTo>
                    <a:pt x="125" y="66"/>
                  </a:lnTo>
                  <a:lnTo>
                    <a:pt x="125" y="63"/>
                  </a:lnTo>
                  <a:lnTo>
                    <a:pt x="128" y="61"/>
                  </a:lnTo>
                  <a:lnTo>
                    <a:pt x="128" y="53"/>
                  </a:lnTo>
                  <a:lnTo>
                    <a:pt x="130" y="50"/>
                  </a:lnTo>
                  <a:lnTo>
                    <a:pt x="130" y="43"/>
                  </a:lnTo>
                  <a:lnTo>
                    <a:pt x="135" y="38"/>
                  </a:lnTo>
                  <a:lnTo>
                    <a:pt x="135" y="35"/>
                  </a:lnTo>
                  <a:lnTo>
                    <a:pt x="138" y="33"/>
                  </a:lnTo>
                  <a:lnTo>
                    <a:pt x="138" y="30"/>
                  </a:lnTo>
                  <a:lnTo>
                    <a:pt x="140" y="30"/>
                  </a:lnTo>
                  <a:lnTo>
                    <a:pt x="145" y="28"/>
                  </a:lnTo>
                  <a:lnTo>
                    <a:pt x="151" y="17"/>
                  </a:lnTo>
                  <a:lnTo>
                    <a:pt x="151" y="17"/>
                  </a:lnTo>
                  <a:lnTo>
                    <a:pt x="156" y="15"/>
                  </a:lnTo>
                  <a:lnTo>
                    <a:pt x="161" y="15"/>
                  </a:lnTo>
                  <a:lnTo>
                    <a:pt x="163" y="12"/>
                  </a:lnTo>
                  <a:lnTo>
                    <a:pt x="163" y="12"/>
                  </a:lnTo>
                  <a:lnTo>
                    <a:pt x="163" y="12"/>
                  </a:lnTo>
                  <a:lnTo>
                    <a:pt x="166" y="12"/>
                  </a:lnTo>
                  <a:lnTo>
                    <a:pt x="168" y="7"/>
                  </a:lnTo>
                  <a:lnTo>
                    <a:pt x="168" y="5"/>
                  </a:lnTo>
                  <a:lnTo>
                    <a:pt x="166" y="2"/>
                  </a:lnTo>
                  <a:lnTo>
                    <a:pt x="161" y="0"/>
                  </a:lnTo>
                  <a:lnTo>
                    <a:pt x="161" y="0"/>
                  </a:lnTo>
                  <a:lnTo>
                    <a:pt x="158" y="0"/>
                  </a:lnTo>
                  <a:lnTo>
                    <a:pt x="153" y="2"/>
                  </a:lnTo>
                  <a:lnTo>
                    <a:pt x="153" y="2"/>
                  </a:lnTo>
                  <a:lnTo>
                    <a:pt x="153" y="5"/>
                  </a:lnTo>
                  <a:lnTo>
                    <a:pt x="151" y="5"/>
                  </a:lnTo>
                  <a:lnTo>
                    <a:pt x="148" y="5"/>
                  </a:lnTo>
                  <a:lnTo>
                    <a:pt x="148" y="7"/>
                  </a:lnTo>
                  <a:lnTo>
                    <a:pt x="145" y="12"/>
                  </a:lnTo>
                  <a:lnTo>
                    <a:pt x="143" y="15"/>
                  </a:lnTo>
                  <a:lnTo>
                    <a:pt x="135" y="15"/>
                  </a:lnTo>
                  <a:lnTo>
                    <a:pt x="123" y="25"/>
                  </a:lnTo>
                  <a:lnTo>
                    <a:pt x="117" y="25"/>
                  </a:lnTo>
                  <a:lnTo>
                    <a:pt x="115" y="25"/>
                  </a:lnTo>
                  <a:lnTo>
                    <a:pt x="112" y="25"/>
                  </a:lnTo>
                  <a:lnTo>
                    <a:pt x="110" y="25"/>
                  </a:lnTo>
                  <a:lnTo>
                    <a:pt x="107" y="25"/>
                  </a:lnTo>
                  <a:lnTo>
                    <a:pt x="105" y="25"/>
                  </a:lnTo>
                  <a:lnTo>
                    <a:pt x="105" y="30"/>
                  </a:lnTo>
                  <a:lnTo>
                    <a:pt x="102" y="33"/>
                  </a:lnTo>
                  <a:lnTo>
                    <a:pt x="102" y="35"/>
                  </a:lnTo>
                  <a:lnTo>
                    <a:pt x="102" y="38"/>
                  </a:lnTo>
                  <a:lnTo>
                    <a:pt x="100" y="38"/>
                  </a:lnTo>
                  <a:lnTo>
                    <a:pt x="100" y="35"/>
                  </a:lnTo>
                  <a:lnTo>
                    <a:pt x="100" y="33"/>
                  </a:lnTo>
                  <a:lnTo>
                    <a:pt x="102" y="33"/>
                  </a:lnTo>
                  <a:lnTo>
                    <a:pt x="102" y="33"/>
                  </a:lnTo>
                  <a:lnTo>
                    <a:pt x="102" y="33"/>
                  </a:lnTo>
                  <a:lnTo>
                    <a:pt x="100" y="33"/>
                  </a:lnTo>
                  <a:lnTo>
                    <a:pt x="92" y="30"/>
                  </a:lnTo>
                  <a:lnTo>
                    <a:pt x="92" y="30"/>
                  </a:lnTo>
                  <a:lnTo>
                    <a:pt x="87" y="35"/>
                  </a:lnTo>
                  <a:lnTo>
                    <a:pt x="84" y="38"/>
                  </a:lnTo>
                  <a:lnTo>
                    <a:pt x="84" y="38"/>
                  </a:lnTo>
                  <a:lnTo>
                    <a:pt x="79" y="40"/>
                  </a:lnTo>
                  <a:lnTo>
                    <a:pt x="79" y="43"/>
                  </a:lnTo>
                  <a:lnTo>
                    <a:pt x="77" y="48"/>
                  </a:lnTo>
                  <a:lnTo>
                    <a:pt x="74" y="50"/>
                  </a:lnTo>
                  <a:lnTo>
                    <a:pt x="74" y="50"/>
                  </a:lnTo>
                  <a:lnTo>
                    <a:pt x="74" y="50"/>
                  </a:lnTo>
                  <a:lnTo>
                    <a:pt x="77" y="50"/>
                  </a:lnTo>
                  <a:lnTo>
                    <a:pt x="77" y="50"/>
                  </a:lnTo>
                  <a:lnTo>
                    <a:pt x="77" y="53"/>
                  </a:lnTo>
                  <a:lnTo>
                    <a:pt x="77" y="56"/>
                  </a:lnTo>
                  <a:lnTo>
                    <a:pt x="74" y="58"/>
                  </a:lnTo>
                  <a:lnTo>
                    <a:pt x="74" y="61"/>
                  </a:lnTo>
                  <a:lnTo>
                    <a:pt x="74" y="63"/>
                  </a:lnTo>
                  <a:lnTo>
                    <a:pt x="74" y="66"/>
                  </a:lnTo>
                  <a:lnTo>
                    <a:pt x="74" y="68"/>
                  </a:lnTo>
                  <a:lnTo>
                    <a:pt x="72" y="68"/>
                  </a:lnTo>
                  <a:lnTo>
                    <a:pt x="69" y="68"/>
                  </a:lnTo>
                  <a:lnTo>
                    <a:pt x="66" y="68"/>
                  </a:lnTo>
                  <a:lnTo>
                    <a:pt x="64" y="71"/>
                  </a:lnTo>
                  <a:lnTo>
                    <a:pt x="61" y="78"/>
                  </a:lnTo>
                  <a:lnTo>
                    <a:pt x="51" y="84"/>
                  </a:lnTo>
                  <a:lnTo>
                    <a:pt x="51" y="86"/>
                  </a:lnTo>
                  <a:lnTo>
                    <a:pt x="49" y="86"/>
                  </a:lnTo>
                  <a:lnTo>
                    <a:pt x="49" y="86"/>
                  </a:lnTo>
                  <a:lnTo>
                    <a:pt x="49" y="89"/>
                  </a:lnTo>
                  <a:lnTo>
                    <a:pt x="49" y="89"/>
                  </a:lnTo>
                  <a:lnTo>
                    <a:pt x="51" y="94"/>
                  </a:lnTo>
                  <a:lnTo>
                    <a:pt x="51" y="101"/>
                  </a:lnTo>
                  <a:lnTo>
                    <a:pt x="49" y="101"/>
                  </a:lnTo>
                  <a:lnTo>
                    <a:pt x="49" y="101"/>
                  </a:lnTo>
                  <a:lnTo>
                    <a:pt x="46" y="101"/>
                  </a:lnTo>
                  <a:lnTo>
                    <a:pt x="46" y="101"/>
                  </a:lnTo>
                  <a:lnTo>
                    <a:pt x="46" y="99"/>
                  </a:lnTo>
                  <a:lnTo>
                    <a:pt x="49" y="99"/>
                  </a:lnTo>
                  <a:lnTo>
                    <a:pt x="49" y="99"/>
                  </a:lnTo>
                  <a:lnTo>
                    <a:pt x="49" y="96"/>
                  </a:lnTo>
                  <a:lnTo>
                    <a:pt x="46" y="96"/>
                  </a:lnTo>
                  <a:lnTo>
                    <a:pt x="46" y="94"/>
                  </a:lnTo>
                  <a:lnTo>
                    <a:pt x="44" y="91"/>
                  </a:lnTo>
                  <a:lnTo>
                    <a:pt x="41" y="89"/>
                  </a:lnTo>
                  <a:lnTo>
                    <a:pt x="38" y="86"/>
                  </a:lnTo>
                  <a:lnTo>
                    <a:pt x="38" y="86"/>
                  </a:lnTo>
                  <a:lnTo>
                    <a:pt x="38" y="86"/>
                  </a:lnTo>
                  <a:lnTo>
                    <a:pt x="36" y="89"/>
                  </a:lnTo>
                  <a:lnTo>
                    <a:pt x="36" y="89"/>
                  </a:lnTo>
                  <a:lnTo>
                    <a:pt x="38" y="91"/>
                  </a:lnTo>
                  <a:lnTo>
                    <a:pt x="38" y="91"/>
                  </a:lnTo>
                  <a:lnTo>
                    <a:pt x="38" y="94"/>
                  </a:lnTo>
                  <a:lnTo>
                    <a:pt x="41" y="96"/>
                  </a:lnTo>
                  <a:lnTo>
                    <a:pt x="41" y="99"/>
                  </a:lnTo>
                  <a:lnTo>
                    <a:pt x="41" y="101"/>
                  </a:lnTo>
                  <a:lnTo>
                    <a:pt x="41" y="101"/>
                  </a:lnTo>
                  <a:lnTo>
                    <a:pt x="38" y="101"/>
                  </a:lnTo>
                  <a:lnTo>
                    <a:pt x="38" y="104"/>
                  </a:lnTo>
                  <a:lnTo>
                    <a:pt x="38" y="106"/>
                  </a:lnTo>
                  <a:lnTo>
                    <a:pt x="38" y="106"/>
                  </a:lnTo>
                  <a:lnTo>
                    <a:pt x="33" y="109"/>
                  </a:lnTo>
                  <a:lnTo>
                    <a:pt x="33" y="112"/>
                  </a:lnTo>
                  <a:lnTo>
                    <a:pt x="33" y="109"/>
                  </a:lnTo>
                  <a:lnTo>
                    <a:pt x="31" y="109"/>
                  </a:lnTo>
                  <a:lnTo>
                    <a:pt x="31" y="106"/>
                  </a:lnTo>
                  <a:lnTo>
                    <a:pt x="31" y="106"/>
                  </a:lnTo>
                  <a:lnTo>
                    <a:pt x="31" y="106"/>
                  </a:lnTo>
                  <a:lnTo>
                    <a:pt x="31" y="106"/>
                  </a:lnTo>
                  <a:lnTo>
                    <a:pt x="28" y="109"/>
                  </a:lnTo>
                  <a:lnTo>
                    <a:pt x="31" y="112"/>
                  </a:lnTo>
                  <a:lnTo>
                    <a:pt x="28" y="112"/>
                  </a:lnTo>
                  <a:lnTo>
                    <a:pt x="28" y="114"/>
                  </a:lnTo>
                  <a:lnTo>
                    <a:pt x="26" y="117"/>
                  </a:lnTo>
                  <a:lnTo>
                    <a:pt x="28" y="119"/>
                  </a:lnTo>
                  <a:lnTo>
                    <a:pt x="31" y="124"/>
                  </a:lnTo>
                  <a:lnTo>
                    <a:pt x="31" y="127"/>
                  </a:lnTo>
                  <a:lnTo>
                    <a:pt x="31" y="127"/>
                  </a:lnTo>
                  <a:lnTo>
                    <a:pt x="33" y="129"/>
                  </a:lnTo>
                  <a:lnTo>
                    <a:pt x="36" y="129"/>
                  </a:lnTo>
                  <a:lnTo>
                    <a:pt x="36" y="132"/>
                  </a:lnTo>
                  <a:lnTo>
                    <a:pt x="36" y="134"/>
                  </a:lnTo>
                  <a:lnTo>
                    <a:pt x="36" y="140"/>
                  </a:lnTo>
                  <a:lnTo>
                    <a:pt x="33" y="140"/>
                  </a:lnTo>
                  <a:lnTo>
                    <a:pt x="33" y="140"/>
                  </a:lnTo>
                  <a:lnTo>
                    <a:pt x="33" y="142"/>
                  </a:lnTo>
                  <a:lnTo>
                    <a:pt x="36" y="147"/>
                  </a:lnTo>
                  <a:lnTo>
                    <a:pt x="38" y="150"/>
                  </a:lnTo>
                  <a:lnTo>
                    <a:pt x="36" y="152"/>
                  </a:lnTo>
                  <a:lnTo>
                    <a:pt x="31" y="157"/>
                  </a:lnTo>
                  <a:lnTo>
                    <a:pt x="33" y="160"/>
                  </a:lnTo>
                  <a:lnTo>
                    <a:pt x="36" y="160"/>
                  </a:lnTo>
                  <a:lnTo>
                    <a:pt x="36" y="162"/>
                  </a:lnTo>
                  <a:lnTo>
                    <a:pt x="36" y="167"/>
                  </a:lnTo>
                  <a:lnTo>
                    <a:pt x="36" y="173"/>
                  </a:lnTo>
                  <a:lnTo>
                    <a:pt x="36" y="173"/>
                  </a:lnTo>
                  <a:lnTo>
                    <a:pt x="36" y="175"/>
                  </a:lnTo>
                  <a:lnTo>
                    <a:pt x="36" y="178"/>
                  </a:lnTo>
                  <a:lnTo>
                    <a:pt x="36" y="180"/>
                  </a:lnTo>
                  <a:lnTo>
                    <a:pt x="33" y="183"/>
                  </a:lnTo>
                  <a:lnTo>
                    <a:pt x="33" y="183"/>
                  </a:lnTo>
                  <a:lnTo>
                    <a:pt x="33" y="185"/>
                  </a:lnTo>
                  <a:lnTo>
                    <a:pt x="31" y="185"/>
                  </a:lnTo>
                  <a:lnTo>
                    <a:pt x="31" y="185"/>
                  </a:lnTo>
                  <a:lnTo>
                    <a:pt x="33" y="185"/>
                  </a:lnTo>
                  <a:lnTo>
                    <a:pt x="33" y="188"/>
                  </a:lnTo>
                  <a:lnTo>
                    <a:pt x="33" y="188"/>
                  </a:lnTo>
                  <a:lnTo>
                    <a:pt x="33" y="190"/>
                  </a:lnTo>
                  <a:lnTo>
                    <a:pt x="33" y="193"/>
                  </a:lnTo>
                  <a:lnTo>
                    <a:pt x="36" y="190"/>
                  </a:lnTo>
                  <a:lnTo>
                    <a:pt x="36" y="190"/>
                  </a:lnTo>
                  <a:lnTo>
                    <a:pt x="36" y="193"/>
                  </a:lnTo>
                  <a:lnTo>
                    <a:pt x="36" y="193"/>
                  </a:lnTo>
                  <a:lnTo>
                    <a:pt x="38" y="195"/>
                  </a:lnTo>
                  <a:lnTo>
                    <a:pt x="38" y="193"/>
                  </a:lnTo>
                  <a:lnTo>
                    <a:pt x="41" y="193"/>
                  </a:lnTo>
                  <a:lnTo>
                    <a:pt x="36" y="201"/>
                  </a:lnTo>
                  <a:lnTo>
                    <a:pt x="33" y="203"/>
                  </a:lnTo>
                  <a:lnTo>
                    <a:pt x="33" y="206"/>
                  </a:lnTo>
                  <a:lnTo>
                    <a:pt x="33" y="206"/>
                  </a:lnTo>
                  <a:lnTo>
                    <a:pt x="31" y="208"/>
                  </a:lnTo>
                  <a:lnTo>
                    <a:pt x="31" y="211"/>
                  </a:lnTo>
                  <a:lnTo>
                    <a:pt x="28" y="213"/>
                  </a:lnTo>
                  <a:lnTo>
                    <a:pt x="28" y="213"/>
                  </a:lnTo>
                  <a:lnTo>
                    <a:pt x="26" y="213"/>
                  </a:lnTo>
                  <a:lnTo>
                    <a:pt x="26" y="213"/>
                  </a:lnTo>
                  <a:lnTo>
                    <a:pt x="28" y="216"/>
                  </a:lnTo>
                  <a:lnTo>
                    <a:pt x="28" y="216"/>
                  </a:lnTo>
                  <a:lnTo>
                    <a:pt x="26" y="218"/>
                  </a:lnTo>
                  <a:lnTo>
                    <a:pt x="23" y="221"/>
                  </a:lnTo>
                  <a:lnTo>
                    <a:pt x="23" y="221"/>
                  </a:lnTo>
                  <a:lnTo>
                    <a:pt x="23" y="221"/>
                  </a:lnTo>
                  <a:lnTo>
                    <a:pt x="23" y="221"/>
                  </a:lnTo>
                  <a:lnTo>
                    <a:pt x="21" y="223"/>
                  </a:lnTo>
                  <a:lnTo>
                    <a:pt x="21" y="223"/>
                  </a:lnTo>
                  <a:lnTo>
                    <a:pt x="21" y="223"/>
                  </a:lnTo>
                  <a:lnTo>
                    <a:pt x="18" y="226"/>
                  </a:lnTo>
                  <a:lnTo>
                    <a:pt x="18" y="226"/>
                  </a:lnTo>
                  <a:lnTo>
                    <a:pt x="15" y="226"/>
                  </a:lnTo>
                  <a:lnTo>
                    <a:pt x="13" y="226"/>
                  </a:lnTo>
                  <a:lnTo>
                    <a:pt x="13" y="226"/>
                  </a:lnTo>
                  <a:lnTo>
                    <a:pt x="10" y="226"/>
                  </a:lnTo>
                  <a:lnTo>
                    <a:pt x="10" y="226"/>
                  </a:lnTo>
                  <a:lnTo>
                    <a:pt x="8" y="229"/>
                  </a:lnTo>
                  <a:lnTo>
                    <a:pt x="8" y="229"/>
                  </a:lnTo>
                  <a:lnTo>
                    <a:pt x="8" y="236"/>
                  </a:lnTo>
                  <a:lnTo>
                    <a:pt x="8" y="239"/>
                  </a:lnTo>
                  <a:lnTo>
                    <a:pt x="8" y="241"/>
                  </a:lnTo>
                  <a:lnTo>
                    <a:pt x="5" y="241"/>
                  </a:lnTo>
                  <a:lnTo>
                    <a:pt x="0" y="241"/>
                  </a:lnTo>
                  <a:lnTo>
                    <a:pt x="0" y="246"/>
                  </a:lnTo>
                  <a:lnTo>
                    <a:pt x="3" y="246"/>
                  </a:lnTo>
                  <a:lnTo>
                    <a:pt x="3" y="249"/>
                  </a:lnTo>
                  <a:lnTo>
                    <a:pt x="3" y="249"/>
                  </a:lnTo>
                  <a:lnTo>
                    <a:pt x="5" y="251"/>
                  </a:lnTo>
                  <a:lnTo>
                    <a:pt x="5" y="254"/>
                  </a:lnTo>
                  <a:lnTo>
                    <a:pt x="8" y="254"/>
                  </a:lnTo>
                  <a:lnTo>
                    <a:pt x="10" y="254"/>
                  </a:lnTo>
                  <a:lnTo>
                    <a:pt x="13" y="259"/>
                  </a:lnTo>
                  <a:lnTo>
                    <a:pt x="15" y="259"/>
                  </a:lnTo>
                  <a:lnTo>
                    <a:pt x="18" y="262"/>
                  </a:lnTo>
                  <a:lnTo>
                    <a:pt x="23" y="264"/>
                  </a:lnTo>
                  <a:lnTo>
                    <a:pt x="26" y="264"/>
                  </a:lnTo>
                  <a:lnTo>
                    <a:pt x="26" y="264"/>
                  </a:lnTo>
                  <a:lnTo>
                    <a:pt x="26" y="267"/>
                  </a:lnTo>
                  <a:lnTo>
                    <a:pt x="28" y="267"/>
                  </a:lnTo>
                  <a:lnTo>
                    <a:pt x="28" y="267"/>
                  </a:lnTo>
                  <a:lnTo>
                    <a:pt x="31" y="267"/>
                  </a:lnTo>
                  <a:lnTo>
                    <a:pt x="31" y="267"/>
                  </a:lnTo>
                  <a:lnTo>
                    <a:pt x="31" y="272"/>
                  </a:lnTo>
                  <a:lnTo>
                    <a:pt x="31" y="274"/>
                  </a:lnTo>
                  <a:lnTo>
                    <a:pt x="33" y="274"/>
                  </a:lnTo>
                  <a:lnTo>
                    <a:pt x="36" y="274"/>
                  </a:lnTo>
                  <a:lnTo>
                    <a:pt x="38" y="274"/>
                  </a:lnTo>
                  <a:lnTo>
                    <a:pt x="38" y="274"/>
                  </a:lnTo>
                  <a:lnTo>
                    <a:pt x="41" y="277"/>
                  </a:lnTo>
                  <a:lnTo>
                    <a:pt x="44" y="277"/>
                  </a:lnTo>
                  <a:lnTo>
                    <a:pt x="44" y="277"/>
                  </a:lnTo>
                  <a:lnTo>
                    <a:pt x="46" y="277"/>
                  </a:lnTo>
                  <a:lnTo>
                    <a:pt x="46" y="277"/>
                  </a:lnTo>
                  <a:lnTo>
                    <a:pt x="46" y="277"/>
                  </a:lnTo>
                  <a:lnTo>
                    <a:pt x="49" y="277"/>
                  </a:lnTo>
                  <a:lnTo>
                    <a:pt x="49" y="277"/>
                  </a:lnTo>
                  <a:lnTo>
                    <a:pt x="51" y="277"/>
                  </a:lnTo>
                  <a:lnTo>
                    <a:pt x="51" y="274"/>
                  </a:lnTo>
                  <a:lnTo>
                    <a:pt x="51" y="274"/>
                  </a:lnTo>
                  <a:lnTo>
                    <a:pt x="51" y="272"/>
                  </a:lnTo>
                  <a:lnTo>
                    <a:pt x="54" y="272"/>
                  </a:lnTo>
                  <a:lnTo>
                    <a:pt x="54" y="272"/>
                  </a:lnTo>
                  <a:lnTo>
                    <a:pt x="59" y="274"/>
                  </a:lnTo>
                  <a:lnTo>
                    <a:pt x="59" y="274"/>
                  </a:lnTo>
                  <a:lnTo>
                    <a:pt x="61" y="277"/>
                  </a:lnTo>
                  <a:lnTo>
                    <a:pt x="61" y="279"/>
                  </a:lnTo>
                  <a:lnTo>
                    <a:pt x="64" y="279"/>
                  </a:lnTo>
                  <a:lnTo>
                    <a:pt x="66" y="279"/>
                  </a:lnTo>
                  <a:lnTo>
                    <a:pt x="72" y="282"/>
                  </a:lnTo>
                  <a:lnTo>
                    <a:pt x="74" y="285"/>
                  </a:lnTo>
                  <a:lnTo>
                    <a:pt x="74" y="282"/>
                  </a:lnTo>
                  <a:lnTo>
                    <a:pt x="77" y="282"/>
                  </a:lnTo>
                  <a:lnTo>
                    <a:pt x="77" y="282"/>
                  </a:lnTo>
                  <a:lnTo>
                    <a:pt x="79" y="285"/>
                  </a:lnTo>
                  <a:lnTo>
                    <a:pt x="79" y="285"/>
                  </a:lnTo>
                  <a:lnTo>
                    <a:pt x="82" y="287"/>
                  </a:lnTo>
                  <a:lnTo>
                    <a:pt x="82" y="287"/>
                  </a:lnTo>
                  <a:lnTo>
                    <a:pt x="84" y="287"/>
                  </a:lnTo>
                  <a:lnTo>
                    <a:pt x="84" y="287"/>
                  </a:lnTo>
                  <a:lnTo>
                    <a:pt x="84" y="287"/>
                  </a:lnTo>
                  <a:lnTo>
                    <a:pt x="84" y="290"/>
                  </a:lnTo>
                  <a:lnTo>
                    <a:pt x="87" y="290"/>
                  </a:lnTo>
                  <a:lnTo>
                    <a:pt x="87" y="290"/>
                  </a:lnTo>
                  <a:lnTo>
                    <a:pt x="89" y="292"/>
                  </a:lnTo>
                  <a:lnTo>
                    <a:pt x="89" y="292"/>
                  </a:lnTo>
                  <a:lnTo>
                    <a:pt x="92" y="295"/>
                  </a:lnTo>
                  <a:lnTo>
                    <a:pt x="92" y="295"/>
                  </a:lnTo>
                  <a:lnTo>
                    <a:pt x="92" y="297"/>
                  </a:lnTo>
                  <a:lnTo>
                    <a:pt x="92" y="300"/>
                  </a:lnTo>
                  <a:lnTo>
                    <a:pt x="94" y="300"/>
                  </a:lnTo>
                  <a:lnTo>
                    <a:pt x="94" y="302"/>
                  </a:lnTo>
                  <a:lnTo>
                    <a:pt x="94" y="302"/>
                  </a:lnTo>
                  <a:lnTo>
                    <a:pt x="94" y="305"/>
                  </a:lnTo>
                  <a:lnTo>
                    <a:pt x="97" y="305"/>
                  </a:lnTo>
                  <a:lnTo>
                    <a:pt x="100" y="305"/>
                  </a:lnTo>
                  <a:lnTo>
                    <a:pt x="100" y="307"/>
                  </a:lnTo>
                  <a:lnTo>
                    <a:pt x="102" y="307"/>
                  </a:lnTo>
                  <a:lnTo>
                    <a:pt x="102" y="310"/>
                  </a:lnTo>
                  <a:lnTo>
                    <a:pt x="105" y="310"/>
                  </a:lnTo>
                  <a:lnTo>
                    <a:pt x="105" y="310"/>
                  </a:lnTo>
                  <a:lnTo>
                    <a:pt x="107" y="310"/>
                  </a:lnTo>
                  <a:lnTo>
                    <a:pt x="107" y="313"/>
                  </a:lnTo>
                  <a:lnTo>
                    <a:pt x="110" y="315"/>
                  </a:lnTo>
                  <a:lnTo>
                    <a:pt x="110" y="315"/>
                  </a:lnTo>
                  <a:lnTo>
                    <a:pt x="110" y="318"/>
                  </a:lnTo>
                  <a:lnTo>
                    <a:pt x="110" y="320"/>
                  </a:lnTo>
                  <a:lnTo>
                    <a:pt x="110" y="320"/>
                  </a:lnTo>
                  <a:lnTo>
                    <a:pt x="112" y="323"/>
                  </a:lnTo>
                  <a:lnTo>
                    <a:pt x="112" y="323"/>
                  </a:lnTo>
                  <a:lnTo>
                    <a:pt x="115" y="323"/>
                  </a:lnTo>
                  <a:lnTo>
                    <a:pt x="115" y="323"/>
                  </a:lnTo>
                  <a:lnTo>
                    <a:pt x="117" y="323"/>
                  </a:lnTo>
                  <a:lnTo>
                    <a:pt x="117" y="325"/>
                  </a:lnTo>
                  <a:lnTo>
                    <a:pt x="117" y="328"/>
                  </a:lnTo>
                  <a:lnTo>
                    <a:pt x="117" y="330"/>
                  </a:lnTo>
                  <a:lnTo>
                    <a:pt x="117" y="330"/>
                  </a:lnTo>
                  <a:lnTo>
                    <a:pt x="117" y="333"/>
                  </a:lnTo>
                  <a:lnTo>
                    <a:pt x="117" y="333"/>
                  </a:lnTo>
                  <a:lnTo>
                    <a:pt x="120" y="335"/>
                  </a:lnTo>
                  <a:lnTo>
                    <a:pt x="120" y="335"/>
                  </a:lnTo>
                  <a:lnTo>
                    <a:pt x="123" y="335"/>
                  </a:lnTo>
                  <a:lnTo>
                    <a:pt x="123" y="338"/>
                  </a:lnTo>
                  <a:lnTo>
                    <a:pt x="125" y="338"/>
                  </a:lnTo>
                  <a:lnTo>
                    <a:pt x="128" y="335"/>
                  </a:lnTo>
                  <a:lnTo>
                    <a:pt x="128" y="335"/>
                  </a:lnTo>
                  <a:lnTo>
                    <a:pt x="128" y="335"/>
                  </a:lnTo>
                  <a:lnTo>
                    <a:pt x="130" y="335"/>
                  </a:lnTo>
                  <a:lnTo>
                    <a:pt x="130" y="335"/>
                  </a:lnTo>
                  <a:lnTo>
                    <a:pt x="133" y="338"/>
                  </a:lnTo>
                  <a:lnTo>
                    <a:pt x="135" y="338"/>
                  </a:lnTo>
                  <a:lnTo>
                    <a:pt x="135" y="335"/>
                  </a:lnTo>
                  <a:lnTo>
                    <a:pt x="138" y="335"/>
                  </a:lnTo>
                  <a:lnTo>
                    <a:pt x="140" y="335"/>
                  </a:lnTo>
                  <a:lnTo>
                    <a:pt x="140" y="335"/>
                  </a:lnTo>
                  <a:lnTo>
                    <a:pt x="143" y="333"/>
                  </a:lnTo>
                  <a:lnTo>
                    <a:pt x="143" y="333"/>
                  </a:lnTo>
                  <a:lnTo>
                    <a:pt x="145" y="330"/>
                  </a:lnTo>
                  <a:lnTo>
                    <a:pt x="145" y="330"/>
                  </a:lnTo>
                  <a:lnTo>
                    <a:pt x="148" y="333"/>
                  </a:lnTo>
                  <a:lnTo>
                    <a:pt x="151" y="333"/>
                  </a:lnTo>
                  <a:lnTo>
                    <a:pt x="151" y="333"/>
                  </a:lnTo>
                  <a:lnTo>
                    <a:pt x="153" y="335"/>
                  </a:lnTo>
                  <a:lnTo>
                    <a:pt x="153" y="335"/>
                  </a:lnTo>
                  <a:lnTo>
                    <a:pt x="156" y="335"/>
                  </a:lnTo>
                  <a:lnTo>
                    <a:pt x="156" y="335"/>
                  </a:lnTo>
                  <a:lnTo>
                    <a:pt x="158" y="333"/>
                  </a:lnTo>
                  <a:lnTo>
                    <a:pt x="161" y="333"/>
                  </a:lnTo>
                  <a:lnTo>
                    <a:pt x="161" y="333"/>
                  </a:lnTo>
                  <a:lnTo>
                    <a:pt x="163" y="333"/>
                  </a:lnTo>
                  <a:lnTo>
                    <a:pt x="166" y="335"/>
                  </a:lnTo>
                  <a:lnTo>
                    <a:pt x="168" y="338"/>
                  </a:lnTo>
                  <a:lnTo>
                    <a:pt x="168" y="338"/>
                  </a:lnTo>
                  <a:lnTo>
                    <a:pt x="171" y="338"/>
                  </a:lnTo>
                  <a:lnTo>
                    <a:pt x="173" y="338"/>
                  </a:lnTo>
                  <a:lnTo>
                    <a:pt x="173" y="341"/>
                  </a:lnTo>
                  <a:lnTo>
                    <a:pt x="176" y="341"/>
                  </a:lnTo>
                  <a:lnTo>
                    <a:pt x="176" y="341"/>
                  </a:lnTo>
                  <a:lnTo>
                    <a:pt x="179" y="343"/>
                  </a:lnTo>
                  <a:lnTo>
                    <a:pt x="179" y="343"/>
                  </a:lnTo>
                  <a:lnTo>
                    <a:pt x="179" y="343"/>
                  </a:lnTo>
                  <a:lnTo>
                    <a:pt x="181" y="343"/>
                  </a:lnTo>
                  <a:lnTo>
                    <a:pt x="179" y="346"/>
                  </a:lnTo>
                  <a:lnTo>
                    <a:pt x="179" y="348"/>
                  </a:lnTo>
                  <a:lnTo>
                    <a:pt x="176" y="353"/>
                  </a:lnTo>
                  <a:lnTo>
                    <a:pt x="173" y="356"/>
                  </a:lnTo>
                  <a:lnTo>
                    <a:pt x="168" y="363"/>
                  </a:lnTo>
                  <a:lnTo>
                    <a:pt x="166" y="369"/>
                  </a:lnTo>
                  <a:lnTo>
                    <a:pt x="168" y="369"/>
                  </a:lnTo>
                  <a:lnTo>
                    <a:pt x="171" y="371"/>
                  </a:lnTo>
                  <a:lnTo>
                    <a:pt x="171" y="371"/>
                  </a:lnTo>
                  <a:lnTo>
                    <a:pt x="173" y="369"/>
                  </a:lnTo>
                  <a:lnTo>
                    <a:pt x="173" y="369"/>
                  </a:lnTo>
                  <a:lnTo>
                    <a:pt x="176" y="369"/>
                  </a:lnTo>
                  <a:lnTo>
                    <a:pt x="176" y="369"/>
                  </a:lnTo>
                  <a:lnTo>
                    <a:pt x="176" y="371"/>
                  </a:lnTo>
                  <a:lnTo>
                    <a:pt x="179" y="374"/>
                  </a:lnTo>
                  <a:lnTo>
                    <a:pt x="179" y="374"/>
                  </a:lnTo>
                  <a:lnTo>
                    <a:pt x="181" y="376"/>
                  </a:lnTo>
                  <a:lnTo>
                    <a:pt x="181" y="376"/>
                  </a:lnTo>
                  <a:lnTo>
                    <a:pt x="184" y="379"/>
                  </a:lnTo>
                  <a:lnTo>
                    <a:pt x="184" y="379"/>
                  </a:lnTo>
                  <a:lnTo>
                    <a:pt x="184" y="374"/>
                  </a:lnTo>
                  <a:lnTo>
                    <a:pt x="184" y="366"/>
                  </a:lnTo>
                  <a:lnTo>
                    <a:pt x="186" y="358"/>
                  </a:lnTo>
                  <a:lnTo>
                    <a:pt x="186" y="351"/>
                  </a:lnTo>
                  <a:lnTo>
                    <a:pt x="189" y="343"/>
                  </a:lnTo>
                  <a:lnTo>
                    <a:pt x="189" y="335"/>
                  </a:lnTo>
                  <a:lnTo>
                    <a:pt x="189" y="328"/>
                  </a:lnTo>
                  <a:lnTo>
                    <a:pt x="191" y="323"/>
                  </a:lnTo>
                  <a:lnTo>
                    <a:pt x="191" y="320"/>
                  </a:lnTo>
                  <a:lnTo>
                    <a:pt x="191" y="315"/>
                  </a:lnTo>
                  <a:lnTo>
                    <a:pt x="191" y="310"/>
                  </a:lnTo>
                  <a:lnTo>
                    <a:pt x="194" y="310"/>
                  </a:lnTo>
                  <a:lnTo>
                    <a:pt x="191" y="307"/>
                  </a:lnTo>
                  <a:lnTo>
                    <a:pt x="191" y="307"/>
                  </a:lnTo>
                  <a:lnTo>
                    <a:pt x="191" y="307"/>
                  </a:lnTo>
                  <a:lnTo>
                    <a:pt x="191" y="305"/>
                  </a:lnTo>
                  <a:lnTo>
                    <a:pt x="191" y="305"/>
                  </a:lnTo>
                  <a:lnTo>
                    <a:pt x="191" y="305"/>
                  </a:lnTo>
                  <a:lnTo>
                    <a:pt x="191" y="302"/>
                  </a:lnTo>
                  <a:lnTo>
                    <a:pt x="189" y="302"/>
                  </a:lnTo>
                  <a:lnTo>
                    <a:pt x="189" y="302"/>
                  </a:lnTo>
                  <a:lnTo>
                    <a:pt x="189" y="302"/>
                  </a:lnTo>
                  <a:lnTo>
                    <a:pt x="189" y="300"/>
                  </a:lnTo>
                  <a:lnTo>
                    <a:pt x="189" y="300"/>
                  </a:lnTo>
                  <a:lnTo>
                    <a:pt x="189" y="297"/>
                  </a:lnTo>
                  <a:lnTo>
                    <a:pt x="189" y="297"/>
                  </a:lnTo>
                  <a:lnTo>
                    <a:pt x="189" y="297"/>
                  </a:lnTo>
                  <a:lnTo>
                    <a:pt x="189" y="295"/>
                  </a:lnTo>
                  <a:lnTo>
                    <a:pt x="189" y="295"/>
                  </a:lnTo>
                  <a:lnTo>
                    <a:pt x="189" y="295"/>
                  </a:lnTo>
                  <a:lnTo>
                    <a:pt x="186" y="292"/>
                  </a:lnTo>
                  <a:lnTo>
                    <a:pt x="186" y="292"/>
                  </a:lnTo>
                  <a:lnTo>
                    <a:pt x="184" y="290"/>
                  </a:lnTo>
                  <a:lnTo>
                    <a:pt x="181" y="290"/>
                  </a:lnTo>
                  <a:lnTo>
                    <a:pt x="179" y="287"/>
                  </a:lnTo>
                  <a:lnTo>
                    <a:pt x="179" y="285"/>
                  </a:lnTo>
                  <a:lnTo>
                    <a:pt x="179" y="282"/>
                  </a:lnTo>
                  <a:lnTo>
                    <a:pt x="179" y="277"/>
                  </a:lnTo>
                  <a:lnTo>
                    <a:pt x="179" y="272"/>
                  </a:lnTo>
                  <a:lnTo>
                    <a:pt x="179" y="269"/>
                  </a:lnTo>
                  <a:lnTo>
                    <a:pt x="181" y="269"/>
                  </a:lnTo>
                  <a:lnTo>
                    <a:pt x="181" y="269"/>
                  </a:lnTo>
                  <a:lnTo>
                    <a:pt x="184" y="269"/>
                  </a:lnTo>
                  <a:lnTo>
                    <a:pt x="184" y="269"/>
                  </a:lnTo>
                  <a:lnTo>
                    <a:pt x="186" y="267"/>
                  </a:lnTo>
                  <a:lnTo>
                    <a:pt x="186" y="267"/>
                  </a:lnTo>
                  <a:lnTo>
                    <a:pt x="186" y="267"/>
                  </a:lnTo>
                  <a:lnTo>
                    <a:pt x="189" y="267"/>
                  </a:lnTo>
                  <a:lnTo>
                    <a:pt x="189" y="267"/>
                  </a:lnTo>
                  <a:lnTo>
                    <a:pt x="189" y="267"/>
                  </a:lnTo>
                  <a:lnTo>
                    <a:pt x="189" y="267"/>
                  </a:lnTo>
                  <a:lnTo>
                    <a:pt x="191" y="267"/>
                  </a:lnTo>
                  <a:lnTo>
                    <a:pt x="191" y="267"/>
                  </a:lnTo>
                  <a:lnTo>
                    <a:pt x="194" y="267"/>
                  </a:lnTo>
                  <a:lnTo>
                    <a:pt x="194" y="267"/>
                  </a:lnTo>
                  <a:lnTo>
                    <a:pt x="194" y="267"/>
                  </a:lnTo>
                  <a:lnTo>
                    <a:pt x="194" y="267"/>
                  </a:lnTo>
                  <a:lnTo>
                    <a:pt x="194" y="267"/>
                  </a:lnTo>
                  <a:lnTo>
                    <a:pt x="196" y="267"/>
                  </a:lnTo>
                  <a:lnTo>
                    <a:pt x="196" y="267"/>
                  </a:lnTo>
                  <a:lnTo>
                    <a:pt x="196" y="267"/>
                  </a:lnTo>
                  <a:lnTo>
                    <a:pt x="196" y="267"/>
                  </a:lnTo>
                  <a:lnTo>
                    <a:pt x="196" y="267"/>
                  </a:lnTo>
                  <a:lnTo>
                    <a:pt x="196" y="267"/>
                  </a:lnTo>
                  <a:lnTo>
                    <a:pt x="196" y="267"/>
                  </a:lnTo>
                  <a:lnTo>
                    <a:pt x="196" y="264"/>
                  </a:lnTo>
                  <a:lnTo>
                    <a:pt x="196" y="264"/>
                  </a:lnTo>
                  <a:lnTo>
                    <a:pt x="196" y="262"/>
                  </a:lnTo>
                  <a:lnTo>
                    <a:pt x="196" y="262"/>
                  </a:lnTo>
                  <a:lnTo>
                    <a:pt x="196" y="259"/>
                  </a:lnTo>
                  <a:lnTo>
                    <a:pt x="196" y="259"/>
                  </a:lnTo>
                  <a:lnTo>
                    <a:pt x="194" y="259"/>
                  </a:lnTo>
                  <a:lnTo>
                    <a:pt x="194" y="259"/>
                  </a:lnTo>
                  <a:lnTo>
                    <a:pt x="191" y="259"/>
                  </a:lnTo>
                  <a:lnTo>
                    <a:pt x="191" y="259"/>
                  </a:lnTo>
                  <a:lnTo>
                    <a:pt x="191" y="259"/>
                  </a:lnTo>
                  <a:lnTo>
                    <a:pt x="191" y="259"/>
                  </a:lnTo>
                  <a:lnTo>
                    <a:pt x="189" y="259"/>
                  </a:lnTo>
                  <a:lnTo>
                    <a:pt x="189" y="257"/>
                  </a:lnTo>
                  <a:lnTo>
                    <a:pt x="186" y="259"/>
                  </a:lnTo>
                  <a:lnTo>
                    <a:pt x="186" y="257"/>
                  </a:lnTo>
                  <a:lnTo>
                    <a:pt x="184" y="257"/>
                  </a:lnTo>
                  <a:lnTo>
                    <a:pt x="184" y="259"/>
                  </a:lnTo>
                  <a:lnTo>
                    <a:pt x="184" y="251"/>
                  </a:lnTo>
                  <a:lnTo>
                    <a:pt x="184" y="246"/>
                  </a:lnTo>
                  <a:lnTo>
                    <a:pt x="184" y="244"/>
                  </a:lnTo>
                  <a:lnTo>
                    <a:pt x="184" y="244"/>
                  </a:lnTo>
                  <a:lnTo>
                    <a:pt x="186" y="244"/>
                  </a:lnTo>
                  <a:lnTo>
                    <a:pt x="189" y="241"/>
                  </a:lnTo>
                  <a:lnTo>
                    <a:pt x="189" y="241"/>
                  </a:lnTo>
                  <a:lnTo>
                    <a:pt x="189" y="241"/>
                  </a:lnTo>
                  <a:lnTo>
                    <a:pt x="191" y="241"/>
                  </a:lnTo>
                  <a:lnTo>
                    <a:pt x="194" y="244"/>
                  </a:lnTo>
                  <a:lnTo>
                    <a:pt x="194" y="244"/>
                  </a:lnTo>
                  <a:lnTo>
                    <a:pt x="199" y="244"/>
                  </a:lnTo>
                  <a:lnTo>
                    <a:pt x="202" y="244"/>
                  </a:lnTo>
                  <a:lnTo>
                    <a:pt x="207" y="244"/>
                  </a:lnTo>
                  <a:lnTo>
                    <a:pt x="212" y="244"/>
                  </a:lnTo>
                  <a:lnTo>
                    <a:pt x="217" y="244"/>
                  </a:lnTo>
                  <a:lnTo>
                    <a:pt x="217" y="244"/>
                  </a:lnTo>
                  <a:lnTo>
                    <a:pt x="217" y="241"/>
                  </a:lnTo>
                  <a:lnTo>
                    <a:pt x="217" y="241"/>
                  </a:lnTo>
                  <a:lnTo>
                    <a:pt x="217" y="239"/>
                  </a:lnTo>
                  <a:lnTo>
                    <a:pt x="217" y="239"/>
                  </a:lnTo>
                  <a:lnTo>
                    <a:pt x="217" y="236"/>
                  </a:lnTo>
                  <a:lnTo>
                    <a:pt x="219" y="239"/>
                  </a:lnTo>
                  <a:lnTo>
                    <a:pt x="219" y="239"/>
                  </a:lnTo>
                  <a:lnTo>
                    <a:pt x="219" y="241"/>
                  </a:lnTo>
                  <a:lnTo>
                    <a:pt x="222" y="241"/>
                  </a:lnTo>
                  <a:lnTo>
                    <a:pt x="222" y="241"/>
                  </a:lnTo>
                  <a:lnTo>
                    <a:pt x="224" y="241"/>
                  </a:lnTo>
                  <a:lnTo>
                    <a:pt x="224" y="241"/>
                  </a:lnTo>
                  <a:lnTo>
                    <a:pt x="227" y="239"/>
                  </a:lnTo>
                  <a:lnTo>
                    <a:pt x="230" y="236"/>
                  </a:lnTo>
                  <a:lnTo>
                    <a:pt x="230" y="236"/>
                  </a:lnTo>
                  <a:lnTo>
                    <a:pt x="232" y="234"/>
                  </a:lnTo>
                  <a:lnTo>
                    <a:pt x="232" y="234"/>
                  </a:lnTo>
                  <a:lnTo>
                    <a:pt x="232" y="234"/>
                  </a:lnTo>
                  <a:lnTo>
                    <a:pt x="235" y="234"/>
                  </a:lnTo>
                  <a:lnTo>
                    <a:pt x="235" y="236"/>
                  </a:lnTo>
                  <a:lnTo>
                    <a:pt x="237" y="241"/>
                  </a:lnTo>
                  <a:lnTo>
                    <a:pt x="240" y="244"/>
                  </a:lnTo>
                  <a:lnTo>
                    <a:pt x="240" y="246"/>
                  </a:lnTo>
                  <a:lnTo>
                    <a:pt x="240" y="251"/>
                  </a:lnTo>
                  <a:lnTo>
                    <a:pt x="240" y="254"/>
                  </a:lnTo>
                  <a:lnTo>
                    <a:pt x="240" y="254"/>
                  </a:lnTo>
                  <a:lnTo>
                    <a:pt x="240" y="257"/>
                  </a:lnTo>
                  <a:lnTo>
                    <a:pt x="242" y="254"/>
                  </a:lnTo>
                  <a:lnTo>
                    <a:pt x="242" y="254"/>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342" name="Freeform 1961">
              <a:extLst>
                <a:ext uri="{FF2B5EF4-FFF2-40B4-BE49-F238E27FC236}">
                  <a16:creationId xmlns:a16="http://schemas.microsoft.com/office/drawing/2014/main" id="{6F56FF5C-4BDB-874B-AE2A-7EB0E9723D98}"/>
                </a:ext>
              </a:extLst>
            </p:cNvPr>
            <p:cNvSpPr>
              <a:spLocks noEditPoints="1"/>
            </p:cNvSpPr>
            <p:nvPr/>
          </p:nvSpPr>
          <p:spPr bwMode="auto">
            <a:xfrm>
              <a:off x="8772114" y="4188799"/>
              <a:ext cx="296069" cy="65429"/>
            </a:xfrm>
            <a:custGeom>
              <a:avLst/>
              <a:gdLst>
                <a:gd name="T0" fmla="*/ 3 w 181"/>
                <a:gd name="T1" fmla="*/ 40 h 40"/>
                <a:gd name="T2" fmla="*/ 3 w 181"/>
                <a:gd name="T3" fmla="*/ 40 h 40"/>
                <a:gd name="T4" fmla="*/ 3 w 181"/>
                <a:gd name="T5" fmla="*/ 40 h 40"/>
                <a:gd name="T6" fmla="*/ 3 w 181"/>
                <a:gd name="T7" fmla="*/ 40 h 40"/>
                <a:gd name="T8" fmla="*/ 3 w 181"/>
                <a:gd name="T9" fmla="*/ 40 h 40"/>
                <a:gd name="T10" fmla="*/ 3 w 181"/>
                <a:gd name="T11" fmla="*/ 40 h 40"/>
                <a:gd name="T12" fmla="*/ 3 w 181"/>
                <a:gd name="T13" fmla="*/ 40 h 40"/>
                <a:gd name="T14" fmla="*/ 3 w 181"/>
                <a:gd name="T15" fmla="*/ 40 h 40"/>
                <a:gd name="T16" fmla="*/ 3 w 181"/>
                <a:gd name="T17" fmla="*/ 40 h 40"/>
                <a:gd name="T18" fmla="*/ 3 w 181"/>
                <a:gd name="T19" fmla="*/ 40 h 40"/>
                <a:gd name="T20" fmla="*/ 3 w 181"/>
                <a:gd name="T21" fmla="*/ 40 h 40"/>
                <a:gd name="T22" fmla="*/ 3 w 181"/>
                <a:gd name="T23" fmla="*/ 40 h 40"/>
                <a:gd name="T24" fmla="*/ 3 w 181"/>
                <a:gd name="T25" fmla="*/ 40 h 40"/>
                <a:gd name="T26" fmla="*/ 0 w 181"/>
                <a:gd name="T27" fmla="*/ 40 h 40"/>
                <a:gd name="T28" fmla="*/ 0 w 181"/>
                <a:gd name="T29" fmla="*/ 40 h 40"/>
                <a:gd name="T30" fmla="*/ 0 w 181"/>
                <a:gd name="T31" fmla="*/ 40 h 40"/>
                <a:gd name="T32" fmla="*/ 0 w 181"/>
                <a:gd name="T33" fmla="*/ 38 h 40"/>
                <a:gd name="T34" fmla="*/ 0 w 181"/>
                <a:gd name="T35" fmla="*/ 38 h 40"/>
                <a:gd name="T36" fmla="*/ 0 w 181"/>
                <a:gd name="T37" fmla="*/ 38 h 40"/>
                <a:gd name="T38" fmla="*/ 0 w 181"/>
                <a:gd name="T39" fmla="*/ 38 h 40"/>
                <a:gd name="T40" fmla="*/ 0 w 181"/>
                <a:gd name="T41" fmla="*/ 40 h 40"/>
                <a:gd name="T42" fmla="*/ 0 w 181"/>
                <a:gd name="T43" fmla="*/ 40 h 40"/>
                <a:gd name="T44" fmla="*/ 0 w 181"/>
                <a:gd name="T45" fmla="*/ 40 h 40"/>
                <a:gd name="T46" fmla="*/ 3 w 181"/>
                <a:gd name="T47" fmla="*/ 40 h 40"/>
                <a:gd name="T48" fmla="*/ 3 w 181"/>
                <a:gd name="T49" fmla="*/ 40 h 40"/>
                <a:gd name="T50" fmla="*/ 3 w 181"/>
                <a:gd name="T51" fmla="*/ 40 h 40"/>
                <a:gd name="T52" fmla="*/ 181 w 181"/>
                <a:gd name="T53" fmla="*/ 0 h 40"/>
                <a:gd name="T54" fmla="*/ 181 w 181"/>
                <a:gd name="T55" fmla="*/ 0 h 40"/>
                <a:gd name="T56" fmla="*/ 181 w 181"/>
                <a:gd name="T57" fmla="*/ 0 h 40"/>
                <a:gd name="T58" fmla="*/ 179 w 181"/>
                <a:gd name="T59" fmla="*/ 0 h 40"/>
                <a:gd name="T60" fmla="*/ 179 w 181"/>
                <a:gd name="T61" fmla="*/ 2 h 40"/>
                <a:gd name="T62" fmla="*/ 181 w 181"/>
                <a:gd name="T63" fmla="*/ 2 h 40"/>
                <a:gd name="T64" fmla="*/ 181 w 181"/>
                <a:gd name="T65" fmla="*/ 2 h 40"/>
                <a:gd name="T66" fmla="*/ 181 w 181"/>
                <a:gd name="T67" fmla="*/ 2 h 40"/>
                <a:gd name="T68" fmla="*/ 181 w 181"/>
                <a:gd name="T69"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1" h="40">
                  <a:moveTo>
                    <a:pt x="3" y="40"/>
                  </a:moveTo>
                  <a:lnTo>
                    <a:pt x="3" y="40"/>
                  </a:lnTo>
                  <a:lnTo>
                    <a:pt x="3" y="40"/>
                  </a:lnTo>
                  <a:lnTo>
                    <a:pt x="3" y="40"/>
                  </a:lnTo>
                  <a:lnTo>
                    <a:pt x="3" y="40"/>
                  </a:lnTo>
                  <a:lnTo>
                    <a:pt x="3" y="40"/>
                  </a:lnTo>
                  <a:lnTo>
                    <a:pt x="3" y="40"/>
                  </a:lnTo>
                  <a:lnTo>
                    <a:pt x="3" y="40"/>
                  </a:lnTo>
                  <a:lnTo>
                    <a:pt x="3" y="40"/>
                  </a:lnTo>
                  <a:lnTo>
                    <a:pt x="3" y="40"/>
                  </a:lnTo>
                  <a:lnTo>
                    <a:pt x="3" y="40"/>
                  </a:lnTo>
                  <a:lnTo>
                    <a:pt x="3" y="40"/>
                  </a:lnTo>
                  <a:close/>
                  <a:moveTo>
                    <a:pt x="3" y="40"/>
                  </a:moveTo>
                  <a:lnTo>
                    <a:pt x="0" y="40"/>
                  </a:lnTo>
                  <a:lnTo>
                    <a:pt x="0" y="40"/>
                  </a:lnTo>
                  <a:lnTo>
                    <a:pt x="0" y="40"/>
                  </a:lnTo>
                  <a:lnTo>
                    <a:pt x="0" y="38"/>
                  </a:lnTo>
                  <a:lnTo>
                    <a:pt x="0" y="38"/>
                  </a:lnTo>
                  <a:lnTo>
                    <a:pt x="0" y="38"/>
                  </a:lnTo>
                  <a:lnTo>
                    <a:pt x="0" y="38"/>
                  </a:lnTo>
                  <a:lnTo>
                    <a:pt x="0" y="40"/>
                  </a:lnTo>
                  <a:lnTo>
                    <a:pt x="0" y="40"/>
                  </a:lnTo>
                  <a:lnTo>
                    <a:pt x="0" y="40"/>
                  </a:lnTo>
                  <a:lnTo>
                    <a:pt x="3" y="40"/>
                  </a:lnTo>
                  <a:lnTo>
                    <a:pt x="3" y="40"/>
                  </a:lnTo>
                  <a:lnTo>
                    <a:pt x="3" y="40"/>
                  </a:lnTo>
                  <a:close/>
                  <a:moveTo>
                    <a:pt x="181" y="0"/>
                  </a:moveTo>
                  <a:lnTo>
                    <a:pt x="181" y="0"/>
                  </a:lnTo>
                  <a:lnTo>
                    <a:pt x="181" y="0"/>
                  </a:lnTo>
                  <a:lnTo>
                    <a:pt x="179" y="0"/>
                  </a:lnTo>
                  <a:lnTo>
                    <a:pt x="179" y="2"/>
                  </a:lnTo>
                  <a:lnTo>
                    <a:pt x="181" y="2"/>
                  </a:lnTo>
                  <a:lnTo>
                    <a:pt x="181" y="2"/>
                  </a:lnTo>
                  <a:lnTo>
                    <a:pt x="181" y="2"/>
                  </a:lnTo>
                  <a:lnTo>
                    <a:pt x="181"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343" name="Freeform 1962">
              <a:extLst>
                <a:ext uri="{FF2B5EF4-FFF2-40B4-BE49-F238E27FC236}">
                  <a16:creationId xmlns:a16="http://schemas.microsoft.com/office/drawing/2014/main" id="{DF122AD8-08F6-104A-A762-D0545B46FDAB}"/>
                </a:ext>
              </a:extLst>
            </p:cNvPr>
            <p:cNvSpPr>
              <a:spLocks noEditPoints="1"/>
            </p:cNvSpPr>
            <p:nvPr/>
          </p:nvSpPr>
          <p:spPr bwMode="auto">
            <a:xfrm>
              <a:off x="7872459" y="1823524"/>
              <a:ext cx="1691352" cy="1298775"/>
            </a:xfrm>
            <a:custGeom>
              <a:avLst/>
              <a:gdLst>
                <a:gd name="T0" fmla="*/ 777 w 1034"/>
                <a:gd name="T1" fmla="*/ 792 h 794"/>
                <a:gd name="T2" fmla="*/ 800 w 1034"/>
                <a:gd name="T3" fmla="*/ 731 h 794"/>
                <a:gd name="T4" fmla="*/ 963 w 1034"/>
                <a:gd name="T5" fmla="*/ 626 h 794"/>
                <a:gd name="T6" fmla="*/ 986 w 1034"/>
                <a:gd name="T7" fmla="*/ 527 h 794"/>
                <a:gd name="T8" fmla="*/ 1032 w 1034"/>
                <a:gd name="T9" fmla="*/ 156 h 794"/>
                <a:gd name="T10" fmla="*/ 996 w 1034"/>
                <a:gd name="T11" fmla="*/ 120 h 794"/>
                <a:gd name="T12" fmla="*/ 912 w 1034"/>
                <a:gd name="T13" fmla="*/ 92 h 794"/>
                <a:gd name="T14" fmla="*/ 838 w 1034"/>
                <a:gd name="T15" fmla="*/ 46 h 794"/>
                <a:gd name="T16" fmla="*/ 780 w 1034"/>
                <a:gd name="T17" fmla="*/ 8 h 794"/>
                <a:gd name="T18" fmla="*/ 721 w 1034"/>
                <a:gd name="T19" fmla="*/ 28 h 794"/>
                <a:gd name="T20" fmla="*/ 685 w 1034"/>
                <a:gd name="T21" fmla="*/ 102 h 794"/>
                <a:gd name="T22" fmla="*/ 747 w 1034"/>
                <a:gd name="T23" fmla="*/ 128 h 794"/>
                <a:gd name="T24" fmla="*/ 744 w 1034"/>
                <a:gd name="T25" fmla="*/ 156 h 794"/>
                <a:gd name="T26" fmla="*/ 698 w 1034"/>
                <a:gd name="T27" fmla="*/ 184 h 794"/>
                <a:gd name="T28" fmla="*/ 670 w 1034"/>
                <a:gd name="T29" fmla="*/ 219 h 794"/>
                <a:gd name="T30" fmla="*/ 586 w 1034"/>
                <a:gd name="T31" fmla="*/ 252 h 794"/>
                <a:gd name="T32" fmla="*/ 405 w 1034"/>
                <a:gd name="T33" fmla="*/ 240 h 794"/>
                <a:gd name="T34" fmla="*/ 288 w 1034"/>
                <a:gd name="T35" fmla="*/ 186 h 794"/>
                <a:gd name="T36" fmla="*/ 244 w 1034"/>
                <a:gd name="T37" fmla="*/ 133 h 794"/>
                <a:gd name="T38" fmla="*/ 188 w 1034"/>
                <a:gd name="T39" fmla="*/ 102 h 794"/>
                <a:gd name="T40" fmla="*/ 163 w 1034"/>
                <a:gd name="T41" fmla="*/ 135 h 794"/>
                <a:gd name="T42" fmla="*/ 125 w 1034"/>
                <a:gd name="T43" fmla="*/ 178 h 794"/>
                <a:gd name="T44" fmla="*/ 92 w 1034"/>
                <a:gd name="T45" fmla="*/ 201 h 794"/>
                <a:gd name="T46" fmla="*/ 99 w 1034"/>
                <a:gd name="T47" fmla="*/ 255 h 794"/>
                <a:gd name="T48" fmla="*/ 30 w 1034"/>
                <a:gd name="T49" fmla="*/ 288 h 794"/>
                <a:gd name="T50" fmla="*/ 5 w 1034"/>
                <a:gd name="T51" fmla="*/ 326 h 794"/>
                <a:gd name="T52" fmla="*/ 30 w 1034"/>
                <a:gd name="T53" fmla="*/ 367 h 794"/>
                <a:gd name="T54" fmla="*/ 94 w 1034"/>
                <a:gd name="T55" fmla="*/ 402 h 794"/>
                <a:gd name="T56" fmla="*/ 137 w 1034"/>
                <a:gd name="T57" fmla="*/ 456 h 794"/>
                <a:gd name="T58" fmla="*/ 137 w 1034"/>
                <a:gd name="T59" fmla="*/ 491 h 794"/>
                <a:gd name="T60" fmla="*/ 193 w 1034"/>
                <a:gd name="T61" fmla="*/ 525 h 794"/>
                <a:gd name="T62" fmla="*/ 278 w 1034"/>
                <a:gd name="T63" fmla="*/ 565 h 794"/>
                <a:gd name="T64" fmla="*/ 341 w 1034"/>
                <a:gd name="T65" fmla="*/ 570 h 794"/>
                <a:gd name="T66" fmla="*/ 395 w 1034"/>
                <a:gd name="T67" fmla="*/ 570 h 794"/>
                <a:gd name="T68" fmla="*/ 448 w 1034"/>
                <a:gd name="T69" fmla="*/ 550 h 794"/>
                <a:gd name="T70" fmla="*/ 492 w 1034"/>
                <a:gd name="T71" fmla="*/ 560 h 794"/>
                <a:gd name="T72" fmla="*/ 535 w 1034"/>
                <a:gd name="T73" fmla="*/ 580 h 794"/>
                <a:gd name="T74" fmla="*/ 532 w 1034"/>
                <a:gd name="T75" fmla="*/ 647 h 794"/>
                <a:gd name="T76" fmla="*/ 576 w 1034"/>
                <a:gd name="T77" fmla="*/ 687 h 794"/>
                <a:gd name="T78" fmla="*/ 611 w 1034"/>
                <a:gd name="T79" fmla="*/ 718 h 794"/>
                <a:gd name="T80" fmla="*/ 627 w 1034"/>
                <a:gd name="T81" fmla="*/ 700 h 794"/>
                <a:gd name="T82" fmla="*/ 673 w 1034"/>
                <a:gd name="T83" fmla="*/ 692 h 794"/>
                <a:gd name="T84" fmla="*/ 716 w 1034"/>
                <a:gd name="T85" fmla="*/ 703 h 794"/>
                <a:gd name="T86" fmla="*/ 759 w 1034"/>
                <a:gd name="T87" fmla="*/ 715 h 794"/>
                <a:gd name="T88" fmla="*/ 790 w 1034"/>
                <a:gd name="T89" fmla="*/ 748 h 794"/>
                <a:gd name="T90" fmla="*/ 826 w 1034"/>
                <a:gd name="T91" fmla="*/ 713 h 794"/>
                <a:gd name="T92" fmla="*/ 848 w 1034"/>
                <a:gd name="T93" fmla="*/ 690 h 794"/>
                <a:gd name="T94" fmla="*/ 892 w 1034"/>
                <a:gd name="T95" fmla="*/ 692 h 794"/>
                <a:gd name="T96" fmla="*/ 933 w 1034"/>
                <a:gd name="T97" fmla="*/ 662 h 794"/>
                <a:gd name="T98" fmla="*/ 958 w 1034"/>
                <a:gd name="T99" fmla="*/ 626 h 794"/>
                <a:gd name="T100" fmla="*/ 966 w 1034"/>
                <a:gd name="T101" fmla="*/ 593 h 794"/>
                <a:gd name="T102" fmla="*/ 984 w 1034"/>
                <a:gd name="T103" fmla="*/ 547 h 794"/>
                <a:gd name="T104" fmla="*/ 963 w 1034"/>
                <a:gd name="T105" fmla="*/ 497 h 794"/>
                <a:gd name="T106" fmla="*/ 922 w 1034"/>
                <a:gd name="T107" fmla="*/ 446 h 794"/>
                <a:gd name="T108" fmla="*/ 905 w 1034"/>
                <a:gd name="T109" fmla="*/ 382 h 794"/>
                <a:gd name="T110" fmla="*/ 907 w 1034"/>
                <a:gd name="T111" fmla="*/ 354 h 794"/>
                <a:gd name="T112" fmla="*/ 838 w 1034"/>
                <a:gd name="T113" fmla="*/ 318 h 794"/>
                <a:gd name="T114" fmla="*/ 887 w 1034"/>
                <a:gd name="T115" fmla="*/ 308 h 794"/>
                <a:gd name="T116" fmla="*/ 925 w 1034"/>
                <a:gd name="T117" fmla="*/ 303 h 794"/>
                <a:gd name="T118" fmla="*/ 961 w 1034"/>
                <a:gd name="T119" fmla="*/ 262 h 794"/>
                <a:gd name="T120" fmla="*/ 999 w 1034"/>
                <a:gd name="T121" fmla="*/ 255 h 794"/>
                <a:gd name="T122" fmla="*/ 1017 w 1034"/>
                <a:gd name="T123" fmla="*/ 240 h 794"/>
                <a:gd name="T124" fmla="*/ 1009 w 1034"/>
                <a:gd name="T125" fmla="*/ 184 h 7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34" h="794">
                  <a:moveTo>
                    <a:pt x="813" y="759"/>
                  </a:moveTo>
                  <a:lnTo>
                    <a:pt x="810" y="756"/>
                  </a:lnTo>
                  <a:lnTo>
                    <a:pt x="810" y="756"/>
                  </a:lnTo>
                  <a:lnTo>
                    <a:pt x="808" y="754"/>
                  </a:lnTo>
                  <a:lnTo>
                    <a:pt x="808" y="754"/>
                  </a:lnTo>
                  <a:lnTo>
                    <a:pt x="805" y="751"/>
                  </a:lnTo>
                  <a:lnTo>
                    <a:pt x="805" y="751"/>
                  </a:lnTo>
                  <a:lnTo>
                    <a:pt x="803" y="754"/>
                  </a:lnTo>
                  <a:lnTo>
                    <a:pt x="803" y="754"/>
                  </a:lnTo>
                  <a:lnTo>
                    <a:pt x="803" y="756"/>
                  </a:lnTo>
                  <a:lnTo>
                    <a:pt x="800" y="754"/>
                  </a:lnTo>
                  <a:lnTo>
                    <a:pt x="800" y="754"/>
                  </a:lnTo>
                  <a:lnTo>
                    <a:pt x="800" y="754"/>
                  </a:lnTo>
                  <a:lnTo>
                    <a:pt x="800" y="756"/>
                  </a:lnTo>
                  <a:lnTo>
                    <a:pt x="797" y="754"/>
                  </a:lnTo>
                  <a:lnTo>
                    <a:pt x="795" y="754"/>
                  </a:lnTo>
                  <a:lnTo>
                    <a:pt x="795" y="754"/>
                  </a:lnTo>
                  <a:lnTo>
                    <a:pt x="792" y="756"/>
                  </a:lnTo>
                  <a:lnTo>
                    <a:pt x="790" y="756"/>
                  </a:lnTo>
                  <a:lnTo>
                    <a:pt x="785" y="756"/>
                  </a:lnTo>
                  <a:lnTo>
                    <a:pt x="785" y="756"/>
                  </a:lnTo>
                  <a:lnTo>
                    <a:pt x="782" y="756"/>
                  </a:lnTo>
                  <a:lnTo>
                    <a:pt x="780" y="756"/>
                  </a:lnTo>
                  <a:lnTo>
                    <a:pt x="780" y="756"/>
                  </a:lnTo>
                  <a:lnTo>
                    <a:pt x="777" y="759"/>
                  </a:lnTo>
                  <a:lnTo>
                    <a:pt x="777" y="759"/>
                  </a:lnTo>
                  <a:lnTo>
                    <a:pt x="777" y="761"/>
                  </a:lnTo>
                  <a:lnTo>
                    <a:pt x="777" y="761"/>
                  </a:lnTo>
                  <a:lnTo>
                    <a:pt x="780" y="761"/>
                  </a:lnTo>
                  <a:lnTo>
                    <a:pt x="777" y="761"/>
                  </a:lnTo>
                  <a:lnTo>
                    <a:pt x="775" y="764"/>
                  </a:lnTo>
                  <a:lnTo>
                    <a:pt x="772" y="766"/>
                  </a:lnTo>
                  <a:lnTo>
                    <a:pt x="769" y="769"/>
                  </a:lnTo>
                  <a:lnTo>
                    <a:pt x="769" y="769"/>
                  </a:lnTo>
                  <a:lnTo>
                    <a:pt x="767" y="771"/>
                  </a:lnTo>
                  <a:lnTo>
                    <a:pt x="767" y="771"/>
                  </a:lnTo>
                  <a:lnTo>
                    <a:pt x="769" y="779"/>
                  </a:lnTo>
                  <a:lnTo>
                    <a:pt x="769" y="782"/>
                  </a:lnTo>
                  <a:lnTo>
                    <a:pt x="769" y="784"/>
                  </a:lnTo>
                  <a:lnTo>
                    <a:pt x="772" y="789"/>
                  </a:lnTo>
                  <a:lnTo>
                    <a:pt x="777" y="792"/>
                  </a:lnTo>
                  <a:lnTo>
                    <a:pt x="777" y="792"/>
                  </a:lnTo>
                  <a:lnTo>
                    <a:pt x="782" y="792"/>
                  </a:lnTo>
                  <a:lnTo>
                    <a:pt x="785" y="794"/>
                  </a:lnTo>
                  <a:lnTo>
                    <a:pt x="785" y="794"/>
                  </a:lnTo>
                  <a:lnTo>
                    <a:pt x="787" y="794"/>
                  </a:lnTo>
                  <a:lnTo>
                    <a:pt x="790" y="794"/>
                  </a:lnTo>
                  <a:lnTo>
                    <a:pt x="792" y="794"/>
                  </a:lnTo>
                  <a:lnTo>
                    <a:pt x="792" y="794"/>
                  </a:lnTo>
                  <a:lnTo>
                    <a:pt x="792" y="792"/>
                  </a:lnTo>
                  <a:lnTo>
                    <a:pt x="792" y="792"/>
                  </a:lnTo>
                  <a:lnTo>
                    <a:pt x="797" y="792"/>
                  </a:lnTo>
                  <a:lnTo>
                    <a:pt x="797" y="792"/>
                  </a:lnTo>
                  <a:lnTo>
                    <a:pt x="797" y="789"/>
                  </a:lnTo>
                  <a:lnTo>
                    <a:pt x="797" y="789"/>
                  </a:lnTo>
                  <a:lnTo>
                    <a:pt x="797" y="789"/>
                  </a:lnTo>
                  <a:lnTo>
                    <a:pt x="800" y="787"/>
                  </a:lnTo>
                  <a:lnTo>
                    <a:pt x="803" y="784"/>
                  </a:lnTo>
                  <a:lnTo>
                    <a:pt x="803" y="784"/>
                  </a:lnTo>
                  <a:lnTo>
                    <a:pt x="803" y="784"/>
                  </a:lnTo>
                  <a:lnTo>
                    <a:pt x="805" y="784"/>
                  </a:lnTo>
                  <a:lnTo>
                    <a:pt x="805" y="784"/>
                  </a:lnTo>
                  <a:lnTo>
                    <a:pt x="805" y="782"/>
                  </a:lnTo>
                  <a:lnTo>
                    <a:pt x="805" y="779"/>
                  </a:lnTo>
                  <a:lnTo>
                    <a:pt x="805" y="776"/>
                  </a:lnTo>
                  <a:lnTo>
                    <a:pt x="805" y="774"/>
                  </a:lnTo>
                  <a:lnTo>
                    <a:pt x="805" y="774"/>
                  </a:lnTo>
                  <a:lnTo>
                    <a:pt x="808" y="774"/>
                  </a:lnTo>
                  <a:lnTo>
                    <a:pt x="808" y="771"/>
                  </a:lnTo>
                  <a:lnTo>
                    <a:pt x="810" y="764"/>
                  </a:lnTo>
                  <a:lnTo>
                    <a:pt x="810" y="764"/>
                  </a:lnTo>
                  <a:lnTo>
                    <a:pt x="813" y="764"/>
                  </a:lnTo>
                  <a:lnTo>
                    <a:pt x="813" y="761"/>
                  </a:lnTo>
                  <a:lnTo>
                    <a:pt x="813" y="759"/>
                  </a:lnTo>
                  <a:close/>
                  <a:moveTo>
                    <a:pt x="797" y="731"/>
                  </a:moveTo>
                  <a:lnTo>
                    <a:pt x="795" y="731"/>
                  </a:lnTo>
                  <a:lnTo>
                    <a:pt x="795" y="731"/>
                  </a:lnTo>
                  <a:lnTo>
                    <a:pt x="795" y="731"/>
                  </a:lnTo>
                  <a:lnTo>
                    <a:pt x="795" y="733"/>
                  </a:lnTo>
                  <a:lnTo>
                    <a:pt x="795" y="733"/>
                  </a:lnTo>
                  <a:lnTo>
                    <a:pt x="797" y="731"/>
                  </a:lnTo>
                  <a:lnTo>
                    <a:pt x="797" y="733"/>
                  </a:lnTo>
                  <a:lnTo>
                    <a:pt x="800" y="731"/>
                  </a:lnTo>
                  <a:lnTo>
                    <a:pt x="800" y="731"/>
                  </a:lnTo>
                  <a:lnTo>
                    <a:pt x="797" y="731"/>
                  </a:lnTo>
                  <a:lnTo>
                    <a:pt x="797" y="731"/>
                  </a:lnTo>
                  <a:close/>
                  <a:moveTo>
                    <a:pt x="836" y="718"/>
                  </a:moveTo>
                  <a:lnTo>
                    <a:pt x="836" y="718"/>
                  </a:lnTo>
                  <a:lnTo>
                    <a:pt x="836" y="718"/>
                  </a:lnTo>
                  <a:lnTo>
                    <a:pt x="838" y="718"/>
                  </a:lnTo>
                  <a:lnTo>
                    <a:pt x="838" y="715"/>
                  </a:lnTo>
                  <a:lnTo>
                    <a:pt x="836" y="718"/>
                  </a:lnTo>
                  <a:close/>
                  <a:moveTo>
                    <a:pt x="841" y="715"/>
                  </a:moveTo>
                  <a:lnTo>
                    <a:pt x="841" y="715"/>
                  </a:lnTo>
                  <a:lnTo>
                    <a:pt x="841" y="715"/>
                  </a:lnTo>
                  <a:lnTo>
                    <a:pt x="841" y="718"/>
                  </a:lnTo>
                  <a:lnTo>
                    <a:pt x="841" y="718"/>
                  </a:lnTo>
                  <a:lnTo>
                    <a:pt x="841" y="718"/>
                  </a:lnTo>
                  <a:lnTo>
                    <a:pt x="841" y="718"/>
                  </a:lnTo>
                  <a:lnTo>
                    <a:pt x="841" y="715"/>
                  </a:lnTo>
                  <a:lnTo>
                    <a:pt x="841" y="715"/>
                  </a:lnTo>
                  <a:lnTo>
                    <a:pt x="843" y="715"/>
                  </a:lnTo>
                  <a:lnTo>
                    <a:pt x="841" y="715"/>
                  </a:lnTo>
                  <a:lnTo>
                    <a:pt x="841" y="715"/>
                  </a:lnTo>
                  <a:close/>
                  <a:moveTo>
                    <a:pt x="851" y="690"/>
                  </a:moveTo>
                  <a:lnTo>
                    <a:pt x="851" y="690"/>
                  </a:lnTo>
                  <a:lnTo>
                    <a:pt x="848" y="690"/>
                  </a:lnTo>
                  <a:lnTo>
                    <a:pt x="848" y="690"/>
                  </a:lnTo>
                  <a:lnTo>
                    <a:pt x="851" y="690"/>
                  </a:lnTo>
                  <a:lnTo>
                    <a:pt x="851" y="690"/>
                  </a:lnTo>
                  <a:lnTo>
                    <a:pt x="854" y="692"/>
                  </a:lnTo>
                  <a:lnTo>
                    <a:pt x="851" y="690"/>
                  </a:lnTo>
                  <a:lnTo>
                    <a:pt x="851" y="690"/>
                  </a:lnTo>
                  <a:close/>
                  <a:moveTo>
                    <a:pt x="935" y="652"/>
                  </a:moveTo>
                  <a:lnTo>
                    <a:pt x="935" y="652"/>
                  </a:lnTo>
                  <a:lnTo>
                    <a:pt x="935" y="652"/>
                  </a:lnTo>
                  <a:lnTo>
                    <a:pt x="935" y="652"/>
                  </a:lnTo>
                  <a:lnTo>
                    <a:pt x="935" y="654"/>
                  </a:lnTo>
                  <a:lnTo>
                    <a:pt x="935" y="654"/>
                  </a:lnTo>
                  <a:lnTo>
                    <a:pt x="935" y="652"/>
                  </a:lnTo>
                  <a:lnTo>
                    <a:pt x="935" y="652"/>
                  </a:lnTo>
                  <a:lnTo>
                    <a:pt x="935" y="652"/>
                  </a:lnTo>
                  <a:close/>
                  <a:moveTo>
                    <a:pt x="963" y="629"/>
                  </a:moveTo>
                  <a:lnTo>
                    <a:pt x="963" y="629"/>
                  </a:lnTo>
                  <a:lnTo>
                    <a:pt x="963" y="626"/>
                  </a:lnTo>
                  <a:lnTo>
                    <a:pt x="963" y="626"/>
                  </a:lnTo>
                  <a:lnTo>
                    <a:pt x="961" y="626"/>
                  </a:lnTo>
                  <a:lnTo>
                    <a:pt x="961" y="626"/>
                  </a:lnTo>
                  <a:lnTo>
                    <a:pt x="961" y="629"/>
                  </a:lnTo>
                  <a:lnTo>
                    <a:pt x="961" y="629"/>
                  </a:lnTo>
                  <a:lnTo>
                    <a:pt x="961" y="629"/>
                  </a:lnTo>
                  <a:lnTo>
                    <a:pt x="961" y="631"/>
                  </a:lnTo>
                  <a:lnTo>
                    <a:pt x="963" y="631"/>
                  </a:lnTo>
                  <a:lnTo>
                    <a:pt x="963" y="631"/>
                  </a:lnTo>
                  <a:lnTo>
                    <a:pt x="963" y="631"/>
                  </a:lnTo>
                  <a:lnTo>
                    <a:pt x="963" y="629"/>
                  </a:lnTo>
                  <a:lnTo>
                    <a:pt x="963" y="629"/>
                  </a:lnTo>
                  <a:close/>
                  <a:moveTo>
                    <a:pt x="976" y="568"/>
                  </a:moveTo>
                  <a:lnTo>
                    <a:pt x="976" y="568"/>
                  </a:lnTo>
                  <a:lnTo>
                    <a:pt x="973" y="570"/>
                  </a:lnTo>
                  <a:lnTo>
                    <a:pt x="976" y="570"/>
                  </a:lnTo>
                  <a:lnTo>
                    <a:pt x="976" y="570"/>
                  </a:lnTo>
                  <a:lnTo>
                    <a:pt x="976" y="570"/>
                  </a:lnTo>
                  <a:lnTo>
                    <a:pt x="976" y="570"/>
                  </a:lnTo>
                  <a:lnTo>
                    <a:pt x="976" y="568"/>
                  </a:lnTo>
                  <a:close/>
                  <a:moveTo>
                    <a:pt x="984" y="532"/>
                  </a:moveTo>
                  <a:lnTo>
                    <a:pt x="981" y="532"/>
                  </a:lnTo>
                  <a:lnTo>
                    <a:pt x="981" y="535"/>
                  </a:lnTo>
                  <a:lnTo>
                    <a:pt x="984" y="535"/>
                  </a:lnTo>
                  <a:lnTo>
                    <a:pt x="986" y="535"/>
                  </a:lnTo>
                  <a:lnTo>
                    <a:pt x="986" y="535"/>
                  </a:lnTo>
                  <a:lnTo>
                    <a:pt x="984" y="535"/>
                  </a:lnTo>
                  <a:lnTo>
                    <a:pt x="984" y="532"/>
                  </a:lnTo>
                  <a:close/>
                  <a:moveTo>
                    <a:pt x="989" y="530"/>
                  </a:moveTo>
                  <a:lnTo>
                    <a:pt x="986" y="530"/>
                  </a:lnTo>
                  <a:lnTo>
                    <a:pt x="986" y="530"/>
                  </a:lnTo>
                  <a:lnTo>
                    <a:pt x="989" y="530"/>
                  </a:lnTo>
                  <a:lnTo>
                    <a:pt x="989" y="532"/>
                  </a:lnTo>
                  <a:lnTo>
                    <a:pt x="989" y="530"/>
                  </a:lnTo>
                  <a:lnTo>
                    <a:pt x="989" y="530"/>
                  </a:lnTo>
                  <a:close/>
                  <a:moveTo>
                    <a:pt x="981" y="525"/>
                  </a:moveTo>
                  <a:lnTo>
                    <a:pt x="978" y="525"/>
                  </a:lnTo>
                  <a:lnTo>
                    <a:pt x="978" y="527"/>
                  </a:lnTo>
                  <a:lnTo>
                    <a:pt x="981" y="527"/>
                  </a:lnTo>
                  <a:lnTo>
                    <a:pt x="984" y="527"/>
                  </a:lnTo>
                  <a:lnTo>
                    <a:pt x="986" y="530"/>
                  </a:lnTo>
                  <a:lnTo>
                    <a:pt x="986" y="530"/>
                  </a:lnTo>
                  <a:lnTo>
                    <a:pt x="986" y="527"/>
                  </a:lnTo>
                  <a:lnTo>
                    <a:pt x="984" y="527"/>
                  </a:lnTo>
                  <a:lnTo>
                    <a:pt x="981" y="525"/>
                  </a:lnTo>
                  <a:close/>
                  <a:moveTo>
                    <a:pt x="961" y="491"/>
                  </a:moveTo>
                  <a:lnTo>
                    <a:pt x="958" y="489"/>
                  </a:lnTo>
                  <a:lnTo>
                    <a:pt x="958" y="489"/>
                  </a:lnTo>
                  <a:lnTo>
                    <a:pt x="955" y="489"/>
                  </a:lnTo>
                  <a:lnTo>
                    <a:pt x="953" y="486"/>
                  </a:lnTo>
                  <a:lnTo>
                    <a:pt x="950" y="486"/>
                  </a:lnTo>
                  <a:lnTo>
                    <a:pt x="953" y="489"/>
                  </a:lnTo>
                  <a:lnTo>
                    <a:pt x="955" y="491"/>
                  </a:lnTo>
                  <a:lnTo>
                    <a:pt x="958" y="491"/>
                  </a:lnTo>
                  <a:lnTo>
                    <a:pt x="966" y="494"/>
                  </a:lnTo>
                  <a:lnTo>
                    <a:pt x="966" y="494"/>
                  </a:lnTo>
                  <a:lnTo>
                    <a:pt x="966" y="494"/>
                  </a:lnTo>
                  <a:lnTo>
                    <a:pt x="966" y="491"/>
                  </a:lnTo>
                  <a:lnTo>
                    <a:pt x="961" y="491"/>
                  </a:lnTo>
                  <a:close/>
                  <a:moveTo>
                    <a:pt x="1034" y="184"/>
                  </a:moveTo>
                  <a:lnTo>
                    <a:pt x="1032" y="181"/>
                  </a:lnTo>
                  <a:lnTo>
                    <a:pt x="1032" y="178"/>
                  </a:lnTo>
                  <a:lnTo>
                    <a:pt x="1032" y="176"/>
                  </a:lnTo>
                  <a:lnTo>
                    <a:pt x="1034" y="176"/>
                  </a:lnTo>
                  <a:lnTo>
                    <a:pt x="1034" y="176"/>
                  </a:lnTo>
                  <a:lnTo>
                    <a:pt x="1034" y="176"/>
                  </a:lnTo>
                  <a:lnTo>
                    <a:pt x="1034" y="173"/>
                  </a:lnTo>
                  <a:lnTo>
                    <a:pt x="1034" y="173"/>
                  </a:lnTo>
                  <a:lnTo>
                    <a:pt x="1034" y="171"/>
                  </a:lnTo>
                  <a:lnTo>
                    <a:pt x="1032" y="171"/>
                  </a:lnTo>
                  <a:lnTo>
                    <a:pt x="1032" y="168"/>
                  </a:lnTo>
                  <a:lnTo>
                    <a:pt x="1032" y="168"/>
                  </a:lnTo>
                  <a:lnTo>
                    <a:pt x="1034" y="168"/>
                  </a:lnTo>
                  <a:lnTo>
                    <a:pt x="1034" y="168"/>
                  </a:lnTo>
                  <a:lnTo>
                    <a:pt x="1034" y="166"/>
                  </a:lnTo>
                  <a:lnTo>
                    <a:pt x="1034" y="166"/>
                  </a:lnTo>
                  <a:lnTo>
                    <a:pt x="1032" y="163"/>
                  </a:lnTo>
                  <a:lnTo>
                    <a:pt x="1032" y="163"/>
                  </a:lnTo>
                  <a:lnTo>
                    <a:pt x="1034" y="161"/>
                  </a:lnTo>
                  <a:lnTo>
                    <a:pt x="1034" y="161"/>
                  </a:lnTo>
                  <a:lnTo>
                    <a:pt x="1034" y="161"/>
                  </a:lnTo>
                  <a:lnTo>
                    <a:pt x="1032" y="158"/>
                  </a:lnTo>
                  <a:lnTo>
                    <a:pt x="1032" y="158"/>
                  </a:lnTo>
                  <a:lnTo>
                    <a:pt x="1032" y="156"/>
                  </a:lnTo>
                  <a:lnTo>
                    <a:pt x="1032" y="156"/>
                  </a:lnTo>
                  <a:lnTo>
                    <a:pt x="1032" y="153"/>
                  </a:lnTo>
                  <a:lnTo>
                    <a:pt x="1029" y="150"/>
                  </a:lnTo>
                  <a:lnTo>
                    <a:pt x="1029" y="148"/>
                  </a:lnTo>
                  <a:lnTo>
                    <a:pt x="1029" y="148"/>
                  </a:lnTo>
                  <a:lnTo>
                    <a:pt x="1029" y="145"/>
                  </a:lnTo>
                  <a:lnTo>
                    <a:pt x="1027" y="145"/>
                  </a:lnTo>
                  <a:lnTo>
                    <a:pt x="1027" y="143"/>
                  </a:lnTo>
                  <a:lnTo>
                    <a:pt x="1027" y="140"/>
                  </a:lnTo>
                  <a:lnTo>
                    <a:pt x="1027" y="140"/>
                  </a:lnTo>
                  <a:lnTo>
                    <a:pt x="1027" y="138"/>
                  </a:lnTo>
                  <a:lnTo>
                    <a:pt x="1024" y="138"/>
                  </a:lnTo>
                  <a:lnTo>
                    <a:pt x="1024" y="135"/>
                  </a:lnTo>
                  <a:lnTo>
                    <a:pt x="1027" y="135"/>
                  </a:lnTo>
                  <a:lnTo>
                    <a:pt x="1027" y="135"/>
                  </a:lnTo>
                  <a:lnTo>
                    <a:pt x="1027" y="135"/>
                  </a:lnTo>
                  <a:lnTo>
                    <a:pt x="1027" y="135"/>
                  </a:lnTo>
                  <a:lnTo>
                    <a:pt x="1029" y="135"/>
                  </a:lnTo>
                  <a:lnTo>
                    <a:pt x="1029" y="133"/>
                  </a:lnTo>
                  <a:lnTo>
                    <a:pt x="1029" y="133"/>
                  </a:lnTo>
                  <a:lnTo>
                    <a:pt x="1029" y="130"/>
                  </a:lnTo>
                  <a:lnTo>
                    <a:pt x="1029" y="130"/>
                  </a:lnTo>
                  <a:lnTo>
                    <a:pt x="1029" y="128"/>
                  </a:lnTo>
                  <a:lnTo>
                    <a:pt x="1027" y="125"/>
                  </a:lnTo>
                  <a:lnTo>
                    <a:pt x="1027" y="125"/>
                  </a:lnTo>
                  <a:lnTo>
                    <a:pt x="1024" y="122"/>
                  </a:lnTo>
                  <a:lnTo>
                    <a:pt x="1022" y="122"/>
                  </a:lnTo>
                  <a:lnTo>
                    <a:pt x="1022" y="120"/>
                  </a:lnTo>
                  <a:lnTo>
                    <a:pt x="1022" y="120"/>
                  </a:lnTo>
                  <a:lnTo>
                    <a:pt x="1022" y="117"/>
                  </a:lnTo>
                  <a:lnTo>
                    <a:pt x="1022" y="117"/>
                  </a:lnTo>
                  <a:lnTo>
                    <a:pt x="1022" y="117"/>
                  </a:lnTo>
                  <a:lnTo>
                    <a:pt x="1017" y="115"/>
                  </a:lnTo>
                  <a:lnTo>
                    <a:pt x="1014" y="115"/>
                  </a:lnTo>
                  <a:lnTo>
                    <a:pt x="1014" y="115"/>
                  </a:lnTo>
                  <a:lnTo>
                    <a:pt x="1012" y="112"/>
                  </a:lnTo>
                  <a:lnTo>
                    <a:pt x="1012" y="115"/>
                  </a:lnTo>
                  <a:lnTo>
                    <a:pt x="1006" y="115"/>
                  </a:lnTo>
                  <a:lnTo>
                    <a:pt x="1004" y="117"/>
                  </a:lnTo>
                  <a:lnTo>
                    <a:pt x="1004" y="120"/>
                  </a:lnTo>
                  <a:lnTo>
                    <a:pt x="1001" y="120"/>
                  </a:lnTo>
                  <a:lnTo>
                    <a:pt x="999" y="120"/>
                  </a:lnTo>
                  <a:lnTo>
                    <a:pt x="996" y="120"/>
                  </a:lnTo>
                  <a:lnTo>
                    <a:pt x="994" y="120"/>
                  </a:lnTo>
                  <a:lnTo>
                    <a:pt x="994" y="122"/>
                  </a:lnTo>
                  <a:lnTo>
                    <a:pt x="991" y="122"/>
                  </a:lnTo>
                  <a:lnTo>
                    <a:pt x="991" y="122"/>
                  </a:lnTo>
                  <a:lnTo>
                    <a:pt x="989" y="125"/>
                  </a:lnTo>
                  <a:lnTo>
                    <a:pt x="991" y="128"/>
                  </a:lnTo>
                  <a:lnTo>
                    <a:pt x="989" y="128"/>
                  </a:lnTo>
                  <a:lnTo>
                    <a:pt x="989" y="128"/>
                  </a:lnTo>
                  <a:lnTo>
                    <a:pt x="984" y="128"/>
                  </a:lnTo>
                  <a:lnTo>
                    <a:pt x="978" y="130"/>
                  </a:lnTo>
                  <a:lnTo>
                    <a:pt x="973" y="130"/>
                  </a:lnTo>
                  <a:lnTo>
                    <a:pt x="971" y="128"/>
                  </a:lnTo>
                  <a:lnTo>
                    <a:pt x="968" y="128"/>
                  </a:lnTo>
                  <a:lnTo>
                    <a:pt x="966" y="128"/>
                  </a:lnTo>
                  <a:lnTo>
                    <a:pt x="963" y="128"/>
                  </a:lnTo>
                  <a:lnTo>
                    <a:pt x="963" y="128"/>
                  </a:lnTo>
                  <a:lnTo>
                    <a:pt x="961" y="128"/>
                  </a:lnTo>
                  <a:lnTo>
                    <a:pt x="961" y="125"/>
                  </a:lnTo>
                  <a:lnTo>
                    <a:pt x="958" y="122"/>
                  </a:lnTo>
                  <a:lnTo>
                    <a:pt x="955" y="122"/>
                  </a:lnTo>
                  <a:lnTo>
                    <a:pt x="953" y="120"/>
                  </a:lnTo>
                  <a:lnTo>
                    <a:pt x="953" y="117"/>
                  </a:lnTo>
                  <a:lnTo>
                    <a:pt x="950" y="115"/>
                  </a:lnTo>
                  <a:lnTo>
                    <a:pt x="950" y="112"/>
                  </a:lnTo>
                  <a:lnTo>
                    <a:pt x="948" y="112"/>
                  </a:lnTo>
                  <a:lnTo>
                    <a:pt x="948" y="112"/>
                  </a:lnTo>
                  <a:lnTo>
                    <a:pt x="945" y="110"/>
                  </a:lnTo>
                  <a:lnTo>
                    <a:pt x="943" y="107"/>
                  </a:lnTo>
                  <a:lnTo>
                    <a:pt x="943" y="107"/>
                  </a:lnTo>
                  <a:lnTo>
                    <a:pt x="943" y="105"/>
                  </a:lnTo>
                  <a:lnTo>
                    <a:pt x="940" y="102"/>
                  </a:lnTo>
                  <a:lnTo>
                    <a:pt x="935" y="102"/>
                  </a:lnTo>
                  <a:lnTo>
                    <a:pt x="933" y="102"/>
                  </a:lnTo>
                  <a:lnTo>
                    <a:pt x="930" y="100"/>
                  </a:lnTo>
                  <a:lnTo>
                    <a:pt x="922" y="94"/>
                  </a:lnTo>
                  <a:lnTo>
                    <a:pt x="917" y="94"/>
                  </a:lnTo>
                  <a:lnTo>
                    <a:pt x="917" y="94"/>
                  </a:lnTo>
                  <a:lnTo>
                    <a:pt x="915" y="92"/>
                  </a:lnTo>
                  <a:lnTo>
                    <a:pt x="912" y="92"/>
                  </a:lnTo>
                  <a:lnTo>
                    <a:pt x="912" y="92"/>
                  </a:lnTo>
                  <a:lnTo>
                    <a:pt x="912" y="92"/>
                  </a:lnTo>
                  <a:lnTo>
                    <a:pt x="912" y="92"/>
                  </a:lnTo>
                  <a:lnTo>
                    <a:pt x="910" y="92"/>
                  </a:lnTo>
                  <a:lnTo>
                    <a:pt x="910" y="92"/>
                  </a:lnTo>
                  <a:lnTo>
                    <a:pt x="907" y="92"/>
                  </a:lnTo>
                  <a:lnTo>
                    <a:pt x="907" y="92"/>
                  </a:lnTo>
                  <a:lnTo>
                    <a:pt x="907" y="92"/>
                  </a:lnTo>
                  <a:lnTo>
                    <a:pt x="905" y="89"/>
                  </a:lnTo>
                  <a:lnTo>
                    <a:pt x="902" y="89"/>
                  </a:lnTo>
                  <a:lnTo>
                    <a:pt x="899" y="89"/>
                  </a:lnTo>
                  <a:lnTo>
                    <a:pt x="899" y="89"/>
                  </a:lnTo>
                  <a:lnTo>
                    <a:pt x="899" y="87"/>
                  </a:lnTo>
                  <a:lnTo>
                    <a:pt x="897" y="87"/>
                  </a:lnTo>
                  <a:lnTo>
                    <a:pt x="897" y="87"/>
                  </a:lnTo>
                  <a:lnTo>
                    <a:pt x="894" y="87"/>
                  </a:lnTo>
                  <a:lnTo>
                    <a:pt x="889" y="87"/>
                  </a:lnTo>
                  <a:lnTo>
                    <a:pt x="884" y="87"/>
                  </a:lnTo>
                  <a:lnTo>
                    <a:pt x="882" y="87"/>
                  </a:lnTo>
                  <a:lnTo>
                    <a:pt x="879" y="84"/>
                  </a:lnTo>
                  <a:lnTo>
                    <a:pt x="876" y="84"/>
                  </a:lnTo>
                  <a:lnTo>
                    <a:pt x="876" y="82"/>
                  </a:lnTo>
                  <a:lnTo>
                    <a:pt x="874" y="82"/>
                  </a:lnTo>
                  <a:lnTo>
                    <a:pt x="871" y="79"/>
                  </a:lnTo>
                  <a:lnTo>
                    <a:pt x="869" y="79"/>
                  </a:lnTo>
                  <a:lnTo>
                    <a:pt x="869" y="77"/>
                  </a:lnTo>
                  <a:lnTo>
                    <a:pt x="869" y="74"/>
                  </a:lnTo>
                  <a:lnTo>
                    <a:pt x="864" y="72"/>
                  </a:lnTo>
                  <a:lnTo>
                    <a:pt x="861" y="69"/>
                  </a:lnTo>
                  <a:lnTo>
                    <a:pt x="861" y="69"/>
                  </a:lnTo>
                  <a:lnTo>
                    <a:pt x="861" y="69"/>
                  </a:lnTo>
                  <a:lnTo>
                    <a:pt x="859" y="66"/>
                  </a:lnTo>
                  <a:lnTo>
                    <a:pt x="859" y="66"/>
                  </a:lnTo>
                  <a:lnTo>
                    <a:pt x="859" y="66"/>
                  </a:lnTo>
                  <a:lnTo>
                    <a:pt x="859" y="64"/>
                  </a:lnTo>
                  <a:lnTo>
                    <a:pt x="856" y="61"/>
                  </a:lnTo>
                  <a:lnTo>
                    <a:pt x="854" y="59"/>
                  </a:lnTo>
                  <a:lnTo>
                    <a:pt x="846" y="56"/>
                  </a:lnTo>
                  <a:lnTo>
                    <a:pt x="843" y="54"/>
                  </a:lnTo>
                  <a:lnTo>
                    <a:pt x="843" y="51"/>
                  </a:lnTo>
                  <a:lnTo>
                    <a:pt x="841" y="51"/>
                  </a:lnTo>
                  <a:lnTo>
                    <a:pt x="841" y="49"/>
                  </a:lnTo>
                  <a:lnTo>
                    <a:pt x="838" y="49"/>
                  </a:lnTo>
                  <a:lnTo>
                    <a:pt x="838" y="46"/>
                  </a:lnTo>
                  <a:lnTo>
                    <a:pt x="838" y="46"/>
                  </a:lnTo>
                  <a:lnTo>
                    <a:pt x="836" y="46"/>
                  </a:lnTo>
                  <a:lnTo>
                    <a:pt x="836" y="44"/>
                  </a:lnTo>
                  <a:lnTo>
                    <a:pt x="836" y="44"/>
                  </a:lnTo>
                  <a:lnTo>
                    <a:pt x="833" y="44"/>
                  </a:lnTo>
                  <a:lnTo>
                    <a:pt x="833" y="41"/>
                  </a:lnTo>
                  <a:lnTo>
                    <a:pt x="831" y="41"/>
                  </a:lnTo>
                  <a:lnTo>
                    <a:pt x="828" y="39"/>
                  </a:lnTo>
                  <a:lnTo>
                    <a:pt x="826" y="36"/>
                  </a:lnTo>
                  <a:lnTo>
                    <a:pt x="823" y="33"/>
                  </a:lnTo>
                  <a:lnTo>
                    <a:pt x="820" y="31"/>
                  </a:lnTo>
                  <a:lnTo>
                    <a:pt x="818" y="31"/>
                  </a:lnTo>
                  <a:lnTo>
                    <a:pt x="818" y="28"/>
                  </a:lnTo>
                  <a:lnTo>
                    <a:pt x="818" y="28"/>
                  </a:lnTo>
                  <a:lnTo>
                    <a:pt x="815" y="26"/>
                  </a:lnTo>
                  <a:lnTo>
                    <a:pt x="815" y="26"/>
                  </a:lnTo>
                  <a:lnTo>
                    <a:pt x="815" y="26"/>
                  </a:lnTo>
                  <a:lnTo>
                    <a:pt x="813" y="26"/>
                  </a:lnTo>
                  <a:lnTo>
                    <a:pt x="813" y="23"/>
                  </a:lnTo>
                  <a:lnTo>
                    <a:pt x="810" y="23"/>
                  </a:lnTo>
                  <a:lnTo>
                    <a:pt x="810" y="23"/>
                  </a:lnTo>
                  <a:lnTo>
                    <a:pt x="808" y="21"/>
                  </a:lnTo>
                  <a:lnTo>
                    <a:pt x="808" y="21"/>
                  </a:lnTo>
                  <a:lnTo>
                    <a:pt x="805" y="21"/>
                  </a:lnTo>
                  <a:lnTo>
                    <a:pt x="805" y="21"/>
                  </a:lnTo>
                  <a:lnTo>
                    <a:pt x="805" y="18"/>
                  </a:lnTo>
                  <a:lnTo>
                    <a:pt x="805" y="18"/>
                  </a:lnTo>
                  <a:lnTo>
                    <a:pt x="805" y="18"/>
                  </a:lnTo>
                  <a:lnTo>
                    <a:pt x="805" y="18"/>
                  </a:lnTo>
                  <a:lnTo>
                    <a:pt x="803" y="18"/>
                  </a:lnTo>
                  <a:lnTo>
                    <a:pt x="800" y="16"/>
                  </a:lnTo>
                  <a:lnTo>
                    <a:pt x="800" y="16"/>
                  </a:lnTo>
                  <a:lnTo>
                    <a:pt x="797" y="16"/>
                  </a:lnTo>
                  <a:lnTo>
                    <a:pt x="797" y="16"/>
                  </a:lnTo>
                  <a:lnTo>
                    <a:pt x="795" y="13"/>
                  </a:lnTo>
                  <a:lnTo>
                    <a:pt x="795" y="13"/>
                  </a:lnTo>
                  <a:lnTo>
                    <a:pt x="795" y="13"/>
                  </a:lnTo>
                  <a:lnTo>
                    <a:pt x="792" y="11"/>
                  </a:lnTo>
                  <a:lnTo>
                    <a:pt x="792" y="11"/>
                  </a:lnTo>
                  <a:lnTo>
                    <a:pt x="790" y="11"/>
                  </a:lnTo>
                  <a:lnTo>
                    <a:pt x="787" y="11"/>
                  </a:lnTo>
                  <a:lnTo>
                    <a:pt x="782" y="8"/>
                  </a:lnTo>
                  <a:lnTo>
                    <a:pt x="780" y="8"/>
                  </a:lnTo>
                  <a:lnTo>
                    <a:pt x="780" y="8"/>
                  </a:lnTo>
                  <a:lnTo>
                    <a:pt x="777" y="8"/>
                  </a:lnTo>
                  <a:lnTo>
                    <a:pt x="777" y="8"/>
                  </a:lnTo>
                  <a:lnTo>
                    <a:pt x="777" y="8"/>
                  </a:lnTo>
                  <a:lnTo>
                    <a:pt x="772" y="8"/>
                  </a:lnTo>
                  <a:lnTo>
                    <a:pt x="769" y="8"/>
                  </a:lnTo>
                  <a:lnTo>
                    <a:pt x="767" y="5"/>
                  </a:lnTo>
                  <a:lnTo>
                    <a:pt x="764" y="5"/>
                  </a:lnTo>
                  <a:lnTo>
                    <a:pt x="764" y="3"/>
                  </a:lnTo>
                  <a:lnTo>
                    <a:pt x="762" y="5"/>
                  </a:lnTo>
                  <a:lnTo>
                    <a:pt x="759" y="3"/>
                  </a:lnTo>
                  <a:lnTo>
                    <a:pt x="752" y="0"/>
                  </a:lnTo>
                  <a:lnTo>
                    <a:pt x="749" y="0"/>
                  </a:lnTo>
                  <a:lnTo>
                    <a:pt x="749" y="0"/>
                  </a:lnTo>
                  <a:lnTo>
                    <a:pt x="749" y="0"/>
                  </a:lnTo>
                  <a:lnTo>
                    <a:pt x="749" y="0"/>
                  </a:lnTo>
                  <a:lnTo>
                    <a:pt x="747" y="0"/>
                  </a:lnTo>
                  <a:lnTo>
                    <a:pt x="744" y="0"/>
                  </a:lnTo>
                  <a:lnTo>
                    <a:pt x="741" y="0"/>
                  </a:lnTo>
                  <a:lnTo>
                    <a:pt x="739" y="0"/>
                  </a:lnTo>
                  <a:lnTo>
                    <a:pt x="736" y="3"/>
                  </a:lnTo>
                  <a:lnTo>
                    <a:pt x="734" y="3"/>
                  </a:lnTo>
                  <a:lnTo>
                    <a:pt x="731" y="3"/>
                  </a:lnTo>
                  <a:lnTo>
                    <a:pt x="729" y="0"/>
                  </a:lnTo>
                  <a:lnTo>
                    <a:pt x="726" y="3"/>
                  </a:lnTo>
                  <a:lnTo>
                    <a:pt x="721" y="3"/>
                  </a:lnTo>
                  <a:lnTo>
                    <a:pt x="716" y="5"/>
                  </a:lnTo>
                  <a:lnTo>
                    <a:pt x="708" y="5"/>
                  </a:lnTo>
                  <a:lnTo>
                    <a:pt x="706" y="8"/>
                  </a:lnTo>
                  <a:lnTo>
                    <a:pt x="706" y="13"/>
                  </a:lnTo>
                  <a:lnTo>
                    <a:pt x="703" y="16"/>
                  </a:lnTo>
                  <a:lnTo>
                    <a:pt x="701" y="16"/>
                  </a:lnTo>
                  <a:lnTo>
                    <a:pt x="701" y="18"/>
                  </a:lnTo>
                  <a:lnTo>
                    <a:pt x="703" y="21"/>
                  </a:lnTo>
                  <a:lnTo>
                    <a:pt x="706" y="21"/>
                  </a:lnTo>
                  <a:lnTo>
                    <a:pt x="708" y="21"/>
                  </a:lnTo>
                  <a:lnTo>
                    <a:pt x="711" y="21"/>
                  </a:lnTo>
                  <a:lnTo>
                    <a:pt x="713" y="21"/>
                  </a:lnTo>
                  <a:lnTo>
                    <a:pt x="716" y="23"/>
                  </a:lnTo>
                  <a:lnTo>
                    <a:pt x="716" y="26"/>
                  </a:lnTo>
                  <a:lnTo>
                    <a:pt x="718" y="28"/>
                  </a:lnTo>
                  <a:lnTo>
                    <a:pt x="721" y="28"/>
                  </a:lnTo>
                  <a:lnTo>
                    <a:pt x="724" y="31"/>
                  </a:lnTo>
                  <a:lnTo>
                    <a:pt x="724" y="33"/>
                  </a:lnTo>
                  <a:lnTo>
                    <a:pt x="721" y="36"/>
                  </a:lnTo>
                  <a:lnTo>
                    <a:pt x="718" y="39"/>
                  </a:lnTo>
                  <a:lnTo>
                    <a:pt x="718" y="44"/>
                  </a:lnTo>
                  <a:lnTo>
                    <a:pt x="718" y="46"/>
                  </a:lnTo>
                  <a:lnTo>
                    <a:pt x="718" y="49"/>
                  </a:lnTo>
                  <a:lnTo>
                    <a:pt x="718" y="51"/>
                  </a:lnTo>
                  <a:lnTo>
                    <a:pt x="718" y="54"/>
                  </a:lnTo>
                  <a:lnTo>
                    <a:pt x="718" y="54"/>
                  </a:lnTo>
                  <a:lnTo>
                    <a:pt x="718" y="56"/>
                  </a:lnTo>
                  <a:lnTo>
                    <a:pt x="718" y="59"/>
                  </a:lnTo>
                  <a:lnTo>
                    <a:pt x="718" y="61"/>
                  </a:lnTo>
                  <a:lnTo>
                    <a:pt x="721" y="61"/>
                  </a:lnTo>
                  <a:lnTo>
                    <a:pt x="718" y="64"/>
                  </a:lnTo>
                  <a:lnTo>
                    <a:pt x="718" y="64"/>
                  </a:lnTo>
                  <a:lnTo>
                    <a:pt x="718" y="66"/>
                  </a:lnTo>
                  <a:lnTo>
                    <a:pt x="718" y="69"/>
                  </a:lnTo>
                  <a:lnTo>
                    <a:pt x="718" y="69"/>
                  </a:lnTo>
                  <a:lnTo>
                    <a:pt x="721" y="69"/>
                  </a:lnTo>
                  <a:lnTo>
                    <a:pt x="721" y="69"/>
                  </a:lnTo>
                  <a:lnTo>
                    <a:pt x="724" y="72"/>
                  </a:lnTo>
                  <a:lnTo>
                    <a:pt x="726" y="74"/>
                  </a:lnTo>
                  <a:lnTo>
                    <a:pt x="726" y="77"/>
                  </a:lnTo>
                  <a:lnTo>
                    <a:pt x="724" y="77"/>
                  </a:lnTo>
                  <a:lnTo>
                    <a:pt x="721" y="79"/>
                  </a:lnTo>
                  <a:lnTo>
                    <a:pt x="718" y="79"/>
                  </a:lnTo>
                  <a:lnTo>
                    <a:pt x="713" y="82"/>
                  </a:lnTo>
                  <a:lnTo>
                    <a:pt x="711" y="84"/>
                  </a:lnTo>
                  <a:lnTo>
                    <a:pt x="708" y="89"/>
                  </a:lnTo>
                  <a:lnTo>
                    <a:pt x="708" y="89"/>
                  </a:lnTo>
                  <a:lnTo>
                    <a:pt x="706" y="87"/>
                  </a:lnTo>
                  <a:lnTo>
                    <a:pt x="701" y="87"/>
                  </a:lnTo>
                  <a:lnTo>
                    <a:pt x="696" y="87"/>
                  </a:lnTo>
                  <a:lnTo>
                    <a:pt x="690" y="84"/>
                  </a:lnTo>
                  <a:lnTo>
                    <a:pt x="688" y="84"/>
                  </a:lnTo>
                  <a:lnTo>
                    <a:pt x="683" y="82"/>
                  </a:lnTo>
                  <a:lnTo>
                    <a:pt x="683" y="84"/>
                  </a:lnTo>
                  <a:lnTo>
                    <a:pt x="683" y="89"/>
                  </a:lnTo>
                  <a:lnTo>
                    <a:pt x="683" y="97"/>
                  </a:lnTo>
                  <a:lnTo>
                    <a:pt x="685" y="100"/>
                  </a:lnTo>
                  <a:lnTo>
                    <a:pt x="685" y="102"/>
                  </a:lnTo>
                  <a:lnTo>
                    <a:pt x="685" y="102"/>
                  </a:lnTo>
                  <a:lnTo>
                    <a:pt x="685" y="105"/>
                  </a:lnTo>
                  <a:lnTo>
                    <a:pt x="685" y="107"/>
                  </a:lnTo>
                  <a:lnTo>
                    <a:pt x="683" y="110"/>
                  </a:lnTo>
                  <a:lnTo>
                    <a:pt x="685" y="112"/>
                  </a:lnTo>
                  <a:lnTo>
                    <a:pt x="685" y="115"/>
                  </a:lnTo>
                  <a:lnTo>
                    <a:pt x="688" y="117"/>
                  </a:lnTo>
                  <a:lnTo>
                    <a:pt x="685" y="117"/>
                  </a:lnTo>
                  <a:lnTo>
                    <a:pt x="683" y="120"/>
                  </a:lnTo>
                  <a:lnTo>
                    <a:pt x="688" y="122"/>
                  </a:lnTo>
                  <a:lnTo>
                    <a:pt x="688" y="125"/>
                  </a:lnTo>
                  <a:lnTo>
                    <a:pt x="690" y="128"/>
                  </a:lnTo>
                  <a:lnTo>
                    <a:pt x="693" y="128"/>
                  </a:lnTo>
                  <a:lnTo>
                    <a:pt x="696" y="128"/>
                  </a:lnTo>
                  <a:lnTo>
                    <a:pt x="698" y="128"/>
                  </a:lnTo>
                  <a:lnTo>
                    <a:pt x="698" y="128"/>
                  </a:lnTo>
                  <a:lnTo>
                    <a:pt x="701" y="125"/>
                  </a:lnTo>
                  <a:lnTo>
                    <a:pt x="701" y="125"/>
                  </a:lnTo>
                  <a:lnTo>
                    <a:pt x="703" y="125"/>
                  </a:lnTo>
                  <a:lnTo>
                    <a:pt x="706" y="125"/>
                  </a:lnTo>
                  <a:lnTo>
                    <a:pt x="708" y="125"/>
                  </a:lnTo>
                  <a:lnTo>
                    <a:pt x="708" y="125"/>
                  </a:lnTo>
                  <a:lnTo>
                    <a:pt x="711" y="125"/>
                  </a:lnTo>
                  <a:lnTo>
                    <a:pt x="713" y="125"/>
                  </a:lnTo>
                  <a:lnTo>
                    <a:pt x="716" y="125"/>
                  </a:lnTo>
                  <a:lnTo>
                    <a:pt x="718" y="128"/>
                  </a:lnTo>
                  <a:lnTo>
                    <a:pt x="721" y="130"/>
                  </a:lnTo>
                  <a:lnTo>
                    <a:pt x="721" y="130"/>
                  </a:lnTo>
                  <a:lnTo>
                    <a:pt x="724" y="130"/>
                  </a:lnTo>
                  <a:lnTo>
                    <a:pt x="724" y="128"/>
                  </a:lnTo>
                  <a:lnTo>
                    <a:pt x="724" y="125"/>
                  </a:lnTo>
                  <a:lnTo>
                    <a:pt x="724" y="125"/>
                  </a:lnTo>
                  <a:lnTo>
                    <a:pt x="726" y="122"/>
                  </a:lnTo>
                  <a:lnTo>
                    <a:pt x="726" y="122"/>
                  </a:lnTo>
                  <a:lnTo>
                    <a:pt x="729" y="122"/>
                  </a:lnTo>
                  <a:lnTo>
                    <a:pt x="729" y="122"/>
                  </a:lnTo>
                  <a:lnTo>
                    <a:pt x="731" y="122"/>
                  </a:lnTo>
                  <a:lnTo>
                    <a:pt x="734" y="122"/>
                  </a:lnTo>
                  <a:lnTo>
                    <a:pt x="739" y="122"/>
                  </a:lnTo>
                  <a:lnTo>
                    <a:pt x="739" y="122"/>
                  </a:lnTo>
                  <a:lnTo>
                    <a:pt x="744" y="125"/>
                  </a:lnTo>
                  <a:lnTo>
                    <a:pt x="747" y="128"/>
                  </a:lnTo>
                  <a:lnTo>
                    <a:pt x="749" y="128"/>
                  </a:lnTo>
                  <a:lnTo>
                    <a:pt x="749" y="128"/>
                  </a:lnTo>
                  <a:lnTo>
                    <a:pt x="752" y="130"/>
                  </a:lnTo>
                  <a:lnTo>
                    <a:pt x="752" y="130"/>
                  </a:lnTo>
                  <a:lnTo>
                    <a:pt x="754" y="130"/>
                  </a:lnTo>
                  <a:lnTo>
                    <a:pt x="754" y="133"/>
                  </a:lnTo>
                  <a:lnTo>
                    <a:pt x="757" y="133"/>
                  </a:lnTo>
                  <a:lnTo>
                    <a:pt x="757" y="133"/>
                  </a:lnTo>
                  <a:lnTo>
                    <a:pt x="759" y="133"/>
                  </a:lnTo>
                  <a:lnTo>
                    <a:pt x="759" y="135"/>
                  </a:lnTo>
                  <a:lnTo>
                    <a:pt x="759" y="135"/>
                  </a:lnTo>
                  <a:lnTo>
                    <a:pt x="762" y="135"/>
                  </a:lnTo>
                  <a:lnTo>
                    <a:pt x="764" y="138"/>
                  </a:lnTo>
                  <a:lnTo>
                    <a:pt x="767" y="140"/>
                  </a:lnTo>
                  <a:lnTo>
                    <a:pt x="769" y="140"/>
                  </a:lnTo>
                  <a:lnTo>
                    <a:pt x="772" y="143"/>
                  </a:lnTo>
                  <a:lnTo>
                    <a:pt x="772" y="143"/>
                  </a:lnTo>
                  <a:lnTo>
                    <a:pt x="775" y="145"/>
                  </a:lnTo>
                  <a:lnTo>
                    <a:pt x="775" y="145"/>
                  </a:lnTo>
                  <a:lnTo>
                    <a:pt x="777" y="148"/>
                  </a:lnTo>
                  <a:lnTo>
                    <a:pt x="777" y="148"/>
                  </a:lnTo>
                  <a:lnTo>
                    <a:pt x="780" y="150"/>
                  </a:lnTo>
                  <a:lnTo>
                    <a:pt x="780" y="150"/>
                  </a:lnTo>
                  <a:lnTo>
                    <a:pt x="777" y="153"/>
                  </a:lnTo>
                  <a:lnTo>
                    <a:pt x="777" y="153"/>
                  </a:lnTo>
                  <a:lnTo>
                    <a:pt x="775" y="153"/>
                  </a:lnTo>
                  <a:lnTo>
                    <a:pt x="772" y="153"/>
                  </a:lnTo>
                  <a:lnTo>
                    <a:pt x="769" y="153"/>
                  </a:lnTo>
                  <a:lnTo>
                    <a:pt x="767" y="153"/>
                  </a:lnTo>
                  <a:lnTo>
                    <a:pt x="764" y="150"/>
                  </a:lnTo>
                  <a:lnTo>
                    <a:pt x="762" y="150"/>
                  </a:lnTo>
                  <a:lnTo>
                    <a:pt x="759" y="150"/>
                  </a:lnTo>
                  <a:lnTo>
                    <a:pt x="759" y="150"/>
                  </a:lnTo>
                  <a:lnTo>
                    <a:pt x="759" y="150"/>
                  </a:lnTo>
                  <a:lnTo>
                    <a:pt x="757" y="150"/>
                  </a:lnTo>
                  <a:lnTo>
                    <a:pt x="757" y="150"/>
                  </a:lnTo>
                  <a:lnTo>
                    <a:pt x="752" y="150"/>
                  </a:lnTo>
                  <a:lnTo>
                    <a:pt x="752" y="150"/>
                  </a:lnTo>
                  <a:lnTo>
                    <a:pt x="749" y="150"/>
                  </a:lnTo>
                  <a:lnTo>
                    <a:pt x="747" y="150"/>
                  </a:lnTo>
                  <a:lnTo>
                    <a:pt x="744" y="153"/>
                  </a:lnTo>
                  <a:lnTo>
                    <a:pt x="744" y="156"/>
                  </a:lnTo>
                  <a:lnTo>
                    <a:pt x="741" y="156"/>
                  </a:lnTo>
                  <a:lnTo>
                    <a:pt x="741" y="156"/>
                  </a:lnTo>
                  <a:lnTo>
                    <a:pt x="739" y="153"/>
                  </a:lnTo>
                  <a:lnTo>
                    <a:pt x="739" y="153"/>
                  </a:lnTo>
                  <a:lnTo>
                    <a:pt x="736" y="153"/>
                  </a:lnTo>
                  <a:lnTo>
                    <a:pt x="736" y="153"/>
                  </a:lnTo>
                  <a:lnTo>
                    <a:pt x="736" y="156"/>
                  </a:lnTo>
                  <a:lnTo>
                    <a:pt x="736" y="156"/>
                  </a:lnTo>
                  <a:lnTo>
                    <a:pt x="736" y="158"/>
                  </a:lnTo>
                  <a:lnTo>
                    <a:pt x="736" y="158"/>
                  </a:lnTo>
                  <a:lnTo>
                    <a:pt x="736" y="158"/>
                  </a:lnTo>
                  <a:lnTo>
                    <a:pt x="734" y="158"/>
                  </a:lnTo>
                  <a:lnTo>
                    <a:pt x="731" y="158"/>
                  </a:lnTo>
                  <a:lnTo>
                    <a:pt x="729" y="158"/>
                  </a:lnTo>
                  <a:lnTo>
                    <a:pt x="726" y="158"/>
                  </a:lnTo>
                  <a:lnTo>
                    <a:pt x="726" y="158"/>
                  </a:lnTo>
                  <a:lnTo>
                    <a:pt x="726" y="158"/>
                  </a:lnTo>
                  <a:lnTo>
                    <a:pt x="724" y="161"/>
                  </a:lnTo>
                  <a:lnTo>
                    <a:pt x="724" y="161"/>
                  </a:lnTo>
                  <a:lnTo>
                    <a:pt x="724" y="163"/>
                  </a:lnTo>
                  <a:lnTo>
                    <a:pt x="724" y="163"/>
                  </a:lnTo>
                  <a:lnTo>
                    <a:pt x="724" y="168"/>
                  </a:lnTo>
                  <a:lnTo>
                    <a:pt x="724" y="168"/>
                  </a:lnTo>
                  <a:lnTo>
                    <a:pt x="724" y="171"/>
                  </a:lnTo>
                  <a:lnTo>
                    <a:pt x="724" y="171"/>
                  </a:lnTo>
                  <a:lnTo>
                    <a:pt x="724" y="171"/>
                  </a:lnTo>
                  <a:lnTo>
                    <a:pt x="724" y="173"/>
                  </a:lnTo>
                  <a:lnTo>
                    <a:pt x="721" y="173"/>
                  </a:lnTo>
                  <a:lnTo>
                    <a:pt x="721" y="173"/>
                  </a:lnTo>
                  <a:lnTo>
                    <a:pt x="718" y="176"/>
                  </a:lnTo>
                  <a:lnTo>
                    <a:pt x="718" y="178"/>
                  </a:lnTo>
                  <a:lnTo>
                    <a:pt x="716" y="178"/>
                  </a:lnTo>
                  <a:lnTo>
                    <a:pt x="713" y="178"/>
                  </a:lnTo>
                  <a:lnTo>
                    <a:pt x="711" y="178"/>
                  </a:lnTo>
                  <a:lnTo>
                    <a:pt x="708" y="181"/>
                  </a:lnTo>
                  <a:lnTo>
                    <a:pt x="706" y="181"/>
                  </a:lnTo>
                  <a:lnTo>
                    <a:pt x="701" y="178"/>
                  </a:lnTo>
                  <a:lnTo>
                    <a:pt x="701" y="178"/>
                  </a:lnTo>
                  <a:lnTo>
                    <a:pt x="698" y="181"/>
                  </a:lnTo>
                  <a:lnTo>
                    <a:pt x="698" y="181"/>
                  </a:lnTo>
                  <a:lnTo>
                    <a:pt x="698" y="181"/>
                  </a:lnTo>
                  <a:lnTo>
                    <a:pt x="698" y="184"/>
                  </a:lnTo>
                  <a:lnTo>
                    <a:pt x="698" y="184"/>
                  </a:lnTo>
                  <a:lnTo>
                    <a:pt x="696" y="186"/>
                  </a:lnTo>
                  <a:lnTo>
                    <a:pt x="696" y="186"/>
                  </a:lnTo>
                  <a:lnTo>
                    <a:pt x="696" y="191"/>
                  </a:lnTo>
                  <a:lnTo>
                    <a:pt x="693" y="191"/>
                  </a:lnTo>
                  <a:lnTo>
                    <a:pt x="693" y="191"/>
                  </a:lnTo>
                  <a:lnTo>
                    <a:pt x="693" y="194"/>
                  </a:lnTo>
                  <a:lnTo>
                    <a:pt x="690" y="194"/>
                  </a:lnTo>
                  <a:lnTo>
                    <a:pt x="690" y="196"/>
                  </a:lnTo>
                  <a:lnTo>
                    <a:pt x="688" y="196"/>
                  </a:lnTo>
                  <a:lnTo>
                    <a:pt x="685" y="196"/>
                  </a:lnTo>
                  <a:lnTo>
                    <a:pt x="685" y="196"/>
                  </a:lnTo>
                  <a:lnTo>
                    <a:pt x="683" y="194"/>
                  </a:lnTo>
                  <a:lnTo>
                    <a:pt x="680" y="194"/>
                  </a:lnTo>
                  <a:lnTo>
                    <a:pt x="678" y="194"/>
                  </a:lnTo>
                  <a:lnTo>
                    <a:pt x="670" y="194"/>
                  </a:lnTo>
                  <a:lnTo>
                    <a:pt x="668" y="191"/>
                  </a:lnTo>
                  <a:lnTo>
                    <a:pt x="665" y="189"/>
                  </a:lnTo>
                  <a:lnTo>
                    <a:pt x="662" y="186"/>
                  </a:lnTo>
                  <a:lnTo>
                    <a:pt x="662" y="186"/>
                  </a:lnTo>
                  <a:lnTo>
                    <a:pt x="657" y="186"/>
                  </a:lnTo>
                  <a:lnTo>
                    <a:pt x="657" y="186"/>
                  </a:lnTo>
                  <a:lnTo>
                    <a:pt x="655" y="186"/>
                  </a:lnTo>
                  <a:lnTo>
                    <a:pt x="652" y="191"/>
                  </a:lnTo>
                  <a:lnTo>
                    <a:pt x="652" y="191"/>
                  </a:lnTo>
                  <a:lnTo>
                    <a:pt x="652" y="194"/>
                  </a:lnTo>
                  <a:lnTo>
                    <a:pt x="652" y="196"/>
                  </a:lnTo>
                  <a:lnTo>
                    <a:pt x="652" y="199"/>
                  </a:lnTo>
                  <a:lnTo>
                    <a:pt x="652" y="201"/>
                  </a:lnTo>
                  <a:lnTo>
                    <a:pt x="652" y="204"/>
                  </a:lnTo>
                  <a:lnTo>
                    <a:pt x="652" y="204"/>
                  </a:lnTo>
                  <a:lnTo>
                    <a:pt x="655" y="204"/>
                  </a:lnTo>
                  <a:lnTo>
                    <a:pt x="655" y="206"/>
                  </a:lnTo>
                  <a:lnTo>
                    <a:pt x="657" y="209"/>
                  </a:lnTo>
                  <a:lnTo>
                    <a:pt x="660" y="209"/>
                  </a:lnTo>
                  <a:lnTo>
                    <a:pt x="662" y="212"/>
                  </a:lnTo>
                  <a:lnTo>
                    <a:pt x="665" y="214"/>
                  </a:lnTo>
                  <a:lnTo>
                    <a:pt x="668" y="214"/>
                  </a:lnTo>
                  <a:lnTo>
                    <a:pt x="668" y="217"/>
                  </a:lnTo>
                  <a:lnTo>
                    <a:pt x="670" y="217"/>
                  </a:lnTo>
                  <a:lnTo>
                    <a:pt x="670" y="219"/>
                  </a:lnTo>
                  <a:lnTo>
                    <a:pt x="670" y="219"/>
                  </a:lnTo>
                  <a:lnTo>
                    <a:pt x="668" y="219"/>
                  </a:lnTo>
                  <a:lnTo>
                    <a:pt x="668" y="222"/>
                  </a:lnTo>
                  <a:lnTo>
                    <a:pt x="665" y="222"/>
                  </a:lnTo>
                  <a:lnTo>
                    <a:pt x="665" y="224"/>
                  </a:lnTo>
                  <a:lnTo>
                    <a:pt x="665" y="224"/>
                  </a:lnTo>
                  <a:lnTo>
                    <a:pt x="662" y="224"/>
                  </a:lnTo>
                  <a:lnTo>
                    <a:pt x="660" y="227"/>
                  </a:lnTo>
                  <a:lnTo>
                    <a:pt x="657" y="227"/>
                  </a:lnTo>
                  <a:lnTo>
                    <a:pt x="657" y="227"/>
                  </a:lnTo>
                  <a:lnTo>
                    <a:pt x="655" y="229"/>
                  </a:lnTo>
                  <a:lnTo>
                    <a:pt x="655" y="229"/>
                  </a:lnTo>
                  <a:lnTo>
                    <a:pt x="655" y="232"/>
                  </a:lnTo>
                  <a:lnTo>
                    <a:pt x="655" y="232"/>
                  </a:lnTo>
                  <a:lnTo>
                    <a:pt x="652" y="234"/>
                  </a:lnTo>
                  <a:lnTo>
                    <a:pt x="652" y="237"/>
                  </a:lnTo>
                  <a:lnTo>
                    <a:pt x="652" y="237"/>
                  </a:lnTo>
                  <a:lnTo>
                    <a:pt x="652" y="237"/>
                  </a:lnTo>
                  <a:lnTo>
                    <a:pt x="652" y="240"/>
                  </a:lnTo>
                  <a:lnTo>
                    <a:pt x="650" y="240"/>
                  </a:lnTo>
                  <a:lnTo>
                    <a:pt x="647" y="240"/>
                  </a:lnTo>
                  <a:lnTo>
                    <a:pt x="647" y="242"/>
                  </a:lnTo>
                  <a:lnTo>
                    <a:pt x="642" y="242"/>
                  </a:lnTo>
                  <a:lnTo>
                    <a:pt x="642" y="245"/>
                  </a:lnTo>
                  <a:lnTo>
                    <a:pt x="639" y="245"/>
                  </a:lnTo>
                  <a:lnTo>
                    <a:pt x="637" y="247"/>
                  </a:lnTo>
                  <a:lnTo>
                    <a:pt x="634" y="247"/>
                  </a:lnTo>
                  <a:lnTo>
                    <a:pt x="632" y="247"/>
                  </a:lnTo>
                  <a:lnTo>
                    <a:pt x="627" y="247"/>
                  </a:lnTo>
                  <a:lnTo>
                    <a:pt x="624" y="247"/>
                  </a:lnTo>
                  <a:lnTo>
                    <a:pt x="622" y="247"/>
                  </a:lnTo>
                  <a:lnTo>
                    <a:pt x="617" y="247"/>
                  </a:lnTo>
                  <a:lnTo>
                    <a:pt x="614" y="247"/>
                  </a:lnTo>
                  <a:lnTo>
                    <a:pt x="611" y="247"/>
                  </a:lnTo>
                  <a:lnTo>
                    <a:pt x="609" y="247"/>
                  </a:lnTo>
                  <a:lnTo>
                    <a:pt x="606" y="247"/>
                  </a:lnTo>
                  <a:lnTo>
                    <a:pt x="599" y="250"/>
                  </a:lnTo>
                  <a:lnTo>
                    <a:pt x="596" y="250"/>
                  </a:lnTo>
                  <a:lnTo>
                    <a:pt x="591" y="250"/>
                  </a:lnTo>
                  <a:lnTo>
                    <a:pt x="591" y="250"/>
                  </a:lnTo>
                  <a:lnTo>
                    <a:pt x="589" y="250"/>
                  </a:lnTo>
                  <a:lnTo>
                    <a:pt x="586" y="252"/>
                  </a:lnTo>
                  <a:lnTo>
                    <a:pt x="586" y="252"/>
                  </a:lnTo>
                  <a:lnTo>
                    <a:pt x="583" y="252"/>
                  </a:lnTo>
                  <a:lnTo>
                    <a:pt x="576" y="257"/>
                  </a:lnTo>
                  <a:lnTo>
                    <a:pt x="571" y="260"/>
                  </a:lnTo>
                  <a:lnTo>
                    <a:pt x="571" y="260"/>
                  </a:lnTo>
                  <a:lnTo>
                    <a:pt x="568" y="262"/>
                  </a:lnTo>
                  <a:lnTo>
                    <a:pt x="566" y="262"/>
                  </a:lnTo>
                  <a:lnTo>
                    <a:pt x="566" y="262"/>
                  </a:lnTo>
                  <a:lnTo>
                    <a:pt x="566" y="265"/>
                  </a:lnTo>
                  <a:lnTo>
                    <a:pt x="563" y="265"/>
                  </a:lnTo>
                  <a:lnTo>
                    <a:pt x="560" y="265"/>
                  </a:lnTo>
                  <a:lnTo>
                    <a:pt x="560" y="265"/>
                  </a:lnTo>
                  <a:lnTo>
                    <a:pt x="555" y="262"/>
                  </a:lnTo>
                  <a:lnTo>
                    <a:pt x="553" y="260"/>
                  </a:lnTo>
                  <a:lnTo>
                    <a:pt x="548" y="260"/>
                  </a:lnTo>
                  <a:lnTo>
                    <a:pt x="543" y="260"/>
                  </a:lnTo>
                  <a:lnTo>
                    <a:pt x="540" y="262"/>
                  </a:lnTo>
                  <a:lnTo>
                    <a:pt x="532" y="260"/>
                  </a:lnTo>
                  <a:lnTo>
                    <a:pt x="530" y="257"/>
                  </a:lnTo>
                  <a:lnTo>
                    <a:pt x="525" y="255"/>
                  </a:lnTo>
                  <a:lnTo>
                    <a:pt x="520" y="255"/>
                  </a:lnTo>
                  <a:lnTo>
                    <a:pt x="515" y="255"/>
                  </a:lnTo>
                  <a:lnTo>
                    <a:pt x="507" y="252"/>
                  </a:lnTo>
                  <a:lnTo>
                    <a:pt x="502" y="252"/>
                  </a:lnTo>
                  <a:lnTo>
                    <a:pt x="499" y="250"/>
                  </a:lnTo>
                  <a:lnTo>
                    <a:pt x="497" y="245"/>
                  </a:lnTo>
                  <a:lnTo>
                    <a:pt x="494" y="245"/>
                  </a:lnTo>
                  <a:lnTo>
                    <a:pt x="492" y="245"/>
                  </a:lnTo>
                  <a:lnTo>
                    <a:pt x="492" y="245"/>
                  </a:lnTo>
                  <a:lnTo>
                    <a:pt x="487" y="245"/>
                  </a:lnTo>
                  <a:lnTo>
                    <a:pt x="484" y="245"/>
                  </a:lnTo>
                  <a:lnTo>
                    <a:pt x="476" y="242"/>
                  </a:lnTo>
                  <a:lnTo>
                    <a:pt x="471" y="242"/>
                  </a:lnTo>
                  <a:lnTo>
                    <a:pt x="464" y="242"/>
                  </a:lnTo>
                  <a:lnTo>
                    <a:pt x="461" y="242"/>
                  </a:lnTo>
                  <a:lnTo>
                    <a:pt x="459" y="242"/>
                  </a:lnTo>
                  <a:lnTo>
                    <a:pt x="453" y="245"/>
                  </a:lnTo>
                  <a:lnTo>
                    <a:pt x="443" y="242"/>
                  </a:lnTo>
                  <a:lnTo>
                    <a:pt x="438" y="242"/>
                  </a:lnTo>
                  <a:lnTo>
                    <a:pt x="430" y="242"/>
                  </a:lnTo>
                  <a:lnTo>
                    <a:pt x="420" y="240"/>
                  </a:lnTo>
                  <a:lnTo>
                    <a:pt x="410" y="240"/>
                  </a:lnTo>
                  <a:lnTo>
                    <a:pt x="405" y="240"/>
                  </a:lnTo>
                  <a:lnTo>
                    <a:pt x="400" y="240"/>
                  </a:lnTo>
                  <a:lnTo>
                    <a:pt x="395" y="240"/>
                  </a:lnTo>
                  <a:lnTo>
                    <a:pt x="395" y="240"/>
                  </a:lnTo>
                  <a:lnTo>
                    <a:pt x="395" y="237"/>
                  </a:lnTo>
                  <a:lnTo>
                    <a:pt x="392" y="237"/>
                  </a:lnTo>
                  <a:lnTo>
                    <a:pt x="390" y="234"/>
                  </a:lnTo>
                  <a:lnTo>
                    <a:pt x="387" y="232"/>
                  </a:lnTo>
                  <a:lnTo>
                    <a:pt x="382" y="229"/>
                  </a:lnTo>
                  <a:lnTo>
                    <a:pt x="382" y="229"/>
                  </a:lnTo>
                  <a:lnTo>
                    <a:pt x="380" y="227"/>
                  </a:lnTo>
                  <a:lnTo>
                    <a:pt x="374" y="219"/>
                  </a:lnTo>
                  <a:lnTo>
                    <a:pt x="372" y="217"/>
                  </a:lnTo>
                  <a:lnTo>
                    <a:pt x="372" y="214"/>
                  </a:lnTo>
                  <a:lnTo>
                    <a:pt x="369" y="214"/>
                  </a:lnTo>
                  <a:lnTo>
                    <a:pt x="369" y="212"/>
                  </a:lnTo>
                  <a:lnTo>
                    <a:pt x="367" y="212"/>
                  </a:lnTo>
                  <a:lnTo>
                    <a:pt x="364" y="212"/>
                  </a:lnTo>
                  <a:lnTo>
                    <a:pt x="364" y="209"/>
                  </a:lnTo>
                  <a:lnTo>
                    <a:pt x="364" y="209"/>
                  </a:lnTo>
                  <a:lnTo>
                    <a:pt x="364" y="206"/>
                  </a:lnTo>
                  <a:lnTo>
                    <a:pt x="364" y="206"/>
                  </a:lnTo>
                  <a:lnTo>
                    <a:pt x="359" y="206"/>
                  </a:lnTo>
                  <a:lnTo>
                    <a:pt x="354" y="206"/>
                  </a:lnTo>
                  <a:lnTo>
                    <a:pt x="351" y="204"/>
                  </a:lnTo>
                  <a:lnTo>
                    <a:pt x="346" y="201"/>
                  </a:lnTo>
                  <a:lnTo>
                    <a:pt x="344" y="201"/>
                  </a:lnTo>
                  <a:lnTo>
                    <a:pt x="339" y="199"/>
                  </a:lnTo>
                  <a:lnTo>
                    <a:pt x="334" y="196"/>
                  </a:lnTo>
                  <a:lnTo>
                    <a:pt x="334" y="196"/>
                  </a:lnTo>
                  <a:lnTo>
                    <a:pt x="329" y="194"/>
                  </a:lnTo>
                  <a:lnTo>
                    <a:pt x="326" y="191"/>
                  </a:lnTo>
                  <a:lnTo>
                    <a:pt x="323" y="191"/>
                  </a:lnTo>
                  <a:lnTo>
                    <a:pt x="321" y="191"/>
                  </a:lnTo>
                  <a:lnTo>
                    <a:pt x="313" y="189"/>
                  </a:lnTo>
                  <a:lnTo>
                    <a:pt x="311" y="189"/>
                  </a:lnTo>
                  <a:lnTo>
                    <a:pt x="306" y="189"/>
                  </a:lnTo>
                  <a:lnTo>
                    <a:pt x="303" y="189"/>
                  </a:lnTo>
                  <a:lnTo>
                    <a:pt x="298" y="189"/>
                  </a:lnTo>
                  <a:lnTo>
                    <a:pt x="295" y="186"/>
                  </a:lnTo>
                  <a:lnTo>
                    <a:pt x="293" y="186"/>
                  </a:lnTo>
                  <a:lnTo>
                    <a:pt x="290" y="186"/>
                  </a:lnTo>
                  <a:lnTo>
                    <a:pt x="288" y="186"/>
                  </a:lnTo>
                  <a:lnTo>
                    <a:pt x="288" y="186"/>
                  </a:lnTo>
                  <a:lnTo>
                    <a:pt x="285" y="186"/>
                  </a:lnTo>
                  <a:lnTo>
                    <a:pt x="283" y="186"/>
                  </a:lnTo>
                  <a:lnTo>
                    <a:pt x="280" y="186"/>
                  </a:lnTo>
                  <a:lnTo>
                    <a:pt x="280" y="184"/>
                  </a:lnTo>
                  <a:lnTo>
                    <a:pt x="278" y="184"/>
                  </a:lnTo>
                  <a:lnTo>
                    <a:pt x="275" y="184"/>
                  </a:lnTo>
                  <a:lnTo>
                    <a:pt x="275" y="184"/>
                  </a:lnTo>
                  <a:lnTo>
                    <a:pt x="275" y="184"/>
                  </a:lnTo>
                  <a:lnTo>
                    <a:pt x="272" y="184"/>
                  </a:lnTo>
                  <a:lnTo>
                    <a:pt x="270" y="181"/>
                  </a:lnTo>
                  <a:lnTo>
                    <a:pt x="270" y="178"/>
                  </a:lnTo>
                  <a:lnTo>
                    <a:pt x="270" y="178"/>
                  </a:lnTo>
                  <a:lnTo>
                    <a:pt x="267" y="176"/>
                  </a:lnTo>
                  <a:lnTo>
                    <a:pt x="267" y="176"/>
                  </a:lnTo>
                  <a:lnTo>
                    <a:pt x="267" y="173"/>
                  </a:lnTo>
                  <a:lnTo>
                    <a:pt x="267" y="168"/>
                  </a:lnTo>
                  <a:lnTo>
                    <a:pt x="267" y="168"/>
                  </a:lnTo>
                  <a:lnTo>
                    <a:pt x="267" y="168"/>
                  </a:lnTo>
                  <a:lnTo>
                    <a:pt x="270" y="166"/>
                  </a:lnTo>
                  <a:lnTo>
                    <a:pt x="270" y="166"/>
                  </a:lnTo>
                  <a:lnTo>
                    <a:pt x="270" y="163"/>
                  </a:lnTo>
                  <a:lnTo>
                    <a:pt x="267" y="163"/>
                  </a:lnTo>
                  <a:lnTo>
                    <a:pt x="265" y="161"/>
                  </a:lnTo>
                  <a:lnTo>
                    <a:pt x="265" y="158"/>
                  </a:lnTo>
                  <a:lnTo>
                    <a:pt x="265" y="158"/>
                  </a:lnTo>
                  <a:lnTo>
                    <a:pt x="265" y="156"/>
                  </a:lnTo>
                  <a:lnTo>
                    <a:pt x="265" y="153"/>
                  </a:lnTo>
                  <a:lnTo>
                    <a:pt x="265" y="153"/>
                  </a:lnTo>
                  <a:lnTo>
                    <a:pt x="265" y="150"/>
                  </a:lnTo>
                  <a:lnTo>
                    <a:pt x="262" y="150"/>
                  </a:lnTo>
                  <a:lnTo>
                    <a:pt x="260" y="148"/>
                  </a:lnTo>
                  <a:lnTo>
                    <a:pt x="260" y="145"/>
                  </a:lnTo>
                  <a:lnTo>
                    <a:pt x="257" y="145"/>
                  </a:lnTo>
                  <a:lnTo>
                    <a:pt x="255" y="143"/>
                  </a:lnTo>
                  <a:lnTo>
                    <a:pt x="255" y="143"/>
                  </a:lnTo>
                  <a:lnTo>
                    <a:pt x="252" y="140"/>
                  </a:lnTo>
                  <a:lnTo>
                    <a:pt x="250" y="138"/>
                  </a:lnTo>
                  <a:lnTo>
                    <a:pt x="250" y="138"/>
                  </a:lnTo>
                  <a:lnTo>
                    <a:pt x="247" y="135"/>
                  </a:lnTo>
                  <a:lnTo>
                    <a:pt x="247" y="133"/>
                  </a:lnTo>
                  <a:lnTo>
                    <a:pt x="244" y="133"/>
                  </a:lnTo>
                  <a:lnTo>
                    <a:pt x="244" y="130"/>
                  </a:lnTo>
                  <a:lnTo>
                    <a:pt x="242" y="130"/>
                  </a:lnTo>
                  <a:lnTo>
                    <a:pt x="242" y="130"/>
                  </a:lnTo>
                  <a:lnTo>
                    <a:pt x="239" y="128"/>
                  </a:lnTo>
                  <a:lnTo>
                    <a:pt x="239" y="128"/>
                  </a:lnTo>
                  <a:lnTo>
                    <a:pt x="237" y="125"/>
                  </a:lnTo>
                  <a:lnTo>
                    <a:pt x="237" y="125"/>
                  </a:lnTo>
                  <a:lnTo>
                    <a:pt x="237" y="125"/>
                  </a:lnTo>
                  <a:lnTo>
                    <a:pt x="234" y="125"/>
                  </a:lnTo>
                  <a:lnTo>
                    <a:pt x="234" y="125"/>
                  </a:lnTo>
                  <a:lnTo>
                    <a:pt x="232" y="125"/>
                  </a:lnTo>
                  <a:lnTo>
                    <a:pt x="232" y="125"/>
                  </a:lnTo>
                  <a:lnTo>
                    <a:pt x="232" y="125"/>
                  </a:lnTo>
                  <a:lnTo>
                    <a:pt x="229" y="125"/>
                  </a:lnTo>
                  <a:lnTo>
                    <a:pt x="229" y="125"/>
                  </a:lnTo>
                  <a:lnTo>
                    <a:pt x="227" y="122"/>
                  </a:lnTo>
                  <a:lnTo>
                    <a:pt x="224" y="122"/>
                  </a:lnTo>
                  <a:lnTo>
                    <a:pt x="222" y="122"/>
                  </a:lnTo>
                  <a:lnTo>
                    <a:pt x="219" y="122"/>
                  </a:lnTo>
                  <a:lnTo>
                    <a:pt x="219" y="122"/>
                  </a:lnTo>
                  <a:lnTo>
                    <a:pt x="216" y="122"/>
                  </a:lnTo>
                  <a:lnTo>
                    <a:pt x="216" y="120"/>
                  </a:lnTo>
                  <a:lnTo>
                    <a:pt x="214" y="120"/>
                  </a:lnTo>
                  <a:lnTo>
                    <a:pt x="214" y="120"/>
                  </a:lnTo>
                  <a:lnTo>
                    <a:pt x="209" y="117"/>
                  </a:lnTo>
                  <a:lnTo>
                    <a:pt x="206" y="117"/>
                  </a:lnTo>
                  <a:lnTo>
                    <a:pt x="206" y="115"/>
                  </a:lnTo>
                  <a:lnTo>
                    <a:pt x="204" y="112"/>
                  </a:lnTo>
                  <a:lnTo>
                    <a:pt x="204" y="112"/>
                  </a:lnTo>
                  <a:lnTo>
                    <a:pt x="201" y="112"/>
                  </a:lnTo>
                  <a:lnTo>
                    <a:pt x="196" y="110"/>
                  </a:lnTo>
                  <a:lnTo>
                    <a:pt x="196" y="110"/>
                  </a:lnTo>
                  <a:lnTo>
                    <a:pt x="193" y="110"/>
                  </a:lnTo>
                  <a:lnTo>
                    <a:pt x="193" y="110"/>
                  </a:lnTo>
                  <a:lnTo>
                    <a:pt x="193" y="107"/>
                  </a:lnTo>
                  <a:lnTo>
                    <a:pt x="193" y="107"/>
                  </a:lnTo>
                  <a:lnTo>
                    <a:pt x="193" y="107"/>
                  </a:lnTo>
                  <a:lnTo>
                    <a:pt x="193" y="107"/>
                  </a:lnTo>
                  <a:lnTo>
                    <a:pt x="193" y="105"/>
                  </a:lnTo>
                  <a:lnTo>
                    <a:pt x="191" y="105"/>
                  </a:lnTo>
                  <a:lnTo>
                    <a:pt x="188" y="105"/>
                  </a:lnTo>
                  <a:lnTo>
                    <a:pt x="188" y="102"/>
                  </a:lnTo>
                  <a:lnTo>
                    <a:pt x="186" y="102"/>
                  </a:lnTo>
                  <a:lnTo>
                    <a:pt x="186" y="102"/>
                  </a:lnTo>
                  <a:lnTo>
                    <a:pt x="186" y="102"/>
                  </a:lnTo>
                  <a:lnTo>
                    <a:pt x="188" y="100"/>
                  </a:lnTo>
                  <a:lnTo>
                    <a:pt x="188" y="100"/>
                  </a:lnTo>
                  <a:lnTo>
                    <a:pt x="186" y="100"/>
                  </a:lnTo>
                  <a:lnTo>
                    <a:pt x="186" y="97"/>
                  </a:lnTo>
                  <a:lnTo>
                    <a:pt x="186" y="97"/>
                  </a:lnTo>
                  <a:lnTo>
                    <a:pt x="186" y="97"/>
                  </a:lnTo>
                  <a:lnTo>
                    <a:pt x="183" y="97"/>
                  </a:lnTo>
                  <a:lnTo>
                    <a:pt x="183" y="97"/>
                  </a:lnTo>
                  <a:lnTo>
                    <a:pt x="181" y="97"/>
                  </a:lnTo>
                  <a:lnTo>
                    <a:pt x="181" y="97"/>
                  </a:lnTo>
                  <a:lnTo>
                    <a:pt x="181" y="97"/>
                  </a:lnTo>
                  <a:lnTo>
                    <a:pt x="178" y="97"/>
                  </a:lnTo>
                  <a:lnTo>
                    <a:pt x="178" y="97"/>
                  </a:lnTo>
                  <a:lnTo>
                    <a:pt x="176" y="97"/>
                  </a:lnTo>
                  <a:lnTo>
                    <a:pt x="173" y="97"/>
                  </a:lnTo>
                  <a:lnTo>
                    <a:pt x="171" y="97"/>
                  </a:lnTo>
                  <a:lnTo>
                    <a:pt x="171" y="97"/>
                  </a:lnTo>
                  <a:lnTo>
                    <a:pt x="168" y="100"/>
                  </a:lnTo>
                  <a:lnTo>
                    <a:pt x="168" y="100"/>
                  </a:lnTo>
                  <a:lnTo>
                    <a:pt x="168" y="102"/>
                  </a:lnTo>
                  <a:lnTo>
                    <a:pt x="168" y="102"/>
                  </a:lnTo>
                  <a:lnTo>
                    <a:pt x="171" y="107"/>
                  </a:lnTo>
                  <a:lnTo>
                    <a:pt x="171" y="107"/>
                  </a:lnTo>
                  <a:lnTo>
                    <a:pt x="168" y="110"/>
                  </a:lnTo>
                  <a:lnTo>
                    <a:pt x="168" y="110"/>
                  </a:lnTo>
                  <a:lnTo>
                    <a:pt x="165" y="112"/>
                  </a:lnTo>
                  <a:lnTo>
                    <a:pt x="163" y="112"/>
                  </a:lnTo>
                  <a:lnTo>
                    <a:pt x="160" y="112"/>
                  </a:lnTo>
                  <a:lnTo>
                    <a:pt x="158" y="112"/>
                  </a:lnTo>
                  <a:lnTo>
                    <a:pt x="155" y="112"/>
                  </a:lnTo>
                  <a:lnTo>
                    <a:pt x="155" y="115"/>
                  </a:lnTo>
                  <a:lnTo>
                    <a:pt x="155" y="117"/>
                  </a:lnTo>
                  <a:lnTo>
                    <a:pt x="155" y="117"/>
                  </a:lnTo>
                  <a:lnTo>
                    <a:pt x="155" y="120"/>
                  </a:lnTo>
                  <a:lnTo>
                    <a:pt x="155" y="122"/>
                  </a:lnTo>
                  <a:lnTo>
                    <a:pt x="158" y="128"/>
                  </a:lnTo>
                  <a:lnTo>
                    <a:pt x="160" y="133"/>
                  </a:lnTo>
                  <a:lnTo>
                    <a:pt x="160" y="133"/>
                  </a:lnTo>
                  <a:lnTo>
                    <a:pt x="163" y="135"/>
                  </a:lnTo>
                  <a:lnTo>
                    <a:pt x="163" y="138"/>
                  </a:lnTo>
                  <a:lnTo>
                    <a:pt x="163" y="138"/>
                  </a:lnTo>
                  <a:lnTo>
                    <a:pt x="163" y="140"/>
                  </a:lnTo>
                  <a:lnTo>
                    <a:pt x="163" y="143"/>
                  </a:lnTo>
                  <a:lnTo>
                    <a:pt x="163" y="143"/>
                  </a:lnTo>
                  <a:lnTo>
                    <a:pt x="160" y="143"/>
                  </a:lnTo>
                  <a:lnTo>
                    <a:pt x="158" y="143"/>
                  </a:lnTo>
                  <a:lnTo>
                    <a:pt x="155" y="145"/>
                  </a:lnTo>
                  <a:lnTo>
                    <a:pt x="155" y="145"/>
                  </a:lnTo>
                  <a:lnTo>
                    <a:pt x="153" y="148"/>
                  </a:lnTo>
                  <a:lnTo>
                    <a:pt x="153" y="148"/>
                  </a:lnTo>
                  <a:lnTo>
                    <a:pt x="150" y="148"/>
                  </a:lnTo>
                  <a:lnTo>
                    <a:pt x="150" y="145"/>
                  </a:lnTo>
                  <a:lnTo>
                    <a:pt x="148" y="145"/>
                  </a:lnTo>
                  <a:lnTo>
                    <a:pt x="148" y="145"/>
                  </a:lnTo>
                  <a:lnTo>
                    <a:pt x="145" y="145"/>
                  </a:lnTo>
                  <a:lnTo>
                    <a:pt x="143" y="145"/>
                  </a:lnTo>
                  <a:lnTo>
                    <a:pt x="140" y="145"/>
                  </a:lnTo>
                  <a:lnTo>
                    <a:pt x="137" y="145"/>
                  </a:lnTo>
                  <a:lnTo>
                    <a:pt x="137" y="145"/>
                  </a:lnTo>
                  <a:lnTo>
                    <a:pt x="132" y="145"/>
                  </a:lnTo>
                  <a:lnTo>
                    <a:pt x="130" y="143"/>
                  </a:lnTo>
                  <a:lnTo>
                    <a:pt x="130" y="143"/>
                  </a:lnTo>
                  <a:lnTo>
                    <a:pt x="125" y="143"/>
                  </a:lnTo>
                  <a:lnTo>
                    <a:pt x="120" y="140"/>
                  </a:lnTo>
                  <a:lnTo>
                    <a:pt x="120" y="140"/>
                  </a:lnTo>
                  <a:lnTo>
                    <a:pt x="117" y="140"/>
                  </a:lnTo>
                  <a:lnTo>
                    <a:pt x="117" y="140"/>
                  </a:lnTo>
                  <a:lnTo>
                    <a:pt x="117" y="143"/>
                  </a:lnTo>
                  <a:lnTo>
                    <a:pt x="120" y="145"/>
                  </a:lnTo>
                  <a:lnTo>
                    <a:pt x="117" y="153"/>
                  </a:lnTo>
                  <a:lnTo>
                    <a:pt x="117" y="158"/>
                  </a:lnTo>
                  <a:lnTo>
                    <a:pt x="117" y="163"/>
                  </a:lnTo>
                  <a:lnTo>
                    <a:pt x="117" y="166"/>
                  </a:lnTo>
                  <a:lnTo>
                    <a:pt x="117" y="171"/>
                  </a:lnTo>
                  <a:lnTo>
                    <a:pt x="117" y="173"/>
                  </a:lnTo>
                  <a:lnTo>
                    <a:pt x="117" y="176"/>
                  </a:lnTo>
                  <a:lnTo>
                    <a:pt x="117" y="176"/>
                  </a:lnTo>
                  <a:lnTo>
                    <a:pt x="117" y="176"/>
                  </a:lnTo>
                  <a:lnTo>
                    <a:pt x="120" y="178"/>
                  </a:lnTo>
                  <a:lnTo>
                    <a:pt x="122" y="178"/>
                  </a:lnTo>
                  <a:lnTo>
                    <a:pt x="125" y="178"/>
                  </a:lnTo>
                  <a:lnTo>
                    <a:pt x="125" y="181"/>
                  </a:lnTo>
                  <a:lnTo>
                    <a:pt x="125" y="181"/>
                  </a:lnTo>
                  <a:lnTo>
                    <a:pt x="125" y="184"/>
                  </a:lnTo>
                  <a:lnTo>
                    <a:pt x="125" y="186"/>
                  </a:lnTo>
                  <a:lnTo>
                    <a:pt x="125" y="186"/>
                  </a:lnTo>
                  <a:lnTo>
                    <a:pt x="125" y="186"/>
                  </a:lnTo>
                  <a:lnTo>
                    <a:pt x="122" y="184"/>
                  </a:lnTo>
                  <a:lnTo>
                    <a:pt x="120" y="184"/>
                  </a:lnTo>
                  <a:lnTo>
                    <a:pt x="120" y="184"/>
                  </a:lnTo>
                  <a:lnTo>
                    <a:pt x="117" y="184"/>
                  </a:lnTo>
                  <a:lnTo>
                    <a:pt x="114" y="186"/>
                  </a:lnTo>
                  <a:lnTo>
                    <a:pt x="114" y="186"/>
                  </a:lnTo>
                  <a:lnTo>
                    <a:pt x="112" y="184"/>
                  </a:lnTo>
                  <a:lnTo>
                    <a:pt x="112" y="184"/>
                  </a:lnTo>
                  <a:lnTo>
                    <a:pt x="109" y="181"/>
                  </a:lnTo>
                  <a:lnTo>
                    <a:pt x="107" y="181"/>
                  </a:lnTo>
                  <a:lnTo>
                    <a:pt x="107" y="181"/>
                  </a:lnTo>
                  <a:lnTo>
                    <a:pt x="102" y="184"/>
                  </a:lnTo>
                  <a:lnTo>
                    <a:pt x="97" y="184"/>
                  </a:lnTo>
                  <a:lnTo>
                    <a:pt x="94" y="186"/>
                  </a:lnTo>
                  <a:lnTo>
                    <a:pt x="94" y="186"/>
                  </a:lnTo>
                  <a:lnTo>
                    <a:pt x="92" y="186"/>
                  </a:lnTo>
                  <a:lnTo>
                    <a:pt x="89" y="186"/>
                  </a:lnTo>
                  <a:lnTo>
                    <a:pt x="86" y="186"/>
                  </a:lnTo>
                  <a:lnTo>
                    <a:pt x="84" y="189"/>
                  </a:lnTo>
                  <a:lnTo>
                    <a:pt x="81" y="189"/>
                  </a:lnTo>
                  <a:lnTo>
                    <a:pt x="79" y="191"/>
                  </a:lnTo>
                  <a:lnTo>
                    <a:pt x="79" y="194"/>
                  </a:lnTo>
                  <a:lnTo>
                    <a:pt x="79" y="194"/>
                  </a:lnTo>
                  <a:lnTo>
                    <a:pt x="81" y="194"/>
                  </a:lnTo>
                  <a:lnTo>
                    <a:pt x="81" y="194"/>
                  </a:lnTo>
                  <a:lnTo>
                    <a:pt x="84" y="194"/>
                  </a:lnTo>
                  <a:lnTo>
                    <a:pt x="86" y="194"/>
                  </a:lnTo>
                  <a:lnTo>
                    <a:pt x="89" y="196"/>
                  </a:lnTo>
                  <a:lnTo>
                    <a:pt x="92" y="196"/>
                  </a:lnTo>
                  <a:lnTo>
                    <a:pt x="92" y="196"/>
                  </a:lnTo>
                  <a:lnTo>
                    <a:pt x="92" y="196"/>
                  </a:lnTo>
                  <a:lnTo>
                    <a:pt x="89" y="196"/>
                  </a:lnTo>
                  <a:lnTo>
                    <a:pt x="89" y="199"/>
                  </a:lnTo>
                  <a:lnTo>
                    <a:pt x="89" y="199"/>
                  </a:lnTo>
                  <a:lnTo>
                    <a:pt x="89" y="199"/>
                  </a:lnTo>
                  <a:lnTo>
                    <a:pt x="92" y="201"/>
                  </a:lnTo>
                  <a:lnTo>
                    <a:pt x="92" y="204"/>
                  </a:lnTo>
                  <a:lnTo>
                    <a:pt x="92" y="206"/>
                  </a:lnTo>
                  <a:lnTo>
                    <a:pt x="94" y="209"/>
                  </a:lnTo>
                  <a:lnTo>
                    <a:pt x="94" y="209"/>
                  </a:lnTo>
                  <a:lnTo>
                    <a:pt x="94" y="212"/>
                  </a:lnTo>
                  <a:lnTo>
                    <a:pt x="97" y="214"/>
                  </a:lnTo>
                  <a:lnTo>
                    <a:pt x="97" y="214"/>
                  </a:lnTo>
                  <a:lnTo>
                    <a:pt x="102" y="219"/>
                  </a:lnTo>
                  <a:lnTo>
                    <a:pt x="102" y="222"/>
                  </a:lnTo>
                  <a:lnTo>
                    <a:pt x="104" y="224"/>
                  </a:lnTo>
                  <a:lnTo>
                    <a:pt x="104" y="227"/>
                  </a:lnTo>
                  <a:lnTo>
                    <a:pt x="104" y="227"/>
                  </a:lnTo>
                  <a:lnTo>
                    <a:pt x="107" y="229"/>
                  </a:lnTo>
                  <a:lnTo>
                    <a:pt x="107" y="229"/>
                  </a:lnTo>
                  <a:lnTo>
                    <a:pt x="107" y="229"/>
                  </a:lnTo>
                  <a:lnTo>
                    <a:pt x="109" y="232"/>
                  </a:lnTo>
                  <a:lnTo>
                    <a:pt x="107" y="232"/>
                  </a:lnTo>
                  <a:lnTo>
                    <a:pt x="104" y="232"/>
                  </a:lnTo>
                  <a:lnTo>
                    <a:pt x="104" y="232"/>
                  </a:lnTo>
                  <a:lnTo>
                    <a:pt x="102" y="234"/>
                  </a:lnTo>
                  <a:lnTo>
                    <a:pt x="102" y="234"/>
                  </a:lnTo>
                  <a:lnTo>
                    <a:pt x="102" y="234"/>
                  </a:lnTo>
                  <a:lnTo>
                    <a:pt x="102" y="234"/>
                  </a:lnTo>
                  <a:lnTo>
                    <a:pt x="104" y="234"/>
                  </a:lnTo>
                  <a:lnTo>
                    <a:pt x="104" y="237"/>
                  </a:lnTo>
                  <a:lnTo>
                    <a:pt x="107" y="237"/>
                  </a:lnTo>
                  <a:lnTo>
                    <a:pt x="104" y="237"/>
                  </a:lnTo>
                  <a:lnTo>
                    <a:pt x="102" y="240"/>
                  </a:lnTo>
                  <a:lnTo>
                    <a:pt x="99" y="240"/>
                  </a:lnTo>
                  <a:lnTo>
                    <a:pt x="99" y="242"/>
                  </a:lnTo>
                  <a:lnTo>
                    <a:pt x="102" y="242"/>
                  </a:lnTo>
                  <a:lnTo>
                    <a:pt x="102" y="245"/>
                  </a:lnTo>
                  <a:lnTo>
                    <a:pt x="102" y="247"/>
                  </a:lnTo>
                  <a:lnTo>
                    <a:pt x="104" y="250"/>
                  </a:lnTo>
                  <a:lnTo>
                    <a:pt x="104" y="250"/>
                  </a:lnTo>
                  <a:lnTo>
                    <a:pt x="104" y="252"/>
                  </a:lnTo>
                  <a:lnTo>
                    <a:pt x="104" y="252"/>
                  </a:lnTo>
                  <a:lnTo>
                    <a:pt x="104" y="252"/>
                  </a:lnTo>
                  <a:lnTo>
                    <a:pt x="107" y="255"/>
                  </a:lnTo>
                  <a:lnTo>
                    <a:pt x="107" y="255"/>
                  </a:lnTo>
                  <a:lnTo>
                    <a:pt x="107" y="255"/>
                  </a:lnTo>
                  <a:lnTo>
                    <a:pt x="99" y="255"/>
                  </a:lnTo>
                  <a:lnTo>
                    <a:pt x="99" y="257"/>
                  </a:lnTo>
                  <a:lnTo>
                    <a:pt x="99" y="257"/>
                  </a:lnTo>
                  <a:lnTo>
                    <a:pt x="94" y="260"/>
                  </a:lnTo>
                  <a:lnTo>
                    <a:pt x="92" y="260"/>
                  </a:lnTo>
                  <a:lnTo>
                    <a:pt x="92" y="260"/>
                  </a:lnTo>
                  <a:lnTo>
                    <a:pt x="89" y="262"/>
                  </a:lnTo>
                  <a:lnTo>
                    <a:pt x="81" y="265"/>
                  </a:lnTo>
                  <a:lnTo>
                    <a:pt x="79" y="268"/>
                  </a:lnTo>
                  <a:lnTo>
                    <a:pt x="76" y="270"/>
                  </a:lnTo>
                  <a:lnTo>
                    <a:pt x="76" y="270"/>
                  </a:lnTo>
                  <a:lnTo>
                    <a:pt x="76" y="270"/>
                  </a:lnTo>
                  <a:lnTo>
                    <a:pt x="76" y="273"/>
                  </a:lnTo>
                  <a:lnTo>
                    <a:pt x="74" y="278"/>
                  </a:lnTo>
                  <a:lnTo>
                    <a:pt x="71" y="278"/>
                  </a:lnTo>
                  <a:lnTo>
                    <a:pt x="69" y="278"/>
                  </a:lnTo>
                  <a:lnTo>
                    <a:pt x="66" y="278"/>
                  </a:lnTo>
                  <a:lnTo>
                    <a:pt x="64" y="278"/>
                  </a:lnTo>
                  <a:lnTo>
                    <a:pt x="58" y="278"/>
                  </a:lnTo>
                  <a:lnTo>
                    <a:pt x="56" y="278"/>
                  </a:lnTo>
                  <a:lnTo>
                    <a:pt x="53" y="278"/>
                  </a:lnTo>
                  <a:lnTo>
                    <a:pt x="51" y="278"/>
                  </a:lnTo>
                  <a:lnTo>
                    <a:pt x="51" y="278"/>
                  </a:lnTo>
                  <a:lnTo>
                    <a:pt x="48" y="283"/>
                  </a:lnTo>
                  <a:lnTo>
                    <a:pt x="48" y="283"/>
                  </a:lnTo>
                  <a:lnTo>
                    <a:pt x="48" y="283"/>
                  </a:lnTo>
                  <a:lnTo>
                    <a:pt x="48" y="285"/>
                  </a:lnTo>
                  <a:lnTo>
                    <a:pt x="48" y="288"/>
                  </a:lnTo>
                  <a:lnTo>
                    <a:pt x="48" y="290"/>
                  </a:lnTo>
                  <a:lnTo>
                    <a:pt x="48" y="290"/>
                  </a:lnTo>
                  <a:lnTo>
                    <a:pt x="46" y="293"/>
                  </a:lnTo>
                  <a:lnTo>
                    <a:pt x="46" y="293"/>
                  </a:lnTo>
                  <a:lnTo>
                    <a:pt x="43" y="290"/>
                  </a:lnTo>
                  <a:lnTo>
                    <a:pt x="43" y="290"/>
                  </a:lnTo>
                  <a:lnTo>
                    <a:pt x="43" y="293"/>
                  </a:lnTo>
                  <a:lnTo>
                    <a:pt x="41" y="293"/>
                  </a:lnTo>
                  <a:lnTo>
                    <a:pt x="38" y="293"/>
                  </a:lnTo>
                  <a:lnTo>
                    <a:pt x="38" y="293"/>
                  </a:lnTo>
                  <a:lnTo>
                    <a:pt x="33" y="293"/>
                  </a:lnTo>
                  <a:lnTo>
                    <a:pt x="33" y="293"/>
                  </a:lnTo>
                  <a:lnTo>
                    <a:pt x="30" y="288"/>
                  </a:lnTo>
                  <a:lnTo>
                    <a:pt x="30" y="288"/>
                  </a:lnTo>
                  <a:lnTo>
                    <a:pt x="30" y="288"/>
                  </a:lnTo>
                  <a:lnTo>
                    <a:pt x="28" y="288"/>
                  </a:lnTo>
                  <a:lnTo>
                    <a:pt x="25" y="290"/>
                  </a:lnTo>
                  <a:lnTo>
                    <a:pt x="23" y="290"/>
                  </a:lnTo>
                  <a:lnTo>
                    <a:pt x="20" y="290"/>
                  </a:lnTo>
                  <a:lnTo>
                    <a:pt x="18" y="290"/>
                  </a:lnTo>
                  <a:lnTo>
                    <a:pt x="18" y="290"/>
                  </a:lnTo>
                  <a:lnTo>
                    <a:pt x="18" y="290"/>
                  </a:lnTo>
                  <a:lnTo>
                    <a:pt x="18" y="290"/>
                  </a:lnTo>
                  <a:lnTo>
                    <a:pt x="18" y="293"/>
                  </a:lnTo>
                  <a:lnTo>
                    <a:pt x="18" y="293"/>
                  </a:lnTo>
                  <a:lnTo>
                    <a:pt x="18" y="293"/>
                  </a:lnTo>
                  <a:lnTo>
                    <a:pt x="15" y="293"/>
                  </a:lnTo>
                  <a:lnTo>
                    <a:pt x="15" y="296"/>
                  </a:lnTo>
                  <a:lnTo>
                    <a:pt x="10" y="298"/>
                  </a:lnTo>
                  <a:lnTo>
                    <a:pt x="7" y="298"/>
                  </a:lnTo>
                  <a:lnTo>
                    <a:pt x="5" y="298"/>
                  </a:lnTo>
                  <a:lnTo>
                    <a:pt x="5" y="301"/>
                  </a:lnTo>
                  <a:lnTo>
                    <a:pt x="5" y="301"/>
                  </a:lnTo>
                  <a:lnTo>
                    <a:pt x="2" y="301"/>
                  </a:lnTo>
                  <a:lnTo>
                    <a:pt x="2" y="301"/>
                  </a:lnTo>
                  <a:lnTo>
                    <a:pt x="2" y="303"/>
                  </a:lnTo>
                  <a:lnTo>
                    <a:pt x="2" y="303"/>
                  </a:lnTo>
                  <a:lnTo>
                    <a:pt x="2" y="303"/>
                  </a:lnTo>
                  <a:lnTo>
                    <a:pt x="5" y="306"/>
                  </a:lnTo>
                  <a:lnTo>
                    <a:pt x="5" y="308"/>
                  </a:lnTo>
                  <a:lnTo>
                    <a:pt x="5" y="308"/>
                  </a:lnTo>
                  <a:lnTo>
                    <a:pt x="5" y="308"/>
                  </a:lnTo>
                  <a:lnTo>
                    <a:pt x="5" y="311"/>
                  </a:lnTo>
                  <a:lnTo>
                    <a:pt x="2" y="311"/>
                  </a:lnTo>
                  <a:lnTo>
                    <a:pt x="0" y="311"/>
                  </a:lnTo>
                  <a:lnTo>
                    <a:pt x="0" y="313"/>
                  </a:lnTo>
                  <a:lnTo>
                    <a:pt x="2" y="316"/>
                  </a:lnTo>
                  <a:lnTo>
                    <a:pt x="2" y="316"/>
                  </a:lnTo>
                  <a:lnTo>
                    <a:pt x="5" y="318"/>
                  </a:lnTo>
                  <a:lnTo>
                    <a:pt x="5" y="321"/>
                  </a:lnTo>
                  <a:lnTo>
                    <a:pt x="7" y="321"/>
                  </a:lnTo>
                  <a:lnTo>
                    <a:pt x="7" y="323"/>
                  </a:lnTo>
                  <a:lnTo>
                    <a:pt x="7" y="323"/>
                  </a:lnTo>
                  <a:lnTo>
                    <a:pt x="5" y="323"/>
                  </a:lnTo>
                  <a:lnTo>
                    <a:pt x="5" y="323"/>
                  </a:lnTo>
                  <a:lnTo>
                    <a:pt x="5" y="326"/>
                  </a:lnTo>
                  <a:lnTo>
                    <a:pt x="5" y="326"/>
                  </a:lnTo>
                  <a:lnTo>
                    <a:pt x="7" y="329"/>
                  </a:lnTo>
                  <a:lnTo>
                    <a:pt x="7" y="331"/>
                  </a:lnTo>
                  <a:lnTo>
                    <a:pt x="10" y="331"/>
                  </a:lnTo>
                  <a:lnTo>
                    <a:pt x="13" y="331"/>
                  </a:lnTo>
                  <a:lnTo>
                    <a:pt x="13" y="331"/>
                  </a:lnTo>
                  <a:lnTo>
                    <a:pt x="13" y="331"/>
                  </a:lnTo>
                  <a:lnTo>
                    <a:pt x="15" y="329"/>
                  </a:lnTo>
                  <a:lnTo>
                    <a:pt x="15" y="329"/>
                  </a:lnTo>
                  <a:lnTo>
                    <a:pt x="18" y="329"/>
                  </a:lnTo>
                  <a:lnTo>
                    <a:pt x="23" y="331"/>
                  </a:lnTo>
                  <a:lnTo>
                    <a:pt x="28" y="334"/>
                  </a:lnTo>
                  <a:lnTo>
                    <a:pt x="28" y="334"/>
                  </a:lnTo>
                  <a:lnTo>
                    <a:pt x="28" y="336"/>
                  </a:lnTo>
                  <a:lnTo>
                    <a:pt x="28" y="339"/>
                  </a:lnTo>
                  <a:lnTo>
                    <a:pt x="28" y="341"/>
                  </a:lnTo>
                  <a:lnTo>
                    <a:pt x="30" y="341"/>
                  </a:lnTo>
                  <a:lnTo>
                    <a:pt x="30" y="344"/>
                  </a:lnTo>
                  <a:lnTo>
                    <a:pt x="33" y="346"/>
                  </a:lnTo>
                  <a:lnTo>
                    <a:pt x="33" y="349"/>
                  </a:lnTo>
                  <a:lnTo>
                    <a:pt x="33" y="349"/>
                  </a:lnTo>
                  <a:lnTo>
                    <a:pt x="35" y="349"/>
                  </a:lnTo>
                  <a:lnTo>
                    <a:pt x="35" y="351"/>
                  </a:lnTo>
                  <a:lnTo>
                    <a:pt x="35" y="354"/>
                  </a:lnTo>
                  <a:lnTo>
                    <a:pt x="35" y="354"/>
                  </a:lnTo>
                  <a:lnTo>
                    <a:pt x="35" y="357"/>
                  </a:lnTo>
                  <a:lnTo>
                    <a:pt x="38" y="357"/>
                  </a:lnTo>
                  <a:lnTo>
                    <a:pt x="41" y="359"/>
                  </a:lnTo>
                  <a:lnTo>
                    <a:pt x="41" y="359"/>
                  </a:lnTo>
                  <a:lnTo>
                    <a:pt x="38" y="362"/>
                  </a:lnTo>
                  <a:lnTo>
                    <a:pt x="38" y="362"/>
                  </a:lnTo>
                  <a:lnTo>
                    <a:pt x="35" y="362"/>
                  </a:lnTo>
                  <a:lnTo>
                    <a:pt x="35" y="362"/>
                  </a:lnTo>
                  <a:lnTo>
                    <a:pt x="33" y="362"/>
                  </a:lnTo>
                  <a:lnTo>
                    <a:pt x="33" y="362"/>
                  </a:lnTo>
                  <a:lnTo>
                    <a:pt x="33" y="362"/>
                  </a:lnTo>
                  <a:lnTo>
                    <a:pt x="33" y="362"/>
                  </a:lnTo>
                  <a:lnTo>
                    <a:pt x="30" y="362"/>
                  </a:lnTo>
                  <a:lnTo>
                    <a:pt x="28" y="364"/>
                  </a:lnTo>
                  <a:lnTo>
                    <a:pt x="28" y="364"/>
                  </a:lnTo>
                  <a:lnTo>
                    <a:pt x="30" y="367"/>
                  </a:lnTo>
                  <a:lnTo>
                    <a:pt x="30" y="367"/>
                  </a:lnTo>
                  <a:lnTo>
                    <a:pt x="30" y="367"/>
                  </a:lnTo>
                  <a:lnTo>
                    <a:pt x="33" y="367"/>
                  </a:lnTo>
                  <a:lnTo>
                    <a:pt x="33" y="367"/>
                  </a:lnTo>
                  <a:lnTo>
                    <a:pt x="35" y="367"/>
                  </a:lnTo>
                  <a:lnTo>
                    <a:pt x="38" y="369"/>
                  </a:lnTo>
                  <a:lnTo>
                    <a:pt x="38" y="369"/>
                  </a:lnTo>
                  <a:lnTo>
                    <a:pt x="38" y="369"/>
                  </a:lnTo>
                  <a:lnTo>
                    <a:pt x="41" y="367"/>
                  </a:lnTo>
                  <a:lnTo>
                    <a:pt x="43" y="369"/>
                  </a:lnTo>
                  <a:lnTo>
                    <a:pt x="46" y="369"/>
                  </a:lnTo>
                  <a:lnTo>
                    <a:pt x="48" y="369"/>
                  </a:lnTo>
                  <a:lnTo>
                    <a:pt x="48" y="374"/>
                  </a:lnTo>
                  <a:lnTo>
                    <a:pt x="51" y="374"/>
                  </a:lnTo>
                  <a:lnTo>
                    <a:pt x="51" y="374"/>
                  </a:lnTo>
                  <a:lnTo>
                    <a:pt x="53" y="374"/>
                  </a:lnTo>
                  <a:lnTo>
                    <a:pt x="56" y="374"/>
                  </a:lnTo>
                  <a:lnTo>
                    <a:pt x="58" y="377"/>
                  </a:lnTo>
                  <a:lnTo>
                    <a:pt x="58" y="377"/>
                  </a:lnTo>
                  <a:lnTo>
                    <a:pt x="61" y="379"/>
                  </a:lnTo>
                  <a:lnTo>
                    <a:pt x="61" y="379"/>
                  </a:lnTo>
                  <a:lnTo>
                    <a:pt x="61" y="382"/>
                  </a:lnTo>
                  <a:lnTo>
                    <a:pt x="64" y="387"/>
                  </a:lnTo>
                  <a:lnTo>
                    <a:pt x="61" y="387"/>
                  </a:lnTo>
                  <a:lnTo>
                    <a:pt x="61" y="390"/>
                  </a:lnTo>
                  <a:lnTo>
                    <a:pt x="61" y="390"/>
                  </a:lnTo>
                  <a:lnTo>
                    <a:pt x="64" y="390"/>
                  </a:lnTo>
                  <a:lnTo>
                    <a:pt x="64" y="392"/>
                  </a:lnTo>
                  <a:lnTo>
                    <a:pt x="66" y="392"/>
                  </a:lnTo>
                  <a:lnTo>
                    <a:pt x="66" y="392"/>
                  </a:lnTo>
                  <a:lnTo>
                    <a:pt x="69" y="395"/>
                  </a:lnTo>
                  <a:lnTo>
                    <a:pt x="69" y="395"/>
                  </a:lnTo>
                  <a:lnTo>
                    <a:pt x="69" y="395"/>
                  </a:lnTo>
                  <a:lnTo>
                    <a:pt x="71" y="395"/>
                  </a:lnTo>
                  <a:lnTo>
                    <a:pt x="74" y="395"/>
                  </a:lnTo>
                  <a:lnTo>
                    <a:pt x="74" y="392"/>
                  </a:lnTo>
                  <a:lnTo>
                    <a:pt x="76" y="397"/>
                  </a:lnTo>
                  <a:lnTo>
                    <a:pt x="76" y="397"/>
                  </a:lnTo>
                  <a:lnTo>
                    <a:pt x="79" y="397"/>
                  </a:lnTo>
                  <a:lnTo>
                    <a:pt x="79" y="400"/>
                  </a:lnTo>
                  <a:lnTo>
                    <a:pt x="81" y="400"/>
                  </a:lnTo>
                  <a:lnTo>
                    <a:pt x="86" y="402"/>
                  </a:lnTo>
                  <a:lnTo>
                    <a:pt x="92" y="402"/>
                  </a:lnTo>
                  <a:lnTo>
                    <a:pt x="94" y="402"/>
                  </a:lnTo>
                  <a:lnTo>
                    <a:pt x="94" y="402"/>
                  </a:lnTo>
                  <a:lnTo>
                    <a:pt x="97" y="402"/>
                  </a:lnTo>
                  <a:lnTo>
                    <a:pt x="99" y="402"/>
                  </a:lnTo>
                  <a:lnTo>
                    <a:pt x="99" y="402"/>
                  </a:lnTo>
                  <a:lnTo>
                    <a:pt x="102" y="402"/>
                  </a:lnTo>
                  <a:lnTo>
                    <a:pt x="102" y="402"/>
                  </a:lnTo>
                  <a:lnTo>
                    <a:pt x="102" y="402"/>
                  </a:lnTo>
                  <a:lnTo>
                    <a:pt x="102" y="402"/>
                  </a:lnTo>
                  <a:lnTo>
                    <a:pt x="104" y="402"/>
                  </a:lnTo>
                  <a:lnTo>
                    <a:pt x="104" y="402"/>
                  </a:lnTo>
                  <a:lnTo>
                    <a:pt x="104" y="402"/>
                  </a:lnTo>
                  <a:lnTo>
                    <a:pt x="104" y="402"/>
                  </a:lnTo>
                  <a:lnTo>
                    <a:pt x="104" y="407"/>
                  </a:lnTo>
                  <a:lnTo>
                    <a:pt x="107" y="407"/>
                  </a:lnTo>
                  <a:lnTo>
                    <a:pt x="107" y="410"/>
                  </a:lnTo>
                  <a:lnTo>
                    <a:pt x="109" y="415"/>
                  </a:lnTo>
                  <a:lnTo>
                    <a:pt x="112" y="420"/>
                  </a:lnTo>
                  <a:lnTo>
                    <a:pt x="114" y="423"/>
                  </a:lnTo>
                  <a:lnTo>
                    <a:pt x="114" y="423"/>
                  </a:lnTo>
                  <a:lnTo>
                    <a:pt x="120" y="425"/>
                  </a:lnTo>
                  <a:lnTo>
                    <a:pt x="122" y="425"/>
                  </a:lnTo>
                  <a:lnTo>
                    <a:pt x="125" y="425"/>
                  </a:lnTo>
                  <a:lnTo>
                    <a:pt x="127" y="428"/>
                  </a:lnTo>
                  <a:lnTo>
                    <a:pt x="127" y="428"/>
                  </a:lnTo>
                  <a:lnTo>
                    <a:pt x="130" y="430"/>
                  </a:lnTo>
                  <a:lnTo>
                    <a:pt x="130" y="430"/>
                  </a:lnTo>
                  <a:lnTo>
                    <a:pt x="130" y="430"/>
                  </a:lnTo>
                  <a:lnTo>
                    <a:pt x="130" y="433"/>
                  </a:lnTo>
                  <a:lnTo>
                    <a:pt x="125" y="435"/>
                  </a:lnTo>
                  <a:lnTo>
                    <a:pt x="125" y="435"/>
                  </a:lnTo>
                  <a:lnTo>
                    <a:pt x="125" y="435"/>
                  </a:lnTo>
                  <a:lnTo>
                    <a:pt x="127" y="441"/>
                  </a:lnTo>
                  <a:lnTo>
                    <a:pt x="127" y="441"/>
                  </a:lnTo>
                  <a:lnTo>
                    <a:pt x="130" y="446"/>
                  </a:lnTo>
                  <a:lnTo>
                    <a:pt x="130" y="448"/>
                  </a:lnTo>
                  <a:lnTo>
                    <a:pt x="132" y="451"/>
                  </a:lnTo>
                  <a:lnTo>
                    <a:pt x="132" y="451"/>
                  </a:lnTo>
                  <a:lnTo>
                    <a:pt x="132" y="451"/>
                  </a:lnTo>
                  <a:lnTo>
                    <a:pt x="135" y="453"/>
                  </a:lnTo>
                  <a:lnTo>
                    <a:pt x="135" y="453"/>
                  </a:lnTo>
                  <a:lnTo>
                    <a:pt x="137" y="453"/>
                  </a:lnTo>
                  <a:lnTo>
                    <a:pt x="137" y="456"/>
                  </a:lnTo>
                  <a:lnTo>
                    <a:pt x="137" y="456"/>
                  </a:lnTo>
                  <a:lnTo>
                    <a:pt x="137" y="458"/>
                  </a:lnTo>
                  <a:lnTo>
                    <a:pt x="137" y="458"/>
                  </a:lnTo>
                  <a:lnTo>
                    <a:pt x="137" y="458"/>
                  </a:lnTo>
                  <a:lnTo>
                    <a:pt x="137" y="458"/>
                  </a:lnTo>
                  <a:lnTo>
                    <a:pt x="140" y="461"/>
                  </a:lnTo>
                  <a:lnTo>
                    <a:pt x="140" y="463"/>
                  </a:lnTo>
                  <a:lnTo>
                    <a:pt x="140" y="463"/>
                  </a:lnTo>
                  <a:lnTo>
                    <a:pt x="143" y="466"/>
                  </a:lnTo>
                  <a:lnTo>
                    <a:pt x="143" y="466"/>
                  </a:lnTo>
                  <a:lnTo>
                    <a:pt x="143" y="469"/>
                  </a:lnTo>
                  <a:lnTo>
                    <a:pt x="143" y="471"/>
                  </a:lnTo>
                  <a:lnTo>
                    <a:pt x="143" y="471"/>
                  </a:lnTo>
                  <a:lnTo>
                    <a:pt x="143" y="471"/>
                  </a:lnTo>
                  <a:lnTo>
                    <a:pt x="140" y="471"/>
                  </a:lnTo>
                  <a:lnTo>
                    <a:pt x="140" y="474"/>
                  </a:lnTo>
                  <a:lnTo>
                    <a:pt x="140" y="474"/>
                  </a:lnTo>
                  <a:lnTo>
                    <a:pt x="137" y="474"/>
                  </a:lnTo>
                  <a:lnTo>
                    <a:pt x="135" y="474"/>
                  </a:lnTo>
                  <a:lnTo>
                    <a:pt x="135" y="471"/>
                  </a:lnTo>
                  <a:lnTo>
                    <a:pt x="132" y="471"/>
                  </a:lnTo>
                  <a:lnTo>
                    <a:pt x="132" y="469"/>
                  </a:lnTo>
                  <a:lnTo>
                    <a:pt x="132" y="469"/>
                  </a:lnTo>
                  <a:lnTo>
                    <a:pt x="130" y="469"/>
                  </a:lnTo>
                  <a:lnTo>
                    <a:pt x="130" y="469"/>
                  </a:lnTo>
                  <a:lnTo>
                    <a:pt x="127" y="469"/>
                  </a:lnTo>
                  <a:lnTo>
                    <a:pt x="127" y="471"/>
                  </a:lnTo>
                  <a:lnTo>
                    <a:pt x="127" y="471"/>
                  </a:lnTo>
                  <a:lnTo>
                    <a:pt x="127" y="471"/>
                  </a:lnTo>
                  <a:lnTo>
                    <a:pt x="127" y="474"/>
                  </a:lnTo>
                  <a:lnTo>
                    <a:pt x="130" y="476"/>
                  </a:lnTo>
                  <a:lnTo>
                    <a:pt x="130" y="476"/>
                  </a:lnTo>
                  <a:lnTo>
                    <a:pt x="130" y="476"/>
                  </a:lnTo>
                  <a:lnTo>
                    <a:pt x="135" y="481"/>
                  </a:lnTo>
                  <a:lnTo>
                    <a:pt x="135" y="484"/>
                  </a:lnTo>
                  <a:lnTo>
                    <a:pt x="135" y="484"/>
                  </a:lnTo>
                  <a:lnTo>
                    <a:pt x="135" y="484"/>
                  </a:lnTo>
                  <a:lnTo>
                    <a:pt x="135" y="486"/>
                  </a:lnTo>
                  <a:lnTo>
                    <a:pt x="135" y="489"/>
                  </a:lnTo>
                  <a:lnTo>
                    <a:pt x="137" y="489"/>
                  </a:lnTo>
                  <a:lnTo>
                    <a:pt x="137" y="491"/>
                  </a:lnTo>
                  <a:lnTo>
                    <a:pt x="137" y="491"/>
                  </a:lnTo>
                  <a:lnTo>
                    <a:pt x="137" y="494"/>
                  </a:lnTo>
                  <a:lnTo>
                    <a:pt x="137" y="494"/>
                  </a:lnTo>
                  <a:lnTo>
                    <a:pt x="140" y="497"/>
                  </a:lnTo>
                  <a:lnTo>
                    <a:pt x="140" y="499"/>
                  </a:lnTo>
                  <a:lnTo>
                    <a:pt x="140" y="499"/>
                  </a:lnTo>
                  <a:lnTo>
                    <a:pt x="140" y="499"/>
                  </a:lnTo>
                  <a:lnTo>
                    <a:pt x="143" y="497"/>
                  </a:lnTo>
                  <a:lnTo>
                    <a:pt x="143" y="497"/>
                  </a:lnTo>
                  <a:lnTo>
                    <a:pt x="143" y="497"/>
                  </a:lnTo>
                  <a:lnTo>
                    <a:pt x="143" y="497"/>
                  </a:lnTo>
                  <a:lnTo>
                    <a:pt x="145" y="494"/>
                  </a:lnTo>
                  <a:lnTo>
                    <a:pt x="145" y="497"/>
                  </a:lnTo>
                  <a:lnTo>
                    <a:pt x="148" y="499"/>
                  </a:lnTo>
                  <a:lnTo>
                    <a:pt x="150" y="502"/>
                  </a:lnTo>
                  <a:lnTo>
                    <a:pt x="153" y="504"/>
                  </a:lnTo>
                  <a:lnTo>
                    <a:pt x="153" y="504"/>
                  </a:lnTo>
                  <a:lnTo>
                    <a:pt x="155" y="504"/>
                  </a:lnTo>
                  <a:lnTo>
                    <a:pt x="155" y="507"/>
                  </a:lnTo>
                  <a:lnTo>
                    <a:pt x="158" y="507"/>
                  </a:lnTo>
                  <a:lnTo>
                    <a:pt x="160" y="507"/>
                  </a:lnTo>
                  <a:lnTo>
                    <a:pt x="163" y="507"/>
                  </a:lnTo>
                  <a:lnTo>
                    <a:pt x="163" y="507"/>
                  </a:lnTo>
                  <a:lnTo>
                    <a:pt x="163" y="507"/>
                  </a:lnTo>
                  <a:lnTo>
                    <a:pt x="168" y="509"/>
                  </a:lnTo>
                  <a:lnTo>
                    <a:pt x="168" y="509"/>
                  </a:lnTo>
                  <a:lnTo>
                    <a:pt x="168" y="509"/>
                  </a:lnTo>
                  <a:lnTo>
                    <a:pt x="171" y="512"/>
                  </a:lnTo>
                  <a:lnTo>
                    <a:pt x="171" y="514"/>
                  </a:lnTo>
                  <a:lnTo>
                    <a:pt x="171" y="514"/>
                  </a:lnTo>
                  <a:lnTo>
                    <a:pt x="171" y="514"/>
                  </a:lnTo>
                  <a:lnTo>
                    <a:pt x="176" y="517"/>
                  </a:lnTo>
                  <a:lnTo>
                    <a:pt x="178" y="517"/>
                  </a:lnTo>
                  <a:lnTo>
                    <a:pt x="178" y="517"/>
                  </a:lnTo>
                  <a:lnTo>
                    <a:pt x="181" y="517"/>
                  </a:lnTo>
                  <a:lnTo>
                    <a:pt x="181" y="519"/>
                  </a:lnTo>
                  <a:lnTo>
                    <a:pt x="183" y="522"/>
                  </a:lnTo>
                  <a:lnTo>
                    <a:pt x="186" y="522"/>
                  </a:lnTo>
                  <a:lnTo>
                    <a:pt x="188" y="525"/>
                  </a:lnTo>
                  <a:lnTo>
                    <a:pt x="188" y="525"/>
                  </a:lnTo>
                  <a:lnTo>
                    <a:pt x="191" y="527"/>
                  </a:lnTo>
                  <a:lnTo>
                    <a:pt x="191" y="527"/>
                  </a:lnTo>
                  <a:lnTo>
                    <a:pt x="193" y="525"/>
                  </a:lnTo>
                  <a:lnTo>
                    <a:pt x="193" y="519"/>
                  </a:lnTo>
                  <a:lnTo>
                    <a:pt x="199" y="519"/>
                  </a:lnTo>
                  <a:lnTo>
                    <a:pt x="204" y="519"/>
                  </a:lnTo>
                  <a:lnTo>
                    <a:pt x="206" y="519"/>
                  </a:lnTo>
                  <a:lnTo>
                    <a:pt x="209" y="522"/>
                  </a:lnTo>
                  <a:lnTo>
                    <a:pt x="209" y="525"/>
                  </a:lnTo>
                  <a:lnTo>
                    <a:pt x="209" y="525"/>
                  </a:lnTo>
                  <a:lnTo>
                    <a:pt x="211" y="527"/>
                  </a:lnTo>
                  <a:lnTo>
                    <a:pt x="216" y="530"/>
                  </a:lnTo>
                  <a:lnTo>
                    <a:pt x="222" y="532"/>
                  </a:lnTo>
                  <a:lnTo>
                    <a:pt x="224" y="535"/>
                  </a:lnTo>
                  <a:lnTo>
                    <a:pt x="229" y="537"/>
                  </a:lnTo>
                  <a:lnTo>
                    <a:pt x="232" y="537"/>
                  </a:lnTo>
                  <a:lnTo>
                    <a:pt x="234" y="537"/>
                  </a:lnTo>
                  <a:lnTo>
                    <a:pt x="237" y="540"/>
                  </a:lnTo>
                  <a:lnTo>
                    <a:pt x="239" y="542"/>
                  </a:lnTo>
                  <a:lnTo>
                    <a:pt x="242" y="545"/>
                  </a:lnTo>
                  <a:lnTo>
                    <a:pt x="242" y="545"/>
                  </a:lnTo>
                  <a:lnTo>
                    <a:pt x="244" y="545"/>
                  </a:lnTo>
                  <a:lnTo>
                    <a:pt x="247" y="545"/>
                  </a:lnTo>
                  <a:lnTo>
                    <a:pt x="250" y="545"/>
                  </a:lnTo>
                  <a:lnTo>
                    <a:pt x="252" y="545"/>
                  </a:lnTo>
                  <a:lnTo>
                    <a:pt x="252" y="547"/>
                  </a:lnTo>
                  <a:lnTo>
                    <a:pt x="255" y="550"/>
                  </a:lnTo>
                  <a:lnTo>
                    <a:pt x="255" y="553"/>
                  </a:lnTo>
                  <a:lnTo>
                    <a:pt x="257" y="553"/>
                  </a:lnTo>
                  <a:lnTo>
                    <a:pt x="260" y="555"/>
                  </a:lnTo>
                  <a:lnTo>
                    <a:pt x="260" y="555"/>
                  </a:lnTo>
                  <a:lnTo>
                    <a:pt x="265" y="558"/>
                  </a:lnTo>
                  <a:lnTo>
                    <a:pt x="265" y="558"/>
                  </a:lnTo>
                  <a:lnTo>
                    <a:pt x="265" y="560"/>
                  </a:lnTo>
                  <a:lnTo>
                    <a:pt x="267" y="560"/>
                  </a:lnTo>
                  <a:lnTo>
                    <a:pt x="267" y="560"/>
                  </a:lnTo>
                  <a:lnTo>
                    <a:pt x="270" y="560"/>
                  </a:lnTo>
                  <a:lnTo>
                    <a:pt x="272" y="560"/>
                  </a:lnTo>
                  <a:lnTo>
                    <a:pt x="272" y="560"/>
                  </a:lnTo>
                  <a:lnTo>
                    <a:pt x="275" y="560"/>
                  </a:lnTo>
                  <a:lnTo>
                    <a:pt x="275" y="560"/>
                  </a:lnTo>
                  <a:lnTo>
                    <a:pt x="275" y="563"/>
                  </a:lnTo>
                  <a:lnTo>
                    <a:pt x="275" y="565"/>
                  </a:lnTo>
                  <a:lnTo>
                    <a:pt x="275" y="565"/>
                  </a:lnTo>
                  <a:lnTo>
                    <a:pt x="278" y="565"/>
                  </a:lnTo>
                  <a:lnTo>
                    <a:pt x="280" y="568"/>
                  </a:lnTo>
                  <a:lnTo>
                    <a:pt x="285" y="568"/>
                  </a:lnTo>
                  <a:lnTo>
                    <a:pt x="288" y="568"/>
                  </a:lnTo>
                  <a:lnTo>
                    <a:pt x="290" y="570"/>
                  </a:lnTo>
                  <a:lnTo>
                    <a:pt x="293" y="573"/>
                  </a:lnTo>
                  <a:lnTo>
                    <a:pt x="293" y="575"/>
                  </a:lnTo>
                  <a:lnTo>
                    <a:pt x="293" y="575"/>
                  </a:lnTo>
                  <a:lnTo>
                    <a:pt x="295" y="575"/>
                  </a:lnTo>
                  <a:lnTo>
                    <a:pt x="295" y="573"/>
                  </a:lnTo>
                  <a:lnTo>
                    <a:pt x="295" y="570"/>
                  </a:lnTo>
                  <a:lnTo>
                    <a:pt x="295" y="570"/>
                  </a:lnTo>
                  <a:lnTo>
                    <a:pt x="295" y="570"/>
                  </a:lnTo>
                  <a:lnTo>
                    <a:pt x="298" y="573"/>
                  </a:lnTo>
                  <a:lnTo>
                    <a:pt x="301" y="573"/>
                  </a:lnTo>
                  <a:lnTo>
                    <a:pt x="301" y="575"/>
                  </a:lnTo>
                  <a:lnTo>
                    <a:pt x="303" y="575"/>
                  </a:lnTo>
                  <a:lnTo>
                    <a:pt x="303" y="573"/>
                  </a:lnTo>
                  <a:lnTo>
                    <a:pt x="303" y="570"/>
                  </a:lnTo>
                  <a:lnTo>
                    <a:pt x="306" y="570"/>
                  </a:lnTo>
                  <a:lnTo>
                    <a:pt x="306" y="570"/>
                  </a:lnTo>
                  <a:lnTo>
                    <a:pt x="306" y="570"/>
                  </a:lnTo>
                  <a:lnTo>
                    <a:pt x="308" y="573"/>
                  </a:lnTo>
                  <a:lnTo>
                    <a:pt x="311" y="573"/>
                  </a:lnTo>
                  <a:lnTo>
                    <a:pt x="311" y="573"/>
                  </a:lnTo>
                  <a:lnTo>
                    <a:pt x="313" y="575"/>
                  </a:lnTo>
                  <a:lnTo>
                    <a:pt x="316" y="575"/>
                  </a:lnTo>
                  <a:lnTo>
                    <a:pt x="318" y="578"/>
                  </a:lnTo>
                  <a:lnTo>
                    <a:pt x="323" y="578"/>
                  </a:lnTo>
                  <a:lnTo>
                    <a:pt x="323" y="578"/>
                  </a:lnTo>
                  <a:lnTo>
                    <a:pt x="326" y="578"/>
                  </a:lnTo>
                  <a:lnTo>
                    <a:pt x="326" y="578"/>
                  </a:lnTo>
                  <a:lnTo>
                    <a:pt x="329" y="575"/>
                  </a:lnTo>
                  <a:lnTo>
                    <a:pt x="331" y="575"/>
                  </a:lnTo>
                  <a:lnTo>
                    <a:pt x="334" y="575"/>
                  </a:lnTo>
                  <a:lnTo>
                    <a:pt x="334" y="575"/>
                  </a:lnTo>
                  <a:lnTo>
                    <a:pt x="334" y="575"/>
                  </a:lnTo>
                  <a:lnTo>
                    <a:pt x="334" y="575"/>
                  </a:lnTo>
                  <a:lnTo>
                    <a:pt x="336" y="573"/>
                  </a:lnTo>
                  <a:lnTo>
                    <a:pt x="339" y="573"/>
                  </a:lnTo>
                  <a:lnTo>
                    <a:pt x="341" y="573"/>
                  </a:lnTo>
                  <a:lnTo>
                    <a:pt x="341" y="573"/>
                  </a:lnTo>
                  <a:lnTo>
                    <a:pt x="341" y="570"/>
                  </a:lnTo>
                  <a:lnTo>
                    <a:pt x="344" y="570"/>
                  </a:lnTo>
                  <a:lnTo>
                    <a:pt x="344" y="570"/>
                  </a:lnTo>
                  <a:lnTo>
                    <a:pt x="346" y="573"/>
                  </a:lnTo>
                  <a:lnTo>
                    <a:pt x="346" y="573"/>
                  </a:lnTo>
                  <a:lnTo>
                    <a:pt x="349" y="575"/>
                  </a:lnTo>
                  <a:lnTo>
                    <a:pt x="349" y="575"/>
                  </a:lnTo>
                  <a:lnTo>
                    <a:pt x="349" y="578"/>
                  </a:lnTo>
                  <a:lnTo>
                    <a:pt x="349" y="583"/>
                  </a:lnTo>
                  <a:lnTo>
                    <a:pt x="349" y="586"/>
                  </a:lnTo>
                  <a:lnTo>
                    <a:pt x="351" y="588"/>
                  </a:lnTo>
                  <a:lnTo>
                    <a:pt x="351" y="588"/>
                  </a:lnTo>
                  <a:lnTo>
                    <a:pt x="351" y="586"/>
                  </a:lnTo>
                  <a:lnTo>
                    <a:pt x="354" y="583"/>
                  </a:lnTo>
                  <a:lnTo>
                    <a:pt x="354" y="583"/>
                  </a:lnTo>
                  <a:lnTo>
                    <a:pt x="357" y="580"/>
                  </a:lnTo>
                  <a:lnTo>
                    <a:pt x="357" y="578"/>
                  </a:lnTo>
                  <a:lnTo>
                    <a:pt x="359" y="573"/>
                  </a:lnTo>
                  <a:lnTo>
                    <a:pt x="362" y="570"/>
                  </a:lnTo>
                  <a:lnTo>
                    <a:pt x="362" y="570"/>
                  </a:lnTo>
                  <a:lnTo>
                    <a:pt x="364" y="570"/>
                  </a:lnTo>
                  <a:lnTo>
                    <a:pt x="364" y="568"/>
                  </a:lnTo>
                  <a:lnTo>
                    <a:pt x="367" y="568"/>
                  </a:lnTo>
                  <a:lnTo>
                    <a:pt x="367" y="565"/>
                  </a:lnTo>
                  <a:lnTo>
                    <a:pt x="369" y="565"/>
                  </a:lnTo>
                  <a:lnTo>
                    <a:pt x="372" y="565"/>
                  </a:lnTo>
                  <a:lnTo>
                    <a:pt x="374" y="568"/>
                  </a:lnTo>
                  <a:lnTo>
                    <a:pt x="377" y="568"/>
                  </a:lnTo>
                  <a:lnTo>
                    <a:pt x="377" y="568"/>
                  </a:lnTo>
                  <a:lnTo>
                    <a:pt x="377" y="570"/>
                  </a:lnTo>
                  <a:lnTo>
                    <a:pt x="377" y="570"/>
                  </a:lnTo>
                  <a:lnTo>
                    <a:pt x="377" y="570"/>
                  </a:lnTo>
                  <a:lnTo>
                    <a:pt x="377" y="570"/>
                  </a:lnTo>
                  <a:lnTo>
                    <a:pt x="380" y="570"/>
                  </a:lnTo>
                  <a:lnTo>
                    <a:pt x="382" y="570"/>
                  </a:lnTo>
                  <a:lnTo>
                    <a:pt x="385" y="570"/>
                  </a:lnTo>
                  <a:lnTo>
                    <a:pt x="387" y="573"/>
                  </a:lnTo>
                  <a:lnTo>
                    <a:pt x="390" y="573"/>
                  </a:lnTo>
                  <a:lnTo>
                    <a:pt x="390" y="573"/>
                  </a:lnTo>
                  <a:lnTo>
                    <a:pt x="392" y="573"/>
                  </a:lnTo>
                  <a:lnTo>
                    <a:pt x="392" y="573"/>
                  </a:lnTo>
                  <a:lnTo>
                    <a:pt x="395" y="570"/>
                  </a:lnTo>
                  <a:lnTo>
                    <a:pt x="395" y="570"/>
                  </a:lnTo>
                  <a:lnTo>
                    <a:pt x="395" y="570"/>
                  </a:lnTo>
                  <a:lnTo>
                    <a:pt x="397" y="573"/>
                  </a:lnTo>
                  <a:lnTo>
                    <a:pt x="400" y="573"/>
                  </a:lnTo>
                  <a:lnTo>
                    <a:pt x="402" y="573"/>
                  </a:lnTo>
                  <a:lnTo>
                    <a:pt x="402" y="575"/>
                  </a:lnTo>
                  <a:lnTo>
                    <a:pt x="402" y="578"/>
                  </a:lnTo>
                  <a:lnTo>
                    <a:pt x="402" y="578"/>
                  </a:lnTo>
                  <a:lnTo>
                    <a:pt x="405" y="578"/>
                  </a:lnTo>
                  <a:lnTo>
                    <a:pt x="408" y="578"/>
                  </a:lnTo>
                  <a:lnTo>
                    <a:pt x="410" y="578"/>
                  </a:lnTo>
                  <a:lnTo>
                    <a:pt x="410" y="578"/>
                  </a:lnTo>
                  <a:lnTo>
                    <a:pt x="413" y="578"/>
                  </a:lnTo>
                  <a:lnTo>
                    <a:pt x="413" y="578"/>
                  </a:lnTo>
                  <a:lnTo>
                    <a:pt x="415" y="578"/>
                  </a:lnTo>
                  <a:lnTo>
                    <a:pt x="415" y="575"/>
                  </a:lnTo>
                  <a:lnTo>
                    <a:pt x="415" y="578"/>
                  </a:lnTo>
                  <a:lnTo>
                    <a:pt x="418" y="578"/>
                  </a:lnTo>
                  <a:lnTo>
                    <a:pt x="418" y="578"/>
                  </a:lnTo>
                  <a:lnTo>
                    <a:pt x="420" y="575"/>
                  </a:lnTo>
                  <a:lnTo>
                    <a:pt x="420" y="575"/>
                  </a:lnTo>
                  <a:lnTo>
                    <a:pt x="423" y="573"/>
                  </a:lnTo>
                  <a:lnTo>
                    <a:pt x="423" y="573"/>
                  </a:lnTo>
                  <a:lnTo>
                    <a:pt x="423" y="573"/>
                  </a:lnTo>
                  <a:lnTo>
                    <a:pt x="423" y="573"/>
                  </a:lnTo>
                  <a:lnTo>
                    <a:pt x="423" y="570"/>
                  </a:lnTo>
                  <a:lnTo>
                    <a:pt x="423" y="570"/>
                  </a:lnTo>
                  <a:lnTo>
                    <a:pt x="423" y="570"/>
                  </a:lnTo>
                  <a:lnTo>
                    <a:pt x="425" y="568"/>
                  </a:lnTo>
                  <a:lnTo>
                    <a:pt x="428" y="565"/>
                  </a:lnTo>
                  <a:lnTo>
                    <a:pt x="430" y="563"/>
                  </a:lnTo>
                  <a:lnTo>
                    <a:pt x="430" y="563"/>
                  </a:lnTo>
                  <a:lnTo>
                    <a:pt x="430" y="560"/>
                  </a:lnTo>
                  <a:lnTo>
                    <a:pt x="430" y="558"/>
                  </a:lnTo>
                  <a:lnTo>
                    <a:pt x="433" y="558"/>
                  </a:lnTo>
                  <a:lnTo>
                    <a:pt x="438" y="558"/>
                  </a:lnTo>
                  <a:lnTo>
                    <a:pt x="441" y="555"/>
                  </a:lnTo>
                  <a:lnTo>
                    <a:pt x="443" y="555"/>
                  </a:lnTo>
                  <a:lnTo>
                    <a:pt x="443" y="553"/>
                  </a:lnTo>
                  <a:lnTo>
                    <a:pt x="446" y="553"/>
                  </a:lnTo>
                  <a:lnTo>
                    <a:pt x="443" y="550"/>
                  </a:lnTo>
                  <a:lnTo>
                    <a:pt x="446" y="550"/>
                  </a:lnTo>
                  <a:lnTo>
                    <a:pt x="448" y="550"/>
                  </a:lnTo>
                  <a:lnTo>
                    <a:pt x="448" y="547"/>
                  </a:lnTo>
                  <a:lnTo>
                    <a:pt x="451" y="545"/>
                  </a:lnTo>
                  <a:lnTo>
                    <a:pt x="453" y="542"/>
                  </a:lnTo>
                  <a:lnTo>
                    <a:pt x="456" y="542"/>
                  </a:lnTo>
                  <a:lnTo>
                    <a:pt x="456" y="545"/>
                  </a:lnTo>
                  <a:lnTo>
                    <a:pt x="459" y="545"/>
                  </a:lnTo>
                  <a:lnTo>
                    <a:pt x="459" y="547"/>
                  </a:lnTo>
                  <a:lnTo>
                    <a:pt x="461" y="547"/>
                  </a:lnTo>
                  <a:lnTo>
                    <a:pt x="464" y="547"/>
                  </a:lnTo>
                  <a:lnTo>
                    <a:pt x="466" y="547"/>
                  </a:lnTo>
                  <a:lnTo>
                    <a:pt x="469" y="550"/>
                  </a:lnTo>
                  <a:lnTo>
                    <a:pt x="469" y="550"/>
                  </a:lnTo>
                  <a:lnTo>
                    <a:pt x="471" y="550"/>
                  </a:lnTo>
                  <a:lnTo>
                    <a:pt x="471" y="550"/>
                  </a:lnTo>
                  <a:lnTo>
                    <a:pt x="471" y="547"/>
                  </a:lnTo>
                  <a:lnTo>
                    <a:pt x="471" y="547"/>
                  </a:lnTo>
                  <a:lnTo>
                    <a:pt x="471" y="547"/>
                  </a:lnTo>
                  <a:lnTo>
                    <a:pt x="471" y="545"/>
                  </a:lnTo>
                  <a:lnTo>
                    <a:pt x="476" y="542"/>
                  </a:lnTo>
                  <a:lnTo>
                    <a:pt x="479" y="542"/>
                  </a:lnTo>
                  <a:lnTo>
                    <a:pt x="481" y="540"/>
                  </a:lnTo>
                  <a:lnTo>
                    <a:pt x="481" y="540"/>
                  </a:lnTo>
                  <a:lnTo>
                    <a:pt x="484" y="542"/>
                  </a:lnTo>
                  <a:lnTo>
                    <a:pt x="484" y="545"/>
                  </a:lnTo>
                  <a:lnTo>
                    <a:pt x="487" y="545"/>
                  </a:lnTo>
                  <a:lnTo>
                    <a:pt x="487" y="545"/>
                  </a:lnTo>
                  <a:lnTo>
                    <a:pt x="489" y="545"/>
                  </a:lnTo>
                  <a:lnTo>
                    <a:pt x="489" y="545"/>
                  </a:lnTo>
                  <a:lnTo>
                    <a:pt x="487" y="547"/>
                  </a:lnTo>
                  <a:lnTo>
                    <a:pt x="487" y="547"/>
                  </a:lnTo>
                  <a:lnTo>
                    <a:pt x="484" y="547"/>
                  </a:lnTo>
                  <a:lnTo>
                    <a:pt x="487" y="550"/>
                  </a:lnTo>
                  <a:lnTo>
                    <a:pt x="487" y="553"/>
                  </a:lnTo>
                  <a:lnTo>
                    <a:pt x="487" y="553"/>
                  </a:lnTo>
                  <a:lnTo>
                    <a:pt x="489" y="550"/>
                  </a:lnTo>
                  <a:lnTo>
                    <a:pt x="492" y="550"/>
                  </a:lnTo>
                  <a:lnTo>
                    <a:pt x="492" y="550"/>
                  </a:lnTo>
                  <a:lnTo>
                    <a:pt x="492" y="550"/>
                  </a:lnTo>
                  <a:lnTo>
                    <a:pt x="494" y="555"/>
                  </a:lnTo>
                  <a:lnTo>
                    <a:pt x="494" y="555"/>
                  </a:lnTo>
                  <a:lnTo>
                    <a:pt x="492" y="560"/>
                  </a:lnTo>
                  <a:lnTo>
                    <a:pt x="492" y="560"/>
                  </a:lnTo>
                  <a:lnTo>
                    <a:pt x="492" y="563"/>
                  </a:lnTo>
                  <a:lnTo>
                    <a:pt x="492" y="563"/>
                  </a:lnTo>
                  <a:lnTo>
                    <a:pt x="492" y="563"/>
                  </a:lnTo>
                  <a:lnTo>
                    <a:pt x="492" y="563"/>
                  </a:lnTo>
                  <a:lnTo>
                    <a:pt x="492" y="565"/>
                  </a:lnTo>
                  <a:lnTo>
                    <a:pt x="492" y="565"/>
                  </a:lnTo>
                  <a:lnTo>
                    <a:pt x="494" y="565"/>
                  </a:lnTo>
                  <a:lnTo>
                    <a:pt x="494" y="563"/>
                  </a:lnTo>
                  <a:lnTo>
                    <a:pt x="497" y="563"/>
                  </a:lnTo>
                  <a:lnTo>
                    <a:pt x="497" y="563"/>
                  </a:lnTo>
                  <a:lnTo>
                    <a:pt x="502" y="565"/>
                  </a:lnTo>
                  <a:lnTo>
                    <a:pt x="502" y="565"/>
                  </a:lnTo>
                  <a:lnTo>
                    <a:pt x="504" y="565"/>
                  </a:lnTo>
                  <a:lnTo>
                    <a:pt x="507" y="565"/>
                  </a:lnTo>
                  <a:lnTo>
                    <a:pt x="507" y="565"/>
                  </a:lnTo>
                  <a:lnTo>
                    <a:pt x="512" y="568"/>
                  </a:lnTo>
                  <a:lnTo>
                    <a:pt x="512" y="568"/>
                  </a:lnTo>
                  <a:lnTo>
                    <a:pt x="512" y="568"/>
                  </a:lnTo>
                  <a:lnTo>
                    <a:pt x="515" y="565"/>
                  </a:lnTo>
                  <a:lnTo>
                    <a:pt x="515" y="563"/>
                  </a:lnTo>
                  <a:lnTo>
                    <a:pt x="515" y="563"/>
                  </a:lnTo>
                  <a:lnTo>
                    <a:pt x="515" y="560"/>
                  </a:lnTo>
                  <a:lnTo>
                    <a:pt x="517" y="560"/>
                  </a:lnTo>
                  <a:lnTo>
                    <a:pt x="517" y="563"/>
                  </a:lnTo>
                  <a:lnTo>
                    <a:pt x="517" y="563"/>
                  </a:lnTo>
                  <a:lnTo>
                    <a:pt x="520" y="563"/>
                  </a:lnTo>
                  <a:lnTo>
                    <a:pt x="520" y="565"/>
                  </a:lnTo>
                  <a:lnTo>
                    <a:pt x="520" y="565"/>
                  </a:lnTo>
                  <a:lnTo>
                    <a:pt x="522" y="565"/>
                  </a:lnTo>
                  <a:lnTo>
                    <a:pt x="522" y="565"/>
                  </a:lnTo>
                  <a:lnTo>
                    <a:pt x="522" y="565"/>
                  </a:lnTo>
                  <a:lnTo>
                    <a:pt x="525" y="568"/>
                  </a:lnTo>
                  <a:lnTo>
                    <a:pt x="527" y="568"/>
                  </a:lnTo>
                  <a:lnTo>
                    <a:pt x="527" y="570"/>
                  </a:lnTo>
                  <a:lnTo>
                    <a:pt x="527" y="573"/>
                  </a:lnTo>
                  <a:lnTo>
                    <a:pt x="530" y="573"/>
                  </a:lnTo>
                  <a:lnTo>
                    <a:pt x="532" y="580"/>
                  </a:lnTo>
                  <a:lnTo>
                    <a:pt x="532" y="583"/>
                  </a:lnTo>
                  <a:lnTo>
                    <a:pt x="535" y="583"/>
                  </a:lnTo>
                  <a:lnTo>
                    <a:pt x="535" y="583"/>
                  </a:lnTo>
                  <a:lnTo>
                    <a:pt x="535" y="583"/>
                  </a:lnTo>
                  <a:lnTo>
                    <a:pt x="535" y="580"/>
                  </a:lnTo>
                  <a:lnTo>
                    <a:pt x="538" y="580"/>
                  </a:lnTo>
                  <a:lnTo>
                    <a:pt x="538" y="580"/>
                  </a:lnTo>
                  <a:lnTo>
                    <a:pt x="540" y="583"/>
                  </a:lnTo>
                  <a:lnTo>
                    <a:pt x="540" y="583"/>
                  </a:lnTo>
                  <a:lnTo>
                    <a:pt x="543" y="586"/>
                  </a:lnTo>
                  <a:lnTo>
                    <a:pt x="543" y="591"/>
                  </a:lnTo>
                  <a:lnTo>
                    <a:pt x="543" y="591"/>
                  </a:lnTo>
                  <a:lnTo>
                    <a:pt x="545" y="596"/>
                  </a:lnTo>
                  <a:lnTo>
                    <a:pt x="545" y="598"/>
                  </a:lnTo>
                  <a:lnTo>
                    <a:pt x="545" y="601"/>
                  </a:lnTo>
                  <a:lnTo>
                    <a:pt x="545" y="603"/>
                  </a:lnTo>
                  <a:lnTo>
                    <a:pt x="548" y="606"/>
                  </a:lnTo>
                  <a:lnTo>
                    <a:pt x="548" y="608"/>
                  </a:lnTo>
                  <a:lnTo>
                    <a:pt x="548" y="611"/>
                  </a:lnTo>
                  <a:lnTo>
                    <a:pt x="548" y="614"/>
                  </a:lnTo>
                  <a:lnTo>
                    <a:pt x="548" y="616"/>
                  </a:lnTo>
                  <a:lnTo>
                    <a:pt x="545" y="616"/>
                  </a:lnTo>
                  <a:lnTo>
                    <a:pt x="545" y="616"/>
                  </a:lnTo>
                  <a:lnTo>
                    <a:pt x="548" y="619"/>
                  </a:lnTo>
                  <a:lnTo>
                    <a:pt x="548" y="621"/>
                  </a:lnTo>
                  <a:lnTo>
                    <a:pt x="548" y="621"/>
                  </a:lnTo>
                  <a:lnTo>
                    <a:pt x="548" y="621"/>
                  </a:lnTo>
                  <a:lnTo>
                    <a:pt x="548" y="621"/>
                  </a:lnTo>
                  <a:lnTo>
                    <a:pt x="545" y="624"/>
                  </a:lnTo>
                  <a:lnTo>
                    <a:pt x="545" y="626"/>
                  </a:lnTo>
                  <a:lnTo>
                    <a:pt x="543" y="629"/>
                  </a:lnTo>
                  <a:lnTo>
                    <a:pt x="543" y="629"/>
                  </a:lnTo>
                  <a:lnTo>
                    <a:pt x="540" y="629"/>
                  </a:lnTo>
                  <a:lnTo>
                    <a:pt x="540" y="629"/>
                  </a:lnTo>
                  <a:lnTo>
                    <a:pt x="540" y="631"/>
                  </a:lnTo>
                  <a:lnTo>
                    <a:pt x="538" y="634"/>
                  </a:lnTo>
                  <a:lnTo>
                    <a:pt x="538" y="634"/>
                  </a:lnTo>
                  <a:lnTo>
                    <a:pt x="538" y="636"/>
                  </a:lnTo>
                  <a:lnTo>
                    <a:pt x="538" y="636"/>
                  </a:lnTo>
                  <a:lnTo>
                    <a:pt x="535" y="636"/>
                  </a:lnTo>
                  <a:lnTo>
                    <a:pt x="535" y="636"/>
                  </a:lnTo>
                  <a:lnTo>
                    <a:pt x="532" y="642"/>
                  </a:lnTo>
                  <a:lnTo>
                    <a:pt x="532" y="642"/>
                  </a:lnTo>
                  <a:lnTo>
                    <a:pt x="535" y="644"/>
                  </a:lnTo>
                  <a:lnTo>
                    <a:pt x="535" y="644"/>
                  </a:lnTo>
                  <a:lnTo>
                    <a:pt x="532" y="644"/>
                  </a:lnTo>
                  <a:lnTo>
                    <a:pt x="532" y="647"/>
                  </a:lnTo>
                  <a:lnTo>
                    <a:pt x="530" y="649"/>
                  </a:lnTo>
                  <a:lnTo>
                    <a:pt x="532" y="652"/>
                  </a:lnTo>
                  <a:lnTo>
                    <a:pt x="532" y="654"/>
                  </a:lnTo>
                  <a:lnTo>
                    <a:pt x="532" y="654"/>
                  </a:lnTo>
                  <a:lnTo>
                    <a:pt x="535" y="654"/>
                  </a:lnTo>
                  <a:lnTo>
                    <a:pt x="535" y="657"/>
                  </a:lnTo>
                  <a:lnTo>
                    <a:pt x="535" y="659"/>
                  </a:lnTo>
                  <a:lnTo>
                    <a:pt x="535" y="662"/>
                  </a:lnTo>
                  <a:lnTo>
                    <a:pt x="535" y="664"/>
                  </a:lnTo>
                  <a:lnTo>
                    <a:pt x="535" y="667"/>
                  </a:lnTo>
                  <a:lnTo>
                    <a:pt x="535" y="667"/>
                  </a:lnTo>
                  <a:lnTo>
                    <a:pt x="538" y="667"/>
                  </a:lnTo>
                  <a:lnTo>
                    <a:pt x="538" y="664"/>
                  </a:lnTo>
                  <a:lnTo>
                    <a:pt x="540" y="664"/>
                  </a:lnTo>
                  <a:lnTo>
                    <a:pt x="543" y="662"/>
                  </a:lnTo>
                  <a:lnTo>
                    <a:pt x="545" y="662"/>
                  </a:lnTo>
                  <a:lnTo>
                    <a:pt x="550" y="662"/>
                  </a:lnTo>
                  <a:lnTo>
                    <a:pt x="553" y="662"/>
                  </a:lnTo>
                  <a:lnTo>
                    <a:pt x="553" y="662"/>
                  </a:lnTo>
                  <a:lnTo>
                    <a:pt x="553" y="662"/>
                  </a:lnTo>
                  <a:lnTo>
                    <a:pt x="558" y="662"/>
                  </a:lnTo>
                  <a:lnTo>
                    <a:pt x="558" y="662"/>
                  </a:lnTo>
                  <a:lnTo>
                    <a:pt x="558" y="662"/>
                  </a:lnTo>
                  <a:lnTo>
                    <a:pt x="558" y="662"/>
                  </a:lnTo>
                  <a:lnTo>
                    <a:pt x="555" y="664"/>
                  </a:lnTo>
                  <a:lnTo>
                    <a:pt x="555" y="667"/>
                  </a:lnTo>
                  <a:lnTo>
                    <a:pt x="555" y="667"/>
                  </a:lnTo>
                  <a:lnTo>
                    <a:pt x="558" y="670"/>
                  </a:lnTo>
                  <a:lnTo>
                    <a:pt x="558" y="670"/>
                  </a:lnTo>
                  <a:lnTo>
                    <a:pt x="560" y="672"/>
                  </a:lnTo>
                  <a:lnTo>
                    <a:pt x="560" y="675"/>
                  </a:lnTo>
                  <a:lnTo>
                    <a:pt x="560" y="675"/>
                  </a:lnTo>
                  <a:lnTo>
                    <a:pt x="560" y="677"/>
                  </a:lnTo>
                  <a:lnTo>
                    <a:pt x="563" y="677"/>
                  </a:lnTo>
                  <a:lnTo>
                    <a:pt x="563" y="680"/>
                  </a:lnTo>
                  <a:lnTo>
                    <a:pt x="563" y="682"/>
                  </a:lnTo>
                  <a:lnTo>
                    <a:pt x="566" y="685"/>
                  </a:lnTo>
                  <a:lnTo>
                    <a:pt x="571" y="685"/>
                  </a:lnTo>
                  <a:lnTo>
                    <a:pt x="571" y="685"/>
                  </a:lnTo>
                  <a:lnTo>
                    <a:pt x="573" y="685"/>
                  </a:lnTo>
                  <a:lnTo>
                    <a:pt x="573" y="685"/>
                  </a:lnTo>
                  <a:lnTo>
                    <a:pt x="576" y="687"/>
                  </a:lnTo>
                  <a:lnTo>
                    <a:pt x="576" y="687"/>
                  </a:lnTo>
                  <a:lnTo>
                    <a:pt x="576" y="687"/>
                  </a:lnTo>
                  <a:lnTo>
                    <a:pt x="573" y="690"/>
                  </a:lnTo>
                  <a:lnTo>
                    <a:pt x="573" y="692"/>
                  </a:lnTo>
                  <a:lnTo>
                    <a:pt x="573" y="695"/>
                  </a:lnTo>
                  <a:lnTo>
                    <a:pt x="573" y="698"/>
                  </a:lnTo>
                  <a:lnTo>
                    <a:pt x="573" y="700"/>
                  </a:lnTo>
                  <a:lnTo>
                    <a:pt x="571" y="703"/>
                  </a:lnTo>
                  <a:lnTo>
                    <a:pt x="571" y="705"/>
                  </a:lnTo>
                  <a:lnTo>
                    <a:pt x="571" y="705"/>
                  </a:lnTo>
                  <a:lnTo>
                    <a:pt x="573" y="705"/>
                  </a:lnTo>
                  <a:lnTo>
                    <a:pt x="573" y="708"/>
                  </a:lnTo>
                  <a:lnTo>
                    <a:pt x="573" y="708"/>
                  </a:lnTo>
                  <a:lnTo>
                    <a:pt x="576" y="708"/>
                  </a:lnTo>
                  <a:lnTo>
                    <a:pt x="581" y="708"/>
                  </a:lnTo>
                  <a:lnTo>
                    <a:pt x="586" y="708"/>
                  </a:lnTo>
                  <a:lnTo>
                    <a:pt x="586" y="708"/>
                  </a:lnTo>
                  <a:lnTo>
                    <a:pt x="589" y="710"/>
                  </a:lnTo>
                  <a:lnTo>
                    <a:pt x="589" y="710"/>
                  </a:lnTo>
                  <a:lnTo>
                    <a:pt x="589" y="713"/>
                  </a:lnTo>
                  <a:lnTo>
                    <a:pt x="589" y="715"/>
                  </a:lnTo>
                  <a:lnTo>
                    <a:pt x="589" y="715"/>
                  </a:lnTo>
                  <a:lnTo>
                    <a:pt x="591" y="715"/>
                  </a:lnTo>
                  <a:lnTo>
                    <a:pt x="591" y="718"/>
                  </a:lnTo>
                  <a:lnTo>
                    <a:pt x="591" y="718"/>
                  </a:lnTo>
                  <a:lnTo>
                    <a:pt x="591" y="720"/>
                  </a:lnTo>
                  <a:lnTo>
                    <a:pt x="591" y="720"/>
                  </a:lnTo>
                  <a:lnTo>
                    <a:pt x="594" y="720"/>
                  </a:lnTo>
                  <a:lnTo>
                    <a:pt x="594" y="720"/>
                  </a:lnTo>
                  <a:lnTo>
                    <a:pt x="596" y="720"/>
                  </a:lnTo>
                  <a:lnTo>
                    <a:pt x="599" y="720"/>
                  </a:lnTo>
                  <a:lnTo>
                    <a:pt x="601" y="720"/>
                  </a:lnTo>
                  <a:lnTo>
                    <a:pt x="601" y="720"/>
                  </a:lnTo>
                  <a:lnTo>
                    <a:pt x="604" y="720"/>
                  </a:lnTo>
                  <a:lnTo>
                    <a:pt x="606" y="718"/>
                  </a:lnTo>
                  <a:lnTo>
                    <a:pt x="609" y="715"/>
                  </a:lnTo>
                  <a:lnTo>
                    <a:pt x="611" y="715"/>
                  </a:lnTo>
                  <a:lnTo>
                    <a:pt x="611" y="715"/>
                  </a:lnTo>
                  <a:lnTo>
                    <a:pt x="611" y="715"/>
                  </a:lnTo>
                  <a:lnTo>
                    <a:pt x="611" y="715"/>
                  </a:lnTo>
                  <a:lnTo>
                    <a:pt x="611" y="718"/>
                  </a:lnTo>
                  <a:lnTo>
                    <a:pt x="611" y="718"/>
                  </a:lnTo>
                  <a:lnTo>
                    <a:pt x="614" y="720"/>
                  </a:lnTo>
                  <a:lnTo>
                    <a:pt x="614" y="723"/>
                  </a:lnTo>
                  <a:lnTo>
                    <a:pt x="614" y="723"/>
                  </a:lnTo>
                  <a:lnTo>
                    <a:pt x="614" y="723"/>
                  </a:lnTo>
                  <a:lnTo>
                    <a:pt x="614" y="726"/>
                  </a:lnTo>
                  <a:lnTo>
                    <a:pt x="614" y="728"/>
                  </a:lnTo>
                  <a:lnTo>
                    <a:pt x="617" y="728"/>
                  </a:lnTo>
                  <a:lnTo>
                    <a:pt x="617" y="728"/>
                  </a:lnTo>
                  <a:lnTo>
                    <a:pt x="619" y="726"/>
                  </a:lnTo>
                  <a:lnTo>
                    <a:pt x="622" y="726"/>
                  </a:lnTo>
                  <a:lnTo>
                    <a:pt x="622" y="728"/>
                  </a:lnTo>
                  <a:lnTo>
                    <a:pt x="622" y="728"/>
                  </a:lnTo>
                  <a:lnTo>
                    <a:pt x="624" y="728"/>
                  </a:lnTo>
                  <a:lnTo>
                    <a:pt x="624" y="728"/>
                  </a:lnTo>
                  <a:lnTo>
                    <a:pt x="624" y="728"/>
                  </a:lnTo>
                  <a:lnTo>
                    <a:pt x="627" y="728"/>
                  </a:lnTo>
                  <a:lnTo>
                    <a:pt x="627" y="728"/>
                  </a:lnTo>
                  <a:lnTo>
                    <a:pt x="627" y="726"/>
                  </a:lnTo>
                  <a:lnTo>
                    <a:pt x="624" y="726"/>
                  </a:lnTo>
                  <a:lnTo>
                    <a:pt x="624" y="726"/>
                  </a:lnTo>
                  <a:lnTo>
                    <a:pt x="624" y="723"/>
                  </a:lnTo>
                  <a:lnTo>
                    <a:pt x="624" y="720"/>
                  </a:lnTo>
                  <a:lnTo>
                    <a:pt x="624" y="718"/>
                  </a:lnTo>
                  <a:lnTo>
                    <a:pt x="624" y="715"/>
                  </a:lnTo>
                  <a:lnTo>
                    <a:pt x="624" y="713"/>
                  </a:lnTo>
                  <a:lnTo>
                    <a:pt x="622" y="713"/>
                  </a:lnTo>
                  <a:lnTo>
                    <a:pt x="619" y="710"/>
                  </a:lnTo>
                  <a:lnTo>
                    <a:pt x="619" y="708"/>
                  </a:lnTo>
                  <a:lnTo>
                    <a:pt x="619" y="708"/>
                  </a:lnTo>
                  <a:lnTo>
                    <a:pt x="619" y="705"/>
                  </a:lnTo>
                  <a:lnTo>
                    <a:pt x="619" y="705"/>
                  </a:lnTo>
                  <a:lnTo>
                    <a:pt x="617" y="703"/>
                  </a:lnTo>
                  <a:lnTo>
                    <a:pt x="619" y="703"/>
                  </a:lnTo>
                  <a:lnTo>
                    <a:pt x="619" y="703"/>
                  </a:lnTo>
                  <a:lnTo>
                    <a:pt x="619" y="700"/>
                  </a:lnTo>
                  <a:lnTo>
                    <a:pt x="619" y="698"/>
                  </a:lnTo>
                  <a:lnTo>
                    <a:pt x="622" y="698"/>
                  </a:lnTo>
                  <a:lnTo>
                    <a:pt x="622" y="698"/>
                  </a:lnTo>
                  <a:lnTo>
                    <a:pt x="622" y="698"/>
                  </a:lnTo>
                  <a:lnTo>
                    <a:pt x="624" y="700"/>
                  </a:lnTo>
                  <a:lnTo>
                    <a:pt x="624" y="700"/>
                  </a:lnTo>
                  <a:lnTo>
                    <a:pt x="627" y="700"/>
                  </a:lnTo>
                  <a:lnTo>
                    <a:pt x="629" y="700"/>
                  </a:lnTo>
                  <a:lnTo>
                    <a:pt x="629" y="700"/>
                  </a:lnTo>
                  <a:lnTo>
                    <a:pt x="629" y="700"/>
                  </a:lnTo>
                  <a:lnTo>
                    <a:pt x="632" y="698"/>
                  </a:lnTo>
                  <a:lnTo>
                    <a:pt x="632" y="698"/>
                  </a:lnTo>
                  <a:lnTo>
                    <a:pt x="632" y="695"/>
                  </a:lnTo>
                  <a:lnTo>
                    <a:pt x="634" y="692"/>
                  </a:lnTo>
                  <a:lnTo>
                    <a:pt x="634" y="692"/>
                  </a:lnTo>
                  <a:lnTo>
                    <a:pt x="634" y="692"/>
                  </a:lnTo>
                  <a:lnTo>
                    <a:pt x="634" y="692"/>
                  </a:lnTo>
                  <a:lnTo>
                    <a:pt x="637" y="692"/>
                  </a:lnTo>
                  <a:lnTo>
                    <a:pt x="639" y="695"/>
                  </a:lnTo>
                  <a:lnTo>
                    <a:pt x="642" y="695"/>
                  </a:lnTo>
                  <a:lnTo>
                    <a:pt x="642" y="698"/>
                  </a:lnTo>
                  <a:lnTo>
                    <a:pt x="645" y="698"/>
                  </a:lnTo>
                  <a:lnTo>
                    <a:pt x="645" y="700"/>
                  </a:lnTo>
                  <a:lnTo>
                    <a:pt x="647" y="700"/>
                  </a:lnTo>
                  <a:lnTo>
                    <a:pt x="647" y="698"/>
                  </a:lnTo>
                  <a:lnTo>
                    <a:pt x="647" y="698"/>
                  </a:lnTo>
                  <a:lnTo>
                    <a:pt x="647" y="695"/>
                  </a:lnTo>
                  <a:lnTo>
                    <a:pt x="650" y="695"/>
                  </a:lnTo>
                  <a:lnTo>
                    <a:pt x="650" y="692"/>
                  </a:lnTo>
                  <a:lnTo>
                    <a:pt x="650" y="692"/>
                  </a:lnTo>
                  <a:lnTo>
                    <a:pt x="652" y="692"/>
                  </a:lnTo>
                  <a:lnTo>
                    <a:pt x="652" y="692"/>
                  </a:lnTo>
                  <a:lnTo>
                    <a:pt x="655" y="695"/>
                  </a:lnTo>
                  <a:lnTo>
                    <a:pt x="655" y="695"/>
                  </a:lnTo>
                  <a:lnTo>
                    <a:pt x="655" y="695"/>
                  </a:lnTo>
                  <a:lnTo>
                    <a:pt x="657" y="692"/>
                  </a:lnTo>
                  <a:lnTo>
                    <a:pt x="657" y="692"/>
                  </a:lnTo>
                  <a:lnTo>
                    <a:pt x="657" y="692"/>
                  </a:lnTo>
                  <a:lnTo>
                    <a:pt x="662" y="698"/>
                  </a:lnTo>
                  <a:lnTo>
                    <a:pt x="665" y="698"/>
                  </a:lnTo>
                  <a:lnTo>
                    <a:pt x="665" y="698"/>
                  </a:lnTo>
                  <a:lnTo>
                    <a:pt x="665" y="695"/>
                  </a:lnTo>
                  <a:lnTo>
                    <a:pt x="665" y="695"/>
                  </a:lnTo>
                  <a:lnTo>
                    <a:pt x="665" y="692"/>
                  </a:lnTo>
                  <a:lnTo>
                    <a:pt x="668" y="690"/>
                  </a:lnTo>
                  <a:lnTo>
                    <a:pt x="668" y="690"/>
                  </a:lnTo>
                  <a:lnTo>
                    <a:pt x="670" y="692"/>
                  </a:lnTo>
                  <a:lnTo>
                    <a:pt x="670" y="692"/>
                  </a:lnTo>
                  <a:lnTo>
                    <a:pt x="673" y="692"/>
                  </a:lnTo>
                  <a:lnTo>
                    <a:pt x="675" y="690"/>
                  </a:lnTo>
                  <a:lnTo>
                    <a:pt x="675" y="690"/>
                  </a:lnTo>
                  <a:lnTo>
                    <a:pt x="678" y="690"/>
                  </a:lnTo>
                  <a:lnTo>
                    <a:pt x="678" y="690"/>
                  </a:lnTo>
                  <a:lnTo>
                    <a:pt x="678" y="690"/>
                  </a:lnTo>
                  <a:lnTo>
                    <a:pt x="680" y="687"/>
                  </a:lnTo>
                  <a:lnTo>
                    <a:pt x="680" y="687"/>
                  </a:lnTo>
                  <a:lnTo>
                    <a:pt x="680" y="685"/>
                  </a:lnTo>
                  <a:lnTo>
                    <a:pt x="680" y="682"/>
                  </a:lnTo>
                  <a:lnTo>
                    <a:pt x="680" y="682"/>
                  </a:lnTo>
                  <a:lnTo>
                    <a:pt x="683" y="682"/>
                  </a:lnTo>
                  <a:lnTo>
                    <a:pt x="685" y="680"/>
                  </a:lnTo>
                  <a:lnTo>
                    <a:pt x="688" y="680"/>
                  </a:lnTo>
                  <a:lnTo>
                    <a:pt x="688" y="680"/>
                  </a:lnTo>
                  <a:lnTo>
                    <a:pt x="688" y="680"/>
                  </a:lnTo>
                  <a:lnTo>
                    <a:pt x="690" y="682"/>
                  </a:lnTo>
                  <a:lnTo>
                    <a:pt x="693" y="682"/>
                  </a:lnTo>
                  <a:lnTo>
                    <a:pt x="693" y="685"/>
                  </a:lnTo>
                  <a:lnTo>
                    <a:pt x="693" y="685"/>
                  </a:lnTo>
                  <a:lnTo>
                    <a:pt x="696" y="685"/>
                  </a:lnTo>
                  <a:lnTo>
                    <a:pt x="698" y="687"/>
                  </a:lnTo>
                  <a:lnTo>
                    <a:pt x="701" y="687"/>
                  </a:lnTo>
                  <a:lnTo>
                    <a:pt x="701" y="687"/>
                  </a:lnTo>
                  <a:lnTo>
                    <a:pt x="703" y="687"/>
                  </a:lnTo>
                  <a:lnTo>
                    <a:pt x="703" y="687"/>
                  </a:lnTo>
                  <a:lnTo>
                    <a:pt x="703" y="687"/>
                  </a:lnTo>
                  <a:lnTo>
                    <a:pt x="706" y="687"/>
                  </a:lnTo>
                  <a:lnTo>
                    <a:pt x="706" y="687"/>
                  </a:lnTo>
                  <a:lnTo>
                    <a:pt x="708" y="690"/>
                  </a:lnTo>
                  <a:lnTo>
                    <a:pt x="708" y="690"/>
                  </a:lnTo>
                  <a:lnTo>
                    <a:pt x="711" y="690"/>
                  </a:lnTo>
                  <a:lnTo>
                    <a:pt x="713" y="690"/>
                  </a:lnTo>
                  <a:lnTo>
                    <a:pt x="713" y="690"/>
                  </a:lnTo>
                  <a:lnTo>
                    <a:pt x="716" y="690"/>
                  </a:lnTo>
                  <a:lnTo>
                    <a:pt x="718" y="692"/>
                  </a:lnTo>
                  <a:lnTo>
                    <a:pt x="718" y="692"/>
                  </a:lnTo>
                  <a:lnTo>
                    <a:pt x="718" y="695"/>
                  </a:lnTo>
                  <a:lnTo>
                    <a:pt x="716" y="695"/>
                  </a:lnTo>
                  <a:lnTo>
                    <a:pt x="716" y="695"/>
                  </a:lnTo>
                  <a:lnTo>
                    <a:pt x="716" y="698"/>
                  </a:lnTo>
                  <a:lnTo>
                    <a:pt x="716" y="700"/>
                  </a:lnTo>
                  <a:lnTo>
                    <a:pt x="716" y="703"/>
                  </a:lnTo>
                  <a:lnTo>
                    <a:pt x="716" y="703"/>
                  </a:lnTo>
                  <a:lnTo>
                    <a:pt x="718" y="703"/>
                  </a:lnTo>
                  <a:lnTo>
                    <a:pt x="718" y="703"/>
                  </a:lnTo>
                  <a:lnTo>
                    <a:pt x="718" y="705"/>
                  </a:lnTo>
                  <a:lnTo>
                    <a:pt x="718" y="708"/>
                  </a:lnTo>
                  <a:lnTo>
                    <a:pt x="718" y="710"/>
                  </a:lnTo>
                  <a:lnTo>
                    <a:pt x="721" y="710"/>
                  </a:lnTo>
                  <a:lnTo>
                    <a:pt x="721" y="710"/>
                  </a:lnTo>
                  <a:lnTo>
                    <a:pt x="721" y="710"/>
                  </a:lnTo>
                  <a:lnTo>
                    <a:pt x="724" y="710"/>
                  </a:lnTo>
                  <a:lnTo>
                    <a:pt x="726" y="710"/>
                  </a:lnTo>
                  <a:lnTo>
                    <a:pt x="726" y="710"/>
                  </a:lnTo>
                  <a:lnTo>
                    <a:pt x="726" y="713"/>
                  </a:lnTo>
                  <a:lnTo>
                    <a:pt x="726" y="713"/>
                  </a:lnTo>
                  <a:lnTo>
                    <a:pt x="729" y="713"/>
                  </a:lnTo>
                  <a:lnTo>
                    <a:pt x="731" y="715"/>
                  </a:lnTo>
                  <a:lnTo>
                    <a:pt x="731" y="715"/>
                  </a:lnTo>
                  <a:lnTo>
                    <a:pt x="734" y="718"/>
                  </a:lnTo>
                  <a:lnTo>
                    <a:pt x="736" y="718"/>
                  </a:lnTo>
                  <a:lnTo>
                    <a:pt x="736" y="718"/>
                  </a:lnTo>
                  <a:lnTo>
                    <a:pt x="739" y="718"/>
                  </a:lnTo>
                  <a:lnTo>
                    <a:pt x="741" y="718"/>
                  </a:lnTo>
                  <a:lnTo>
                    <a:pt x="744" y="718"/>
                  </a:lnTo>
                  <a:lnTo>
                    <a:pt x="747" y="720"/>
                  </a:lnTo>
                  <a:lnTo>
                    <a:pt x="747" y="720"/>
                  </a:lnTo>
                  <a:lnTo>
                    <a:pt x="749" y="720"/>
                  </a:lnTo>
                  <a:lnTo>
                    <a:pt x="749" y="718"/>
                  </a:lnTo>
                  <a:lnTo>
                    <a:pt x="752" y="720"/>
                  </a:lnTo>
                  <a:lnTo>
                    <a:pt x="754" y="718"/>
                  </a:lnTo>
                  <a:lnTo>
                    <a:pt x="754" y="715"/>
                  </a:lnTo>
                  <a:lnTo>
                    <a:pt x="754" y="715"/>
                  </a:lnTo>
                  <a:lnTo>
                    <a:pt x="754" y="715"/>
                  </a:lnTo>
                  <a:lnTo>
                    <a:pt x="757" y="718"/>
                  </a:lnTo>
                  <a:lnTo>
                    <a:pt x="757" y="718"/>
                  </a:lnTo>
                  <a:lnTo>
                    <a:pt x="757" y="718"/>
                  </a:lnTo>
                  <a:lnTo>
                    <a:pt x="757" y="715"/>
                  </a:lnTo>
                  <a:lnTo>
                    <a:pt x="757" y="713"/>
                  </a:lnTo>
                  <a:lnTo>
                    <a:pt x="757" y="710"/>
                  </a:lnTo>
                  <a:lnTo>
                    <a:pt x="757" y="710"/>
                  </a:lnTo>
                  <a:lnTo>
                    <a:pt x="759" y="713"/>
                  </a:lnTo>
                  <a:lnTo>
                    <a:pt x="759" y="713"/>
                  </a:lnTo>
                  <a:lnTo>
                    <a:pt x="759" y="715"/>
                  </a:lnTo>
                  <a:lnTo>
                    <a:pt x="759" y="715"/>
                  </a:lnTo>
                  <a:lnTo>
                    <a:pt x="762" y="718"/>
                  </a:lnTo>
                  <a:lnTo>
                    <a:pt x="762" y="718"/>
                  </a:lnTo>
                  <a:lnTo>
                    <a:pt x="764" y="718"/>
                  </a:lnTo>
                  <a:lnTo>
                    <a:pt x="764" y="718"/>
                  </a:lnTo>
                  <a:lnTo>
                    <a:pt x="767" y="718"/>
                  </a:lnTo>
                  <a:lnTo>
                    <a:pt x="769" y="718"/>
                  </a:lnTo>
                  <a:lnTo>
                    <a:pt x="769" y="720"/>
                  </a:lnTo>
                  <a:lnTo>
                    <a:pt x="769" y="720"/>
                  </a:lnTo>
                  <a:lnTo>
                    <a:pt x="769" y="723"/>
                  </a:lnTo>
                  <a:lnTo>
                    <a:pt x="769" y="723"/>
                  </a:lnTo>
                  <a:lnTo>
                    <a:pt x="772" y="723"/>
                  </a:lnTo>
                  <a:lnTo>
                    <a:pt x="775" y="720"/>
                  </a:lnTo>
                  <a:lnTo>
                    <a:pt x="777" y="720"/>
                  </a:lnTo>
                  <a:lnTo>
                    <a:pt x="777" y="720"/>
                  </a:lnTo>
                  <a:lnTo>
                    <a:pt x="777" y="715"/>
                  </a:lnTo>
                  <a:lnTo>
                    <a:pt x="777" y="715"/>
                  </a:lnTo>
                  <a:lnTo>
                    <a:pt x="777" y="718"/>
                  </a:lnTo>
                  <a:lnTo>
                    <a:pt x="780" y="720"/>
                  </a:lnTo>
                  <a:lnTo>
                    <a:pt x="782" y="720"/>
                  </a:lnTo>
                  <a:lnTo>
                    <a:pt x="782" y="720"/>
                  </a:lnTo>
                  <a:lnTo>
                    <a:pt x="785" y="720"/>
                  </a:lnTo>
                  <a:lnTo>
                    <a:pt x="785" y="720"/>
                  </a:lnTo>
                  <a:lnTo>
                    <a:pt x="785" y="723"/>
                  </a:lnTo>
                  <a:lnTo>
                    <a:pt x="782" y="726"/>
                  </a:lnTo>
                  <a:lnTo>
                    <a:pt x="782" y="726"/>
                  </a:lnTo>
                  <a:lnTo>
                    <a:pt x="782" y="728"/>
                  </a:lnTo>
                  <a:lnTo>
                    <a:pt x="782" y="731"/>
                  </a:lnTo>
                  <a:lnTo>
                    <a:pt x="782" y="733"/>
                  </a:lnTo>
                  <a:lnTo>
                    <a:pt x="782" y="736"/>
                  </a:lnTo>
                  <a:lnTo>
                    <a:pt x="785" y="736"/>
                  </a:lnTo>
                  <a:lnTo>
                    <a:pt x="785" y="736"/>
                  </a:lnTo>
                  <a:lnTo>
                    <a:pt x="785" y="738"/>
                  </a:lnTo>
                  <a:lnTo>
                    <a:pt x="785" y="741"/>
                  </a:lnTo>
                  <a:lnTo>
                    <a:pt x="787" y="743"/>
                  </a:lnTo>
                  <a:lnTo>
                    <a:pt x="790" y="743"/>
                  </a:lnTo>
                  <a:lnTo>
                    <a:pt x="790" y="743"/>
                  </a:lnTo>
                  <a:lnTo>
                    <a:pt x="790" y="746"/>
                  </a:lnTo>
                  <a:lnTo>
                    <a:pt x="790" y="746"/>
                  </a:lnTo>
                  <a:lnTo>
                    <a:pt x="787" y="746"/>
                  </a:lnTo>
                  <a:lnTo>
                    <a:pt x="787" y="746"/>
                  </a:lnTo>
                  <a:lnTo>
                    <a:pt x="790" y="748"/>
                  </a:lnTo>
                  <a:lnTo>
                    <a:pt x="792" y="748"/>
                  </a:lnTo>
                  <a:lnTo>
                    <a:pt x="797" y="748"/>
                  </a:lnTo>
                  <a:lnTo>
                    <a:pt x="800" y="746"/>
                  </a:lnTo>
                  <a:lnTo>
                    <a:pt x="800" y="746"/>
                  </a:lnTo>
                  <a:lnTo>
                    <a:pt x="800" y="743"/>
                  </a:lnTo>
                  <a:lnTo>
                    <a:pt x="800" y="743"/>
                  </a:lnTo>
                  <a:lnTo>
                    <a:pt x="795" y="738"/>
                  </a:lnTo>
                  <a:lnTo>
                    <a:pt x="795" y="738"/>
                  </a:lnTo>
                  <a:lnTo>
                    <a:pt x="797" y="738"/>
                  </a:lnTo>
                  <a:lnTo>
                    <a:pt x="797" y="736"/>
                  </a:lnTo>
                  <a:lnTo>
                    <a:pt x="797" y="736"/>
                  </a:lnTo>
                  <a:lnTo>
                    <a:pt x="792" y="736"/>
                  </a:lnTo>
                  <a:lnTo>
                    <a:pt x="792" y="733"/>
                  </a:lnTo>
                  <a:lnTo>
                    <a:pt x="792" y="731"/>
                  </a:lnTo>
                  <a:lnTo>
                    <a:pt x="795" y="728"/>
                  </a:lnTo>
                  <a:lnTo>
                    <a:pt x="795" y="728"/>
                  </a:lnTo>
                  <a:lnTo>
                    <a:pt x="795" y="726"/>
                  </a:lnTo>
                  <a:lnTo>
                    <a:pt x="795" y="726"/>
                  </a:lnTo>
                  <a:lnTo>
                    <a:pt x="795" y="726"/>
                  </a:lnTo>
                  <a:lnTo>
                    <a:pt x="797" y="726"/>
                  </a:lnTo>
                  <a:lnTo>
                    <a:pt x="797" y="728"/>
                  </a:lnTo>
                  <a:lnTo>
                    <a:pt x="800" y="728"/>
                  </a:lnTo>
                  <a:lnTo>
                    <a:pt x="800" y="726"/>
                  </a:lnTo>
                  <a:lnTo>
                    <a:pt x="803" y="723"/>
                  </a:lnTo>
                  <a:lnTo>
                    <a:pt x="805" y="723"/>
                  </a:lnTo>
                  <a:lnTo>
                    <a:pt x="808" y="723"/>
                  </a:lnTo>
                  <a:lnTo>
                    <a:pt x="808" y="720"/>
                  </a:lnTo>
                  <a:lnTo>
                    <a:pt x="808" y="720"/>
                  </a:lnTo>
                  <a:lnTo>
                    <a:pt x="808" y="720"/>
                  </a:lnTo>
                  <a:lnTo>
                    <a:pt x="810" y="720"/>
                  </a:lnTo>
                  <a:lnTo>
                    <a:pt x="810" y="720"/>
                  </a:lnTo>
                  <a:lnTo>
                    <a:pt x="813" y="720"/>
                  </a:lnTo>
                  <a:lnTo>
                    <a:pt x="815" y="720"/>
                  </a:lnTo>
                  <a:lnTo>
                    <a:pt x="818" y="720"/>
                  </a:lnTo>
                  <a:lnTo>
                    <a:pt x="820" y="718"/>
                  </a:lnTo>
                  <a:lnTo>
                    <a:pt x="820" y="718"/>
                  </a:lnTo>
                  <a:lnTo>
                    <a:pt x="820" y="715"/>
                  </a:lnTo>
                  <a:lnTo>
                    <a:pt x="823" y="715"/>
                  </a:lnTo>
                  <a:lnTo>
                    <a:pt x="823" y="715"/>
                  </a:lnTo>
                  <a:lnTo>
                    <a:pt x="823" y="715"/>
                  </a:lnTo>
                  <a:lnTo>
                    <a:pt x="823" y="713"/>
                  </a:lnTo>
                  <a:lnTo>
                    <a:pt x="826" y="713"/>
                  </a:lnTo>
                  <a:lnTo>
                    <a:pt x="828" y="713"/>
                  </a:lnTo>
                  <a:lnTo>
                    <a:pt x="828" y="715"/>
                  </a:lnTo>
                  <a:lnTo>
                    <a:pt x="831" y="715"/>
                  </a:lnTo>
                  <a:lnTo>
                    <a:pt x="833" y="715"/>
                  </a:lnTo>
                  <a:lnTo>
                    <a:pt x="833" y="713"/>
                  </a:lnTo>
                  <a:lnTo>
                    <a:pt x="833" y="710"/>
                  </a:lnTo>
                  <a:lnTo>
                    <a:pt x="831" y="710"/>
                  </a:lnTo>
                  <a:lnTo>
                    <a:pt x="833" y="710"/>
                  </a:lnTo>
                  <a:lnTo>
                    <a:pt x="833" y="710"/>
                  </a:lnTo>
                  <a:lnTo>
                    <a:pt x="833" y="710"/>
                  </a:lnTo>
                  <a:lnTo>
                    <a:pt x="833" y="713"/>
                  </a:lnTo>
                  <a:lnTo>
                    <a:pt x="836" y="713"/>
                  </a:lnTo>
                  <a:lnTo>
                    <a:pt x="836" y="715"/>
                  </a:lnTo>
                  <a:lnTo>
                    <a:pt x="838" y="713"/>
                  </a:lnTo>
                  <a:lnTo>
                    <a:pt x="838" y="713"/>
                  </a:lnTo>
                  <a:lnTo>
                    <a:pt x="838" y="710"/>
                  </a:lnTo>
                  <a:lnTo>
                    <a:pt x="841" y="710"/>
                  </a:lnTo>
                  <a:lnTo>
                    <a:pt x="843" y="713"/>
                  </a:lnTo>
                  <a:lnTo>
                    <a:pt x="843" y="710"/>
                  </a:lnTo>
                  <a:lnTo>
                    <a:pt x="843" y="710"/>
                  </a:lnTo>
                  <a:lnTo>
                    <a:pt x="843" y="708"/>
                  </a:lnTo>
                  <a:lnTo>
                    <a:pt x="846" y="705"/>
                  </a:lnTo>
                  <a:lnTo>
                    <a:pt x="846" y="708"/>
                  </a:lnTo>
                  <a:lnTo>
                    <a:pt x="848" y="708"/>
                  </a:lnTo>
                  <a:lnTo>
                    <a:pt x="851" y="705"/>
                  </a:lnTo>
                  <a:lnTo>
                    <a:pt x="851" y="705"/>
                  </a:lnTo>
                  <a:lnTo>
                    <a:pt x="851" y="705"/>
                  </a:lnTo>
                  <a:lnTo>
                    <a:pt x="854" y="705"/>
                  </a:lnTo>
                  <a:lnTo>
                    <a:pt x="854" y="705"/>
                  </a:lnTo>
                  <a:lnTo>
                    <a:pt x="854" y="705"/>
                  </a:lnTo>
                  <a:lnTo>
                    <a:pt x="854" y="703"/>
                  </a:lnTo>
                  <a:lnTo>
                    <a:pt x="854" y="703"/>
                  </a:lnTo>
                  <a:lnTo>
                    <a:pt x="854" y="705"/>
                  </a:lnTo>
                  <a:lnTo>
                    <a:pt x="854" y="705"/>
                  </a:lnTo>
                  <a:lnTo>
                    <a:pt x="854" y="703"/>
                  </a:lnTo>
                  <a:lnTo>
                    <a:pt x="854" y="700"/>
                  </a:lnTo>
                  <a:lnTo>
                    <a:pt x="854" y="700"/>
                  </a:lnTo>
                  <a:lnTo>
                    <a:pt x="854" y="695"/>
                  </a:lnTo>
                  <a:lnTo>
                    <a:pt x="851" y="692"/>
                  </a:lnTo>
                  <a:lnTo>
                    <a:pt x="851" y="692"/>
                  </a:lnTo>
                  <a:lnTo>
                    <a:pt x="851" y="692"/>
                  </a:lnTo>
                  <a:lnTo>
                    <a:pt x="848" y="690"/>
                  </a:lnTo>
                  <a:lnTo>
                    <a:pt x="848" y="690"/>
                  </a:lnTo>
                  <a:lnTo>
                    <a:pt x="848" y="687"/>
                  </a:lnTo>
                  <a:lnTo>
                    <a:pt x="848" y="687"/>
                  </a:lnTo>
                  <a:lnTo>
                    <a:pt x="848" y="687"/>
                  </a:lnTo>
                  <a:lnTo>
                    <a:pt x="848" y="685"/>
                  </a:lnTo>
                  <a:lnTo>
                    <a:pt x="851" y="685"/>
                  </a:lnTo>
                  <a:lnTo>
                    <a:pt x="851" y="685"/>
                  </a:lnTo>
                  <a:lnTo>
                    <a:pt x="851" y="685"/>
                  </a:lnTo>
                  <a:lnTo>
                    <a:pt x="851" y="687"/>
                  </a:lnTo>
                  <a:lnTo>
                    <a:pt x="854" y="687"/>
                  </a:lnTo>
                  <a:lnTo>
                    <a:pt x="854" y="690"/>
                  </a:lnTo>
                  <a:lnTo>
                    <a:pt x="854" y="690"/>
                  </a:lnTo>
                  <a:lnTo>
                    <a:pt x="856" y="692"/>
                  </a:lnTo>
                  <a:lnTo>
                    <a:pt x="859" y="695"/>
                  </a:lnTo>
                  <a:lnTo>
                    <a:pt x="861" y="698"/>
                  </a:lnTo>
                  <a:lnTo>
                    <a:pt x="861" y="698"/>
                  </a:lnTo>
                  <a:lnTo>
                    <a:pt x="861" y="698"/>
                  </a:lnTo>
                  <a:lnTo>
                    <a:pt x="864" y="698"/>
                  </a:lnTo>
                  <a:lnTo>
                    <a:pt x="864" y="698"/>
                  </a:lnTo>
                  <a:lnTo>
                    <a:pt x="864" y="698"/>
                  </a:lnTo>
                  <a:lnTo>
                    <a:pt x="866" y="698"/>
                  </a:lnTo>
                  <a:lnTo>
                    <a:pt x="866" y="698"/>
                  </a:lnTo>
                  <a:lnTo>
                    <a:pt x="866" y="698"/>
                  </a:lnTo>
                  <a:lnTo>
                    <a:pt x="869" y="695"/>
                  </a:lnTo>
                  <a:lnTo>
                    <a:pt x="869" y="695"/>
                  </a:lnTo>
                  <a:lnTo>
                    <a:pt x="871" y="698"/>
                  </a:lnTo>
                  <a:lnTo>
                    <a:pt x="874" y="698"/>
                  </a:lnTo>
                  <a:lnTo>
                    <a:pt x="871" y="695"/>
                  </a:lnTo>
                  <a:lnTo>
                    <a:pt x="874" y="695"/>
                  </a:lnTo>
                  <a:lnTo>
                    <a:pt x="874" y="692"/>
                  </a:lnTo>
                  <a:lnTo>
                    <a:pt x="874" y="692"/>
                  </a:lnTo>
                  <a:lnTo>
                    <a:pt x="874" y="692"/>
                  </a:lnTo>
                  <a:lnTo>
                    <a:pt x="876" y="695"/>
                  </a:lnTo>
                  <a:lnTo>
                    <a:pt x="879" y="695"/>
                  </a:lnTo>
                  <a:lnTo>
                    <a:pt x="879" y="695"/>
                  </a:lnTo>
                  <a:lnTo>
                    <a:pt x="879" y="695"/>
                  </a:lnTo>
                  <a:lnTo>
                    <a:pt x="882" y="692"/>
                  </a:lnTo>
                  <a:lnTo>
                    <a:pt x="882" y="692"/>
                  </a:lnTo>
                  <a:lnTo>
                    <a:pt x="884" y="690"/>
                  </a:lnTo>
                  <a:lnTo>
                    <a:pt x="887" y="692"/>
                  </a:lnTo>
                  <a:lnTo>
                    <a:pt x="889" y="692"/>
                  </a:lnTo>
                  <a:lnTo>
                    <a:pt x="892" y="692"/>
                  </a:lnTo>
                  <a:lnTo>
                    <a:pt x="892" y="692"/>
                  </a:lnTo>
                  <a:lnTo>
                    <a:pt x="892" y="690"/>
                  </a:lnTo>
                  <a:lnTo>
                    <a:pt x="892" y="690"/>
                  </a:lnTo>
                  <a:lnTo>
                    <a:pt x="894" y="690"/>
                  </a:lnTo>
                  <a:lnTo>
                    <a:pt x="897" y="690"/>
                  </a:lnTo>
                  <a:lnTo>
                    <a:pt x="902" y="690"/>
                  </a:lnTo>
                  <a:lnTo>
                    <a:pt x="902" y="690"/>
                  </a:lnTo>
                  <a:lnTo>
                    <a:pt x="905" y="687"/>
                  </a:lnTo>
                  <a:lnTo>
                    <a:pt x="905" y="687"/>
                  </a:lnTo>
                  <a:lnTo>
                    <a:pt x="905" y="687"/>
                  </a:lnTo>
                  <a:lnTo>
                    <a:pt x="907" y="687"/>
                  </a:lnTo>
                  <a:lnTo>
                    <a:pt x="910" y="687"/>
                  </a:lnTo>
                  <a:lnTo>
                    <a:pt x="910" y="687"/>
                  </a:lnTo>
                  <a:lnTo>
                    <a:pt x="910" y="682"/>
                  </a:lnTo>
                  <a:lnTo>
                    <a:pt x="910" y="682"/>
                  </a:lnTo>
                  <a:lnTo>
                    <a:pt x="912" y="682"/>
                  </a:lnTo>
                  <a:lnTo>
                    <a:pt x="912" y="680"/>
                  </a:lnTo>
                  <a:lnTo>
                    <a:pt x="912" y="680"/>
                  </a:lnTo>
                  <a:lnTo>
                    <a:pt x="910" y="680"/>
                  </a:lnTo>
                  <a:lnTo>
                    <a:pt x="912" y="677"/>
                  </a:lnTo>
                  <a:lnTo>
                    <a:pt x="912" y="677"/>
                  </a:lnTo>
                  <a:lnTo>
                    <a:pt x="915" y="677"/>
                  </a:lnTo>
                  <a:lnTo>
                    <a:pt x="915" y="672"/>
                  </a:lnTo>
                  <a:lnTo>
                    <a:pt x="917" y="672"/>
                  </a:lnTo>
                  <a:lnTo>
                    <a:pt x="917" y="675"/>
                  </a:lnTo>
                  <a:lnTo>
                    <a:pt x="920" y="672"/>
                  </a:lnTo>
                  <a:lnTo>
                    <a:pt x="920" y="672"/>
                  </a:lnTo>
                  <a:lnTo>
                    <a:pt x="922" y="670"/>
                  </a:lnTo>
                  <a:lnTo>
                    <a:pt x="922" y="670"/>
                  </a:lnTo>
                  <a:lnTo>
                    <a:pt x="922" y="672"/>
                  </a:lnTo>
                  <a:lnTo>
                    <a:pt x="925" y="672"/>
                  </a:lnTo>
                  <a:lnTo>
                    <a:pt x="925" y="672"/>
                  </a:lnTo>
                  <a:lnTo>
                    <a:pt x="925" y="670"/>
                  </a:lnTo>
                  <a:lnTo>
                    <a:pt x="925" y="670"/>
                  </a:lnTo>
                  <a:lnTo>
                    <a:pt x="925" y="670"/>
                  </a:lnTo>
                  <a:lnTo>
                    <a:pt x="925" y="667"/>
                  </a:lnTo>
                  <a:lnTo>
                    <a:pt x="927" y="667"/>
                  </a:lnTo>
                  <a:lnTo>
                    <a:pt x="927" y="667"/>
                  </a:lnTo>
                  <a:lnTo>
                    <a:pt x="927" y="664"/>
                  </a:lnTo>
                  <a:lnTo>
                    <a:pt x="930" y="664"/>
                  </a:lnTo>
                  <a:lnTo>
                    <a:pt x="933" y="664"/>
                  </a:lnTo>
                  <a:lnTo>
                    <a:pt x="933" y="662"/>
                  </a:lnTo>
                  <a:lnTo>
                    <a:pt x="935" y="659"/>
                  </a:lnTo>
                  <a:lnTo>
                    <a:pt x="935" y="657"/>
                  </a:lnTo>
                  <a:lnTo>
                    <a:pt x="933" y="654"/>
                  </a:lnTo>
                  <a:lnTo>
                    <a:pt x="930" y="654"/>
                  </a:lnTo>
                  <a:lnTo>
                    <a:pt x="930" y="654"/>
                  </a:lnTo>
                  <a:lnTo>
                    <a:pt x="930" y="654"/>
                  </a:lnTo>
                  <a:lnTo>
                    <a:pt x="930" y="652"/>
                  </a:lnTo>
                  <a:lnTo>
                    <a:pt x="930" y="654"/>
                  </a:lnTo>
                  <a:lnTo>
                    <a:pt x="933" y="652"/>
                  </a:lnTo>
                  <a:lnTo>
                    <a:pt x="933" y="652"/>
                  </a:lnTo>
                  <a:lnTo>
                    <a:pt x="933" y="649"/>
                  </a:lnTo>
                  <a:lnTo>
                    <a:pt x="935" y="649"/>
                  </a:lnTo>
                  <a:lnTo>
                    <a:pt x="938" y="652"/>
                  </a:lnTo>
                  <a:lnTo>
                    <a:pt x="940" y="649"/>
                  </a:lnTo>
                  <a:lnTo>
                    <a:pt x="943" y="652"/>
                  </a:lnTo>
                  <a:lnTo>
                    <a:pt x="945" y="649"/>
                  </a:lnTo>
                  <a:lnTo>
                    <a:pt x="945" y="647"/>
                  </a:lnTo>
                  <a:lnTo>
                    <a:pt x="945" y="647"/>
                  </a:lnTo>
                  <a:lnTo>
                    <a:pt x="943" y="647"/>
                  </a:lnTo>
                  <a:lnTo>
                    <a:pt x="943" y="644"/>
                  </a:lnTo>
                  <a:lnTo>
                    <a:pt x="945" y="644"/>
                  </a:lnTo>
                  <a:lnTo>
                    <a:pt x="948" y="644"/>
                  </a:lnTo>
                  <a:lnTo>
                    <a:pt x="948" y="642"/>
                  </a:lnTo>
                  <a:lnTo>
                    <a:pt x="948" y="642"/>
                  </a:lnTo>
                  <a:lnTo>
                    <a:pt x="948" y="639"/>
                  </a:lnTo>
                  <a:lnTo>
                    <a:pt x="948" y="636"/>
                  </a:lnTo>
                  <a:lnTo>
                    <a:pt x="948" y="636"/>
                  </a:lnTo>
                  <a:lnTo>
                    <a:pt x="953" y="636"/>
                  </a:lnTo>
                  <a:lnTo>
                    <a:pt x="953" y="636"/>
                  </a:lnTo>
                  <a:lnTo>
                    <a:pt x="953" y="634"/>
                  </a:lnTo>
                  <a:lnTo>
                    <a:pt x="950" y="634"/>
                  </a:lnTo>
                  <a:lnTo>
                    <a:pt x="950" y="631"/>
                  </a:lnTo>
                  <a:lnTo>
                    <a:pt x="950" y="631"/>
                  </a:lnTo>
                  <a:lnTo>
                    <a:pt x="953" y="631"/>
                  </a:lnTo>
                  <a:lnTo>
                    <a:pt x="955" y="631"/>
                  </a:lnTo>
                  <a:lnTo>
                    <a:pt x="955" y="631"/>
                  </a:lnTo>
                  <a:lnTo>
                    <a:pt x="958" y="631"/>
                  </a:lnTo>
                  <a:lnTo>
                    <a:pt x="961" y="634"/>
                  </a:lnTo>
                  <a:lnTo>
                    <a:pt x="961" y="631"/>
                  </a:lnTo>
                  <a:lnTo>
                    <a:pt x="961" y="631"/>
                  </a:lnTo>
                  <a:lnTo>
                    <a:pt x="958" y="629"/>
                  </a:lnTo>
                  <a:lnTo>
                    <a:pt x="958" y="626"/>
                  </a:lnTo>
                  <a:lnTo>
                    <a:pt x="958" y="621"/>
                  </a:lnTo>
                  <a:lnTo>
                    <a:pt x="958" y="621"/>
                  </a:lnTo>
                  <a:lnTo>
                    <a:pt x="958" y="619"/>
                  </a:lnTo>
                  <a:lnTo>
                    <a:pt x="955" y="619"/>
                  </a:lnTo>
                  <a:lnTo>
                    <a:pt x="953" y="619"/>
                  </a:lnTo>
                  <a:lnTo>
                    <a:pt x="950" y="619"/>
                  </a:lnTo>
                  <a:lnTo>
                    <a:pt x="950" y="619"/>
                  </a:lnTo>
                  <a:lnTo>
                    <a:pt x="948" y="616"/>
                  </a:lnTo>
                  <a:lnTo>
                    <a:pt x="948" y="616"/>
                  </a:lnTo>
                  <a:lnTo>
                    <a:pt x="950" y="616"/>
                  </a:lnTo>
                  <a:lnTo>
                    <a:pt x="953" y="616"/>
                  </a:lnTo>
                  <a:lnTo>
                    <a:pt x="953" y="616"/>
                  </a:lnTo>
                  <a:lnTo>
                    <a:pt x="955" y="616"/>
                  </a:lnTo>
                  <a:lnTo>
                    <a:pt x="958" y="614"/>
                  </a:lnTo>
                  <a:lnTo>
                    <a:pt x="958" y="611"/>
                  </a:lnTo>
                  <a:lnTo>
                    <a:pt x="961" y="611"/>
                  </a:lnTo>
                  <a:lnTo>
                    <a:pt x="961" y="611"/>
                  </a:lnTo>
                  <a:lnTo>
                    <a:pt x="958" y="608"/>
                  </a:lnTo>
                  <a:lnTo>
                    <a:pt x="958" y="608"/>
                  </a:lnTo>
                  <a:lnTo>
                    <a:pt x="958" y="606"/>
                  </a:lnTo>
                  <a:lnTo>
                    <a:pt x="955" y="603"/>
                  </a:lnTo>
                  <a:lnTo>
                    <a:pt x="953" y="603"/>
                  </a:lnTo>
                  <a:lnTo>
                    <a:pt x="953" y="603"/>
                  </a:lnTo>
                  <a:lnTo>
                    <a:pt x="953" y="601"/>
                  </a:lnTo>
                  <a:lnTo>
                    <a:pt x="953" y="601"/>
                  </a:lnTo>
                  <a:lnTo>
                    <a:pt x="953" y="601"/>
                  </a:lnTo>
                  <a:lnTo>
                    <a:pt x="955" y="601"/>
                  </a:lnTo>
                  <a:lnTo>
                    <a:pt x="955" y="601"/>
                  </a:lnTo>
                  <a:lnTo>
                    <a:pt x="955" y="598"/>
                  </a:lnTo>
                  <a:lnTo>
                    <a:pt x="955" y="598"/>
                  </a:lnTo>
                  <a:lnTo>
                    <a:pt x="955" y="601"/>
                  </a:lnTo>
                  <a:lnTo>
                    <a:pt x="958" y="601"/>
                  </a:lnTo>
                  <a:lnTo>
                    <a:pt x="958" y="603"/>
                  </a:lnTo>
                  <a:lnTo>
                    <a:pt x="958" y="603"/>
                  </a:lnTo>
                  <a:lnTo>
                    <a:pt x="958" y="603"/>
                  </a:lnTo>
                  <a:lnTo>
                    <a:pt x="961" y="606"/>
                  </a:lnTo>
                  <a:lnTo>
                    <a:pt x="963" y="603"/>
                  </a:lnTo>
                  <a:lnTo>
                    <a:pt x="963" y="603"/>
                  </a:lnTo>
                  <a:lnTo>
                    <a:pt x="963" y="601"/>
                  </a:lnTo>
                  <a:lnTo>
                    <a:pt x="963" y="598"/>
                  </a:lnTo>
                  <a:lnTo>
                    <a:pt x="963" y="593"/>
                  </a:lnTo>
                  <a:lnTo>
                    <a:pt x="966" y="593"/>
                  </a:lnTo>
                  <a:lnTo>
                    <a:pt x="966" y="591"/>
                  </a:lnTo>
                  <a:lnTo>
                    <a:pt x="968" y="588"/>
                  </a:lnTo>
                  <a:lnTo>
                    <a:pt x="968" y="586"/>
                  </a:lnTo>
                  <a:lnTo>
                    <a:pt x="968" y="586"/>
                  </a:lnTo>
                  <a:lnTo>
                    <a:pt x="968" y="583"/>
                  </a:lnTo>
                  <a:lnTo>
                    <a:pt x="968" y="580"/>
                  </a:lnTo>
                  <a:lnTo>
                    <a:pt x="968" y="580"/>
                  </a:lnTo>
                  <a:lnTo>
                    <a:pt x="968" y="578"/>
                  </a:lnTo>
                  <a:lnTo>
                    <a:pt x="971" y="575"/>
                  </a:lnTo>
                  <a:lnTo>
                    <a:pt x="971" y="575"/>
                  </a:lnTo>
                  <a:lnTo>
                    <a:pt x="968" y="573"/>
                  </a:lnTo>
                  <a:lnTo>
                    <a:pt x="968" y="573"/>
                  </a:lnTo>
                  <a:lnTo>
                    <a:pt x="968" y="573"/>
                  </a:lnTo>
                  <a:lnTo>
                    <a:pt x="971" y="573"/>
                  </a:lnTo>
                  <a:lnTo>
                    <a:pt x="971" y="573"/>
                  </a:lnTo>
                  <a:lnTo>
                    <a:pt x="973" y="570"/>
                  </a:lnTo>
                  <a:lnTo>
                    <a:pt x="973" y="565"/>
                  </a:lnTo>
                  <a:lnTo>
                    <a:pt x="973" y="565"/>
                  </a:lnTo>
                  <a:lnTo>
                    <a:pt x="976" y="565"/>
                  </a:lnTo>
                  <a:lnTo>
                    <a:pt x="976" y="568"/>
                  </a:lnTo>
                  <a:lnTo>
                    <a:pt x="978" y="568"/>
                  </a:lnTo>
                  <a:lnTo>
                    <a:pt x="981" y="565"/>
                  </a:lnTo>
                  <a:lnTo>
                    <a:pt x="984" y="565"/>
                  </a:lnTo>
                  <a:lnTo>
                    <a:pt x="981" y="565"/>
                  </a:lnTo>
                  <a:lnTo>
                    <a:pt x="981" y="560"/>
                  </a:lnTo>
                  <a:lnTo>
                    <a:pt x="978" y="558"/>
                  </a:lnTo>
                  <a:lnTo>
                    <a:pt x="978" y="558"/>
                  </a:lnTo>
                  <a:lnTo>
                    <a:pt x="981" y="555"/>
                  </a:lnTo>
                  <a:lnTo>
                    <a:pt x="981" y="555"/>
                  </a:lnTo>
                  <a:lnTo>
                    <a:pt x="981" y="553"/>
                  </a:lnTo>
                  <a:lnTo>
                    <a:pt x="978" y="553"/>
                  </a:lnTo>
                  <a:lnTo>
                    <a:pt x="978" y="553"/>
                  </a:lnTo>
                  <a:lnTo>
                    <a:pt x="981" y="553"/>
                  </a:lnTo>
                  <a:lnTo>
                    <a:pt x="978" y="550"/>
                  </a:lnTo>
                  <a:lnTo>
                    <a:pt x="976" y="547"/>
                  </a:lnTo>
                  <a:lnTo>
                    <a:pt x="973" y="547"/>
                  </a:lnTo>
                  <a:lnTo>
                    <a:pt x="976" y="545"/>
                  </a:lnTo>
                  <a:lnTo>
                    <a:pt x="976" y="545"/>
                  </a:lnTo>
                  <a:lnTo>
                    <a:pt x="978" y="545"/>
                  </a:lnTo>
                  <a:lnTo>
                    <a:pt x="978" y="545"/>
                  </a:lnTo>
                  <a:lnTo>
                    <a:pt x="981" y="545"/>
                  </a:lnTo>
                  <a:lnTo>
                    <a:pt x="984" y="547"/>
                  </a:lnTo>
                  <a:lnTo>
                    <a:pt x="984" y="547"/>
                  </a:lnTo>
                  <a:lnTo>
                    <a:pt x="981" y="540"/>
                  </a:lnTo>
                  <a:lnTo>
                    <a:pt x="981" y="537"/>
                  </a:lnTo>
                  <a:lnTo>
                    <a:pt x="981" y="535"/>
                  </a:lnTo>
                  <a:lnTo>
                    <a:pt x="978" y="537"/>
                  </a:lnTo>
                  <a:lnTo>
                    <a:pt x="976" y="540"/>
                  </a:lnTo>
                  <a:lnTo>
                    <a:pt x="973" y="540"/>
                  </a:lnTo>
                  <a:lnTo>
                    <a:pt x="973" y="537"/>
                  </a:lnTo>
                  <a:lnTo>
                    <a:pt x="976" y="537"/>
                  </a:lnTo>
                  <a:lnTo>
                    <a:pt x="978" y="532"/>
                  </a:lnTo>
                  <a:lnTo>
                    <a:pt x="981" y="530"/>
                  </a:lnTo>
                  <a:lnTo>
                    <a:pt x="981" y="530"/>
                  </a:lnTo>
                  <a:lnTo>
                    <a:pt x="978" y="530"/>
                  </a:lnTo>
                  <a:lnTo>
                    <a:pt x="976" y="530"/>
                  </a:lnTo>
                  <a:lnTo>
                    <a:pt x="973" y="527"/>
                  </a:lnTo>
                  <a:lnTo>
                    <a:pt x="966" y="522"/>
                  </a:lnTo>
                  <a:lnTo>
                    <a:pt x="966" y="522"/>
                  </a:lnTo>
                  <a:lnTo>
                    <a:pt x="963" y="519"/>
                  </a:lnTo>
                  <a:lnTo>
                    <a:pt x="961" y="519"/>
                  </a:lnTo>
                  <a:lnTo>
                    <a:pt x="958" y="525"/>
                  </a:lnTo>
                  <a:lnTo>
                    <a:pt x="953" y="525"/>
                  </a:lnTo>
                  <a:lnTo>
                    <a:pt x="948" y="519"/>
                  </a:lnTo>
                  <a:lnTo>
                    <a:pt x="945" y="522"/>
                  </a:lnTo>
                  <a:lnTo>
                    <a:pt x="943" y="522"/>
                  </a:lnTo>
                  <a:lnTo>
                    <a:pt x="943" y="522"/>
                  </a:lnTo>
                  <a:lnTo>
                    <a:pt x="943" y="522"/>
                  </a:lnTo>
                  <a:lnTo>
                    <a:pt x="943" y="522"/>
                  </a:lnTo>
                  <a:lnTo>
                    <a:pt x="948" y="519"/>
                  </a:lnTo>
                  <a:lnTo>
                    <a:pt x="950" y="519"/>
                  </a:lnTo>
                  <a:lnTo>
                    <a:pt x="953" y="519"/>
                  </a:lnTo>
                  <a:lnTo>
                    <a:pt x="955" y="519"/>
                  </a:lnTo>
                  <a:lnTo>
                    <a:pt x="955" y="517"/>
                  </a:lnTo>
                  <a:lnTo>
                    <a:pt x="955" y="514"/>
                  </a:lnTo>
                  <a:lnTo>
                    <a:pt x="961" y="512"/>
                  </a:lnTo>
                  <a:lnTo>
                    <a:pt x="963" y="509"/>
                  </a:lnTo>
                  <a:lnTo>
                    <a:pt x="963" y="509"/>
                  </a:lnTo>
                  <a:lnTo>
                    <a:pt x="968" y="507"/>
                  </a:lnTo>
                  <a:lnTo>
                    <a:pt x="968" y="507"/>
                  </a:lnTo>
                  <a:lnTo>
                    <a:pt x="971" y="507"/>
                  </a:lnTo>
                  <a:lnTo>
                    <a:pt x="968" y="504"/>
                  </a:lnTo>
                  <a:lnTo>
                    <a:pt x="968" y="502"/>
                  </a:lnTo>
                  <a:lnTo>
                    <a:pt x="963" y="497"/>
                  </a:lnTo>
                  <a:lnTo>
                    <a:pt x="955" y="494"/>
                  </a:lnTo>
                  <a:lnTo>
                    <a:pt x="953" y="491"/>
                  </a:lnTo>
                  <a:lnTo>
                    <a:pt x="948" y="489"/>
                  </a:lnTo>
                  <a:lnTo>
                    <a:pt x="945" y="489"/>
                  </a:lnTo>
                  <a:lnTo>
                    <a:pt x="943" y="486"/>
                  </a:lnTo>
                  <a:lnTo>
                    <a:pt x="943" y="484"/>
                  </a:lnTo>
                  <a:lnTo>
                    <a:pt x="940" y="484"/>
                  </a:lnTo>
                  <a:lnTo>
                    <a:pt x="935" y="481"/>
                  </a:lnTo>
                  <a:lnTo>
                    <a:pt x="933" y="484"/>
                  </a:lnTo>
                  <a:lnTo>
                    <a:pt x="930" y="484"/>
                  </a:lnTo>
                  <a:lnTo>
                    <a:pt x="927" y="484"/>
                  </a:lnTo>
                  <a:lnTo>
                    <a:pt x="927" y="484"/>
                  </a:lnTo>
                  <a:lnTo>
                    <a:pt x="927" y="484"/>
                  </a:lnTo>
                  <a:lnTo>
                    <a:pt x="930" y="484"/>
                  </a:lnTo>
                  <a:lnTo>
                    <a:pt x="935" y="479"/>
                  </a:lnTo>
                  <a:lnTo>
                    <a:pt x="938" y="481"/>
                  </a:lnTo>
                  <a:lnTo>
                    <a:pt x="943" y="481"/>
                  </a:lnTo>
                  <a:lnTo>
                    <a:pt x="945" y="486"/>
                  </a:lnTo>
                  <a:lnTo>
                    <a:pt x="950" y="486"/>
                  </a:lnTo>
                  <a:lnTo>
                    <a:pt x="953" y="486"/>
                  </a:lnTo>
                  <a:lnTo>
                    <a:pt x="953" y="486"/>
                  </a:lnTo>
                  <a:lnTo>
                    <a:pt x="961" y="489"/>
                  </a:lnTo>
                  <a:lnTo>
                    <a:pt x="963" y="489"/>
                  </a:lnTo>
                  <a:lnTo>
                    <a:pt x="966" y="489"/>
                  </a:lnTo>
                  <a:lnTo>
                    <a:pt x="963" y="486"/>
                  </a:lnTo>
                  <a:lnTo>
                    <a:pt x="963" y="484"/>
                  </a:lnTo>
                  <a:lnTo>
                    <a:pt x="961" y="481"/>
                  </a:lnTo>
                  <a:lnTo>
                    <a:pt x="958" y="481"/>
                  </a:lnTo>
                  <a:lnTo>
                    <a:pt x="955" y="479"/>
                  </a:lnTo>
                  <a:lnTo>
                    <a:pt x="953" y="479"/>
                  </a:lnTo>
                  <a:lnTo>
                    <a:pt x="953" y="479"/>
                  </a:lnTo>
                  <a:lnTo>
                    <a:pt x="950" y="474"/>
                  </a:lnTo>
                  <a:lnTo>
                    <a:pt x="950" y="474"/>
                  </a:lnTo>
                  <a:lnTo>
                    <a:pt x="948" y="471"/>
                  </a:lnTo>
                  <a:lnTo>
                    <a:pt x="940" y="469"/>
                  </a:lnTo>
                  <a:lnTo>
                    <a:pt x="938" y="469"/>
                  </a:lnTo>
                  <a:lnTo>
                    <a:pt x="938" y="466"/>
                  </a:lnTo>
                  <a:lnTo>
                    <a:pt x="938" y="463"/>
                  </a:lnTo>
                  <a:lnTo>
                    <a:pt x="935" y="458"/>
                  </a:lnTo>
                  <a:lnTo>
                    <a:pt x="930" y="453"/>
                  </a:lnTo>
                  <a:lnTo>
                    <a:pt x="927" y="448"/>
                  </a:lnTo>
                  <a:lnTo>
                    <a:pt x="922" y="446"/>
                  </a:lnTo>
                  <a:lnTo>
                    <a:pt x="922" y="443"/>
                  </a:lnTo>
                  <a:lnTo>
                    <a:pt x="920" y="441"/>
                  </a:lnTo>
                  <a:lnTo>
                    <a:pt x="915" y="433"/>
                  </a:lnTo>
                  <a:lnTo>
                    <a:pt x="915" y="430"/>
                  </a:lnTo>
                  <a:lnTo>
                    <a:pt x="912" y="430"/>
                  </a:lnTo>
                  <a:lnTo>
                    <a:pt x="907" y="428"/>
                  </a:lnTo>
                  <a:lnTo>
                    <a:pt x="902" y="425"/>
                  </a:lnTo>
                  <a:lnTo>
                    <a:pt x="899" y="423"/>
                  </a:lnTo>
                  <a:lnTo>
                    <a:pt x="894" y="420"/>
                  </a:lnTo>
                  <a:lnTo>
                    <a:pt x="892" y="420"/>
                  </a:lnTo>
                  <a:lnTo>
                    <a:pt x="889" y="420"/>
                  </a:lnTo>
                  <a:lnTo>
                    <a:pt x="889" y="418"/>
                  </a:lnTo>
                  <a:lnTo>
                    <a:pt x="887" y="413"/>
                  </a:lnTo>
                  <a:lnTo>
                    <a:pt x="889" y="413"/>
                  </a:lnTo>
                  <a:lnTo>
                    <a:pt x="889" y="407"/>
                  </a:lnTo>
                  <a:lnTo>
                    <a:pt x="892" y="405"/>
                  </a:lnTo>
                  <a:lnTo>
                    <a:pt x="892" y="402"/>
                  </a:lnTo>
                  <a:lnTo>
                    <a:pt x="892" y="400"/>
                  </a:lnTo>
                  <a:lnTo>
                    <a:pt x="894" y="400"/>
                  </a:lnTo>
                  <a:lnTo>
                    <a:pt x="894" y="400"/>
                  </a:lnTo>
                  <a:lnTo>
                    <a:pt x="894" y="397"/>
                  </a:lnTo>
                  <a:lnTo>
                    <a:pt x="897" y="397"/>
                  </a:lnTo>
                  <a:lnTo>
                    <a:pt x="897" y="395"/>
                  </a:lnTo>
                  <a:lnTo>
                    <a:pt x="897" y="395"/>
                  </a:lnTo>
                  <a:lnTo>
                    <a:pt x="899" y="392"/>
                  </a:lnTo>
                  <a:lnTo>
                    <a:pt x="899" y="392"/>
                  </a:lnTo>
                  <a:lnTo>
                    <a:pt x="899" y="390"/>
                  </a:lnTo>
                  <a:lnTo>
                    <a:pt x="897" y="390"/>
                  </a:lnTo>
                  <a:lnTo>
                    <a:pt x="894" y="387"/>
                  </a:lnTo>
                  <a:lnTo>
                    <a:pt x="894" y="387"/>
                  </a:lnTo>
                  <a:lnTo>
                    <a:pt x="897" y="387"/>
                  </a:lnTo>
                  <a:lnTo>
                    <a:pt x="897" y="385"/>
                  </a:lnTo>
                  <a:lnTo>
                    <a:pt x="899" y="385"/>
                  </a:lnTo>
                  <a:lnTo>
                    <a:pt x="899" y="387"/>
                  </a:lnTo>
                  <a:lnTo>
                    <a:pt x="899" y="387"/>
                  </a:lnTo>
                  <a:lnTo>
                    <a:pt x="899" y="390"/>
                  </a:lnTo>
                  <a:lnTo>
                    <a:pt x="902" y="390"/>
                  </a:lnTo>
                  <a:lnTo>
                    <a:pt x="902" y="387"/>
                  </a:lnTo>
                  <a:lnTo>
                    <a:pt x="905" y="387"/>
                  </a:lnTo>
                  <a:lnTo>
                    <a:pt x="905" y="387"/>
                  </a:lnTo>
                  <a:lnTo>
                    <a:pt x="905" y="382"/>
                  </a:lnTo>
                  <a:lnTo>
                    <a:pt x="905" y="382"/>
                  </a:lnTo>
                  <a:lnTo>
                    <a:pt x="905" y="379"/>
                  </a:lnTo>
                  <a:lnTo>
                    <a:pt x="907" y="382"/>
                  </a:lnTo>
                  <a:lnTo>
                    <a:pt x="907" y="379"/>
                  </a:lnTo>
                  <a:lnTo>
                    <a:pt x="907" y="379"/>
                  </a:lnTo>
                  <a:lnTo>
                    <a:pt x="907" y="379"/>
                  </a:lnTo>
                  <a:lnTo>
                    <a:pt x="905" y="377"/>
                  </a:lnTo>
                  <a:lnTo>
                    <a:pt x="905" y="377"/>
                  </a:lnTo>
                  <a:lnTo>
                    <a:pt x="905" y="377"/>
                  </a:lnTo>
                  <a:lnTo>
                    <a:pt x="907" y="377"/>
                  </a:lnTo>
                  <a:lnTo>
                    <a:pt x="910" y="377"/>
                  </a:lnTo>
                  <a:lnTo>
                    <a:pt x="910" y="374"/>
                  </a:lnTo>
                  <a:lnTo>
                    <a:pt x="915" y="374"/>
                  </a:lnTo>
                  <a:lnTo>
                    <a:pt x="917" y="372"/>
                  </a:lnTo>
                  <a:lnTo>
                    <a:pt x="922" y="369"/>
                  </a:lnTo>
                  <a:lnTo>
                    <a:pt x="925" y="369"/>
                  </a:lnTo>
                  <a:lnTo>
                    <a:pt x="927" y="369"/>
                  </a:lnTo>
                  <a:lnTo>
                    <a:pt x="927" y="369"/>
                  </a:lnTo>
                  <a:lnTo>
                    <a:pt x="927" y="369"/>
                  </a:lnTo>
                  <a:lnTo>
                    <a:pt x="930" y="372"/>
                  </a:lnTo>
                  <a:lnTo>
                    <a:pt x="930" y="372"/>
                  </a:lnTo>
                  <a:lnTo>
                    <a:pt x="930" y="372"/>
                  </a:lnTo>
                  <a:lnTo>
                    <a:pt x="933" y="369"/>
                  </a:lnTo>
                  <a:lnTo>
                    <a:pt x="933" y="369"/>
                  </a:lnTo>
                  <a:lnTo>
                    <a:pt x="933" y="367"/>
                  </a:lnTo>
                  <a:lnTo>
                    <a:pt x="933" y="367"/>
                  </a:lnTo>
                  <a:lnTo>
                    <a:pt x="930" y="367"/>
                  </a:lnTo>
                  <a:lnTo>
                    <a:pt x="933" y="364"/>
                  </a:lnTo>
                  <a:lnTo>
                    <a:pt x="933" y="364"/>
                  </a:lnTo>
                  <a:lnTo>
                    <a:pt x="930" y="359"/>
                  </a:lnTo>
                  <a:lnTo>
                    <a:pt x="933" y="359"/>
                  </a:lnTo>
                  <a:lnTo>
                    <a:pt x="930" y="357"/>
                  </a:lnTo>
                  <a:lnTo>
                    <a:pt x="927" y="359"/>
                  </a:lnTo>
                  <a:lnTo>
                    <a:pt x="925" y="359"/>
                  </a:lnTo>
                  <a:lnTo>
                    <a:pt x="922" y="357"/>
                  </a:lnTo>
                  <a:lnTo>
                    <a:pt x="920" y="357"/>
                  </a:lnTo>
                  <a:lnTo>
                    <a:pt x="920" y="357"/>
                  </a:lnTo>
                  <a:lnTo>
                    <a:pt x="920" y="357"/>
                  </a:lnTo>
                  <a:lnTo>
                    <a:pt x="917" y="357"/>
                  </a:lnTo>
                  <a:lnTo>
                    <a:pt x="915" y="357"/>
                  </a:lnTo>
                  <a:lnTo>
                    <a:pt x="912" y="357"/>
                  </a:lnTo>
                  <a:lnTo>
                    <a:pt x="910" y="357"/>
                  </a:lnTo>
                  <a:lnTo>
                    <a:pt x="907" y="354"/>
                  </a:lnTo>
                  <a:lnTo>
                    <a:pt x="902" y="354"/>
                  </a:lnTo>
                  <a:lnTo>
                    <a:pt x="899" y="351"/>
                  </a:lnTo>
                  <a:lnTo>
                    <a:pt x="892" y="349"/>
                  </a:lnTo>
                  <a:lnTo>
                    <a:pt x="887" y="351"/>
                  </a:lnTo>
                  <a:lnTo>
                    <a:pt x="884" y="351"/>
                  </a:lnTo>
                  <a:lnTo>
                    <a:pt x="884" y="351"/>
                  </a:lnTo>
                  <a:lnTo>
                    <a:pt x="884" y="351"/>
                  </a:lnTo>
                  <a:lnTo>
                    <a:pt x="887" y="354"/>
                  </a:lnTo>
                  <a:lnTo>
                    <a:pt x="884" y="357"/>
                  </a:lnTo>
                  <a:lnTo>
                    <a:pt x="879" y="359"/>
                  </a:lnTo>
                  <a:lnTo>
                    <a:pt x="882" y="362"/>
                  </a:lnTo>
                  <a:lnTo>
                    <a:pt x="882" y="362"/>
                  </a:lnTo>
                  <a:lnTo>
                    <a:pt x="879" y="364"/>
                  </a:lnTo>
                  <a:lnTo>
                    <a:pt x="874" y="364"/>
                  </a:lnTo>
                  <a:lnTo>
                    <a:pt x="871" y="364"/>
                  </a:lnTo>
                  <a:lnTo>
                    <a:pt x="866" y="364"/>
                  </a:lnTo>
                  <a:lnTo>
                    <a:pt x="864" y="362"/>
                  </a:lnTo>
                  <a:lnTo>
                    <a:pt x="864" y="359"/>
                  </a:lnTo>
                  <a:lnTo>
                    <a:pt x="861" y="357"/>
                  </a:lnTo>
                  <a:lnTo>
                    <a:pt x="861" y="354"/>
                  </a:lnTo>
                  <a:lnTo>
                    <a:pt x="861" y="351"/>
                  </a:lnTo>
                  <a:lnTo>
                    <a:pt x="861" y="351"/>
                  </a:lnTo>
                  <a:lnTo>
                    <a:pt x="861" y="351"/>
                  </a:lnTo>
                  <a:lnTo>
                    <a:pt x="861" y="349"/>
                  </a:lnTo>
                  <a:lnTo>
                    <a:pt x="861" y="349"/>
                  </a:lnTo>
                  <a:lnTo>
                    <a:pt x="859" y="346"/>
                  </a:lnTo>
                  <a:lnTo>
                    <a:pt x="856" y="344"/>
                  </a:lnTo>
                  <a:lnTo>
                    <a:pt x="854" y="341"/>
                  </a:lnTo>
                  <a:lnTo>
                    <a:pt x="851" y="341"/>
                  </a:lnTo>
                  <a:lnTo>
                    <a:pt x="848" y="341"/>
                  </a:lnTo>
                  <a:lnTo>
                    <a:pt x="838" y="341"/>
                  </a:lnTo>
                  <a:lnTo>
                    <a:pt x="831" y="336"/>
                  </a:lnTo>
                  <a:lnTo>
                    <a:pt x="828" y="334"/>
                  </a:lnTo>
                  <a:lnTo>
                    <a:pt x="826" y="331"/>
                  </a:lnTo>
                  <a:lnTo>
                    <a:pt x="823" y="329"/>
                  </a:lnTo>
                  <a:lnTo>
                    <a:pt x="823" y="326"/>
                  </a:lnTo>
                  <a:lnTo>
                    <a:pt x="823" y="318"/>
                  </a:lnTo>
                  <a:lnTo>
                    <a:pt x="826" y="318"/>
                  </a:lnTo>
                  <a:lnTo>
                    <a:pt x="828" y="316"/>
                  </a:lnTo>
                  <a:lnTo>
                    <a:pt x="831" y="318"/>
                  </a:lnTo>
                  <a:lnTo>
                    <a:pt x="833" y="321"/>
                  </a:lnTo>
                  <a:lnTo>
                    <a:pt x="838" y="318"/>
                  </a:lnTo>
                  <a:lnTo>
                    <a:pt x="838" y="318"/>
                  </a:lnTo>
                  <a:lnTo>
                    <a:pt x="841" y="318"/>
                  </a:lnTo>
                  <a:lnTo>
                    <a:pt x="843" y="318"/>
                  </a:lnTo>
                  <a:lnTo>
                    <a:pt x="846" y="318"/>
                  </a:lnTo>
                  <a:lnTo>
                    <a:pt x="846" y="318"/>
                  </a:lnTo>
                  <a:lnTo>
                    <a:pt x="846" y="316"/>
                  </a:lnTo>
                  <a:lnTo>
                    <a:pt x="848" y="313"/>
                  </a:lnTo>
                  <a:lnTo>
                    <a:pt x="848" y="308"/>
                  </a:lnTo>
                  <a:lnTo>
                    <a:pt x="848" y="306"/>
                  </a:lnTo>
                  <a:lnTo>
                    <a:pt x="848" y="306"/>
                  </a:lnTo>
                  <a:lnTo>
                    <a:pt x="851" y="301"/>
                  </a:lnTo>
                  <a:lnTo>
                    <a:pt x="854" y="298"/>
                  </a:lnTo>
                  <a:lnTo>
                    <a:pt x="861" y="296"/>
                  </a:lnTo>
                  <a:lnTo>
                    <a:pt x="864" y="296"/>
                  </a:lnTo>
                  <a:lnTo>
                    <a:pt x="864" y="288"/>
                  </a:lnTo>
                  <a:lnTo>
                    <a:pt x="866" y="285"/>
                  </a:lnTo>
                  <a:lnTo>
                    <a:pt x="866" y="285"/>
                  </a:lnTo>
                  <a:lnTo>
                    <a:pt x="866" y="283"/>
                  </a:lnTo>
                  <a:lnTo>
                    <a:pt x="869" y="283"/>
                  </a:lnTo>
                  <a:lnTo>
                    <a:pt x="869" y="280"/>
                  </a:lnTo>
                  <a:lnTo>
                    <a:pt x="876" y="280"/>
                  </a:lnTo>
                  <a:lnTo>
                    <a:pt x="876" y="283"/>
                  </a:lnTo>
                  <a:lnTo>
                    <a:pt x="879" y="283"/>
                  </a:lnTo>
                  <a:lnTo>
                    <a:pt x="879" y="280"/>
                  </a:lnTo>
                  <a:lnTo>
                    <a:pt x="879" y="280"/>
                  </a:lnTo>
                  <a:lnTo>
                    <a:pt x="879" y="278"/>
                  </a:lnTo>
                  <a:lnTo>
                    <a:pt x="882" y="283"/>
                  </a:lnTo>
                  <a:lnTo>
                    <a:pt x="889" y="285"/>
                  </a:lnTo>
                  <a:lnTo>
                    <a:pt x="892" y="288"/>
                  </a:lnTo>
                  <a:lnTo>
                    <a:pt x="892" y="288"/>
                  </a:lnTo>
                  <a:lnTo>
                    <a:pt x="894" y="290"/>
                  </a:lnTo>
                  <a:lnTo>
                    <a:pt x="894" y="293"/>
                  </a:lnTo>
                  <a:lnTo>
                    <a:pt x="894" y="293"/>
                  </a:lnTo>
                  <a:lnTo>
                    <a:pt x="892" y="298"/>
                  </a:lnTo>
                  <a:lnTo>
                    <a:pt x="892" y="301"/>
                  </a:lnTo>
                  <a:lnTo>
                    <a:pt x="889" y="301"/>
                  </a:lnTo>
                  <a:lnTo>
                    <a:pt x="887" y="303"/>
                  </a:lnTo>
                  <a:lnTo>
                    <a:pt x="887" y="303"/>
                  </a:lnTo>
                  <a:lnTo>
                    <a:pt x="887" y="306"/>
                  </a:lnTo>
                  <a:lnTo>
                    <a:pt x="889" y="308"/>
                  </a:lnTo>
                  <a:lnTo>
                    <a:pt x="887" y="308"/>
                  </a:lnTo>
                  <a:lnTo>
                    <a:pt x="887" y="308"/>
                  </a:lnTo>
                  <a:lnTo>
                    <a:pt x="884" y="308"/>
                  </a:lnTo>
                  <a:lnTo>
                    <a:pt x="884" y="311"/>
                  </a:lnTo>
                  <a:lnTo>
                    <a:pt x="887" y="311"/>
                  </a:lnTo>
                  <a:lnTo>
                    <a:pt x="887" y="313"/>
                  </a:lnTo>
                  <a:lnTo>
                    <a:pt x="889" y="313"/>
                  </a:lnTo>
                  <a:lnTo>
                    <a:pt x="892" y="313"/>
                  </a:lnTo>
                  <a:lnTo>
                    <a:pt x="897" y="313"/>
                  </a:lnTo>
                  <a:lnTo>
                    <a:pt x="897" y="313"/>
                  </a:lnTo>
                  <a:lnTo>
                    <a:pt x="897" y="313"/>
                  </a:lnTo>
                  <a:lnTo>
                    <a:pt x="894" y="316"/>
                  </a:lnTo>
                  <a:lnTo>
                    <a:pt x="894" y="316"/>
                  </a:lnTo>
                  <a:lnTo>
                    <a:pt x="897" y="318"/>
                  </a:lnTo>
                  <a:lnTo>
                    <a:pt x="892" y="323"/>
                  </a:lnTo>
                  <a:lnTo>
                    <a:pt x="889" y="323"/>
                  </a:lnTo>
                  <a:lnTo>
                    <a:pt x="889" y="323"/>
                  </a:lnTo>
                  <a:lnTo>
                    <a:pt x="889" y="326"/>
                  </a:lnTo>
                  <a:lnTo>
                    <a:pt x="892" y="329"/>
                  </a:lnTo>
                  <a:lnTo>
                    <a:pt x="892" y="329"/>
                  </a:lnTo>
                  <a:lnTo>
                    <a:pt x="892" y="326"/>
                  </a:lnTo>
                  <a:lnTo>
                    <a:pt x="894" y="326"/>
                  </a:lnTo>
                  <a:lnTo>
                    <a:pt x="897" y="326"/>
                  </a:lnTo>
                  <a:lnTo>
                    <a:pt x="899" y="323"/>
                  </a:lnTo>
                  <a:lnTo>
                    <a:pt x="899" y="323"/>
                  </a:lnTo>
                  <a:lnTo>
                    <a:pt x="897" y="323"/>
                  </a:lnTo>
                  <a:lnTo>
                    <a:pt x="897" y="321"/>
                  </a:lnTo>
                  <a:lnTo>
                    <a:pt x="899" y="321"/>
                  </a:lnTo>
                  <a:lnTo>
                    <a:pt x="899" y="321"/>
                  </a:lnTo>
                  <a:lnTo>
                    <a:pt x="902" y="321"/>
                  </a:lnTo>
                  <a:lnTo>
                    <a:pt x="902" y="321"/>
                  </a:lnTo>
                  <a:lnTo>
                    <a:pt x="902" y="321"/>
                  </a:lnTo>
                  <a:lnTo>
                    <a:pt x="905" y="318"/>
                  </a:lnTo>
                  <a:lnTo>
                    <a:pt x="905" y="318"/>
                  </a:lnTo>
                  <a:lnTo>
                    <a:pt x="905" y="316"/>
                  </a:lnTo>
                  <a:lnTo>
                    <a:pt x="907" y="313"/>
                  </a:lnTo>
                  <a:lnTo>
                    <a:pt x="912" y="308"/>
                  </a:lnTo>
                  <a:lnTo>
                    <a:pt x="915" y="308"/>
                  </a:lnTo>
                  <a:lnTo>
                    <a:pt x="917" y="306"/>
                  </a:lnTo>
                  <a:lnTo>
                    <a:pt x="920" y="306"/>
                  </a:lnTo>
                  <a:lnTo>
                    <a:pt x="920" y="306"/>
                  </a:lnTo>
                  <a:lnTo>
                    <a:pt x="922" y="303"/>
                  </a:lnTo>
                  <a:lnTo>
                    <a:pt x="925" y="303"/>
                  </a:lnTo>
                  <a:lnTo>
                    <a:pt x="925" y="303"/>
                  </a:lnTo>
                  <a:lnTo>
                    <a:pt x="925" y="303"/>
                  </a:lnTo>
                  <a:lnTo>
                    <a:pt x="925" y="301"/>
                  </a:lnTo>
                  <a:lnTo>
                    <a:pt x="927" y="303"/>
                  </a:lnTo>
                  <a:lnTo>
                    <a:pt x="935" y="303"/>
                  </a:lnTo>
                  <a:lnTo>
                    <a:pt x="938" y="301"/>
                  </a:lnTo>
                  <a:lnTo>
                    <a:pt x="938" y="301"/>
                  </a:lnTo>
                  <a:lnTo>
                    <a:pt x="938" y="301"/>
                  </a:lnTo>
                  <a:lnTo>
                    <a:pt x="938" y="298"/>
                  </a:lnTo>
                  <a:lnTo>
                    <a:pt x="938" y="296"/>
                  </a:lnTo>
                  <a:lnTo>
                    <a:pt x="940" y="293"/>
                  </a:lnTo>
                  <a:lnTo>
                    <a:pt x="940" y="293"/>
                  </a:lnTo>
                  <a:lnTo>
                    <a:pt x="943" y="290"/>
                  </a:lnTo>
                  <a:lnTo>
                    <a:pt x="943" y="290"/>
                  </a:lnTo>
                  <a:lnTo>
                    <a:pt x="945" y="290"/>
                  </a:lnTo>
                  <a:lnTo>
                    <a:pt x="945" y="290"/>
                  </a:lnTo>
                  <a:lnTo>
                    <a:pt x="945" y="288"/>
                  </a:lnTo>
                  <a:lnTo>
                    <a:pt x="945" y="288"/>
                  </a:lnTo>
                  <a:lnTo>
                    <a:pt x="945" y="288"/>
                  </a:lnTo>
                  <a:lnTo>
                    <a:pt x="948" y="285"/>
                  </a:lnTo>
                  <a:lnTo>
                    <a:pt x="950" y="285"/>
                  </a:lnTo>
                  <a:lnTo>
                    <a:pt x="950" y="283"/>
                  </a:lnTo>
                  <a:lnTo>
                    <a:pt x="953" y="283"/>
                  </a:lnTo>
                  <a:lnTo>
                    <a:pt x="953" y="283"/>
                  </a:lnTo>
                  <a:lnTo>
                    <a:pt x="953" y="283"/>
                  </a:lnTo>
                  <a:lnTo>
                    <a:pt x="953" y="283"/>
                  </a:lnTo>
                  <a:lnTo>
                    <a:pt x="953" y="280"/>
                  </a:lnTo>
                  <a:lnTo>
                    <a:pt x="953" y="280"/>
                  </a:lnTo>
                  <a:lnTo>
                    <a:pt x="955" y="280"/>
                  </a:lnTo>
                  <a:lnTo>
                    <a:pt x="958" y="280"/>
                  </a:lnTo>
                  <a:lnTo>
                    <a:pt x="958" y="278"/>
                  </a:lnTo>
                  <a:lnTo>
                    <a:pt x="958" y="278"/>
                  </a:lnTo>
                  <a:lnTo>
                    <a:pt x="958" y="278"/>
                  </a:lnTo>
                  <a:lnTo>
                    <a:pt x="961" y="275"/>
                  </a:lnTo>
                  <a:lnTo>
                    <a:pt x="961" y="273"/>
                  </a:lnTo>
                  <a:lnTo>
                    <a:pt x="961" y="270"/>
                  </a:lnTo>
                  <a:lnTo>
                    <a:pt x="961" y="270"/>
                  </a:lnTo>
                  <a:lnTo>
                    <a:pt x="961" y="270"/>
                  </a:lnTo>
                  <a:lnTo>
                    <a:pt x="961" y="270"/>
                  </a:lnTo>
                  <a:lnTo>
                    <a:pt x="961" y="268"/>
                  </a:lnTo>
                  <a:lnTo>
                    <a:pt x="961" y="265"/>
                  </a:lnTo>
                  <a:lnTo>
                    <a:pt x="961" y="265"/>
                  </a:lnTo>
                  <a:lnTo>
                    <a:pt x="961" y="262"/>
                  </a:lnTo>
                  <a:lnTo>
                    <a:pt x="961" y="262"/>
                  </a:lnTo>
                  <a:lnTo>
                    <a:pt x="963" y="262"/>
                  </a:lnTo>
                  <a:lnTo>
                    <a:pt x="963" y="262"/>
                  </a:lnTo>
                  <a:lnTo>
                    <a:pt x="963" y="262"/>
                  </a:lnTo>
                  <a:lnTo>
                    <a:pt x="963" y="260"/>
                  </a:lnTo>
                  <a:lnTo>
                    <a:pt x="966" y="262"/>
                  </a:lnTo>
                  <a:lnTo>
                    <a:pt x="966" y="262"/>
                  </a:lnTo>
                  <a:lnTo>
                    <a:pt x="968" y="262"/>
                  </a:lnTo>
                  <a:lnTo>
                    <a:pt x="968" y="265"/>
                  </a:lnTo>
                  <a:lnTo>
                    <a:pt x="971" y="265"/>
                  </a:lnTo>
                  <a:lnTo>
                    <a:pt x="971" y="265"/>
                  </a:lnTo>
                  <a:lnTo>
                    <a:pt x="973" y="268"/>
                  </a:lnTo>
                  <a:lnTo>
                    <a:pt x="973" y="268"/>
                  </a:lnTo>
                  <a:lnTo>
                    <a:pt x="978" y="268"/>
                  </a:lnTo>
                  <a:lnTo>
                    <a:pt x="978" y="268"/>
                  </a:lnTo>
                  <a:lnTo>
                    <a:pt x="981" y="268"/>
                  </a:lnTo>
                  <a:lnTo>
                    <a:pt x="984" y="268"/>
                  </a:lnTo>
                  <a:lnTo>
                    <a:pt x="986" y="268"/>
                  </a:lnTo>
                  <a:lnTo>
                    <a:pt x="989" y="268"/>
                  </a:lnTo>
                  <a:lnTo>
                    <a:pt x="989" y="270"/>
                  </a:lnTo>
                  <a:lnTo>
                    <a:pt x="991" y="270"/>
                  </a:lnTo>
                  <a:lnTo>
                    <a:pt x="991" y="270"/>
                  </a:lnTo>
                  <a:lnTo>
                    <a:pt x="991" y="268"/>
                  </a:lnTo>
                  <a:lnTo>
                    <a:pt x="991" y="268"/>
                  </a:lnTo>
                  <a:lnTo>
                    <a:pt x="991" y="265"/>
                  </a:lnTo>
                  <a:lnTo>
                    <a:pt x="991" y="265"/>
                  </a:lnTo>
                  <a:lnTo>
                    <a:pt x="991" y="265"/>
                  </a:lnTo>
                  <a:lnTo>
                    <a:pt x="989" y="262"/>
                  </a:lnTo>
                  <a:lnTo>
                    <a:pt x="986" y="262"/>
                  </a:lnTo>
                  <a:lnTo>
                    <a:pt x="986" y="260"/>
                  </a:lnTo>
                  <a:lnTo>
                    <a:pt x="984" y="260"/>
                  </a:lnTo>
                  <a:lnTo>
                    <a:pt x="984" y="257"/>
                  </a:lnTo>
                  <a:lnTo>
                    <a:pt x="984" y="257"/>
                  </a:lnTo>
                  <a:lnTo>
                    <a:pt x="984" y="257"/>
                  </a:lnTo>
                  <a:lnTo>
                    <a:pt x="984" y="255"/>
                  </a:lnTo>
                  <a:lnTo>
                    <a:pt x="986" y="255"/>
                  </a:lnTo>
                  <a:lnTo>
                    <a:pt x="989" y="255"/>
                  </a:lnTo>
                  <a:lnTo>
                    <a:pt x="994" y="255"/>
                  </a:lnTo>
                  <a:lnTo>
                    <a:pt x="996" y="255"/>
                  </a:lnTo>
                  <a:lnTo>
                    <a:pt x="996" y="255"/>
                  </a:lnTo>
                  <a:lnTo>
                    <a:pt x="999" y="255"/>
                  </a:lnTo>
                  <a:lnTo>
                    <a:pt x="999" y="255"/>
                  </a:lnTo>
                  <a:lnTo>
                    <a:pt x="999" y="252"/>
                  </a:lnTo>
                  <a:lnTo>
                    <a:pt x="1001" y="252"/>
                  </a:lnTo>
                  <a:lnTo>
                    <a:pt x="1001" y="252"/>
                  </a:lnTo>
                  <a:lnTo>
                    <a:pt x="1001" y="250"/>
                  </a:lnTo>
                  <a:lnTo>
                    <a:pt x="1001" y="250"/>
                  </a:lnTo>
                  <a:lnTo>
                    <a:pt x="1001" y="247"/>
                  </a:lnTo>
                  <a:lnTo>
                    <a:pt x="1001" y="247"/>
                  </a:lnTo>
                  <a:lnTo>
                    <a:pt x="1001" y="247"/>
                  </a:lnTo>
                  <a:lnTo>
                    <a:pt x="1004" y="247"/>
                  </a:lnTo>
                  <a:lnTo>
                    <a:pt x="1004" y="247"/>
                  </a:lnTo>
                  <a:lnTo>
                    <a:pt x="1006" y="247"/>
                  </a:lnTo>
                  <a:lnTo>
                    <a:pt x="1006" y="247"/>
                  </a:lnTo>
                  <a:lnTo>
                    <a:pt x="1006" y="247"/>
                  </a:lnTo>
                  <a:lnTo>
                    <a:pt x="1006" y="247"/>
                  </a:lnTo>
                  <a:lnTo>
                    <a:pt x="1006" y="247"/>
                  </a:lnTo>
                  <a:lnTo>
                    <a:pt x="1006" y="245"/>
                  </a:lnTo>
                  <a:lnTo>
                    <a:pt x="1006" y="242"/>
                  </a:lnTo>
                  <a:lnTo>
                    <a:pt x="1006" y="240"/>
                  </a:lnTo>
                  <a:lnTo>
                    <a:pt x="1004" y="240"/>
                  </a:lnTo>
                  <a:lnTo>
                    <a:pt x="1004" y="237"/>
                  </a:lnTo>
                  <a:lnTo>
                    <a:pt x="1004" y="234"/>
                  </a:lnTo>
                  <a:lnTo>
                    <a:pt x="1004" y="234"/>
                  </a:lnTo>
                  <a:lnTo>
                    <a:pt x="1006" y="234"/>
                  </a:lnTo>
                  <a:lnTo>
                    <a:pt x="1006" y="234"/>
                  </a:lnTo>
                  <a:lnTo>
                    <a:pt x="1006" y="234"/>
                  </a:lnTo>
                  <a:lnTo>
                    <a:pt x="1009" y="234"/>
                  </a:lnTo>
                  <a:lnTo>
                    <a:pt x="1009" y="234"/>
                  </a:lnTo>
                  <a:lnTo>
                    <a:pt x="1009" y="237"/>
                  </a:lnTo>
                  <a:lnTo>
                    <a:pt x="1012" y="237"/>
                  </a:lnTo>
                  <a:lnTo>
                    <a:pt x="1012" y="237"/>
                  </a:lnTo>
                  <a:lnTo>
                    <a:pt x="1014" y="240"/>
                  </a:lnTo>
                  <a:lnTo>
                    <a:pt x="1017" y="242"/>
                  </a:lnTo>
                  <a:lnTo>
                    <a:pt x="1017" y="242"/>
                  </a:lnTo>
                  <a:lnTo>
                    <a:pt x="1019" y="242"/>
                  </a:lnTo>
                  <a:lnTo>
                    <a:pt x="1022" y="245"/>
                  </a:lnTo>
                  <a:lnTo>
                    <a:pt x="1022" y="245"/>
                  </a:lnTo>
                  <a:lnTo>
                    <a:pt x="1022" y="245"/>
                  </a:lnTo>
                  <a:lnTo>
                    <a:pt x="1022" y="242"/>
                  </a:lnTo>
                  <a:lnTo>
                    <a:pt x="1019" y="242"/>
                  </a:lnTo>
                  <a:lnTo>
                    <a:pt x="1019" y="242"/>
                  </a:lnTo>
                  <a:lnTo>
                    <a:pt x="1017" y="240"/>
                  </a:lnTo>
                  <a:lnTo>
                    <a:pt x="1017" y="240"/>
                  </a:lnTo>
                  <a:lnTo>
                    <a:pt x="1017" y="240"/>
                  </a:lnTo>
                  <a:lnTo>
                    <a:pt x="1019" y="240"/>
                  </a:lnTo>
                  <a:lnTo>
                    <a:pt x="1019" y="240"/>
                  </a:lnTo>
                  <a:lnTo>
                    <a:pt x="1022" y="237"/>
                  </a:lnTo>
                  <a:lnTo>
                    <a:pt x="1022" y="237"/>
                  </a:lnTo>
                  <a:lnTo>
                    <a:pt x="1024" y="237"/>
                  </a:lnTo>
                  <a:lnTo>
                    <a:pt x="1024" y="237"/>
                  </a:lnTo>
                  <a:lnTo>
                    <a:pt x="1027" y="237"/>
                  </a:lnTo>
                  <a:lnTo>
                    <a:pt x="1027" y="237"/>
                  </a:lnTo>
                  <a:lnTo>
                    <a:pt x="1027" y="234"/>
                  </a:lnTo>
                  <a:lnTo>
                    <a:pt x="1027" y="234"/>
                  </a:lnTo>
                  <a:lnTo>
                    <a:pt x="1027" y="232"/>
                  </a:lnTo>
                  <a:lnTo>
                    <a:pt x="1027" y="232"/>
                  </a:lnTo>
                  <a:lnTo>
                    <a:pt x="1027" y="232"/>
                  </a:lnTo>
                  <a:lnTo>
                    <a:pt x="1024" y="229"/>
                  </a:lnTo>
                  <a:lnTo>
                    <a:pt x="1024" y="227"/>
                  </a:lnTo>
                  <a:lnTo>
                    <a:pt x="1024" y="227"/>
                  </a:lnTo>
                  <a:lnTo>
                    <a:pt x="1024" y="224"/>
                  </a:lnTo>
                  <a:lnTo>
                    <a:pt x="1024" y="224"/>
                  </a:lnTo>
                  <a:lnTo>
                    <a:pt x="1022" y="224"/>
                  </a:lnTo>
                  <a:lnTo>
                    <a:pt x="1022" y="224"/>
                  </a:lnTo>
                  <a:lnTo>
                    <a:pt x="1022" y="222"/>
                  </a:lnTo>
                  <a:lnTo>
                    <a:pt x="1019" y="219"/>
                  </a:lnTo>
                  <a:lnTo>
                    <a:pt x="1019" y="219"/>
                  </a:lnTo>
                  <a:lnTo>
                    <a:pt x="1017" y="212"/>
                  </a:lnTo>
                  <a:lnTo>
                    <a:pt x="1017" y="212"/>
                  </a:lnTo>
                  <a:lnTo>
                    <a:pt x="1009" y="201"/>
                  </a:lnTo>
                  <a:lnTo>
                    <a:pt x="1006" y="199"/>
                  </a:lnTo>
                  <a:lnTo>
                    <a:pt x="1004" y="199"/>
                  </a:lnTo>
                  <a:lnTo>
                    <a:pt x="1001" y="196"/>
                  </a:lnTo>
                  <a:lnTo>
                    <a:pt x="1001" y="194"/>
                  </a:lnTo>
                  <a:lnTo>
                    <a:pt x="1001" y="194"/>
                  </a:lnTo>
                  <a:lnTo>
                    <a:pt x="1001" y="194"/>
                  </a:lnTo>
                  <a:lnTo>
                    <a:pt x="1001" y="191"/>
                  </a:lnTo>
                  <a:lnTo>
                    <a:pt x="1004" y="191"/>
                  </a:lnTo>
                  <a:lnTo>
                    <a:pt x="1004" y="191"/>
                  </a:lnTo>
                  <a:lnTo>
                    <a:pt x="1006" y="191"/>
                  </a:lnTo>
                  <a:lnTo>
                    <a:pt x="1009" y="189"/>
                  </a:lnTo>
                  <a:lnTo>
                    <a:pt x="1009" y="186"/>
                  </a:lnTo>
                  <a:lnTo>
                    <a:pt x="1009" y="186"/>
                  </a:lnTo>
                  <a:lnTo>
                    <a:pt x="1009" y="184"/>
                  </a:lnTo>
                  <a:lnTo>
                    <a:pt x="1009" y="184"/>
                  </a:lnTo>
                  <a:lnTo>
                    <a:pt x="1009" y="181"/>
                  </a:lnTo>
                  <a:lnTo>
                    <a:pt x="1009" y="181"/>
                  </a:lnTo>
                  <a:lnTo>
                    <a:pt x="1012" y="184"/>
                  </a:lnTo>
                  <a:lnTo>
                    <a:pt x="1014" y="184"/>
                  </a:lnTo>
                  <a:lnTo>
                    <a:pt x="1017" y="184"/>
                  </a:lnTo>
                  <a:lnTo>
                    <a:pt x="1017" y="184"/>
                  </a:lnTo>
                  <a:lnTo>
                    <a:pt x="1022" y="186"/>
                  </a:lnTo>
                  <a:lnTo>
                    <a:pt x="1024" y="186"/>
                  </a:lnTo>
                  <a:lnTo>
                    <a:pt x="1027" y="186"/>
                  </a:lnTo>
                  <a:lnTo>
                    <a:pt x="1029" y="186"/>
                  </a:lnTo>
                  <a:lnTo>
                    <a:pt x="1032" y="186"/>
                  </a:lnTo>
                  <a:lnTo>
                    <a:pt x="1032" y="189"/>
                  </a:lnTo>
                  <a:lnTo>
                    <a:pt x="1034" y="189"/>
                  </a:lnTo>
                  <a:lnTo>
                    <a:pt x="1034" y="186"/>
                  </a:lnTo>
                  <a:lnTo>
                    <a:pt x="1034" y="186"/>
                  </a:lnTo>
                  <a:lnTo>
                    <a:pt x="1034" y="184"/>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344" name="Freeform 1963">
              <a:extLst>
                <a:ext uri="{FF2B5EF4-FFF2-40B4-BE49-F238E27FC236}">
                  <a16:creationId xmlns:a16="http://schemas.microsoft.com/office/drawing/2014/main" id="{9FE9F862-AD86-F34B-A613-B96D2F3CA249}"/>
                </a:ext>
              </a:extLst>
            </p:cNvPr>
            <p:cNvSpPr>
              <a:spLocks noEditPoints="1"/>
            </p:cNvSpPr>
            <p:nvPr/>
          </p:nvSpPr>
          <p:spPr bwMode="auto">
            <a:xfrm>
              <a:off x="2135931" y="4450517"/>
              <a:ext cx="1709345" cy="1411641"/>
            </a:xfrm>
            <a:custGeom>
              <a:avLst/>
              <a:gdLst>
                <a:gd name="T0" fmla="*/ 1042 w 1045"/>
                <a:gd name="T1" fmla="*/ 847 h 863"/>
                <a:gd name="T2" fmla="*/ 1030 w 1045"/>
                <a:gd name="T3" fmla="*/ 847 h 863"/>
                <a:gd name="T4" fmla="*/ 994 w 1045"/>
                <a:gd name="T5" fmla="*/ 850 h 863"/>
                <a:gd name="T6" fmla="*/ 1025 w 1045"/>
                <a:gd name="T7" fmla="*/ 857 h 863"/>
                <a:gd name="T8" fmla="*/ 976 w 1045"/>
                <a:gd name="T9" fmla="*/ 845 h 863"/>
                <a:gd name="T10" fmla="*/ 948 w 1045"/>
                <a:gd name="T11" fmla="*/ 827 h 863"/>
                <a:gd name="T12" fmla="*/ 915 w 1045"/>
                <a:gd name="T13" fmla="*/ 819 h 863"/>
                <a:gd name="T14" fmla="*/ 905 w 1045"/>
                <a:gd name="T15" fmla="*/ 807 h 863"/>
                <a:gd name="T16" fmla="*/ 900 w 1045"/>
                <a:gd name="T17" fmla="*/ 804 h 863"/>
                <a:gd name="T18" fmla="*/ 956 w 1045"/>
                <a:gd name="T19" fmla="*/ 794 h 863"/>
                <a:gd name="T20" fmla="*/ 968 w 1045"/>
                <a:gd name="T21" fmla="*/ 819 h 863"/>
                <a:gd name="T22" fmla="*/ 961 w 1045"/>
                <a:gd name="T23" fmla="*/ 817 h 863"/>
                <a:gd name="T24" fmla="*/ 948 w 1045"/>
                <a:gd name="T25" fmla="*/ 835 h 863"/>
                <a:gd name="T26" fmla="*/ 869 w 1045"/>
                <a:gd name="T27" fmla="*/ 776 h 863"/>
                <a:gd name="T28" fmla="*/ 856 w 1045"/>
                <a:gd name="T29" fmla="*/ 768 h 863"/>
                <a:gd name="T30" fmla="*/ 844 w 1045"/>
                <a:gd name="T31" fmla="*/ 743 h 863"/>
                <a:gd name="T32" fmla="*/ 849 w 1045"/>
                <a:gd name="T33" fmla="*/ 728 h 863"/>
                <a:gd name="T34" fmla="*/ 831 w 1045"/>
                <a:gd name="T35" fmla="*/ 728 h 863"/>
                <a:gd name="T36" fmla="*/ 821 w 1045"/>
                <a:gd name="T37" fmla="*/ 695 h 863"/>
                <a:gd name="T38" fmla="*/ 828 w 1045"/>
                <a:gd name="T39" fmla="*/ 692 h 863"/>
                <a:gd name="T40" fmla="*/ 808 w 1045"/>
                <a:gd name="T41" fmla="*/ 628 h 863"/>
                <a:gd name="T42" fmla="*/ 818 w 1045"/>
                <a:gd name="T43" fmla="*/ 613 h 863"/>
                <a:gd name="T44" fmla="*/ 800 w 1045"/>
                <a:gd name="T45" fmla="*/ 608 h 863"/>
                <a:gd name="T46" fmla="*/ 805 w 1045"/>
                <a:gd name="T47" fmla="*/ 595 h 863"/>
                <a:gd name="T48" fmla="*/ 800 w 1045"/>
                <a:gd name="T49" fmla="*/ 572 h 863"/>
                <a:gd name="T50" fmla="*/ 790 w 1045"/>
                <a:gd name="T51" fmla="*/ 575 h 863"/>
                <a:gd name="T52" fmla="*/ 951 w 1045"/>
                <a:gd name="T53" fmla="*/ 819 h 863"/>
                <a:gd name="T54" fmla="*/ 928 w 1045"/>
                <a:gd name="T55" fmla="*/ 779 h 863"/>
                <a:gd name="T56" fmla="*/ 879 w 1045"/>
                <a:gd name="T57" fmla="*/ 746 h 863"/>
                <a:gd name="T58" fmla="*/ 866 w 1045"/>
                <a:gd name="T59" fmla="*/ 684 h 863"/>
                <a:gd name="T60" fmla="*/ 861 w 1045"/>
                <a:gd name="T61" fmla="*/ 634 h 863"/>
                <a:gd name="T62" fmla="*/ 841 w 1045"/>
                <a:gd name="T63" fmla="*/ 593 h 863"/>
                <a:gd name="T64" fmla="*/ 821 w 1045"/>
                <a:gd name="T65" fmla="*/ 547 h 863"/>
                <a:gd name="T66" fmla="*/ 810 w 1045"/>
                <a:gd name="T67" fmla="*/ 501 h 863"/>
                <a:gd name="T68" fmla="*/ 798 w 1045"/>
                <a:gd name="T69" fmla="*/ 438 h 863"/>
                <a:gd name="T70" fmla="*/ 803 w 1045"/>
                <a:gd name="T71" fmla="*/ 392 h 863"/>
                <a:gd name="T72" fmla="*/ 787 w 1045"/>
                <a:gd name="T73" fmla="*/ 336 h 863"/>
                <a:gd name="T74" fmla="*/ 782 w 1045"/>
                <a:gd name="T75" fmla="*/ 293 h 863"/>
                <a:gd name="T76" fmla="*/ 790 w 1045"/>
                <a:gd name="T77" fmla="*/ 221 h 863"/>
                <a:gd name="T78" fmla="*/ 787 w 1045"/>
                <a:gd name="T79" fmla="*/ 168 h 863"/>
                <a:gd name="T80" fmla="*/ 790 w 1045"/>
                <a:gd name="T81" fmla="*/ 104 h 863"/>
                <a:gd name="T82" fmla="*/ 770 w 1045"/>
                <a:gd name="T83" fmla="*/ 51 h 863"/>
                <a:gd name="T84" fmla="*/ 744 w 1045"/>
                <a:gd name="T85" fmla="*/ 5 h 863"/>
                <a:gd name="T86" fmla="*/ 747 w 1045"/>
                <a:gd name="T87" fmla="*/ 122 h 863"/>
                <a:gd name="T88" fmla="*/ 749 w 1045"/>
                <a:gd name="T89" fmla="*/ 221 h 863"/>
                <a:gd name="T90" fmla="*/ 765 w 1045"/>
                <a:gd name="T91" fmla="*/ 354 h 863"/>
                <a:gd name="T92" fmla="*/ 759 w 1045"/>
                <a:gd name="T93" fmla="*/ 450 h 863"/>
                <a:gd name="T94" fmla="*/ 787 w 1045"/>
                <a:gd name="T95" fmla="*/ 550 h 863"/>
                <a:gd name="T96" fmla="*/ 810 w 1045"/>
                <a:gd name="T97" fmla="*/ 562 h 863"/>
                <a:gd name="T98" fmla="*/ 833 w 1045"/>
                <a:gd name="T99" fmla="*/ 631 h 863"/>
                <a:gd name="T100" fmla="*/ 823 w 1045"/>
                <a:gd name="T101" fmla="*/ 646 h 863"/>
                <a:gd name="T102" fmla="*/ 805 w 1045"/>
                <a:gd name="T103" fmla="*/ 649 h 863"/>
                <a:gd name="T104" fmla="*/ 821 w 1045"/>
                <a:gd name="T105" fmla="*/ 664 h 863"/>
                <a:gd name="T106" fmla="*/ 841 w 1045"/>
                <a:gd name="T107" fmla="*/ 684 h 863"/>
                <a:gd name="T108" fmla="*/ 849 w 1045"/>
                <a:gd name="T109" fmla="*/ 723 h 863"/>
                <a:gd name="T110" fmla="*/ 861 w 1045"/>
                <a:gd name="T111" fmla="*/ 735 h 863"/>
                <a:gd name="T112" fmla="*/ 854 w 1045"/>
                <a:gd name="T113" fmla="*/ 743 h 863"/>
                <a:gd name="T114" fmla="*/ 892 w 1045"/>
                <a:gd name="T115" fmla="*/ 779 h 863"/>
                <a:gd name="T116" fmla="*/ 910 w 1045"/>
                <a:gd name="T117" fmla="*/ 784 h 863"/>
                <a:gd name="T118" fmla="*/ 887 w 1045"/>
                <a:gd name="T119" fmla="*/ 791 h 863"/>
                <a:gd name="T120" fmla="*/ 917 w 1045"/>
                <a:gd name="T121" fmla="*/ 791 h 863"/>
                <a:gd name="T122" fmla="*/ 940 w 1045"/>
                <a:gd name="T123" fmla="*/ 796 h 8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45" h="863">
                  <a:moveTo>
                    <a:pt x="1035" y="860"/>
                  </a:moveTo>
                  <a:lnTo>
                    <a:pt x="1030" y="860"/>
                  </a:lnTo>
                  <a:lnTo>
                    <a:pt x="1030" y="860"/>
                  </a:lnTo>
                  <a:lnTo>
                    <a:pt x="1030" y="860"/>
                  </a:lnTo>
                  <a:lnTo>
                    <a:pt x="1030" y="863"/>
                  </a:lnTo>
                  <a:lnTo>
                    <a:pt x="1030" y="863"/>
                  </a:lnTo>
                  <a:lnTo>
                    <a:pt x="1032" y="863"/>
                  </a:lnTo>
                  <a:lnTo>
                    <a:pt x="1035" y="863"/>
                  </a:lnTo>
                  <a:lnTo>
                    <a:pt x="1035" y="863"/>
                  </a:lnTo>
                  <a:lnTo>
                    <a:pt x="1035" y="863"/>
                  </a:lnTo>
                  <a:lnTo>
                    <a:pt x="1035" y="863"/>
                  </a:lnTo>
                  <a:lnTo>
                    <a:pt x="1035" y="860"/>
                  </a:lnTo>
                  <a:lnTo>
                    <a:pt x="1035" y="860"/>
                  </a:lnTo>
                  <a:close/>
                  <a:moveTo>
                    <a:pt x="1037" y="857"/>
                  </a:moveTo>
                  <a:lnTo>
                    <a:pt x="1035" y="857"/>
                  </a:lnTo>
                  <a:lnTo>
                    <a:pt x="1035" y="855"/>
                  </a:lnTo>
                  <a:lnTo>
                    <a:pt x="1035" y="855"/>
                  </a:lnTo>
                  <a:lnTo>
                    <a:pt x="1035" y="857"/>
                  </a:lnTo>
                  <a:lnTo>
                    <a:pt x="1032" y="857"/>
                  </a:lnTo>
                  <a:lnTo>
                    <a:pt x="1032" y="857"/>
                  </a:lnTo>
                  <a:lnTo>
                    <a:pt x="1032" y="857"/>
                  </a:lnTo>
                  <a:lnTo>
                    <a:pt x="1032" y="860"/>
                  </a:lnTo>
                  <a:lnTo>
                    <a:pt x="1037" y="860"/>
                  </a:lnTo>
                  <a:lnTo>
                    <a:pt x="1037" y="860"/>
                  </a:lnTo>
                  <a:lnTo>
                    <a:pt x="1037" y="860"/>
                  </a:lnTo>
                  <a:lnTo>
                    <a:pt x="1037" y="860"/>
                  </a:lnTo>
                  <a:lnTo>
                    <a:pt x="1037" y="860"/>
                  </a:lnTo>
                  <a:lnTo>
                    <a:pt x="1037" y="860"/>
                  </a:lnTo>
                  <a:lnTo>
                    <a:pt x="1037" y="857"/>
                  </a:lnTo>
                  <a:close/>
                  <a:moveTo>
                    <a:pt x="1045" y="847"/>
                  </a:moveTo>
                  <a:lnTo>
                    <a:pt x="1045" y="847"/>
                  </a:lnTo>
                  <a:lnTo>
                    <a:pt x="1042" y="847"/>
                  </a:lnTo>
                  <a:lnTo>
                    <a:pt x="1042" y="847"/>
                  </a:lnTo>
                  <a:lnTo>
                    <a:pt x="1042" y="847"/>
                  </a:lnTo>
                  <a:lnTo>
                    <a:pt x="1042" y="850"/>
                  </a:lnTo>
                  <a:lnTo>
                    <a:pt x="1045" y="850"/>
                  </a:lnTo>
                  <a:lnTo>
                    <a:pt x="1045" y="850"/>
                  </a:lnTo>
                  <a:lnTo>
                    <a:pt x="1045" y="847"/>
                  </a:lnTo>
                  <a:lnTo>
                    <a:pt x="1045" y="847"/>
                  </a:lnTo>
                  <a:lnTo>
                    <a:pt x="1045" y="847"/>
                  </a:lnTo>
                  <a:close/>
                  <a:moveTo>
                    <a:pt x="1030" y="850"/>
                  </a:moveTo>
                  <a:lnTo>
                    <a:pt x="1032" y="850"/>
                  </a:lnTo>
                  <a:lnTo>
                    <a:pt x="1032" y="850"/>
                  </a:lnTo>
                  <a:lnTo>
                    <a:pt x="1035" y="847"/>
                  </a:lnTo>
                  <a:lnTo>
                    <a:pt x="1035" y="847"/>
                  </a:lnTo>
                  <a:lnTo>
                    <a:pt x="1035" y="847"/>
                  </a:lnTo>
                  <a:lnTo>
                    <a:pt x="1035" y="845"/>
                  </a:lnTo>
                  <a:lnTo>
                    <a:pt x="1032" y="845"/>
                  </a:lnTo>
                  <a:lnTo>
                    <a:pt x="1030" y="842"/>
                  </a:lnTo>
                  <a:lnTo>
                    <a:pt x="1027" y="842"/>
                  </a:lnTo>
                  <a:lnTo>
                    <a:pt x="1019" y="842"/>
                  </a:lnTo>
                  <a:lnTo>
                    <a:pt x="1014" y="842"/>
                  </a:lnTo>
                  <a:lnTo>
                    <a:pt x="1012" y="842"/>
                  </a:lnTo>
                  <a:lnTo>
                    <a:pt x="1014" y="845"/>
                  </a:lnTo>
                  <a:lnTo>
                    <a:pt x="1017" y="847"/>
                  </a:lnTo>
                  <a:lnTo>
                    <a:pt x="1019" y="847"/>
                  </a:lnTo>
                  <a:lnTo>
                    <a:pt x="1019" y="847"/>
                  </a:lnTo>
                  <a:lnTo>
                    <a:pt x="1025" y="850"/>
                  </a:lnTo>
                  <a:lnTo>
                    <a:pt x="1025" y="850"/>
                  </a:lnTo>
                  <a:lnTo>
                    <a:pt x="1025" y="847"/>
                  </a:lnTo>
                  <a:lnTo>
                    <a:pt x="1027" y="847"/>
                  </a:lnTo>
                  <a:lnTo>
                    <a:pt x="1027" y="847"/>
                  </a:lnTo>
                  <a:lnTo>
                    <a:pt x="1027" y="847"/>
                  </a:lnTo>
                  <a:lnTo>
                    <a:pt x="1030" y="847"/>
                  </a:lnTo>
                  <a:lnTo>
                    <a:pt x="1030" y="847"/>
                  </a:lnTo>
                  <a:lnTo>
                    <a:pt x="1030" y="847"/>
                  </a:lnTo>
                  <a:lnTo>
                    <a:pt x="1030" y="850"/>
                  </a:lnTo>
                  <a:close/>
                  <a:moveTo>
                    <a:pt x="1022" y="855"/>
                  </a:moveTo>
                  <a:lnTo>
                    <a:pt x="1022" y="852"/>
                  </a:lnTo>
                  <a:lnTo>
                    <a:pt x="1019" y="852"/>
                  </a:lnTo>
                  <a:lnTo>
                    <a:pt x="1017" y="850"/>
                  </a:lnTo>
                  <a:lnTo>
                    <a:pt x="1017" y="850"/>
                  </a:lnTo>
                  <a:lnTo>
                    <a:pt x="1017" y="850"/>
                  </a:lnTo>
                  <a:lnTo>
                    <a:pt x="1017" y="850"/>
                  </a:lnTo>
                  <a:lnTo>
                    <a:pt x="1014" y="847"/>
                  </a:lnTo>
                  <a:lnTo>
                    <a:pt x="1014" y="847"/>
                  </a:lnTo>
                  <a:lnTo>
                    <a:pt x="1009" y="847"/>
                  </a:lnTo>
                  <a:lnTo>
                    <a:pt x="1009" y="847"/>
                  </a:lnTo>
                  <a:lnTo>
                    <a:pt x="1009" y="845"/>
                  </a:lnTo>
                  <a:lnTo>
                    <a:pt x="1012" y="845"/>
                  </a:lnTo>
                  <a:lnTo>
                    <a:pt x="1009" y="842"/>
                  </a:lnTo>
                  <a:lnTo>
                    <a:pt x="1007" y="842"/>
                  </a:lnTo>
                  <a:lnTo>
                    <a:pt x="1002" y="845"/>
                  </a:lnTo>
                  <a:lnTo>
                    <a:pt x="989" y="842"/>
                  </a:lnTo>
                  <a:lnTo>
                    <a:pt x="984" y="840"/>
                  </a:lnTo>
                  <a:lnTo>
                    <a:pt x="986" y="845"/>
                  </a:lnTo>
                  <a:lnTo>
                    <a:pt x="986" y="845"/>
                  </a:lnTo>
                  <a:lnTo>
                    <a:pt x="986" y="847"/>
                  </a:lnTo>
                  <a:lnTo>
                    <a:pt x="986" y="847"/>
                  </a:lnTo>
                  <a:lnTo>
                    <a:pt x="989" y="847"/>
                  </a:lnTo>
                  <a:lnTo>
                    <a:pt x="989" y="847"/>
                  </a:lnTo>
                  <a:lnTo>
                    <a:pt x="989" y="847"/>
                  </a:lnTo>
                  <a:lnTo>
                    <a:pt x="989" y="847"/>
                  </a:lnTo>
                  <a:lnTo>
                    <a:pt x="991" y="847"/>
                  </a:lnTo>
                  <a:lnTo>
                    <a:pt x="991" y="847"/>
                  </a:lnTo>
                  <a:lnTo>
                    <a:pt x="994" y="850"/>
                  </a:lnTo>
                  <a:lnTo>
                    <a:pt x="994" y="850"/>
                  </a:lnTo>
                  <a:lnTo>
                    <a:pt x="994" y="850"/>
                  </a:lnTo>
                  <a:lnTo>
                    <a:pt x="996" y="852"/>
                  </a:lnTo>
                  <a:lnTo>
                    <a:pt x="999" y="852"/>
                  </a:lnTo>
                  <a:lnTo>
                    <a:pt x="999" y="852"/>
                  </a:lnTo>
                  <a:lnTo>
                    <a:pt x="1002" y="852"/>
                  </a:lnTo>
                  <a:lnTo>
                    <a:pt x="1004" y="852"/>
                  </a:lnTo>
                  <a:lnTo>
                    <a:pt x="999" y="852"/>
                  </a:lnTo>
                  <a:lnTo>
                    <a:pt x="999" y="850"/>
                  </a:lnTo>
                  <a:lnTo>
                    <a:pt x="999" y="850"/>
                  </a:lnTo>
                  <a:lnTo>
                    <a:pt x="999" y="847"/>
                  </a:lnTo>
                  <a:lnTo>
                    <a:pt x="999" y="847"/>
                  </a:lnTo>
                  <a:lnTo>
                    <a:pt x="1002" y="847"/>
                  </a:lnTo>
                  <a:lnTo>
                    <a:pt x="1004" y="847"/>
                  </a:lnTo>
                  <a:lnTo>
                    <a:pt x="1004" y="850"/>
                  </a:lnTo>
                  <a:lnTo>
                    <a:pt x="1004" y="847"/>
                  </a:lnTo>
                  <a:lnTo>
                    <a:pt x="1007" y="847"/>
                  </a:lnTo>
                  <a:lnTo>
                    <a:pt x="1007" y="850"/>
                  </a:lnTo>
                  <a:lnTo>
                    <a:pt x="1007" y="850"/>
                  </a:lnTo>
                  <a:lnTo>
                    <a:pt x="1007" y="852"/>
                  </a:lnTo>
                  <a:lnTo>
                    <a:pt x="1007" y="852"/>
                  </a:lnTo>
                  <a:lnTo>
                    <a:pt x="1009" y="852"/>
                  </a:lnTo>
                  <a:lnTo>
                    <a:pt x="1009" y="852"/>
                  </a:lnTo>
                  <a:lnTo>
                    <a:pt x="1012" y="852"/>
                  </a:lnTo>
                  <a:lnTo>
                    <a:pt x="1012" y="852"/>
                  </a:lnTo>
                  <a:lnTo>
                    <a:pt x="1014" y="855"/>
                  </a:lnTo>
                  <a:lnTo>
                    <a:pt x="1017" y="855"/>
                  </a:lnTo>
                  <a:lnTo>
                    <a:pt x="1019" y="855"/>
                  </a:lnTo>
                  <a:lnTo>
                    <a:pt x="1019" y="855"/>
                  </a:lnTo>
                  <a:lnTo>
                    <a:pt x="1022" y="857"/>
                  </a:lnTo>
                  <a:lnTo>
                    <a:pt x="1025" y="857"/>
                  </a:lnTo>
                  <a:lnTo>
                    <a:pt x="1025" y="857"/>
                  </a:lnTo>
                  <a:lnTo>
                    <a:pt x="1025" y="855"/>
                  </a:lnTo>
                  <a:lnTo>
                    <a:pt x="1022" y="855"/>
                  </a:lnTo>
                  <a:close/>
                  <a:moveTo>
                    <a:pt x="976" y="842"/>
                  </a:moveTo>
                  <a:lnTo>
                    <a:pt x="974" y="842"/>
                  </a:lnTo>
                  <a:lnTo>
                    <a:pt x="974" y="842"/>
                  </a:lnTo>
                  <a:lnTo>
                    <a:pt x="971" y="842"/>
                  </a:lnTo>
                  <a:lnTo>
                    <a:pt x="971" y="842"/>
                  </a:lnTo>
                  <a:lnTo>
                    <a:pt x="968" y="842"/>
                  </a:lnTo>
                  <a:lnTo>
                    <a:pt x="968" y="842"/>
                  </a:lnTo>
                  <a:lnTo>
                    <a:pt x="966" y="840"/>
                  </a:lnTo>
                  <a:lnTo>
                    <a:pt x="963" y="840"/>
                  </a:lnTo>
                  <a:lnTo>
                    <a:pt x="963" y="840"/>
                  </a:lnTo>
                  <a:lnTo>
                    <a:pt x="958" y="840"/>
                  </a:lnTo>
                  <a:lnTo>
                    <a:pt x="958" y="840"/>
                  </a:lnTo>
                  <a:lnTo>
                    <a:pt x="958" y="840"/>
                  </a:lnTo>
                  <a:lnTo>
                    <a:pt x="958" y="842"/>
                  </a:lnTo>
                  <a:lnTo>
                    <a:pt x="961" y="842"/>
                  </a:lnTo>
                  <a:lnTo>
                    <a:pt x="961" y="842"/>
                  </a:lnTo>
                  <a:lnTo>
                    <a:pt x="961" y="842"/>
                  </a:lnTo>
                  <a:lnTo>
                    <a:pt x="961" y="842"/>
                  </a:lnTo>
                  <a:lnTo>
                    <a:pt x="961" y="840"/>
                  </a:lnTo>
                  <a:lnTo>
                    <a:pt x="963" y="842"/>
                  </a:lnTo>
                  <a:lnTo>
                    <a:pt x="963" y="842"/>
                  </a:lnTo>
                  <a:lnTo>
                    <a:pt x="968" y="842"/>
                  </a:lnTo>
                  <a:lnTo>
                    <a:pt x="968" y="842"/>
                  </a:lnTo>
                  <a:lnTo>
                    <a:pt x="968" y="845"/>
                  </a:lnTo>
                  <a:lnTo>
                    <a:pt x="968" y="845"/>
                  </a:lnTo>
                  <a:lnTo>
                    <a:pt x="971" y="845"/>
                  </a:lnTo>
                  <a:lnTo>
                    <a:pt x="974" y="845"/>
                  </a:lnTo>
                  <a:lnTo>
                    <a:pt x="974" y="845"/>
                  </a:lnTo>
                  <a:lnTo>
                    <a:pt x="974" y="845"/>
                  </a:lnTo>
                  <a:lnTo>
                    <a:pt x="976" y="845"/>
                  </a:lnTo>
                  <a:lnTo>
                    <a:pt x="976" y="845"/>
                  </a:lnTo>
                  <a:lnTo>
                    <a:pt x="976" y="847"/>
                  </a:lnTo>
                  <a:lnTo>
                    <a:pt x="976" y="847"/>
                  </a:lnTo>
                  <a:lnTo>
                    <a:pt x="979" y="847"/>
                  </a:lnTo>
                  <a:lnTo>
                    <a:pt x="979" y="847"/>
                  </a:lnTo>
                  <a:lnTo>
                    <a:pt x="981" y="845"/>
                  </a:lnTo>
                  <a:lnTo>
                    <a:pt x="981" y="845"/>
                  </a:lnTo>
                  <a:lnTo>
                    <a:pt x="976" y="842"/>
                  </a:lnTo>
                  <a:close/>
                  <a:moveTo>
                    <a:pt x="948" y="827"/>
                  </a:moveTo>
                  <a:lnTo>
                    <a:pt x="951" y="827"/>
                  </a:lnTo>
                  <a:lnTo>
                    <a:pt x="953" y="829"/>
                  </a:lnTo>
                  <a:lnTo>
                    <a:pt x="958" y="829"/>
                  </a:lnTo>
                  <a:lnTo>
                    <a:pt x="958" y="829"/>
                  </a:lnTo>
                  <a:lnTo>
                    <a:pt x="958" y="829"/>
                  </a:lnTo>
                  <a:lnTo>
                    <a:pt x="958" y="827"/>
                  </a:lnTo>
                  <a:lnTo>
                    <a:pt x="958" y="827"/>
                  </a:lnTo>
                  <a:lnTo>
                    <a:pt x="958" y="824"/>
                  </a:lnTo>
                  <a:lnTo>
                    <a:pt x="956" y="824"/>
                  </a:lnTo>
                  <a:lnTo>
                    <a:pt x="953" y="824"/>
                  </a:lnTo>
                  <a:lnTo>
                    <a:pt x="951" y="822"/>
                  </a:lnTo>
                  <a:lnTo>
                    <a:pt x="946" y="822"/>
                  </a:lnTo>
                  <a:lnTo>
                    <a:pt x="943" y="819"/>
                  </a:lnTo>
                  <a:lnTo>
                    <a:pt x="938" y="819"/>
                  </a:lnTo>
                  <a:lnTo>
                    <a:pt x="938" y="819"/>
                  </a:lnTo>
                  <a:lnTo>
                    <a:pt x="935" y="819"/>
                  </a:lnTo>
                  <a:lnTo>
                    <a:pt x="935" y="822"/>
                  </a:lnTo>
                  <a:lnTo>
                    <a:pt x="938" y="824"/>
                  </a:lnTo>
                  <a:lnTo>
                    <a:pt x="943" y="827"/>
                  </a:lnTo>
                  <a:lnTo>
                    <a:pt x="943" y="829"/>
                  </a:lnTo>
                  <a:lnTo>
                    <a:pt x="946" y="827"/>
                  </a:lnTo>
                  <a:lnTo>
                    <a:pt x="946" y="827"/>
                  </a:lnTo>
                  <a:lnTo>
                    <a:pt x="948" y="827"/>
                  </a:lnTo>
                  <a:lnTo>
                    <a:pt x="948" y="827"/>
                  </a:lnTo>
                  <a:close/>
                  <a:moveTo>
                    <a:pt x="933" y="817"/>
                  </a:moveTo>
                  <a:lnTo>
                    <a:pt x="930" y="817"/>
                  </a:lnTo>
                  <a:lnTo>
                    <a:pt x="930" y="814"/>
                  </a:lnTo>
                  <a:lnTo>
                    <a:pt x="928" y="814"/>
                  </a:lnTo>
                  <a:lnTo>
                    <a:pt x="925" y="812"/>
                  </a:lnTo>
                  <a:lnTo>
                    <a:pt x="923" y="812"/>
                  </a:lnTo>
                  <a:lnTo>
                    <a:pt x="920" y="812"/>
                  </a:lnTo>
                  <a:lnTo>
                    <a:pt x="920" y="812"/>
                  </a:lnTo>
                  <a:lnTo>
                    <a:pt x="920" y="812"/>
                  </a:lnTo>
                  <a:lnTo>
                    <a:pt x="917" y="812"/>
                  </a:lnTo>
                  <a:lnTo>
                    <a:pt x="917" y="809"/>
                  </a:lnTo>
                  <a:lnTo>
                    <a:pt x="915" y="809"/>
                  </a:lnTo>
                  <a:lnTo>
                    <a:pt x="915" y="809"/>
                  </a:lnTo>
                  <a:lnTo>
                    <a:pt x="915" y="809"/>
                  </a:lnTo>
                  <a:lnTo>
                    <a:pt x="915" y="809"/>
                  </a:lnTo>
                  <a:lnTo>
                    <a:pt x="912" y="809"/>
                  </a:lnTo>
                  <a:lnTo>
                    <a:pt x="915" y="809"/>
                  </a:lnTo>
                  <a:lnTo>
                    <a:pt x="915" y="812"/>
                  </a:lnTo>
                  <a:lnTo>
                    <a:pt x="910" y="809"/>
                  </a:lnTo>
                  <a:lnTo>
                    <a:pt x="907" y="809"/>
                  </a:lnTo>
                  <a:lnTo>
                    <a:pt x="905" y="809"/>
                  </a:lnTo>
                  <a:lnTo>
                    <a:pt x="902" y="812"/>
                  </a:lnTo>
                  <a:lnTo>
                    <a:pt x="907" y="812"/>
                  </a:lnTo>
                  <a:lnTo>
                    <a:pt x="907" y="814"/>
                  </a:lnTo>
                  <a:lnTo>
                    <a:pt x="910" y="817"/>
                  </a:lnTo>
                  <a:lnTo>
                    <a:pt x="912" y="817"/>
                  </a:lnTo>
                  <a:lnTo>
                    <a:pt x="912" y="817"/>
                  </a:lnTo>
                  <a:lnTo>
                    <a:pt x="912" y="817"/>
                  </a:lnTo>
                  <a:lnTo>
                    <a:pt x="915" y="817"/>
                  </a:lnTo>
                  <a:lnTo>
                    <a:pt x="915" y="819"/>
                  </a:lnTo>
                  <a:lnTo>
                    <a:pt x="915" y="819"/>
                  </a:lnTo>
                  <a:lnTo>
                    <a:pt x="917" y="819"/>
                  </a:lnTo>
                  <a:lnTo>
                    <a:pt x="917" y="822"/>
                  </a:lnTo>
                  <a:lnTo>
                    <a:pt x="920" y="822"/>
                  </a:lnTo>
                  <a:lnTo>
                    <a:pt x="920" y="822"/>
                  </a:lnTo>
                  <a:lnTo>
                    <a:pt x="920" y="822"/>
                  </a:lnTo>
                  <a:lnTo>
                    <a:pt x="920" y="819"/>
                  </a:lnTo>
                  <a:lnTo>
                    <a:pt x="920" y="819"/>
                  </a:lnTo>
                  <a:lnTo>
                    <a:pt x="920" y="819"/>
                  </a:lnTo>
                  <a:lnTo>
                    <a:pt x="920" y="819"/>
                  </a:lnTo>
                  <a:lnTo>
                    <a:pt x="923" y="819"/>
                  </a:lnTo>
                  <a:lnTo>
                    <a:pt x="923" y="819"/>
                  </a:lnTo>
                  <a:lnTo>
                    <a:pt x="925" y="819"/>
                  </a:lnTo>
                  <a:lnTo>
                    <a:pt x="925" y="822"/>
                  </a:lnTo>
                  <a:lnTo>
                    <a:pt x="925" y="822"/>
                  </a:lnTo>
                  <a:lnTo>
                    <a:pt x="923" y="824"/>
                  </a:lnTo>
                  <a:lnTo>
                    <a:pt x="925" y="824"/>
                  </a:lnTo>
                  <a:lnTo>
                    <a:pt x="925" y="824"/>
                  </a:lnTo>
                  <a:lnTo>
                    <a:pt x="925" y="824"/>
                  </a:lnTo>
                  <a:lnTo>
                    <a:pt x="925" y="824"/>
                  </a:lnTo>
                  <a:lnTo>
                    <a:pt x="928" y="824"/>
                  </a:lnTo>
                  <a:lnTo>
                    <a:pt x="928" y="824"/>
                  </a:lnTo>
                  <a:lnTo>
                    <a:pt x="930" y="824"/>
                  </a:lnTo>
                  <a:lnTo>
                    <a:pt x="930" y="822"/>
                  </a:lnTo>
                  <a:lnTo>
                    <a:pt x="933" y="822"/>
                  </a:lnTo>
                  <a:lnTo>
                    <a:pt x="933" y="822"/>
                  </a:lnTo>
                  <a:lnTo>
                    <a:pt x="933" y="819"/>
                  </a:lnTo>
                  <a:lnTo>
                    <a:pt x="933" y="819"/>
                  </a:lnTo>
                  <a:lnTo>
                    <a:pt x="933" y="817"/>
                  </a:lnTo>
                  <a:close/>
                  <a:moveTo>
                    <a:pt x="902" y="807"/>
                  </a:moveTo>
                  <a:lnTo>
                    <a:pt x="905" y="807"/>
                  </a:lnTo>
                  <a:lnTo>
                    <a:pt x="905" y="807"/>
                  </a:lnTo>
                  <a:lnTo>
                    <a:pt x="905" y="807"/>
                  </a:lnTo>
                  <a:lnTo>
                    <a:pt x="907" y="807"/>
                  </a:lnTo>
                  <a:lnTo>
                    <a:pt x="910" y="809"/>
                  </a:lnTo>
                  <a:lnTo>
                    <a:pt x="912" y="807"/>
                  </a:lnTo>
                  <a:lnTo>
                    <a:pt x="912" y="807"/>
                  </a:lnTo>
                  <a:lnTo>
                    <a:pt x="907" y="807"/>
                  </a:lnTo>
                  <a:lnTo>
                    <a:pt x="907" y="807"/>
                  </a:lnTo>
                  <a:lnTo>
                    <a:pt x="905" y="804"/>
                  </a:lnTo>
                  <a:lnTo>
                    <a:pt x="905" y="804"/>
                  </a:lnTo>
                  <a:lnTo>
                    <a:pt x="902" y="804"/>
                  </a:lnTo>
                  <a:lnTo>
                    <a:pt x="900" y="801"/>
                  </a:lnTo>
                  <a:lnTo>
                    <a:pt x="897" y="801"/>
                  </a:lnTo>
                  <a:lnTo>
                    <a:pt x="895" y="801"/>
                  </a:lnTo>
                  <a:lnTo>
                    <a:pt x="892" y="799"/>
                  </a:lnTo>
                  <a:lnTo>
                    <a:pt x="889" y="799"/>
                  </a:lnTo>
                  <a:lnTo>
                    <a:pt x="887" y="799"/>
                  </a:lnTo>
                  <a:lnTo>
                    <a:pt x="887" y="799"/>
                  </a:lnTo>
                  <a:lnTo>
                    <a:pt x="887" y="799"/>
                  </a:lnTo>
                  <a:lnTo>
                    <a:pt x="884" y="796"/>
                  </a:lnTo>
                  <a:lnTo>
                    <a:pt x="884" y="796"/>
                  </a:lnTo>
                  <a:lnTo>
                    <a:pt x="882" y="796"/>
                  </a:lnTo>
                  <a:lnTo>
                    <a:pt x="879" y="794"/>
                  </a:lnTo>
                  <a:lnTo>
                    <a:pt x="879" y="794"/>
                  </a:lnTo>
                  <a:lnTo>
                    <a:pt x="879" y="796"/>
                  </a:lnTo>
                  <a:lnTo>
                    <a:pt x="882" y="796"/>
                  </a:lnTo>
                  <a:lnTo>
                    <a:pt x="884" y="799"/>
                  </a:lnTo>
                  <a:lnTo>
                    <a:pt x="887" y="799"/>
                  </a:lnTo>
                  <a:lnTo>
                    <a:pt x="889" y="801"/>
                  </a:lnTo>
                  <a:lnTo>
                    <a:pt x="889" y="801"/>
                  </a:lnTo>
                  <a:lnTo>
                    <a:pt x="892" y="801"/>
                  </a:lnTo>
                  <a:lnTo>
                    <a:pt x="895" y="801"/>
                  </a:lnTo>
                  <a:lnTo>
                    <a:pt x="897" y="801"/>
                  </a:lnTo>
                  <a:lnTo>
                    <a:pt x="900" y="804"/>
                  </a:lnTo>
                  <a:lnTo>
                    <a:pt x="902" y="804"/>
                  </a:lnTo>
                  <a:lnTo>
                    <a:pt x="902" y="807"/>
                  </a:lnTo>
                  <a:close/>
                  <a:moveTo>
                    <a:pt x="986" y="837"/>
                  </a:moveTo>
                  <a:lnTo>
                    <a:pt x="989" y="840"/>
                  </a:lnTo>
                  <a:lnTo>
                    <a:pt x="991" y="840"/>
                  </a:lnTo>
                  <a:lnTo>
                    <a:pt x="999" y="842"/>
                  </a:lnTo>
                  <a:lnTo>
                    <a:pt x="1002" y="840"/>
                  </a:lnTo>
                  <a:lnTo>
                    <a:pt x="1002" y="840"/>
                  </a:lnTo>
                  <a:lnTo>
                    <a:pt x="1004" y="840"/>
                  </a:lnTo>
                  <a:lnTo>
                    <a:pt x="1002" y="835"/>
                  </a:lnTo>
                  <a:lnTo>
                    <a:pt x="999" y="829"/>
                  </a:lnTo>
                  <a:lnTo>
                    <a:pt x="996" y="822"/>
                  </a:lnTo>
                  <a:lnTo>
                    <a:pt x="994" y="817"/>
                  </a:lnTo>
                  <a:lnTo>
                    <a:pt x="991" y="812"/>
                  </a:lnTo>
                  <a:lnTo>
                    <a:pt x="989" y="807"/>
                  </a:lnTo>
                  <a:lnTo>
                    <a:pt x="984" y="799"/>
                  </a:lnTo>
                  <a:lnTo>
                    <a:pt x="981" y="794"/>
                  </a:lnTo>
                  <a:lnTo>
                    <a:pt x="981" y="791"/>
                  </a:lnTo>
                  <a:lnTo>
                    <a:pt x="979" y="791"/>
                  </a:lnTo>
                  <a:lnTo>
                    <a:pt x="979" y="791"/>
                  </a:lnTo>
                  <a:lnTo>
                    <a:pt x="974" y="794"/>
                  </a:lnTo>
                  <a:lnTo>
                    <a:pt x="974" y="794"/>
                  </a:lnTo>
                  <a:lnTo>
                    <a:pt x="966" y="789"/>
                  </a:lnTo>
                  <a:lnTo>
                    <a:pt x="966" y="789"/>
                  </a:lnTo>
                  <a:lnTo>
                    <a:pt x="963" y="791"/>
                  </a:lnTo>
                  <a:lnTo>
                    <a:pt x="963" y="791"/>
                  </a:lnTo>
                  <a:lnTo>
                    <a:pt x="963" y="794"/>
                  </a:lnTo>
                  <a:lnTo>
                    <a:pt x="961" y="796"/>
                  </a:lnTo>
                  <a:lnTo>
                    <a:pt x="961" y="796"/>
                  </a:lnTo>
                  <a:lnTo>
                    <a:pt x="961" y="796"/>
                  </a:lnTo>
                  <a:lnTo>
                    <a:pt x="958" y="796"/>
                  </a:lnTo>
                  <a:lnTo>
                    <a:pt x="956" y="794"/>
                  </a:lnTo>
                  <a:lnTo>
                    <a:pt x="953" y="794"/>
                  </a:lnTo>
                  <a:lnTo>
                    <a:pt x="953" y="794"/>
                  </a:lnTo>
                  <a:lnTo>
                    <a:pt x="956" y="796"/>
                  </a:lnTo>
                  <a:lnTo>
                    <a:pt x="956" y="796"/>
                  </a:lnTo>
                  <a:lnTo>
                    <a:pt x="958" y="799"/>
                  </a:lnTo>
                  <a:lnTo>
                    <a:pt x="958" y="799"/>
                  </a:lnTo>
                  <a:lnTo>
                    <a:pt x="958" y="799"/>
                  </a:lnTo>
                  <a:lnTo>
                    <a:pt x="958" y="799"/>
                  </a:lnTo>
                  <a:lnTo>
                    <a:pt x="958" y="799"/>
                  </a:lnTo>
                  <a:lnTo>
                    <a:pt x="958" y="801"/>
                  </a:lnTo>
                  <a:lnTo>
                    <a:pt x="956" y="799"/>
                  </a:lnTo>
                  <a:lnTo>
                    <a:pt x="956" y="801"/>
                  </a:lnTo>
                  <a:lnTo>
                    <a:pt x="956" y="801"/>
                  </a:lnTo>
                  <a:lnTo>
                    <a:pt x="956" y="804"/>
                  </a:lnTo>
                  <a:lnTo>
                    <a:pt x="956" y="804"/>
                  </a:lnTo>
                  <a:lnTo>
                    <a:pt x="958" y="807"/>
                  </a:lnTo>
                  <a:lnTo>
                    <a:pt x="961" y="809"/>
                  </a:lnTo>
                  <a:lnTo>
                    <a:pt x="963" y="809"/>
                  </a:lnTo>
                  <a:lnTo>
                    <a:pt x="966" y="809"/>
                  </a:lnTo>
                  <a:lnTo>
                    <a:pt x="968" y="807"/>
                  </a:lnTo>
                  <a:lnTo>
                    <a:pt x="968" y="807"/>
                  </a:lnTo>
                  <a:lnTo>
                    <a:pt x="971" y="807"/>
                  </a:lnTo>
                  <a:lnTo>
                    <a:pt x="974" y="807"/>
                  </a:lnTo>
                  <a:lnTo>
                    <a:pt x="976" y="809"/>
                  </a:lnTo>
                  <a:lnTo>
                    <a:pt x="976" y="809"/>
                  </a:lnTo>
                  <a:lnTo>
                    <a:pt x="979" y="812"/>
                  </a:lnTo>
                  <a:lnTo>
                    <a:pt x="979" y="812"/>
                  </a:lnTo>
                  <a:lnTo>
                    <a:pt x="974" y="814"/>
                  </a:lnTo>
                  <a:lnTo>
                    <a:pt x="971" y="814"/>
                  </a:lnTo>
                  <a:lnTo>
                    <a:pt x="968" y="817"/>
                  </a:lnTo>
                  <a:lnTo>
                    <a:pt x="968" y="817"/>
                  </a:lnTo>
                  <a:lnTo>
                    <a:pt x="968" y="819"/>
                  </a:lnTo>
                  <a:lnTo>
                    <a:pt x="971" y="822"/>
                  </a:lnTo>
                  <a:lnTo>
                    <a:pt x="974" y="824"/>
                  </a:lnTo>
                  <a:lnTo>
                    <a:pt x="991" y="829"/>
                  </a:lnTo>
                  <a:lnTo>
                    <a:pt x="994" y="829"/>
                  </a:lnTo>
                  <a:lnTo>
                    <a:pt x="994" y="832"/>
                  </a:lnTo>
                  <a:lnTo>
                    <a:pt x="994" y="832"/>
                  </a:lnTo>
                  <a:lnTo>
                    <a:pt x="994" y="832"/>
                  </a:lnTo>
                  <a:lnTo>
                    <a:pt x="991" y="832"/>
                  </a:lnTo>
                  <a:lnTo>
                    <a:pt x="991" y="835"/>
                  </a:lnTo>
                  <a:lnTo>
                    <a:pt x="991" y="835"/>
                  </a:lnTo>
                  <a:lnTo>
                    <a:pt x="991" y="835"/>
                  </a:lnTo>
                  <a:lnTo>
                    <a:pt x="989" y="832"/>
                  </a:lnTo>
                  <a:lnTo>
                    <a:pt x="989" y="832"/>
                  </a:lnTo>
                  <a:lnTo>
                    <a:pt x="986" y="829"/>
                  </a:lnTo>
                  <a:lnTo>
                    <a:pt x="984" y="829"/>
                  </a:lnTo>
                  <a:lnTo>
                    <a:pt x="981" y="829"/>
                  </a:lnTo>
                  <a:lnTo>
                    <a:pt x="979" y="829"/>
                  </a:lnTo>
                  <a:lnTo>
                    <a:pt x="979" y="829"/>
                  </a:lnTo>
                  <a:lnTo>
                    <a:pt x="976" y="829"/>
                  </a:lnTo>
                  <a:lnTo>
                    <a:pt x="974" y="829"/>
                  </a:lnTo>
                  <a:lnTo>
                    <a:pt x="974" y="829"/>
                  </a:lnTo>
                  <a:lnTo>
                    <a:pt x="971" y="827"/>
                  </a:lnTo>
                  <a:lnTo>
                    <a:pt x="968" y="824"/>
                  </a:lnTo>
                  <a:lnTo>
                    <a:pt x="966" y="824"/>
                  </a:lnTo>
                  <a:lnTo>
                    <a:pt x="963" y="822"/>
                  </a:lnTo>
                  <a:lnTo>
                    <a:pt x="966" y="822"/>
                  </a:lnTo>
                  <a:lnTo>
                    <a:pt x="966" y="822"/>
                  </a:lnTo>
                  <a:lnTo>
                    <a:pt x="963" y="819"/>
                  </a:lnTo>
                  <a:lnTo>
                    <a:pt x="961" y="814"/>
                  </a:lnTo>
                  <a:lnTo>
                    <a:pt x="958" y="814"/>
                  </a:lnTo>
                  <a:lnTo>
                    <a:pt x="958" y="817"/>
                  </a:lnTo>
                  <a:lnTo>
                    <a:pt x="961" y="817"/>
                  </a:lnTo>
                  <a:lnTo>
                    <a:pt x="956" y="819"/>
                  </a:lnTo>
                  <a:lnTo>
                    <a:pt x="958" y="822"/>
                  </a:lnTo>
                  <a:lnTo>
                    <a:pt x="958" y="824"/>
                  </a:lnTo>
                  <a:lnTo>
                    <a:pt x="963" y="827"/>
                  </a:lnTo>
                  <a:lnTo>
                    <a:pt x="966" y="827"/>
                  </a:lnTo>
                  <a:lnTo>
                    <a:pt x="966" y="829"/>
                  </a:lnTo>
                  <a:lnTo>
                    <a:pt x="968" y="829"/>
                  </a:lnTo>
                  <a:lnTo>
                    <a:pt x="974" y="832"/>
                  </a:lnTo>
                  <a:lnTo>
                    <a:pt x="974" y="832"/>
                  </a:lnTo>
                  <a:lnTo>
                    <a:pt x="971" y="832"/>
                  </a:lnTo>
                  <a:lnTo>
                    <a:pt x="968" y="832"/>
                  </a:lnTo>
                  <a:lnTo>
                    <a:pt x="966" y="832"/>
                  </a:lnTo>
                  <a:lnTo>
                    <a:pt x="966" y="829"/>
                  </a:lnTo>
                  <a:lnTo>
                    <a:pt x="966" y="829"/>
                  </a:lnTo>
                  <a:lnTo>
                    <a:pt x="963" y="829"/>
                  </a:lnTo>
                  <a:lnTo>
                    <a:pt x="961" y="829"/>
                  </a:lnTo>
                  <a:lnTo>
                    <a:pt x="961" y="829"/>
                  </a:lnTo>
                  <a:lnTo>
                    <a:pt x="961" y="829"/>
                  </a:lnTo>
                  <a:lnTo>
                    <a:pt x="961" y="832"/>
                  </a:lnTo>
                  <a:lnTo>
                    <a:pt x="961" y="832"/>
                  </a:lnTo>
                  <a:lnTo>
                    <a:pt x="958" y="832"/>
                  </a:lnTo>
                  <a:lnTo>
                    <a:pt x="953" y="829"/>
                  </a:lnTo>
                  <a:lnTo>
                    <a:pt x="953" y="829"/>
                  </a:lnTo>
                  <a:lnTo>
                    <a:pt x="953" y="832"/>
                  </a:lnTo>
                  <a:lnTo>
                    <a:pt x="953" y="832"/>
                  </a:lnTo>
                  <a:lnTo>
                    <a:pt x="951" y="832"/>
                  </a:lnTo>
                  <a:lnTo>
                    <a:pt x="948" y="832"/>
                  </a:lnTo>
                  <a:lnTo>
                    <a:pt x="948" y="832"/>
                  </a:lnTo>
                  <a:lnTo>
                    <a:pt x="948" y="832"/>
                  </a:lnTo>
                  <a:lnTo>
                    <a:pt x="946" y="832"/>
                  </a:lnTo>
                  <a:lnTo>
                    <a:pt x="946" y="832"/>
                  </a:lnTo>
                  <a:lnTo>
                    <a:pt x="948" y="835"/>
                  </a:lnTo>
                  <a:lnTo>
                    <a:pt x="948" y="835"/>
                  </a:lnTo>
                  <a:lnTo>
                    <a:pt x="956" y="835"/>
                  </a:lnTo>
                  <a:lnTo>
                    <a:pt x="961" y="837"/>
                  </a:lnTo>
                  <a:lnTo>
                    <a:pt x="966" y="837"/>
                  </a:lnTo>
                  <a:lnTo>
                    <a:pt x="968" y="837"/>
                  </a:lnTo>
                  <a:lnTo>
                    <a:pt x="974" y="840"/>
                  </a:lnTo>
                  <a:lnTo>
                    <a:pt x="976" y="837"/>
                  </a:lnTo>
                  <a:lnTo>
                    <a:pt x="976" y="837"/>
                  </a:lnTo>
                  <a:lnTo>
                    <a:pt x="979" y="840"/>
                  </a:lnTo>
                  <a:lnTo>
                    <a:pt x="979" y="840"/>
                  </a:lnTo>
                  <a:lnTo>
                    <a:pt x="981" y="840"/>
                  </a:lnTo>
                  <a:lnTo>
                    <a:pt x="984" y="840"/>
                  </a:lnTo>
                  <a:lnTo>
                    <a:pt x="984" y="837"/>
                  </a:lnTo>
                  <a:lnTo>
                    <a:pt x="986" y="837"/>
                  </a:lnTo>
                  <a:close/>
                  <a:moveTo>
                    <a:pt x="879" y="776"/>
                  </a:moveTo>
                  <a:lnTo>
                    <a:pt x="879" y="776"/>
                  </a:lnTo>
                  <a:lnTo>
                    <a:pt x="879" y="776"/>
                  </a:lnTo>
                  <a:lnTo>
                    <a:pt x="879" y="776"/>
                  </a:lnTo>
                  <a:lnTo>
                    <a:pt x="877" y="773"/>
                  </a:lnTo>
                  <a:lnTo>
                    <a:pt x="874" y="773"/>
                  </a:lnTo>
                  <a:lnTo>
                    <a:pt x="874" y="773"/>
                  </a:lnTo>
                  <a:lnTo>
                    <a:pt x="872" y="773"/>
                  </a:lnTo>
                  <a:lnTo>
                    <a:pt x="872" y="773"/>
                  </a:lnTo>
                  <a:lnTo>
                    <a:pt x="872" y="773"/>
                  </a:lnTo>
                  <a:lnTo>
                    <a:pt x="874" y="776"/>
                  </a:lnTo>
                  <a:lnTo>
                    <a:pt x="874" y="776"/>
                  </a:lnTo>
                  <a:lnTo>
                    <a:pt x="877" y="776"/>
                  </a:lnTo>
                  <a:lnTo>
                    <a:pt x="879" y="776"/>
                  </a:lnTo>
                  <a:lnTo>
                    <a:pt x="879" y="776"/>
                  </a:lnTo>
                  <a:close/>
                  <a:moveTo>
                    <a:pt x="874" y="779"/>
                  </a:moveTo>
                  <a:lnTo>
                    <a:pt x="872" y="779"/>
                  </a:lnTo>
                  <a:lnTo>
                    <a:pt x="869" y="776"/>
                  </a:lnTo>
                  <a:lnTo>
                    <a:pt x="866" y="776"/>
                  </a:lnTo>
                  <a:lnTo>
                    <a:pt x="866" y="773"/>
                  </a:lnTo>
                  <a:lnTo>
                    <a:pt x="864" y="771"/>
                  </a:lnTo>
                  <a:lnTo>
                    <a:pt x="864" y="771"/>
                  </a:lnTo>
                  <a:lnTo>
                    <a:pt x="864" y="773"/>
                  </a:lnTo>
                  <a:lnTo>
                    <a:pt x="861" y="773"/>
                  </a:lnTo>
                  <a:lnTo>
                    <a:pt x="861" y="773"/>
                  </a:lnTo>
                  <a:lnTo>
                    <a:pt x="864" y="776"/>
                  </a:lnTo>
                  <a:lnTo>
                    <a:pt x="866" y="779"/>
                  </a:lnTo>
                  <a:lnTo>
                    <a:pt x="869" y="781"/>
                  </a:lnTo>
                  <a:lnTo>
                    <a:pt x="872" y="784"/>
                  </a:lnTo>
                  <a:lnTo>
                    <a:pt x="874" y="784"/>
                  </a:lnTo>
                  <a:lnTo>
                    <a:pt x="872" y="781"/>
                  </a:lnTo>
                  <a:lnTo>
                    <a:pt x="874" y="779"/>
                  </a:lnTo>
                  <a:close/>
                  <a:moveTo>
                    <a:pt x="861" y="766"/>
                  </a:moveTo>
                  <a:lnTo>
                    <a:pt x="864" y="766"/>
                  </a:lnTo>
                  <a:lnTo>
                    <a:pt x="864" y="766"/>
                  </a:lnTo>
                  <a:lnTo>
                    <a:pt x="864" y="766"/>
                  </a:lnTo>
                  <a:lnTo>
                    <a:pt x="866" y="766"/>
                  </a:lnTo>
                  <a:lnTo>
                    <a:pt x="866" y="763"/>
                  </a:lnTo>
                  <a:lnTo>
                    <a:pt x="864" y="763"/>
                  </a:lnTo>
                  <a:lnTo>
                    <a:pt x="864" y="761"/>
                  </a:lnTo>
                  <a:lnTo>
                    <a:pt x="864" y="761"/>
                  </a:lnTo>
                  <a:lnTo>
                    <a:pt x="861" y="761"/>
                  </a:lnTo>
                  <a:lnTo>
                    <a:pt x="859" y="763"/>
                  </a:lnTo>
                  <a:lnTo>
                    <a:pt x="856" y="763"/>
                  </a:lnTo>
                  <a:lnTo>
                    <a:pt x="854" y="763"/>
                  </a:lnTo>
                  <a:lnTo>
                    <a:pt x="854" y="766"/>
                  </a:lnTo>
                  <a:lnTo>
                    <a:pt x="854" y="766"/>
                  </a:lnTo>
                  <a:lnTo>
                    <a:pt x="854" y="768"/>
                  </a:lnTo>
                  <a:lnTo>
                    <a:pt x="856" y="771"/>
                  </a:lnTo>
                  <a:lnTo>
                    <a:pt x="856" y="768"/>
                  </a:lnTo>
                  <a:lnTo>
                    <a:pt x="856" y="768"/>
                  </a:lnTo>
                  <a:lnTo>
                    <a:pt x="856" y="766"/>
                  </a:lnTo>
                  <a:lnTo>
                    <a:pt x="859" y="766"/>
                  </a:lnTo>
                  <a:lnTo>
                    <a:pt x="861" y="766"/>
                  </a:lnTo>
                  <a:lnTo>
                    <a:pt x="861" y="766"/>
                  </a:lnTo>
                  <a:close/>
                  <a:moveTo>
                    <a:pt x="844" y="746"/>
                  </a:moveTo>
                  <a:lnTo>
                    <a:pt x="841" y="746"/>
                  </a:lnTo>
                  <a:lnTo>
                    <a:pt x="841" y="746"/>
                  </a:lnTo>
                  <a:lnTo>
                    <a:pt x="841" y="748"/>
                  </a:lnTo>
                  <a:lnTo>
                    <a:pt x="841" y="748"/>
                  </a:lnTo>
                  <a:lnTo>
                    <a:pt x="844" y="751"/>
                  </a:lnTo>
                  <a:lnTo>
                    <a:pt x="844" y="751"/>
                  </a:lnTo>
                  <a:lnTo>
                    <a:pt x="844" y="751"/>
                  </a:lnTo>
                  <a:lnTo>
                    <a:pt x="846" y="751"/>
                  </a:lnTo>
                  <a:lnTo>
                    <a:pt x="846" y="751"/>
                  </a:lnTo>
                  <a:lnTo>
                    <a:pt x="844" y="748"/>
                  </a:lnTo>
                  <a:lnTo>
                    <a:pt x="846" y="748"/>
                  </a:lnTo>
                  <a:lnTo>
                    <a:pt x="846" y="748"/>
                  </a:lnTo>
                  <a:lnTo>
                    <a:pt x="846" y="746"/>
                  </a:lnTo>
                  <a:lnTo>
                    <a:pt x="846" y="746"/>
                  </a:lnTo>
                  <a:lnTo>
                    <a:pt x="844" y="746"/>
                  </a:lnTo>
                  <a:close/>
                  <a:moveTo>
                    <a:pt x="844" y="735"/>
                  </a:moveTo>
                  <a:lnTo>
                    <a:pt x="841" y="735"/>
                  </a:lnTo>
                  <a:lnTo>
                    <a:pt x="841" y="735"/>
                  </a:lnTo>
                  <a:lnTo>
                    <a:pt x="838" y="735"/>
                  </a:lnTo>
                  <a:lnTo>
                    <a:pt x="838" y="738"/>
                  </a:lnTo>
                  <a:lnTo>
                    <a:pt x="838" y="738"/>
                  </a:lnTo>
                  <a:lnTo>
                    <a:pt x="838" y="738"/>
                  </a:lnTo>
                  <a:lnTo>
                    <a:pt x="838" y="740"/>
                  </a:lnTo>
                  <a:lnTo>
                    <a:pt x="838" y="743"/>
                  </a:lnTo>
                  <a:lnTo>
                    <a:pt x="841" y="743"/>
                  </a:lnTo>
                  <a:lnTo>
                    <a:pt x="844" y="743"/>
                  </a:lnTo>
                  <a:lnTo>
                    <a:pt x="846" y="740"/>
                  </a:lnTo>
                  <a:lnTo>
                    <a:pt x="846" y="740"/>
                  </a:lnTo>
                  <a:lnTo>
                    <a:pt x="849" y="738"/>
                  </a:lnTo>
                  <a:lnTo>
                    <a:pt x="846" y="738"/>
                  </a:lnTo>
                  <a:lnTo>
                    <a:pt x="844" y="735"/>
                  </a:lnTo>
                  <a:close/>
                  <a:moveTo>
                    <a:pt x="831" y="710"/>
                  </a:moveTo>
                  <a:lnTo>
                    <a:pt x="828" y="710"/>
                  </a:lnTo>
                  <a:lnTo>
                    <a:pt x="828" y="707"/>
                  </a:lnTo>
                  <a:lnTo>
                    <a:pt x="826" y="707"/>
                  </a:lnTo>
                  <a:lnTo>
                    <a:pt x="826" y="707"/>
                  </a:lnTo>
                  <a:lnTo>
                    <a:pt x="823" y="710"/>
                  </a:lnTo>
                  <a:lnTo>
                    <a:pt x="821" y="710"/>
                  </a:lnTo>
                  <a:lnTo>
                    <a:pt x="821" y="710"/>
                  </a:lnTo>
                  <a:lnTo>
                    <a:pt x="821" y="710"/>
                  </a:lnTo>
                  <a:lnTo>
                    <a:pt x="821" y="712"/>
                  </a:lnTo>
                  <a:lnTo>
                    <a:pt x="823" y="712"/>
                  </a:lnTo>
                  <a:lnTo>
                    <a:pt x="823" y="712"/>
                  </a:lnTo>
                  <a:lnTo>
                    <a:pt x="823" y="712"/>
                  </a:lnTo>
                  <a:lnTo>
                    <a:pt x="826" y="715"/>
                  </a:lnTo>
                  <a:lnTo>
                    <a:pt x="823" y="715"/>
                  </a:lnTo>
                  <a:lnTo>
                    <a:pt x="823" y="718"/>
                  </a:lnTo>
                  <a:lnTo>
                    <a:pt x="826" y="718"/>
                  </a:lnTo>
                  <a:lnTo>
                    <a:pt x="826" y="718"/>
                  </a:lnTo>
                  <a:lnTo>
                    <a:pt x="828" y="715"/>
                  </a:lnTo>
                  <a:lnTo>
                    <a:pt x="828" y="715"/>
                  </a:lnTo>
                  <a:lnTo>
                    <a:pt x="831" y="710"/>
                  </a:lnTo>
                  <a:close/>
                  <a:moveTo>
                    <a:pt x="851" y="735"/>
                  </a:moveTo>
                  <a:lnTo>
                    <a:pt x="851" y="733"/>
                  </a:lnTo>
                  <a:lnTo>
                    <a:pt x="851" y="730"/>
                  </a:lnTo>
                  <a:lnTo>
                    <a:pt x="851" y="730"/>
                  </a:lnTo>
                  <a:lnTo>
                    <a:pt x="849" y="728"/>
                  </a:lnTo>
                  <a:lnTo>
                    <a:pt x="849" y="728"/>
                  </a:lnTo>
                  <a:lnTo>
                    <a:pt x="849" y="728"/>
                  </a:lnTo>
                  <a:lnTo>
                    <a:pt x="849" y="725"/>
                  </a:lnTo>
                  <a:lnTo>
                    <a:pt x="846" y="723"/>
                  </a:lnTo>
                  <a:lnTo>
                    <a:pt x="846" y="720"/>
                  </a:lnTo>
                  <a:lnTo>
                    <a:pt x="844" y="715"/>
                  </a:lnTo>
                  <a:lnTo>
                    <a:pt x="838" y="707"/>
                  </a:lnTo>
                  <a:lnTo>
                    <a:pt x="838" y="707"/>
                  </a:lnTo>
                  <a:lnTo>
                    <a:pt x="838" y="707"/>
                  </a:lnTo>
                  <a:lnTo>
                    <a:pt x="836" y="707"/>
                  </a:lnTo>
                  <a:lnTo>
                    <a:pt x="833" y="705"/>
                  </a:lnTo>
                  <a:lnTo>
                    <a:pt x="833" y="705"/>
                  </a:lnTo>
                  <a:lnTo>
                    <a:pt x="831" y="707"/>
                  </a:lnTo>
                  <a:lnTo>
                    <a:pt x="831" y="707"/>
                  </a:lnTo>
                  <a:lnTo>
                    <a:pt x="831" y="707"/>
                  </a:lnTo>
                  <a:lnTo>
                    <a:pt x="833" y="710"/>
                  </a:lnTo>
                  <a:lnTo>
                    <a:pt x="833" y="712"/>
                  </a:lnTo>
                  <a:lnTo>
                    <a:pt x="833" y="712"/>
                  </a:lnTo>
                  <a:lnTo>
                    <a:pt x="831" y="715"/>
                  </a:lnTo>
                  <a:lnTo>
                    <a:pt x="831" y="715"/>
                  </a:lnTo>
                  <a:lnTo>
                    <a:pt x="833" y="718"/>
                  </a:lnTo>
                  <a:lnTo>
                    <a:pt x="833" y="718"/>
                  </a:lnTo>
                  <a:lnTo>
                    <a:pt x="833" y="720"/>
                  </a:lnTo>
                  <a:lnTo>
                    <a:pt x="831" y="718"/>
                  </a:lnTo>
                  <a:lnTo>
                    <a:pt x="831" y="718"/>
                  </a:lnTo>
                  <a:lnTo>
                    <a:pt x="828" y="720"/>
                  </a:lnTo>
                  <a:lnTo>
                    <a:pt x="828" y="720"/>
                  </a:lnTo>
                  <a:lnTo>
                    <a:pt x="831" y="723"/>
                  </a:lnTo>
                  <a:lnTo>
                    <a:pt x="831" y="723"/>
                  </a:lnTo>
                  <a:lnTo>
                    <a:pt x="833" y="723"/>
                  </a:lnTo>
                  <a:lnTo>
                    <a:pt x="833" y="725"/>
                  </a:lnTo>
                  <a:lnTo>
                    <a:pt x="831" y="725"/>
                  </a:lnTo>
                  <a:lnTo>
                    <a:pt x="831" y="728"/>
                  </a:lnTo>
                  <a:lnTo>
                    <a:pt x="831" y="730"/>
                  </a:lnTo>
                  <a:lnTo>
                    <a:pt x="833" y="730"/>
                  </a:lnTo>
                  <a:lnTo>
                    <a:pt x="836" y="730"/>
                  </a:lnTo>
                  <a:lnTo>
                    <a:pt x="838" y="730"/>
                  </a:lnTo>
                  <a:lnTo>
                    <a:pt x="841" y="730"/>
                  </a:lnTo>
                  <a:lnTo>
                    <a:pt x="841" y="730"/>
                  </a:lnTo>
                  <a:lnTo>
                    <a:pt x="841" y="730"/>
                  </a:lnTo>
                  <a:lnTo>
                    <a:pt x="838" y="725"/>
                  </a:lnTo>
                  <a:lnTo>
                    <a:pt x="838" y="725"/>
                  </a:lnTo>
                  <a:lnTo>
                    <a:pt x="838" y="725"/>
                  </a:lnTo>
                  <a:lnTo>
                    <a:pt x="841" y="723"/>
                  </a:lnTo>
                  <a:lnTo>
                    <a:pt x="841" y="723"/>
                  </a:lnTo>
                  <a:lnTo>
                    <a:pt x="844" y="723"/>
                  </a:lnTo>
                  <a:lnTo>
                    <a:pt x="844" y="723"/>
                  </a:lnTo>
                  <a:lnTo>
                    <a:pt x="841" y="723"/>
                  </a:lnTo>
                  <a:lnTo>
                    <a:pt x="841" y="725"/>
                  </a:lnTo>
                  <a:lnTo>
                    <a:pt x="844" y="725"/>
                  </a:lnTo>
                  <a:lnTo>
                    <a:pt x="841" y="728"/>
                  </a:lnTo>
                  <a:lnTo>
                    <a:pt x="841" y="728"/>
                  </a:lnTo>
                  <a:lnTo>
                    <a:pt x="844" y="728"/>
                  </a:lnTo>
                  <a:lnTo>
                    <a:pt x="844" y="730"/>
                  </a:lnTo>
                  <a:lnTo>
                    <a:pt x="846" y="733"/>
                  </a:lnTo>
                  <a:lnTo>
                    <a:pt x="846" y="733"/>
                  </a:lnTo>
                  <a:lnTo>
                    <a:pt x="849" y="735"/>
                  </a:lnTo>
                  <a:lnTo>
                    <a:pt x="849" y="735"/>
                  </a:lnTo>
                  <a:lnTo>
                    <a:pt x="851" y="735"/>
                  </a:lnTo>
                  <a:lnTo>
                    <a:pt x="851" y="735"/>
                  </a:lnTo>
                  <a:close/>
                  <a:moveTo>
                    <a:pt x="823" y="707"/>
                  </a:moveTo>
                  <a:lnTo>
                    <a:pt x="826" y="705"/>
                  </a:lnTo>
                  <a:lnTo>
                    <a:pt x="826" y="705"/>
                  </a:lnTo>
                  <a:lnTo>
                    <a:pt x="823" y="700"/>
                  </a:lnTo>
                  <a:lnTo>
                    <a:pt x="821" y="695"/>
                  </a:lnTo>
                  <a:lnTo>
                    <a:pt x="818" y="692"/>
                  </a:lnTo>
                  <a:lnTo>
                    <a:pt x="816" y="690"/>
                  </a:lnTo>
                  <a:lnTo>
                    <a:pt x="813" y="692"/>
                  </a:lnTo>
                  <a:lnTo>
                    <a:pt x="813" y="692"/>
                  </a:lnTo>
                  <a:lnTo>
                    <a:pt x="816" y="695"/>
                  </a:lnTo>
                  <a:lnTo>
                    <a:pt x="816" y="695"/>
                  </a:lnTo>
                  <a:lnTo>
                    <a:pt x="818" y="697"/>
                  </a:lnTo>
                  <a:lnTo>
                    <a:pt x="818" y="702"/>
                  </a:lnTo>
                  <a:lnTo>
                    <a:pt x="821" y="707"/>
                  </a:lnTo>
                  <a:lnTo>
                    <a:pt x="821" y="707"/>
                  </a:lnTo>
                  <a:lnTo>
                    <a:pt x="823" y="707"/>
                  </a:lnTo>
                  <a:close/>
                  <a:moveTo>
                    <a:pt x="818" y="692"/>
                  </a:moveTo>
                  <a:lnTo>
                    <a:pt x="818" y="692"/>
                  </a:lnTo>
                  <a:lnTo>
                    <a:pt x="821" y="695"/>
                  </a:lnTo>
                  <a:lnTo>
                    <a:pt x="823" y="695"/>
                  </a:lnTo>
                  <a:lnTo>
                    <a:pt x="823" y="697"/>
                  </a:lnTo>
                  <a:lnTo>
                    <a:pt x="826" y="697"/>
                  </a:lnTo>
                  <a:lnTo>
                    <a:pt x="826" y="700"/>
                  </a:lnTo>
                  <a:lnTo>
                    <a:pt x="828" y="702"/>
                  </a:lnTo>
                  <a:lnTo>
                    <a:pt x="831" y="705"/>
                  </a:lnTo>
                  <a:lnTo>
                    <a:pt x="833" y="705"/>
                  </a:lnTo>
                  <a:lnTo>
                    <a:pt x="836" y="705"/>
                  </a:lnTo>
                  <a:lnTo>
                    <a:pt x="836" y="702"/>
                  </a:lnTo>
                  <a:lnTo>
                    <a:pt x="833" y="700"/>
                  </a:lnTo>
                  <a:lnTo>
                    <a:pt x="833" y="700"/>
                  </a:lnTo>
                  <a:lnTo>
                    <a:pt x="833" y="700"/>
                  </a:lnTo>
                  <a:lnTo>
                    <a:pt x="833" y="697"/>
                  </a:lnTo>
                  <a:lnTo>
                    <a:pt x="831" y="697"/>
                  </a:lnTo>
                  <a:lnTo>
                    <a:pt x="831" y="695"/>
                  </a:lnTo>
                  <a:lnTo>
                    <a:pt x="828" y="695"/>
                  </a:lnTo>
                  <a:lnTo>
                    <a:pt x="828" y="692"/>
                  </a:lnTo>
                  <a:lnTo>
                    <a:pt x="828" y="692"/>
                  </a:lnTo>
                  <a:lnTo>
                    <a:pt x="826" y="690"/>
                  </a:lnTo>
                  <a:lnTo>
                    <a:pt x="826" y="687"/>
                  </a:lnTo>
                  <a:lnTo>
                    <a:pt x="823" y="687"/>
                  </a:lnTo>
                  <a:lnTo>
                    <a:pt x="823" y="690"/>
                  </a:lnTo>
                  <a:lnTo>
                    <a:pt x="818" y="690"/>
                  </a:lnTo>
                  <a:lnTo>
                    <a:pt x="818" y="692"/>
                  </a:lnTo>
                  <a:close/>
                  <a:moveTo>
                    <a:pt x="821" y="684"/>
                  </a:moveTo>
                  <a:lnTo>
                    <a:pt x="818" y="684"/>
                  </a:lnTo>
                  <a:lnTo>
                    <a:pt x="816" y="684"/>
                  </a:lnTo>
                  <a:lnTo>
                    <a:pt x="816" y="684"/>
                  </a:lnTo>
                  <a:lnTo>
                    <a:pt x="818" y="687"/>
                  </a:lnTo>
                  <a:lnTo>
                    <a:pt x="818" y="687"/>
                  </a:lnTo>
                  <a:lnTo>
                    <a:pt x="818" y="687"/>
                  </a:lnTo>
                  <a:lnTo>
                    <a:pt x="821" y="687"/>
                  </a:lnTo>
                  <a:lnTo>
                    <a:pt x="821" y="687"/>
                  </a:lnTo>
                  <a:lnTo>
                    <a:pt x="823" y="684"/>
                  </a:lnTo>
                  <a:lnTo>
                    <a:pt x="821" y="684"/>
                  </a:lnTo>
                  <a:lnTo>
                    <a:pt x="821" y="684"/>
                  </a:lnTo>
                  <a:close/>
                  <a:moveTo>
                    <a:pt x="805" y="636"/>
                  </a:moveTo>
                  <a:lnTo>
                    <a:pt x="805" y="639"/>
                  </a:lnTo>
                  <a:lnTo>
                    <a:pt x="808" y="641"/>
                  </a:lnTo>
                  <a:lnTo>
                    <a:pt x="808" y="639"/>
                  </a:lnTo>
                  <a:lnTo>
                    <a:pt x="810" y="641"/>
                  </a:lnTo>
                  <a:lnTo>
                    <a:pt x="813" y="641"/>
                  </a:lnTo>
                  <a:lnTo>
                    <a:pt x="813" y="639"/>
                  </a:lnTo>
                  <a:lnTo>
                    <a:pt x="813" y="639"/>
                  </a:lnTo>
                  <a:lnTo>
                    <a:pt x="813" y="636"/>
                  </a:lnTo>
                  <a:lnTo>
                    <a:pt x="813" y="636"/>
                  </a:lnTo>
                  <a:lnTo>
                    <a:pt x="810" y="634"/>
                  </a:lnTo>
                  <a:lnTo>
                    <a:pt x="810" y="631"/>
                  </a:lnTo>
                  <a:lnTo>
                    <a:pt x="808" y="628"/>
                  </a:lnTo>
                  <a:lnTo>
                    <a:pt x="808" y="628"/>
                  </a:lnTo>
                  <a:lnTo>
                    <a:pt x="805" y="628"/>
                  </a:lnTo>
                  <a:lnTo>
                    <a:pt x="805" y="631"/>
                  </a:lnTo>
                  <a:lnTo>
                    <a:pt x="808" y="634"/>
                  </a:lnTo>
                  <a:lnTo>
                    <a:pt x="808" y="636"/>
                  </a:lnTo>
                  <a:lnTo>
                    <a:pt x="805" y="636"/>
                  </a:lnTo>
                  <a:close/>
                  <a:moveTo>
                    <a:pt x="790" y="618"/>
                  </a:moveTo>
                  <a:lnTo>
                    <a:pt x="790" y="618"/>
                  </a:lnTo>
                  <a:lnTo>
                    <a:pt x="790" y="618"/>
                  </a:lnTo>
                  <a:lnTo>
                    <a:pt x="790" y="618"/>
                  </a:lnTo>
                  <a:lnTo>
                    <a:pt x="793" y="621"/>
                  </a:lnTo>
                  <a:lnTo>
                    <a:pt x="793" y="621"/>
                  </a:lnTo>
                  <a:lnTo>
                    <a:pt x="793" y="618"/>
                  </a:lnTo>
                  <a:lnTo>
                    <a:pt x="793" y="618"/>
                  </a:lnTo>
                  <a:lnTo>
                    <a:pt x="793" y="618"/>
                  </a:lnTo>
                  <a:lnTo>
                    <a:pt x="790" y="618"/>
                  </a:lnTo>
                  <a:close/>
                  <a:moveTo>
                    <a:pt x="816" y="616"/>
                  </a:moveTo>
                  <a:lnTo>
                    <a:pt x="816" y="618"/>
                  </a:lnTo>
                  <a:lnTo>
                    <a:pt x="816" y="618"/>
                  </a:lnTo>
                  <a:lnTo>
                    <a:pt x="818" y="618"/>
                  </a:lnTo>
                  <a:lnTo>
                    <a:pt x="818" y="618"/>
                  </a:lnTo>
                  <a:lnTo>
                    <a:pt x="818" y="616"/>
                  </a:lnTo>
                  <a:lnTo>
                    <a:pt x="816" y="616"/>
                  </a:lnTo>
                  <a:lnTo>
                    <a:pt x="816" y="613"/>
                  </a:lnTo>
                  <a:lnTo>
                    <a:pt x="813" y="613"/>
                  </a:lnTo>
                  <a:lnTo>
                    <a:pt x="813" y="611"/>
                  </a:lnTo>
                  <a:lnTo>
                    <a:pt x="813" y="613"/>
                  </a:lnTo>
                  <a:lnTo>
                    <a:pt x="813" y="613"/>
                  </a:lnTo>
                  <a:lnTo>
                    <a:pt x="813" y="613"/>
                  </a:lnTo>
                  <a:lnTo>
                    <a:pt x="813" y="616"/>
                  </a:lnTo>
                  <a:lnTo>
                    <a:pt x="816" y="616"/>
                  </a:lnTo>
                  <a:close/>
                  <a:moveTo>
                    <a:pt x="821" y="613"/>
                  </a:moveTo>
                  <a:lnTo>
                    <a:pt x="818" y="613"/>
                  </a:lnTo>
                  <a:lnTo>
                    <a:pt x="821" y="616"/>
                  </a:lnTo>
                  <a:lnTo>
                    <a:pt x="821" y="616"/>
                  </a:lnTo>
                  <a:lnTo>
                    <a:pt x="823" y="618"/>
                  </a:lnTo>
                  <a:lnTo>
                    <a:pt x="826" y="618"/>
                  </a:lnTo>
                  <a:lnTo>
                    <a:pt x="828" y="618"/>
                  </a:lnTo>
                  <a:lnTo>
                    <a:pt x="831" y="616"/>
                  </a:lnTo>
                  <a:lnTo>
                    <a:pt x="831" y="613"/>
                  </a:lnTo>
                  <a:lnTo>
                    <a:pt x="831" y="613"/>
                  </a:lnTo>
                  <a:lnTo>
                    <a:pt x="831" y="611"/>
                  </a:lnTo>
                  <a:lnTo>
                    <a:pt x="828" y="611"/>
                  </a:lnTo>
                  <a:lnTo>
                    <a:pt x="823" y="608"/>
                  </a:lnTo>
                  <a:lnTo>
                    <a:pt x="821" y="608"/>
                  </a:lnTo>
                  <a:lnTo>
                    <a:pt x="821" y="608"/>
                  </a:lnTo>
                  <a:lnTo>
                    <a:pt x="821" y="608"/>
                  </a:lnTo>
                  <a:lnTo>
                    <a:pt x="821" y="611"/>
                  </a:lnTo>
                  <a:lnTo>
                    <a:pt x="821" y="611"/>
                  </a:lnTo>
                  <a:lnTo>
                    <a:pt x="821" y="611"/>
                  </a:lnTo>
                  <a:lnTo>
                    <a:pt x="821" y="613"/>
                  </a:lnTo>
                  <a:close/>
                  <a:moveTo>
                    <a:pt x="810" y="611"/>
                  </a:moveTo>
                  <a:lnTo>
                    <a:pt x="810" y="608"/>
                  </a:lnTo>
                  <a:lnTo>
                    <a:pt x="810" y="608"/>
                  </a:lnTo>
                  <a:lnTo>
                    <a:pt x="810" y="606"/>
                  </a:lnTo>
                  <a:lnTo>
                    <a:pt x="808" y="606"/>
                  </a:lnTo>
                  <a:lnTo>
                    <a:pt x="808" y="603"/>
                  </a:lnTo>
                  <a:lnTo>
                    <a:pt x="805" y="603"/>
                  </a:lnTo>
                  <a:lnTo>
                    <a:pt x="805" y="603"/>
                  </a:lnTo>
                  <a:lnTo>
                    <a:pt x="803" y="603"/>
                  </a:lnTo>
                  <a:lnTo>
                    <a:pt x="803" y="606"/>
                  </a:lnTo>
                  <a:lnTo>
                    <a:pt x="805" y="608"/>
                  </a:lnTo>
                  <a:lnTo>
                    <a:pt x="805" y="608"/>
                  </a:lnTo>
                  <a:lnTo>
                    <a:pt x="803" y="608"/>
                  </a:lnTo>
                  <a:lnTo>
                    <a:pt x="800" y="608"/>
                  </a:lnTo>
                  <a:lnTo>
                    <a:pt x="800" y="611"/>
                  </a:lnTo>
                  <a:lnTo>
                    <a:pt x="798" y="611"/>
                  </a:lnTo>
                  <a:lnTo>
                    <a:pt x="800" y="613"/>
                  </a:lnTo>
                  <a:lnTo>
                    <a:pt x="798" y="613"/>
                  </a:lnTo>
                  <a:lnTo>
                    <a:pt x="800" y="616"/>
                  </a:lnTo>
                  <a:lnTo>
                    <a:pt x="803" y="618"/>
                  </a:lnTo>
                  <a:lnTo>
                    <a:pt x="805" y="621"/>
                  </a:lnTo>
                  <a:lnTo>
                    <a:pt x="808" y="626"/>
                  </a:lnTo>
                  <a:lnTo>
                    <a:pt x="810" y="626"/>
                  </a:lnTo>
                  <a:lnTo>
                    <a:pt x="813" y="628"/>
                  </a:lnTo>
                  <a:lnTo>
                    <a:pt x="813" y="631"/>
                  </a:lnTo>
                  <a:lnTo>
                    <a:pt x="816" y="631"/>
                  </a:lnTo>
                  <a:lnTo>
                    <a:pt x="818" y="631"/>
                  </a:lnTo>
                  <a:lnTo>
                    <a:pt x="818" y="631"/>
                  </a:lnTo>
                  <a:lnTo>
                    <a:pt x="818" y="631"/>
                  </a:lnTo>
                  <a:lnTo>
                    <a:pt x="818" y="631"/>
                  </a:lnTo>
                  <a:lnTo>
                    <a:pt x="818" y="628"/>
                  </a:lnTo>
                  <a:lnTo>
                    <a:pt x="818" y="628"/>
                  </a:lnTo>
                  <a:lnTo>
                    <a:pt x="818" y="628"/>
                  </a:lnTo>
                  <a:lnTo>
                    <a:pt x="818" y="626"/>
                  </a:lnTo>
                  <a:lnTo>
                    <a:pt x="816" y="623"/>
                  </a:lnTo>
                  <a:lnTo>
                    <a:pt x="816" y="621"/>
                  </a:lnTo>
                  <a:lnTo>
                    <a:pt x="816" y="621"/>
                  </a:lnTo>
                  <a:lnTo>
                    <a:pt x="813" y="618"/>
                  </a:lnTo>
                  <a:lnTo>
                    <a:pt x="813" y="616"/>
                  </a:lnTo>
                  <a:lnTo>
                    <a:pt x="810" y="613"/>
                  </a:lnTo>
                  <a:lnTo>
                    <a:pt x="808" y="613"/>
                  </a:lnTo>
                  <a:lnTo>
                    <a:pt x="808" y="611"/>
                  </a:lnTo>
                  <a:lnTo>
                    <a:pt x="808" y="611"/>
                  </a:lnTo>
                  <a:lnTo>
                    <a:pt x="810" y="611"/>
                  </a:lnTo>
                  <a:lnTo>
                    <a:pt x="810" y="611"/>
                  </a:lnTo>
                  <a:close/>
                  <a:moveTo>
                    <a:pt x="805" y="595"/>
                  </a:moveTo>
                  <a:lnTo>
                    <a:pt x="803" y="595"/>
                  </a:lnTo>
                  <a:lnTo>
                    <a:pt x="803" y="595"/>
                  </a:lnTo>
                  <a:lnTo>
                    <a:pt x="800" y="595"/>
                  </a:lnTo>
                  <a:lnTo>
                    <a:pt x="800" y="598"/>
                  </a:lnTo>
                  <a:lnTo>
                    <a:pt x="800" y="598"/>
                  </a:lnTo>
                  <a:lnTo>
                    <a:pt x="803" y="598"/>
                  </a:lnTo>
                  <a:lnTo>
                    <a:pt x="803" y="598"/>
                  </a:lnTo>
                  <a:lnTo>
                    <a:pt x="803" y="598"/>
                  </a:lnTo>
                  <a:lnTo>
                    <a:pt x="805" y="598"/>
                  </a:lnTo>
                  <a:lnTo>
                    <a:pt x="805" y="598"/>
                  </a:lnTo>
                  <a:lnTo>
                    <a:pt x="805" y="595"/>
                  </a:lnTo>
                  <a:lnTo>
                    <a:pt x="805" y="595"/>
                  </a:lnTo>
                  <a:close/>
                  <a:moveTo>
                    <a:pt x="787" y="590"/>
                  </a:moveTo>
                  <a:lnTo>
                    <a:pt x="787" y="590"/>
                  </a:lnTo>
                  <a:lnTo>
                    <a:pt x="785" y="590"/>
                  </a:lnTo>
                  <a:lnTo>
                    <a:pt x="785" y="590"/>
                  </a:lnTo>
                  <a:lnTo>
                    <a:pt x="785" y="590"/>
                  </a:lnTo>
                  <a:lnTo>
                    <a:pt x="785" y="590"/>
                  </a:lnTo>
                  <a:lnTo>
                    <a:pt x="785" y="593"/>
                  </a:lnTo>
                  <a:lnTo>
                    <a:pt x="787" y="590"/>
                  </a:lnTo>
                  <a:lnTo>
                    <a:pt x="787" y="590"/>
                  </a:lnTo>
                  <a:lnTo>
                    <a:pt x="787" y="590"/>
                  </a:lnTo>
                  <a:close/>
                  <a:moveTo>
                    <a:pt x="800" y="585"/>
                  </a:moveTo>
                  <a:lnTo>
                    <a:pt x="803" y="585"/>
                  </a:lnTo>
                  <a:lnTo>
                    <a:pt x="803" y="585"/>
                  </a:lnTo>
                  <a:lnTo>
                    <a:pt x="800" y="583"/>
                  </a:lnTo>
                  <a:lnTo>
                    <a:pt x="803" y="580"/>
                  </a:lnTo>
                  <a:lnTo>
                    <a:pt x="803" y="580"/>
                  </a:lnTo>
                  <a:lnTo>
                    <a:pt x="803" y="578"/>
                  </a:lnTo>
                  <a:lnTo>
                    <a:pt x="803" y="578"/>
                  </a:lnTo>
                  <a:lnTo>
                    <a:pt x="803" y="575"/>
                  </a:lnTo>
                  <a:lnTo>
                    <a:pt x="800" y="572"/>
                  </a:lnTo>
                  <a:lnTo>
                    <a:pt x="798" y="572"/>
                  </a:lnTo>
                  <a:lnTo>
                    <a:pt x="795" y="570"/>
                  </a:lnTo>
                  <a:lnTo>
                    <a:pt x="795" y="570"/>
                  </a:lnTo>
                  <a:lnTo>
                    <a:pt x="795" y="567"/>
                  </a:lnTo>
                  <a:lnTo>
                    <a:pt x="798" y="567"/>
                  </a:lnTo>
                  <a:lnTo>
                    <a:pt x="798" y="567"/>
                  </a:lnTo>
                  <a:lnTo>
                    <a:pt x="798" y="567"/>
                  </a:lnTo>
                  <a:lnTo>
                    <a:pt x="800" y="567"/>
                  </a:lnTo>
                  <a:lnTo>
                    <a:pt x="798" y="565"/>
                  </a:lnTo>
                  <a:lnTo>
                    <a:pt x="798" y="562"/>
                  </a:lnTo>
                  <a:lnTo>
                    <a:pt x="798" y="562"/>
                  </a:lnTo>
                  <a:lnTo>
                    <a:pt x="798" y="560"/>
                  </a:lnTo>
                  <a:lnTo>
                    <a:pt x="798" y="560"/>
                  </a:lnTo>
                  <a:lnTo>
                    <a:pt x="795" y="557"/>
                  </a:lnTo>
                  <a:lnTo>
                    <a:pt x="795" y="555"/>
                  </a:lnTo>
                  <a:lnTo>
                    <a:pt x="793" y="555"/>
                  </a:lnTo>
                  <a:lnTo>
                    <a:pt x="790" y="552"/>
                  </a:lnTo>
                  <a:lnTo>
                    <a:pt x="782" y="552"/>
                  </a:lnTo>
                  <a:lnTo>
                    <a:pt x="782" y="552"/>
                  </a:lnTo>
                  <a:lnTo>
                    <a:pt x="785" y="552"/>
                  </a:lnTo>
                  <a:lnTo>
                    <a:pt x="785" y="555"/>
                  </a:lnTo>
                  <a:lnTo>
                    <a:pt x="785" y="557"/>
                  </a:lnTo>
                  <a:lnTo>
                    <a:pt x="785" y="557"/>
                  </a:lnTo>
                  <a:lnTo>
                    <a:pt x="785" y="557"/>
                  </a:lnTo>
                  <a:lnTo>
                    <a:pt x="785" y="560"/>
                  </a:lnTo>
                  <a:lnTo>
                    <a:pt x="785" y="562"/>
                  </a:lnTo>
                  <a:lnTo>
                    <a:pt x="785" y="562"/>
                  </a:lnTo>
                  <a:lnTo>
                    <a:pt x="785" y="565"/>
                  </a:lnTo>
                  <a:lnTo>
                    <a:pt x="785" y="565"/>
                  </a:lnTo>
                  <a:lnTo>
                    <a:pt x="785" y="567"/>
                  </a:lnTo>
                  <a:lnTo>
                    <a:pt x="787" y="570"/>
                  </a:lnTo>
                  <a:lnTo>
                    <a:pt x="790" y="575"/>
                  </a:lnTo>
                  <a:lnTo>
                    <a:pt x="790" y="580"/>
                  </a:lnTo>
                  <a:lnTo>
                    <a:pt x="790" y="583"/>
                  </a:lnTo>
                  <a:lnTo>
                    <a:pt x="790" y="583"/>
                  </a:lnTo>
                  <a:lnTo>
                    <a:pt x="790" y="583"/>
                  </a:lnTo>
                  <a:lnTo>
                    <a:pt x="793" y="585"/>
                  </a:lnTo>
                  <a:lnTo>
                    <a:pt x="795" y="585"/>
                  </a:lnTo>
                  <a:lnTo>
                    <a:pt x="798" y="585"/>
                  </a:lnTo>
                  <a:lnTo>
                    <a:pt x="800" y="585"/>
                  </a:lnTo>
                  <a:lnTo>
                    <a:pt x="800" y="585"/>
                  </a:lnTo>
                  <a:close/>
                  <a:moveTo>
                    <a:pt x="632" y="366"/>
                  </a:moveTo>
                  <a:lnTo>
                    <a:pt x="632" y="366"/>
                  </a:lnTo>
                  <a:lnTo>
                    <a:pt x="632" y="366"/>
                  </a:lnTo>
                  <a:lnTo>
                    <a:pt x="629" y="366"/>
                  </a:lnTo>
                  <a:lnTo>
                    <a:pt x="629" y="366"/>
                  </a:lnTo>
                  <a:lnTo>
                    <a:pt x="629" y="366"/>
                  </a:lnTo>
                  <a:lnTo>
                    <a:pt x="629" y="366"/>
                  </a:lnTo>
                  <a:lnTo>
                    <a:pt x="629" y="369"/>
                  </a:lnTo>
                  <a:lnTo>
                    <a:pt x="632" y="366"/>
                  </a:lnTo>
                  <a:lnTo>
                    <a:pt x="632" y="366"/>
                  </a:lnTo>
                  <a:lnTo>
                    <a:pt x="632" y="366"/>
                  </a:lnTo>
                  <a:lnTo>
                    <a:pt x="632" y="366"/>
                  </a:lnTo>
                  <a:lnTo>
                    <a:pt x="632" y="366"/>
                  </a:lnTo>
                  <a:close/>
                  <a:moveTo>
                    <a:pt x="0" y="219"/>
                  </a:moveTo>
                  <a:lnTo>
                    <a:pt x="0" y="219"/>
                  </a:lnTo>
                  <a:lnTo>
                    <a:pt x="0" y="221"/>
                  </a:lnTo>
                  <a:lnTo>
                    <a:pt x="3" y="219"/>
                  </a:lnTo>
                  <a:lnTo>
                    <a:pt x="5" y="219"/>
                  </a:lnTo>
                  <a:lnTo>
                    <a:pt x="3" y="219"/>
                  </a:lnTo>
                  <a:lnTo>
                    <a:pt x="0" y="219"/>
                  </a:lnTo>
                  <a:close/>
                  <a:moveTo>
                    <a:pt x="943" y="817"/>
                  </a:moveTo>
                  <a:lnTo>
                    <a:pt x="946" y="819"/>
                  </a:lnTo>
                  <a:lnTo>
                    <a:pt x="951" y="819"/>
                  </a:lnTo>
                  <a:lnTo>
                    <a:pt x="953" y="817"/>
                  </a:lnTo>
                  <a:lnTo>
                    <a:pt x="953" y="817"/>
                  </a:lnTo>
                  <a:lnTo>
                    <a:pt x="953" y="812"/>
                  </a:lnTo>
                  <a:lnTo>
                    <a:pt x="951" y="809"/>
                  </a:lnTo>
                  <a:lnTo>
                    <a:pt x="948" y="809"/>
                  </a:lnTo>
                  <a:lnTo>
                    <a:pt x="948" y="804"/>
                  </a:lnTo>
                  <a:lnTo>
                    <a:pt x="948" y="799"/>
                  </a:lnTo>
                  <a:lnTo>
                    <a:pt x="946" y="799"/>
                  </a:lnTo>
                  <a:lnTo>
                    <a:pt x="946" y="796"/>
                  </a:lnTo>
                  <a:lnTo>
                    <a:pt x="948" y="794"/>
                  </a:lnTo>
                  <a:lnTo>
                    <a:pt x="948" y="794"/>
                  </a:lnTo>
                  <a:lnTo>
                    <a:pt x="951" y="794"/>
                  </a:lnTo>
                  <a:lnTo>
                    <a:pt x="958" y="789"/>
                  </a:lnTo>
                  <a:lnTo>
                    <a:pt x="961" y="789"/>
                  </a:lnTo>
                  <a:lnTo>
                    <a:pt x="963" y="789"/>
                  </a:lnTo>
                  <a:lnTo>
                    <a:pt x="963" y="789"/>
                  </a:lnTo>
                  <a:lnTo>
                    <a:pt x="963" y="784"/>
                  </a:lnTo>
                  <a:lnTo>
                    <a:pt x="966" y="784"/>
                  </a:lnTo>
                  <a:lnTo>
                    <a:pt x="968" y="784"/>
                  </a:lnTo>
                  <a:lnTo>
                    <a:pt x="971" y="784"/>
                  </a:lnTo>
                  <a:lnTo>
                    <a:pt x="981" y="786"/>
                  </a:lnTo>
                  <a:lnTo>
                    <a:pt x="981" y="784"/>
                  </a:lnTo>
                  <a:lnTo>
                    <a:pt x="979" y="784"/>
                  </a:lnTo>
                  <a:lnTo>
                    <a:pt x="976" y="784"/>
                  </a:lnTo>
                  <a:lnTo>
                    <a:pt x="971" y="784"/>
                  </a:lnTo>
                  <a:lnTo>
                    <a:pt x="966" y="781"/>
                  </a:lnTo>
                  <a:lnTo>
                    <a:pt x="961" y="781"/>
                  </a:lnTo>
                  <a:lnTo>
                    <a:pt x="956" y="781"/>
                  </a:lnTo>
                  <a:lnTo>
                    <a:pt x="951" y="779"/>
                  </a:lnTo>
                  <a:lnTo>
                    <a:pt x="943" y="779"/>
                  </a:lnTo>
                  <a:lnTo>
                    <a:pt x="935" y="779"/>
                  </a:lnTo>
                  <a:lnTo>
                    <a:pt x="928" y="779"/>
                  </a:lnTo>
                  <a:lnTo>
                    <a:pt x="923" y="779"/>
                  </a:lnTo>
                  <a:lnTo>
                    <a:pt x="917" y="779"/>
                  </a:lnTo>
                  <a:lnTo>
                    <a:pt x="917" y="779"/>
                  </a:lnTo>
                  <a:lnTo>
                    <a:pt x="915" y="776"/>
                  </a:lnTo>
                  <a:lnTo>
                    <a:pt x="915" y="773"/>
                  </a:lnTo>
                  <a:lnTo>
                    <a:pt x="912" y="773"/>
                  </a:lnTo>
                  <a:lnTo>
                    <a:pt x="910" y="771"/>
                  </a:lnTo>
                  <a:lnTo>
                    <a:pt x="907" y="771"/>
                  </a:lnTo>
                  <a:lnTo>
                    <a:pt x="905" y="768"/>
                  </a:lnTo>
                  <a:lnTo>
                    <a:pt x="905" y="766"/>
                  </a:lnTo>
                  <a:lnTo>
                    <a:pt x="905" y="763"/>
                  </a:lnTo>
                  <a:lnTo>
                    <a:pt x="902" y="761"/>
                  </a:lnTo>
                  <a:lnTo>
                    <a:pt x="902" y="761"/>
                  </a:lnTo>
                  <a:lnTo>
                    <a:pt x="900" y="758"/>
                  </a:lnTo>
                  <a:lnTo>
                    <a:pt x="900" y="758"/>
                  </a:lnTo>
                  <a:lnTo>
                    <a:pt x="902" y="758"/>
                  </a:lnTo>
                  <a:lnTo>
                    <a:pt x="900" y="756"/>
                  </a:lnTo>
                  <a:lnTo>
                    <a:pt x="900" y="753"/>
                  </a:lnTo>
                  <a:lnTo>
                    <a:pt x="897" y="751"/>
                  </a:lnTo>
                  <a:lnTo>
                    <a:pt x="895" y="748"/>
                  </a:lnTo>
                  <a:lnTo>
                    <a:pt x="895" y="748"/>
                  </a:lnTo>
                  <a:lnTo>
                    <a:pt x="892" y="748"/>
                  </a:lnTo>
                  <a:lnTo>
                    <a:pt x="892" y="748"/>
                  </a:lnTo>
                  <a:lnTo>
                    <a:pt x="889" y="748"/>
                  </a:lnTo>
                  <a:lnTo>
                    <a:pt x="887" y="748"/>
                  </a:lnTo>
                  <a:lnTo>
                    <a:pt x="887" y="751"/>
                  </a:lnTo>
                  <a:lnTo>
                    <a:pt x="884" y="751"/>
                  </a:lnTo>
                  <a:lnTo>
                    <a:pt x="884" y="751"/>
                  </a:lnTo>
                  <a:lnTo>
                    <a:pt x="882" y="751"/>
                  </a:lnTo>
                  <a:lnTo>
                    <a:pt x="882" y="748"/>
                  </a:lnTo>
                  <a:lnTo>
                    <a:pt x="879" y="748"/>
                  </a:lnTo>
                  <a:lnTo>
                    <a:pt x="879" y="746"/>
                  </a:lnTo>
                  <a:lnTo>
                    <a:pt x="877" y="743"/>
                  </a:lnTo>
                  <a:lnTo>
                    <a:pt x="874" y="740"/>
                  </a:lnTo>
                  <a:lnTo>
                    <a:pt x="872" y="738"/>
                  </a:lnTo>
                  <a:lnTo>
                    <a:pt x="869" y="735"/>
                  </a:lnTo>
                  <a:lnTo>
                    <a:pt x="869" y="733"/>
                  </a:lnTo>
                  <a:lnTo>
                    <a:pt x="869" y="730"/>
                  </a:lnTo>
                  <a:lnTo>
                    <a:pt x="866" y="728"/>
                  </a:lnTo>
                  <a:lnTo>
                    <a:pt x="864" y="725"/>
                  </a:lnTo>
                  <a:lnTo>
                    <a:pt x="864" y="723"/>
                  </a:lnTo>
                  <a:lnTo>
                    <a:pt x="864" y="720"/>
                  </a:lnTo>
                  <a:lnTo>
                    <a:pt x="864" y="720"/>
                  </a:lnTo>
                  <a:lnTo>
                    <a:pt x="869" y="720"/>
                  </a:lnTo>
                  <a:lnTo>
                    <a:pt x="866" y="718"/>
                  </a:lnTo>
                  <a:lnTo>
                    <a:pt x="866" y="715"/>
                  </a:lnTo>
                  <a:lnTo>
                    <a:pt x="866" y="712"/>
                  </a:lnTo>
                  <a:lnTo>
                    <a:pt x="869" y="712"/>
                  </a:lnTo>
                  <a:lnTo>
                    <a:pt x="869" y="712"/>
                  </a:lnTo>
                  <a:lnTo>
                    <a:pt x="872" y="710"/>
                  </a:lnTo>
                  <a:lnTo>
                    <a:pt x="872" y="710"/>
                  </a:lnTo>
                  <a:lnTo>
                    <a:pt x="872" y="707"/>
                  </a:lnTo>
                  <a:lnTo>
                    <a:pt x="872" y="707"/>
                  </a:lnTo>
                  <a:lnTo>
                    <a:pt x="872" y="705"/>
                  </a:lnTo>
                  <a:lnTo>
                    <a:pt x="869" y="702"/>
                  </a:lnTo>
                  <a:lnTo>
                    <a:pt x="869" y="700"/>
                  </a:lnTo>
                  <a:lnTo>
                    <a:pt x="872" y="700"/>
                  </a:lnTo>
                  <a:lnTo>
                    <a:pt x="874" y="697"/>
                  </a:lnTo>
                  <a:lnTo>
                    <a:pt x="874" y="695"/>
                  </a:lnTo>
                  <a:lnTo>
                    <a:pt x="872" y="692"/>
                  </a:lnTo>
                  <a:lnTo>
                    <a:pt x="869" y="690"/>
                  </a:lnTo>
                  <a:lnTo>
                    <a:pt x="866" y="690"/>
                  </a:lnTo>
                  <a:lnTo>
                    <a:pt x="866" y="687"/>
                  </a:lnTo>
                  <a:lnTo>
                    <a:pt x="866" y="684"/>
                  </a:lnTo>
                  <a:lnTo>
                    <a:pt x="866" y="684"/>
                  </a:lnTo>
                  <a:lnTo>
                    <a:pt x="866" y="682"/>
                  </a:lnTo>
                  <a:lnTo>
                    <a:pt x="864" y="679"/>
                  </a:lnTo>
                  <a:lnTo>
                    <a:pt x="866" y="677"/>
                  </a:lnTo>
                  <a:lnTo>
                    <a:pt x="869" y="677"/>
                  </a:lnTo>
                  <a:lnTo>
                    <a:pt x="869" y="674"/>
                  </a:lnTo>
                  <a:lnTo>
                    <a:pt x="869" y="672"/>
                  </a:lnTo>
                  <a:lnTo>
                    <a:pt x="869" y="672"/>
                  </a:lnTo>
                  <a:lnTo>
                    <a:pt x="869" y="672"/>
                  </a:lnTo>
                  <a:lnTo>
                    <a:pt x="869" y="669"/>
                  </a:lnTo>
                  <a:lnTo>
                    <a:pt x="866" y="669"/>
                  </a:lnTo>
                  <a:lnTo>
                    <a:pt x="866" y="667"/>
                  </a:lnTo>
                  <a:lnTo>
                    <a:pt x="866" y="664"/>
                  </a:lnTo>
                  <a:lnTo>
                    <a:pt x="866" y="664"/>
                  </a:lnTo>
                  <a:lnTo>
                    <a:pt x="869" y="662"/>
                  </a:lnTo>
                  <a:lnTo>
                    <a:pt x="869" y="662"/>
                  </a:lnTo>
                  <a:lnTo>
                    <a:pt x="869" y="659"/>
                  </a:lnTo>
                  <a:lnTo>
                    <a:pt x="866" y="656"/>
                  </a:lnTo>
                  <a:lnTo>
                    <a:pt x="864" y="654"/>
                  </a:lnTo>
                  <a:lnTo>
                    <a:pt x="864" y="651"/>
                  </a:lnTo>
                  <a:lnTo>
                    <a:pt x="861" y="651"/>
                  </a:lnTo>
                  <a:lnTo>
                    <a:pt x="861" y="649"/>
                  </a:lnTo>
                  <a:lnTo>
                    <a:pt x="861" y="649"/>
                  </a:lnTo>
                  <a:lnTo>
                    <a:pt x="864" y="646"/>
                  </a:lnTo>
                  <a:lnTo>
                    <a:pt x="864" y="644"/>
                  </a:lnTo>
                  <a:lnTo>
                    <a:pt x="861" y="644"/>
                  </a:lnTo>
                  <a:lnTo>
                    <a:pt x="861" y="641"/>
                  </a:lnTo>
                  <a:lnTo>
                    <a:pt x="859" y="639"/>
                  </a:lnTo>
                  <a:lnTo>
                    <a:pt x="859" y="636"/>
                  </a:lnTo>
                  <a:lnTo>
                    <a:pt x="859" y="636"/>
                  </a:lnTo>
                  <a:lnTo>
                    <a:pt x="861" y="636"/>
                  </a:lnTo>
                  <a:lnTo>
                    <a:pt x="861" y="634"/>
                  </a:lnTo>
                  <a:lnTo>
                    <a:pt x="864" y="631"/>
                  </a:lnTo>
                  <a:lnTo>
                    <a:pt x="861" y="628"/>
                  </a:lnTo>
                  <a:lnTo>
                    <a:pt x="859" y="628"/>
                  </a:lnTo>
                  <a:lnTo>
                    <a:pt x="856" y="626"/>
                  </a:lnTo>
                  <a:lnTo>
                    <a:pt x="856" y="621"/>
                  </a:lnTo>
                  <a:lnTo>
                    <a:pt x="851" y="621"/>
                  </a:lnTo>
                  <a:lnTo>
                    <a:pt x="846" y="621"/>
                  </a:lnTo>
                  <a:lnTo>
                    <a:pt x="846" y="618"/>
                  </a:lnTo>
                  <a:lnTo>
                    <a:pt x="846" y="616"/>
                  </a:lnTo>
                  <a:lnTo>
                    <a:pt x="846" y="618"/>
                  </a:lnTo>
                  <a:lnTo>
                    <a:pt x="851" y="616"/>
                  </a:lnTo>
                  <a:lnTo>
                    <a:pt x="854" y="616"/>
                  </a:lnTo>
                  <a:lnTo>
                    <a:pt x="854" y="616"/>
                  </a:lnTo>
                  <a:lnTo>
                    <a:pt x="856" y="616"/>
                  </a:lnTo>
                  <a:lnTo>
                    <a:pt x="859" y="618"/>
                  </a:lnTo>
                  <a:lnTo>
                    <a:pt x="859" y="616"/>
                  </a:lnTo>
                  <a:lnTo>
                    <a:pt x="859" y="613"/>
                  </a:lnTo>
                  <a:lnTo>
                    <a:pt x="859" y="613"/>
                  </a:lnTo>
                  <a:lnTo>
                    <a:pt x="859" y="611"/>
                  </a:lnTo>
                  <a:lnTo>
                    <a:pt x="859" y="611"/>
                  </a:lnTo>
                  <a:lnTo>
                    <a:pt x="856" y="608"/>
                  </a:lnTo>
                  <a:lnTo>
                    <a:pt x="846" y="608"/>
                  </a:lnTo>
                  <a:lnTo>
                    <a:pt x="846" y="608"/>
                  </a:lnTo>
                  <a:lnTo>
                    <a:pt x="844" y="606"/>
                  </a:lnTo>
                  <a:lnTo>
                    <a:pt x="844" y="603"/>
                  </a:lnTo>
                  <a:lnTo>
                    <a:pt x="844" y="603"/>
                  </a:lnTo>
                  <a:lnTo>
                    <a:pt x="844" y="600"/>
                  </a:lnTo>
                  <a:lnTo>
                    <a:pt x="844" y="600"/>
                  </a:lnTo>
                  <a:lnTo>
                    <a:pt x="844" y="598"/>
                  </a:lnTo>
                  <a:lnTo>
                    <a:pt x="844" y="598"/>
                  </a:lnTo>
                  <a:lnTo>
                    <a:pt x="841" y="595"/>
                  </a:lnTo>
                  <a:lnTo>
                    <a:pt x="841" y="593"/>
                  </a:lnTo>
                  <a:lnTo>
                    <a:pt x="841" y="593"/>
                  </a:lnTo>
                  <a:lnTo>
                    <a:pt x="841" y="590"/>
                  </a:lnTo>
                  <a:lnTo>
                    <a:pt x="838" y="590"/>
                  </a:lnTo>
                  <a:lnTo>
                    <a:pt x="836" y="588"/>
                  </a:lnTo>
                  <a:lnTo>
                    <a:pt x="836" y="585"/>
                  </a:lnTo>
                  <a:lnTo>
                    <a:pt x="836" y="585"/>
                  </a:lnTo>
                  <a:lnTo>
                    <a:pt x="838" y="585"/>
                  </a:lnTo>
                  <a:lnTo>
                    <a:pt x="838" y="583"/>
                  </a:lnTo>
                  <a:lnTo>
                    <a:pt x="836" y="583"/>
                  </a:lnTo>
                  <a:lnTo>
                    <a:pt x="833" y="580"/>
                  </a:lnTo>
                  <a:lnTo>
                    <a:pt x="831" y="580"/>
                  </a:lnTo>
                  <a:lnTo>
                    <a:pt x="828" y="580"/>
                  </a:lnTo>
                  <a:lnTo>
                    <a:pt x="828" y="578"/>
                  </a:lnTo>
                  <a:lnTo>
                    <a:pt x="826" y="572"/>
                  </a:lnTo>
                  <a:lnTo>
                    <a:pt x="826" y="570"/>
                  </a:lnTo>
                  <a:lnTo>
                    <a:pt x="826" y="570"/>
                  </a:lnTo>
                  <a:lnTo>
                    <a:pt x="826" y="567"/>
                  </a:lnTo>
                  <a:lnTo>
                    <a:pt x="826" y="567"/>
                  </a:lnTo>
                  <a:lnTo>
                    <a:pt x="823" y="565"/>
                  </a:lnTo>
                  <a:lnTo>
                    <a:pt x="823" y="562"/>
                  </a:lnTo>
                  <a:lnTo>
                    <a:pt x="823" y="562"/>
                  </a:lnTo>
                  <a:lnTo>
                    <a:pt x="823" y="560"/>
                  </a:lnTo>
                  <a:lnTo>
                    <a:pt x="823" y="560"/>
                  </a:lnTo>
                  <a:lnTo>
                    <a:pt x="823" y="560"/>
                  </a:lnTo>
                  <a:lnTo>
                    <a:pt x="826" y="560"/>
                  </a:lnTo>
                  <a:lnTo>
                    <a:pt x="826" y="560"/>
                  </a:lnTo>
                  <a:lnTo>
                    <a:pt x="828" y="557"/>
                  </a:lnTo>
                  <a:lnTo>
                    <a:pt x="828" y="557"/>
                  </a:lnTo>
                  <a:lnTo>
                    <a:pt x="826" y="555"/>
                  </a:lnTo>
                  <a:lnTo>
                    <a:pt x="823" y="552"/>
                  </a:lnTo>
                  <a:lnTo>
                    <a:pt x="821" y="547"/>
                  </a:lnTo>
                  <a:lnTo>
                    <a:pt x="821" y="547"/>
                  </a:lnTo>
                  <a:lnTo>
                    <a:pt x="821" y="547"/>
                  </a:lnTo>
                  <a:lnTo>
                    <a:pt x="818" y="542"/>
                  </a:lnTo>
                  <a:lnTo>
                    <a:pt x="818" y="539"/>
                  </a:lnTo>
                  <a:lnTo>
                    <a:pt x="816" y="534"/>
                  </a:lnTo>
                  <a:lnTo>
                    <a:pt x="816" y="532"/>
                  </a:lnTo>
                  <a:lnTo>
                    <a:pt x="813" y="529"/>
                  </a:lnTo>
                  <a:lnTo>
                    <a:pt x="813" y="527"/>
                  </a:lnTo>
                  <a:lnTo>
                    <a:pt x="813" y="524"/>
                  </a:lnTo>
                  <a:lnTo>
                    <a:pt x="813" y="524"/>
                  </a:lnTo>
                  <a:lnTo>
                    <a:pt x="813" y="522"/>
                  </a:lnTo>
                  <a:lnTo>
                    <a:pt x="813" y="522"/>
                  </a:lnTo>
                  <a:lnTo>
                    <a:pt x="816" y="519"/>
                  </a:lnTo>
                  <a:lnTo>
                    <a:pt x="816" y="519"/>
                  </a:lnTo>
                  <a:lnTo>
                    <a:pt x="813" y="519"/>
                  </a:lnTo>
                  <a:lnTo>
                    <a:pt x="810" y="516"/>
                  </a:lnTo>
                  <a:lnTo>
                    <a:pt x="810" y="516"/>
                  </a:lnTo>
                  <a:lnTo>
                    <a:pt x="810" y="514"/>
                  </a:lnTo>
                  <a:lnTo>
                    <a:pt x="810" y="514"/>
                  </a:lnTo>
                  <a:lnTo>
                    <a:pt x="813" y="514"/>
                  </a:lnTo>
                  <a:lnTo>
                    <a:pt x="813" y="511"/>
                  </a:lnTo>
                  <a:lnTo>
                    <a:pt x="813" y="511"/>
                  </a:lnTo>
                  <a:lnTo>
                    <a:pt x="813" y="511"/>
                  </a:lnTo>
                  <a:lnTo>
                    <a:pt x="810" y="509"/>
                  </a:lnTo>
                  <a:lnTo>
                    <a:pt x="810" y="506"/>
                  </a:lnTo>
                  <a:lnTo>
                    <a:pt x="808" y="504"/>
                  </a:lnTo>
                  <a:lnTo>
                    <a:pt x="808" y="504"/>
                  </a:lnTo>
                  <a:lnTo>
                    <a:pt x="810" y="504"/>
                  </a:lnTo>
                  <a:lnTo>
                    <a:pt x="810" y="504"/>
                  </a:lnTo>
                  <a:lnTo>
                    <a:pt x="810" y="504"/>
                  </a:lnTo>
                  <a:lnTo>
                    <a:pt x="810" y="504"/>
                  </a:lnTo>
                  <a:lnTo>
                    <a:pt x="810" y="501"/>
                  </a:lnTo>
                  <a:lnTo>
                    <a:pt x="810" y="501"/>
                  </a:lnTo>
                  <a:lnTo>
                    <a:pt x="810" y="499"/>
                  </a:lnTo>
                  <a:lnTo>
                    <a:pt x="810" y="496"/>
                  </a:lnTo>
                  <a:lnTo>
                    <a:pt x="810" y="496"/>
                  </a:lnTo>
                  <a:lnTo>
                    <a:pt x="808" y="491"/>
                  </a:lnTo>
                  <a:lnTo>
                    <a:pt x="808" y="489"/>
                  </a:lnTo>
                  <a:lnTo>
                    <a:pt x="810" y="489"/>
                  </a:lnTo>
                  <a:lnTo>
                    <a:pt x="810" y="486"/>
                  </a:lnTo>
                  <a:lnTo>
                    <a:pt x="813" y="486"/>
                  </a:lnTo>
                  <a:lnTo>
                    <a:pt x="813" y="486"/>
                  </a:lnTo>
                  <a:lnTo>
                    <a:pt x="816" y="483"/>
                  </a:lnTo>
                  <a:lnTo>
                    <a:pt x="816" y="483"/>
                  </a:lnTo>
                  <a:lnTo>
                    <a:pt x="816" y="481"/>
                  </a:lnTo>
                  <a:lnTo>
                    <a:pt x="816" y="481"/>
                  </a:lnTo>
                  <a:lnTo>
                    <a:pt x="816" y="478"/>
                  </a:lnTo>
                  <a:lnTo>
                    <a:pt x="813" y="478"/>
                  </a:lnTo>
                  <a:lnTo>
                    <a:pt x="813" y="476"/>
                  </a:lnTo>
                  <a:lnTo>
                    <a:pt x="810" y="473"/>
                  </a:lnTo>
                  <a:lnTo>
                    <a:pt x="810" y="468"/>
                  </a:lnTo>
                  <a:lnTo>
                    <a:pt x="808" y="466"/>
                  </a:lnTo>
                  <a:lnTo>
                    <a:pt x="805" y="463"/>
                  </a:lnTo>
                  <a:lnTo>
                    <a:pt x="803" y="458"/>
                  </a:lnTo>
                  <a:lnTo>
                    <a:pt x="803" y="458"/>
                  </a:lnTo>
                  <a:lnTo>
                    <a:pt x="803" y="455"/>
                  </a:lnTo>
                  <a:lnTo>
                    <a:pt x="803" y="453"/>
                  </a:lnTo>
                  <a:lnTo>
                    <a:pt x="800" y="450"/>
                  </a:lnTo>
                  <a:lnTo>
                    <a:pt x="800" y="450"/>
                  </a:lnTo>
                  <a:lnTo>
                    <a:pt x="800" y="448"/>
                  </a:lnTo>
                  <a:lnTo>
                    <a:pt x="800" y="445"/>
                  </a:lnTo>
                  <a:lnTo>
                    <a:pt x="800" y="443"/>
                  </a:lnTo>
                  <a:lnTo>
                    <a:pt x="798" y="440"/>
                  </a:lnTo>
                  <a:lnTo>
                    <a:pt x="798" y="440"/>
                  </a:lnTo>
                  <a:lnTo>
                    <a:pt x="798" y="438"/>
                  </a:lnTo>
                  <a:lnTo>
                    <a:pt x="800" y="435"/>
                  </a:lnTo>
                  <a:lnTo>
                    <a:pt x="798" y="435"/>
                  </a:lnTo>
                  <a:lnTo>
                    <a:pt x="798" y="433"/>
                  </a:lnTo>
                  <a:lnTo>
                    <a:pt x="800" y="433"/>
                  </a:lnTo>
                  <a:lnTo>
                    <a:pt x="800" y="430"/>
                  </a:lnTo>
                  <a:lnTo>
                    <a:pt x="803" y="430"/>
                  </a:lnTo>
                  <a:lnTo>
                    <a:pt x="803" y="430"/>
                  </a:lnTo>
                  <a:lnTo>
                    <a:pt x="803" y="430"/>
                  </a:lnTo>
                  <a:lnTo>
                    <a:pt x="803" y="430"/>
                  </a:lnTo>
                  <a:lnTo>
                    <a:pt x="803" y="427"/>
                  </a:lnTo>
                  <a:lnTo>
                    <a:pt x="805" y="427"/>
                  </a:lnTo>
                  <a:lnTo>
                    <a:pt x="805" y="425"/>
                  </a:lnTo>
                  <a:lnTo>
                    <a:pt x="808" y="425"/>
                  </a:lnTo>
                  <a:lnTo>
                    <a:pt x="808" y="422"/>
                  </a:lnTo>
                  <a:lnTo>
                    <a:pt x="808" y="420"/>
                  </a:lnTo>
                  <a:lnTo>
                    <a:pt x="805" y="417"/>
                  </a:lnTo>
                  <a:lnTo>
                    <a:pt x="805" y="417"/>
                  </a:lnTo>
                  <a:lnTo>
                    <a:pt x="805" y="412"/>
                  </a:lnTo>
                  <a:lnTo>
                    <a:pt x="805" y="410"/>
                  </a:lnTo>
                  <a:lnTo>
                    <a:pt x="803" y="410"/>
                  </a:lnTo>
                  <a:lnTo>
                    <a:pt x="803" y="407"/>
                  </a:lnTo>
                  <a:lnTo>
                    <a:pt x="803" y="405"/>
                  </a:lnTo>
                  <a:lnTo>
                    <a:pt x="800" y="405"/>
                  </a:lnTo>
                  <a:lnTo>
                    <a:pt x="800" y="405"/>
                  </a:lnTo>
                  <a:lnTo>
                    <a:pt x="800" y="402"/>
                  </a:lnTo>
                  <a:lnTo>
                    <a:pt x="800" y="402"/>
                  </a:lnTo>
                  <a:lnTo>
                    <a:pt x="803" y="402"/>
                  </a:lnTo>
                  <a:lnTo>
                    <a:pt x="803" y="397"/>
                  </a:lnTo>
                  <a:lnTo>
                    <a:pt x="803" y="394"/>
                  </a:lnTo>
                  <a:lnTo>
                    <a:pt x="803" y="392"/>
                  </a:lnTo>
                  <a:lnTo>
                    <a:pt x="803" y="392"/>
                  </a:lnTo>
                  <a:lnTo>
                    <a:pt x="803" y="392"/>
                  </a:lnTo>
                  <a:lnTo>
                    <a:pt x="803" y="389"/>
                  </a:lnTo>
                  <a:lnTo>
                    <a:pt x="803" y="387"/>
                  </a:lnTo>
                  <a:lnTo>
                    <a:pt x="803" y="384"/>
                  </a:lnTo>
                  <a:lnTo>
                    <a:pt x="803" y="384"/>
                  </a:lnTo>
                  <a:lnTo>
                    <a:pt x="803" y="382"/>
                  </a:lnTo>
                  <a:lnTo>
                    <a:pt x="805" y="382"/>
                  </a:lnTo>
                  <a:lnTo>
                    <a:pt x="805" y="382"/>
                  </a:lnTo>
                  <a:lnTo>
                    <a:pt x="805" y="382"/>
                  </a:lnTo>
                  <a:lnTo>
                    <a:pt x="808" y="382"/>
                  </a:lnTo>
                  <a:lnTo>
                    <a:pt x="805" y="379"/>
                  </a:lnTo>
                  <a:lnTo>
                    <a:pt x="805" y="377"/>
                  </a:lnTo>
                  <a:lnTo>
                    <a:pt x="805" y="374"/>
                  </a:lnTo>
                  <a:lnTo>
                    <a:pt x="803" y="369"/>
                  </a:lnTo>
                  <a:lnTo>
                    <a:pt x="803" y="366"/>
                  </a:lnTo>
                  <a:lnTo>
                    <a:pt x="803" y="364"/>
                  </a:lnTo>
                  <a:lnTo>
                    <a:pt x="803" y="361"/>
                  </a:lnTo>
                  <a:lnTo>
                    <a:pt x="803" y="361"/>
                  </a:lnTo>
                  <a:lnTo>
                    <a:pt x="803" y="359"/>
                  </a:lnTo>
                  <a:lnTo>
                    <a:pt x="800" y="359"/>
                  </a:lnTo>
                  <a:lnTo>
                    <a:pt x="798" y="359"/>
                  </a:lnTo>
                  <a:lnTo>
                    <a:pt x="798" y="359"/>
                  </a:lnTo>
                  <a:lnTo>
                    <a:pt x="795" y="356"/>
                  </a:lnTo>
                  <a:lnTo>
                    <a:pt x="795" y="356"/>
                  </a:lnTo>
                  <a:lnTo>
                    <a:pt x="795" y="354"/>
                  </a:lnTo>
                  <a:lnTo>
                    <a:pt x="795" y="351"/>
                  </a:lnTo>
                  <a:lnTo>
                    <a:pt x="795" y="351"/>
                  </a:lnTo>
                  <a:lnTo>
                    <a:pt x="795" y="349"/>
                  </a:lnTo>
                  <a:lnTo>
                    <a:pt x="793" y="349"/>
                  </a:lnTo>
                  <a:lnTo>
                    <a:pt x="790" y="343"/>
                  </a:lnTo>
                  <a:lnTo>
                    <a:pt x="790" y="341"/>
                  </a:lnTo>
                  <a:lnTo>
                    <a:pt x="790" y="338"/>
                  </a:lnTo>
                  <a:lnTo>
                    <a:pt x="787" y="336"/>
                  </a:lnTo>
                  <a:lnTo>
                    <a:pt x="787" y="336"/>
                  </a:lnTo>
                  <a:lnTo>
                    <a:pt x="785" y="333"/>
                  </a:lnTo>
                  <a:lnTo>
                    <a:pt x="785" y="331"/>
                  </a:lnTo>
                  <a:lnTo>
                    <a:pt x="785" y="331"/>
                  </a:lnTo>
                  <a:lnTo>
                    <a:pt x="785" y="331"/>
                  </a:lnTo>
                  <a:lnTo>
                    <a:pt x="785" y="328"/>
                  </a:lnTo>
                  <a:lnTo>
                    <a:pt x="785" y="328"/>
                  </a:lnTo>
                  <a:lnTo>
                    <a:pt x="785" y="328"/>
                  </a:lnTo>
                  <a:lnTo>
                    <a:pt x="782" y="328"/>
                  </a:lnTo>
                  <a:lnTo>
                    <a:pt x="782" y="326"/>
                  </a:lnTo>
                  <a:lnTo>
                    <a:pt x="780" y="323"/>
                  </a:lnTo>
                  <a:lnTo>
                    <a:pt x="777" y="321"/>
                  </a:lnTo>
                  <a:lnTo>
                    <a:pt x="777" y="318"/>
                  </a:lnTo>
                  <a:lnTo>
                    <a:pt x="777" y="315"/>
                  </a:lnTo>
                  <a:lnTo>
                    <a:pt x="777" y="313"/>
                  </a:lnTo>
                  <a:lnTo>
                    <a:pt x="777" y="310"/>
                  </a:lnTo>
                  <a:lnTo>
                    <a:pt x="777" y="310"/>
                  </a:lnTo>
                  <a:lnTo>
                    <a:pt x="777" y="310"/>
                  </a:lnTo>
                  <a:lnTo>
                    <a:pt x="780" y="310"/>
                  </a:lnTo>
                  <a:lnTo>
                    <a:pt x="780" y="308"/>
                  </a:lnTo>
                  <a:lnTo>
                    <a:pt x="780" y="308"/>
                  </a:lnTo>
                  <a:lnTo>
                    <a:pt x="780" y="308"/>
                  </a:lnTo>
                  <a:lnTo>
                    <a:pt x="780" y="305"/>
                  </a:lnTo>
                  <a:lnTo>
                    <a:pt x="777" y="305"/>
                  </a:lnTo>
                  <a:lnTo>
                    <a:pt x="780" y="303"/>
                  </a:lnTo>
                  <a:lnTo>
                    <a:pt x="780" y="300"/>
                  </a:lnTo>
                  <a:lnTo>
                    <a:pt x="780" y="295"/>
                  </a:lnTo>
                  <a:lnTo>
                    <a:pt x="780" y="295"/>
                  </a:lnTo>
                  <a:lnTo>
                    <a:pt x="780" y="293"/>
                  </a:lnTo>
                  <a:lnTo>
                    <a:pt x="780" y="293"/>
                  </a:lnTo>
                  <a:lnTo>
                    <a:pt x="780" y="293"/>
                  </a:lnTo>
                  <a:lnTo>
                    <a:pt x="782" y="293"/>
                  </a:lnTo>
                  <a:lnTo>
                    <a:pt x="785" y="290"/>
                  </a:lnTo>
                  <a:lnTo>
                    <a:pt x="785" y="290"/>
                  </a:lnTo>
                  <a:lnTo>
                    <a:pt x="785" y="287"/>
                  </a:lnTo>
                  <a:lnTo>
                    <a:pt x="785" y="287"/>
                  </a:lnTo>
                  <a:lnTo>
                    <a:pt x="782" y="287"/>
                  </a:lnTo>
                  <a:lnTo>
                    <a:pt x="782" y="287"/>
                  </a:lnTo>
                  <a:lnTo>
                    <a:pt x="782" y="285"/>
                  </a:lnTo>
                  <a:lnTo>
                    <a:pt x="782" y="282"/>
                  </a:lnTo>
                  <a:lnTo>
                    <a:pt x="780" y="280"/>
                  </a:lnTo>
                  <a:lnTo>
                    <a:pt x="780" y="275"/>
                  </a:lnTo>
                  <a:lnTo>
                    <a:pt x="777" y="270"/>
                  </a:lnTo>
                  <a:lnTo>
                    <a:pt x="777" y="267"/>
                  </a:lnTo>
                  <a:lnTo>
                    <a:pt x="777" y="265"/>
                  </a:lnTo>
                  <a:lnTo>
                    <a:pt x="780" y="265"/>
                  </a:lnTo>
                  <a:lnTo>
                    <a:pt x="780" y="262"/>
                  </a:lnTo>
                  <a:lnTo>
                    <a:pt x="780" y="257"/>
                  </a:lnTo>
                  <a:lnTo>
                    <a:pt x="780" y="254"/>
                  </a:lnTo>
                  <a:lnTo>
                    <a:pt x="780" y="252"/>
                  </a:lnTo>
                  <a:lnTo>
                    <a:pt x="780" y="249"/>
                  </a:lnTo>
                  <a:lnTo>
                    <a:pt x="782" y="247"/>
                  </a:lnTo>
                  <a:lnTo>
                    <a:pt x="782" y="244"/>
                  </a:lnTo>
                  <a:lnTo>
                    <a:pt x="782" y="244"/>
                  </a:lnTo>
                  <a:lnTo>
                    <a:pt x="782" y="244"/>
                  </a:lnTo>
                  <a:lnTo>
                    <a:pt x="785" y="242"/>
                  </a:lnTo>
                  <a:lnTo>
                    <a:pt x="785" y="239"/>
                  </a:lnTo>
                  <a:lnTo>
                    <a:pt x="787" y="237"/>
                  </a:lnTo>
                  <a:lnTo>
                    <a:pt x="787" y="237"/>
                  </a:lnTo>
                  <a:lnTo>
                    <a:pt x="787" y="234"/>
                  </a:lnTo>
                  <a:lnTo>
                    <a:pt x="787" y="229"/>
                  </a:lnTo>
                  <a:lnTo>
                    <a:pt x="787" y="226"/>
                  </a:lnTo>
                  <a:lnTo>
                    <a:pt x="790" y="226"/>
                  </a:lnTo>
                  <a:lnTo>
                    <a:pt x="790" y="221"/>
                  </a:lnTo>
                  <a:lnTo>
                    <a:pt x="790" y="219"/>
                  </a:lnTo>
                  <a:lnTo>
                    <a:pt x="793" y="219"/>
                  </a:lnTo>
                  <a:lnTo>
                    <a:pt x="793" y="219"/>
                  </a:lnTo>
                  <a:lnTo>
                    <a:pt x="793" y="219"/>
                  </a:lnTo>
                  <a:lnTo>
                    <a:pt x="795" y="219"/>
                  </a:lnTo>
                  <a:lnTo>
                    <a:pt x="795" y="219"/>
                  </a:lnTo>
                  <a:lnTo>
                    <a:pt x="798" y="219"/>
                  </a:lnTo>
                  <a:lnTo>
                    <a:pt x="800" y="216"/>
                  </a:lnTo>
                  <a:lnTo>
                    <a:pt x="800" y="216"/>
                  </a:lnTo>
                  <a:lnTo>
                    <a:pt x="800" y="214"/>
                  </a:lnTo>
                  <a:lnTo>
                    <a:pt x="798" y="211"/>
                  </a:lnTo>
                  <a:lnTo>
                    <a:pt x="795" y="209"/>
                  </a:lnTo>
                  <a:lnTo>
                    <a:pt x="793" y="206"/>
                  </a:lnTo>
                  <a:lnTo>
                    <a:pt x="793" y="204"/>
                  </a:lnTo>
                  <a:lnTo>
                    <a:pt x="793" y="204"/>
                  </a:lnTo>
                  <a:lnTo>
                    <a:pt x="793" y="201"/>
                  </a:lnTo>
                  <a:lnTo>
                    <a:pt x="793" y="201"/>
                  </a:lnTo>
                  <a:lnTo>
                    <a:pt x="795" y="198"/>
                  </a:lnTo>
                  <a:lnTo>
                    <a:pt x="795" y="196"/>
                  </a:lnTo>
                  <a:lnTo>
                    <a:pt x="790" y="188"/>
                  </a:lnTo>
                  <a:lnTo>
                    <a:pt x="790" y="186"/>
                  </a:lnTo>
                  <a:lnTo>
                    <a:pt x="787" y="183"/>
                  </a:lnTo>
                  <a:lnTo>
                    <a:pt x="787" y="181"/>
                  </a:lnTo>
                  <a:lnTo>
                    <a:pt x="787" y="176"/>
                  </a:lnTo>
                  <a:lnTo>
                    <a:pt x="790" y="176"/>
                  </a:lnTo>
                  <a:lnTo>
                    <a:pt x="790" y="176"/>
                  </a:lnTo>
                  <a:lnTo>
                    <a:pt x="790" y="173"/>
                  </a:lnTo>
                  <a:lnTo>
                    <a:pt x="790" y="173"/>
                  </a:lnTo>
                  <a:lnTo>
                    <a:pt x="790" y="173"/>
                  </a:lnTo>
                  <a:lnTo>
                    <a:pt x="790" y="170"/>
                  </a:lnTo>
                  <a:lnTo>
                    <a:pt x="790" y="170"/>
                  </a:lnTo>
                  <a:lnTo>
                    <a:pt x="787" y="168"/>
                  </a:lnTo>
                  <a:lnTo>
                    <a:pt x="787" y="168"/>
                  </a:lnTo>
                  <a:lnTo>
                    <a:pt x="787" y="165"/>
                  </a:lnTo>
                  <a:lnTo>
                    <a:pt x="787" y="163"/>
                  </a:lnTo>
                  <a:lnTo>
                    <a:pt x="787" y="163"/>
                  </a:lnTo>
                  <a:lnTo>
                    <a:pt x="787" y="160"/>
                  </a:lnTo>
                  <a:lnTo>
                    <a:pt x="790" y="160"/>
                  </a:lnTo>
                  <a:lnTo>
                    <a:pt x="790" y="158"/>
                  </a:lnTo>
                  <a:lnTo>
                    <a:pt x="793" y="158"/>
                  </a:lnTo>
                  <a:lnTo>
                    <a:pt x="795" y="155"/>
                  </a:lnTo>
                  <a:lnTo>
                    <a:pt x="798" y="153"/>
                  </a:lnTo>
                  <a:lnTo>
                    <a:pt x="803" y="150"/>
                  </a:lnTo>
                  <a:lnTo>
                    <a:pt x="808" y="150"/>
                  </a:lnTo>
                  <a:lnTo>
                    <a:pt x="808" y="148"/>
                  </a:lnTo>
                  <a:lnTo>
                    <a:pt x="808" y="148"/>
                  </a:lnTo>
                  <a:lnTo>
                    <a:pt x="810" y="140"/>
                  </a:lnTo>
                  <a:lnTo>
                    <a:pt x="810" y="132"/>
                  </a:lnTo>
                  <a:lnTo>
                    <a:pt x="810" y="125"/>
                  </a:lnTo>
                  <a:lnTo>
                    <a:pt x="808" y="122"/>
                  </a:lnTo>
                  <a:lnTo>
                    <a:pt x="805" y="122"/>
                  </a:lnTo>
                  <a:lnTo>
                    <a:pt x="800" y="122"/>
                  </a:lnTo>
                  <a:lnTo>
                    <a:pt x="798" y="122"/>
                  </a:lnTo>
                  <a:lnTo>
                    <a:pt x="795" y="122"/>
                  </a:lnTo>
                  <a:lnTo>
                    <a:pt x="795" y="122"/>
                  </a:lnTo>
                  <a:lnTo>
                    <a:pt x="795" y="122"/>
                  </a:lnTo>
                  <a:lnTo>
                    <a:pt x="793" y="120"/>
                  </a:lnTo>
                  <a:lnTo>
                    <a:pt x="793" y="120"/>
                  </a:lnTo>
                  <a:lnTo>
                    <a:pt x="793" y="117"/>
                  </a:lnTo>
                  <a:lnTo>
                    <a:pt x="793" y="114"/>
                  </a:lnTo>
                  <a:lnTo>
                    <a:pt x="790" y="109"/>
                  </a:lnTo>
                  <a:lnTo>
                    <a:pt x="790" y="109"/>
                  </a:lnTo>
                  <a:lnTo>
                    <a:pt x="790" y="107"/>
                  </a:lnTo>
                  <a:lnTo>
                    <a:pt x="790" y="104"/>
                  </a:lnTo>
                  <a:lnTo>
                    <a:pt x="787" y="102"/>
                  </a:lnTo>
                  <a:lnTo>
                    <a:pt x="787" y="99"/>
                  </a:lnTo>
                  <a:lnTo>
                    <a:pt x="787" y="97"/>
                  </a:lnTo>
                  <a:lnTo>
                    <a:pt x="785" y="94"/>
                  </a:lnTo>
                  <a:lnTo>
                    <a:pt x="785" y="92"/>
                  </a:lnTo>
                  <a:lnTo>
                    <a:pt x="782" y="86"/>
                  </a:lnTo>
                  <a:lnTo>
                    <a:pt x="780" y="84"/>
                  </a:lnTo>
                  <a:lnTo>
                    <a:pt x="777" y="79"/>
                  </a:lnTo>
                  <a:lnTo>
                    <a:pt x="775" y="79"/>
                  </a:lnTo>
                  <a:lnTo>
                    <a:pt x="775" y="79"/>
                  </a:lnTo>
                  <a:lnTo>
                    <a:pt x="775" y="76"/>
                  </a:lnTo>
                  <a:lnTo>
                    <a:pt x="775" y="74"/>
                  </a:lnTo>
                  <a:lnTo>
                    <a:pt x="775" y="74"/>
                  </a:lnTo>
                  <a:lnTo>
                    <a:pt x="775" y="71"/>
                  </a:lnTo>
                  <a:lnTo>
                    <a:pt x="775" y="71"/>
                  </a:lnTo>
                  <a:lnTo>
                    <a:pt x="775" y="71"/>
                  </a:lnTo>
                  <a:lnTo>
                    <a:pt x="772" y="69"/>
                  </a:lnTo>
                  <a:lnTo>
                    <a:pt x="770" y="69"/>
                  </a:lnTo>
                  <a:lnTo>
                    <a:pt x="770" y="66"/>
                  </a:lnTo>
                  <a:lnTo>
                    <a:pt x="770" y="66"/>
                  </a:lnTo>
                  <a:lnTo>
                    <a:pt x="770" y="66"/>
                  </a:lnTo>
                  <a:lnTo>
                    <a:pt x="772" y="64"/>
                  </a:lnTo>
                  <a:lnTo>
                    <a:pt x="770" y="64"/>
                  </a:lnTo>
                  <a:lnTo>
                    <a:pt x="770" y="61"/>
                  </a:lnTo>
                  <a:lnTo>
                    <a:pt x="770" y="61"/>
                  </a:lnTo>
                  <a:lnTo>
                    <a:pt x="770" y="58"/>
                  </a:lnTo>
                  <a:lnTo>
                    <a:pt x="770" y="58"/>
                  </a:lnTo>
                  <a:lnTo>
                    <a:pt x="772" y="58"/>
                  </a:lnTo>
                  <a:lnTo>
                    <a:pt x="772" y="56"/>
                  </a:lnTo>
                  <a:lnTo>
                    <a:pt x="772" y="56"/>
                  </a:lnTo>
                  <a:lnTo>
                    <a:pt x="772" y="53"/>
                  </a:lnTo>
                  <a:lnTo>
                    <a:pt x="770" y="51"/>
                  </a:lnTo>
                  <a:lnTo>
                    <a:pt x="770" y="51"/>
                  </a:lnTo>
                  <a:lnTo>
                    <a:pt x="772" y="48"/>
                  </a:lnTo>
                  <a:lnTo>
                    <a:pt x="772" y="46"/>
                  </a:lnTo>
                  <a:lnTo>
                    <a:pt x="772" y="46"/>
                  </a:lnTo>
                  <a:lnTo>
                    <a:pt x="772" y="43"/>
                  </a:lnTo>
                  <a:lnTo>
                    <a:pt x="772" y="43"/>
                  </a:lnTo>
                  <a:lnTo>
                    <a:pt x="772" y="43"/>
                  </a:lnTo>
                  <a:lnTo>
                    <a:pt x="770" y="41"/>
                  </a:lnTo>
                  <a:lnTo>
                    <a:pt x="770" y="41"/>
                  </a:lnTo>
                  <a:lnTo>
                    <a:pt x="767" y="38"/>
                  </a:lnTo>
                  <a:lnTo>
                    <a:pt x="765" y="38"/>
                  </a:lnTo>
                  <a:lnTo>
                    <a:pt x="762" y="36"/>
                  </a:lnTo>
                  <a:lnTo>
                    <a:pt x="762" y="33"/>
                  </a:lnTo>
                  <a:lnTo>
                    <a:pt x="762" y="33"/>
                  </a:lnTo>
                  <a:lnTo>
                    <a:pt x="762" y="30"/>
                  </a:lnTo>
                  <a:lnTo>
                    <a:pt x="759" y="28"/>
                  </a:lnTo>
                  <a:lnTo>
                    <a:pt x="759" y="25"/>
                  </a:lnTo>
                  <a:lnTo>
                    <a:pt x="759" y="23"/>
                  </a:lnTo>
                  <a:lnTo>
                    <a:pt x="757" y="20"/>
                  </a:lnTo>
                  <a:lnTo>
                    <a:pt x="757" y="18"/>
                  </a:lnTo>
                  <a:lnTo>
                    <a:pt x="757" y="18"/>
                  </a:lnTo>
                  <a:lnTo>
                    <a:pt x="757" y="15"/>
                  </a:lnTo>
                  <a:lnTo>
                    <a:pt x="757" y="15"/>
                  </a:lnTo>
                  <a:lnTo>
                    <a:pt x="757" y="13"/>
                  </a:lnTo>
                  <a:lnTo>
                    <a:pt x="757" y="13"/>
                  </a:lnTo>
                  <a:lnTo>
                    <a:pt x="754" y="10"/>
                  </a:lnTo>
                  <a:lnTo>
                    <a:pt x="752" y="10"/>
                  </a:lnTo>
                  <a:lnTo>
                    <a:pt x="752" y="8"/>
                  </a:lnTo>
                  <a:lnTo>
                    <a:pt x="749" y="2"/>
                  </a:lnTo>
                  <a:lnTo>
                    <a:pt x="747" y="0"/>
                  </a:lnTo>
                  <a:lnTo>
                    <a:pt x="747" y="2"/>
                  </a:lnTo>
                  <a:lnTo>
                    <a:pt x="744" y="5"/>
                  </a:lnTo>
                  <a:lnTo>
                    <a:pt x="742" y="5"/>
                  </a:lnTo>
                  <a:lnTo>
                    <a:pt x="742" y="5"/>
                  </a:lnTo>
                  <a:lnTo>
                    <a:pt x="742" y="8"/>
                  </a:lnTo>
                  <a:lnTo>
                    <a:pt x="742" y="10"/>
                  </a:lnTo>
                  <a:lnTo>
                    <a:pt x="744" y="13"/>
                  </a:lnTo>
                  <a:lnTo>
                    <a:pt x="742" y="15"/>
                  </a:lnTo>
                  <a:lnTo>
                    <a:pt x="742" y="18"/>
                  </a:lnTo>
                  <a:lnTo>
                    <a:pt x="739" y="18"/>
                  </a:lnTo>
                  <a:lnTo>
                    <a:pt x="737" y="20"/>
                  </a:lnTo>
                  <a:lnTo>
                    <a:pt x="734" y="20"/>
                  </a:lnTo>
                  <a:lnTo>
                    <a:pt x="731" y="20"/>
                  </a:lnTo>
                  <a:lnTo>
                    <a:pt x="731" y="20"/>
                  </a:lnTo>
                  <a:lnTo>
                    <a:pt x="734" y="20"/>
                  </a:lnTo>
                  <a:lnTo>
                    <a:pt x="734" y="25"/>
                  </a:lnTo>
                  <a:lnTo>
                    <a:pt x="734" y="30"/>
                  </a:lnTo>
                  <a:lnTo>
                    <a:pt x="737" y="41"/>
                  </a:lnTo>
                  <a:lnTo>
                    <a:pt x="739" y="46"/>
                  </a:lnTo>
                  <a:lnTo>
                    <a:pt x="739" y="48"/>
                  </a:lnTo>
                  <a:lnTo>
                    <a:pt x="742" y="51"/>
                  </a:lnTo>
                  <a:lnTo>
                    <a:pt x="742" y="53"/>
                  </a:lnTo>
                  <a:lnTo>
                    <a:pt x="742" y="64"/>
                  </a:lnTo>
                  <a:lnTo>
                    <a:pt x="742" y="69"/>
                  </a:lnTo>
                  <a:lnTo>
                    <a:pt x="742" y="74"/>
                  </a:lnTo>
                  <a:lnTo>
                    <a:pt x="747" y="86"/>
                  </a:lnTo>
                  <a:lnTo>
                    <a:pt x="747" y="89"/>
                  </a:lnTo>
                  <a:lnTo>
                    <a:pt x="747" y="92"/>
                  </a:lnTo>
                  <a:lnTo>
                    <a:pt x="747" y="94"/>
                  </a:lnTo>
                  <a:lnTo>
                    <a:pt x="747" y="99"/>
                  </a:lnTo>
                  <a:lnTo>
                    <a:pt x="747" y="102"/>
                  </a:lnTo>
                  <a:lnTo>
                    <a:pt x="747" y="107"/>
                  </a:lnTo>
                  <a:lnTo>
                    <a:pt x="747" y="114"/>
                  </a:lnTo>
                  <a:lnTo>
                    <a:pt x="747" y="122"/>
                  </a:lnTo>
                  <a:lnTo>
                    <a:pt x="744" y="125"/>
                  </a:lnTo>
                  <a:lnTo>
                    <a:pt x="744" y="127"/>
                  </a:lnTo>
                  <a:lnTo>
                    <a:pt x="742" y="127"/>
                  </a:lnTo>
                  <a:lnTo>
                    <a:pt x="742" y="130"/>
                  </a:lnTo>
                  <a:lnTo>
                    <a:pt x="742" y="132"/>
                  </a:lnTo>
                  <a:lnTo>
                    <a:pt x="742" y="135"/>
                  </a:lnTo>
                  <a:lnTo>
                    <a:pt x="744" y="137"/>
                  </a:lnTo>
                  <a:lnTo>
                    <a:pt x="747" y="137"/>
                  </a:lnTo>
                  <a:lnTo>
                    <a:pt x="747" y="137"/>
                  </a:lnTo>
                  <a:lnTo>
                    <a:pt x="747" y="140"/>
                  </a:lnTo>
                  <a:lnTo>
                    <a:pt x="747" y="142"/>
                  </a:lnTo>
                  <a:lnTo>
                    <a:pt x="747" y="145"/>
                  </a:lnTo>
                  <a:lnTo>
                    <a:pt x="747" y="148"/>
                  </a:lnTo>
                  <a:lnTo>
                    <a:pt x="747" y="150"/>
                  </a:lnTo>
                  <a:lnTo>
                    <a:pt x="747" y="155"/>
                  </a:lnTo>
                  <a:lnTo>
                    <a:pt x="747" y="163"/>
                  </a:lnTo>
                  <a:lnTo>
                    <a:pt x="747" y="165"/>
                  </a:lnTo>
                  <a:lnTo>
                    <a:pt x="752" y="176"/>
                  </a:lnTo>
                  <a:lnTo>
                    <a:pt x="752" y="176"/>
                  </a:lnTo>
                  <a:lnTo>
                    <a:pt x="752" y="181"/>
                  </a:lnTo>
                  <a:lnTo>
                    <a:pt x="749" y="183"/>
                  </a:lnTo>
                  <a:lnTo>
                    <a:pt x="749" y="183"/>
                  </a:lnTo>
                  <a:lnTo>
                    <a:pt x="749" y="188"/>
                  </a:lnTo>
                  <a:lnTo>
                    <a:pt x="749" y="191"/>
                  </a:lnTo>
                  <a:lnTo>
                    <a:pt x="752" y="193"/>
                  </a:lnTo>
                  <a:lnTo>
                    <a:pt x="752" y="198"/>
                  </a:lnTo>
                  <a:lnTo>
                    <a:pt x="752" y="201"/>
                  </a:lnTo>
                  <a:lnTo>
                    <a:pt x="752" y="204"/>
                  </a:lnTo>
                  <a:lnTo>
                    <a:pt x="752" y="209"/>
                  </a:lnTo>
                  <a:lnTo>
                    <a:pt x="752" y="214"/>
                  </a:lnTo>
                  <a:lnTo>
                    <a:pt x="752" y="216"/>
                  </a:lnTo>
                  <a:lnTo>
                    <a:pt x="749" y="221"/>
                  </a:lnTo>
                  <a:lnTo>
                    <a:pt x="749" y="224"/>
                  </a:lnTo>
                  <a:lnTo>
                    <a:pt x="752" y="229"/>
                  </a:lnTo>
                  <a:lnTo>
                    <a:pt x="752" y="229"/>
                  </a:lnTo>
                  <a:lnTo>
                    <a:pt x="752" y="232"/>
                  </a:lnTo>
                  <a:lnTo>
                    <a:pt x="749" y="234"/>
                  </a:lnTo>
                  <a:lnTo>
                    <a:pt x="749" y="234"/>
                  </a:lnTo>
                  <a:lnTo>
                    <a:pt x="749" y="242"/>
                  </a:lnTo>
                  <a:lnTo>
                    <a:pt x="749" y="247"/>
                  </a:lnTo>
                  <a:lnTo>
                    <a:pt x="749" y="252"/>
                  </a:lnTo>
                  <a:lnTo>
                    <a:pt x="749" y="254"/>
                  </a:lnTo>
                  <a:lnTo>
                    <a:pt x="747" y="257"/>
                  </a:lnTo>
                  <a:lnTo>
                    <a:pt x="747" y="259"/>
                  </a:lnTo>
                  <a:lnTo>
                    <a:pt x="747" y="259"/>
                  </a:lnTo>
                  <a:lnTo>
                    <a:pt x="747" y="267"/>
                  </a:lnTo>
                  <a:lnTo>
                    <a:pt x="752" y="270"/>
                  </a:lnTo>
                  <a:lnTo>
                    <a:pt x="752" y="272"/>
                  </a:lnTo>
                  <a:lnTo>
                    <a:pt x="754" y="277"/>
                  </a:lnTo>
                  <a:lnTo>
                    <a:pt x="754" y="282"/>
                  </a:lnTo>
                  <a:lnTo>
                    <a:pt x="754" y="287"/>
                  </a:lnTo>
                  <a:lnTo>
                    <a:pt x="749" y="293"/>
                  </a:lnTo>
                  <a:lnTo>
                    <a:pt x="752" y="298"/>
                  </a:lnTo>
                  <a:lnTo>
                    <a:pt x="752" y="303"/>
                  </a:lnTo>
                  <a:lnTo>
                    <a:pt x="754" y="308"/>
                  </a:lnTo>
                  <a:lnTo>
                    <a:pt x="754" y="310"/>
                  </a:lnTo>
                  <a:lnTo>
                    <a:pt x="757" y="318"/>
                  </a:lnTo>
                  <a:lnTo>
                    <a:pt x="759" y="326"/>
                  </a:lnTo>
                  <a:lnTo>
                    <a:pt x="762" y="336"/>
                  </a:lnTo>
                  <a:lnTo>
                    <a:pt x="767" y="338"/>
                  </a:lnTo>
                  <a:lnTo>
                    <a:pt x="767" y="341"/>
                  </a:lnTo>
                  <a:lnTo>
                    <a:pt x="767" y="346"/>
                  </a:lnTo>
                  <a:lnTo>
                    <a:pt x="767" y="351"/>
                  </a:lnTo>
                  <a:lnTo>
                    <a:pt x="765" y="354"/>
                  </a:lnTo>
                  <a:lnTo>
                    <a:pt x="765" y="354"/>
                  </a:lnTo>
                  <a:lnTo>
                    <a:pt x="767" y="359"/>
                  </a:lnTo>
                  <a:lnTo>
                    <a:pt x="767" y="361"/>
                  </a:lnTo>
                  <a:lnTo>
                    <a:pt x="770" y="364"/>
                  </a:lnTo>
                  <a:lnTo>
                    <a:pt x="770" y="366"/>
                  </a:lnTo>
                  <a:lnTo>
                    <a:pt x="767" y="371"/>
                  </a:lnTo>
                  <a:lnTo>
                    <a:pt x="767" y="374"/>
                  </a:lnTo>
                  <a:lnTo>
                    <a:pt x="767" y="377"/>
                  </a:lnTo>
                  <a:lnTo>
                    <a:pt x="765" y="379"/>
                  </a:lnTo>
                  <a:lnTo>
                    <a:pt x="767" y="382"/>
                  </a:lnTo>
                  <a:lnTo>
                    <a:pt x="767" y="384"/>
                  </a:lnTo>
                  <a:lnTo>
                    <a:pt x="767" y="389"/>
                  </a:lnTo>
                  <a:lnTo>
                    <a:pt x="767" y="397"/>
                  </a:lnTo>
                  <a:lnTo>
                    <a:pt x="767" y="399"/>
                  </a:lnTo>
                  <a:lnTo>
                    <a:pt x="765" y="405"/>
                  </a:lnTo>
                  <a:lnTo>
                    <a:pt x="765" y="407"/>
                  </a:lnTo>
                  <a:lnTo>
                    <a:pt x="765" y="410"/>
                  </a:lnTo>
                  <a:lnTo>
                    <a:pt x="765" y="410"/>
                  </a:lnTo>
                  <a:lnTo>
                    <a:pt x="762" y="412"/>
                  </a:lnTo>
                  <a:lnTo>
                    <a:pt x="765" y="415"/>
                  </a:lnTo>
                  <a:lnTo>
                    <a:pt x="765" y="417"/>
                  </a:lnTo>
                  <a:lnTo>
                    <a:pt x="762" y="420"/>
                  </a:lnTo>
                  <a:lnTo>
                    <a:pt x="765" y="430"/>
                  </a:lnTo>
                  <a:lnTo>
                    <a:pt x="762" y="433"/>
                  </a:lnTo>
                  <a:lnTo>
                    <a:pt x="762" y="435"/>
                  </a:lnTo>
                  <a:lnTo>
                    <a:pt x="762" y="438"/>
                  </a:lnTo>
                  <a:lnTo>
                    <a:pt x="762" y="440"/>
                  </a:lnTo>
                  <a:lnTo>
                    <a:pt x="762" y="443"/>
                  </a:lnTo>
                  <a:lnTo>
                    <a:pt x="762" y="445"/>
                  </a:lnTo>
                  <a:lnTo>
                    <a:pt x="762" y="448"/>
                  </a:lnTo>
                  <a:lnTo>
                    <a:pt x="762" y="450"/>
                  </a:lnTo>
                  <a:lnTo>
                    <a:pt x="759" y="450"/>
                  </a:lnTo>
                  <a:lnTo>
                    <a:pt x="754" y="448"/>
                  </a:lnTo>
                  <a:lnTo>
                    <a:pt x="754" y="450"/>
                  </a:lnTo>
                  <a:lnTo>
                    <a:pt x="754" y="453"/>
                  </a:lnTo>
                  <a:lnTo>
                    <a:pt x="757" y="455"/>
                  </a:lnTo>
                  <a:lnTo>
                    <a:pt x="757" y="458"/>
                  </a:lnTo>
                  <a:lnTo>
                    <a:pt x="757" y="461"/>
                  </a:lnTo>
                  <a:lnTo>
                    <a:pt x="762" y="466"/>
                  </a:lnTo>
                  <a:lnTo>
                    <a:pt x="765" y="468"/>
                  </a:lnTo>
                  <a:lnTo>
                    <a:pt x="765" y="471"/>
                  </a:lnTo>
                  <a:lnTo>
                    <a:pt x="765" y="476"/>
                  </a:lnTo>
                  <a:lnTo>
                    <a:pt x="767" y="478"/>
                  </a:lnTo>
                  <a:lnTo>
                    <a:pt x="767" y="481"/>
                  </a:lnTo>
                  <a:lnTo>
                    <a:pt x="777" y="496"/>
                  </a:lnTo>
                  <a:lnTo>
                    <a:pt x="777" y="501"/>
                  </a:lnTo>
                  <a:lnTo>
                    <a:pt x="777" y="509"/>
                  </a:lnTo>
                  <a:lnTo>
                    <a:pt x="777" y="509"/>
                  </a:lnTo>
                  <a:lnTo>
                    <a:pt x="775" y="511"/>
                  </a:lnTo>
                  <a:lnTo>
                    <a:pt x="775" y="514"/>
                  </a:lnTo>
                  <a:lnTo>
                    <a:pt x="775" y="516"/>
                  </a:lnTo>
                  <a:lnTo>
                    <a:pt x="777" y="522"/>
                  </a:lnTo>
                  <a:lnTo>
                    <a:pt x="777" y="532"/>
                  </a:lnTo>
                  <a:lnTo>
                    <a:pt x="777" y="534"/>
                  </a:lnTo>
                  <a:lnTo>
                    <a:pt x="780" y="537"/>
                  </a:lnTo>
                  <a:lnTo>
                    <a:pt x="782" y="542"/>
                  </a:lnTo>
                  <a:lnTo>
                    <a:pt x="782" y="544"/>
                  </a:lnTo>
                  <a:lnTo>
                    <a:pt x="785" y="544"/>
                  </a:lnTo>
                  <a:lnTo>
                    <a:pt x="787" y="547"/>
                  </a:lnTo>
                  <a:lnTo>
                    <a:pt x="790" y="547"/>
                  </a:lnTo>
                  <a:lnTo>
                    <a:pt x="790" y="547"/>
                  </a:lnTo>
                  <a:lnTo>
                    <a:pt x="787" y="547"/>
                  </a:lnTo>
                  <a:lnTo>
                    <a:pt x="787" y="550"/>
                  </a:lnTo>
                  <a:lnTo>
                    <a:pt x="787" y="550"/>
                  </a:lnTo>
                  <a:lnTo>
                    <a:pt x="790" y="552"/>
                  </a:lnTo>
                  <a:lnTo>
                    <a:pt x="793" y="552"/>
                  </a:lnTo>
                  <a:lnTo>
                    <a:pt x="798" y="552"/>
                  </a:lnTo>
                  <a:lnTo>
                    <a:pt x="798" y="550"/>
                  </a:lnTo>
                  <a:lnTo>
                    <a:pt x="800" y="547"/>
                  </a:lnTo>
                  <a:lnTo>
                    <a:pt x="800" y="544"/>
                  </a:lnTo>
                  <a:lnTo>
                    <a:pt x="803" y="544"/>
                  </a:lnTo>
                  <a:lnTo>
                    <a:pt x="803" y="547"/>
                  </a:lnTo>
                  <a:lnTo>
                    <a:pt x="808" y="550"/>
                  </a:lnTo>
                  <a:lnTo>
                    <a:pt x="808" y="550"/>
                  </a:lnTo>
                  <a:lnTo>
                    <a:pt x="810" y="550"/>
                  </a:lnTo>
                  <a:lnTo>
                    <a:pt x="810" y="547"/>
                  </a:lnTo>
                  <a:lnTo>
                    <a:pt x="810" y="544"/>
                  </a:lnTo>
                  <a:lnTo>
                    <a:pt x="813" y="544"/>
                  </a:lnTo>
                  <a:lnTo>
                    <a:pt x="813" y="547"/>
                  </a:lnTo>
                  <a:lnTo>
                    <a:pt x="810" y="550"/>
                  </a:lnTo>
                  <a:lnTo>
                    <a:pt x="808" y="550"/>
                  </a:lnTo>
                  <a:lnTo>
                    <a:pt x="808" y="552"/>
                  </a:lnTo>
                  <a:lnTo>
                    <a:pt x="805" y="552"/>
                  </a:lnTo>
                  <a:lnTo>
                    <a:pt x="805" y="555"/>
                  </a:lnTo>
                  <a:lnTo>
                    <a:pt x="808" y="555"/>
                  </a:lnTo>
                  <a:lnTo>
                    <a:pt x="808" y="555"/>
                  </a:lnTo>
                  <a:lnTo>
                    <a:pt x="810" y="557"/>
                  </a:lnTo>
                  <a:lnTo>
                    <a:pt x="813" y="555"/>
                  </a:lnTo>
                  <a:lnTo>
                    <a:pt x="816" y="560"/>
                  </a:lnTo>
                  <a:lnTo>
                    <a:pt x="818" y="565"/>
                  </a:lnTo>
                  <a:lnTo>
                    <a:pt x="818" y="565"/>
                  </a:lnTo>
                  <a:lnTo>
                    <a:pt x="816" y="562"/>
                  </a:lnTo>
                  <a:lnTo>
                    <a:pt x="813" y="560"/>
                  </a:lnTo>
                  <a:lnTo>
                    <a:pt x="810" y="560"/>
                  </a:lnTo>
                  <a:lnTo>
                    <a:pt x="810" y="562"/>
                  </a:lnTo>
                  <a:lnTo>
                    <a:pt x="810" y="562"/>
                  </a:lnTo>
                  <a:lnTo>
                    <a:pt x="813" y="565"/>
                  </a:lnTo>
                  <a:lnTo>
                    <a:pt x="816" y="567"/>
                  </a:lnTo>
                  <a:lnTo>
                    <a:pt x="816" y="567"/>
                  </a:lnTo>
                  <a:lnTo>
                    <a:pt x="813" y="567"/>
                  </a:lnTo>
                  <a:lnTo>
                    <a:pt x="813" y="570"/>
                  </a:lnTo>
                  <a:lnTo>
                    <a:pt x="813" y="575"/>
                  </a:lnTo>
                  <a:lnTo>
                    <a:pt x="816" y="575"/>
                  </a:lnTo>
                  <a:lnTo>
                    <a:pt x="818" y="578"/>
                  </a:lnTo>
                  <a:lnTo>
                    <a:pt x="818" y="580"/>
                  </a:lnTo>
                  <a:lnTo>
                    <a:pt x="816" y="580"/>
                  </a:lnTo>
                  <a:lnTo>
                    <a:pt x="816" y="580"/>
                  </a:lnTo>
                  <a:lnTo>
                    <a:pt x="816" y="583"/>
                  </a:lnTo>
                  <a:lnTo>
                    <a:pt x="813" y="585"/>
                  </a:lnTo>
                  <a:lnTo>
                    <a:pt x="816" y="588"/>
                  </a:lnTo>
                  <a:lnTo>
                    <a:pt x="818" y="593"/>
                  </a:lnTo>
                  <a:lnTo>
                    <a:pt x="818" y="598"/>
                  </a:lnTo>
                  <a:lnTo>
                    <a:pt x="816" y="598"/>
                  </a:lnTo>
                  <a:lnTo>
                    <a:pt x="818" y="600"/>
                  </a:lnTo>
                  <a:lnTo>
                    <a:pt x="818" y="603"/>
                  </a:lnTo>
                  <a:lnTo>
                    <a:pt x="821" y="606"/>
                  </a:lnTo>
                  <a:lnTo>
                    <a:pt x="823" y="606"/>
                  </a:lnTo>
                  <a:lnTo>
                    <a:pt x="828" y="608"/>
                  </a:lnTo>
                  <a:lnTo>
                    <a:pt x="831" y="611"/>
                  </a:lnTo>
                  <a:lnTo>
                    <a:pt x="833" y="613"/>
                  </a:lnTo>
                  <a:lnTo>
                    <a:pt x="833" y="616"/>
                  </a:lnTo>
                  <a:lnTo>
                    <a:pt x="828" y="621"/>
                  </a:lnTo>
                  <a:lnTo>
                    <a:pt x="826" y="621"/>
                  </a:lnTo>
                  <a:lnTo>
                    <a:pt x="823" y="621"/>
                  </a:lnTo>
                  <a:lnTo>
                    <a:pt x="823" y="626"/>
                  </a:lnTo>
                  <a:lnTo>
                    <a:pt x="826" y="628"/>
                  </a:lnTo>
                  <a:lnTo>
                    <a:pt x="828" y="628"/>
                  </a:lnTo>
                  <a:lnTo>
                    <a:pt x="833" y="631"/>
                  </a:lnTo>
                  <a:lnTo>
                    <a:pt x="833" y="634"/>
                  </a:lnTo>
                  <a:lnTo>
                    <a:pt x="836" y="634"/>
                  </a:lnTo>
                  <a:lnTo>
                    <a:pt x="836" y="634"/>
                  </a:lnTo>
                  <a:lnTo>
                    <a:pt x="836" y="634"/>
                  </a:lnTo>
                  <a:lnTo>
                    <a:pt x="831" y="631"/>
                  </a:lnTo>
                  <a:lnTo>
                    <a:pt x="828" y="631"/>
                  </a:lnTo>
                  <a:lnTo>
                    <a:pt x="828" y="631"/>
                  </a:lnTo>
                  <a:lnTo>
                    <a:pt x="826" y="634"/>
                  </a:lnTo>
                  <a:lnTo>
                    <a:pt x="821" y="634"/>
                  </a:lnTo>
                  <a:lnTo>
                    <a:pt x="823" y="639"/>
                  </a:lnTo>
                  <a:lnTo>
                    <a:pt x="823" y="639"/>
                  </a:lnTo>
                  <a:lnTo>
                    <a:pt x="826" y="639"/>
                  </a:lnTo>
                  <a:lnTo>
                    <a:pt x="826" y="641"/>
                  </a:lnTo>
                  <a:lnTo>
                    <a:pt x="828" y="644"/>
                  </a:lnTo>
                  <a:lnTo>
                    <a:pt x="828" y="646"/>
                  </a:lnTo>
                  <a:lnTo>
                    <a:pt x="828" y="649"/>
                  </a:lnTo>
                  <a:lnTo>
                    <a:pt x="828" y="651"/>
                  </a:lnTo>
                  <a:lnTo>
                    <a:pt x="831" y="651"/>
                  </a:lnTo>
                  <a:lnTo>
                    <a:pt x="831" y="654"/>
                  </a:lnTo>
                  <a:lnTo>
                    <a:pt x="831" y="656"/>
                  </a:lnTo>
                  <a:lnTo>
                    <a:pt x="831" y="659"/>
                  </a:lnTo>
                  <a:lnTo>
                    <a:pt x="828" y="659"/>
                  </a:lnTo>
                  <a:lnTo>
                    <a:pt x="828" y="656"/>
                  </a:lnTo>
                  <a:lnTo>
                    <a:pt x="828" y="656"/>
                  </a:lnTo>
                  <a:lnTo>
                    <a:pt x="828" y="654"/>
                  </a:lnTo>
                  <a:lnTo>
                    <a:pt x="828" y="646"/>
                  </a:lnTo>
                  <a:lnTo>
                    <a:pt x="826" y="646"/>
                  </a:lnTo>
                  <a:lnTo>
                    <a:pt x="826" y="644"/>
                  </a:lnTo>
                  <a:lnTo>
                    <a:pt x="826" y="641"/>
                  </a:lnTo>
                  <a:lnTo>
                    <a:pt x="823" y="641"/>
                  </a:lnTo>
                  <a:lnTo>
                    <a:pt x="823" y="644"/>
                  </a:lnTo>
                  <a:lnTo>
                    <a:pt x="823" y="646"/>
                  </a:lnTo>
                  <a:lnTo>
                    <a:pt x="823" y="649"/>
                  </a:lnTo>
                  <a:lnTo>
                    <a:pt x="823" y="651"/>
                  </a:lnTo>
                  <a:lnTo>
                    <a:pt x="821" y="651"/>
                  </a:lnTo>
                  <a:lnTo>
                    <a:pt x="818" y="651"/>
                  </a:lnTo>
                  <a:lnTo>
                    <a:pt x="816" y="651"/>
                  </a:lnTo>
                  <a:lnTo>
                    <a:pt x="818" y="651"/>
                  </a:lnTo>
                  <a:lnTo>
                    <a:pt x="821" y="649"/>
                  </a:lnTo>
                  <a:lnTo>
                    <a:pt x="821" y="646"/>
                  </a:lnTo>
                  <a:lnTo>
                    <a:pt x="821" y="644"/>
                  </a:lnTo>
                  <a:lnTo>
                    <a:pt x="821" y="644"/>
                  </a:lnTo>
                  <a:lnTo>
                    <a:pt x="821" y="641"/>
                  </a:lnTo>
                  <a:lnTo>
                    <a:pt x="821" y="636"/>
                  </a:lnTo>
                  <a:lnTo>
                    <a:pt x="821" y="636"/>
                  </a:lnTo>
                  <a:lnTo>
                    <a:pt x="821" y="634"/>
                  </a:lnTo>
                  <a:lnTo>
                    <a:pt x="818" y="634"/>
                  </a:lnTo>
                  <a:lnTo>
                    <a:pt x="818" y="634"/>
                  </a:lnTo>
                  <a:lnTo>
                    <a:pt x="816" y="634"/>
                  </a:lnTo>
                  <a:lnTo>
                    <a:pt x="816" y="634"/>
                  </a:lnTo>
                  <a:lnTo>
                    <a:pt x="816" y="634"/>
                  </a:lnTo>
                  <a:lnTo>
                    <a:pt x="816" y="636"/>
                  </a:lnTo>
                  <a:lnTo>
                    <a:pt x="818" y="639"/>
                  </a:lnTo>
                  <a:lnTo>
                    <a:pt x="818" y="639"/>
                  </a:lnTo>
                  <a:lnTo>
                    <a:pt x="818" y="639"/>
                  </a:lnTo>
                  <a:lnTo>
                    <a:pt x="816" y="641"/>
                  </a:lnTo>
                  <a:lnTo>
                    <a:pt x="816" y="641"/>
                  </a:lnTo>
                  <a:lnTo>
                    <a:pt x="813" y="641"/>
                  </a:lnTo>
                  <a:lnTo>
                    <a:pt x="813" y="641"/>
                  </a:lnTo>
                  <a:lnTo>
                    <a:pt x="808" y="641"/>
                  </a:lnTo>
                  <a:lnTo>
                    <a:pt x="805" y="641"/>
                  </a:lnTo>
                  <a:lnTo>
                    <a:pt x="800" y="644"/>
                  </a:lnTo>
                  <a:lnTo>
                    <a:pt x="803" y="646"/>
                  </a:lnTo>
                  <a:lnTo>
                    <a:pt x="805" y="649"/>
                  </a:lnTo>
                  <a:lnTo>
                    <a:pt x="805" y="649"/>
                  </a:lnTo>
                  <a:lnTo>
                    <a:pt x="805" y="651"/>
                  </a:lnTo>
                  <a:lnTo>
                    <a:pt x="803" y="654"/>
                  </a:lnTo>
                  <a:lnTo>
                    <a:pt x="800" y="656"/>
                  </a:lnTo>
                  <a:lnTo>
                    <a:pt x="800" y="656"/>
                  </a:lnTo>
                  <a:lnTo>
                    <a:pt x="798" y="659"/>
                  </a:lnTo>
                  <a:lnTo>
                    <a:pt x="798" y="662"/>
                  </a:lnTo>
                  <a:lnTo>
                    <a:pt x="798" y="664"/>
                  </a:lnTo>
                  <a:lnTo>
                    <a:pt x="800" y="664"/>
                  </a:lnTo>
                  <a:lnTo>
                    <a:pt x="803" y="667"/>
                  </a:lnTo>
                  <a:lnTo>
                    <a:pt x="805" y="667"/>
                  </a:lnTo>
                  <a:lnTo>
                    <a:pt x="805" y="667"/>
                  </a:lnTo>
                  <a:lnTo>
                    <a:pt x="805" y="664"/>
                  </a:lnTo>
                  <a:lnTo>
                    <a:pt x="803" y="662"/>
                  </a:lnTo>
                  <a:lnTo>
                    <a:pt x="800" y="662"/>
                  </a:lnTo>
                  <a:lnTo>
                    <a:pt x="800" y="662"/>
                  </a:lnTo>
                  <a:lnTo>
                    <a:pt x="800" y="662"/>
                  </a:lnTo>
                  <a:lnTo>
                    <a:pt x="800" y="662"/>
                  </a:lnTo>
                  <a:lnTo>
                    <a:pt x="803" y="659"/>
                  </a:lnTo>
                  <a:lnTo>
                    <a:pt x="808" y="659"/>
                  </a:lnTo>
                  <a:lnTo>
                    <a:pt x="808" y="656"/>
                  </a:lnTo>
                  <a:lnTo>
                    <a:pt x="808" y="656"/>
                  </a:lnTo>
                  <a:lnTo>
                    <a:pt x="808" y="659"/>
                  </a:lnTo>
                  <a:lnTo>
                    <a:pt x="810" y="662"/>
                  </a:lnTo>
                  <a:lnTo>
                    <a:pt x="810" y="662"/>
                  </a:lnTo>
                  <a:lnTo>
                    <a:pt x="816" y="664"/>
                  </a:lnTo>
                  <a:lnTo>
                    <a:pt x="818" y="664"/>
                  </a:lnTo>
                  <a:lnTo>
                    <a:pt x="821" y="667"/>
                  </a:lnTo>
                  <a:lnTo>
                    <a:pt x="821" y="667"/>
                  </a:lnTo>
                  <a:lnTo>
                    <a:pt x="821" y="664"/>
                  </a:lnTo>
                  <a:lnTo>
                    <a:pt x="821" y="664"/>
                  </a:lnTo>
                  <a:lnTo>
                    <a:pt x="821" y="664"/>
                  </a:lnTo>
                  <a:lnTo>
                    <a:pt x="821" y="664"/>
                  </a:lnTo>
                  <a:lnTo>
                    <a:pt x="823" y="664"/>
                  </a:lnTo>
                  <a:lnTo>
                    <a:pt x="826" y="667"/>
                  </a:lnTo>
                  <a:lnTo>
                    <a:pt x="828" y="667"/>
                  </a:lnTo>
                  <a:lnTo>
                    <a:pt x="828" y="669"/>
                  </a:lnTo>
                  <a:lnTo>
                    <a:pt x="831" y="672"/>
                  </a:lnTo>
                  <a:lnTo>
                    <a:pt x="828" y="672"/>
                  </a:lnTo>
                  <a:lnTo>
                    <a:pt x="826" y="674"/>
                  </a:lnTo>
                  <a:lnTo>
                    <a:pt x="826" y="677"/>
                  </a:lnTo>
                  <a:lnTo>
                    <a:pt x="831" y="679"/>
                  </a:lnTo>
                  <a:lnTo>
                    <a:pt x="831" y="679"/>
                  </a:lnTo>
                  <a:lnTo>
                    <a:pt x="833" y="682"/>
                  </a:lnTo>
                  <a:lnTo>
                    <a:pt x="833" y="682"/>
                  </a:lnTo>
                  <a:lnTo>
                    <a:pt x="833" y="682"/>
                  </a:lnTo>
                  <a:lnTo>
                    <a:pt x="833" y="682"/>
                  </a:lnTo>
                  <a:lnTo>
                    <a:pt x="831" y="682"/>
                  </a:lnTo>
                  <a:lnTo>
                    <a:pt x="831" y="682"/>
                  </a:lnTo>
                  <a:lnTo>
                    <a:pt x="828" y="682"/>
                  </a:lnTo>
                  <a:lnTo>
                    <a:pt x="826" y="682"/>
                  </a:lnTo>
                  <a:lnTo>
                    <a:pt x="826" y="682"/>
                  </a:lnTo>
                  <a:lnTo>
                    <a:pt x="826" y="684"/>
                  </a:lnTo>
                  <a:lnTo>
                    <a:pt x="828" y="684"/>
                  </a:lnTo>
                  <a:lnTo>
                    <a:pt x="828" y="684"/>
                  </a:lnTo>
                  <a:lnTo>
                    <a:pt x="831" y="687"/>
                  </a:lnTo>
                  <a:lnTo>
                    <a:pt x="833" y="687"/>
                  </a:lnTo>
                  <a:lnTo>
                    <a:pt x="833" y="687"/>
                  </a:lnTo>
                  <a:lnTo>
                    <a:pt x="833" y="690"/>
                  </a:lnTo>
                  <a:lnTo>
                    <a:pt x="836" y="690"/>
                  </a:lnTo>
                  <a:lnTo>
                    <a:pt x="838" y="690"/>
                  </a:lnTo>
                  <a:lnTo>
                    <a:pt x="841" y="690"/>
                  </a:lnTo>
                  <a:lnTo>
                    <a:pt x="841" y="687"/>
                  </a:lnTo>
                  <a:lnTo>
                    <a:pt x="841" y="684"/>
                  </a:lnTo>
                  <a:lnTo>
                    <a:pt x="841" y="682"/>
                  </a:lnTo>
                  <a:lnTo>
                    <a:pt x="844" y="682"/>
                  </a:lnTo>
                  <a:lnTo>
                    <a:pt x="846" y="687"/>
                  </a:lnTo>
                  <a:lnTo>
                    <a:pt x="846" y="690"/>
                  </a:lnTo>
                  <a:lnTo>
                    <a:pt x="849" y="690"/>
                  </a:lnTo>
                  <a:lnTo>
                    <a:pt x="849" y="690"/>
                  </a:lnTo>
                  <a:lnTo>
                    <a:pt x="851" y="692"/>
                  </a:lnTo>
                  <a:lnTo>
                    <a:pt x="854" y="695"/>
                  </a:lnTo>
                  <a:lnTo>
                    <a:pt x="854" y="695"/>
                  </a:lnTo>
                  <a:lnTo>
                    <a:pt x="851" y="695"/>
                  </a:lnTo>
                  <a:lnTo>
                    <a:pt x="844" y="692"/>
                  </a:lnTo>
                  <a:lnTo>
                    <a:pt x="836" y="692"/>
                  </a:lnTo>
                  <a:lnTo>
                    <a:pt x="833" y="690"/>
                  </a:lnTo>
                  <a:lnTo>
                    <a:pt x="831" y="690"/>
                  </a:lnTo>
                  <a:lnTo>
                    <a:pt x="831" y="695"/>
                  </a:lnTo>
                  <a:lnTo>
                    <a:pt x="833" y="697"/>
                  </a:lnTo>
                  <a:lnTo>
                    <a:pt x="836" y="697"/>
                  </a:lnTo>
                  <a:lnTo>
                    <a:pt x="836" y="700"/>
                  </a:lnTo>
                  <a:lnTo>
                    <a:pt x="838" y="702"/>
                  </a:lnTo>
                  <a:lnTo>
                    <a:pt x="841" y="700"/>
                  </a:lnTo>
                  <a:lnTo>
                    <a:pt x="841" y="700"/>
                  </a:lnTo>
                  <a:lnTo>
                    <a:pt x="846" y="700"/>
                  </a:lnTo>
                  <a:lnTo>
                    <a:pt x="844" y="702"/>
                  </a:lnTo>
                  <a:lnTo>
                    <a:pt x="844" y="702"/>
                  </a:lnTo>
                  <a:lnTo>
                    <a:pt x="844" y="702"/>
                  </a:lnTo>
                  <a:lnTo>
                    <a:pt x="841" y="702"/>
                  </a:lnTo>
                  <a:lnTo>
                    <a:pt x="841" y="705"/>
                  </a:lnTo>
                  <a:lnTo>
                    <a:pt x="841" y="707"/>
                  </a:lnTo>
                  <a:lnTo>
                    <a:pt x="844" y="712"/>
                  </a:lnTo>
                  <a:lnTo>
                    <a:pt x="849" y="720"/>
                  </a:lnTo>
                  <a:lnTo>
                    <a:pt x="849" y="723"/>
                  </a:lnTo>
                  <a:lnTo>
                    <a:pt x="849" y="723"/>
                  </a:lnTo>
                  <a:lnTo>
                    <a:pt x="849" y="723"/>
                  </a:lnTo>
                  <a:lnTo>
                    <a:pt x="851" y="723"/>
                  </a:lnTo>
                  <a:lnTo>
                    <a:pt x="851" y="723"/>
                  </a:lnTo>
                  <a:lnTo>
                    <a:pt x="851" y="720"/>
                  </a:lnTo>
                  <a:lnTo>
                    <a:pt x="851" y="718"/>
                  </a:lnTo>
                  <a:lnTo>
                    <a:pt x="851" y="718"/>
                  </a:lnTo>
                  <a:lnTo>
                    <a:pt x="851" y="715"/>
                  </a:lnTo>
                  <a:lnTo>
                    <a:pt x="851" y="712"/>
                  </a:lnTo>
                  <a:lnTo>
                    <a:pt x="851" y="712"/>
                  </a:lnTo>
                  <a:lnTo>
                    <a:pt x="851" y="712"/>
                  </a:lnTo>
                  <a:lnTo>
                    <a:pt x="851" y="715"/>
                  </a:lnTo>
                  <a:lnTo>
                    <a:pt x="851" y="715"/>
                  </a:lnTo>
                  <a:lnTo>
                    <a:pt x="851" y="715"/>
                  </a:lnTo>
                  <a:lnTo>
                    <a:pt x="854" y="718"/>
                  </a:lnTo>
                  <a:lnTo>
                    <a:pt x="854" y="720"/>
                  </a:lnTo>
                  <a:lnTo>
                    <a:pt x="854" y="720"/>
                  </a:lnTo>
                  <a:lnTo>
                    <a:pt x="854" y="723"/>
                  </a:lnTo>
                  <a:lnTo>
                    <a:pt x="856" y="723"/>
                  </a:lnTo>
                  <a:lnTo>
                    <a:pt x="859" y="725"/>
                  </a:lnTo>
                  <a:lnTo>
                    <a:pt x="859" y="725"/>
                  </a:lnTo>
                  <a:lnTo>
                    <a:pt x="859" y="725"/>
                  </a:lnTo>
                  <a:lnTo>
                    <a:pt x="856" y="725"/>
                  </a:lnTo>
                  <a:lnTo>
                    <a:pt x="854" y="725"/>
                  </a:lnTo>
                  <a:lnTo>
                    <a:pt x="851" y="725"/>
                  </a:lnTo>
                  <a:lnTo>
                    <a:pt x="851" y="725"/>
                  </a:lnTo>
                  <a:lnTo>
                    <a:pt x="851" y="728"/>
                  </a:lnTo>
                  <a:lnTo>
                    <a:pt x="854" y="730"/>
                  </a:lnTo>
                  <a:lnTo>
                    <a:pt x="856" y="733"/>
                  </a:lnTo>
                  <a:lnTo>
                    <a:pt x="859" y="733"/>
                  </a:lnTo>
                  <a:lnTo>
                    <a:pt x="859" y="733"/>
                  </a:lnTo>
                  <a:lnTo>
                    <a:pt x="861" y="735"/>
                  </a:lnTo>
                  <a:lnTo>
                    <a:pt x="861" y="735"/>
                  </a:lnTo>
                  <a:lnTo>
                    <a:pt x="854" y="733"/>
                  </a:lnTo>
                  <a:lnTo>
                    <a:pt x="854" y="735"/>
                  </a:lnTo>
                  <a:lnTo>
                    <a:pt x="851" y="738"/>
                  </a:lnTo>
                  <a:lnTo>
                    <a:pt x="854" y="740"/>
                  </a:lnTo>
                  <a:lnTo>
                    <a:pt x="856" y="743"/>
                  </a:lnTo>
                  <a:lnTo>
                    <a:pt x="859" y="743"/>
                  </a:lnTo>
                  <a:lnTo>
                    <a:pt x="859" y="743"/>
                  </a:lnTo>
                  <a:lnTo>
                    <a:pt x="864" y="746"/>
                  </a:lnTo>
                  <a:lnTo>
                    <a:pt x="866" y="746"/>
                  </a:lnTo>
                  <a:lnTo>
                    <a:pt x="861" y="746"/>
                  </a:lnTo>
                  <a:lnTo>
                    <a:pt x="864" y="748"/>
                  </a:lnTo>
                  <a:lnTo>
                    <a:pt x="864" y="748"/>
                  </a:lnTo>
                  <a:lnTo>
                    <a:pt x="866" y="751"/>
                  </a:lnTo>
                  <a:lnTo>
                    <a:pt x="869" y="753"/>
                  </a:lnTo>
                  <a:lnTo>
                    <a:pt x="872" y="751"/>
                  </a:lnTo>
                  <a:lnTo>
                    <a:pt x="872" y="746"/>
                  </a:lnTo>
                  <a:lnTo>
                    <a:pt x="872" y="746"/>
                  </a:lnTo>
                  <a:lnTo>
                    <a:pt x="872" y="746"/>
                  </a:lnTo>
                  <a:lnTo>
                    <a:pt x="872" y="748"/>
                  </a:lnTo>
                  <a:lnTo>
                    <a:pt x="874" y="748"/>
                  </a:lnTo>
                  <a:lnTo>
                    <a:pt x="874" y="748"/>
                  </a:lnTo>
                  <a:lnTo>
                    <a:pt x="874" y="748"/>
                  </a:lnTo>
                  <a:lnTo>
                    <a:pt x="872" y="751"/>
                  </a:lnTo>
                  <a:lnTo>
                    <a:pt x="872" y="753"/>
                  </a:lnTo>
                  <a:lnTo>
                    <a:pt x="874" y="756"/>
                  </a:lnTo>
                  <a:lnTo>
                    <a:pt x="874" y="756"/>
                  </a:lnTo>
                  <a:lnTo>
                    <a:pt x="866" y="753"/>
                  </a:lnTo>
                  <a:lnTo>
                    <a:pt x="866" y="753"/>
                  </a:lnTo>
                  <a:lnTo>
                    <a:pt x="866" y="751"/>
                  </a:lnTo>
                  <a:lnTo>
                    <a:pt x="861" y="748"/>
                  </a:lnTo>
                  <a:lnTo>
                    <a:pt x="859" y="746"/>
                  </a:lnTo>
                  <a:lnTo>
                    <a:pt x="854" y="743"/>
                  </a:lnTo>
                  <a:lnTo>
                    <a:pt x="854" y="743"/>
                  </a:lnTo>
                  <a:lnTo>
                    <a:pt x="851" y="743"/>
                  </a:lnTo>
                  <a:lnTo>
                    <a:pt x="851" y="746"/>
                  </a:lnTo>
                  <a:lnTo>
                    <a:pt x="854" y="746"/>
                  </a:lnTo>
                  <a:lnTo>
                    <a:pt x="856" y="748"/>
                  </a:lnTo>
                  <a:lnTo>
                    <a:pt x="856" y="748"/>
                  </a:lnTo>
                  <a:lnTo>
                    <a:pt x="854" y="751"/>
                  </a:lnTo>
                  <a:lnTo>
                    <a:pt x="849" y="751"/>
                  </a:lnTo>
                  <a:lnTo>
                    <a:pt x="851" y="753"/>
                  </a:lnTo>
                  <a:lnTo>
                    <a:pt x="854" y="753"/>
                  </a:lnTo>
                  <a:lnTo>
                    <a:pt x="859" y="758"/>
                  </a:lnTo>
                  <a:lnTo>
                    <a:pt x="861" y="758"/>
                  </a:lnTo>
                  <a:lnTo>
                    <a:pt x="861" y="758"/>
                  </a:lnTo>
                  <a:lnTo>
                    <a:pt x="864" y="761"/>
                  </a:lnTo>
                  <a:lnTo>
                    <a:pt x="866" y="761"/>
                  </a:lnTo>
                  <a:lnTo>
                    <a:pt x="866" y="761"/>
                  </a:lnTo>
                  <a:lnTo>
                    <a:pt x="869" y="761"/>
                  </a:lnTo>
                  <a:lnTo>
                    <a:pt x="872" y="761"/>
                  </a:lnTo>
                  <a:lnTo>
                    <a:pt x="874" y="763"/>
                  </a:lnTo>
                  <a:lnTo>
                    <a:pt x="877" y="763"/>
                  </a:lnTo>
                  <a:lnTo>
                    <a:pt x="879" y="771"/>
                  </a:lnTo>
                  <a:lnTo>
                    <a:pt x="877" y="768"/>
                  </a:lnTo>
                  <a:lnTo>
                    <a:pt x="874" y="771"/>
                  </a:lnTo>
                  <a:lnTo>
                    <a:pt x="877" y="771"/>
                  </a:lnTo>
                  <a:lnTo>
                    <a:pt x="879" y="773"/>
                  </a:lnTo>
                  <a:lnTo>
                    <a:pt x="882" y="773"/>
                  </a:lnTo>
                  <a:lnTo>
                    <a:pt x="882" y="773"/>
                  </a:lnTo>
                  <a:lnTo>
                    <a:pt x="884" y="773"/>
                  </a:lnTo>
                  <a:lnTo>
                    <a:pt x="884" y="773"/>
                  </a:lnTo>
                  <a:lnTo>
                    <a:pt x="887" y="776"/>
                  </a:lnTo>
                  <a:lnTo>
                    <a:pt x="889" y="779"/>
                  </a:lnTo>
                  <a:lnTo>
                    <a:pt x="892" y="779"/>
                  </a:lnTo>
                  <a:lnTo>
                    <a:pt x="895" y="781"/>
                  </a:lnTo>
                  <a:lnTo>
                    <a:pt x="897" y="779"/>
                  </a:lnTo>
                  <a:lnTo>
                    <a:pt x="900" y="776"/>
                  </a:lnTo>
                  <a:lnTo>
                    <a:pt x="905" y="773"/>
                  </a:lnTo>
                  <a:lnTo>
                    <a:pt x="905" y="773"/>
                  </a:lnTo>
                  <a:lnTo>
                    <a:pt x="902" y="771"/>
                  </a:lnTo>
                  <a:lnTo>
                    <a:pt x="902" y="771"/>
                  </a:lnTo>
                  <a:lnTo>
                    <a:pt x="900" y="771"/>
                  </a:lnTo>
                  <a:lnTo>
                    <a:pt x="892" y="768"/>
                  </a:lnTo>
                  <a:lnTo>
                    <a:pt x="892" y="768"/>
                  </a:lnTo>
                  <a:lnTo>
                    <a:pt x="889" y="766"/>
                  </a:lnTo>
                  <a:lnTo>
                    <a:pt x="889" y="766"/>
                  </a:lnTo>
                  <a:lnTo>
                    <a:pt x="892" y="766"/>
                  </a:lnTo>
                  <a:lnTo>
                    <a:pt x="900" y="768"/>
                  </a:lnTo>
                  <a:lnTo>
                    <a:pt x="905" y="771"/>
                  </a:lnTo>
                  <a:lnTo>
                    <a:pt x="905" y="773"/>
                  </a:lnTo>
                  <a:lnTo>
                    <a:pt x="907" y="776"/>
                  </a:lnTo>
                  <a:lnTo>
                    <a:pt x="907" y="776"/>
                  </a:lnTo>
                  <a:lnTo>
                    <a:pt x="905" y="776"/>
                  </a:lnTo>
                  <a:lnTo>
                    <a:pt x="907" y="779"/>
                  </a:lnTo>
                  <a:lnTo>
                    <a:pt x="907" y="779"/>
                  </a:lnTo>
                  <a:lnTo>
                    <a:pt x="910" y="781"/>
                  </a:lnTo>
                  <a:lnTo>
                    <a:pt x="910" y="784"/>
                  </a:lnTo>
                  <a:lnTo>
                    <a:pt x="910" y="784"/>
                  </a:lnTo>
                  <a:lnTo>
                    <a:pt x="910" y="784"/>
                  </a:lnTo>
                  <a:lnTo>
                    <a:pt x="910" y="786"/>
                  </a:lnTo>
                  <a:lnTo>
                    <a:pt x="910" y="786"/>
                  </a:lnTo>
                  <a:lnTo>
                    <a:pt x="910" y="786"/>
                  </a:lnTo>
                  <a:lnTo>
                    <a:pt x="907" y="786"/>
                  </a:lnTo>
                  <a:lnTo>
                    <a:pt x="907" y="786"/>
                  </a:lnTo>
                  <a:lnTo>
                    <a:pt x="910" y="784"/>
                  </a:lnTo>
                  <a:lnTo>
                    <a:pt x="910" y="784"/>
                  </a:lnTo>
                  <a:lnTo>
                    <a:pt x="907" y="781"/>
                  </a:lnTo>
                  <a:lnTo>
                    <a:pt x="907" y="781"/>
                  </a:lnTo>
                  <a:lnTo>
                    <a:pt x="905" y="779"/>
                  </a:lnTo>
                  <a:lnTo>
                    <a:pt x="905" y="779"/>
                  </a:lnTo>
                  <a:lnTo>
                    <a:pt x="905" y="779"/>
                  </a:lnTo>
                  <a:lnTo>
                    <a:pt x="902" y="779"/>
                  </a:lnTo>
                  <a:lnTo>
                    <a:pt x="902" y="779"/>
                  </a:lnTo>
                  <a:lnTo>
                    <a:pt x="902" y="779"/>
                  </a:lnTo>
                  <a:lnTo>
                    <a:pt x="900" y="781"/>
                  </a:lnTo>
                  <a:lnTo>
                    <a:pt x="897" y="781"/>
                  </a:lnTo>
                  <a:lnTo>
                    <a:pt x="895" y="781"/>
                  </a:lnTo>
                  <a:lnTo>
                    <a:pt x="892" y="781"/>
                  </a:lnTo>
                  <a:lnTo>
                    <a:pt x="892" y="781"/>
                  </a:lnTo>
                  <a:lnTo>
                    <a:pt x="889" y="781"/>
                  </a:lnTo>
                  <a:lnTo>
                    <a:pt x="889" y="781"/>
                  </a:lnTo>
                  <a:lnTo>
                    <a:pt x="889" y="781"/>
                  </a:lnTo>
                  <a:lnTo>
                    <a:pt x="889" y="784"/>
                  </a:lnTo>
                  <a:lnTo>
                    <a:pt x="889" y="784"/>
                  </a:lnTo>
                  <a:lnTo>
                    <a:pt x="887" y="784"/>
                  </a:lnTo>
                  <a:lnTo>
                    <a:pt x="884" y="781"/>
                  </a:lnTo>
                  <a:lnTo>
                    <a:pt x="882" y="781"/>
                  </a:lnTo>
                  <a:lnTo>
                    <a:pt x="879" y="781"/>
                  </a:lnTo>
                  <a:lnTo>
                    <a:pt x="879" y="781"/>
                  </a:lnTo>
                  <a:lnTo>
                    <a:pt x="879" y="781"/>
                  </a:lnTo>
                  <a:lnTo>
                    <a:pt x="879" y="781"/>
                  </a:lnTo>
                  <a:lnTo>
                    <a:pt x="879" y="784"/>
                  </a:lnTo>
                  <a:lnTo>
                    <a:pt x="882" y="786"/>
                  </a:lnTo>
                  <a:lnTo>
                    <a:pt x="884" y="786"/>
                  </a:lnTo>
                  <a:lnTo>
                    <a:pt x="884" y="786"/>
                  </a:lnTo>
                  <a:lnTo>
                    <a:pt x="887" y="786"/>
                  </a:lnTo>
                  <a:lnTo>
                    <a:pt x="887" y="789"/>
                  </a:lnTo>
                  <a:lnTo>
                    <a:pt x="887" y="791"/>
                  </a:lnTo>
                  <a:lnTo>
                    <a:pt x="889" y="791"/>
                  </a:lnTo>
                  <a:lnTo>
                    <a:pt x="892" y="794"/>
                  </a:lnTo>
                  <a:lnTo>
                    <a:pt x="895" y="794"/>
                  </a:lnTo>
                  <a:lnTo>
                    <a:pt x="897" y="794"/>
                  </a:lnTo>
                  <a:lnTo>
                    <a:pt x="900" y="791"/>
                  </a:lnTo>
                  <a:lnTo>
                    <a:pt x="902" y="791"/>
                  </a:lnTo>
                  <a:lnTo>
                    <a:pt x="902" y="791"/>
                  </a:lnTo>
                  <a:lnTo>
                    <a:pt x="902" y="789"/>
                  </a:lnTo>
                  <a:lnTo>
                    <a:pt x="902" y="789"/>
                  </a:lnTo>
                  <a:lnTo>
                    <a:pt x="905" y="791"/>
                  </a:lnTo>
                  <a:lnTo>
                    <a:pt x="905" y="791"/>
                  </a:lnTo>
                  <a:lnTo>
                    <a:pt x="902" y="794"/>
                  </a:lnTo>
                  <a:lnTo>
                    <a:pt x="902" y="794"/>
                  </a:lnTo>
                  <a:lnTo>
                    <a:pt x="897" y="796"/>
                  </a:lnTo>
                  <a:lnTo>
                    <a:pt x="900" y="799"/>
                  </a:lnTo>
                  <a:lnTo>
                    <a:pt x="902" y="799"/>
                  </a:lnTo>
                  <a:lnTo>
                    <a:pt x="905" y="801"/>
                  </a:lnTo>
                  <a:lnTo>
                    <a:pt x="910" y="801"/>
                  </a:lnTo>
                  <a:lnTo>
                    <a:pt x="910" y="801"/>
                  </a:lnTo>
                  <a:lnTo>
                    <a:pt x="910" y="801"/>
                  </a:lnTo>
                  <a:lnTo>
                    <a:pt x="910" y="799"/>
                  </a:lnTo>
                  <a:lnTo>
                    <a:pt x="910" y="799"/>
                  </a:lnTo>
                  <a:lnTo>
                    <a:pt x="910" y="796"/>
                  </a:lnTo>
                  <a:lnTo>
                    <a:pt x="910" y="794"/>
                  </a:lnTo>
                  <a:lnTo>
                    <a:pt x="910" y="791"/>
                  </a:lnTo>
                  <a:lnTo>
                    <a:pt x="910" y="791"/>
                  </a:lnTo>
                  <a:lnTo>
                    <a:pt x="910" y="791"/>
                  </a:lnTo>
                  <a:lnTo>
                    <a:pt x="912" y="789"/>
                  </a:lnTo>
                  <a:lnTo>
                    <a:pt x="915" y="791"/>
                  </a:lnTo>
                  <a:lnTo>
                    <a:pt x="915" y="791"/>
                  </a:lnTo>
                  <a:lnTo>
                    <a:pt x="915" y="791"/>
                  </a:lnTo>
                  <a:lnTo>
                    <a:pt x="917" y="791"/>
                  </a:lnTo>
                  <a:lnTo>
                    <a:pt x="917" y="789"/>
                  </a:lnTo>
                  <a:lnTo>
                    <a:pt x="925" y="791"/>
                  </a:lnTo>
                  <a:lnTo>
                    <a:pt x="928" y="791"/>
                  </a:lnTo>
                  <a:lnTo>
                    <a:pt x="933" y="791"/>
                  </a:lnTo>
                  <a:lnTo>
                    <a:pt x="930" y="791"/>
                  </a:lnTo>
                  <a:lnTo>
                    <a:pt x="930" y="794"/>
                  </a:lnTo>
                  <a:lnTo>
                    <a:pt x="928" y="794"/>
                  </a:lnTo>
                  <a:lnTo>
                    <a:pt x="925" y="791"/>
                  </a:lnTo>
                  <a:lnTo>
                    <a:pt x="923" y="791"/>
                  </a:lnTo>
                  <a:lnTo>
                    <a:pt x="917" y="796"/>
                  </a:lnTo>
                  <a:lnTo>
                    <a:pt x="915" y="796"/>
                  </a:lnTo>
                  <a:lnTo>
                    <a:pt x="915" y="796"/>
                  </a:lnTo>
                  <a:lnTo>
                    <a:pt x="912" y="794"/>
                  </a:lnTo>
                  <a:lnTo>
                    <a:pt x="912" y="794"/>
                  </a:lnTo>
                  <a:lnTo>
                    <a:pt x="912" y="796"/>
                  </a:lnTo>
                  <a:lnTo>
                    <a:pt x="910" y="796"/>
                  </a:lnTo>
                  <a:lnTo>
                    <a:pt x="912" y="799"/>
                  </a:lnTo>
                  <a:lnTo>
                    <a:pt x="912" y="804"/>
                  </a:lnTo>
                  <a:lnTo>
                    <a:pt x="912" y="804"/>
                  </a:lnTo>
                  <a:lnTo>
                    <a:pt x="912" y="807"/>
                  </a:lnTo>
                  <a:lnTo>
                    <a:pt x="915" y="807"/>
                  </a:lnTo>
                  <a:lnTo>
                    <a:pt x="920" y="809"/>
                  </a:lnTo>
                  <a:lnTo>
                    <a:pt x="923" y="809"/>
                  </a:lnTo>
                  <a:lnTo>
                    <a:pt x="923" y="809"/>
                  </a:lnTo>
                  <a:lnTo>
                    <a:pt x="923" y="807"/>
                  </a:lnTo>
                  <a:lnTo>
                    <a:pt x="923" y="807"/>
                  </a:lnTo>
                  <a:lnTo>
                    <a:pt x="925" y="804"/>
                  </a:lnTo>
                  <a:lnTo>
                    <a:pt x="925" y="801"/>
                  </a:lnTo>
                  <a:lnTo>
                    <a:pt x="930" y="799"/>
                  </a:lnTo>
                  <a:lnTo>
                    <a:pt x="935" y="794"/>
                  </a:lnTo>
                  <a:lnTo>
                    <a:pt x="938" y="796"/>
                  </a:lnTo>
                  <a:lnTo>
                    <a:pt x="940" y="796"/>
                  </a:lnTo>
                  <a:lnTo>
                    <a:pt x="940" y="799"/>
                  </a:lnTo>
                  <a:lnTo>
                    <a:pt x="940" y="799"/>
                  </a:lnTo>
                  <a:lnTo>
                    <a:pt x="940" y="801"/>
                  </a:lnTo>
                  <a:lnTo>
                    <a:pt x="938" y="801"/>
                  </a:lnTo>
                  <a:lnTo>
                    <a:pt x="935" y="804"/>
                  </a:lnTo>
                  <a:lnTo>
                    <a:pt x="938" y="812"/>
                  </a:lnTo>
                  <a:lnTo>
                    <a:pt x="935" y="812"/>
                  </a:lnTo>
                  <a:lnTo>
                    <a:pt x="935" y="812"/>
                  </a:lnTo>
                  <a:lnTo>
                    <a:pt x="935" y="809"/>
                  </a:lnTo>
                  <a:lnTo>
                    <a:pt x="935" y="809"/>
                  </a:lnTo>
                  <a:lnTo>
                    <a:pt x="933" y="807"/>
                  </a:lnTo>
                  <a:lnTo>
                    <a:pt x="930" y="804"/>
                  </a:lnTo>
                  <a:lnTo>
                    <a:pt x="930" y="807"/>
                  </a:lnTo>
                  <a:lnTo>
                    <a:pt x="925" y="807"/>
                  </a:lnTo>
                  <a:lnTo>
                    <a:pt x="925" y="807"/>
                  </a:lnTo>
                  <a:lnTo>
                    <a:pt x="925" y="807"/>
                  </a:lnTo>
                  <a:lnTo>
                    <a:pt x="925" y="809"/>
                  </a:lnTo>
                  <a:lnTo>
                    <a:pt x="928" y="809"/>
                  </a:lnTo>
                  <a:lnTo>
                    <a:pt x="933" y="814"/>
                  </a:lnTo>
                  <a:lnTo>
                    <a:pt x="933" y="814"/>
                  </a:lnTo>
                  <a:lnTo>
                    <a:pt x="938" y="817"/>
                  </a:lnTo>
                  <a:lnTo>
                    <a:pt x="943" y="817"/>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345" name="Freeform 1964">
              <a:extLst>
                <a:ext uri="{FF2B5EF4-FFF2-40B4-BE49-F238E27FC236}">
                  <a16:creationId xmlns:a16="http://schemas.microsoft.com/office/drawing/2014/main" id="{8EE89896-7049-E34E-A5D8-503F6E2D3697}"/>
                </a:ext>
              </a:extLst>
            </p:cNvPr>
            <p:cNvSpPr>
              <a:spLocks/>
            </p:cNvSpPr>
            <p:nvPr/>
          </p:nvSpPr>
          <p:spPr bwMode="auto">
            <a:xfrm>
              <a:off x="6050248" y="2930918"/>
              <a:ext cx="341869" cy="592137"/>
            </a:xfrm>
            <a:custGeom>
              <a:avLst/>
              <a:gdLst>
                <a:gd name="T0" fmla="*/ 209 w 209"/>
                <a:gd name="T1" fmla="*/ 130 h 362"/>
                <a:gd name="T2" fmla="*/ 199 w 209"/>
                <a:gd name="T3" fmla="*/ 84 h 362"/>
                <a:gd name="T4" fmla="*/ 150 w 209"/>
                <a:gd name="T5" fmla="*/ 56 h 362"/>
                <a:gd name="T6" fmla="*/ 102 w 209"/>
                <a:gd name="T7" fmla="*/ 31 h 362"/>
                <a:gd name="T8" fmla="*/ 56 w 209"/>
                <a:gd name="T9" fmla="*/ 3 h 362"/>
                <a:gd name="T10" fmla="*/ 31 w 209"/>
                <a:gd name="T11" fmla="*/ 23 h 362"/>
                <a:gd name="T12" fmla="*/ 36 w 209"/>
                <a:gd name="T13" fmla="*/ 46 h 362"/>
                <a:gd name="T14" fmla="*/ 48 w 209"/>
                <a:gd name="T15" fmla="*/ 69 h 362"/>
                <a:gd name="T16" fmla="*/ 43 w 209"/>
                <a:gd name="T17" fmla="*/ 89 h 362"/>
                <a:gd name="T18" fmla="*/ 41 w 209"/>
                <a:gd name="T19" fmla="*/ 138 h 362"/>
                <a:gd name="T20" fmla="*/ 15 w 209"/>
                <a:gd name="T21" fmla="*/ 181 h 362"/>
                <a:gd name="T22" fmla="*/ 0 w 209"/>
                <a:gd name="T23" fmla="*/ 211 h 362"/>
                <a:gd name="T24" fmla="*/ 15 w 209"/>
                <a:gd name="T25" fmla="*/ 234 h 362"/>
                <a:gd name="T26" fmla="*/ 26 w 209"/>
                <a:gd name="T27" fmla="*/ 244 h 362"/>
                <a:gd name="T28" fmla="*/ 33 w 209"/>
                <a:gd name="T29" fmla="*/ 262 h 362"/>
                <a:gd name="T30" fmla="*/ 33 w 209"/>
                <a:gd name="T31" fmla="*/ 275 h 362"/>
                <a:gd name="T32" fmla="*/ 36 w 209"/>
                <a:gd name="T33" fmla="*/ 293 h 362"/>
                <a:gd name="T34" fmla="*/ 41 w 209"/>
                <a:gd name="T35" fmla="*/ 306 h 362"/>
                <a:gd name="T36" fmla="*/ 28 w 209"/>
                <a:gd name="T37" fmla="*/ 306 h 362"/>
                <a:gd name="T38" fmla="*/ 13 w 209"/>
                <a:gd name="T39" fmla="*/ 311 h 362"/>
                <a:gd name="T40" fmla="*/ 15 w 209"/>
                <a:gd name="T41" fmla="*/ 321 h 362"/>
                <a:gd name="T42" fmla="*/ 28 w 209"/>
                <a:gd name="T43" fmla="*/ 331 h 362"/>
                <a:gd name="T44" fmla="*/ 38 w 209"/>
                <a:gd name="T45" fmla="*/ 349 h 362"/>
                <a:gd name="T46" fmla="*/ 43 w 209"/>
                <a:gd name="T47" fmla="*/ 359 h 362"/>
                <a:gd name="T48" fmla="*/ 48 w 209"/>
                <a:gd name="T49" fmla="*/ 362 h 362"/>
                <a:gd name="T50" fmla="*/ 59 w 209"/>
                <a:gd name="T51" fmla="*/ 356 h 362"/>
                <a:gd name="T52" fmla="*/ 64 w 209"/>
                <a:gd name="T53" fmla="*/ 356 h 362"/>
                <a:gd name="T54" fmla="*/ 71 w 209"/>
                <a:gd name="T55" fmla="*/ 356 h 362"/>
                <a:gd name="T56" fmla="*/ 82 w 209"/>
                <a:gd name="T57" fmla="*/ 351 h 362"/>
                <a:gd name="T58" fmla="*/ 99 w 209"/>
                <a:gd name="T59" fmla="*/ 349 h 362"/>
                <a:gd name="T60" fmla="*/ 107 w 209"/>
                <a:gd name="T61" fmla="*/ 344 h 362"/>
                <a:gd name="T62" fmla="*/ 112 w 209"/>
                <a:gd name="T63" fmla="*/ 336 h 362"/>
                <a:gd name="T64" fmla="*/ 110 w 209"/>
                <a:gd name="T65" fmla="*/ 331 h 362"/>
                <a:gd name="T66" fmla="*/ 120 w 209"/>
                <a:gd name="T67" fmla="*/ 328 h 362"/>
                <a:gd name="T68" fmla="*/ 133 w 209"/>
                <a:gd name="T69" fmla="*/ 323 h 362"/>
                <a:gd name="T70" fmla="*/ 145 w 209"/>
                <a:gd name="T71" fmla="*/ 321 h 362"/>
                <a:gd name="T72" fmla="*/ 156 w 209"/>
                <a:gd name="T73" fmla="*/ 306 h 362"/>
                <a:gd name="T74" fmla="*/ 163 w 209"/>
                <a:gd name="T75" fmla="*/ 300 h 362"/>
                <a:gd name="T76" fmla="*/ 166 w 209"/>
                <a:gd name="T77" fmla="*/ 293 h 362"/>
                <a:gd name="T78" fmla="*/ 171 w 209"/>
                <a:gd name="T79" fmla="*/ 288 h 362"/>
                <a:gd name="T80" fmla="*/ 176 w 209"/>
                <a:gd name="T81" fmla="*/ 285 h 362"/>
                <a:gd name="T82" fmla="*/ 186 w 209"/>
                <a:gd name="T83" fmla="*/ 283 h 362"/>
                <a:gd name="T84" fmla="*/ 189 w 209"/>
                <a:gd name="T85" fmla="*/ 275 h 362"/>
                <a:gd name="T86" fmla="*/ 184 w 209"/>
                <a:gd name="T87" fmla="*/ 270 h 362"/>
                <a:gd name="T88" fmla="*/ 181 w 209"/>
                <a:gd name="T89" fmla="*/ 257 h 362"/>
                <a:gd name="T90" fmla="*/ 178 w 209"/>
                <a:gd name="T91" fmla="*/ 247 h 362"/>
                <a:gd name="T92" fmla="*/ 168 w 209"/>
                <a:gd name="T93" fmla="*/ 244 h 362"/>
                <a:gd name="T94" fmla="*/ 168 w 209"/>
                <a:gd name="T95" fmla="*/ 237 h 362"/>
                <a:gd name="T96" fmla="*/ 176 w 209"/>
                <a:gd name="T97" fmla="*/ 227 h 362"/>
                <a:gd name="T98" fmla="*/ 173 w 209"/>
                <a:gd name="T99" fmla="*/ 219 h 362"/>
                <a:gd name="T100" fmla="*/ 176 w 209"/>
                <a:gd name="T101" fmla="*/ 214 h 362"/>
                <a:gd name="T102" fmla="*/ 181 w 209"/>
                <a:gd name="T103" fmla="*/ 209 h 362"/>
                <a:gd name="T104" fmla="*/ 178 w 209"/>
                <a:gd name="T105" fmla="*/ 201 h 362"/>
                <a:gd name="T106" fmla="*/ 184 w 209"/>
                <a:gd name="T107" fmla="*/ 199 h 362"/>
                <a:gd name="T108" fmla="*/ 186 w 209"/>
                <a:gd name="T109" fmla="*/ 191 h 362"/>
                <a:gd name="T110" fmla="*/ 189 w 209"/>
                <a:gd name="T111" fmla="*/ 178 h 362"/>
                <a:gd name="T112" fmla="*/ 201 w 209"/>
                <a:gd name="T113" fmla="*/ 173 h 362"/>
                <a:gd name="T114" fmla="*/ 209 w 209"/>
                <a:gd name="T115" fmla="*/ 173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9" h="362">
                  <a:moveTo>
                    <a:pt x="209" y="171"/>
                  </a:moveTo>
                  <a:lnTo>
                    <a:pt x="209" y="160"/>
                  </a:lnTo>
                  <a:lnTo>
                    <a:pt x="209" y="150"/>
                  </a:lnTo>
                  <a:lnTo>
                    <a:pt x="209" y="140"/>
                  </a:lnTo>
                  <a:lnTo>
                    <a:pt x="209" y="130"/>
                  </a:lnTo>
                  <a:lnTo>
                    <a:pt x="209" y="120"/>
                  </a:lnTo>
                  <a:lnTo>
                    <a:pt x="209" y="110"/>
                  </a:lnTo>
                  <a:lnTo>
                    <a:pt x="207" y="99"/>
                  </a:lnTo>
                  <a:lnTo>
                    <a:pt x="207" y="89"/>
                  </a:lnTo>
                  <a:lnTo>
                    <a:pt x="199" y="84"/>
                  </a:lnTo>
                  <a:lnTo>
                    <a:pt x="189" y="79"/>
                  </a:lnTo>
                  <a:lnTo>
                    <a:pt x="178" y="74"/>
                  </a:lnTo>
                  <a:lnTo>
                    <a:pt x="168" y="69"/>
                  </a:lnTo>
                  <a:lnTo>
                    <a:pt x="161" y="61"/>
                  </a:lnTo>
                  <a:lnTo>
                    <a:pt x="150" y="56"/>
                  </a:lnTo>
                  <a:lnTo>
                    <a:pt x="140" y="51"/>
                  </a:lnTo>
                  <a:lnTo>
                    <a:pt x="130" y="46"/>
                  </a:lnTo>
                  <a:lnTo>
                    <a:pt x="122" y="41"/>
                  </a:lnTo>
                  <a:lnTo>
                    <a:pt x="112" y="36"/>
                  </a:lnTo>
                  <a:lnTo>
                    <a:pt x="102" y="31"/>
                  </a:lnTo>
                  <a:lnTo>
                    <a:pt x="94" y="26"/>
                  </a:lnTo>
                  <a:lnTo>
                    <a:pt x="84" y="21"/>
                  </a:lnTo>
                  <a:lnTo>
                    <a:pt x="74" y="13"/>
                  </a:lnTo>
                  <a:lnTo>
                    <a:pt x="64" y="8"/>
                  </a:lnTo>
                  <a:lnTo>
                    <a:pt x="56" y="3"/>
                  </a:lnTo>
                  <a:lnTo>
                    <a:pt x="48" y="0"/>
                  </a:lnTo>
                  <a:lnTo>
                    <a:pt x="41" y="3"/>
                  </a:lnTo>
                  <a:lnTo>
                    <a:pt x="36" y="5"/>
                  </a:lnTo>
                  <a:lnTo>
                    <a:pt x="28" y="10"/>
                  </a:lnTo>
                  <a:lnTo>
                    <a:pt x="31" y="23"/>
                  </a:lnTo>
                  <a:lnTo>
                    <a:pt x="33" y="33"/>
                  </a:lnTo>
                  <a:lnTo>
                    <a:pt x="33" y="41"/>
                  </a:lnTo>
                  <a:lnTo>
                    <a:pt x="33" y="43"/>
                  </a:lnTo>
                  <a:lnTo>
                    <a:pt x="33" y="43"/>
                  </a:lnTo>
                  <a:lnTo>
                    <a:pt x="36" y="46"/>
                  </a:lnTo>
                  <a:lnTo>
                    <a:pt x="41" y="56"/>
                  </a:lnTo>
                  <a:lnTo>
                    <a:pt x="41" y="59"/>
                  </a:lnTo>
                  <a:lnTo>
                    <a:pt x="41" y="61"/>
                  </a:lnTo>
                  <a:lnTo>
                    <a:pt x="43" y="61"/>
                  </a:lnTo>
                  <a:lnTo>
                    <a:pt x="48" y="69"/>
                  </a:lnTo>
                  <a:lnTo>
                    <a:pt x="48" y="69"/>
                  </a:lnTo>
                  <a:lnTo>
                    <a:pt x="48" y="71"/>
                  </a:lnTo>
                  <a:lnTo>
                    <a:pt x="46" y="79"/>
                  </a:lnTo>
                  <a:lnTo>
                    <a:pt x="43" y="79"/>
                  </a:lnTo>
                  <a:lnTo>
                    <a:pt x="43" y="89"/>
                  </a:lnTo>
                  <a:lnTo>
                    <a:pt x="43" y="97"/>
                  </a:lnTo>
                  <a:lnTo>
                    <a:pt x="43" y="105"/>
                  </a:lnTo>
                  <a:lnTo>
                    <a:pt x="41" y="115"/>
                  </a:lnTo>
                  <a:lnTo>
                    <a:pt x="41" y="125"/>
                  </a:lnTo>
                  <a:lnTo>
                    <a:pt x="41" y="138"/>
                  </a:lnTo>
                  <a:lnTo>
                    <a:pt x="41" y="148"/>
                  </a:lnTo>
                  <a:lnTo>
                    <a:pt x="36" y="155"/>
                  </a:lnTo>
                  <a:lnTo>
                    <a:pt x="26" y="166"/>
                  </a:lnTo>
                  <a:lnTo>
                    <a:pt x="18" y="173"/>
                  </a:lnTo>
                  <a:lnTo>
                    <a:pt x="15" y="181"/>
                  </a:lnTo>
                  <a:lnTo>
                    <a:pt x="8" y="191"/>
                  </a:lnTo>
                  <a:lnTo>
                    <a:pt x="3" y="199"/>
                  </a:lnTo>
                  <a:lnTo>
                    <a:pt x="0" y="204"/>
                  </a:lnTo>
                  <a:lnTo>
                    <a:pt x="0" y="206"/>
                  </a:lnTo>
                  <a:lnTo>
                    <a:pt x="0" y="211"/>
                  </a:lnTo>
                  <a:lnTo>
                    <a:pt x="3" y="222"/>
                  </a:lnTo>
                  <a:lnTo>
                    <a:pt x="5" y="227"/>
                  </a:lnTo>
                  <a:lnTo>
                    <a:pt x="10" y="232"/>
                  </a:lnTo>
                  <a:lnTo>
                    <a:pt x="13" y="234"/>
                  </a:lnTo>
                  <a:lnTo>
                    <a:pt x="15" y="234"/>
                  </a:lnTo>
                  <a:lnTo>
                    <a:pt x="20" y="237"/>
                  </a:lnTo>
                  <a:lnTo>
                    <a:pt x="20" y="237"/>
                  </a:lnTo>
                  <a:lnTo>
                    <a:pt x="20" y="242"/>
                  </a:lnTo>
                  <a:lnTo>
                    <a:pt x="23" y="242"/>
                  </a:lnTo>
                  <a:lnTo>
                    <a:pt x="26" y="244"/>
                  </a:lnTo>
                  <a:lnTo>
                    <a:pt x="28" y="247"/>
                  </a:lnTo>
                  <a:lnTo>
                    <a:pt x="28" y="252"/>
                  </a:lnTo>
                  <a:lnTo>
                    <a:pt x="31" y="257"/>
                  </a:lnTo>
                  <a:lnTo>
                    <a:pt x="31" y="257"/>
                  </a:lnTo>
                  <a:lnTo>
                    <a:pt x="33" y="262"/>
                  </a:lnTo>
                  <a:lnTo>
                    <a:pt x="33" y="262"/>
                  </a:lnTo>
                  <a:lnTo>
                    <a:pt x="33" y="265"/>
                  </a:lnTo>
                  <a:lnTo>
                    <a:pt x="33" y="267"/>
                  </a:lnTo>
                  <a:lnTo>
                    <a:pt x="33" y="270"/>
                  </a:lnTo>
                  <a:lnTo>
                    <a:pt x="33" y="275"/>
                  </a:lnTo>
                  <a:lnTo>
                    <a:pt x="31" y="275"/>
                  </a:lnTo>
                  <a:lnTo>
                    <a:pt x="31" y="280"/>
                  </a:lnTo>
                  <a:lnTo>
                    <a:pt x="33" y="285"/>
                  </a:lnTo>
                  <a:lnTo>
                    <a:pt x="33" y="290"/>
                  </a:lnTo>
                  <a:lnTo>
                    <a:pt x="36" y="293"/>
                  </a:lnTo>
                  <a:lnTo>
                    <a:pt x="36" y="298"/>
                  </a:lnTo>
                  <a:lnTo>
                    <a:pt x="38" y="300"/>
                  </a:lnTo>
                  <a:lnTo>
                    <a:pt x="41" y="303"/>
                  </a:lnTo>
                  <a:lnTo>
                    <a:pt x="43" y="306"/>
                  </a:lnTo>
                  <a:lnTo>
                    <a:pt x="41" y="306"/>
                  </a:lnTo>
                  <a:lnTo>
                    <a:pt x="38" y="306"/>
                  </a:lnTo>
                  <a:lnTo>
                    <a:pt x="36" y="306"/>
                  </a:lnTo>
                  <a:lnTo>
                    <a:pt x="33" y="306"/>
                  </a:lnTo>
                  <a:lnTo>
                    <a:pt x="33" y="306"/>
                  </a:lnTo>
                  <a:lnTo>
                    <a:pt x="28" y="306"/>
                  </a:lnTo>
                  <a:lnTo>
                    <a:pt x="23" y="306"/>
                  </a:lnTo>
                  <a:lnTo>
                    <a:pt x="18" y="306"/>
                  </a:lnTo>
                  <a:lnTo>
                    <a:pt x="15" y="306"/>
                  </a:lnTo>
                  <a:lnTo>
                    <a:pt x="13" y="308"/>
                  </a:lnTo>
                  <a:lnTo>
                    <a:pt x="13" y="311"/>
                  </a:lnTo>
                  <a:lnTo>
                    <a:pt x="10" y="313"/>
                  </a:lnTo>
                  <a:lnTo>
                    <a:pt x="10" y="313"/>
                  </a:lnTo>
                  <a:lnTo>
                    <a:pt x="13" y="316"/>
                  </a:lnTo>
                  <a:lnTo>
                    <a:pt x="15" y="318"/>
                  </a:lnTo>
                  <a:lnTo>
                    <a:pt x="15" y="321"/>
                  </a:lnTo>
                  <a:lnTo>
                    <a:pt x="18" y="323"/>
                  </a:lnTo>
                  <a:lnTo>
                    <a:pt x="23" y="326"/>
                  </a:lnTo>
                  <a:lnTo>
                    <a:pt x="26" y="331"/>
                  </a:lnTo>
                  <a:lnTo>
                    <a:pt x="26" y="331"/>
                  </a:lnTo>
                  <a:lnTo>
                    <a:pt x="28" y="331"/>
                  </a:lnTo>
                  <a:lnTo>
                    <a:pt x="28" y="331"/>
                  </a:lnTo>
                  <a:lnTo>
                    <a:pt x="31" y="334"/>
                  </a:lnTo>
                  <a:lnTo>
                    <a:pt x="33" y="339"/>
                  </a:lnTo>
                  <a:lnTo>
                    <a:pt x="36" y="344"/>
                  </a:lnTo>
                  <a:lnTo>
                    <a:pt x="38" y="349"/>
                  </a:lnTo>
                  <a:lnTo>
                    <a:pt x="41" y="354"/>
                  </a:lnTo>
                  <a:lnTo>
                    <a:pt x="41" y="354"/>
                  </a:lnTo>
                  <a:lnTo>
                    <a:pt x="43" y="354"/>
                  </a:lnTo>
                  <a:lnTo>
                    <a:pt x="43" y="356"/>
                  </a:lnTo>
                  <a:lnTo>
                    <a:pt x="43" y="359"/>
                  </a:lnTo>
                  <a:lnTo>
                    <a:pt x="41" y="359"/>
                  </a:lnTo>
                  <a:lnTo>
                    <a:pt x="41" y="362"/>
                  </a:lnTo>
                  <a:lnTo>
                    <a:pt x="43" y="362"/>
                  </a:lnTo>
                  <a:lnTo>
                    <a:pt x="46" y="362"/>
                  </a:lnTo>
                  <a:lnTo>
                    <a:pt x="48" y="362"/>
                  </a:lnTo>
                  <a:lnTo>
                    <a:pt x="51" y="362"/>
                  </a:lnTo>
                  <a:lnTo>
                    <a:pt x="51" y="359"/>
                  </a:lnTo>
                  <a:lnTo>
                    <a:pt x="56" y="359"/>
                  </a:lnTo>
                  <a:lnTo>
                    <a:pt x="59" y="356"/>
                  </a:lnTo>
                  <a:lnTo>
                    <a:pt x="59" y="356"/>
                  </a:lnTo>
                  <a:lnTo>
                    <a:pt x="61" y="354"/>
                  </a:lnTo>
                  <a:lnTo>
                    <a:pt x="61" y="354"/>
                  </a:lnTo>
                  <a:lnTo>
                    <a:pt x="61" y="354"/>
                  </a:lnTo>
                  <a:lnTo>
                    <a:pt x="61" y="354"/>
                  </a:lnTo>
                  <a:lnTo>
                    <a:pt x="64" y="356"/>
                  </a:lnTo>
                  <a:lnTo>
                    <a:pt x="64" y="359"/>
                  </a:lnTo>
                  <a:lnTo>
                    <a:pt x="66" y="362"/>
                  </a:lnTo>
                  <a:lnTo>
                    <a:pt x="66" y="362"/>
                  </a:lnTo>
                  <a:lnTo>
                    <a:pt x="69" y="359"/>
                  </a:lnTo>
                  <a:lnTo>
                    <a:pt x="71" y="356"/>
                  </a:lnTo>
                  <a:lnTo>
                    <a:pt x="74" y="356"/>
                  </a:lnTo>
                  <a:lnTo>
                    <a:pt x="77" y="354"/>
                  </a:lnTo>
                  <a:lnTo>
                    <a:pt x="79" y="354"/>
                  </a:lnTo>
                  <a:lnTo>
                    <a:pt x="79" y="354"/>
                  </a:lnTo>
                  <a:lnTo>
                    <a:pt x="82" y="351"/>
                  </a:lnTo>
                  <a:lnTo>
                    <a:pt x="84" y="351"/>
                  </a:lnTo>
                  <a:lnTo>
                    <a:pt x="87" y="351"/>
                  </a:lnTo>
                  <a:lnTo>
                    <a:pt x="89" y="351"/>
                  </a:lnTo>
                  <a:lnTo>
                    <a:pt x="97" y="349"/>
                  </a:lnTo>
                  <a:lnTo>
                    <a:pt x="99" y="349"/>
                  </a:lnTo>
                  <a:lnTo>
                    <a:pt x="102" y="349"/>
                  </a:lnTo>
                  <a:lnTo>
                    <a:pt x="102" y="349"/>
                  </a:lnTo>
                  <a:lnTo>
                    <a:pt x="105" y="346"/>
                  </a:lnTo>
                  <a:lnTo>
                    <a:pt x="105" y="346"/>
                  </a:lnTo>
                  <a:lnTo>
                    <a:pt x="107" y="344"/>
                  </a:lnTo>
                  <a:lnTo>
                    <a:pt x="110" y="341"/>
                  </a:lnTo>
                  <a:lnTo>
                    <a:pt x="112" y="339"/>
                  </a:lnTo>
                  <a:lnTo>
                    <a:pt x="112" y="336"/>
                  </a:lnTo>
                  <a:lnTo>
                    <a:pt x="112" y="336"/>
                  </a:lnTo>
                  <a:lnTo>
                    <a:pt x="112" y="336"/>
                  </a:lnTo>
                  <a:lnTo>
                    <a:pt x="112" y="336"/>
                  </a:lnTo>
                  <a:lnTo>
                    <a:pt x="112" y="334"/>
                  </a:lnTo>
                  <a:lnTo>
                    <a:pt x="110" y="331"/>
                  </a:lnTo>
                  <a:lnTo>
                    <a:pt x="110" y="331"/>
                  </a:lnTo>
                  <a:lnTo>
                    <a:pt x="110" y="331"/>
                  </a:lnTo>
                  <a:lnTo>
                    <a:pt x="110" y="331"/>
                  </a:lnTo>
                  <a:lnTo>
                    <a:pt x="110" y="328"/>
                  </a:lnTo>
                  <a:lnTo>
                    <a:pt x="112" y="328"/>
                  </a:lnTo>
                  <a:lnTo>
                    <a:pt x="115" y="328"/>
                  </a:lnTo>
                  <a:lnTo>
                    <a:pt x="120" y="328"/>
                  </a:lnTo>
                  <a:lnTo>
                    <a:pt x="122" y="326"/>
                  </a:lnTo>
                  <a:lnTo>
                    <a:pt x="125" y="326"/>
                  </a:lnTo>
                  <a:lnTo>
                    <a:pt x="128" y="326"/>
                  </a:lnTo>
                  <a:lnTo>
                    <a:pt x="130" y="326"/>
                  </a:lnTo>
                  <a:lnTo>
                    <a:pt x="133" y="323"/>
                  </a:lnTo>
                  <a:lnTo>
                    <a:pt x="138" y="326"/>
                  </a:lnTo>
                  <a:lnTo>
                    <a:pt x="143" y="321"/>
                  </a:lnTo>
                  <a:lnTo>
                    <a:pt x="143" y="321"/>
                  </a:lnTo>
                  <a:lnTo>
                    <a:pt x="145" y="321"/>
                  </a:lnTo>
                  <a:lnTo>
                    <a:pt x="145" y="321"/>
                  </a:lnTo>
                  <a:lnTo>
                    <a:pt x="148" y="318"/>
                  </a:lnTo>
                  <a:lnTo>
                    <a:pt x="148" y="316"/>
                  </a:lnTo>
                  <a:lnTo>
                    <a:pt x="150" y="313"/>
                  </a:lnTo>
                  <a:lnTo>
                    <a:pt x="150" y="311"/>
                  </a:lnTo>
                  <a:lnTo>
                    <a:pt x="156" y="306"/>
                  </a:lnTo>
                  <a:lnTo>
                    <a:pt x="158" y="306"/>
                  </a:lnTo>
                  <a:lnTo>
                    <a:pt x="158" y="306"/>
                  </a:lnTo>
                  <a:lnTo>
                    <a:pt x="161" y="300"/>
                  </a:lnTo>
                  <a:lnTo>
                    <a:pt x="161" y="300"/>
                  </a:lnTo>
                  <a:lnTo>
                    <a:pt x="163" y="300"/>
                  </a:lnTo>
                  <a:lnTo>
                    <a:pt x="163" y="300"/>
                  </a:lnTo>
                  <a:lnTo>
                    <a:pt x="166" y="298"/>
                  </a:lnTo>
                  <a:lnTo>
                    <a:pt x="166" y="295"/>
                  </a:lnTo>
                  <a:lnTo>
                    <a:pt x="166" y="295"/>
                  </a:lnTo>
                  <a:lnTo>
                    <a:pt x="166" y="293"/>
                  </a:lnTo>
                  <a:lnTo>
                    <a:pt x="166" y="293"/>
                  </a:lnTo>
                  <a:lnTo>
                    <a:pt x="166" y="290"/>
                  </a:lnTo>
                  <a:lnTo>
                    <a:pt x="166" y="290"/>
                  </a:lnTo>
                  <a:lnTo>
                    <a:pt x="171" y="288"/>
                  </a:lnTo>
                  <a:lnTo>
                    <a:pt x="171" y="288"/>
                  </a:lnTo>
                  <a:lnTo>
                    <a:pt x="171" y="285"/>
                  </a:lnTo>
                  <a:lnTo>
                    <a:pt x="173" y="285"/>
                  </a:lnTo>
                  <a:lnTo>
                    <a:pt x="173" y="285"/>
                  </a:lnTo>
                  <a:lnTo>
                    <a:pt x="176" y="285"/>
                  </a:lnTo>
                  <a:lnTo>
                    <a:pt x="176" y="285"/>
                  </a:lnTo>
                  <a:lnTo>
                    <a:pt x="178" y="283"/>
                  </a:lnTo>
                  <a:lnTo>
                    <a:pt x="181" y="283"/>
                  </a:lnTo>
                  <a:lnTo>
                    <a:pt x="184" y="283"/>
                  </a:lnTo>
                  <a:lnTo>
                    <a:pt x="186" y="283"/>
                  </a:lnTo>
                  <a:lnTo>
                    <a:pt x="186" y="283"/>
                  </a:lnTo>
                  <a:lnTo>
                    <a:pt x="189" y="285"/>
                  </a:lnTo>
                  <a:lnTo>
                    <a:pt x="189" y="283"/>
                  </a:lnTo>
                  <a:lnTo>
                    <a:pt x="189" y="278"/>
                  </a:lnTo>
                  <a:lnTo>
                    <a:pt x="189" y="275"/>
                  </a:lnTo>
                  <a:lnTo>
                    <a:pt x="189" y="275"/>
                  </a:lnTo>
                  <a:lnTo>
                    <a:pt x="189" y="272"/>
                  </a:lnTo>
                  <a:lnTo>
                    <a:pt x="186" y="272"/>
                  </a:lnTo>
                  <a:lnTo>
                    <a:pt x="186" y="272"/>
                  </a:lnTo>
                  <a:lnTo>
                    <a:pt x="184" y="272"/>
                  </a:lnTo>
                  <a:lnTo>
                    <a:pt x="184" y="270"/>
                  </a:lnTo>
                  <a:lnTo>
                    <a:pt x="184" y="270"/>
                  </a:lnTo>
                  <a:lnTo>
                    <a:pt x="181" y="267"/>
                  </a:lnTo>
                  <a:lnTo>
                    <a:pt x="181" y="260"/>
                  </a:lnTo>
                  <a:lnTo>
                    <a:pt x="181" y="260"/>
                  </a:lnTo>
                  <a:lnTo>
                    <a:pt x="181" y="257"/>
                  </a:lnTo>
                  <a:lnTo>
                    <a:pt x="181" y="257"/>
                  </a:lnTo>
                  <a:lnTo>
                    <a:pt x="181" y="257"/>
                  </a:lnTo>
                  <a:lnTo>
                    <a:pt x="178" y="252"/>
                  </a:lnTo>
                  <a:lnTo>
                    <a:pt x="178" y="250"/>
                  </a:lnTo>
                  <a:lnTo>
                    <a:pt x="178" y="247"/>
                  </a:lnTo>
                  <a:lnTo>
                    <a:pt x="178" y="244"/>
                  </a:lnTo>
                  <a:lnTo>
                    <a:pt x="176" y="244"/>
                  </a:lnTo>
                  <a:lnTo>
                    <a:pt x="173" y="244"/>
                  </a:lnTo>
                  <a:lnTo>
                    <a:pt x="171" y="244"/>
                  </a:lnTo>
                  <a:lnTo>
                    <a:pt x="168" y="244"/>
                  </a:lnTo>
                  <a:lnTo>
                    <a:pt x="168" y="244"/>
                  </a:lnTo>
                  <a:lnTo>
                    <a:pt x="168" y="242"/>
                  </a:lnTo>
                  <a:lnTo>
                    <a:pt x="166" y="242"/>
                  </a:lnTo>
                  <a:lnTo>
                    <a:pt x="168" y="239"/>
                  </a:lnTo>
                  <a:lnTo>
                    <a:pt x="168" y="237"/>
                  </a:lnTo>
                  <a:lnTo>
                    <a:pt x="171" y="234"/>
                  </a:lnTo>
                  <a:lnTo>
                    <a:pt x="173" y="232"/>
                  </a:lnTo>
                  <a:lnTo>
                    <a:pt x="173" y="232"/>
                  </a:lnTo>
                  <a:lnTo>
                    <a:pt x="176" y="229"/>
                  </a:lnTo>
                  <a:lnTo>
                    <a:pt x="176" y="227"/>
                  </a:lnTo>
                  <a:lnTo>
                    <a:pt x="176" y="227"/>
                  </a:lnTo>
                  <a:lnTo>
                    <a:pt x="173" y="224"/>
                  </a:lnTo>
                  <a:lnTo>
                    <a:pt x="173" y="222"/>
                  </a:lnTo>
                  <a:lnTo>
                    <a:pt x="173" y="219"/>
                  </a:lnTo>
                  <a:lnTo>
                    <a:pt x="173" y="219"/>
                  </a:lnTo>
                  <a:lnTo>
                    <a:pt x="173" y="216"/>
                  </a:lnTo>
                  <a:lnTo>
                    <a:pt x="173" y="216"/>
                  </a:lnTo>
                  <a:lnTo>
                    <a:pt x="176" y="214"/>
                  </a:lnTo>
                  <a:lnTo>
                    <a:pt x="176" y="214"/>
                  </a:lnTo>
                  <a:lnTo>
                    <a:pt x="176" y="214"/>
                  </a:lnTo>
                  <a:lnTo>
                    <a:pt x="178" y="214"/>
                  </a:lnTo>
                  <a:lnTo>
                    <a:pt x="181" y="211"/>
                  </a:lnTo>
                  <a:lnTo>
                    <a:pt x="181" y="211"/>
                  </a:lnTo>
                  <a:lnTo>
                    <a:pt x="181" y="209"/>
                  </a:lnTo>
                  <a:lnTo>
                    <a:pt x="181" y="209"/>
                  </a:lnTo>
                  <a:lnTo>
                    <a:pt x="178" y="206"/>
                  </a:lnTo>
                  <a:lnTo>
                    <a:pt x="178" y="206"/>
                  </a:lnTo>
                  <a:lnTo>
                    <a:pt x="178" y="204"/>
                  </a:lnTo>
                  <a:lnTo>
                    <a:pt x="178" y="204"/>
                  </a:lnTo>
                  <a:lnTo>
                    <a:pt x="178" y="201"/>
                  </a:lnTo>
                  <a:lnTo>
                    <a:pt x="178" y="201"/>
                  </a:lnTo>
                  <a:lnTo>
                    <a:pt x="178" y="199"/>
                  </a:lnTo>
                  <a:lnTo>
                    <a:pt x="181" y="199"/>
                  </a:lnTo>
                  <a:lnTo>
                    <a:pt x="184" y="199"/>
                  </a:lnTo>
                  <a:lnTo>
                    <a:pt x="184" y="199"/>
                  </a:lnTo>
                  <a:lnTo>
                    <a:pt x="184" y="196"/>
                  </a:lnTo>
                  <a:lnTo>
                    <a:pt x="184" y="194"/>
                  </a:lnTo>
                  <a:lnTo>
                    <a:pt x="184" y="194"/>
                  </a:lnTo>
                  <a:lnTo>
                    <a:pt x="186" y="191"/>
                  </a:lnTo>
                  <a:lnTo>
                    <a:pt x="186" y="191"/>
                  </a:lnTo>
                  <a:lnTo>
                    <a:pt x="186" y="188"/>
                  </a:lnTo>
                  <a:lnTo>
                    <a:pt x="189" y="188"/>
                  </a:lnTo>
                  <a:lnTo>
                    <a:pt x="189" y="186"/>
                  </a:lnTo>
                  <a:lnTo>
                    <a:pt x="189" y="183"/>
                  </a:lnTo>
                  <a:lnTo>
                    <a:pt x="189" y="178"/>
                  </a:lnTo>
                  <a:lnTo>
                    <a:pt x="189" y="178"/>
                  </a:lnTo>
                  <a:lnTo>
                    <a:pt x="191" y="176"/>
                  </a:lnTo>
                  <a:lnTo>
                    <a:pt x="194" y="176"/>
                  </a:lnTo>
                  <a:lnTo>
                    <a:pt x="199" y="176"/>
                  </a:lnTo>
                  <a:lnTo>
                    <a:pt x="201" y="173"/>
                  </a:lnTo>
                  <a:lnTo>
                    <a:pt x="204" y="173"/>
                  </a:lnTo>
                  <a:lnTo>
                    <a:pt x="209" y="176"/>
                  </a:lnTo>
                  <a:lnTo>
                    <a:pt x="209" y="176"/>
                  </a:lnTo>
                  <a:lnTo>
                    <a:pt x="209" y="176"/>
                  </a:lnTo>
                  <a:lnTo>
                    <a:pt x="209" y="173"/>
                  </a:lnTo>
                  <a:lnTo>
                    <a:pt x="209" y="171"/>
                  </a:lnTo>
                  <a:close/>
                </a:path>
              </a:pathLst>
            </a:custGeom>
            <a:solidFill>
              <a:srgbClr val="FFC000"/>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346" name="Freeform 1965">
              <a:extLst>
                <a:ext uri="{FF2B5EF4-FFF2-40B4-BE49-F238E27FC236}">
                  <a16:creationId xmlns:a16="http://schemas.microsoft.com/office/drawing/2014/main" id="{8AFB0FE8-9F77-5B4C-B475-448FF71DCB3F}"/>
                </a:ext>
              </a:extLst>
            </p:cNvPr>
            <p:cNvSpPr>
              <a:spLocks/>
            </p:cNvSpPr>
            <p:nvPr/>
          </p:nvSpPr>
          <p:spPr bwMode="auto">
            <a:xfrm>
              <a:off x="6082963" y="3393831"/>
              <a:ext cx="425292" cy="323876"/>
            </a:xfrm>
            <a:custGeom>
              <a:avLst/>
              <a:gdLst>
                <a:gd name="T0" fmla="*/ 255 w 260"/>
                <a:gd name="T1" fmla="*/ 119 h 198"/>
                <a:gd name="T2" fmla="*/ 245 w 260"/>
                <a:gd name="T3" fmla="*/ 112 h 198"/>
                <a:gd name="T4" fmla="*/ 237 w 260"/>
                <a:gd name="T5" fmla="*/ 101 h 198"/>
                <a:gd name="T6" fmla="*/ 230 w 260"/>
                <a:gd name="T7" fmla="*/ 89 h 198"/>
                <a:gd name="T8" fmla="*/ 217 w 260"/>
                <a:gd name="T9" fmla="*/ 76 h 198"/>
                <a:gd name="T10" fmla="*/ 202 w 260"/>
                <a:gd name="T11" fmla="*/ 61 h 198"/>
                <a:gd name="T12" fmla="*/ 194 w 260"/>
                <a:gd name="T13" fmla="*/ 53 h 198"/>
                <a:gd name="T14" fmla="*/ 181 w 260"/>
                <a:gd name="T15" fmla="*/ 48 h 198"/>
                <a:gd name="T16" fmla="*/ 184 w 260"/>
                <a:gd name="T17" fmla="*/ 38 h 198"/>
                <a:gd name="T18" fmla="*/ 181 w 260"/>
                <a:gd name="T19" fmla="*/ 17 h 198"/>
                <a:gd name="T20" fmla="*/ 166 w 260"/>
                <a:gd name="T21" fmla="*/ 0 h 198"/>
                <a:gd name="T22" fmla="*/ 156 w 260"/>
                <a:gd name="T23" fmla="*/ 2 h 198"/>
                <a:gd name="T24" fmla="*/ 146 w 260"/>
                <a:gd name="T25" fmla="*/ 7 h 198"/>
                <a:gd name="T26" fmla="*/ 146 w 260"/>
                <a:gd name="T27" fmla="*/ 15 h 198"/>
                <a:gd name="T28" fmla="*/ 138 w 260"/>
                <a:gd name="T29" fmla="*/ 23 h 198"/>
                <a:gd name="T30" fmla="*/ 125 w 260"/>
                <a:gd name="T31" fmla="*/ 38 h 198"/>
                <a:gd name="T32" fmla="*/ 110 w 260"/>
                <a:gd name="T33" fmla="*/ 43 h 198"/>
                <a:gd name="T34" fmla="*/ 92 w 260"/>
                <a:gd name="T35" fmla="*/ 45 h 198"/>
                <a:gd name="T36" fmla="*/ 92 w 260"/>
                <a:gd name="T37" fmla="*/ 51 h 198"/>
                <a:gd name="T38" fmla="*/ 90 w 260"/>
                <a:gd name="T39" fmla="*/ 58 h 198"/>
                <a:gd name="T40" fmla="*/ 79 w 260"/>
                <a:gd name="T41" fmla="*/ 66 h 198"/>
                <a:gd name="T42" fmla="*/ 59 w 260"/>
                <a:gd name="T43" fmla="*/ 71 h 198"/>
                <a:gd name="T44" fmla="*/ 46 w 260"/>
                <a:gd name="T45" fmla="*/ 79 h 198"/>
                <a:gd name="T46" fmla="*/ 41 w 260"/>
                <a:gd name="T47" fmla="*/ 71 h 198"/>
                <a:gd name="T48" fmla="*/ 31 w 260"/>
                <a:gd name="T49" fmla="*/ 79 h 198"/>
                <a:gd name="T50" fmla="*/ 16 w 260"/>
                <a:gd name="T51" fmla="*/ 84 h 198"/>
                <a:gd name="T52" fmla="*/ 11 w 260"/>
                <a:gd name="T53" fmla="*/ 96 h 198"/>
                <a:gd name="T54" fmla="*/ 3 w 260"/>
                <a:gd name="T55" fmla="*/ 109 h 198"/>
                <a:gd name="T56" fmla="*/ 0 w 260"/>
                <a:gd name="T57" fmla="*/ 114 h 198"/>
                <a:gd name="T58" fmla="*/ 3 w 260"/>
                <a:gd name="T59" fmla="*/ 124 h 198"/>
                <a:gd name="T60" fmla="*/ 3 w 260"/>
                <a:gd name="T61" fmla="*/ 132 h 198"/>
                <a:gd name="T62" fmla="*/ 11 w 260"/>
                <a:gd name="T63" fmla="*/ 150 h 198"/>
                <a:gd name="T64" fmla="*/ 13 w 260"/>
                <a:gd name="T65" fmla="*/ 157 h 198"/>
                <a:gd name="T66" fmla="*/ 21 w 260"/>
                <a:gd name="T67" fmla="*/ 170 h 198"/>
                <a:gd name="T68" fmla="*/ 31 w 260"/>
                <a:gd name="T69" fmla="*/ 180 h 198"/>
                <a:gd name="T70" fmla="*/ 34 w 260"/>
                <a:gd name="T71" fmla="*/ 188 h 198"/>
                <a:gd name="T72" fmla="*/ 36 w 260"/>
                <a:gd name="T73" fmla="*/ 198 h 198"/>
                <a:gd name="T74" fmla="*/ 41 w 260"/>
                <a:gd name="T75" fmla="*/ 180 h 198"/>
                <a:gd name="T76" fmla="*/ 44 w 260"/>
                <a:gd name="T77" fmla="*/ 170 h 198"/>
                <a:gd name="T78" fmla="*/ 59 w 260"/>
                <a:gd name="T79" fmla="*/ 165 h 198"/>
                <a:gd name="T80" fmla="*/ 69 w 260"/>
                <a:gd name="T81" fmla="*/ 168 h 198"/>
                <a:gd name="T82" fmla="*/ 77 w 260"/>
                <a:gd name="T83" fmla="*/ 168 h 198"/>
                <a:gd name="T84" fmla="*/ 85 w 260"/>
                <a:gd name="T85" fmla="*/ 165 h 198"/>
                <a:gd name="T86" fmla="*/ 87 w 260"/>
                <a:gd name="T87" fmla="*/ 147 h 198"/>
                <a:gd name="T88" fmla="*/ 110 w 260"/>
                <a:gd name="T89" fmla="*/ 134 h 198"/>
                <a:gd name="T90" fmla="*/ 125 w 260"/>
                <a:gd name="T91" fmla="*/ 147 h 198"/>
                <a:gd name="T92" fmla="*/ 138 w 260"/>
                <a:gd name="T93" fmla="*/ 152 h 198"/>
                <a:gd name="T94" fmla="*/ 161 w 260"/>
                <a:gd name="T95" fmla="*/ 155 h 198"/>
                <a:gd name="T96" fmla="*/ 171 w 260"/>
                <a:gd name="T97" fmla="*/ 142 h 198"/>
                <a:gd name="T98" fmla="*/ 187 w 260"/>
                <a:gd name="T99" fmla="*/ 140 h 198"/>
                <a:gd name="T100" fmla="*/ 207 w 260"/>
                <a:gd name="T101" fmla="*/ 137 h 198"/>
                <a:gd name="T102" fmla="*/ 222 w 260"/>
                <a:gd name="T103" fmla="*/ 129 h 198"/>
                <a:gd name="T104" fmla="*/ 248 w 260"/>
                <a:gd name="T105" fmla="*/ 134 h 198"/>
                <a:gd name="T106" fmla="*/ 258 w 260"/>
                <a:gd name="T107" fmla="*/ 132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60" h="198">
                  <a:moveTo>
                    <a:pt x="258" y="132"/>
                  </a:moveTo>
                  <a:lnTo>
                    <a:pt x="258" y="129"/>
                  </a:lnTo>
                  <a:lnTo>
                    <a:pt x="258" y="124"/>
                  </a:lnTo>
                  <a:lnTo>
                    <a:pt x="258" y="122"/>
                  </a:lnTo>
                  <a:lnTo>
                    <a:pt x="255" y="122"/>
                  </a:lnTo>
                  <a:lnTo>
                    <a:pt x="255" y="119"/>
                  </a:lnTo>
                  <a:lnTo>
                    <a:pt x="255" y="119"/>
                  </a:lnTo>
                  <a:lnTo>
                    <a:pt x="253" y="117"/>
                  </a:lnTo>
                  <a:lnTo>
                    <a:pt x="250" y="117"/>
                  </a:lnTo>
                  <a:lnTo>
                    <a:pt x="248" y="114"/>
                  </a:lnTo>
                  <a:lnTo>
                    <a:pt x="248" y="112"/>
                  </a:lnTo>
                  <a:lnTo>
                    <a:pt x="245" y="112"/>
                  </a:lnTo>
                  <a:lnTo>
                    <a:pt x="243" y="112"/>
                  </a:lnTo>
                  <a:lnTo>
                    <a:pt x="240" y="109"/>
                  </a:lnTo>
                  <a:lnTo>
                    <a:pt x="240" y="107"/>
                  </a:lnTo>
                  <a:lnTo>
                    <a:pt x="240" y="104"/>
                  </a:lnTo>
                  <a:lnTo>
                    <a:pt x="237" y="104"/>
                  </a:lnTo>
                  <a:lnTo>
                    <a:pt x="237" y="101"/>
                  </a:lnTo>
                  <a:lnTo>
                    <a:pt x="240" y="99"/>
                  </a:lnTo>
                  <a:lnTo>
                    <a:pt x="237" y="96"/>
                  </a:lnTo>
                  <a:lnTo>
                    <a:pt x="235" y="94"/>
                  </a:lnTo>
                  <a:lnTo>
                    <a:pt x="232" y="94"/>
                  </a:lnTo>
                  <a:lnTo>
                    <a:pt x="232" y="91"/>
                  </a:lnTo>
                  <a:lnTo>
                    <a:pt x="230" y="89"/>
                  </a:lnTo>
                  <a:lnTo>
                    <a:pt x="222" y="84"/>
                  </a:lnTo>
                  <a:lnTo>
                    <a:pt x="220" y="84"/>
                  </a:lnTo>
                  <a:lnTo>
                    <a:pt x="217" y="81"/>
                  </a:lnTo>
                  <a:lnTo>
                    <a:pt x="215" y="79"/>
                  </a:lnTo>
                  <a:lnTo>
                    <a:pt x="215" y="79"/>
                  </a:lnTo>
                  <a:lnTo>
                    <a:pt x="217" y="76"/>
                  </a:lnTo>
                  <a:lnTo>
                    <a:pt x="217" y="73"/>
                  </a:lnTo>
                  <a:lnTo>
                    <a:pt x="215" y="71"/>
                  </a:lnTo>
                  <a:lnTo>
                    <a:pt x="212" y="68"/>
                  </a:lnTo>
                  <a:lnTo>
                    <a:pt x="209" y="63"/>
                  </a:lnTo>
                  <a:lnTo>
                    <a:pt x="207" y="63"/>
                  </a:lnTo>
                  <a:lnTo>
                    <a:pt x="202" y="61"/>
                  </a:lnTo>
                  <a:lnTo>
                    <a:pt x="199" y="61"/>
                  </a:lnTo>
                  <a:lnTo>
                    <a:pt x="197" y="61"/>
                  </a:lnTo>
                  <a:lnTo>
                    <a:pt x="197" y="58"/>
                  </a:lnTo>
                  <a:lnTo>
                    <a:pt x="194" y="56"/>
                  </a:lnTo>
                  <a:lnTo>
                    <a:pt x="197" y="53"/>
                  </a:lnTo>
                  <a:lnTo>
                    <a:pt x="194" y="53"/>
                  </a:lnTo>
                  <a:lnTo>
                    <a:pt x="194" y="53"/>
                  </a:lnTo>
                  <a:lnTo>
                    <a:pt x="192" y="51"/>
                  </a:lnTo>
                  <a:lnTo>
                    <a:pt x="189" y="51"/>
                  </a:lnTo>
                  <a:lnTo>
                    <a:pt x="184" y="51"/>
                  </a:lnTo>
                  <a:lnTo>
                    <a:pt x="184" y="51"/>
                  </a:lnTo>
                  <a:lnTo>
                    <a:pt x="181" y="48"/>
                  </a:lnTo>
                  <a:lnTo>
                    <a:pt x="181" y="45"/>
                  </a:lnTo>
                  <a:lnTo>
                    <a:pt x="181" y="45"/>
                  </a:lnTo>
                  <a:lnTo>
                    <a:pt x="181" y="45"/>
                  </a:lnTo>
                  <a:lnTo>
                    <a:pt x="181" y="43"/>
                  </a:lnTo>
                  <a:lnTo>
                    <a:pt x="181" y="43"/>
                  </a:lnTo>
                  <a:lnTo>
                    <a:pt x="184" y="38"/>
                  </a:lnTo>
                  <a:lnTo>
                    <a:pt x="184" y="38"/>
                  </a:lnTo>
                  <a:lnTo>
                    <a:pt x="184" y="30"/>
                  </a:lnTo>
                  <a:lnTo>
                    <a:pt x="184" y="28"/>
                  </a:lnTo>
                  <a:lnTo>
                    <a:pt x="184" y="25"/>
                  </a:lnTo>
                  <a:lnTo>
                    <a:pt x="181" y="20"/>
                  </a:lnTo>
                  <a:lnTo>
                    <a:pt x="181" y="17"/>
                  </a:lnTo>
                  <a:lnTo>
                    <a:pt x="176" y="12"/>
                  </a:lnTo>
                  <a:lnTo>
                    <a:pt x="176" y="12"/>
                  </a:lnTo>
                  <a:lnTo>
                    <a:pt x="171" y="5"/>
                  </a:lnTo>
                  <a:lnTo>
                    <a:pt x="169" y="5"/>
                  </a:lnTo>
                  <a:lnTo>
                    <a:pt x="169" y="2"/>
                  </a:lnTo>
                  <a:lnTo>
                    <a:pt x="166" y="0"/>
                  </a:lnTo>
                  <a:lnTo>
                    <a:pt x="166" y="0"/>
                  </a:lnTo>
                  <a:lnTo>
                    <a:pt x="164" y="0"/>
                  </a:lnTo>
                  <a:lnTo>
                    <a:pt x="161" y="0"/>
                  </a:lnTo>
                  <a:lnTo>
                    <a:pt x="158" y="0"/>
                  </a:lnTo>
                  <a:lnTo>
                    <a:pt x="156" y="2"/>
                  </a:lnTo>
                  <a:lnTo>
                    <a:pt x="156" y="2"/>
                  </a:lnTo>
                  <a:lnTo>
                    <a:pt x="153" y="2"/>
                  </a:lnTo>
                  <a:lnTo>
                    <a:pt x="153" y="2"/>
                  </a:lnTo>
                  <a:lnTo>
                    <a:pt x="151" y="2"/>
                  </a:lnTo>
                  <a:lnTo>
                    <a:pt x="151" y="5"/>
                  </a:lnTo>
                  <a:lnTo>
                    <a:pt x="151" y="5"/>
                  </a:lnTo>
                  <a:lnTo>
                    <a:pt x="146" y="7"/>
                  </a:lnTo>
                  <a:lnTo>
                    <a:pt x="146" y="7"/>
                  </a:lnTo>
                  <a:lnTo>
                    <a:pt x="146" y="10"/>
                  </a:lnTo>
                  <a:lnTo>
                    <a:pt x="146" y="10"/>
                  </a:lnTo>
                  <a:lnTo>
                    <a:pt x="146" y="12"/>
                  </a:lnTo>
                  <a:lnTo>
                    <a:pt x="146" y="12"/>
                  </a:lnTo>
                  <a:lnTo>
                    <a:pt x="146" y="15"/>
                  </a:lnTo>
                  <a:lnTo>
                    <a:pt x="143" y="17"/>
                  </a:lnTo>
                  <a:lnTo>
                    <a:pt x="143" y="17"/>
                  </a:lnTo>
                  <a:lnTo>
                    <a:pt x="141" y="17"/>
                  </a:lnTo>
                  <a:lnTo>
                    <a:pt x="141" y="17"/>
                  </a:lnTo>
                  <a:lnTo>
                    <a:pt x="138" y="23"/>
                  </a:lnTo>
                  <a:lnTo>
                    <a:pt x="138" y="23"/>
                  </a:lnTo>
                  <a:lnTo>
                    <a:pt x="136" y="23"/>
                  </a:lnTo>
                  <a:lnTo>
                    <a:pt x="130" y="28"/>
                  </a:lnTo>
                  <a:lnTo>
                    <a:pt x="130" y="30"/>
                  </a:lnTo>
                  <a:lnTo>
                    <a:pt x="128" y="33"/>
                  </a:lnTo>
                  <a:lnTo>
                    <a:pt x="128" y="35"/>
                  </a:lnTo>
                  <a:lnTo>
                    <a:pt x="125" y="38"/>
                  </a:lnTo>
                  <a:lnTo>
                    <a:pt x="125" y="38"/>
                  </a:lnTo>
                  <a:lnTo>
                    <a:pt x="123" y="38"/>
                  </a:lnTo>
                  <a:lnTo>
                    <a:pt x="123" y="38"/>
                  </a:lnTo>
                  <a:lnTo>
                    <a:pt x="118" y="43"/>
                  </a:lnTo>
                  <a:lnTo>
                    <a:pt x="113" y="40"/>
                  </a:lnTo>
                  <a:lnTo>
                    <a:pt x="110" y="43"/>
                  </a:lnTo>
                  <a:lnTo>
                    <a:pt x="108" y="43"/>
                  </a:lnTo>
                  <a:lnTo>
                    <a:pt x="105" y="43"/>
                  </a:lnTo>
                  <a:lnTo>
                    <a:pt x="102" y="43"/>
                  </a:lnTo>
                  <a:lnTo>
                    <a:pt x="100" y="45"/>
                  </a:lnTo>
                  <a:lnTo>
                    <a:pt x="95" y="45"/>
                  </a:lnTo>
                  <a:lnTo>
                    <a:pt x="92" y="45"/>
                  </a:lnTo>
                  <a:lnTo>
                    <a:pt x="90" y="45"/>
                  </a:lnTo>
                  <a:lnTo>
                    <a:pt x="90" y="48"/>
                  </a:lnTo>
                  <a:lnTo>
                    <a:pt x="90" y="48"/>
                  </a:lnTo>
                  <a:lnTo>
                    <a:pt x="90" y="48"/>
                  </a:lnTo>
                  <a:lnTo>
                    <a:pt x="90" y="48"/>
                  </a:lnTo>
                  <a:lnTo>
                    <a:pt x="92" y="51"/>
                  </a:lnTo>
                  <a:lnTo>
                    <a:pt x="92" y="53"/>
                  </a:lnTo>
                  <a:lnTo>
                    <a:pt x="92" y="53"/>
                  </a:lnTo>
                  <a:lnTo>
                    <a:pt x="92" y="53"/>
                  </a:lnTo>
                  <a:lnTo>
                    <a:pt x="92" y="53"/>
                  </a:lnTo>
                  <a:lnTo>
                    <a:pt x="92" y="56"/>
                  </a:lnTo>
                  <a:lnTo>
                    <a:pt x="90" y="58"/>
                  </a:lnTo>
                  <a:lnTo>
                    <a:pt x="87" y="61"/>
                  </a:lnTo>
                  <a:lnTo>
                    <a:pt x="85" y="63"/>
                  </a:lnTo>
                  <a:lnTo>
                    <a:pt x="85" y="63"/>
                  </a:lnTo>
                  <a:lnTo>
                    <a:pt x="82" y="66"/>
                  </a:lnTo>
                  <a:lnTo>
                    <a:pt x="82" y="66"/>
                  </a:lnTo>
                  <a:lnTo>
                    <a:pt x="79" y="66"/>
                  </a:lnTo>
                  <a:lnTo>
                    <a:pt x="77" y="66"/>
                  </a:lnTo>
                  <a:lnTo>
                    <a:pt x="69" y="68"/>
                  </a:lnTo>
                  <a:lnTo>
                    <a:pt x="67" y="68"/>
                  </a:lnTo>
                  <a:lnTo>
                    <a:pt x="64" y="68"/>
                  </a:lnTo>
                  <a:lnTo>
                    <a:pt x="62" y="68"/>
                  </a:lnTo>
                  <a:lnTo>
                    <a:pt x="59" y="71"/>
                  </a:lnTo>
                  <a:lnTo>
                    <a:pt x="59" y="71"/>
                  </a:lnTo>
                  <a:lnTo>
                    <a:pt x="57" y="71"/>
                  </a:lnTo>
                  <a:lnTo>
                    <a:pt x="54" y="73"/>
                  </a:lnTo>
                  <a:lnTo>
                    <a:pt x="51" y="73"/>
                  </a:lnTo>
                  <a:lnTo>
                    <a:pt x="49" y="76"/>
                  </a:lnTo>
                  <a:lnTo>
                    <a:pt x="46" y="79"/>
                  </a:lnTo>
                  <a:lnTo>
                    <a:pt x="46" y="79"/>
                  </a:lnTo>
                  <a:lnTo>
                    <a:pt x="44" y="76"/>
                  </a:lnTo>
                  <a:lnTo>
                    <a:pt x="44" y="73"/>
                  </a:lnTo>
                  <a:lnTo>
                    <a:pt x="41" y="71"/>
                  </a:lnTo>
                  <a:lnTo>
                    <a:pt x="41" y="71"/>
                  </a:lnTo>
                  <a:lnTo>
                    <a:pt x="41" y="71"/>
                  </a:lnTo>
                  <a:lnTo>
                    <a:pt x="41" y="71"/>
                  </a:lnTo>
                  <a:lnTo>
                    <a:pt x="39" y="73"/>
                  </a:lnTo>
                  <a:lnTo>
                    <a:pt x="39" y="73"/>
                  </a:lnTo>
                  <a:lnTo>
                    <a:pt x="36" y="76"/>
                  </a:lnTo>
                  <a:lnTo>
                    <a:pt x="31" y="76"/>
                  </a:lnTo>
                  <a:lnTo>
                    <a:pt x="31" y="79"/>
                  </a:lnTo>
                  <a:lnTo>
                    <a:pt x="28" y="79"/>
                  </a:lnTo>
                  <a:lnTo>
                    <a:pt x="26" y="79"/>
                  </a:lnTo>
                  <a:lnTo>
                    <a:pt x="23" y="79"/>
                  </a:lnTo>
                  <a:lnTo>
                    <a:pt x="21" y="79"/>
                  </a:lnTo>
                  <a:lnTo>
                    <a:pt x="18" y="81"/>
                  </a:lnTo>
                  <a:lnTo>
                    <a:pt x="16" y="84"/>
                  </a:lnTo>
                  <a:lnTo>
                    <a:pt x="16" y="86"/>
                  </a:lnTo>
                  <a:lnTo>
                    <a:pt x="16" y="86"/>
                  </a:lnTo>
                  <a:lnTo>
                    <a:pt x="13" y="89"/>
                  </a:lnTo>
                  <a:lnTo>
                    <a:pt x="13" y="91"/>
                  </a:lnTo>
                  <a:lnTo>
                    <a:pt x="11" y="94"/>
                  </a:lnTo>
                  <a:lnTo>
                    <a:pt x="11" y="96"/>
                  </a:lnTo>
                  <a:lnTo>
                    <a:pt x="8" y="99"/>
                  </a:lnTo>
                  <a:lnTo>
                    <a:pt x="6" y="104"/>
                  </a:lnTo>
                  <a:lnTo>
                    <a:pt x="6" y="107"/>
                  </a:lnTo>
                  <a:lnTo>
                    <a:pt x="6" y="107"/>
                  </a:lnTo>
                  <a:lnTo>
                    <a:pt x="6" y="107"/>
                  </a:lnTo>
                  <a:lnTo>
                    <a:pt x="3" y="109"/>
                  </a:lnTo>
                  <a:lnTo>
                    <a:pt x="0" y="109"/>
                  </a:lnTo>
                  <a:lnTo>
                    <a:pt x="0" y="109"/>
                  </a:lnTo>
                  <a:lnTo>
                    <a:pt x="0" y="112"/>
                  </a:lnTo>
                  <a:lnTo>
                    <a:pt x="0" y="112"/>
                  </a:lnTo>
                  <a:lnTo>
                    <a:pt x="0" y="114"/>
                  </a:lnTo>
                  <a:lnTo>
                    <a:pt x="0" y="114"/>
                  </a:lnTo>
                  <a:lnTo>
                    <a:pt x="3" y="114"/>
                  </a:lnTo>
                  <a:lnTo>
                    <a:pt x="3" y="114"/>
                  </a:lnTo>
                  <a:lnTo>
                    <a:pt x="3" y="114"/>
                  </a:lnTo>
                  <a:lnTo>
                    <a:pt x="3" y="117"/>
                  </a:lnTo>
                  <a:lnTo>
                    <a:pt x="3" y="124"/>
                  </a:lnTo>
                  <a:lnTo>
                    <a:pt x="3" y="124"/>
                  </a:lnTo>
                  <a:lnTo>
                    <a:pt x="3" y="127"/>
                  </a:lnTo>
                  <a:lnTo>
                    <a:pt x="3" y="127"/>
                  </a:lnTo>
                  <a:lnTo>
                    <a:pt x="3" y="129"/>
                  </a:lnTo>
                  <a:lnTo>
                    <a:pt x="3" y="129"/>
                  </a:lnTo>
                  <a:lnTo>
                    <a:pt x="3" y="129"/>
                  </a:lnTo>
                  <a:lnTo>
                    <a:pt x="3" y="132"/>
                  </a:lnTo>
                  <a:lnTo>
                    <a:pt x="6" y="134"/>
                  </a:lnTo>
                  <a:lnTo>
                    <a:pt x="6" y="142"/>
                  </a:lnTo>
                  <a:lnTo>
                    <a:pt x="6" y="145"/>
                  </a:lnTo>
                  <a:lnTo>
                    <a:pt x="6" y="145"/>
                  </a:lnTo>
                  <a:lnTo>
                    <a:pt x="8" y="147"/>
                  </a:lnTo>
                  <a:lnTo>
                    <a:pt x="11" y="150"/>
                  </a:lnTo>
                  <a:lnTo>
                    <a:pt x="13" y="152"/>
                  </a:lnTo>
                  <a:lnTo>
                    <a:pt x="13" y="155"/>
                  </a:lnTo>
                  <a:lnTo>
                    <a:pt x="13" y="157"/>
                  </a:lnTo>
                  <a:lnTo>
                    <a:pt x="13" y="157"/>
                  </a:lnTo>
                  <a:lnTo>
                    <a:pt x="13" y="157"/>
                  </a:lnTo>
                  <a:lnTo>
                    <a:pt x="13" y="157"/>
                  </a:lnTo>
                  <a:lnTo>
                    <a:pt x="13" y="157"/>
                  </a:lnTo>
                  <a:lnTo>
                    <a:pt x="13" y="160"/>
                  </a:lnTo>
                  <a:lnTo>
                    <a:pt x="13" y="162"/>
                  </a:lnTo>
                  <a:lnTo>
                    <a:pt x="16" y="165"/>
                  </a:lnTo>
                  <a:lnTo>
                    <a:pt x="18" y="168"/>
                  </a:lnTo>
                  <a:lnTo>
                    <a:pt x="21" y="170"/>
                  </a:lnTo>
                  <a:lnTo>
                    <a:pt x="23" y="173"/>
                  </a:lnTo>
                  <a:lnTo>
                    <a:pt x="26" y="175"/>
                  </a:lnTo>
                  <a:lnTo>
                    <a:pt x="26" y="178"/>
                  </a:lnTo>
                  <a:lnTo>
                    <a:pt x="28" y="178"/>
                  </a:lnTo>
                  <a:lnTo>
                    <a:pt x="28" y="178"/>
                  </a:lnTo>
                  <a:lnTo>
                    <a:pt x="31" y="180"/>
                  </a:lnTo>
                  <a:lnTo>
                    <a:pt x="31" y="180"/>
                  </a:lnTo>
                  <a:lnTo>
                    <a:pt x="31" y="180"/>
                  </a:lnTo>
                  <a:lnTo>
                    <a:pt x="34" y="183"/>
                  </a:lnTo>
                  <a:lnTo>
                    <a:pt x="34" y="185"/>
                  </a:lnTo>
                  <a:lnTo>
                    <a:pt x="34" y="185"/>
                  </a:lnTo>
                  <a:lnTo>
                    <a:pt x="34" y="188"/>
                  </a:lnTo>
                  <a:lnTo>
                    <a:pt x="34" y="188"/>
                  </a:lnTo>
                  <a:lnTo>
                    <a:pt x="34" y="190"/>
                  </a:lnTo>
                  <a:lnTo>
                    <a:pt x="34" y="190"/>
                  </a:lnTo>
                  <a:lnTo>
                    <a:pt x="34" y="193"/>
                  </a:lnTo>
                  <a:lnTo>
                    <a:pt x="34" y="196"/>
                  </a:lnTo>
                  <a:lnTo>
                    <a:pt x="36" y="198"/>
                  </a:lnTo>
                  <a:lnTo>
                    <a:pt x="36" y="196"/>
                  </a:lnTo>
                  <a:lnTo>
                    <a:pt x="39" y="190"/>
                  </a:lnTo>
                  <a:lnTo>
                    <a:pt x="39" y="188"/>
                  </a:lnTo>
                  <a:lnTo>
                    <a:pt x="41" y="185"/>
                  </a:lnTo>
                  <a:lnTo>
                    <a:pt x="41" y="183"/>
                  </a:lnTo>
                  <a:lnTo>
                    <a:pt x="41" y="180"/>
                  </a:lnTo>
                  <a:lnTo>
                    <a:pt x="41" y="178"/>
                  </a:lnTo>
                  <a:lnTo>
                    <a:pt x="41" y="178"/>
                  </a:lnTo>
                  <a:lnTo>
                    <a:pt x="41" y="175"/>
                  </a:lnTo>
                  <a:lnTo>
                    <a:pt x="41" y="173"/>
                  </a:lnTo>
                  <a:lnTo>
                    <a:pt x="44" y="170"/>
                  </a:lnTo>
                  <a:lnTo>
                    <a:pt x="44" y="170"/>
                  </a:lnTo>
                  <a:lnTo>
                    <a:pt x="44" y="168"/>
                  </a:lnTo>
                  <a:lnTo>
                    <a:pt x="46" y="168"/>
                  </a:lnTo>
                  <a:lnTo>
                    <a:pt x="51" y="168"/>
                  </a:lnTo>
                  <a:lnTo>
                    <a:pt x="57" y="168"/>
                  </a:lnTo>
                  <a:lnTo>
                    <a:pt x="57" y="168"/>
                  </a:lnTo>
                  <a:lnTo>
                    <a:pt x="59" y="165"/>
                  </a:lnTo>
                  <a:lnTo>
                    <a:pt x="62" y="165"/>
                  </a:lnTo>
                  <a:lnTo>
                    <a:pt x="62" y="165"/>
                  </a:lnTo>
                  <a:lnTo>
                    <a:pt x="67" y="168"/>
                  </a:lnTo>
                  <a:lnTo>
                    <a:pt x="69" y="168"/>
                  </a:lnTo>
                  <a:lnTo>
                    <a:pt x="69" y="168"/>
                  </a:lnTo>
                  <a:lnTo>
                    <a:pt x="69" y="168"/>
                  </a:lnTo>
                  <a:lnTo>
                    <a:pt x="72" y="168"/>
                  </a:lnTo>
                  <a:lnTo>
                    <a:pt x="72" y="168"/>
                  </a:lnTo>
                  <a:lnTo>
                    <a:pt x="74" y="168"/>
                  </a:lnTo>
                  <a:lnTo>
                    <a:pt x="74" y="170"/>
                  </a:lnTo>
                  <a:lnTo>
                    <a:pt x="74" y="170"/>
                  </a:lnTo>
                  <a:lnTo>
                    <a:pt x="77" y="168"/>
                  </a:lnTo>
                  <a:lnTo>
                    <a:pt x="77" y="168"/>
                  </a:lnTo>
                  <a:lnTo>
                    <a:pt x="82" y="168"/>
                  </a:lnTo>
                  <a:lnTo>
                    <a:pt x="82" y="168"/>
                  </a:lnTo>
                  <a:lnTo>
                    <a:pt x="82" y="170"/>
                  </a:lnTo>
                  <a:lnTo>
                    <a:pt x="85" y="170"/>
                  </a:lnTo>
                  <a:lnTo>
                    <a:pt x="85" y="165"/>
                  </a:lnTo>
                  <a:lnTo>
                    <a:pt x="85" y="160"/>
                  </a:lnTo>
                  <a:lnTo>
                    <a:pt x="85" y="155"/>
                  </a:lnTo>
                  <a:lnTo>
                    <a:pt x="82" y="152"/>
                  </a:lnTo>
                  <a:lnTo>
                    <a:pt x="85" y="150"/>
                  </a:lnTo>
                  <a:lnTo>
                    <a:pt x="85" y="150"/>
                  </a:lnTo>
                  <a:lnTo>
                    <a:pt x="87" y="147"/>
                  </a:lnTo>
                  <a:lnTo>
                    <a:pt x="92" y="137"/>
                  </a:lnTo>
                  <a:lnTo>
                    <a:pt x="97" y="134"/>
                  </a:lnTo>
                  <a:lnTo>
                    <a:pt x="102" y="132"/>
                  </a:lnTo>
                  <a:lnTo>
                    <a:pt x="105" y="132"/>
                  </a:lnTo>
                  <a:lnTo>
                    <a:pt x="108" y="134"/>
                  </a:lnTo>
                  <a:lnTo>
                    <a:pt x="110" y="134"/>
                  </a:lnTo>
                  <a:lnTo>
                    <a:pt x="113" y="137"/>
                  </a:lnTo>
                  <a:lnTo>
                    <a:pt x="115" y="140"/>
                  </a:lnTo>
                  <a:lnTo>
                    <a:pt x="120" y="142"/>
                  </a:lnTo>
                  <a:lnTo>
                    <a:pt x="120" y="145"/>
                  </a:lnTo>
                  <a:lnTo>
                    <a:pt x="123" y="147"/>
                  </a:lnTo>
                  <a:lnTo>
                    <a:pt x="125" y="147"/>
                  </a:lnTo>
                  <a:lnTo>
                    <a:pt x="128" y="147"/>
                  </a:lnTo>
                  <a:lnTo>
                    <a:pt x="130" y="150"/>
                  </a:lnTo>
                  <a:lnTo>
                    <a:pt x="136" y="150"/>
                  </a:lnTo>
                  <a:lnTo>
                    <a:pt x="136" y="152"/>
                  </a:lnTo>
                  <a:lnTo>
                    <a:pt x="138" y="150"/>
                  </a:lnTo>
                  <a:lnTo>
                    <a:pt x="138" y="152"/>
                  </a:lnTo>
                  <a:lnTo>
                    <a:pt x="143" y="152"/>
                  </a:lnTo>
                  <a:lnTo>
                    <a:pt x="146" y="152"/>
                  </a:lnTo>
                  <a:lnTo>
                    <a:pt x="151" y="152"/>
                  </a:lnTo>
                  <a:lnTo>
                    <a:pt x="161" y="155"/>
                  </a:lnTo>
                  <a:lnTo>
                    <a:pt x="161" y="155"/>
                  </a:lnTo>
                  <a:lnTo>
                    <a:pt x="161" y="155"/>
                  </a:lnTo>
                  <a:lnTo>
                    <a:pt x="161" y="152"/>
                  </a:lnTo>
                  <a:lnTo>
                    <a:pt x="164" y="147"/>
                  </a:lnTo>
                  <a:lnTo>
                    <a:pt x="166" y="145"/>
                  </a:lnTo>
                  <a:lnTo>
                    <a:pt x="166" y="145"/>
                  </a:lnTo>
                  <a:lnTo>
                    <a:pt x="169" y="142"/>
                  </a:lnTo>
                  <a:lnTo>
                    <a:pt x="171" y="142"/>
                  </a:lnTo>
                  <a:lnTo>
                    <a:pt x="174" y="142"/>
                  </a:lnTo>
                  <a:lnTo>
                    <a:pt x="176" y="142"/>
                  </a:lnTo>
                  <a:lnTo>
                    <a:pt x="179" y="142"/>
                  </a:lnTo>
                  <a:lnTo>
                    <a:pt x="181" y="142"/>
                  </a:lnTo>
                  <a:lnTo>
                    <a:pt x="181" y="142"/>
                  </a:lnTo>
                  <a:lnTo>
                    <a:pt x="187" y="140"/>
                  </a:lnTo>
                  <a:lnTo>
                    <a:pt x="189" y="140"/>
                  </a:lnTo>
                  <a:lnTo>
                    <a:pt x="192" y="140"/>
                  </a:lnTo>
                  <a:lnTo>
                    <a:pt x="197" y="137"/>
                  </a:lnTo>
                  <a:lnTo>
                    <a:pt x="199" y="134"/>
                  </a:lnTo>
                  <a:lnTo>
                    <a:pt x="202" y="134"/>
                  </a:lnTo>
                  <a:lnTo>
                    <a:pt x="207" y="137"/>
                  </a:lnTo>
                  <a:lnTo>
                    <a:pt x="212" y="137"/>
                  </a:lnTo>
                  <a:lnTo>
                    <a:pt x="215" y="137"/>
                  </a:lnTo>
                  <a:lnTo>
                    <a:pt x="217" y="134"/>
                  </a:lnTo>
                  <a:lnTo>
                    <a:pt x="217" y="134"/>
                  </a:lnTo>
                  <a:lnTo>
                    <a:pt x="220" y="129"/>
                  </a:lnTo>
                  <a:lnTo>
                    <a:pt x="222" y="129"/>
                  </a:lnTo>
                  <a:lnTo>
                    <a:pt x="227" y="129"/>
                  </a:lnTo>
                  <a:lnTo>
                    <a:pt x="227" y="129"/>
                  </a:lnTo>
                  <a:lnTo>
                    <a:pt x="235" y="132"/>
                  </a:lnTo>
                  <a:lnTo>
                    <a:pt x="245" y="134"/>
                  </a:lnTo>
                  <a:lnTo>
                    <a:pt x="248" y="134"/>
                  </a:lnTo>
                  <a:lnTo>
                    <a:pt x="248" y="134"/>
                  </a:lnTo>
                  <a:lnTo>
                    <a:pt x="250" y="134"/>
                  </a:lnTo>
                  <a:lnTo>
                    <a:pt x="253" y="132"/>
                  </a:lnTo>
                  <a:lnTo>
                    <a:pt x="253" y="132"/>
                  </a:lnTo>
                  <a:lnTo>
                    <a:pt x="255" y="132"/>
                  </a:lnTo>
                  <a:lnTo>
                    <a:pt x="260" y="132"/>
                  </a:lnTo>
                  <a:lnTo>
                    <a:pt x="258" y="132"/>
                  </a:lnTo>
                  <a:close/>
                </a:path>
              </a:pathLst>
            </a:custGeom>
            <a:solidFill>
              <a:srgbClr val="FFC000"/>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347" name="Freeform 1966">
              <a:extLst>
                <a:ext uri="{FF2B5EF4-FFF2-40B4-BE49-F238E27FC236}">
                  <a16:creationId xmlns:a16="http://schemas.microsoft.com/office/drawing/2014/main" id="{87BE0034-2F67-874E-B37E-ADE95A31C9C1}"/>
                </a:ext>
              </a:extLst>
            </p:cNvPr>
            <p:cNvSpPr>
              <a:spLocks noEditPoints="1"/>
            </p:cNvSpPr>
            <p:nvPr/>
          </p:nvSpPr>
          <p:spPr bwMode="auto">
            <a:xfrm>
              <a:off x="2981606" y="3068320"/>
              <a:ext cx="53980" cy="16357"/>
            </a:xfrm>
            <a:custGeom>
              <a:avLst/>
              <a:gdLst>
                <a:gd name="T0" fmla="*/ 3 w 33"/>
                <a:gd name="T1" fmla="*/ 8 h 10"/>
                <a:gd name="T2" fmla="*/ 3 w 33"/>
                <a:gd name="T3" fmla="*/ 8 h 10"/>
                <a:gd name="T4" fmla="*/ 0 w 33"/>
                <a:gd name="T5" fmla="*/ 8 h 10"/>
                <a:gd name="T6" fmla="*/ 0 w 33"/>
                <a:gd name="T7" fmla="*/ 8 h 10"/>
                <a:gd name="T8" fmla="*/ 0 w 33"/>
                <a:gd name="T9" fmla="*/ 8 h 10"/>
                <a:gd name="T10" fmla="*/ 0 w 33"/>
                <a:gd name="T11" fmla="*/ 8 h 10"/>
                <a:gd name="T12" fmla="*/ 0 w 33"/>
                <a:gd name="T13" fmla="*/ 10 h 10"/>
                <a:gd name="T14" fmla="*/ 3 w 33"/>
                <a:gd name="T15" fmla="*/ 10 h 10"/>
                <a:gd name="T16" fmla="*/ 3 w 33"/>
                <a:gd name="T17" fmla="*/ 10 h 10"/>
                <a:gd name="T18" fmla="*/ 3 w 33"/>
                <a:gd name="T19" fmla="*/ 10 h 10"/>
                <a:gd name="T20" fmla="*/ 5 w 33"/>
                <a:gd name="T21" fmla="*/ 10 h 10"/>
                <a:gd name="T22" fmla="*/ 5 w 33"/>
                <a:gd name="T23" fmla="*/ 8 h 10"/>
                <a:gd name="T24" fmla="*/ 3 w 33"/>
                <a:gd name="T25" fmla="*/ 8 h 10"/>
                <a:gd name="T26" fmla="*/ 28 w 33"/>
                <a:gd name="T27" fmla="*/ 0 h 10"/>
                <a:gd name="T28" fmla="*/ 28 w 33"/>
                <a:gd name="T29" fmla="*/ 0 h 10"/>
                <a:gd name="T30" fmla="*/ 28 w 33"/>
                <a:gd name="T31" fmla="*/ 0 h 10"/>
                <a:gd name="T32" fmla="*/ 26 w 33"/>
                <a:gd name="T33" fmla="*/ 0 h 10"/>
                <a:gd name="T34" fmla="*/ 26 w 33"/>
                <a:gd name="T35" fmla="*/ 0 h 10"/>
                <a:gd name="T36" fmla="*/ 26 w 33"/>
                <a:gd name="T37" fmla="*/ 0 h 10"/>
                <a:gd name="T38" fmla="*/ 26 w 33"/>
                <a:gd name="T39" fmla="*/ 0 h 10"/>
                <a:gd name="T40" fmla="*/ 28 w 33"/>
                <a:gd name="T41" fmla="*/ 0 h 10"/>
                <a:gd name="T42" fmla="*/ 28 w 33"/>
                <a:gd name="T43" fmla="*/ 0 h 10"/>
                <a:gd name="T44" fmla="*/ 28 w 33"/>
                <a:gd name="T45" fmla="*/ 0 h 10"/>
                <a:gd name="T46" fmla="*/ 28 w 33"/>
                <a:gd name="T47" fmla="*/ 0 h 10"/>
                <a:gd name="T48" fmla="*/ 28 w 33"/>
                <a:gd name="T49" fmla="*/ 0 h 10"/>
                <a:gd name="T50" fmla="*/ 28 w 33"/>
                <a:gd name="T51" fmla="*/ 0 h 10"/>
                <a:gd name="T52" fmla="*/ 33 w 33"/>
                <a:gd name="T53" fmla="*/ 0 h 10"/>
                <a:gd name="T54" fmla="*/ 33 w 33"/>
                <a:gd name="T55" fmla="*/ 0 h 10"/>
                <a:gd name="T56" fmla="*/ 33 w 33"/>
                <a:gd name="T57" fmla="*/ 0 h 10"/>
                <a:gd name="T58" fmla="*/ 33 w 33"/>
                <a:gd name="T59" fmla="*/ 0 h 10"/>
                <a:gd name="T60" fmla="*/ 31 w 33"/>
                <a:gd name="T61" fmla="*/ 0 h 10"/>
                <a:gd name="T62" fmla="*/ 31 w 33"/>
                <a:gd name="T63" fmla="*/ 0 h 10"/>
                <a:gd name="T64" fmla="*/ 33 w 33"/>
                <a:gd name="T65" fmla="*/ 0 h 10"/>
                <a:gd name="T66" fmla="*/ 33 w 33"/>
                <a:gd name="T67" fmla="*/ 0 h 10"/>
                <a:gd name="T68" fmla="*/ 33 w 33"/>
                <a:gd name="T69" fmla="*/ 0 h 10"/>
                <a:gd name="T70" fmla="*/ 33 w 33"/>
                <a:gd name="T71"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3" h="10">
                  <a:moveTo>
                    <a:pt x="3" y="8"/>
                  </a:moveTo>
                  <a:lnTo>
                    <a:pt x="3" y="8"/>
                  </a:lnTo>
                  <a:lnTo>
                    <a:pt x="0" y="8"/>
                  </a:lnTo>
                  <a:lnTo>
                    <a:pt x="0" y="8"/>
                  </a:lnTo>
                  <a:lnTo>
                    <a:pt x="0" y="8"/>
                  </a:lnTo>
                  <a:lnTo>
                    <a:pt x="0" y="8"/>
                  </a:lnTo>
                  <a:lnTo>
                    <a:pt x="0" y="10"/>
                  </a:lnTo>
                  <a:lnTo>
                    <a:pt x="3" y="10"/>
                  </a:lnTo>
                  <a:lnTo>
                    <a:pt x="3" y="10"/>
                  </a:lnTo>
                  <a:lnTo>
                    <a:pt x="3" y="10"/>
                  </a:lnTo>
                  <a:lnTo>
                    <a:pt x="5" y="10"/>
                  </a:lnTo>
                  <a:lnTo>
                    <a:pt x="5" y="8"/>
                  </a:lnTo>
                  <a:lnTo>
                    <a:pt x="3" y="8"/>
                  </a:lnTo>
                  <a:close/>
                  <a:moveTo>
                    <a:pt x="28" y="0"/>
                  </a:moveTo>
                  <a:lnTo>
                    <a:pt x="28" y="0"/>
                  </a:lnTo>
                  <a:lnTo>
                    <a:pt x="28" y="0"/>
                  </a:lnTo>
                  <a:lnTo>
                    <a:pt x="26" y="0"/>
                  </a:lnTo>
                  <a:lnTo>
                    <a:pt x="26" y="0"/>
                  </a:lnTo>
                  <a:lnTo>
                    <a:pt x="26" y="0"/>
                  </a:lnTo>
                  <a:lnTo>
                    <a:pt x="26" y="0"/>
                  </a:lnTo>
                  <a:lnTo>
                    <a:pt x="28" y="0"/>
                  </a:lnTo>
                  <a:lnTo>
                    <a:pt x="28" y="0"/>
                  </a:lnTo>
                  <a:lnTo>
                    <a:pt x="28" y="0"/>
                  </a:lnTo>
                  <a:lnTo>
                    <a:pt x="28" y="0"/>
                  </a:lnTo>
                  <a:lnTo>
                    <a:pt x="28" y="0"/>
                  </a:lnTo>
                  <a:lnTo>
                    <a:pt x="28" y="0"/>
                  </a:lnTo>
                  <a:close/>
                  <a:moveTo>
                    <a:pt x="33" y="0"/>
                  </a:moveTo>
                  <a:lnTo>
                    <a:pt x="33" y="0"/>
                  </a:lnTo>
                  <a:lnTo>
                    <a:pt x="33" y="0"/>
                  </a:lnTo>
                  <a:lnTo>
                    <a:pt x="33" y="0"/>
                  </a:lnTo>
                  <a:lnTo>
                    <a:pt x="31" y="0"/>
                  </a:lnTo>
                  <a:lnTo>
                    <a:pt x="31" y="0"/>
                  </a:lnTo>
                  <a:lnTo>
                    <a:pt x="33" y="0"/>
                  </a:lnTo>
                  <a:lnTo>
                    <a:pt x="33" y="0"/>
                  </a:lnTo>
                  <a:lnTo>
                    <a:pt x="33" y="0"/>
                  </a:lnTo>
                  <a:lnTo>
                    <a:pt x="33"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348" name="Freeform 1967">
              <a:extLst>
                <a:ext uri="{FF2B5EF4-FFF2-40B4-BE49-F238E27FC236}">
                  <a16:creationId xmlns:a16="http://schemas.microsoft.com/office/drawing/2014/main" id="{47F296F7-E33A-9347-A2E5-F0CAFBA9C7D0}"/>
                </a:ext>
              </a:extLst>
            </p:cNvPr>
            <p:cNvSpPr>
              <a:spLocks noEditPoints="1"/>
            </p:cNvSpPr>
            <p:nvPr/>
          </p:nvSpPr>
          <p:spPr bwMode="auto">
            <a:xfrm>
              <a:off x="4790731" y="3164828"/>
              <a:ext cx="83423" cy="86695"/>
            </a:xfrm>
            <a:custGeom>
              <a:avLst/>
              <a:gdLst>
                <a:gd name="T0" fmla="*/ 13 w 51"/>
                <a:gd name="T1" fmla="*/ 48 h 53"/>
                <a:gd name="T2" fmla="*/ 13 w 51"/>
                <a:gd name="T3" fmla="*/ 51 h 53"/>
                <a:gd name="T4" fmla="*/ 16 w 51"/>
                <a:gd name="T5" fmla="*/ 53 h 53"/>
                <a:gd name="T6" fmla="*/ 18 w 51"/>
                <a:gd name="T7" fmla="*/ 51 h 53"/>
                <a:gd name="T8" fmla="*/ 16 w 51"/>
                <a:gd name="T9" fmla="*/ 48 h 53"/>
                <a:gd name="T10" fmla="*/ 39 w 51"/>
                <a:gd name="T11" fmla="*/ 43 h 53"/>
                <a:gd name="T12" fmla="*/ 39 w 51"/>
                <a:gd name="T13" fmla="*/ 45 h 53"/>
                <a:gd name="T14" fmla="*/ 41 w 51"/>
                <a:gd name="T15" fmla="*/ 45 h 53"/>
                <a:gd name="T16" fmla="*/ 41 w 51"/>
                <a:gd name="T17" fmla="*/ 43 h 53"/>
                <a:gd name="T18" fmla="*/ 41 w 51"/>
                <a:gd name="T19" fmla="*/ 40 h 53"/>
                <a:gd name="T20" fmla="*/ 31 w 51"/>
                <a:gd name="T21" fmla="*/ 43 h 53"/>
                <a:gd name="T22" fmla="*/ 28 w 51"/>
                <a:gd name="T23" fmla="*/ 40 h 53"/>
                <a:gd name="T24" fmla="*/ 28 w 51"/>
                <a:gd name="T25" fmla="*/ 43 h 53"/>
                <a:gd name="T26" fmla="*/ 28 w 51"/>
                <a:gd name="T27" fmla="*/ 45 h 53"/>
                <a:gd name="T28" fmla="*/ 31 w 51"/>
                <a:gd name="T29" fmla="*/ 51 h 53"/>
                <a:gd name="T30" fmla="*/ 36 w 51"/>
                <a:gd name="T31" fmla="*/ 48 h 53"/>
                <a:gd name="T32" fmla="*/ 34 w 51"/>
                <a:gd name="T33" fmla="*/ 45 h 53"/>
                <a:gd name="T34" fmla="*/ 51 w 51"/>
                <a:gd name="T35" fmla="*/ 20 h 53"/>
                <a:gd name="T36" fmla="*/ 49 w 51"/>
                <a:gd name="T37" fmla="*/ 20 h 53"/>
                <a:gd name="T38" fmla="*/ 46 w 51"/>
                <a:gd name="T39" fmla="*/ 23 h 53"/>
                <a:gd name="T40" fmla="*/ 46 w 51"/>
                <a:gd name="T41" fmla="*/ 25 h 53"/>
                <a:gd name="T42" fmla="*/ 51 w 51"/>
                <a:gd name="T43" fmla="*/ 25 h 53"/>
                <a:gd name="T44" fmla="*/ 51 w 51"/>
                <a:gd name="T45" fmla="*/ 23 h 53"/>
                <a:gd name="T46" fmla="*/ 21 w 51"/>
                <a:gd name="T47" fmla="*/ 10 h 53"/>
                <a:gd name="T48" fmla="*/ 18 w 51"/>
                <a:gd name="T49" fmla="*/ 10 h 53"/>
                <a:gd name="T50" fmla="*/ 18 w 51"/>
                <a:gd name="T51" fmla="*/ 15 h 53"/>
                <a:gd name="T52" fmla="*/ 21 w 51"/>
                <a:gd name="T53" fmla="*/ 12 h 53"/>
                <a:gd name="T54" fmla="*/ 26 w 51"/>
                <a:gd name="T55" fmla="*/ 12 h 53"/>
                <a:gd name="T56" fmla="*/ 23 w 51"/>
                <a:gd name="T57" fmla="*/ 12 h 53"/>
                <a:gd name="T58" fmla="*/ 46 w 51"/>
                <a:gd name="T59" fmla="*/ 12 h 53"/>
                <a:gd name="T60" fmla="*/ 49 w 51"/>
                <a:gd name="T61" fmla="*/ 10 h 53"/>
                <a:gd name="T62" fmla="*/ 46 w 51"/>
                <a:gd name="T63" fmla="*/ 7 h 53"/>
                <a:gd name="T64" fmla="*/ 46 w 51"/>
                <a:gd name="T65" fmla="*/ 10 h 53"/>
                <a:gd name="T66" fmla="*/ 8 w 51"/>
                <a:gd name="T67" fmla="*/ 5 h 53"/>
                <a:gd name="T68" fmla="*/ 6 w 51"/>
                <a:gd name="T69" fmla="*/ 5 h 53"/>
                <a:gd name="T70" fmla="*/ 6 w 51"/>
                <a:gd name="T71" fmla="*/ 7 h 53"/>
                <a:gd name="T72" fmla="*/ 8 w 51"/>
                <a:gd name="T73" fmla="*/ 7 h 53"/>
                <a:gd name="T74" fmla="*/ 8 w 51"/>
                <a:gd name="T75" fmla="*/ 5 h 53"/>
                <a:gd name="T76" fmla="*/ 6 w 51"/>
                <a:gd name="T77" fmla="*/ 0 h 53"/>
                <a:gd name="T78" fmla="*/ 0 w 51"/>
                <a:gd name="T79" fmla="*/ 0 h 53"/>
                <a:gd name="T80" fmla="*/ 0 w 51"/>
                <a:gd name="T81" fmla="*/ 2 h 53"/>
                <a:gd name="T82" fmla="*/ 0 w 51"/>
                <a:gd name="T83" fmla="*/ 5 h 53"/>
                <a:gd name="T84" fmla="*/ 6 w 51"/>
                <a:gd name="T85" fmla="*/ 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1" h="53">
                  <a:moveTo>
                    <a:pt x="16" y="48"/>
                  </a:moveTo>
                  <a:lnTo>
                    <a:pt x="13" y="48"/>
                  </a:lnTo>
                  <a:lnTo>
                    <a:pt x="13" y="51"/>
                  </a:lnTo>
                  <a:lnTo>
                    <a:pt x="13" y="51"/>
                  </a:lnTo>
                  <a:lnTo>
                    <a:pt x="16" y="53"/>
                  </a:lnTo>
                  <a:lnTo>
                    <a:pt x="16" y="53"/>
                  </a:lnTo>
                  <a:lnTo>
                    <a:pt x="18" y="51"/>
                  </a:lnTo>
                  <a:lnTo>
                    <a:pt x="18" y="51"/>
                  </a:lnTo>
                  <a:lnTo>
                    <a:pt x="18" y="48"/>
                  </a:lnTo>
                  <a:lnTo>
                    <a:pt x="16" y="48"/>
                  </a:lnTo>
                  <a:close/>
                  <a:moveTo>
                    <a:pt x="41" y="40"/>
                  </a:moveTo>
                  <a:lnTo>
                    <a:pt x="39" y="43"/>
                  </a:lnTo>
                  <a:lnTo>
                    <a:pt x="39" y="43"/>
                  </a:lnTo>
                  <a:lnTo>
                    <a:pt x="39" y="45"/>
                  </a:lnTo>
                  <a:lnTo>
                    <a:pt x="41" y="45"/>
                  </a:lnTo>
                  <a:lnTo>
                    <a:pt x="41" y="45"/>
                  </a:lnTo>
                  <a:lnTo>
                    <a:pt x="41" y="45"/>
                  </a:lnTo>
                  <a:lnTo>
                    <a:pt x="41" y="43"/>
                  </a:lnTo>
                  <a:lnTo>
                    <a:pt x="41" y="40"/>
                  </a:lnTo>
                  <a:lnTo>
                    <a:pt x="41" y="40"/>
                  </a:lnTo>
                  <a:close/>
                  <a:moveTo>
                    <a:pt x="34" y="45"/>
                  </a:moveTo>
                  <a:lnTo>
                    <a:pt x="31" y="43"/>
                  </a:lnTo>
                  <a:lnTo>
                    <a:pt x="31" y="40"/>
                  </a:lnTo>
                  <a:lnTo>
                    <a:pt x="28" y="40"/>
                  </a:lnTo>
                  <a:lnTo>
                    <a:pt x="28" y="40"/>
                  </a:lnTo>
                  <a:lnTo>
                    <a:pt x="28" y="43"/>
                  </a:lnTo>
                  <a:lnTo>
                    <a:pt x="28" y="45"/>
                  </a:lnTo>
                  <a:lnTo>
                    <a:pt x="28" y="45"/>
                  </a:lnTo>
                  <a:lnTo>
                    <a:pt x="31" y="48"/>
                  </a:lnTo>
                  <a:lnTo>
                    <a:pt x="31" y="51"/>
                  </a:lnTo>
                  <a:lnTo>
                    <a:pt x="34" y="51"/>
                  </a:lnTo>
                  <a:lnTo>
                    <a:pt x="36" y="48"/>
                  </a:lnTo>
                  <a:lnTo>
                    <a:pt x="34" y="45"/>
                  </a:lnTo>
                  <a:lnTo>
                    <a:pt x="34" y="45"/>
                  </a:lnTo>
                  <a:close/>
                  <a:moveTo>
                    <a:pt x="51" y="23"/>
                  </a:moveTo>
                  <a:lnTo>
                    <a:pt x="51" y="20"/>
                  </a:lnTo>
                  <a:lnTo>
                    <a:pt x="49" y="20"/>
                  </a:lnTo>
                  <a:lnTo>
                    <a:pt x="49" y="20"/>
                  </a:lnTo>
                  <a:lnTo>
                    <a:pt x="46" y="20"/>
                  </a:lnTo>
                  <a:lnTo>
                    <a:pt x="46" y="23"/>
                  </a:lnTo>
                  <a:lnTo>
                    <a:pt x="46" y="25"/>
                  </a:lnTo>
                  <a:lnTo>
                    <a:pt x="46" y="25"/>
                  </a:lnTo>
                  <a:lnTo>
                    <a:pt x="49" y="25"/>
                  </a:lnTo>
                  <a:lnTo>
                    <a:pt x="51" y="25"/>
                  </a:lnTo>
                  <a:lnTo>
                    <a:pt x="51" y="23"/>
                  </a:lnTo>
                  <a:lnTo>
                    <a:pt x="51" y="23"/>
                  </a:lnTo>
                  <a:close/>
                  <a:moveTo>
                    <a:pt x="23" y="12"/>
                  </a:moveTo>
                  <a:lnTo>
                    <a:pt x="21" y="10"/>
                  </a:lnTo>
                  <a:lnTo>
                    <a:pt x="18" y="10"/>
                  </a:lnTo>
                  <a:lnTo>
                    <a:pt x="18" y="10"/>
                  </a:lnTo>
                  <a:lnTo>
                    <a:pt x="18" y="12"/>
                  </a:lnTo>
                  <a:lnTo>
                    <a:pt x="18" y="15"/>
                  </a:lnTo>
                  <a:lnTo>
                    <a:pt x="21" y="12"/>
                  </a:lnTo>
                  <a:lnTo>
                    <a:pt x="21" y="12"/>
                  </a:lnTo>
                  <a:lnTo>
                    <a:pt x="23" y="12"/>
                  </a:lnTo>
                  <a:lnTo>
                    <a:pt x="26" y="12"/>
                  </a:lnTo>
                  <a:lnTo>
                    <a:pt x="26" y="12"/>
                  </a:lnTo>
                  <a:lnTo>
                    <a:pt x="23" y="12"/>
                  </a:lnTo>
                  <a:close/>
                  <a:moveTo>
                    <a:pt x="46" y="10"/>
                  </a:moveTo>
                  <a:lnTo>
                    <a:pt x="46" y="12"/>
                  </a:lnTo>
                  <a:lnTo>
                    <a:pt x="49" y="10"/>
                  </a:lnTo>
                  <a:lnTo>
                    <a:pt x="49" y="10"/>
                  </a:lnTo>
                  <a:lnTo>
                    <a:pt x="49" y="7"/>
                  </a:lnTo>
                  <a:lnTo>
                    <a:pt x="46" y="7"/>
                  </a:lnTo>
                  <a:lnTo>
                    <a:pt x="46" y="7"/>
                  </a:lnTo>
                  <a:lnTo>
                    <a:pt x="46" y="10"/>
                  </a:lnTo>
                  <a:lnTo>
                    <a:pt x="46" y="10"/>
                  </a:lnTo>
                  <a:close/>
                  <a:moveTo>
                    <a:pt x="8" y="5"/>
                  </a:moveTo>
                  <a:lnTo>
                    <a:pt x="6" y="5"/>
                  </a:lnTo>
                  <a:lnTo>
                    <a:pt x="6" y="5"/>
                  </a:lnTo>
                  <a:lnTo>
                    <a:pt x="6" y="7"/>
                  </a:lnTo>
                  <a:lnTo>
                    <a:pt x="6" y="7"/>
                  </a:lnTo>
                  <a:lnTo>
                    <a:pt x="8" y="7"/>
                  </a:lnTo>
                  <a:lnTo>
                    <a:pt x="8" y="7"/>
                  </a:lnTo>
                  <a:lnTo>
                    <a:pt x="8" y="7"/>
                  </a:lnTo>
                  <a:lnTo>
                    <a:pt x="8" y="5"/>
                  </a:lnTo>
                  <a:close/>
                  <a:moveTo>
                    <a:pt x="8" y="0"/>
                  </a:moveTo>
                  <a:lnTo>
                    <a:pt x="6" y="0"/>
                  </a:lnTo>
                  <a:lnTo>
                    <a:pt x="6" y="0"/>
                  </a:lnTo>
                  <a:lnTo>
                    <a:pt x="0" y="0"/>
                  </a:lnTo>
                  <a:lnTo>
                    <a:pt x="0" y="2"/>
                  </a:lnTo>
                  <a:lnTo>
                    <a:pt x="0" y="2"/>
                  </a:lnTo>
                  <a:lnTo>
                    <a:pt x="0" y="5"/>
                  </a:lnTo>
                  <a:lnTo>
                    <a:pt x="0" y="5"/>
                  </a:lnTo>
                  <a:lnTo>
                    <a:pt x="3" y="5"/>
                  </a:lnTo>
                  <a:lnTo>
                    <a:pt x="6" y="2"/>
                  </a:lnTo>
                  <a:lnTo>
                    <a:pt x="8"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349" name="Freeform 1968">
              <a:extLst>
                <a:ext uri="{FF2B5EF4-FFF2-40B4-BE49-F238E27FC236}">
                  <a16:creationId xmlns:a16="http://schemas.microsoft.com/office/drawing/2014/main" id="{11E3A133-8090-1344-BD83-E807C2D296C6}"/>
                </a:ext>
              </a:extLst>
            </p:cNvPr>
            <p:cNvSpPr>
              <a:spLocks noEditPoints="1"/>
            </p:cNvSpPr>
            <p:nvPr/>
          </p:nvSpPr>
          <p:spPr bwMode="auto">
            <a:xfrm>
              <a:off x="1969085" y="912419"/>
              <a:ext cx="2581193" cy="1339669"/>
            </a:xfrm>
            <a:custGeom>
              <a:avLst/>
              <a:gdLst>
                <a:gd name="T0" fmla="*/ 703 w 1578"/>
                <a:gd name="T1" fmla="*/ 112 h 819"/>
                <a:gd name="T2" fmla="*/ 3 w 1578"/>
                <a:gd name="T3" fmla="*/ 565 h 819"/>
                <a:gd name="T4" fmla="*/ 900 w 1578"/>
                <a:gd name="T5" fmla="*/ 125 h 819"/>
                <a:gd name="T6" fmla="*/ 742 w 1578"/>
                <a:gd name="T7" fmla="*/ 117 h 819"/>
                <a:gd name="T8" fmla="*/ 867 w 1578"/>
                <a:gd name="T9" fmla="*/ 99 h 819"/>
                <a:gd name="T10" fmla="*/ 41 w 1578"/>
                <a:gd name="T11" fmla="*/ 557 h 819"/>
                <a:gd name="T12" fmla="*/ 59 w 1578"/>
                <a:gd name="T13" fmla="*/ 657 h 819"/>
                <a:gd name="T14" fmla="*/ 991 w 1578"/>
                <a:gd name="T15" fmla="*/ 127 h 819"/>
                <a:gd name="T16" fmla="*/ 1002 w 1578"/>
                <a:gd name="T17" fmla="*/ 74 h 819"/>
                <a:gd name="T18" fmla="*/ 1226 w 1578"/>
                <a:gd name="T19" fmla="*/ 155 h 819"/>
                <a:gd name="T20" fmla="*/ 1216 w 1578"/>
                <a:gd name="T21" fmla="*/ 59 h 819"/>
                <a:gd name="T22" fmla="*/ 1035 w 1578"/>
                <a:gd name="T23" fmla="*/ 104 h 819"/>
                <a:gd name="T24" fmla="*/ 1195 w 1578"/>
                <a:gd name="T25" fmla="*/ 115 h 819"/>
                <a:gd name="T26" fmla="*/ 1045 w 1578"/>
                <a:gd name="T27" fmla="*/ 69 h 819"/>
                <a:gd name="T28" fmla="*/ 716 w 1578"/>
                <a:gd name="T29" fmla="*/ 165 h 819"/>
                <a:gd name="T30" fmla="*/ 760 w 1578"/>
                <a:gd name="T31" fmla="*/ 242 h 819"/>
                <a:gd name="T32" fmla="*/ 844 w 1578"/>
                <a:gd name="T33" fmla="*/ 237 h 819"/>
                <a:gd name="T34" fmla="*/ 961 w 1578"/>
                <a:gd name="T35" fmla="*/ 130 h 819"/>
                <a:gd name="T36" fmla="*/ 933 w 1578"/>
                <a:gd name="T37" fmla="*/ 112 h 819"/>
                <a:gd name="T38" fmla="*/ 938 w 1578"/>
                <a:gd name="T39" fmla="*/ 171 h 819"/>
                <a:gd name="T40" fmla="*/ 1259 w 1578"/>
                <a:gd name="T41" fmla="*/ 372 h 819"/>
                <a:gd name="T42" fmla="*/ 877 w 1578"/>
                <a:gd name="T43" fmla="*/ 565 h 819"/>
                <a:gd name="T44" fmla="*/ 1557 w 1578"/>
                <a:gd name="T45" fmla="*/ 8 h 819"/>
                <a:gd name="T46" fmla="*/ 1200 w 1578"/>
                <a:gd name="T47" fmla="*/ 20 h 819"/>
                <a:gd name="T48" fmla="*/ 1267 w 1578"/>
                <a:gd name="T49" fmla="*/ 61 h 819"/>
                <a:gd name="T50" fmla="*/ 1234 w 1578"/>
                <a:gd name="T51" fmla="*/ 92 h 819"/>
                <a:gd name="T52" fmla="*/ 1165 w 1578"/>
                <a:gd name="T53" fmla="*/ 237 h 819"/>
                <a:gd name="T54" fmla="*/ 1264 w 1578"/>
                <a:gd name="T55" fmla="*/ 639 h 819"/>
                <a:gd name="T56" fmla="*/ 1267 w 1578"/>
                <a:gd name="T57" fmla="*/ 697 h 819"/>
                <a:gd name="T58" fmla="*/ 1323 w 1578"/>
                <a:gd name="T59" fmla="*/ 260 h 819"/>
                <a:gd name="T60" fmla="*/ 1272 w 1578"/>
                <a:gd name="T61" fmla="*/ 209 h 819"/>
                <a:gd name="T62" fmla="*/ 1165 w 1578"/>
                <a:gd name="T63" fmla="*/ 178 h 819"/>
                <a:gd name="T64" fmla="*/ 1030 w 1578"/>
                <a:gd name="T65" fmla="*/ 176 h 819"/>
                <a:gd name="T66" fmla="*/ 1188 w 1578"/>
                <a:gd name="T67" fmla="*/ 242 h 819"/>
                <a:gd name="T68" fmla="*/ 1152 w 1578"/>
                <a:gd name="T69" fmla="*/ 326 h 819"/>
                <a:gd name="T70" fmla="*/ 1279 w 1578"/>
                <a:gd name="T71" fmla="*/ 344 h 819"/>
                <a:gd name="T72" fmla="*/ 1315 w 1578"/>
                <a:gd name="T73" fmla="*/ 305 h 819"/>
                <a:gd name="T74" fmla="*/ 1218 w 1578"/>
                <a:gd name="T75" fmla="*/ 623 h 819"/>
                <a:gd name="T76" fmla="*/ 1254 w 1578"/>
                <a:gd name="T77" fmla="*/ 509 h 819"/>
                <a:gd name="T78" fmla="*/ 1213 w 1578"/>
                <a:gd name="T79" fmla="*/ 430 h 819"/>
                <a:gd name="T80" fmla="*/ 1142 w 1578"/>
                <a:gd name="T81" fmla="*/ 397 h 819"/>
                <a:gd name="T82" fmla="*/ 920 w 1578"/>
                <a:gd name="T83" fmla="*/ 540 h 819"/>
                <a:gd name="T84" fmla="*/ 765 w 1578"/>
                <a:gd name="T85" fmla="*/ 478 h 819"/>
                <a:gd name="T86" fmla="*/ 854 w 1578"/>
                <a:gd name="T87" fmla="*/ 341 h 819"/>
                <a:gd name="T88" fmla="*/ 1050 w 1578"/>
                <a:gd name="T89" fmla="*/ 283 h 819"/>
                <a:gd name="T90" fmla="*/ 963 w 1578"/>
                <a:gd name="T91" fmla="*/ 247 h 819"/>
                <a:gd name="T92" fmla="*/ 915 w 1578"/>
                <a:gd name="T93" fmla="*/ 232 h 819"/>
                <a:gd name="T94" fmla="*/ 823 w 1578"/>
                <a:gd name="T95" fmla="*/ 260 h 819"/>
                <a:gd name="T96" fmla="*/ 665 w 1578"/>
                <a:gd name="T97" fmla="*/ 265 h 819"/>
                <a:gd name="T98" fmla="*/ 418 w 1578"/>
                <a:gd name="T99" fmla="*/ 224 h 819"/>
                <a:gd name="T100" fmla="*/ 166 w 1578"/>
                <a:gd name="T101" fmla="*/ 285 h 819"/>
                <a:gd name="T102" fmla="*/ 74 w 1578"/>
                <a:gd name="T103" fmla="*/ 550 h 819"/>
                <a:gd name="T104" fmla="*/ 79 w 1578"/>
                <a:gd name="T105" fmla="*/ 626 h 819"/>
                <a:gd name="T106" fmla="*/ 698 w 1578"/>
                <a:gd name="T107" fmla="*/ 662 h 819"/>
                <a:gd name="T108" fmla="*/ 795 w 1578"/>
                <a:gd name="T109" fmla="*/ 725 h 819"/>
                <a:gd name="T110" fmla="*/ 724 w 1578"/>
                <a:gd name="T111" fmla="*/ 809 h 819"/>
                <a:gd name="T112" fmla="*/ 900 w 1578"/>
                <a:gd name="T113" fmla="*/ 746 h 819"/>
                <a:gd name="T114" fmla="*/ 785 w 1578"/>
                <a:gd name="T115" fmla="*/ 725 h 819"/>
                <a:gd name="T116" fmla="*/ 1091 w 1578"/>
                <a:gd name="T117" fmla="*/ 725 h 819"/>
                <a:gd name="T118" fmla="*/ 1078 w 1578"/>
                <a:gd name="T119" fmla="*/ 677 h 819"/>
                <a:gd name="T120" fmla="*/ 1129 w 1578"/>
                <a:gd name="T121" fmla="*/ 713 h 819"/>
                <a:gd name="T122" fmla="*/ 1032 w 1578"/>
                <a:gd name="T123" fmla="*/ 344 h 819"/>
                <a:gd name="T124" fmla="*/ 1012 w 1578"/>
                <a:gd name="T125" fmla="*/ 387 h 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78" h="819">
                  <a:moveTo>
                    <a:pt x="523" y="183"/>
                  </a:moveTo>
                  <a:lnTo>
                    <a:pt x="525" y="183"/>
                  </a:lnTo>
                  <a:lnTo>
                    <a:pt x="525" y="186"/>
                  </a:lnTo>
                  <a:lnTo>
                    <a:pt x="528" y="186"/>
                  </a:lnTo>
                  <a:lnTo>
                    <a:pt x="535" y="188"/>
                  </a:lnTo>
                  <a:lnTo>
                    <a:pt x="535" y="191"/>
                  </a:lnTo>
                  <a:lnTo>
                    <a:pt x="535" y="191"/>
                  </a:lnTo>
                  <a:lnTo>
                    <a:pt x="535" y="193"/>
                  </a:lnTo>
                  <a:lnTo>
                    <a:pt x="535" y="193"/>
                  </a:lnTo>
                  <a:lnTo>
                    <a:pt x="533" y="199"/>
                  </a:lnTo>
                  <a:lnTo>
                    <a:pt x="533" y="199"/>
                  </a:lnTo>
                  <a:lnTo>
                    <a:pt x="533" y="199"/>
                  </a:lnTo>
                  <a:lnTo>
                    <a:pt x="533" y="201"/>
                  </a:lnTo>
                  <a:lnTo>
                    <a:pt x="535" y="201"/>
                  </a:lnTo>
                  <a:lnTo>
                    <a:pt x="538" y="201"/>
                  </a:lnTo>
                  <a:lnTo>
                    <a:pt x="540" y="199"/>
                  </a:lnTo>
                  <a:lnTo>
                    <a:pt x="543" y="199"/>
                  </a:lnTo>
                  <a:lnTo>
                    <a:pt x="551" y="196"/>
                  </a:lnTo>
                  <a:lnTo>
                    <a:pt x="561" y="193"/>
                  </a:lnTo>
                  <a:lnTo>
                    <a:pt x="563" y="193"/>
                  </a:lnTo>
                  <a:lnTo>
                    <a:pt x="563" y="193"/>
                  </a:lnTo>
                  <a:lnTo>
                    <a:pt x="563" y="193"/>
                  </a:lnTo>
                  <a:lnTo>
                    <a:pt x="563" y="193"/>
                  </a:lnTo>
                  <a:lnTo>
                    <a:pt x="568" y="193"/>
                  </a:lnTo>
                  <a:lnTo>
                    <a:pt x="573" y="193"/>
                  </a:lnTo>
                  <a:lnTo>
                    <a:pt x="579" y="193"/>
                  </a:lnTo>
                  <a:lnTo>
                    <a:pt x="581" y="191"/>
                  </a:lnTo>
                  <a:lnTo>
                    <a:pt x="584" y="191"/>
                  </a:lnTo>
                  <a:lnTo>
                    <a:pt x="584" y="191"/>
                  </a:lnTo>
                  <a:lnTo>
                    <a:pt x="591" y="186"/>
                  </a:lnTo>
                  <a:lnTo>
                    <a:pt x="594" y="183"/>
                  </a:lnTo>
                  <a:lnTo>
                    <a:pt x="599" y="181"/>
                  </a:lnTo>
                  <a:lnTo>
                    <a:pt x="602" y="178"/>
                  </a:lnTo>
                  <a:lnTo>
                    <a:pt x="604" y="178"/>
                  </a:lnTo>
                  <a:lnTo>
                    <a:pt x="609" y="178"/>
                  </a:lnTo>
                  <a:lnTo>
                    <a:pt x="614" y="178"/>
                  </a:lnTo>
                  <a:lnTo>
                    <a:pt x="617" y="176"/>
                  </a:lnTo>
                  <a:lnTo>
                    <a:pt x="624" y="173"/>
                  </a:lnTo>
                  <a:lnTo>
                    <a:pt x="627" y="171"/>
                  </a:lnTo>
                  <a:lnTo>
                    <a:pt x="630" y="171"/>
                  </a:lnTo>
                  <a:lnTo>
                    <a:pt x="647" y="165"/>
                  </a:lnTo>
                  <a:lnTo>
                    <a:pt x="660" y="163"/>
                  </a:lnTo>
                  <a:lnTo>
                    <a:pt x="665" y="163"/>
                  </a:lnTo>
                  <a:lnTo>
                    <a:pt x="678" y="160"/>
                  </a:lnTo>
                  <a:lnTo>
                    <a:pt x="683" y="160"/>
                  </a:lnTo>
                  <a:lnTo>
                    <a:pt x="686" y="158"/>
                  </a:lnTo>
                  <a:lnTo>
                    <a:pt x="696" y="158"/>
                  </a:lnTo>
                  <a:lnTo>
                    <a:pt x="696" y="158"/>
                  </a:lnTo>
                  <a:lnTo>
                    <a:pt x="698" y="155"/>
                  </a:lnTo>
                  <a:lnTo>
                    <a:pt x="698" y="155"/>
                  </a:lnTo>
                  <a:lnTo>
                    <a:pt x="698" y="155"/>
                  </a:lnTo>
                  <a:lnTo>
                    <a:pt x="701" y="155"/>
                  </a:lnTo>
                  <a:lnTo>
                    <a:pt x="701" y="153"/>
                  </a:lnTo>
                  <a:lnTo>
                    <a:pt x="698" y="153"/>
                  </a:lnTo>
                  <a:lnTo>
                    <a:pt x="696" y="150"/>
                  </a:lnTo>
                  <a:lnTo>
                    <a:pt x="693" y="145"/>
                  </a:lnTo>
                  <a:lnTo>
                    <a:pt x="691" y="145"/>
                  </a:lnTo>
                  <a:lnTo>
                    <a:pt x="691" y="143"/>
                  </a:lnTo>
                  <a:lnTo>
                    <a:pt x="688" y="143"/>
                  </a:lnTo>
                  <a:lnTo>
                    <a:pt x="686" y="143"/>
                  </a:lnTo>
                  <a:lnTo>
                    <a:pt x="683" y="143"/>
                  </a:lnTo>
                  <a:lnTo>
                    <a:pt x="678" y="143"/>
                  </a:lnTo>
                  <a:lnTo>
                    <a:pt x="673" y="143"/>
                  </a:lnTo>
                  <a:lnTo>
                    <a:pt x="673" y="143"/>
                  </a:lnTo>
                  <a:lnTo>
                    <a:pt x="670" y="143"/>
                  </a:lnTo>
                  <a:lnTo>
                    <a:pt x="663" y="145"/>
                  </a:lnTo>
                  <a:lnTo>
                    <a:pt x="660" y="145"/>
                  </a:lnTo>
                  <a:lnTo>
                    <a:pt x="660" y="148"/>
                  </a:lnTo>
                  <a:lnTo>
                    <a:pt x="660" y="145"/>
                  </a:lnTo>
                  <a:lnTo>
                    <a:pt x="663" y="145"/>
                  </a:lnTo>
                  <a:lnTo>
                    <a:pt x="663" y="143"/>
                  </a:lnTo>
                  <a:lnTo>
                    <a:pt x="663" y="143"/>
                  </a:lnTo>
                  <a:lnTo>
                    <a:pt x="663" y="143"/>
                  </a:lnTo>
                  <a:lnTo>
                    <a:pt x="663" y="143"/>
                  </a:lnTo>
                  <a:lnTo>
                    <a:pt x="660" y="143"/>
                  </a:lnTo>
                  <a:lnTo>
                    <a:pt x="655" y="145"/>
                  </a:lnTo>
                  <a:lnTo>
                    <a:pt x="655" y="145"/>
                  </a:lnTo>
                  <a:lnTo>
                    <a:pt x="655" y="145"/>
                  </a:lnTo>
                  <a:lnTo>
                    <a:pt x="655" y="145"/>
                  </a:lnTo>
                  <a:lnTo>
                    <a:pt x="660" y="143"/>
                  </a:lnTo>
                  <a:lnTo>
                    <a:pt x="655" y="143"/>
                  </a:lnTo>
                  <a:lnTo>
                    <a:pt x="650" y="140"/>
                  </a:lnTo>
                  <a:lnTo>
                    <a:pt x="645" y="140"/>
                  </a:lnTo>
                  <a:lnTo>
                    <a:pt x="645" y="137"/>
                  </a:lnTo>
                  <a:lnTo>
                    <a:pt x="642" y="137"/>
                  </a:lnTo>
                  <a:lnTo>
                    <a:pt x="640" y="137"/>
                  </a:lnTo>
                  <a:lnTo>
                    <a:pt x="637" y="137"/>
                  </a:lnTo>
                  <a:lnTo>
                    <a:pt x="624" y="137"/>
                  </a:lnTo>
                  <a:lnTo>
                    <a:pt x="612" y="140"/>
                  </a:lnTo>
                  <a:lnTo>
                    <a:pt x="591" y="140"/>
                  </a:lnTo>
                  <a:lnTo>
                    <a:pt x="591" y="140"/>
                  </a:lnTo>
                  <a:lnTo>
                    <a:pt x="591" y="140"/>
                  </a:lnTo>
                  <a:lnTo>
                    <a:pt x="591" y="143"/>
                  </a:lnTo>
                  <a:lnTo>
                    <a:pt x="591" y="143"/>
                  </a:lnTo>
                  <a:lnTo>
                    <a:pt x="589" y="148"/>
                  </a:lnTo>
                  <a:lnTo>
                    <a:pt x="586" y="148"/>
                  </a:lnTo>
                  <a:lnTo>
                    <a:pt x="589" y="150"/>
                  </a:lnTo>
                  <a:lnTo>
                    <a:pt x="589" y="150"/>
                  </a:lnTo>
                  <a:lnTo>
                    <a:pt x="589" y="150"/>
                  </a:lnTo>
                  <a:lnTo>
                    <a:pt x="589" y="150"/>
                  </a:lnTo>
                  <a:lnTo>
                    <a:pt x="584" y="153"/>
                  </a:lnTo>
                  <a:lnTo>
                    <a:pt x="579" y="155"/>
                  </a:lnTo>
                  <a:lnTo>
                    <a:pt x="571" y="158"/>
                  </a:lnTo>
                  <a:lnTo>
                    <a:pt x="566" y="160"/>
                  </a:lnTo>
                  <a:lnTo>
                    <a:pt x="563" y="160"/>
                  </a:lnTo>
                  <a:lnTo>
                    <a:pt x="558" y="163"/>
                  </a:lnTo>
                  <a:lnTo>
                    <a:pt x="558" y="163"/>
                  </a:lnTo>
                  <a:lnTo>
                    <a:pt x="558" y="163"/>
                  </a:lnTo>
                  <a:lnTo>
                    <a:pt x="558" y="165"/>
                  </a:lnTo>
                  <a:lnTo>
                    <a:pt x="558" y="165"/>
                  </a:lnTo>
                  <a:lnTo>
                    <a:pt x="558" y="165"/>
                  </a:lnTo>
                  <a:lnTo>
                    <a:pt x="558" y="165"/>
                  </a:lnTo>
                  <a:lnTo>
                    <a:pt x="558" y="165"/>
                  </a:lnTo>
                  <a:lnTo>
                    <a:pt x="558" y="165"/>
                  </a:lnTo>
                  <a:lnTo>
                    <a:pt x="558" y="165"/>
                  </a:lnTo>
                  <a:lnTo>
                    <a:pt x="551" y="168"/>
                  </a:lnTo>
                  <a:lnTo>
                    <a:pt x="551" y="168"/>
                  </a:lnTo>
                  <a:lnTo>
                    <a:pt x="548" y="168"/>
                  </a:lnTo>
                  <a:lnTo>
                    <a:pt x="548" y="168"/>
                  </a:lnTo>
                  <a:lnTo>
                    <a:pt x="545" y="171"/>
                  </a:lnTo>
                  <a:lnTo>
                    <a:pt x="543" y="171"/>
                  </a:lnTo>
                  <a:lnTo>
                    <a:pt x="543" y="173"/>
                  </a:lnTo>
                  <a:lnTo>
                    <a:pt x="543" y="173"/>
                  </a:lnTo>
                  <a:lnTo>
                    <a:pt x="543" y="173"/>
                  </a:lnTo>
                  <a:lnTo>
                    <a:pt x="540" y="173"/>
                  </a:lnTo>
                  <a:lnTo>
                    <a:pt x="538" y="173"/>
                  </a:lnTo>
                  <a:lnTo>
                    <a:pt x="535" y="176"/>
                  </a:lnTo>
                  <a:lnTo>
                    <a:pt x="533" y="176"/>
                  </a:lnTo>
                  <a:lnTo>
                    <a:pt x="533" y="176"/>
                  </a:lnTo>
                  <a:lnTo>
                    <a:pt x="530" y="178"/>
                  </a:lnTo>
                  <a:lnTo>
                    <a:pt x="528" y="178"/>
                  </a:lnTo>
                  <a:lnTo>
                    <a:pt x="525" y="178"/>
                  </a:lnTo>
                  <a:lnTo>
                    <a:pt x="525" y="178"/>
                  </a:lnTo>
                  <a:lnTo>
                    <a:pt x="525" y="178"/>
                  </a:lnTo>
                  <a:lnTo>
                    <a:pt x="525" y="181"/>
                  </a:lnTo>
                  <a:lnTo>
                    <a:pt x="525" y="181"/>
                  </a:lnTo>
                  <a:lnTo>
                    <a:pt x="520" y="181"/>
                  </a:lnTo>
                  <a:lnTo>
                    <a:pt x="520" y="181"/>
                  </a:lnTo>
                  <a:lnTo>
                    <a:pt x="520" y="181"/>
                  </a:lnTo>
                  <a:lnTo>
                    <a:pt x="520" y="183"/>
                  </a:lnTo>
                  <a:lnTo>
                    <a:pt x="517" y="183"/>
                  </a:lnTo>
                  <a:lnTo>
                    <a:pt x="515" y="183"/>
                  </a:lnTo>
                  <a:lnTo>
                    <a:pt x="515" y="183"/>
                  </a:lnTo>
                  <a:lnTo>
                    <a:pt x="517" y="183"/>
                  </a:lnTo>
                  <a:lnTo>
                    <a:pt x="523" y="183"/>
                  </a:lnTo>
                  <a:close/>
                  <a:moveTo>
                    <a:pt x="683" y="112"/>
                  </a:moveTo>
                  <a:lnTo>
                    <a:pt x="683" y="112"/>
                  </a:lnTo>
                  <a:lnTo>
                    <a:pt x="683" y="115"/>
                  </a:lnTo>
                  <a:lnTo>
                    <a:pt x="681" y="115"/>
                  </a:lnTo>
                  <a:lnTo>
                    <a:pt x="678" y="115"/>
                  </a:lnTo>
                  <a:lnTo>
                    <a:pt x="675" y="115"/>
                  </a:lnTo>
                  <a:lnTo>
                    <a:pt x="678" y="115"/>
                  </a:lnTo>
                  <a:lnTo>
                    <a:pt x="678" y="115"/>
                  </a:lnTo>
                  <a:lnTo>
                    <a:pt x="681" y="115"/>
                  </a:lnTo>
                  <a:lnTo>
                    <a:pt x="681" y="115"/>
                  </a:lnTo>
                  <a:lnTo>
                    <a:pt x="683" y="115"/>
                  </a:lnTo>
                  <a:lnTo>
                    <a:pt x="683" y="115"/>
                  </a:lnTo>
                  <a:lnTo>
                    <a:pt x="686" y="112"/>
                  </a:lnTo>
                  <a:lnTo>
                    <a:pt x="686" y="112"/>
                  </a:lnTo>
                  <a:lnTo>
                    <a:pt x="686" y="112"/>
                  </a:lnTo>
                  <a:lnTo>
                    <a:pt x="683" y="112"/>
                  </a:lnTo>
                  <a:lnTo>
                    <a:pt x="683" y="112"/>
                  </a:lnTo>
                  <a:close/>
                  <a:moveTo>
                    <a:pt x="665" y="109"/>
                  </a:moveTo>
                  <a:lnTo>
                    <a:pt x="665" y="109"/>
                  </a:lnTo>
                  <a:lnTo>
                    <a:pt x="665" y="112"/>
                  </a:lnTo>
                  <a:lnTo>
                    <a:pt x="665" y="112"/>
                  </a:lnTo>
                  <a:lnTo>
                    <a:pt x="665" y="112"/>
                  </a:lnTo>
                  <a:lnTo>
                    <a:pt x="665" y="112"/>
                  </a:lnTo>
                  <a:lnTo>
                    <a:pt x="668" y="112"/>
                  </a:lnTo>
                  <a:lnTo>
                    <a:pt x="673" y="112"/>
                  </a:lnTo>
                  <a:lnTo>
                    <a:pt x="675" y="109"/>
                  </a:lnTo>
                  <a:lnTo>
                    <a:pt x="678" y="112"/>
                  </a:lnTo>
                  <a:lnTo>
                    <a:pt x="681" y="112"/>
                  </a:lnTo>
                  <a:lnTo>
                    <a:pt x="681" y="112"/>
                  </a:lnTo>
                  <a:lnTo>
                    <a:pt x="683" y="112"/>
                  </a:lnTo>
                  <a:lnTo>
                    <a:pt x="686" y="112"/>
                  </a:lnTo>
                  <a:lnTo>
                    <a:pt x="691" y="109"/>
                  </a:lnTo>
                  <a:lnTo>
                    <a:pt x="693" y="107"/>
                  </a:lnTo>
                  <a:lnTo>
                    <a:pt x="693" y="107"/>
                  </a:lnTo>
                  <a:lnTo>
                    <a:pt x="693" y="109"/>
                  </a:lnTo>
                  <a:lnTo>
                    <a:pt x="693" y="109"/>
                  </a:lnTo>
                  <a:lnTo>
                    <a:pt x="691" y="109"/>
                  </a:lnTo>
                  <a:lnTo>
                    <a:pt x="693" y="112"/>
                  </a:lnTo>
                  <a:lnTo>
                    <a:pt x="691" y="112"/>
                  </a:lnTo>
                  <a:lnTo>
                    <a:pt x="691" y="115"/>
                  </a:lnTo>
                  <a:lnTo>
                    <a:pt x="688" y="115"/>
                  </a:lnTo>
                  <a:lnTo>
                    <a:pt x="691" y="115"/>
                  </a:lnTo>
                  <a:lnTo>
                    <a:pt x="693" y="115"/>
                  </a:lnTo>
                  <a:lnTo>
                    <a:pt x="696" y="115"/>
                  </a:lnTo>
                  <a:lnTo>
                    <a:pt x="701" y="112"/>
                  </a:lnTo>
                  <a:lnTo>
                    <a:pt x="703" y="112"/>
                  </a:lnTo>
                  <a:lnTo>
                    <a:pt x="703" y="112"/>
                  </a:lnTo>
                  <a:lnTo>
                    <a:pt x="706" y="112"/>
                  </a:lnTo>
                  <a:lnTo>
                    <a:pt x="706" y="112"/>
                  </a:lnTo>
                  <a:lnTo>
                    <a:pt x="706" y="109"/>
                  </a:lnTo>
                  <a:lnTo>
                    <a:pt x="706" y="109"/>
                  </a:lnTo>
                  <a:lnTo>
                    <a:pt x="706" y="109"/>
                  </a:lnTo>
                  <a:lnTo>
                    <a:pt x="706" y="109"/>
                  </a:lnTo>
                  <a:lnTo>
                    <a:pt x="709" y="109"/>
                  </a:lnTo>
                  <a:lnTo>
                    <a:pt x="709" y="107"/>
                  </a:lnTo>
                  <a:lnTo>
                    <a:pt x="711" y="107"/>
                  </a:lnTo>
                  <a:lnTo>
                    <a:pt x="711" y="107"/>
                  </a:lnTo>
                  <a:lnTo>
                    <a:pt x="714" y="104"/>
                  </a:lnTo>
                  <a:lnTo>
                    <a:pt x="714" y="104"/>
                  </a:lnTo>
                  <a:lnTo>
                    <a:pt x="714" y="104"/>
                  </a:lnTo>
                  <a:lnTo>
                    <a:pt x="714" y="107"/>
                  </a:lnTo>
                  <a:lnTo>
                    <a:pt x="714" y="107"/>
                  </a:lnTo>
                  <a:lnTo>
                    <a:pt x="714" y="109"/>
                  </a:lnTo>
                  <a:lnTo>
                    <a:pt x="714" y="109"/>
                  </a:lnTo>
                  <a:lnTo>
                    <a:pt x="714" y="109"/>
                  </a:lnTo>
                  <a:lnTo>
                    <a:pt x="716" y="109"/>
                  </a:lnTo>
                  <a:lnTo>
                    <a:pt x="719" y="109"/>
                  </a:lnTo>
                  <a:lnTo>
                    <a:pt x="721" y="107"/>
                  </a:lnTo>
                  <a:lnTo>
                    <a:pt x="721" y="107"/>
                  </a:lnTo>
                  <a:lnTo>
                    <a:pt x="726" y="104"/>
                  </a:lnTo>
                  <a:lnTo>
                    <a:pt x="726" y="104"/>
                  </a:lnTo>
                  <a:lnTo>
                    <a:pt x="729" y="104"/>
                  </a:lnTo>
                  <a:lnTo>
                    <a:pt x="729" y="104"/>
                  </a:lnTo>
                  <a:lnTo>
                    <a:pt x="729" y="102"/>
                  </a:lnTo>
                  <a:lnTo>
                    <a:pt x="729" y="102"/>
                  </a:lnTo>
                  <a:lnTo>
                    <a:pt x="731" y="102"/>
                  </a:lnTo>
                  <a:lnTo>
                    <a:pt x="731" y="102"/>
                  </a:lnTo>
                  <a:lnTo>
                    <a:pt x="734" y="102"/>
                  </a:lnTo>
                  <a:lnTo>
                    <a:pt x="737" y="102"/>
                  </a:lnTo>
                  <a:lnTo>
                    <a:pt x="739" y="99"/>
                  </a:lnTo>
                  <a:lnTo>
                    <a:pt x="739" y="99"/>
                  </a:lnTo>
                  <a:lnTo>
                    <a:pt x="742" y="99"/>
                  </a:lnTo>
                  <a:lnTo>
                    <a:pt x="744" y="99"/>
                  </a:lnTo>
                  <a:lnTo>
                    <a:pt x="747" y="97"/>
                  </a:lnTo>
                  <a:lnTo>
                    <a:pt x="749" y="97"/>
                  </a:lnTo>
                  <a:lnTo>
                    <a:pt x="749" y="97"/>
                  </a:lnTo>
                  <a:lnTo>
                    <a:pt x="749" y="97"/>
                  </a:lnTo>
                  <a:lnTo>
                    <a:pt x="749" y="99"/>
                  </a:lnTo>
                  <a:lnTo>
                    <a:pt x="744" y="99"/>
                  </a:lnTo>
                  <a:lnTo>
                    <a:pt x="742" y="102"/>
                  </a:lnTo>
                  <a:lnTo>
                    <a:pt x="739" y="102"/>
                  </a:lnTo>
                  <a:lnTo>
                    <a:pt x="737" y="104"/>
                  </a:lnTo>
                  <a:lnTo>
                    <a:pt x="737" y="104"/>
                  </a:lnTo>
                  <a:lnTo>
                    <a:pt x="737" y="104"/>
                  </a:lnTo>
                  <a:lnTo>
                    <a:pt x="739" y="107"/>
                  </a:lnTo>
                  <a:lnTo>
                    <a:pt x="739" y="107"/>
                  </a:lnTo>
                  <a:lnTo>
                    <a:pt x="742" y="107"/>
                  </a:lnTo>
                  <a:lnTo>
                    <a:pt x="744" y="107"/>
                  </a:lnTo>
                  <a:lnTo>
                    <a:pt x="744" y="107"/>
                  </a:lnTo>
                  <a:lnTo>
                    <a:pt x="747" y="104"/>
                  </a:lnTo>
                  <a:lnTo>
                    <a:pt x="749" y="104"/>
                  </a:lnTo>
                  <a:lnTo>
                    <a:pt x="749" y="104"/>
                  </a:lnTo>
                  <a:lnTo>
                    <a:pt x="752" y="102"/>
                  </a:lnTo>
                  <a:lnTo>
                    <a:pt x="752" y="102"/>
                  </a:lnTo>
                  <a:lnTo>
                    <a:pt x="754" y="102"/>
                  </a:lnTo>
                  <a:lnTo>
                    <a:pt x="762" y="102"/>
                  </a:lnTo>
                  <a:lnTo>
                    <a:pt x="765" y="102"/>
                  </a:lnTo>
                  <a:lnTo>
                    <a:pt x="770" y="99"/>
                  </a:lnTo>
                  <a:lnTo>
                    <a:pt x="770" y="99"/>
                  </a:lnTo>
                  <a:lnTo>
                    <a:pt x="772" y="99"/>
                  </a:lnTo>
                  <a:lnTo>
                    <a:pt x="772" y="99"/>
                  </a:lnTo>
                  <a:lnTo>
                    <a:pt x="772" y="97"/>
                  </a:lnTo>
                  <a:lnTo>
                    <a:pt x="772" y="97"/>
                  </a:lnTo>
                  <a:lnTo>
                    <a:pt x="772" y="97"/>
                  </a:lnTo>
                  <a:lnTo>
                    <a:pt x="775" y="94"/>
                  </a:lnTo>
                  <a:lnTo>
                    <a:pt x="775" y="94"/>
                  </a:lnTo>
                  <a:lnTo>
                    <a:pt x="777" y="97"/>
                  </a:lnTo>
                  <a:lnTo>
                    <a:pt x="780" y="94"/>
                  </a:lnTo>
                  <a:lnTo>
                    <a:pt x="780" y="94"/>
                  </a:lnTo>
                  <a:lnTo>
                    <a:pt x="780" y="94"/>
                  </a:lnTo>
                  <a:lnTo>
                    <a:pt x="777" y="92"/>
                  </a:lnTo>
                  <a:lnTo>
                    <a:pt x="777" y="92"/>
                  </a:lnTo>
                  <a:lnTo>
                    <a:pt x="780" y="92"/>
                  </a:lnTo>
                  <a:lnTo>
                    <a:pt x="790" y="89"/>
                  </a:lnTo>
                  <a:lnTo>
                    <a:pt x="793" y="89"/>
                  </a:lnTo>
                  <a:lnTo>
                    <a:pt x="795" y="89"/>
                  </a:lnTo>
                  <a:lnTo>
                    <a:pt x="795" y="89"/>
                  </a:lnTo>
                  <a:lnTo>
                    <a:pt x="795" y="87"/>
                  </a:lnTo>
                  <a:lnTo>
                    <a:pt x="790" y="87"/>
                  </a:lnTo>
                  <a:lnTo>
                    <a:pt x="790" y="84"/>
                  </a:lnTo>
                  <a:lnTo>
                    <a:pt x="788" y="84"/>
                  </a:lnTo>
                  <a:lnTo>
                    <a:pt x="788" y="84"/>
                  </a:lnTo>
                  <a:lnTo>
                    <a:pt x="782" y="84"/>
                  </a:lnTo>
                  <a:lnTo>
                    <a:pt x="780" y="87"/>
                  </a:lnTo>
                  <a:lnTo>
                    <a:pt x="777" y="87"/>
                  </a:lnTo>
                  <a:lnTo>
                    <a:pt x="777" y="87"/>
                  </a:lnTo>
                  <a:lnTo>
                    <a:pt x="777" y="87"/>
                  </a:lnTo>
                  <a:lnTo>
                    <a:pt x="780" y="87"/>
                  </a:lnTo>
                  <a:lnTo>
                    <a:pt x="780" y="87"/>
                  </a:lnTo>
                  <a:lnTo>
                    <a:pt x="777" y="89"/>
                  </a:lnTo>
                  <a:lnTo>
                    <a:pt x="777" y="89"/>
                  </a:lnTo>
                  <a:lnTo>
                    <a:pt x="775" y="89"/>
                  </a:lnTo>
                  <a:lnTo>
                    <a:pt x="775" y="87"/>
                  </a:lnTo>
                  <a:lnTo>
                    <a:pt x="772" y="89"/>
                  </a:lnTo>
                  <a:lnTo>
                    <a:pt x="770" y="89"/>
                  </a:lnTo>
                  <a:lnTo>
                    <a:pt x="770" y="89"/>
                  </a:lnTo>
                  <a:lnTo>
                    <a:pt x="762" y="87"/>
                  </a:lnTo>
                  <a:lnTo>
                    <a:pt x="752" y="89"/>
                  </a:lnTo>
                  <a:lnTo>
                    <a:pt x="747" y="89"/>
                  </a:lnTo>
                  <a:lnTo>
                    <a:pt x="742" y="89"/>
                  </a:lnTo>
                  <a:lnTo>
                    <a:pt x="739" y="92"/>
                  </a:lnTo>
                  <a:lnTo>
                    <a:pt x="731" y="92"/>
                  </a:lnTo>
                  <a:lnTo>
                    <a:pt x="721" y="94"/>
                  </a:lnTo>
                  <a:lnTo>
                    <a:pt x="719" y="97"/>
                  </a:lnTo>
                  <a:lnTo>
                    <a:pt x="719" y="97"/>
                  </a:lnTo>
                  <a:lnTo>
                    <a:pt x="716" y="97"/>
                  </a:lnTo>
                  <a:lnTo>
                    <a:pt x="714" y="97"/>
                  </a:lnTo>
                  <a:lnTo>
                    <a:pt x="706" y="99"/>
                  </a:lnTo>
                  <a:lnTo>
                    <a:pt x="703" y="99"/>
                  </a:lnTo>
                  <a:lnTo>
                    <a:pt x="701" y="99"/>
                  </a:lnTo>
                  <a:lnTo>
                    <a:pt x="691" y="104"/>
                  </a:lnTo>
                  <a:lnTo>
                    <a:pt x="691" y="104"/>
                  </a:lnTo>
                  <a:lnTo>
                    <a:pt x="678" y="104"/>
                  </a:lnTo>
                  <a:lnTo>
                    <a:pt x="678" y="104"/>
                  </a:lnTo>
                  <a:lnTo>
                    <a:pt x="675" y="104"/>
                  </a:lnTo>
                  <a:lnTo>
                    <a:pt x="668" y="107"/>
                  </a:lnTo>
                  <a:lnTo>
                    <a:pt x="665" y="109"/>
                  </a:lnTo>
                  <a:lnTo>
                    <a:pt x="665" y="109"/>
                  </a:lnTo>
                  <a:lnTo>
                    <a:pt x="668" y="109"/>
                  </a:lnTo>
                  <a:lnTo>
                    <a:pt x="668" y="109"/>
                  </a:lnTo>
                  <a:lnTo>
                    <a:pt x="670" y="109"/>
                  </a:lnTo>
                  <a:lnTo>
                    <a:pt x="668" y="109"/>
                  </a:lnTo>
                  <a:lnTo>
                    <a:pt x="668" y="109"/>
                  </a:lnTo>
                  <a:lnTo>
                    <a:pt x="668" y="109"/>
                  </a:lnTo>
                  <a:lnTo>
                    <a:pt x="668" y="109"/>
                  </a:lnTo>
                  <a:lnTo>
                    <a:pt x="668" y="109"/>
                  </a:lnTo>
                  <a:lnTo>
                    <a:pt x="665" y="109"/>
                  </a:lnTo>
                  <a:close/>
                  <a:moveTo>
                    <a:pt x="265" y="229"/>
                  </a:moveTo>
                  <a:lnTo>
                    <a:pt x="268" y="229"/>
                  </a:lnTo>
                  <a:lnTo>
                    <a:pt x="270" y="229"/>
                  </a:lnTo>
                  <a:lnTo>
                    <a:pt x="270" y="229"/>
                  </a:lnTo>
                  <a:lnTo>
                    <a:pt x="268" y="227"/>
                  </a:lnTo>
                  <a:lnTo>
                    <a:pt x="268" y="227"/>
                  </a:lnTo>
                  <a:lnTo>
                    <a:pt x="265" y="229"/>
                  </a:lnTo>
                  <a:lnTo>
                    <a:pt x="265" y="229"/>
                  </a:lnTo>
                  <a:lnTo>
                    <a:pt x="265" y="229"/>
                  </a:lnTo>
                  <a:close/>
                  <a:moveTo>
                    <a:pt x="31" y="547"/>
                  </a:moveTo>
                  <a:lnTo>
                    <a:pt x="31" y="547"/>
                  </a:lnTo>
                  <a:lnTo>
                    <a:pt x="33" y="545"/>
                  </a:lnTo>
                  <a:lnTo>
                    <a:pt x="33" y="545"/>
                  </a:lnTo>
                  <a:lnTo>
                    <a:pt x="31" y="545"/>
                  </a:lnTo>
                  <a:lnTo>
                    <a:pt x="28" y="547"/>
                  </a:lnTo>
                  <a:lnTo>
                    <a:pt x="23" y="547"/>
                  </a:lnTo>
                  <a:lnTo>
                    <a:pt x="23" y="547"/>
                  </a:lnTo>
                  <a:lnTo>
                    <a:pt x="20" y="550"/>
                  </a:lnTo>
                  <a:lnTo>
                    <a:pt x="20" y="550"/>
                  </a:lnTo>
                  <a:lnTo>
                    <a:pt x="18" y="552"/>
                  </a:lnTo>
                  <a:lnTo>
                    <a:pt x="18" y="555"/>
                  </a:lnTo>
                  <a:lnTo>
                    <a:pt x="15" y="555"/>
                  </a:lnTo>
                  <a:lnTo>
                    <a:pt x="10" y="555"/>
                  </a:lnTo>
                  <a:lnTo>
                    <a:pt x="10" y="555"/>
                  </a:lnTo>
                  <a:lnTo>
                    <a:pt x="10" y="555"/>
                  </a:lnTo>
                  <a:lnTo>
                    <a:pt x="10" y="555"/>
                  </a:lnTo>
                  <a:lnTo>
                    <a:pt x="10" y="555"/>
                  </a:lnTo>
                  <a:lnTo>
                    <a:pt x="18" y="552"/>
                  </a:lnTo>
                  <a:lnTo>
                    <a:pt x="20" y="550"/>
                  </a:lnTo>
                  <a:lnTo>
                    <a:pt x="20" y="550"/>
                  </a:lnTo>
                  <a:lnTo>
                    <a:pt x="20" y="547"/>
                  </a:lnTo>
                  <a:lnTo>
                    <a:pt x="23" y="547"/>
                  </a:lnTo>
                  <a:lnTo>
                    <a:pt x="23" y="545"/>
                  </a:lnTo>
                  <a:lnTo>
                    <a:pt x="23" y="545"/>
                  </a:lnTo>
                  <a:lnTo>
                    <a:pt x="20" y="545"/>
                  </a:lnTo>
                  <a:lnTo>
                    <a:pt x="18" y="547"/>
                  </a:lnTo>
                  <a:lnTo>
                    <a:pt x="18" y="545"/>
                  </a:lnTo>
                  <a:lnTo>
                    <a:pt x="13" y="545"/>
                  </a:lnTo>
                  <a:lnTo>
                    <a:pt x="13" y="545"/>
                  </a:lnTo>
                  <a:lnTo>
                    <a:pt x="10" y="545"/>
                  </a:lnTo>
                  <a:lnTo>
                    <a:pt x="10" y="545"/>
                  </a:lnTo>
                  <a:lnTo>
                    <a:pt x="8" y="547"/>
                  </a:lnTo>
                  <a:lnTo>
                    <a:pt x="5" y="550"/>
                  </a:lnTo>
                  <a:lnTo>
                    <a:pt x="3" y="550"/>
                  </a:lnTo>
                  <a:lnTo>
                    <a:pt x="3" y="552"/>
                  </a:lnTo>
                  <a:lnTo>
                    <a:pt x="3" y="555"/>
                  </a:lnTo>
                  <a:lnTo>
                    <a:pt x="3" y="555"/>
                  </a:lnTo>
                  <a:lnTo>
                    <a:pt x="3" y="557"/>
                  </a:lnTo>
                  <a:lnTo>
                    <a:pt x="3" y="557"/>
                  </a:lnTo>
                  <a:lnTo>
                    <a:pt x="3" y="560"/>
                  </a:lnTo>
                  <a:lnTo>
                    <a:pt x="5" y="562"/>
                  </a:lnTo>
                  <a:lnTo>
                    <a:pt x="5" y="562"/>
                  </a:lnTo>
                  <a:lnTo>
                    <a:pt x="5" y="562"/>
                  </a:lnTo>
                  <a:lnTo>
                    <a:pt x="3" y="562"/>
                  </a:lnTo>
                  <a:lnTo>
                    <a:pt x="3" y="560"/>
                  </a:lnTo>
                  <a:lnTo>
                    <a:pt x="0" y="560"/>
                  </a:lnTo>
                  <a:lnTo>
                    <a:pt x="0" y="562"/>
                  </a:lnTo>
                  <a:lnTo>
                    <a:pt x="0" y="562"/>
                  </a:lnTo>
                  <a:lnTo>
                    <a:pt x="0" y="565"/>
                  </a:lnTo>
                  <a:lnTo>
                    <a:pt x="3" y="565"/>
                  </a:lnTo>
                  <a:lnTo>
                    <a:pt x="10" y="562"/>
                  </a:lnTo>
                  <a:lnTo>
                    <a:pt x="13" y="562"/>
                  </a:lnTo>
                  <a:lnTo>
                    <a:pt x="15" y="560"/>
                  </a:lnTo>
                  <a:lnTo>
                    <a:pt x="18" y="557"/>
                  </a:lnTo>
                  <a:lnTo>
                    <a:pt x="20" y="555"/>
                  </a:lnTo>
                  <a:lnTo>
                    <a:pt x="26" y="550"/>
                  </a:lnTo>
                  <a:lnTo>
                    <a:pt x="31" y="547"/>
                  </a:lnTo>
                  <a:close/>
                  <a:moveTo>
                    <a:pt x="38" y="644"/>
                  </a:moveTo>
                  <a:lnTo>
                    <a:pt x="38" y="644"/>
                  </a:lnTo>
                  <a:lnTo>
                    <a:pt x="38" y="641"/>
                  </a:lnTo>
                  <a:lnTo>
                    <a:pt x="41" y="641"/>
                  </a:lnTo>
                  <a:lnTo>
                    <a:pt x="41" y="639"/>
                  </a:lnTo>
                  <a:lnTo>
                    <a:pt x="41" y="639"/>
                  </a:lnTo>
                  <a:lnTo>
                    <a:pt x="38" y="636"/>
                  </a:lnTo>
                  <a:lnTo>
                    <a:pt x="36" y="639"/>
                  </a:lnTo>
                  <a:lnTo>
                    <a:pt x="36" y="639"/>
                  </a:lnTo>
                  <a:lnTo>
                    <a:pt x="36" y="639"/>
                  </a:lnTo>
                  <a:lnTo>
                    <a:pt x="36" y="641"/>
                  </a:lnTo>
                  <a:lnTo>
                    <a:pt x="33" y="641"/>
                  </a:lnTo>
                  <a:lnTo>
                    <a:pt x="33" y="641"/>
                  </a:lnTo>
                  <a:lnTo>
                    <a:pt x="36" y="641"/>
                  </a:lnTo>
                  <a:lnTo>
                    <a:pt x="36" y="644"/>
                  </a:lnTo>
                  <a:lnTo>
                    <a:pt x="36" y="644"/>
                  </a:lnTo>
                  <a:lnTo>
                    <a:pt x="38" y="644"/>
                  </a:lnTo>
                  <a:close/>
                  <a:moveTo>
                    <a:pt x="790" y="97"/>
                  </a:moveTo>
                  <a:lnTo>
                    <a:pt x="788" y="97"/>
                  </a:lnTo>
                  <a:lnTo>
                    <a:pt x="790" y="99"/>
                  </a:lnTo>
                  <a:lnTo>
                    <a:pt x="800" y="99"/>
                  </a:lnTo>
                  <a:lnTo>
                    <a:pt x="805" y="99"/>
                  </a:lnTo>
                  <a:lnTo>
                    <a:pt x="805" y="97"/>
                  </a:lnTo>
                  <a:lnTo>
                    <a:pt x="808" y="97"/>
                  </a:lnTo>
                  <a:lnTo>
                    <a:pt x="808" y="97"/>
                  </a:lnTo>
                  <a:lnTo>
                    <a:pt x="805" y="97"/>
                  </a:lnTo>
                  <a:lnTo>
                    <a:pt x="803" y="97"/>
                  </a:lnTo>
                  <a:lnTo>
                    <a:pt x="798" y="97"/>
                  </a:lnTo>
                  <a:lnTo>
                    <a:pt x="793" y="97"/>
                  </a:lnTo>
                  <a:lnTo>
                    <a:pt x="790" y="97"/>
                  </a:lnTo>
                  <a:close/>
                  <a:moveTo>
                    <a:pt x="5" y="588"/>
                  </a:moveTo>
                  <a:lnTo>
                    <a:pt x="5" y="588"/>
                  </a:lnTo>
                  <a:lnTo>
                    <a:pt x="3" y="590"/>
                  </a:lnTo>
                  <a:lnTo>
                    <a:pt x="3" y="590"/>
                  </a:lnTo>
                  <a:lnTo>
                    <a:pt x="3" y="590"/>
                  </a:lnTo>
                  <a:lnTo>
                    <a:pt x="3" y="590"/>
                  </a:lnTo>
                  <a:lnTo>
                    <a:pt x="5" y="588"/>
                  </a:lnTo>
                  <a:lnTo>
                    <a:pt x="5" y="588"/>
                  </a:lnTo>
                  <a:lnTo>
                    <a:pt x="5" y="588"/>
                  </a:lnTo>
                  <a:close/>
                  <a:moveTo>
                    <a:pt x="13" y="565"/>
                  </a:moveTo>
                  <a:lnTo>
                    <a:pt x="10" y="565"/>
                  </a:lnTo>
                  <a:lnTo>
                    <a:pt x="8" y="565"/>
                  </a:lnTo>
                  <a:lnTo>
                    <a:pt x="5" y="565"/>
                  </a:lnTo>
                  <a:lnTo>
                    <a:pt x="3" y="565"/>
                  </a:lnTo>
                  <a:lnTo>
                    <a:pt x="0" y="565"/>
                  </a:lnTo>
                  <a:lnTo>
                    <a:pt x="0" y="565"/>
                  </a:lnTo>
                  <a:lnTo>
                    <a:pt x="0" y="568"/>
                  </a:lnTo>
                  <a:lnTo>
                    <a:pt x="0" y="568"/>
                  </a:lnTo>
                  <a:lnTo>
                    <a:pt x="3" y="570"/>
                  </a:lnTo>
                  <a:lnTo>
                    <a:pt x="3" y="570"/>
                  </a:lnTo>
                  <a:lnTo>
                    <a:pt x="0" y="570"/>
                  </a:lnTo>
                  <a:lnTo>
                    <a:pt x="0" y="570"/>
                  </a:lnTo>
                  <a:lnTo>
                    <a:pt x="0" y="570"/>
                  </a:lnTo>
                  <a:lnTo>
                    <a:pt x="0" y="573"/>
                  </a:lnTo>
                  <a:lnTo>
                    <a:pt x="0" y="573"/>
                  </a:lnTo>
                  <a:lnTo>
                    <a:pt x="0" y="575"/>
                  </a:lnTo>
                  <a:lnTo>
                    <a:pt x="0" y="578"/>
                  </a:lnTo>
                  <a:lnTo>
                    <a:pt x="3" y="580"/>
                  </a:lnTo>
                  <a:lnTo>
                    <a:pt x="3" y="583"/>
                  </a:lnTo>
                  <a:lnTo>
                    <a:pt x="3" y="583"/>
                  </a:lnTo>
                  <a:lnTo>
                    <a:pt x="3" y="585"/>
                  </a:lnTo>
                  <a:lnTo>
                    <a:pt x="3" y="588"/>
                  </a:lnTo>
                  <a:lnTo>
                    <a:pt x="5" y="585"/>
                  </a:lnTo>
                  <a:lnTo>
                    <a:pt x="8" y="585"/>
                  </a:lnTo>
                  <a:lnTo>
                    <a:pt x="5" y="585"/>
                  </a:lnTo>
                  <a:lnTo>
                    <a:pt x="5" y="585"/>
                  </a:lnTo>
                  <a:lnTo>
                    <a:pt x="5" y="583"/>
                  </a:lnTo>
                  <a:lnTo>
                    <a:pt x="8" y="583"/>
                  </a:lnTo>
                  <a:lnTo>
                    <a:pt x="8" y="583"/>
                  </a:lnTo>
                  <a:lnTo>
                    <a:pt x="8" y="580"/>
                  </a:lnTo>
                  <a:lnTo>
                    <a:pt x="5" y="583"/>
                  </a:lnTo>
                  <a:lnTo>
                    <a:pt x="5" y="583"/>
                  </a:lnTo>
                  <a:lnTo>
                    <a:pt x="5" y="580"/>
                  </a:lnTo>
                  <a:lnTo>
                    <a:pt x="5" y="578"/>
                  </a:lnTo>
                  <a:lnTo>
                    <a:pt x="5" y="578"/>
                  </a:lnTo>
                  <a:lnTo>
                    <a:pt x="10" y="575"/>
                  </a:lnTo>
                  <a:lnTo>
                    <a:pt x="8" y="575"/>
                  </a:lnTo>
                  <a:lnTo>
                    <a:pt x="5" y="575"/>
                  </a:lnTo>
                  <a:lnTo>
                    <a:pt x="5" y="573"/>
                  </a:lnTo>
                  <a:lnTo>
                    <a:pt x="5" y="573"/>
                  </a:lnTo>
                  <a:lnTo>
                    <a:pt x="5" y="573"/>
                  </a:lnTo>
                  <a:lnTo>
                    <a:pt x="5" y="570"/>
                  </a:lnTo>
                  <a:lnTo>
                    <a:pt x="5" y="570"/>
                  </a:lnTo>
                  <a:lnTo>
                    <a:pt x="8" y="573"/>
                  </a:lnTo>
                  <a:lnTo>
                    <a:pt x="10" y="570"/>
                  </a:lnTo>
                  <a:lnTo>
                    <a:pt x="13" y="568"/>
                  </a:lnTo>
                  <a:lnTo>
                    <a:pt x="13" y="568"/>
                  </a:lnTo>
                  <a:lnTo>
                    <a:pt x="13" y="565"/>
                  </a:lnTo>
                  <a:lnTo>
                    <a:pt x="13" y="565"/>
                  </a:lnTo>
                  <a:lnTo>
                    <a:pt x="13" y="565"/>
                  </a:lnTo>
                  <a:close/>
                  <a:moveTo>
                    <a:pt x="821" y="82"/>
                  </a:moveTo>
                  <a:lnTo>
                    <a:pt x="823" y="82"/>
                  </a:lnTo>
                  <a:lnTo>
                    <a:pt x="828" y="82"/>
                  </a:lnTo>
                  <a:lnTo>
                    <a:pt x="828" y="82"/>
                  </a:lnTo>
                  <a:lnTo>
                    <a:pt x="831" y="79"/>
                  </a:lnTo>
                  <a:lnTo>
                    <a:pt x="831" y="79"/>
                  </a:lnTo>
                  <a:lnTo>
                    <a:pt x="831" y="79"/>
                  </a:lnTo>
                  <a:lnTo>
                    <a:pt x="833" y="79"/>
                  </a:lnTo>
                  <a:lnTo>
                    <a:pt x="831" y="79"/>
                  </a:lnTo>
                  <a:lnTo>
                    <a:pt x="831" y="79"/>
                  </a:lnTo>
                  <a:lnTo>
                    <a:pt x="831" y="76"/>
                  </a:lnTo>
                  <a:lnTo>
                    <a:pt x="828" y="76"/>
                  </a:lnTo>
                  <a:lnTo>
                    <a:pt x="828" y="76"/>
                  </a:lnTo>
                  <a:lnTo>
                    <a:pt x="828" y="76"/>
                  </a:lnTo>
                  <a:lnTo>
                    <a:pt x="828" y="76"/>
                  </a:lnTo>
                  <a:lnTo>
                    <a:pt x="828" y="76"/>
                  </a:lnTo>
                  <a:lnTo>
                    <a:pt x="826" y="76"/>
                  </a:lnTo>
                  <a:lnTo>
                    <a:pt x="823" y="76"/>
                  </a:lnTo>
                  <a:lnTo>
                    <a:pt x="821" y="76"/>
                  </a:lnTo>
                  <a:lnTo>
                    <a:pt x="821" y="76"/>
                  </a:lnTo>
                  <a:lnTo>
                    <a:pt x="818" y="76"/>
                  </a:lnTo>
                  <a:lnTo>
                    <a:pt x="816" y="79"/>
                  </a:lnTo>
                  <a:lnTo>
                    <a:pt x="818" y="82"/>
                  </a:lnTo>
                  <a:lnTo>
                    <a:pt x="821" y="82"/>
                  </a:lnTo>
                  <a:close/>
                  <a:moveTo>
                    <a:pt x="833" y="163"/>
                  </a:moveTo>
                  <a:lnTo>
                    <a:pt x="833" y="163"/>
                  </a:lnTo>
                  <a:lnTo>
                    <a:pt x="839" y="163"/>
                  </a:lnTo>
                  <a:lnTo>
                    <a:pt x="844" y="160"/>
                  </a:lnTo>
                  <a:lnTo>
                    <a:pt x="846" y="158"/>
                  </a:lnTo>
                  <a:lnTo>
                    <a:pt x="849" y="155"/>
                  </a:lnTo>
                  <a:lnTo>
                    <a:pt x="849" y="155"/>
                  </a:lnTo>
                  <a:lnTo>
                    <a:pt x="849" y="155"/>
                  </a:lnTo>
                  <a:lnTo>
                    <a:pt x="849" y="153"/>
                  </a:lnTo>
                  <a:lnTo>
                    <a:pt x="849" y="153"/>
                  </a:lnTo>
                  <a:lnTo>
                    <a:pt x="849" y="153"/>
                  </a:lnTo>
                  <a:lnTo>
                    <a:pt x="846" y="150"/>
                  </a:lnTo>
                  <a:lnTo>
                    <a:pt x="844" y="150"/>
                  </a:lnTo>
                  <a:lnTo>
                    <a:pt x="841" y="150"/>
                  </a:lnTo>
                  <a:lnTo>
                    <a:pt x="828" y="153"/>
                  </a:lnTo>
                  <a:lnTo>
                    <a:pt x="823" y="153"/>
                  </a:lnTo>
                  <a:lnTo>
                    <a:pt x="823" y="153"/>
                  </a:lnTo>
                  <a:lnTo>
                    <a:pt x="818" y="153"/>
                  </a:lnTo>
                  <a:lnTo>
                    <a:pt x="816" y="155"/>
                  </a:lnTo>
                  <a:lnTo>
                    <a:pt x="816" y="155"/>
                  </a:lnTo>
                  <a:lnTo>
                    <a:pt x="818" y="155"/>
                  </a:lnTo>
                  <a:lnTo>
                    <a:pt x="818" y="158"/>
                  </a:lnTo>
                  <a:lnTo>
                    <a:pt x="821" y="160"/>
                  </a:lnTo>
                  <a:lnTo>
                    <a:pt x="821" y="160"/>
                  </a:lnTo>
                  <a:lnTo>
                    <a:pt x="821" y="160"/>
                  </a:lnTo>
                  <a:lnTo>
                    <a:pt x="823" y="163"/>
                  </a:lnTo>
                  <a:lnTo>
                    <a:pt x="823" y="165"/>
                  </a:lnTo>
                  <a:lnTo>
                    <a:pt x="823" y="165"/>
                  </a:lnTo>
                  <a:lnTo>
                    <a:pt x="826" y="165"/>
                  </a:lnTo>
                  <a:lnTo>
                    <a:pt x="826" y="165"/>
                  </a:lnTo>
                  <a:lnTo>
                    <a:pt x="828" y="165"/>
                  </a:lnTo>
                  <a:lnTo>
                    <a:pt x="831" y="165"/>
                  </a:lnTo>
                  <a:lnTo>
                    <a:pt x="833" y="163"/>
                  </a:lnTo>
                  <a:close/>
                  <a:moveTo>
                    <a:pt x="846" y="209"/>
                  </a:moveTo>
                  <a:lnTo>
                    <a:pt x="846" y="209"/>
                  </a:lnTo>
                  <a:lnTo>
                    <a:pt x="844" y="209"/>
                  </a:lnTo>
                  <a:lnTo>
                    <a:pt x="844" y="209"/>
                  </a:lnTo>
                  <a:lnTo>
                    <a:pt x="844" y="211"/>
                  </a:lnTo>
                  <a:lnTo>
                    <a:pt x="844" y="211"/>
                  </a:lnTo>
                  <a:lnTo>
                    <a:pt x="844" y="211"/>
                  </a:lnTo>
                  <a:lnTo>
                    <a:pt x="846" y="211"/>
                  </a:lnTo>
                  <a:lnTo>
                    <a:pt x="846" y="211"/>
                  </a:lnTo>
                  <a:lnTo>
                    <a:pt x="849" y="211"/>
                  </a:lnTo>
                  <a:lnTo>
                    <a:pt x="849" y="211"/>
                  </a:lnTo>
                  <a:lnTo>
                    <a:pt x="849" y="209"/>
                  </a:lnTo>
                  <a:lnTo>
                    <a:pt x="849" y="209"/>
                  </a:lnTo>
                  <a:lnTo>
                    <a:pt x="849" y="209"/>
                  </a:lnTo>
                  <a:lnTo>
                    <a:pt x="846" y="209"/>
                  </a:lnTo>
                  <a:close/>
                  <a:moveTo>
                    <a:pt x="900" y="122"/>
                  </a:moveTo>
                  <a:lnTo>
                    <a:pt x="900" y="122"/>
                  </a:lnTo>
                  <a:lnTo>
                    <a:pt x="900" y="122"/>
                  </a:lnTo>
                  <a:lnTo>
                    <a:pt x="897" y="122"/>
                  </a:lnTo>
                  <a:lnTo>
                    <a:pt x="895" y="122"/>
                  </a:lnTo>
                  <a:lnTo>
                    <a:pt x="892" y="122"/>
                  </a:lnTo>
                  <a:lnTo>
                    <a:pt x="889" y="122"/>
                  </a:lnTo>
                  <a:lnTo>
                    <a:pt x="887" y="122"/>
                  </a:lnTo>
                  <a:lnTo>
                    <a:pt x="884" y="125"/>
                  </a:lnTo>
                  <a:lnTo>
                    <a:pt x="882" y="125"/>
                  </a:lnTo>
                  <a:lnTo>
                    <a:pt x="882" y="125"/>
                  </a:lnTo>
                  <a:lnTo>
                    <a:pt x="882" y="127"/>
                  </a:lnTo>
                  <a:lnTo>
                    <a:pt x="882" y="127"/>
                  </a:lnTo>
                  <a:lnTo>
                    <a:pt x="882" y="127"/>
                  </a:lnTo>
                  <a:lnTo>
                    <a:pt x="887" y="127"/>
                  </a:lnTo>
                  <a:lnTo>
                    <a:pt x="889" y="127"/>
                  </a:lnTo>
                  <a:lnTo>
                    <a:pt x="895" y="127"/>
                  </a:lnTo>
                  <a:lnTo>
                    <a:pt x="897" y="127"/>
                  </a:lnTo>
                  <a:lnTo>
                    <a:pt x="897" y="127"/>
                  </a:lnTo>
                  <a:lnTo>
                    <a:pt x="897" y="125"/>
                  </a:lnTo>
                  <a:lnTo>
                    <a:pt x="900" y="125"/>
                  </a:lnTo>
                  <a:lnTo>
                    <a:pt x="900" y="125"/>
                  </a:lnTo>
                  <a:lnTo>
                    <a:pt x="900" y="125"/>
                  </a:lnTo>
                  <a:lnTo>
                    <a:pt x="900" y="125"/>
                  </a:lnTo>
                  <a:lnTo>
                    <a:pt x="900" y="122"/>
                  </a:lnTo>
                  <a:close/>
                  <a:moveTo>
                    <a:pt x="711" y="120"/>
                  </a:moveTo>
                  <a:lnTo>
                    <a:pt x="714" y="117"/>
                  </a:lnTo>
                  <a:lnTo>
                    <a:pt x="721" y="115"/>
                  </a:lnTo>
                  <a:lnTo>
                    <a:pt x="729" y="112"/>
                  </a:lnTo>
                  <a:lnTo>
                    <a:pt x="729" y="112"/>
                  </a:lnTo>
                  <a:lnTo>
                    <a:pt x="734" y="109"/>
                  </a:lnTo>
                  <a:lnTo>
                    <a:pt x="734" y="109"/>
                  </a:lnTo>
                  <a:lnTo>
                    <a:pt x="734" y="109"/>
                  </a:lnTo>
                  <a:lnTo>
                    <a:pt x="731" y="109"/>
                  </a:lnTo>
                  <a:lnTo>
                    <a:pt x="729" y="109"/>
                  </a:lnTo>
                  <a:lnTo>
                    <a:pt x="724" y="112"/>
                  </a:lnTo>
                  <a:lnTo>
                    <a:pt x="719" y="112"/>
                  </a:lnTo>
                  <a:lnTo>
                    <a:pt x="716" y="112"/>
                  </a:lnTo>
                  <a:lnTo>
                    <a:pt x="706" y="115"/>
                  </a:lnTo>
                  <a:lnTo>
                    <a:pt x="701" y="117"/>
                  </a:lnTo>
                  <a:lnTo>
                    <a:pt x="698" y="117"/>
                  </a:lnTo>
                  <a:lnTo>
                    <a:pt x="698" y="117"/>
                  </a:lnTo>
                  <a:lnTo>
                    <a:pt x="696" y="117"/>
                  </a:lnTo>
                  <a:lnTo>
                    <a:pt x="698" y="120"/>
                  </a:lnTo>
                  <a:lnTo>
                    <a:pt x="701" y="120"/>
                  </a:lnTo>
                  <a:lnTo>
                    <a:pt x="703" y="120"/>
                  </a:lnTo>
                  <a:lnTo>
                    <a:pt x="706" y="120"/>
                  </a:lnTo>
                  <a:lnTo>
                    <a:pt x="711" y="120"/>
                  </a:lnTo>
                  <a:close/>
                  <a:moveTo>
                    <a:pt x="831" y="84"/>
                  </a:moveTo>
                  <a:lnTo>
                    <a:pt x="831" y="84"/>
                  </a:lnTo>
                  <a:lnTo>
                    <a:pt x="831" y="84"/>
                  </a:lnTo>
                  <a:lnTo>
                    <a:pt x="831" y="84"/>
                  </a:lnTo>
                  <a:lnTo>
                    <a:pt x="831" y="87"/>
                  </a:lnTo>
                  <a:lnTo>
                    <a:pt x="833" y="87"/>
                  </a:lnTo>
                  <a:lnTo>
                    <a:pt x="836" y="87"/>
                  </a:lnTo>
                  <a:lnTo>
                    <a:pt x="839" y="89"/>
                  </a:lnTo>
                  <a:lnTo>
                    <a:pt x="841" y="89"/>
                  </a:lnTo>
                  <a:lnTo>
                    <a:pt x="854" y="87"/>
                  </a:lnTo>
                  <a:lnTo>
                    <a:pt x="854" y="87"/>
                  </a:lnTo>
                  <a:lnTo>
                    <a:pt x="856" y="87"/>
                  </a:lnTo>
                  <a:lnTo>
                    <a:pt x="861" y="87"/>
                  </a:lnTo>
                  <a:lnTo>
                    <a:pt x="867" y="87"/>
                  </a:lnTo>
                  <a:lnTo>
                    <a:pt x="869" y="84"/>
                  </a:lnTo>
                  <a:lnTo>
                    <a:pt x="872" y="84"/>
                  </a:lnTo>
                  <a:lnTo>
                    <a:pt x="872" y="84"/>
                  </a:lnTo>
                  <a:lnTo>
                    <a:pt x="874" y="82"/>
                  </a:lnTo>
                  <a:lnTo>
                    <a:pt x="874" y="82"/>
                  </a:lnTo>
                  <a:lnTo>
                    <a:pt x="874" y="82"/>
                  </a:lnTo>
                  <a:lnTo>
                    <a:pt x="874" y="82"/>
                  </a:lnTo>
                  <a:lnTo>
                    <a:pt x="874" y="82"/>
                  </a:lnTo>
                  <a:lnTo>
                    <a:pt x="869" y="82"/>
                  </a:lnTo>
                  <a:lnTo>
                    <a:pt x="867" y="82"/>
                  </a:lnTo>
                  <a:lnTo>
                    <a:pt x="867" y="79"/>
                  </a:lnTo>
                  <a:lnTo>
                    <a:pt x="869" y="79"/>
                  </a:lnTo>
                  <a:lnTo>
                    <a:pt x="869" y="79"/>
                  </a:lnTo>
                  <a:lnTo>
                    <a:pt x="879" y="79"/>
                  </a:lnTo>
                  <a:lnTo>
                    <a:pt x="884" y="79"/>
                  </a:lnTo>
                  <a:lnTo>
                    <a:pt x="887" y="76"/>
                  </a:lnTo>
                  <a:lnTo>
                    <a:pt x="889" y="76"/>
                  </a:lnTo>
                  <a:lnTo>
                    <a:pt x="889" y="76"/>
                  </a:lnTo>
                  <a:lnTo>
                    <a:pt x="889" y="76"/>
                  </a:lnTo>
                  <a:lnTo>
                    <a:pt x="879" y="76"/>
                  </a:lnTo>
                  <a:lnTo>
                    <a:pt x="877" y="76"/>
                  </a:lnTo>
                  <a:lnTo>
                    <a:pt x="874" y="76"/>
                  </a:lnTo>
                  <a:lnTo>
                    <a:pt x="869" y="76"/>
                  </a:lnTo>
                  <a:lnTo>
                    <a:pt x="854" y="76"/>
                  </a:lnTo>
                  <a:lnTo>
                    <a:pt x="846" y="79"/>
                  </a:lnTo>
                  <a:lnTo>
                    <a:pt x="841" y="79"/>
                  </a:lnTo>
                  <a:lnTo>
                    <a:pt x="841" y="79"/>
                  </a:lnTo>
                  <a:lnTo>
                    <a:pt x="839" y="79"/>
                  </a:lnTo>
                  <a:lnTo>
                    <a:pt x="839" y="79"/>
                  </a:lnTo>
                  <a:lnTo>
                    <a:pt x="836" y="79"/>
                  </a:lnTo>
                  <a:lnTo>
                    <a:pt x="836" y="79"/>
                  </a:lnTo>
                  <a:lnTo>
                    <a:pt x="836" y="82"/>
                  </a:lnTo>
                  <a:lnTo>
                    <a:pt x="833" y="82"/>
                  </a:lnTo>
                  <a:lnTo>
                    <a:pt x="833" y="82"/>
                  </a:lnTo>
                  <a:lnTo>
                    <a:pt x="833" y="84"/>
                  </a:lnTo>
                  <a:lnTo>
                    <a:pt x="833" y="84"/>
                  </a:lnTo>
                  <a:lnTo>
                    <a:pt x="831" y="84"/>
                  </a:lnTo>
                  <a:lnTo>
                    <a:pt x="831" y="84"/>
                  </a:lnTo>
                  <a:close/>
                  <a:moveTo>
                    <a:pt x="851" y="71"/>
                  </a:moveTo>
                  <a:lnTo>
                    <a:pt x="859" y="71"/>
                  </a:lnTo>
                  <a:lnTo>
                    <a:pt x="867" y="71"/>
                  </a:lnTo>
                  <a:lnTo>
                    <a:pt x="869" y="71"/>
                  </a:lnTo>
                  <a:lnTo>
                    <a:pt x="872" y="71"/>
                  </a:lnTo>
                  <a:lnTo>
                    <a:pt x="872" y="71"/>
                  </a:lnTo>
                  <a:lnTo>
                    <a:pt x="874" y="71"/>
                  </a:lnTo>
                  <a:lnTo>
                    <a:pt x="877" y="71"/>
                  </a:lnTo>
                  <a:lnTo>
                    <a:pt x="879" y="71"/>
                  </a:lnTo>
                  <a:lnTo>
                    <a:pt x="879" y="71"/>
                  </a:lnTo>
                  <a:lnTo>
                    <a:pt x="882" y="71"/>
                  </a:lnTo>
                  <a:lnTo>
                    <a:pt x="882" y="71"/>
                  </a:lnTo>
                  <a:lnTo>
                    <a:pt x="884" y="71"/>
                  </a:lnTo>
                  <a:lnTo>
                    <a:pt x="887" y="71"/>
                  </a:lnTo>
                  <a:lnTo>
                    <a:pt x="892" y="71"/>
                  </a:lnTo>
                  <a:lnTo>
                    <a:pt x="895" y="71"/>
                  </a:lnTo>
                  <a:lnTo>
                    <a:pt x="897" y="71"/>
                  </a:lnTo>
                  <a:lnTo>
                    <a:pt x="900" y="71"/>
                  </a:lnTo>
                  <a:lnTo>
                    <a:pt x="902" y="71"/>
                  </a:lnTo>
                  <a:lnTo>
                    <a:pt x="902" y="71"/>
                  </a:lnTo>
                  <a:lnTo>
                    <a:pt x="902" y="69"/>
                  </a:lnTo>
                  <a:lnTo>
                    <a:pt x="905" y="69"/>
                  </a:lnTo>
                  <a:lnTo>
                    <a:pt x="905" y="69"/>
                  </a:lnTo>
                  <a:lnTo>
                    <a:pt x="905" y="66"/>
                  </a:lnTo>
                  <a:lnTo>
                    <a:pt x="905" y="66"/>
                  </a:lnTo>
                  <a:lnTo>
                    <a:pt x="902" y="66"/>
                  </a:lnTo>
                  <a:lnTo>
                    <a:pt x="902" y="66"/>
                  </a:lnTo>
                  <a:lnTo>
                    <a:pt x="902" y="66"/>
                  </a:lnTo>
                  <a:lnTo>
                    <a:pt x="900" y="66"/>
                  </a:lnTo>
                  <a:lnTo>
                    <a:pt x="897" y="64"/>
                  </a:lnTo>
                  <a:lnTo>
                    <a:pt x="895" y="64"/>
                  </a:lnTo>
                  <a:lnTo>
                    <a:pt x="892" y="66"/>
                  </a:lnTo>
                  <a:lnTo>
                    <a:pt x="887" y="66"/>
                  </a:lnTo>
                  <a:lnTo>
                    <a:pt x="882" y="66"/>
                  </a:lnTo>
                  <a:lnTo>
                    <a:pt x="879" y="66"/>
                  </a:lnTo>
                  <a:lnTo>
                    <a:pt x="877" y="69"/>
                  </a:lnTo>
                  <a:lnTo>
                    <a:pt x="869" y="69"/>
                  </a:lnTo>
                  <a:lnTo>
                    <a:pt x="861" y="69"/>
                  </a:lnTo>
                  <a:lnTo>
                    <a:pt x="859" y="69"/>
                  </a:lnTo>
                  <a:lnTo>
                    <a:pt x="854" y="71"/>
                  </a:lnTo>
                  <a:lnTo>
                    <a:pt x="851" y="71"/>
                  </a:lnTo>
                  <a:lnTo>
                    <a:pt x="849" y="71"/>
                  </a:lnTo>
                  <a:lnTo>
                    <a:pt x="849" y="71"/>
                  </a:lnTo>
                  <a:lnTo>
                    <a:pt x="849" y="71"/>
                  </a:lnTo>
                  <a:lnTo>
                    <a:pt x="851" y="71"/>
                  </a:lnTo>
                  <a:close/>
                  <a:moveTo>
                    <a:pt x="41" y="649"/>
                  </a:moveTo>
                  <a:lnTo>
                    <a:pt x="41" y="649"/>
                  </a:lnTo>
                  <a:lnTo>
                    <a:pt x="41" y="649"/>
                  </a:lnTo>
                  <a:lnTo>
                    <a:pt x="41" y="651"/>
                  </a:lnTo>
                  <a:lnTo>
                    <a:pt x="41" y="651"/>
                  </a:lnTo>
                  <a:lnTo>
                    <a:pt x="43" y="649"/>
                  </a:lnTo>
                  <a:lnTo>
                    <a:pt x="43" y="649"/>
                  </a:lnTo>
                  <a:lnTo>
                    <a:pt x="41" y="649"/>
                  </a:lnTo>
                  <a:close/>
                  <a:moveTo>
                    <a:pt x="803" y="115"/>
                  </a:moveTo>
                  <a:lnTo>
                    <a:pt x="800" y="115"/>
                  </a:lnTo>
                  <a:lnTo>
                    <a:pt x="800" y="115"/>
                  </a:lnTo>
                  <a:lnTo>
                    <a:pt x="803" y="115"/>
                  </a:lnTo>
                  <a:lnTo>
                    <a:pt x="805" y="112"/>
                  </a:lnTo>
                  <a:lnTo>
                    <a:pt x="805" y="112"/>
                  </a:lnTo>
                  <a:lnTo>
                    <a:pt x="803" y="109"/>
                  </a:lnTo>
                  <a:lnTo>
                    <a:pt x="803" y="107"/>
                  </a:lnTo>
                  <a:lnTo>
                    <a:pt x="800" y="107"/>
                  </a:lnTo>
                  <a:lnTo>
                    <a:pt x="798" y="107"/>
                  </a:lnTo>
                  <a:lnTo>
                    <a:pt x="795" y="107"/>
                  </a:lnTo>
                  <a:lnTo>
                    <a:pt x="788" y="107"/>
                  </a:lnTo>
                  <a:lnTo>
                    <a:pt x="785" y="107"/>
                  </a:lnTo>
                  <a:lnTo>
                    <a:pt x="785" y="107"/>
                  </a:lnTo>
                  <a:lnTo>
                    <a:pt x="788" y="104"/>
                  </a:lnTo>
                  <a:lnTo>
                    <a:pt x="788" y="104"/>
                  </a:lnTo>
                  <a:lnTo>
                    <a:pt x="788" y="104"/>
                  </a:lnTo>
                  <a:lnTo>
                    <a:pt x="788" y="104"/>
                  </a:lnTo>
                  <a:lnTo>
                    <a:pt x="788" y="104"/>
                  </a:lnTo>
                  <a:lnTo>
                    <a:pt x="788" y="102"/>
                  </a:lnTo>
                  <a:lnTo>
                    <a:pt x="785" y="102"/>
                  </a:lnTo>
                  <a:lnTo>
                    <a:pt x="782" y="102"/>
                  </a:lnTo>
                  <a:lnTo>
                    <a:pt x="780" y="102"/>
                  </a:lnTo>
                  <a:lnTo>
                    <a:pt x="770" y="104"/>
                  </a:lnTo>
                  <a:lnTo>
                    <a:pt x="765" y="104"/>
                  </a:lnTo>
                  <a:lnTo>
                    <a:pt x="765" y="104"/>
                  </a:lnTo>
                  <a:lnTo>
                    <a:pt x="762" y="107"/>
                  </a:lnTo>
                  <a:lnTo>
                    <a:pt x="762" y="107"/>
                  </a:lnTo>
                  <a:lnTo>
                    <a:pt x="762" y="107"/>
                  </a:lnTo>
                  <a:lnTo>
                    <a:pt x="765" y="107"/>
                  </a:lnTo>
                  <a:lnTo>
                    <a:pt x="772" y="107"/>
                  </a:lnTo>
                  <a:lnTo>
                    <a:pt x="772" y="107"/>
                  </a:lnTo>
                  <a:lnTo>
                    <a:pt x="772" y="109"/>
                  </a:lnTo>
                  <a:lnTo>
                    <a:pt x="772" y="109"/>
                  </a:lnTo>
                  <a:lnTo>
                    <a:pt x="760" y="107"/>
                  </a:lnTo>
                  <a:lnTo>
                    <a:pt x="757" y="107"/>
                  </a:lnTo>
                  <a:lnTo>
                    <a:pt x="754" y="107"/>
                  </a:lnTo>
                  <a:lnTo>
                    <a:pt x="749" y="109"/>
                  </a:lnTo>
                  <a:lnTo>
                    <a:pt x="747" y="109"/>
                  </a:lnTo>
                  <a:lnTo>
                    <a:pt x="747" y="109"/>
                  </a:lnTo>
                  <a:lnTo>
                    <a:pt x="747" y="112"/>
                  </a:lnTo>
                  <a:lnTo>
                    <a:pt x="744" y="112"/>
                  </a:lnTo>
                  <a:lnTo>
                    <a:pt x="742" y="112"/>
                  </a:lnTo>
                  <a:lnTo>
                    <a:pt x="742" y="112"/>
                  </a:lnTo>
                  <a:lnTo>
                    <a:pt x="744" y="112"/>
                  </a:lnTo>
                  <a:lnTo>
                    <a:pt x="744" y="115"/>
                  </a:lnTo>
                  <a:lnTo>
                    <a:pt x="754" y="112"/>
                  </a:lnTo>
                  <a:lnTo>
                    <a:pt x="765" y="112"/>
                  </a:lnTo>
                  <a:lnTo>
                    <a:pt x="760" y="115"/>
                  </a:lnTo>
                  <a:lnTo>
                    <a:pt x="754" y="115"/>
                  </a:lnTo>
                  <a:lnTo>
                    <a:pt x="752" y="115"/>
                  </a:lnTo>
                  <a:lnTo>
                    <a:pt x="742" y="115"/>
                  </a:lnTo>
                  <a:lnTo>
                    <a:pt x="737" y="115"/>
                  </a:lnTo>
                  <a:lnTo>
                    <a:pt x="734" y="115"/>
                  </a:lnTo>
                  <a:lnTo>
                    <a:pt x="731" y="117"/>
                  </a:lnTo>
                  <a:lnTo>
                    <a:pt x="729" y="117"/>
                  </a:lnTo>
                  <a:lnTo>
                    <a:pt x="726" y="117"/>
                  </a:lnTo>
                  <a:lnTo>
                    <a:pt x="729" y="117"/>
                  </a:lnTo>
                  <a:lnTo>
                    <a:pt x="737" y="120"/>
                  </a:lnTo>
                  <a:lnTo>
                    <a:pt x="742" y="117"/>
                  </a:lnTo>
                  <a:lnTo>
                    <a:pt x="757" y="117"/>
                  </a:lnTo>
                  <a:lnTo>
                    <a:pt x="757" y="117"/>
                  </a:lnTo>
                  <a:lnTo>
                    <a:pt x="757" y="117"/>
                  </a:lnTo>
                  <a:lnTo>
                    <a:pt x="754" y="117"/>
                  </a:lnTo>
                  <a:lnTo>
                    <a:pt x="752" y="117"/>
                  </a:lnTo>
                  <a:lnTo>
                    <a:pt x="739" y="120"/>
                  </a:lnTo>
                  <a:lnTo>
                    <a:pt x="737" y="120"/>
                  </a:lnTo>
                  <a:lnTo>
                    <a:pt x="726" y="120"/>
                  </a:lnTo>
                  <a:lnTo>
                    <a:pt x="724" y="120"/>
                  </a:lnTo>
                  <a:lnTo>
                    <a:pt x="721" y="120"/>
                  </a:lnTo>
                  <a:lnTo>
                    <a:pt x="721" y="122"/>
                  </a:lnTo>
                  <a:lnTo>
                    <a:pt x="719" y="122"/>
                  </a:lnTo>
                  <a:lnTo>
                    <a:pt x="716" y="122"/>
                  </a:lnTo>
                  <a:lnTo>
                    <a:pt x="714" y="122"/>
                  </a:lnTo>
                  <a:lnTo>
                    <a:pt x="714" y="125"/>
                  </a:lnTo>
                  <a:lnTo>
                    <a:pt x="711" y="125"/>
                  </a:lnTo>
                  <a:lnTo>
                    <a:pt x="711" y="125"/>
                  </a:lnTo>
                  <a:lnTo>
                    <a:pt x="711" y="125"/>
                  </a:lnTo>
                  <a:lnTo>
                    <a:pt x="716" y="127"/>
                  </a:lnTo>
                  <a:lnTo>
                    <a:pt x="719" y="127"/>
                  </a:lnTo>
                  <a:lnTo>
                    <a:pt x="724" y="125"/>
                  </a:lnTo>
                  <a:lnTo>
                    <a:pt x="726" y="127"/>
                  </a:lnTo>
                  <a:lnTo>
                    <a:pt x="729" y="130"/>
                  </a:lnTo>
                  <a:lnTo>
                    <a:pt x="731" y="130"/>
                  </a:lnTo>
                  <a:lnTo>
                    <a:pt x="731" y="130"/>
                  </a:lnTo>
                  <a:lnTo>
                    <a:pt x="734" y="127"/>
                  </a:lnTo>
                  <a:lnTo>
                    <a:pt x="734" y="127"/>
                  </a:lnTo>
                  <a:lnTo>
                    <a:pt x="737" y="127"/>
                  </a:lnTo>
                  <a:lnTo>
                    <a:pt x="737" y="127"/>
                  </a:lnTo>
                  <a:lnTo>
                    <a:pt x="739" y="127"/>
                  </a:lnTo>
                  <a:lnTo>
                    <a:pt x="739" y="127"/>
                  </a:lnTo>
                  <a:lnTo>
                    <a:pt x="739" y="127"/>
                  </a:lnTo>
                  <a:lnTo>
                    <a:pt x="739" y="130"/>
                  </a:lnTo>
                  <a:lnTo>
                    <a:pt x="739" y="130"/>
                  </a:lnTo>
                  <a:lnTo>
                    <a:pt x="739" y="130"/>
                  </a:lnTo>
                  <a:lnTo>
                    <a:pt x="742" y="130"/>
                  </a:lnTo>
                  <a:lnTo>
                    <a:pt x="749" y="127"/>
                  </a:lnTo>
                  <a:lnTo>
                    <a:pt x="752" y="127"/>
                  </a:lnTo>
                  <a:lnTo>
                    <a:pt x="754" y="125"/>
                  </a:lnTo>
                  <a:lnTo>
                    <a:pt x="754" y="125"/>
                  </a:lnTo>
                  <a:lnTo>
                    <a:pt x="754" y="125"/>
                  </a:lnTo>
                  <a:lnTo>
                    <a:pt x="754" y="125"/>
                  </a:lnTo>
                  <a:lnTo>
                    <a:pt x="754" y="125"/>
                  </a:lnTo>
                  <a:lnTo>
                    <a:pt x="757" y="125"/>
                  </a:lnTo>
                  <a:lnTo>
                    <a:pt x="757" y="125"/>
                  </a:lnTo>
                  <a:lnTo>
                    <a:pt x="760" y="125"/>
                  </a:lnTo>
                  <a:lnTo>
                    <a:pt x="762" y="122"/>
                  </a:lnTo>
                  <a:lnTo>
                    <a:pt x="765" y="122"/>
                  </a:lnTo>
                  <a:lnTo>
                    <a:pt x="765" y="122"/>
                  </a:lnTo>
                  <a:lnTo>
                    <a:pt x="765" y="122"/>
                  </a:lnTo>
                  <a:lnTo>
                    <a:pt x="765" y="122"/>
                  </a:lnTo>
                  <a:lnTo>
                    <a:pt x="765" y="122"/>
                  </a:lnTo>
                  <a:lnTo>
                    <a:pt x="770" y="122"/>
                  </a:lnTo>
                  <a:lnTo>
                    <a:pt x="772" y="122"/>
                  </a:lnTo>
                  <a:lnTo>
                    <a:pt x="770" y="122"/>
                  </a:lnTo>
                  <a:lnTo>
                    <a:pt x="765" y="122"/>
                  </a:lnTo>
                  <a:lnTo>
                    <a:pt x="765" y="125"/>
                  </a:lnTo>
                  <a:lnTo>
                    <a:pt x="762" y="125"/>
                  </a:lnTo>
                  <a:lnTo>
                    <a:pt x="762" y="125"/>
                  </a:lnTo>
                  <a:lnTo>
                    <a:pt x="760" y="125"/>
                  </a:lnTo>
                  <a:lnTo>
                    <a:pt x="760" y="127"/>
                  </a:lnTo>
                  <a:lnTo>
                    <a:pt x="760" y="127"/>
                  </a:lnTo>
                  <a:lnTo>
                    <a:pt x="760" y="127"/>
                  </a:lnTo>
                  <a:lnTo>
                    <a:pt x="760" y="127"/>
                  </a:lnTo>
                  <a:lnTo>
                    <a:pt x="765" y="127"/>
                  </a:lnTo>
                  <a:lnTo>
                    <a:pt x="770" y="127"/>
                  </a:lnTo>
                  <a:lnTo>
                    <a:pt x="772" y="127"/>
                  </a:lnTo>
                  <a:lnTo>
                    <a:pt x="775" y="127"/>
                  </a:lnTo>
                  <a:lnTo>
                    <a:pt x="777" y="125"/>
                  </a:lnTo>
                  <a:lnTo>
                    <a:pt x="777" y="125"/>
                  </a:lnTo>
                  <a:lnTo>
                    <a:pt x="777" y="125"/>
                  </a:lnTo>
                  <a:lnTo>
                    <a:pt x="780" y="125"/>
                  </a:lnTo>
                  <a:lnTo>
                    <a:pt x="780" y="127"/>
                  </a:lnTo>
                  <a:lnTo>
                    <a:pt x="782" y="127"/>
                  </a:lnTo>
                  <a:lnTo>
                    <a:pt x="785" y="127"/>
                  </a:lnTo>
                  <a:lnTo>
                    <a:pt x="788" y="125"/>
                  </a:lnTo>
                  <a:lnTo>
                    <a:pt x="790" y="125"/>
                  </a:lnTo>
                  <a:lnTo>
                    <a:pt x="793" y="125"/>
                  </a:lnTo>
                  <a:lnTo>
                    <a:pt x="798" y="125"/>
                  </a:lnTo>
                  <a:lnTo>
                    <a:pt x="800" y="125"/>
                  </a:lnTo>
                  <a:lnTo>
                    <a:pt x="800" y="125"/>
                  </a:lnTo>
                  <a:lnTo>
                    <a:pt x="798" y="125"/>
                  </a:lnTo>
                  <a:lnTo>
                    <a:pt x="795" y="127"/>
                  </a:lnTo>
                  <a:lnTo>
                    <a:pt x="790" y="127"/>
                  </a:lnTo>
                  <a:lnTo>
                    <a:pt x="785" y="127"/>
                  </a:lnTo>
                  <a:lnTo>
                    <a:pt x="785" y="130"/>
                  </a:lnTo>
                  <a:lnTo>
                    <a:pt x="782" y="130"/>
                  </a:lnTo>
                  <a:lnTo>
                    <a:pt x="780" y="130"/>
                  </a:lnTo>
                  <a:lnTo>
                    <a:pt x="772" y="130"/>
                  </a:lnTo>
                  <a:lnTo>
                    <a:pt x="770" y="130"/>
                  </a:lnTo>
                  <a:lnTo>
                    <a:pt x="760" y="130"/>
                  </a:lnTo>
                  <a:lnTo>
                    <a:pt x="752" y="132"/>
                  </a:lnTo>
                  <a:lnTo>
                    <a:pt x="747" y="132"/>
                  </a:lnTo>
                  <a:lnTo>
                    <a:pt x="742" y="135"/>
                  </a:lnTo>
                  <a:lnTo>
                    <a:pt x="742" y="135"/>
                  </a:lnTo>
                  <a:lnTo>
                    <a:pt x="742" y="135"/>
                  </a:lnTo>
                  <a:lnTo>
                    <a:pt x="742" y="137"/>
                  </a:lnTo>
                  <a:lnTo>
                    <a:pt x="744" y="137"/>
                  </a:lnTo>
                  <a:lnTo>
                    <a:pt x="744" y="137"/>
                  </a:lnTo>
                  <a:lnTo>
                    <a:pt x="747" y="140"/>
                  </a:lnTo>
                  <a:lnTo>
                    <a:pt x="752" y="140"/>
                  </a:lnTo>
                  <a:lnTo>
                    <a:pt x="760" y="140"/>
                  </a:lnTo>
                  <a:lnTo>
                    <a:pt x="772" y="137"/>
                  </a:lnTo>
                  <a:lnTo>
                    <a:pt x="780" y="137"/>
                  </a:lnTo>
                  <a:lnTo>
                    <a:pt x="788" y="135"/>
                  </a:lnTo>
                  <a:lnTo>
                    <a:pt x="790" y="135"/>
                  </a:lnTo>
                  <a:lnTo>
                    <a:pt x="793" y="132"/>
                  </a:lnTo>
                  <a:lnTo>
                    <a:pt x="795" y="132"/>
                  </a:lnTo>
                  <a:lnTo>
                    <a:pt x="798" y="132"/>
                  </a:lnTo>
                  <a:lnTo>
                    <a:pt x="803" y="132"/>
                  </a:lnTo>
                  <a:lnTo>
                    <a:pt x="813" y="130"/>
                  </a:lnTo>
                  <a:lnTo>
                    <a:pt x="821" y="130"/>
                  </a:lnTo>
                  <a:lnTo>
                    <a:pt x="826" y="127"/>
                  </a:lnTo>
                  <a:lnTo>
                    <a:pt x="828" y="127"/>
                  </a:lnTo>
                  <a:lnTo>
                    <a:pt x="828" y="127"/>
                  </a:lnTo>
                  <a:lnTo>
                    <a:pt x="826" y="130"/>
                  </a:lnTo>
                  <a:lnTo>
                    <a:pt x="826" y="130"/>
                  </a:lnTo>
                  <a:lnTo>
                    <a:pt x="826" y="130"/>
                  </a:lnTo>
                  <a:lnTo>
                    <a:pt x="828" y="130"/>
                  </a:lnTo>
                  <a:lnTo>
                    <a:pt x="828" y="130"/>
                  </a:lnTo>
                  <a:lnTo>
                    <a:pt x="831" y="130"/>
                  </a:lnTo>
                  <a:lnTo>
                    <a:pt x="833" y="130"/>
                  </a:lnTo>
                  <a:lnTo>
                    <a:pt x="839" y="130"/>
                  </a:lnTo>
                  <a:lnTo>
                    <a:pt x="841" y="130"/>
                  </a:lnTo>
                  <a:lnTo>
                    <a:pt x="846" y="130"/>
                  </a:lnTo>
                  <a:lnTo>
                    <a:pt x="846" y="130"/>
                  </a:lnTo>
                  <a:lnTo>
                    <a:pt x="849" y="130"/>
                  </a:lnTo>
                  <a:lnTo>
                    <a:pt x="854" y="130"/>
                  </a:lnTo>
                  <a:lnTo>
                    <a:pt x="864" y="127"/>
                  </a:lnTo>
                  <a:lnTo>
                    <a:pt x="867" y="127"/>
                  </a:lnTo>
                  <a:lnTo>
                    <a:pt x="869" y="125"/>
                  </a:lnTo>
                  <a:lnTo>
                    <a:pt x="877" y="122"/>
                  </a:lnTo>
                  <a:lnTo>
                    <a:pt x="879" y="120"/>
                  </a:lnTo>
                  <a:lnTo>
                    <a:pt x="884" y="117"/>
                  </a:lnTo>
                  <a:lnTo>
                    <a:pt x="887" y="117"/>
                  </a:lnTo>
                  <a:lnTo>
                    <a:pt x="887" y="115"/>
                  </a:lnTo>
                  <a:lnTo>
                    <a:pt x="889" y="115"/>
                  </a:lnTo>
                  <a:lnTo>
                    <a:pt x="889" y="112"/>
                  </a:lnTo>
                  <a:lnTo>
                    <a:pt x="889" y="112"/>
                  </a:lnTo>
                  <a:lnTo>
                    <a:pt x="889" y="112"/>
                  </a:lnTo>
                  <a:lnTo>
                    <a:pt x="887" y="112"/>
                  </a:lnTo>
                  <a:lnTo>
                    <a:pt x="882" y="109"/>
                  </a:lnTo>
                  <a:lnTo>
                    <a:pt x="879" y="109"/>
                  </a:lnTo>
                  <a:lnTo>
                    <a:pt x="877" y="112"/>
                  </a:lnTo>
                  <a:lnTo>
                    <a:pt x="874" y="112"/>
                  </a:lnTo>
                  <a:lnTo>
                    <a:pt x="874" y="112"/>
                  </a:lnTo>
                  <a:lnTo>
                    <a:pt x="872" y="112"/>
                  </a:lnTo>
                  <a:lnTo>
                    <a:pt x="872" y="115"/>
                  </a:lnTo>
                  <a:lnTo>
                    <a:pt x="872" y="115"/>
                  </a:lnTo>
                  <a:lnTo>
                    <a:pt x="872" y="115"/>
                  </a:lnTo>
                  <a:lnTo>
                    <a:pt x="872" y="115"/>
                  </a:lnTo>
                  <a:lnTo>
                    <a:pt x="869" y="115"/>
                  </a:lnTo>
                  <a:lnTo>
                    <a:pt x="867" y="115"/>
                  </a:lnTo>
                  <a:lnTo>
                    <a:pt x="867" y="117"/>
                  </a:lnTo>
                  <a:lnTo>
                    <a:pt x="867" y="117"/>
                  </a:lnTo>
                  <a:lnTo>
                    <a:pt x="867" y="115"/>
                  </a:lnTo>
                  <a:lnTo>
                    <a:pt x="869" y="115"/>
                  </a:lnTo>
                  <a:lnTo>
                    <a:pt x="869" y="115"/>
                  </a:lnTo>
                  <a:lnTo>
                    <a:pt x="869" y="115"/>
                  </a:lnTo>
                  <a:lnTo>
                    <a:pt x="867" y="112"/>
                  </a:lnTo>
                  <a:lnTo>
                    <a:pt x="864" y="112"/>
                  </a:lnTo>
                  <a:lnTo>
                    <a:pt x="864" y="112"/>
                  </a:lnTo>
                  <a:lnTo>
                    <a:pt x="861" y="115"/>
                  </a:lnTo>
                  <a:lnTo>
                    <a:pt x="856" y="115"/>
                  </a:lnTo>
                  <a:lnTo>
                    <a:pt x="854" y="115"/>
                  </a:lnTo>
                  <a:lnTo>
                    <a:pt x="854" y="115"/>
                  </a:lnTo>
                  <a:lnTo>
                    <a:pt x="856" y="115"/>
                  </a:lnTo>
                  <a:lnTo>
                    <a:pt x="861" y="112"/>
                  </a:lnTo>
                  <a:lnTo>
                    <a:pt x="861" y="112"/>
                  </a:lnTo>
                  <a:lnTo>
                    <a:pt x="861" y="112"/>
                  </a:lnTo>
                  <a:lnTo>
                    <a:pt x="864" y="112"/>
                  </a:lnTo>
                  <a:lnTo>
                    <a:pt x="864" y="109"/>
                  </a:lnTo>
                  <a:lnTo>
                    <a:pt x="861" y="109"/>
                  </a:lnTo>
                  <a:lnTo>
                    <a:pt x="861" y="109"/>
                  </a:lnTo>
                  <a:lnTo>
                    <a:pt x="859" y="109"/>
                  </a:lnTo>
                  <a:lnTo>
                    <a:pt x="856" y="109"/>
                  </a:lnTo>
                  <a:lnTo>
                    <a:pt x="856" y="109"/>
                  </a:lnTo>
                  <a:lnTo>
                    <a:pt x="856" y="109"/>
                  </a:lnTo>
                  <a:lnTo>
                    <a:pt x="856" y="109"/>
                  </a:lnTo>
                  <a:lnTo>
                    <a:pt x="859" y="109"/>
                  </a:lnTo>
                  <a:lnTo>
                    <a:pt x="861" y="107"/>
                  </a:lnTo>
                  <a:lnTo>
                    <a:pt x="864" y="107"/>
                  </a:lnTo>
                  <a:lnTo>
                    <a:pt x="864" y="104"/>
                  </a:lnTo>
                  <a:lnTo>
                    <a:pt x="864" y="104"/>
                  </a:lnTo>
                  <a:lnTo>
                    <a:pt x="864" y="104"/>
                  </a:lnTo>
                  <a:lnTo>
                    <a:pt x="864" y="104"/>
                  </a:lnTo>
                  <a:lnTo>
                    <a:pt x="864" y="102"/>
                  </a:lnTo>
                  <a:lnTo>
                    <a:pt x="864" y="102"/>
                  </a:lnTo>
                  <a:lnTo>
                    <a:pt x="867" y="102"/>
                  </a:lnTo>
                  <a:lnTo>
                    <a:pt x="867" y="102"/>
                  </a:lnTo>
                  <a:lnTo>
                    <a:pt x="867" y="99"/>
                  </a:lnTo>
                  <a:lnTo>
                    <a:pt x="869" y="99"/>
                  </a:lnTo>
                  <a:lnTo>
                    <a:pt x="872" y="99"/>
                  </a:lnTo>
                  <a:lnTo>
                    <a:pt x="872" y="99"/>
                  </a:lnTo>
                  <a:lnTo>
                    <a:pt x="872" y="99"/>
                  </a:lnTo>
                  <a:lnTo>
                    <a:pt x="872" y="99"/>
                  </a:lnTo>
                  <a:lnTo>
                    <a:pt x="869" y="97"/>
                  </a:lnTo>
                  <a:lnTo>
                    <a:pt x="864" y="97"/>
                  </a:lnTo>
                  <a:lnTo>
                    <a:pt x="864" y="97"/>
                  </a:lnTo>
                  <a:lnTo>
                    <a:pt x="861" y="99"/>
                  </a:lnTo>
                  <a:lnTo>
                    <a:pt x="856" y="99"/>
                  </a:lnTo>
                  <a:lnTo>
                    <a:pt x="849" y="102"/>
                  </a:lnTo>
                  <a:lnTo>
                    <a:pt x="846" y="102"/>
                  </a:lnTo>
                  <a:lnTo>
                    <a:pt x="839" y="104"/>
                  </a:lnTo>
                  <a:lnTo>
                    <a:pt x="839" y="104"/>
                  </a:lnTo>
                  <a:lnTo>
                    <a:pt x="839" y="104"/>
                  </a:lnTo>
                  <a:lnTo>
                    <a:pt x="836" y="104"/>
                  </a:lnTo>
                  <a:lnTo>
                    <a:pt x="836" y="107"/>
                  </a:lnTo>
                  <a:lnTo>
                    <a:pt x="836" y="107"/>
                  </a:lnTo>
                  <a:lnTo>
                    <a:pt x="839" y="107"/>
                  </a:lnTo>
                  <a:lnTo>
                    <a:pt x="841" y="107"/>
                  </a:lnTo>
                  <a:lnTo>
                    <a:pt x="844" y="109"/>
                  </a:lnTo>
                  <a:lnTo>
                    <a:pt x="844" y="109"/>
                  </a:lnTo>
                  <a:lnTo>
                    <a:pt x="841" y="109"/>
                  </a:lnTo>
                  <a:lnTo>
                    <a:pt x="841" y="109"/>
                  </a:lnTo>
                  <a:lnTo>
                    <a:pt x="841" y="112"/>
                  </a:lnTo>
                  <a:lnTo>
                    <a:pt x="833" y="112"/>
                  </a:lnTo>
                  <a:lnTo>
                    <a:pt x="831" y="115"/>
                  </a:lnTo>
                  <a:lnTo>
                    <a:pt x="839" y="117"/>
                  </a:lnTo>
                  <a:lnTo>
                    <a:pt x="839" y="117"/>
                  </a:lnTo>
                  <a:lnTo>
                    <a:pt x="839" y="117"/>
                  </a:lnTo>
                  <a:lnTo>
                    <a:pt x="836" y="120"/>
                  </a:lnTo>
                  <a:lnTo>
                    <a:pt x="836" y="120"/>
                  </a:lnTo>
                  <a:lnTo>
                    <a:pt x="833" y="120"/>
                  </a:lnTo>
                  <a:lnTo>
                    <a:pt x="833" y="120"/>
                  </a:lnTo>
                  <a:lnTo>
                    <a:pt x="816" y="120"/>
                  </a:lnTo>
                  <a:lnTo>
                    <a:pt x="813" y="120"/>
                  </a:lnTo>
                  <a:lnTo>
                    <a:pt x="810" y="120"/>
                  </a:lnTo>
                  <a:lnTo>
                    <a:pt x="808" y="120"/>
                  </a:lnTo>
                  <a:lnTo>
                    <a:pt x="805" y="120"/>
                  </a:lnTo>
                  <a:lnTo>
                    <a:pt x="805" y="117"/>
                  </a:lnTo>
                  <a:lnTo>
                    <a:pt x="805" y="117"/>
                  </a:lnTo>
                  <a:lnTo>
                    <a:pt x="808" y="115"/>
                  </a:lnTo>
                  <a:lnTo>
                    <a:pt x="808" y="115"/>
                  </a:lnTo>
                  <a:lnTo>
                    <a:pt x="808" y="115"/>
                  </a:lnTo>
                  <a:lnTo>
                    <a:pt x="805" y="115"/>
                  </a:lnTo>
                  <a:lnTo>
                    <a:pt x="803" y="115"/>
                  </a:lnTo>
                  <a:close/>
                  <a:moveTo>
                    <a:pt x="56" y="568"/>
                  </a:moveTo>
                  <a:lnTo>
                    <a:pt x="56" y="568"/>
                  </a:lnTo>
                  <a:lnTo>
                    <a:pt x="59" y="562"/>
                  </a:lnTo>
                  <a:lnTo>
                    <a:pt x="59" y="562"/>
                  </a:lnTo>
                  <a:lnTo>
                    <a:pt x="59" y="562"/>
                  </a:lnTo>
                  <a:lnTo>
                    <a:pt x="59" y="562"/>
                  </a:lnTo>
                  <a:lnTo>
                    <a:pt x="59" y="562"/>
                  </a:lnTo>
                  <a:lnTo>
                    <a:pt x="56" y="565"/>
                  </a:lnTo>
                  <a:lnTo>
                    <a:pt x="54" y="565"/>
                  </a:lnTo>
                  <a:lnTo>
                    <a:pt x="54" y="565"/>
                  </a:lnTo>
                  <a:lnTo>
                    <a:pt x="54" y="568"/>
                  </a:lnTo>
                  <a:lnTo>
                    <a:pt x="54" y="568"/>
                  </a:lnTo>
                  <a:lnTo>
                    <a:pt x="56" y="568"/>
                  </a:lnTo>
                  <a:close/>
                  <a:moveTo>
                    <a:pt x="82" y="654"/>
                  </a:moveTo>
                  <a:lnTo>
                    <a:pt x="82" y="657"/>
                  </a:lnTo>
                  <a:lnTo>
                    <a:pt x="82" y="659"/>
                  </a:lnTo>
                  <a:lnTo>
                    <a:pt x="82" y="659"/>
                  </a:lnTo>
                  <a:lnTo>
                    <a:pt x="84" y="659"/>
                  </a:lnTo>
                  <a:lnTo>
                    <a:pt x="84" y="659"/>
                  </a:lnTo>
                  <a:lnTo>
                    <a:pt x="82" y="657"/>
                  </a:lnTo>
                  <a:lnTo>
                    <a:pt x="82" y="654"/>
                  </a:lnTo>
                  <a:close/>
                  <a:moveTo>
                    <a:pt x="74" y="639"/>
                  </a:moveTo>
                  <a:lnTo>
                    <a:pt x="74" y="641"/>
                  </a:lnTo>
                  <a:lnTo>
                    <a:pt x="77" y="641"/>
                  </a:lnTo>
                  <a:lnTo>
                    <a:pt x="77" y="641"/>
                  </a:lnTo>
                  <a:lnTo>
                    <a:pt x="77" y="644"/>
                  </a:lnTo>
                  <a:lnTo>
                    <a:pt x="77" y="644"/>
                  </a:lnTo>
                  <a:lnTo>
                    <a:pt x="79" y="646"/>
                  </a:lnTo>
                  <a:lnTo>
                    <a:pt x="79" y="644"/>
                  </a:lnTo>
                  <a:lnTo>
                    <a:pt x="79" y="641"/>
                  </a:lnTo>
                  <a:lnTo>
                    <a:pt x="79" y="641"/>
                  </a:lnTo>
                  <a:lnTo>
                    <a:pt x="77" y="639"/>
                  </a:lnTo>
                  <a:lnTo>
                    <a:pt x="77" y="639"/>
                  </a:lnTo>
                  <a:lnTo>
                    <a:pt x="74" y="639"/>
                  </a:lnTo>
                  <a:close/>
                  <a:moveTo>
                    <a:pt x="77" y="626"/>
                  </a:moveTo>
                  <a:lnTo>
                    <a:pt x="74" y="626"/>
                  </a:lnTo>
                  <a:lnTo>
                    <a:pt x="74" y="626"/>
                  </a:lnTo>
                  <a:lnTo>
                    <a:pt x="71" y="629"/>
                  </a:lnTo>
                  <a:lnTo>
                    <a:pt x="71" y="631"/>
                  </a:lnTo>
                  <a:lnTo>
                    <a:pt x="71" y="634"/>
                  </a:lnTo>
                  <a:lnTo>
                    <a:pt x="71" y="634"/>
                  </a:lnTo>
                  <a:lnTo>
                    <a:pt x="74" y="631"/>
                  </a:lnTo>
                  <a:lnTo>
                    <a:pt x="74" y="629"/>
                  </a:lnTo>
                  <a:lnTo>
                    <a:pt x="77" y="629"/>
                  </a:lnTo>
                  <a:lnTo>
                    <a:pt x="77" y="629"/>
                  </a:lnTo>
                  <a:lnTo>
                    <a:pt x="77" y="626"/>
                  </a:lnTo>
                  <a:lnTo>
                    <a:pt x="77" y="626"/>
                  </a:lnTo>
                  <a:lnTo>
                    <a:pt x="77" y="626"/>
                  </a:lnTo>
                  <a:close/>
                  <a:moveTo>
                    <a:pt x="77" y="631"/>
                  </a:moveTo>
                  <a:lnTo>
                    <a:pt x="77" y="631"/>
                  </a:lnTo>
                  <a:lnTo>
                    <a:pt x="74" y="631"/>
                  </a:lnTo>
                  <a:lnTo>
                    <a:pt x="74" y="634"/>
                  </a:lnTo>
                  <a:lnTo>
                    <a:pt x="74" y="634"/>
                  </a:lnTo>
                  <a:lnTo>
                    <a:pt x="77" y="634"/>
                  </a:lnTo>
                  <a:lnTo>
                    <a:pt x="77" y="634"/>
                  </a:lnTo>
                  <a:lnTo>
                    <a:pt x="77" y="631"/>
                  </a:lnTo>
                  <a:lnTo>
                    <a:pt x="77" y="631"/>
                  </a:lnTo>
                  <a:lnTo>
                    <a:pt x="77" y="629"/>
                  </a:lnTo>
                  <a:lnTo>
                    <a:pt x="77" y="631"/>
                  </a:lnTo>
                  <a:close/>
                  <a:moveTo>
                    <a:pt x="726" y="817"/>
                  </a:moveTo>
                  <a:lnTo>
                    <a:pt x="726" y="819"/>
                  </a:lnTo>
                  <a:lnTo>
                    <a:pt x="726" y="819"/>
                  </a:lnTo>
                  <a:lnTo>
                    <a:pt x="726" y="819"/>
                  </a:lnTo>
                  <a:lnTo>
                    <a:pt x="726" y="819"/>
                  </a:lnTo>
                  <a:lnTo>
                    <a:pt x="726" y="817"/>
                  </a:lnTo>
                  <a:lnTo>
                    <a:pt x="726" y="817"/>
                  </a:lnTo>
                  <a:lnTo>
                    <a:pt x="726" y="817"/>
                  </a:lnTo>
                  <a:close/>
                  <a:moveTo>
                    <a:pt x="48" y="573"/>
                  </a:moveTo>
                  <a:lnTo>
                    <a:pt x="48" y="573"/>
                  </a:lnTo>
                  <a:lnTo>
                    <a:pt x="48" y="573"/>
                  </a:lnTo>
                  <a:lnTo>
                    <a:pt x="48" y="575"/>
                  </a:lnTo>
                  <a:lnTo>
                    <a:pt x="48" y="575"/>
                  </a:lnTo>
                  <a:lnTo>
                    <a:pt x="46" y="578"/>
                  </a:lnTo>
                  <a:lnTo>
                    <a:pt x="48" y="578"/>
                  </a:lnTo>
                  <a:lnTo>
                    <a:pt x="48" y="580"/>
                  </a:lnTo>
                  <a:lnTo>
                    <a:pt x="48" y="580"/>
                  </a:lnTo>
                  <a:lnTo>
                    <a:pt x="51" y="578"/>
                  </a:lnTo>
                  <a:lnTo>
                    <a:pt x="51" y="575"/>
                  </a:lnTo>
                  <a:lnTo>
                    <a:pt x="51" y="573"/>
                  </a:lnTo>
                  <a:lnTo>
                    <a:pt x="48" y="573"/>
                  </a:lnTo>
                  <a:close/>
                  <a:moveTo>
                    <a:pt x="709" y="659"/>
                  </a:moveTo>
                  <a:lnTo>
                    <a:pt x="709" y="659"/>
                  </a:lnTo>
                  <a:lnTo>
                    <a:pt x="706" y="659"/>
                  </a:lnTo>
                  <a:lnTo>
                    <a:pt x="706" y="659"/>
                  </a:lnTo>
                  <a:lnTo>
                    <a:pt x="703" y="659"/>
                  </a:lnTo>
                  <a:lnTo>
                    <a:pt x="703" y="662"/>
                  </a:lnTo>
                  <a:lnTo>
                    <a:pt x="701" y="662"/>
                  </a:lnTo>
                  <a:lnTo>
                    <a:pt x="703" y="664"/>
                  </a:lnTo>
                  <a:lnTo>
                    <a:pt x="703" y="662"/>
                  </a:lnTo>
                  <a:lnTo>
                    <a:pt x="703" y="662"/>
                  </a:lnTo>
                  <a:lnTo>
                    <a:pt x="706" y="662"/>
                  </a:lnTo>
                  <a:lnTo>
                    <a:pt x="706" y="662"/>
                  </a:lnTo>
                  <a:lnTo>
                    <a:pt x="706" y="662"/>
                  </a:lnTo>
                  <a:lnTo>
                    <a:pt x="709" y="662"/>
                  </a:lnTo>
                  <a:lnTo>
                    <a:pt x="709" y="662"/>
                  </a:lnTo>
                  <a:lnTo>
                    <a:pt x="709" y="662"/>
                  </a:lnTo>
                  <a:lnTo>
                    <a:pt x="709" y="659"/>
                  </a:lnTo>
                  <a:close/>
                  <a:moveTo>
                    <a:pt x="856" y="766"/>
                  </a:moveTo>
                  <a:lnTo>
                    <a:pt x="856" y="766"/>
                  </a:lnTo>
                  <a:lnTo>
                    <a:pt x="856" y="766"/>
                  </a:lnTo>
                  <a:lnTo>
                    <a:pt x="856" y="766"/>
                  </a:lnTo>
                  <a:lnTo>
                    <a:pt x="859" y="766"/>
                  </a:lnTo>
                  <a:lnTo>
                    <a:pt x="859" y="766"/>
                  </a:lnTo>
                  <a:lnTo>
                    <a:pt x="859" y="766"/>
                  </a:lnTo>
                  <a:lnTo>
                    <a:pt x="856" y="766"/>
                  </a:lnTo>
                  <a:lnTo>
                    <a:pt x="856" y="766"/>
                  </a:lnTo>
                  <a:close/>
                  <a:moveTo>
                    <a:pt x="711" y="659"/>
                  </a:moveTo>
                  <a:lnTo>
                    <a:pt x="709" y="659"/>
                  </a:lnTo>
                  <a:lnTo>
                    <a:pt x="709" y="659"/>
                  </a:lnTo>
                  <a:lnTo>
                    <a:pt x="709" y="662"/>
                  </a:lnTo>
                  <a:lnTo>
                    <a:pt x="709" y="662"/>
                  </a:lnTo>
                  <a:lnTo>
                    <a:pt x="709" y="662"/>
                  </a:lnTo>
                  <a:lnTo>
                    <a:pt x="709" y="662"/>
                  </a:lnTo>
                  <a:lnTo>
                    <a:pt x="709" y="662"/>
                  </a:lnTo>
                  <a:lnTo>
                    <a:pt x="709" y="662"/>
                  </a:lnTo>
                  <a:lnTo>
                    <a:pt x="711" y="662"/>
                  </a:lnTo>
                  <a:lnTo>
                    <a:pt x="711" y="662"/>
                  </a:lnTo>
                  <a:lnTo>
                    <a:pt x="711" y="662"/>
                  </a:lnTo>
                  <a:lnTo>
                    <a:pt x="711" y="659"/>
                  </a:lnTo>
                  <a:close/>
                  <a:moveTo>
                    <a:pt x="48" y="547"/>
                  </a:moveTo>
                  <a:lnTo>
                    <a:pt x="46" y="550"/>
                  </a:lnTo>
                  <a:lnTo>
                    <a:pt x="46" y="550"/>
                  </a:lnTo>
                  <a:lnTo>
                    <a:pt x="46" y="550"/>
                  </a:lnTo>
                  <a:lnTo>
                    <a:pt x="46" y="550"/>
                  </a:lnTo>
                  <a:lnTo>
                    <a:pt x="46" y="550"/>
                  </a:lnTo>
                  <a:lnTo>
                    <a:pt x="46" y="550"/>
                  </a:lnTo>
                  <a:lnTo>
                    <a:pt x="46" y="550"/>
                  </a:lnTo>
                  <a:lnTo>
                    <a:pt x="46" y="550"/>
                  </a:lnTo>
                  <a:lnTo>
                    <a:pt x="46" y="550"/>
                  </a:lnTo>
                  <a:lnTo>
                    <a:pt x="48" y="550"/>
                  </a:lnTo>
                  <a:lnTo>
                    <a:pt x="48" y="550"/>
                  </a:lnTo>
                  <a:lnTo>
                    <a:pt x="48" y="550"/>
                  </a:lnTo>
                  <a:lnTo>
                    <a:pt x="48" y="550"/>
                  </a:lnTo>
                  <a:lnTo>
                    <a:pt x="48" y="550"/>
                  </a:lnTo>
                  <a:lnTo>
                    <a:pt x="48" y="550"/>
                  </a:lnTo>
                  <a:lnTo>
                    <a:pt x="51" y="550"/>
                  </a:lnTo>
                  <a:lnTo>
                    <a:pt x="54" y="550"/>
                  </a:lnTo>
                  <a:lnTo>
                    <a:pt x="54" y="547"/>
                  </a:lnTo>
                  <a:lnTo>
                    <a:pt x="56" y="547"/>
                  </a:lnTo>
                  <a:lnTo>
                    <a:pt x="54" y="547"/>
                  </a:lnTo>
                  <a:lnTo>
                    <a:pt x="54" y="545"/>
                  </a:lnTo>
                  <a:lnTo>
                    <a:pt x="54" y="545"/>
                  </a:lnTo>
                  <a:lnTo>
                    <a:pt x="54" y="545"/>
                  </a:lnTo>
                  <a:lnTo>
                    <a:pt x="48" y="547"/>
                  </a:lnTo>
                  <a:close/>
                  <a:moveTo>
                    <a:pt x="41" y="557"/>
                  </a:moveTo>
                  <a:lnTo>
                    <a:pt x="43" y="557"/>
                  </a:lnTo>
                  <a:lnTo>
                    <a:pt x="43" y="560"/>
                  </a:lnTo>
                  <a:lnTo>
                    <a:pt x="43" y="562"/>
                  </a:lnTo>
                  <a:lnTo>
                    <a:pt x="43" y="565"/>
                  </a:lnTo>
                  <a:lnTo>
                    <a:pt x="46" y="565"/>
                  </a:lnTo>
                  <a:lnTo>
                    <a:pt x="46" y="565"/>
                  </a:lnTo>
                  <a:lnTo>
                    <a:pt x="48" y="565"/>
                  </a:lnTo>
                  <a:lnTo>
                    <a:pt x="48" y="562"/>
                  </a:lnTo>
                  <a:lnTo>
                    <a:pt x="48" y="560"/>
                  </a:lnTo>
                  <a:lnTo>
                    <a:pt x="48" y="557"/>
                  </a:lnTo>
                  <a:lnTo>
                    <a:pt x="48" y="557"/>
                  </a:lnTo>
                  <a:lnTo>
                    <a:pt x="46" y="555"/>
                  </a:lnTo>
                  <a:lnTo>
                    <a:pt x="43" y="555"/>
                  </a:lnTo>
                  <a:lnTo>
                    <a:pt x="41" y="557"/>
                  </a:lnTo>
                  <a:close/>
                  <a:moveTo>
                    <a:pt x="59" y="534"/>
                  </a:moveTo>
                  <a:lnTo>
                    <a:pt x="59" y="534"/>
                  </a:lnTo>
                  <a:lnTo>
                    <a:pt x="59" y="534"/>
                  </a:lnTo>
                  <a:lnTo>
                    <a:pt x="59" y="534"/>
                  </a:lnTo>
                  <a:lnTo>
                    <a:pt x="56" y="534"/>
                  </a:lnTo>
                  <a:lnTo>
                    <a:pt x="56" y="534"/>
                  </a:lnTo>
                  <a:lnTo>
                    <a:pt x="54" y="537"/>
                  </a:lnTo>
                  <a:lnTo>
                    <a:pt x="54" y="537"/>
                  </a:lnTo>
                  <a:lnTo>
                    <a:pt x="54" y="537"/>
                  </a:lnTo>
                  <a:lnTo>
                    <a:pt x="54" y="537"/>
                  </a:lnTo>
                  <a:lnTo>
                    <a:pt x="56" y="534"/>
                  </a:lnTo>
                  <a:lnTo>
                    <a:pt x="59" y="534"/>
                  </a:lnTo>
                  <a:close/>
                  <a:moveTo>
                    <a:pt x="51" y="575"/>
                  </a:moveTo>
                  <a:lnTo>
                    <a:pt x="54" y="575"/>
                  </a:lnTo>
                  <a:lnTo>
                    <a:pt x="54" y="575"/>
                  </a:lnTo>
                  <a:lnTo>
                    <a:pt x="56" y="575"/>
                  </a:lnTo>
                  <a:lnTo>
                    <a:pt x="56" y="575"/>
                  </a:lnTo>
                  <a:lnTo>
                    <a:pt x="54" y="578"/>
                  </a:lnTo>
                  <a:lnTo>
                    <a:pt x="54" y="578"/>
                  </a:lnTo>
                  <a:lnTo>
                    <a:pt x="51" y="580"/>
                  </a:lnTo>
                  <a:lnTo>
                    <a:pt x="48" y="583"/>
                  </a:lnTo>
                  <a:lnTo>
                    <a:pt x="48" y="585"/>
                  </a:lnTo>
                  <a:lnTo>
                    <a:pt x="51" y="583"/>
                  </a:lnTo>
                  <a:lnTo>
                    <a:pt x="54" y="580"/>
                  </a:lnTo>
                  <a:lnTo>
                    <a:pt x="56" y="580"/>
                  </a:lnTo>
                  <a:lnTo>
                    <a:pt x="59" y="578"/>
                  </a:lnTo>
                  <a:lnTo>
                    <a:pt x="64" y="570"/>
                  </a:lnTo>
                  <a:lnTo>
                    <a:pt x="66" y="568"/>
                  </a:lnTo>
                  <a:lnTo>
                    <a:pt x="64" y="565"/>
                  </a:lnTo>
                  <a:lnTo>
                    <a:pt x="64" y="565"/>
                  </a:lnTo>
                  <a:lnTo>
                    <a:pt x="64" y="562"/>
                  </a:lnTo>
                  <a:lnTo>
                    <a:pt x="61" y="562"/>
                  </a:lnTo>
                  <a:lnTo>
                    <a:pt x="61" y="565"/>
                  </a:lnTo>
                  <a:lnTo>
                    <a:pt x="59" y="565"/>
                  </a:lnTo>
                  <a:lnTo>
                    <a:pt x="56" y="568"/>
                  </a:lnTo>
                  <a:lnTo>
                    <a:pt x="54" y="568"/>
                  </a:lnTo>
                  <a:lnTo>
                    <a:pt x="54" y="570"/>
                  </a:lnTo>
                  <a:lnTo>
                    <a:pt x="54" y="570"/>
                  </a:lnTo>
                  <a:lnTo>
                    <a:pt x="54" y="573"/>
                  </a:lnTo>
                  <a:lnTo>
                    <a:pt x="54" y="573"/>
                  </a:lnTo>
                  <a:lnTo>
                    <a:pt x="51" y="575"/>
                  </a:lnTo>
                  <a:close/>
                  <a:moveTo>
                    <a:pt x="79" y="664"/>
                  </a:moveTo>
                  <a:lnTo>
                    <a:pt x="79" y="664"/>
                  </a:lnTo>
                  <a:lnTo>
                    <a:pt x="77" y="667"/>
                  </a:lnTo>
                  <a:lnTo>
                    <a:pt x="77" y="667"/>
                  </a:lnTo>
                  <a:lnTo>
                    <a:pt x="79" y="662"/>
                  </a:lnTo>
                  <a:lnTo>
                    <a:pt x="77" y="657"/>
                  </a:lnTo>
                  <a:lnTo>
                    <a:pt x="79" y="654"/>
                  </a:lnTo>
                  <a:lnTo>
                    <a:pt x="79" y="654"/>
                  </a:lnTo>
                  <a:lnTo>
                    <a:pt x="79" y="654"/>
                  </a:lnTo>
                  <a:lnTo>
                    <a:pt x="77" y="651"/>
                  </a:lnTo>
                  <a:lnTo>
                    <a:pt x="77" y="649"/>
                  </a:lnTo>
                  <a:lnTo>
                    <a:pt x="71" y="649"/>
                  </a:lnTo>
                  <a:lnTo>
                    <a:pt x="69" y="646"/>
                  </a:lnTo>
                  <a:lnTo>
                    <a:pt x="69" y="644"/>
                  </a:lnTo>
                  <a:lnTo>
                    <a:pt x="69" y="641"/>
                  </a:lnTo>
                  <a:lnTo>
                    <a:pt x="69" y="641"/>
                  </a:lnTo>
                  <a:lnTo>
                    <a:pt x="69" y="641"/>
                  </a:lnTo>
                  <a:lnTo>
                    <a:pt x="69" y="641"/>
                  </a:lnTo>
                  <a:lnTo>
                    <a:pt x="69" y="639"/>
                  </a:lnTo>
                  <a:lnTo>
                    <a:pt x="69" y="634"/>
                  </a:lnTo>
                  <a:lnTo>
                    <a:pt x="69" y="631"/>
                  </a:lnTo>
                  <a:lnTo>
                    <a:pt x="69" y="629"/>
                  </a:lnTo>
                  <a:lnTo>
                    <a:pt x="69" y="629"/>
                  </a:lnTo>
                  <a:lnTo>
                    <a:pt x="69" y="626"/>
                  </a:lnTo>
                  <a:lnTo>
                    <a:pt x="69" y="626"/>
                  </a:lnTo>
                  <a:lnTo>
                    <a:pt x="64" y="626"/>
                  </a:lnTo>
                  <a:lnTo>
                    <a:pt x="59" y="623"/>
                  </a:lnTo>
                  <a:lnTo>
                    <a:pt x="51" y="623"/>
                  </a:lnTo>
                  <a:lnTo>
                    <a:pt x="46" y="621"/>
                  </a:lnTo>
                  <a:lnTo>
                    <a:pt x="41" y="616"/>
                  </a:lnTo>
                  <a:lnTo>
                    <a:pt x="36" y="616"/>
                  </a:lnTo>
                  <a:lnTo>
                    <a:pt x="33" y="616"/>
                  </a:lnTo>
                  <a:lnTo>
                    <a:pt x="31" y="616"/>
                  </a:lnTo>
                  <a:lnTo>
                    <a:pt x="28" y="616"/>
                  </a:lnTo>
                  <a:lnTo>
                    <a:pt x="28" y="618"/>
                  </a:lnTo>
                  <a:lnTo>
                    <a:pt x="26" y="618"/>
                  </a:lnTo>
                  <a:lnTo>
                    <a:pt x="26" y="621"/>
                  </a:lnTo>
                  <a:lnTo>
                    <a:pt x="28" y="623"/>
                  </a:lnTo>
                  <a:lnTo>
                    <a:pt x="28" y="623"/>
                  </a:lnTo>
                  <a:lnTo>
                    <a:pt x="31" y="623"/>
                  </a:lnTo>
                  <a:lnTo>
                    <a:pt x="31" y="623"/>
                  </a:lnTo>
                  <a:lnTo>
                    <a:pt x="33" y="623"/>
                  </a:lnTo>
                  <a:lnTo>
                    <a:pt x="36" y="621"/>
                  </a:lnTo>
                  <a:lnTo>
                    <a:pt x="36" y="621"/>
                  </a:lnTo>
                  <a:lnTo>
                    <a:pt x="38" y="621"/>
                  </a:lnTo>
                  <a:lnTo>
                    <a:pt x="41" y="621"/>
                  </a:lnTo>
                  <a:lnTo>
                    <a:pt x="38" y="623"/>
                  </a:lnTo>
                  <a:lnTo>
                    <a:pt x="38" y="623"/>
                  </a:lnTo>
                  <a:lnTo>
                    <a:pt x="36" y="626"/>
                  </a:lnTo>
                  <a:lnTo>
                    <a:pt x="36" y="626"/>
                  </a:lnTo>
                  <a:lnTo>
                    <a:pt x="36" y="623"/>
                  </a:lnTo>
                  <a:lnTo>
                    <a:pt x="36" y="623"/>
                  </a:lnTo>
                  <a:lnTo>
                    <a:pt x="31" y="623"/>
                  </a:lnTo>
                  <a:lnTo>
                    <a:pt x="31" y="623"/>
                  </a:lnTo>
                  <a:lnTo>
                    <a:pt x="31" y="623"/>
                  </a:lnTo>
                  <a:lnTo>
                    <a:pt x="28" y="626"/>
                  </a:lnTo>
                  <a:lnTo>
                    <a:pt x="28" y="629"/>
                  </a:lnTo>
                  <a:lnTo>
                    <a:pt x="28" y="629"/>
                  </a:lnTo>
                  <a:lnTo>
                    <a:pt x="28" y="629"/>
                  </a:lnTo>
                  <a:lnTo>
                    <a:pt x="28" y="631"/>
                  </a:lnTo>
                  <a:lnTo>
                    <a:pt x="26" y="631"/>
                  </a:lnTo>
                  <a:lnTo>
                    <a:pt x="26" y="631"/>
                  </a:lnTo>
                  <a:lnTo>
                    <a:pt x="26" y="631"/>
                  </a:lnTo>
                  <a:lnTo>
                    <a:pt x="26" y="631"/>
                  </a:lnTo>
                  <a:lnTo>
                    <a:pt x="28" y="631"/>
                  </a:lnTo>
                  <a:lnTo>
                    <a:pt x="33" y="631"/>
                  </a:lnTo>
                  <a:lnTo>
                    <a:pt x="33" y="631"/>
                  </a:lnTo>
                  <a:lnTo>
                    <a:pt x="33" y="634"/>
                  </a:lnTo>
                  <a:lnTo>
                    <a:pt x="33" y="634"/>
                  </a:lnTo>
                  <a:lnTo>
                    <a:pt x="33" y="634"/>
                  </a:lnTo>
                  <a:lnTo>
                    <a:pt x="36" y="634"/>
                  </a:lnTo>
                  <a:lnTo>
                    <a:pt x="36" y="631"/>
                  </a:lnTo>
                  <a:lnTo>
                    <a:pt x="36" y="631"/>
                  </a:lnTo>
                  <a:lnTo>
                    <a:pt x="36" y="631"/>
                  </a:lnTo>
                  <a:lnTo>
                    <a:pt x="36" y="631"/>
                  </a:lnTo>
                  <a:lnTo>
                    <a:pt x="36" y="634"/>
                  </a:lnTo>
                  <a:lnTo>
                    <a:pt x="36" y="634"/>
                  </a:lnTo>
                  <a:lnTo>
                    <a:pt x="33" y="634"/>
                  </a:lnTo>
                  <a:lnTo>
                    <a:pt x="33" y="636"/>
                  </a:lnTo>
                  <a:lnTo>
                    <a:pt x="33" y="636"/>
                  </a:lnTo>
                  <a:lnTo>
                    <a:pt x="33" y="636"/>
                  </a:lnTo>
                  <a:lnTo>
                    <a:pt x="36" y="636"/>
                  </a:lnTo>
                  <a:lnTo>
                    <a:pt x="36" y="636"/>
                  </a:lnTo>
                  <a:lnTo>
                    <a:pt x="38" y="636"/>
                  </a:lnTo>
                  <a:lnTo>
                    <a:pt x="38" y="636"/>
                  </a:lnTo>
                  <a:lnTo>
                    <a:pt x="38" y="636"/>
                  </a:lnTo>
                  <a:lnTo>
                    <a:pt x="38" y="636"/>
                  </a:lnTo>
                  <a:lnTo>
                    <a:pt x="41" y="636"/>
                  </a:lnTo>
                  <a:lnTo>
                    <a:pt x="41" y="636"/>
                  </a:lnTo>
                  <a:lnTo>
                    <a:pt x="41" y="639"/>
                  </a:lnTo>
                  <a:lnTo>
                    <a:pt x="41" y="641"/>
                  </a:lnTo>
                  <a:lnTo>
                    <a:pt x="41" y="641"/>
                  </a:lnTo>
                  <a:lnTo>
                    <a:pt x="43" y="641"/>
                  </a:lnTo>
                  <a:lnTo>
                    <a:pt x="43" y="641"/>
                  </a:lnTo>
                  <a:lnTo>
                    <a:pt x="43" y="641"/>
                  </a:lnTo>
                  <a:lnTo>
                    <a:pt x="48" y="641"/>
                  </a:lnTo>
                  <a:lnTo>
                    <a:pt x="46" y="641"/>
                  </a:lnTo>
                  <a:lnTo>
                    <a:pt x="41" y="644"/>
                  </a:lnTo>
                  <a:lnTo>
                    <a:pt x="38" y="644"/>
                  </a:lnTo>
                  <a:lnTo>
                    <a:pt x="38" y="644"/>
                  </a:lnTo>
                  <a:lnTo>
                    <a:pt x="38" y="644"/>
                  </a:lnTo>
                  <a:lnTo>
                    <a:pt x="36" y="646"/>
                  </a:lnTo>
                  <a:lnTo>
                    <a:pt x="36" y="649"/>
                  </a:lnTo>
                  <a:lnTo>
                    <a:pt x="36" y="649"/>
                  </a:lnTo>
                  <a:lnTo>
                    <a:pt x="38" y="646"/>
                  </a:lnTo>
                  <a:lnTo>
                    <a:pt x="38" y="646"/>
                  </a:lnTo>
                  <a:lnTo>
                    <a:pt x="41" y="649"/>
                  </a:lnTo>
                  <a:lnTo>
                    <a:pt x="41" y="649"/>
                  </a:lnTo>
                  <a:lnTo>
                    <a:pt x="41" y="646"/>
                  </a:lnTo>
                  <a:lnTo>
                    <a:pt x="41" y="646"/>
                  </a:lnTo>
                  <a:lnTo>
                    <a:pt x="43" y="646"/>
                  </a:lnTo>
                  <a:lnTo>
                    <a:pt x="43" y="646"/>
                  </a:lnTo>
                  <a:lnTo>
                    <a:pt x="43" y="646"/>
                  </a:lnTo>
                  <a:lnTo>
                    <a:pt x="43" y="649"/>
                  </a:lnTo>
                  <a:lnTo>
                    <a:pt x="43" y="649"/>
                  </a:lnTo>
                  <a:lnTo>
                    <a:pt x="46" y="649"/>
                  </a:lnTo>
                  <a:lnTo>
                    <a:pt x="46" y="649"/>
                  </a:lnTo>
                  <a:lnTo>
                    <a:pt x="43" y="651"/>
                  </a:lnTo>
                  <a:lnTo>
                    <a:pt x="43" y="651"/>
                  </a:lnTo>
                  <a:lnTo>
                    <a:pt x="43" y="651"/>
                  </a:lnTo>
                  <a:lnTo>
                    <a:pt x="46" y="651"/>
                  </a:lnTo>
                  <a:lnTo>
                    <a:pt x="46" y="651"/>
                  </a:lnTo>
                  <a:lnTo>
                    <a:pt x="46" y="651"/>
                  </a:lnTo>
                  <a:lnTo>
                    <a:pt x="48" y="651"/>
                  </a:lnTo>
                  <a:lnTo>
                    <a:pt x="48" y="651"/>
                  </a:lnTo>
                  <a:lnTo>
                    <a:pt x="48" y="651"/>
                  </a:lnTo>
                  <a:lnTo>
                    <a:pt x="46" y="654"/>
                  </a:lnTo>
                  <a:lnTo>
                    <a:pt x="43" y="654"/>
                  </a:lnTo>
                  <a:lnTo>
                    <a:pt x="43" y="654"/>
                  </a:lnTo>
                  <a:lnTo>
                    <a:pt x="46" y="657"/>
                  </a:lnTo>
                  <a:lnTo>
                    <a:pt x="46" y="657"/>
                  </a:lnTo>
                  <a:lnTo>
                    <a:pt x="46" y="659"/>
                  </a:lnTo>
                  <a:lnTo>
                    <a:pt x="48" y="659"/>
                  </a:lnTo>
                  <a:lnTo>
                    <a:pt x="51" y="657"/>
                  </a:lnTo>
                  <a:lnTo>
                    <a:pt x="54" y="657"/>
                  </a:lnTo>
                  <a:lnTo>
                    <a:pt x="59" y="657"/>
                  </a:lnTo>
                  <a:lnTo>
                    <a:pt x="59" y="657"/>
                  </a:lnTo>
                  <a:lnTo>
                    <a:pt x="61" y="654"/>
                  </a:lnTo>
                  <a:lnTo>
                    <a:pt x="61" y="654"/>
                  </a:lnTo>
                  <a:lnTo>
                    <a:pt x="64" y="651"/>
                  </a:lnTo>
                  <a:lnTo>
                    <a:pt x="64" y="651"/>
                  </a:lnTo>
                  <a:lnTo>
                    <a:pt x="61" y="654"/>
                  </a:lnTo>
                  <a:lnTo>
                    <a:pt x="61" y="654"/>
                  </a:lnTo>
                  <a:lnTo>
                    <a:pt x="59" y="657"/>
                  </a:lnTo>
                  <a:lnTo>
                    <a:pt x="56" y="657"/>
                  </a:lnTo>
                  <a:lnTo>
                    <a:pt x="51" y="662"/>
                  </a:lnTo>
                  <a:lnTo>
                    <a:pt x="51" y="662"/>
                  </a:lnTo>
                  <a:lnTo>
                    <a:pt x="51" y="662"/>
                  </a:lnTo>
                  <a:lnTo>
                    <a:pt x="51" y="664"/>
                  </a:lnTo>
                  <a:lnTo>
                    <a:pt x="54" y="664"/>
                  </a:lnTo>
                  <a:lnTo>
                    <a:pt x="56" y="667"/>
                  </a:lnTo>
                  <a:lnTo>
                    <a:pt x="59" y="667"/>
                  </a:lnTo>
                  <a:lnTo>
                    <a:pt x="64" y="669"/>
                  </a:lnTo>
                  <a:lnTo>
                    <a:pt x="66" y="669"/>
                  </a:lnTo>
                  <a:lnTo>
                    <a:pt x="71" y="672"/>
                  </a:lnTo>
                  <a:lnTo>
                    <a:pt x="71" y="672"/>
                  </a:lnTo>
                  <a:lnTo>
                    <a:pt x="71" y="672"/>
                  </a:lnTo>
                  <a:lnTo>
                    <a:pt x="74" y="669"/>
                  </a:lnTo>
                  <a:lnTo>
                    <a:pt x="74" y="669"/>
                  </a:lnTo>
                  <a:lnTo>
                    <a:pt x="77" y="669"/>
                  </a:lnTo>
                  <a:lnTo>
                    <a:pt x="77" y="669"/>
                  </a:lnTo>
                  <a:lnTo>
                    <a:pt x="79" y="669"/>
                  </a:lnTo>
                  <a:lnTo>
                    <a:pt x="79" y="664"/>
                  </a:lnTo>
                  <a:lnTo>
                    <a:pt x="79" y="664"/>
                  </a:lnTo>
                  <a:lnTo>
                    <a:pt x="79" y="664"/>
                  </a:lnTo>
                  <a:lnTo>
                    <a:pt x="79" y="664"/>
                  </a:lnTo>
                  <a:close/>
                  <a:moveTo>
                    <a:pt x="59" y="578"/>
                  </a:moveTo>
                  <a:lnTo>
                    <a:pt x="59" y="580"/>
                  </a:lnTo>
                  <a:lnTo>
                    <a:pt x="56" y="580"/>
                  </a:lnTo>
                  <a:lnTo>
                    <a:pt x="56" y="580"/>
                  </a:lnTo>
                  <a:lnTo>
                    <a:pt x="56" y="583"/>
                  </a:lnTo>
                  <a:lnTo>
                    <a:pt x="56" y="583"/>
                  </a:lnTo>
                  <a:lnTo>
                    <a:pt x="59" y="580"/>
                  </a:lnTo>
                  <a:lnTo>
                    <a:pt x="59" y="580"/>
                  </a:lnTo>
                  <a:lnTo>
                    <a:pt x="61" y="578"/>
                  </a:lnTo>
                  <a:lnTo>
                    <a:pt x="66" y="575"/>
                  </a:lnTo>
                  <a:lnTo>
                    <a:pt x="66" y="573"/>
                  </a:lnTo>
                  <a:lnTo>
                    <a:pt x="64" y="573"/>
                  </a:lnTo>
                  <a:lnTo>
                    <a:pt x="61" y="575"/>
                  </a:lnTo>
                  <a:lnTo>
                    <a:pt x="59" y="578"/>
                  </a:lnTo>
                  <a:close/>
                  <a:moveTo>
                    <a:pt x="46" y="598"/>
                  </a:moveTo>
                  <a:lnTo>
                    <a:pt x="46" y="598"/>
                  </a:lnTo>
                  <a:lnTo>
                    <a:pt x="46" y="601"/>
                  </a:lnTo>
                  <a:lnTo>
                    <a:pt x="46" y="603"/>
                  </a:lnTo>
                  <a:lnTo>
                    <a:pt x="46" y="603"/>
                  </a:lnTo>
                  <a:lnTo>
                    <a:pt x="46" y="603"/>
                  </a:lnTo>
                  <a:lnTo>
                    <a:pt x="48" y="603"/>
                  </a:lnTo>
                  <a:lnTo>
                    <a:pt x="48" y="601"/>
                  </a:lnTo>
                  <a:lnTo>
                    <a:pt x="48" y="601"/>
                  </a:lnTo>
                  <a:lnTo>
                    <a:pt x="51" y="598"/>
                  </a:lnTo>
                  <a:lnTo>
                    <a:pt x="51" y="598"/>
                  </a:lnTo>
                  <a:lnTo>
                    <a:pt x="51" y="598"/>
                  </a:lnTo>
                  <a:lnTo>
                    <a:pt x="51" y="598"/>
                  </a:lnTo>
                  <a:lnTo>
                    <a:pt x="48" y="598"/>
                  </a:lnTo>
                  <a:lnTo>
                    <a:pt x="46" y="598"/>
                  </a:lnTo>
                  <a:close/>
                  <a:moveTo>
                    <a:pt x="51" y="565"/>
                  </a:moveTo>
                  <a:lnTo>
                    <a:pt x="51" y="565"/>
                  </a:lnTo>
                  <a:lnTo>
                    <a:pt x="51" y="565"/>
                  </a:lnTo>
                  <a:lnTo>
                    <a:pt x="51" y="568"/>
                  </a:lnTo>
                  <a:lnTo>
                    <a:pt x="51" y="568"/>
                  </a:lnTo>
                  <a:lnTo>
                    <a:pt x="51" y="570"/>
                  </a:lnTo>
                  <a:lnTo>
                    <a:pt x="51" y="570"/>
                  </a:lnTo>
                  <a:lnTo>
                    <a:pt x="51" y="570"/>
                  </a:lnTo>
                  <a:lnTo>
                    <a:pt x="51" y="568"/>
                  </a:lnTo>
                  <a:lnTo>
                    <a:pt x="54" y="565"/>
                  </a:lnTo>
                  <a:lnTo>
                    <a:pt x="54" y="565"/>
                  </a:lnTo>
                  <a:lnTo>
                    <a:pt x="51" y="565"/>
                  </a:lnTo>
                  <a:close/>
                  <a:moveTo>
                    <a:pt x="867" y="763"/>
                  </a:moveTo>
                  <a:lnTo>
                    <a:pt x="864" y="763"/>
                  </a:lnTo>
                  <a:lnTo>
                    <a:pt x="861" y="766"/>
                  </a:lnTo>
                  <a:lnTo>
                    <a:pt x="861" y="766"/>
                  </a:lnTo>
                  <a:lnTo>
                    <a:pt x="861" y="766"/>
                  </a:lnTo>
                  <a:lnTo>
                    <a:pt x="861" y="766"/>
                  </a:lnTo>
                  <a:lnTo>
                    <a:pt x="861" y="766"/>
                  </a:lnTo>
                  <a:lnTo>
                    <a:pt x="861" y="766"/>
                  </a:lnTo>
                  <a:lnTo>
                    <a:pt x="861" y="766"/>
                  </a:lnTo>
                  <a:lnTo>
                    <a:pt x="861" y="766"/>
                  </a:lnTo>
                  <a:lnTo>
                    <a:pt x="864" y="766"/>
                  </a:lnTo>
                  <a:lnTo>
                    <a:pt x="864" y="766"/>
                  </a:lnTo>
                  <a:lnTo>
                    <a:pt x="864" y="763"/>
                  </a:lnTo>
                  <a:lnTo>
                    <a:pt x="867" y="763"/>
                  </a:lnTo>
                  <a:lnTo>
                    <a:pt x="867" y="763"/>
                  </a:lnTo>
                  <a:lnTo>
                    <a:pt x="867" y="763"/>
                  </a:lnTo>
                  <a:lnTo>
                    <a:pt x="867" y="763"/>
                  </a:lnTo>
                  <a:close/>
                  <a:moveTo>
                    <a:pt x="665" y="260"/>
                  </a:moveTo>
                  <a:lnTo>
                    <a:pt x="668" y="260"/>
                  </a:lnTo>
                  <a:lnTo>
                    <a:pt x="668" y="260"/>
                  </a:lnTo>
                  <a:lnTo>
                    <a:pt x="668" y="257"/>
                  </a:lnTo>
                  <a:lnTo>
                    <a:pt x="668" y="257"/>
                  </a:lnTo>
                  <a:lnTo>
                    <a:pt x="665" y="257"/>
                  </a:lnTo>
                  <a:lnTo>
                    <a:pt x="665" y="260"/>
                  </a:lnTo>
                  <a:close/>
                  <a:moveTo>
                    <a:pt x="971" y="137"/>
                  </a:moveTo>
                  <a:lnTo>
                    <a:pt x="971" y="137"/>
                  </a:lnTo>
                  <a:lnTo>
                    <a:pt x="971" y="135"/>
                  </a:lnTo>
                  <a:lnTo>
                    <a:pt x="971" y="135"/>
                  </a:lnTo>
                  <a:lnTo>
                    <a:pt x="968" y="135"/>
                  </a:lnTo>
                  <a:lnTo>
                    <a:pt x="963" y="137"/>
                  </a:lnTo>
                  <a:lnTo>
                    <a:pt x="963" y="137"/>
                  </a:lnTo>
                  <a:lnTo>
                    <a:pt x="963" y="137"/>
                  </a:lnTo>
                  <a:lnTo>
                    <a:pt x="968" y="137"/>
                  </a:lnTo>
                  <a:lnTo>
                    <a:pt x="971" y="137"/>
                  </a:lnTo>
                  <a:close/>
                  <a:moveTo>
                    <a:pt x="948" y="160"/>
                  </a:moveTo>
                  <a:lnTo>
                    <a:pt x="946" y="163"/>
                  </a:lnTo>
                  <a:lnTo>
                    <a:pt x="946" y="163"/>
                  </a:lnTo>
                  <a:lnTo>
                    <a:pt x="943" y="163"/>
                  </a:lnTo>
                  <a:lnTo>
                    <a:pt x="943" y="163"/>
                  </a:lnTo>
                  <a:lnTo>
                    <a:pt x="940" y="165"/>
                  </a:lnTo>
                  <a:lnTo>
                    <a:pt x="943" y="165"/>
                  </a:lnTo>
                  <a:lnTo>
                    <a:pt x="946" y="165"/>
                  </a:lnTo>
                  <a:lnTo>
                    <a:pt x="946" y="165"/>
                  </a:lnTo>
                  <a:lnTo>
                    <a:pt x="946" y="165"/>
                  </a:lnTo>
                  <a:lnTo>
                    <a:pt x="948" y="165"/>
                  </a:lnTo>
                  <a:lnTo>
                    <a:pt x="948" y="163"/>
                  </a:lnTo>
                  <a:lnTo>
                    <a:pt x="951" y="163"/>
                  </a:lnTo>
                  <a:lnTo>
                    <a:pt x="951" y="163"/>
                  </a:lnTo>
                  <a:lnTo>
                    <a:pt x="948" y="163"/>
                  </a:lnTo>
                  <a:lnTo>
                    <a:pt x="948" y="163"/>
                  </a:lnTo>
                  <a:lnTo>
                    <a:pt x="948" y="163"/>
                  </a:lnTo>
                  <a:lnTo>
                    <a:pt x="948" y="160"/>
                  </a:lnTo>
                  <a:close/>
                  <a:moveTo>
                    <a:pt x="971" y="232"/>
                  </a:moveTo>
                  <a:lnTo>
                    <a:pt x="971" y="232"/>
                  </a:lnTo>
                  <a:lnTo>
                    <a:pt x="968" y="232"/>
                  </a:lnTo>
                  <a:lnTo>
                    <a:pt x="968" y="232"/>
                  </a:lnTo>
                  <a:lnTo>
                    <a:pt x="968" y="234"/>
                  </a:lnTo>
                  <a:lnTo>
                    <a:pt x="968" y="234"/>
                  </a:lnTo>
                  <a:lnTo>
                    <a:pt x="968" y="234"/>
                  </a:lnTo>
                  <a:lnTo>
                    <a:pt x="968" y="234"/>
                  </a:lnTo>
                  <a:lnTo>
                    <a:pt x="971" y="234"/>
                  </a:lnTo>
                  <a:lnTo>
                    <a:pt x="974" y="232"/>
                  </a:lnTo>
                  <a:lnTo>
                    <a:pt x="974" y="232"/>
                  </a:lnTo>
                  <a:lnTo>
                    <a:pt x="974" y="232"/>
                  </a:lnTo>
                  <a:lnTo>
                    <a:pt x="974" y="232"/>
                  </a:lnTo>
                  <a:lnTo>
                    <a:pt x="971" y="232"/>
                  </a:lnTo>
                  <a:close/>
                  <a:moveTo>
                    <a:pt x="997" y="262"/>
                  </a:moveTo>
                  <a:lnTo>
                    <a:pt x="997" y="262"/>
                  </a:lnTo>
                  <a:lnTo>
                    <a:pt x="997" y="262"/>
                  </a:lnTo>
                  <a:lnTo>
                    <a:pt x="997" y="262"/>
                  </a:lnTo>
                  <a:lnTo>
                    <a:pt x="997" y="265"/>
                  </a:lnTo>
                  <a:lnTo>
                    <a:pt x="999" y="265"/>
                  </a:lnTo>
                  <a:lnTo>
                    <a:pt x="999" y="265"/>
                  </a:lnTo>
                  <a:lnTo>
                    <a:pt x="999" y="265"/>
                  </a:lnTo>
                  <a:lnTo>
                    <a:pt x="1002" y="262"/>
                  </a:lnTo>
                  <a:lnTo>
                    <a:pt x="1002" y="262"/>
                  </a:lnTo>
                  <a:lnTo>
                    <a:pt x="1004" y="262"/>
                  </a:lnTo>
                  <a:lnTo>
                    <a:pt x="1004" y="260"/>
                  </a:lnTo>
                  <a:lnTo>
                    <a:pt x="1007" y="260"/>
                  </a:lnTo>
                  <a:lnTo>
                    <a:pt x="1007" y="257"/>
                  </a:lnTo>
                  <a:lnTo>
                    <a:pt x="1007" y="257"/>
                  </a:lnTo>
                  <a:lnTo>
                    <a:pt x="1009" y="255"/>
                  </a:lnTo>
                  <a:lnTo>
                    <a:pt x="1009" y="255"/>
                  </a:lnTo>
                  <a:lnTo>
                    <a:pt x="1009" y="255"/>
                  </a:lnTo>
                  <a:lnTo>
                    <a:pt x="1007" y="252"/>
                  </a:lnTo>
                  <a:lnTo>
                    <a:pt x="1004" y="255"/>
                  </a:lnTo>
                  <a:lnTo>
                    <a:pt x="1002" y="255"/>
                  </a:lnTo>
                  <a:lnTo>
                    <a:pt x="1002" y="257"/>
                  </a:lnTo>
                  <a:lnTo>
                    <a:pt x="999" y="257"/>
                  </a:lnTo>
                  <a:lnTo>
                    <a:pt x="999" y="257"/>
                  </a:lnTo>
                  <a:lnTo>
                    <a:pt x="999" y="257"/>
                  </a:lnTo>
                  <a:lnTo>
                    <a:pt x="999" y="260"/>
                  </a:lnTo>
                  <a:lnTo>
                    <a:pt x="997" y="260"/>
                  </a:lnTo>
                  <a:lnTo>
                    <a:pt x="997" y="262"/>
                  </a:lnTo>
                  <a:close/>
                  <a:moveTo>
                    <a:pt x="997" y="122"/>
                  </a:moveTo>
                  <a:lnTo>
                    <a:pt x="997" y="122"/>
                  </a:lnTo>
                  <a:lnTo>
                    <a:pt x="999" y="122"/>
                  </a:lnTo>
                  <a:lnTo>
                    <a:pt x="1002" y="120"/>
                  </a:lnTo>
                  <a:lnTo>
                    <a:pt x="1004" y="120"/>
                  </a:lnTo>
                  <a:lnTo>
                    <a:pt x="1004" y="120"/>
                  </a:lnTo>
                  <a:lnTo>
                    <a:pt x="1007" y="120"/>
                  </a:lnTo>
                  <a:lnTo>
                    <a:pt x="1007" y="120"/>
                  </a:lnTo>
                  <a:lnTo>
                    <a:pt x="1009" y="120"/>
                  </a:lnTo>
                  <a:lnTo>
                    <a:pt x="1009" y="120"/>
                  </a:lnTo>
                  <a:lnTo>
                    <a:pt x="1009" y="120"/>
                  </a:lnTo>
                  <a:lnTo>
                    <a:pt x="1009" y="117"/>
                  </a:lnTo>
                  <a:lnTo>
                    <a:pt x="1007" y="117"/>
                  </a:lnTo>
                  <a:lnTo>
                    <a:pt x="1007" y="117"/>
                  </a:lnTo>
                  <a:lnTo>
                    <a:pt x="1007" y="117"/>
                  </a:lnTo>
                  <a:lnTo>
                    <a:pt x="1004" y="117"/>
                  </a:lnTo>
                  <a:lnTo>
                    <a:pt x="1004" y="120"/>
                  </a:lnTo>
                  <a:lnTo>
                    <a:pt x="997" y="120"/>
                  </a:lnTo>
                  <a:lnTo>
                    <a:pt x="997" y="120"/>
                  </a:lnTo>
                  <a:lnTo>
                    <a:pt x="994" y="120"/>
                  </a:lnTo>
                  <a:lnTo>
                    <a:pt x="994" y="122"/>
                  </a:lnTo>
                  <a:lnTo>
                    <a:pt x="994" y="122"/>
                  </a:lnTo>
                  <a:lnTo>
                    <a:pt x="994" y="122"/>
                  </a:lnTo>
                  <a:lnTo>
                    <a:pt x="997" y="122"/>
                  </a:lnTo>
                  <a:close/>
                  <a:moveTo>
                    <a:pt x="991" y="127"/>
                  </a:moveTo>
                  <a:lnTo>
                    <a:pt x="991" y="127"/>
                  </a:lnTo>
                  <a:lnTo>
                    <a:pt x="989" y="130"/>
                  </a:lnTo>
                  <a:lnTo>
                    <a:pt x="989" y="130"/>
                  </a:lnTo>
                  <a:lnTo>
                    <a:pt x="991" y="130"/>
                  </a:lnTo>
                  <a:lnTo>
                    <a:pt x="991" y="130"/>
                  </a:lnTo>
                  <a:lnTo>
                    <a:pt x="991" y="130"/>
                  </a:lnTo>
                  <a:lnTo>
                    <a:pt x="991" y="130"/>
                  </a:lnTo>
                  <a:lnTo>
                    <a:pt x="991" y="130"/>
                  </a:lnTo>
                  <a:lnTo>
                    <a:pt x="994" y="130"/>
                  </a:lnTo>
                  <a:lnTo>
                    <a:pt x="994" y="130"/>
                  </a:lnTo>
                  <a:lnTo>
                    <a:pt x="997" y="132"/>
                  </a:lnTo>
                  <a:lnTo>
                    <a:pt x="1002" y="132"/>
                  </a:lnTo>
                  <a:lnTo>
                    <a:pt x="1004" y="132"/>
                  </a:lnTo>
                  <a:lnTo>
                    <a:pt x="1007" y="135"/>
                  </a:lnTo>
                  <a:lnTo>
                    <a:pt x="1007" y="135"/>
                  </a:lnTo>
                  <a:lnTo>
                    <a:pt x="1007" y="135"/>
                  </a:lnTo>
                  <a:lnTo>
                    <a:pt x="1009" y="135"/>
                  </a:lnTo>
                  <a:lnTo>
                    <a:pt x="1014" y="135"/>
                  </a:lnTo>
                  <a:lnTo>
                    <a:pt x="1017" y="135"/>
                  </a:lnTo>
                  <a:lnTo>
                    <a:pt x="1022" y="135"/>
                  </a:lnTo>
                  <a:lnTo>
                    <a:pt x="1025" y="135"/>
                  </a:lnTo>
                  <a:lnTo>
                    <a:pt x="1025" y="135"/>
                  </a:lnTo>
                  <a:lnTo>
                    <a:pt x="1025" y="135"/>
                  </a:lnTo>
                  <a:lnTo>
                    <a:pt x="1027" y="132"/>
                  </a:lnTo>
                  <a:lnTo>
                    <a:pt x="1027" y="132"/>
                  </a:lnTo>
                  <a:lnTo>
                    <a:pt x="1027" y="132"/>
                  </a:lnTo>
                  <a:lnTo>
                    <a:pt x="1030" y="132"/>
                  </a:lnTo>
                  <a:lnTo>
                    <a:pt x="1030" y="130"/>
                  </a:lnTo>
                  <a:lnTo>
                    <a:pt x="1030" y="130"/>
                  </a:lnTo>
                  <a:lnTo>
                    <a:pt x="1032" y="127"/>
                  </a:lnTo>
                  <a:lnTo>
                    <a:pt x="1032" y="127"/>
                  </a:lnTo>
                  <a:lnTo>
                    <a:pt x="1032" y="127"/>
                  </a:lnTo>
                  <a:lnTo>
                    <a:pt x="1035" y="127"/>
                  </a:lnTo>
                  <a:lnTo>
                    <a:pt x="1035" y="125"/>
                  </a:lnTo>
                  <a:lnTo>
                    <a:pt x="1035" y="125"/>
                  </a:lnTo>
                  <a:lnTo>
                    <a:pt x="1035" y="122"/>
                  </a:lnTo>
                  <a:lnTo>
                    <a:pt x="1035" y="122"/>
                  </a:lnTo>
                  <a:lnTo>
                    <a:pt x="1032" y="120"/>
                  </a:lnTo>
                  <a:lnTo>
                    <a:pt x="1032" y="117"/>
                  </a:lnTo>
                  <a:lnTo>
                    <a:pt x="1030" y="117"/>
                  </a:lnTo>
                  <a:lnTo>
                    <a:pt x="1027" y="117"/>
                  </a:lnTo>
                  <a:lnTo>
                    <a:pt x="1025" y="117"/>
                  </a:lnTo>
                  <a:lnTo>
                    <a:pt x="1014" y="120"/>
                  </a:lnTo>
                  <a:lnTo>
                    <a:pt x="1009" y="120"/>
                  </a:lnTo>
                  <a:lnTo>
                    <a:pt x="1007" y="122"/>
                  </a:lnTo>
                  <a:lnTo>
                    <a:pt x="1004" y="122"/>
                  </a:lnTo>
                  <a:lnTo>
                    <a:pt x="1002" y="125"/>
                  </a:lnTo>
                  <a:lnTo>
                    <a:pt x="1002" y="125"/>
                  </a:lnTo>
                  <a:lnTo>
                    <a:pt x="999" y="125"/>
                  </a:lnTo>
                  <a:lnTo>
                    <a:pt x="997" y="125"/>
                  </a:lnTo>
                  <a:lnTo>
                    <a:pt x="991" y="127"/>
                  </a:lnTo>
                  <a:lnTo>
                    <a:pt x="991" y="127"/>
                  </a:lnTo>
                  <a:close/>
                  <a:moveTo>
                    <a:pt x="994" y="135"/>
                  </a:moveTo>
                  <a:lnTo>
                    <a:pt x="994" y="135"/>
                  </a:lnTo>
                  <a:lnTo>
                    <a:pt x="991" y="135"/>
                  </a:lnTo>
                  <a:lnTo>
                    <a:pt x="991" y="137"/>
                  </a:lnTo>
                  <a:lnTo>
                    <a:pt x="991" y="137"/>
                  </a:lnTo>
                  <a:lnTo>
                    <a:pt x="991" y="137"/>
                  </a:lnTo>
                  <a:lnTo>
                    <a:pt x="994" y="137"/>
                  </a:lnTo>
                  <a:lnTo>
                    <a:pt x="997" y="137"/>
                  </a:lnTo>
                  <a:lnTo>
                    <a:pt x="997" y="137"/>
                  </a:lnTo>
                  <a:lnTo>
                    <a:pt x="997" y="137"/>
                  </a:lnTo>
                  <a:lnTo>
                    <a:pt x="999" y="137"/>
                  </a:lnTo>
                  <a:lnTo>
                    <a:pt x="997" y="137"/>
                  </a:lnTo>
                  <a:lnTo>
                    <a:pt x="997" y="135"/>
                  </a:lnTo>
                  <a:lnTo>
                    <a:pt x="994" y="135"/>
                  </a:lnTo>
                  <a:close/>
                  <a:moveTo>
                    <a:pt x="1035" y="115"/>
                  </a:moveTo>
                  <a:lnTo>
                    <a:pt x="1037" y="115"/>
                  </a:lnTo>
                  <a:lnTo>
                    <a:pt x="1037" y="115"/>
                  </a:lnTo>
                  <a:lnTo>
                    <a:pt x="1037" y="115"/>
                  </a:lnTo>
                  <a:lnTo>
                    <a:pt x="1037" y="115"/>
                  </a:lnTo>
                  <a:lnTo>
                    <a:pt x="1037" y="112"/>
                  </a:lnTo>
                  <a:lnTo>
                    <a:pt x="1037" y="112"/>
                  </a:lnTo>
                  <a:lnTo>
                    <a:pt x="1040" y="112"/>
                  </a:lnTo>
                  <a:lnTo>
                    <a:pt x="1040" y="112"/>
                  </a:lnTo>
                  <a:lnTo>
                    <a:pt x="1040" y="112"/>
                  </a:lnTo>
                  <a:lnTo>
                    <a:pt x="1035" y="112"/>
                  </a:lnTo>
                  <a:lnTo>
                    <a:pt x="1035" y="112"/>
                  </a:lnTo>
                  <a:lnTo>
                    <a:pt x="1032" y="112"/>
                  </a:lnTo>
                  <a:lnTo>
                    <a:pt x="1032" y="112"/>
                  </a:lnTo>
                  <a:lnTo>
                    <a:pt x="1032" y="112"/>
                  </a:lnTo>
                  <a:lnTo>
                    <a:pt x="1032" y="112"/>
                  </a:lnTo>
                  <a:lnTo>
                    <a:pt x="1032" y="115"/>
                  </a:lnTo>
                  <a:lnTo>
                    <a:pt x="1032" y="115"/>
                  </a:lnTo>
                  <a:lnTo>
                    <a:pt x="1032" y="115"/>
                  </a:lnTo>
                  <a:lnTo>
                    <a:pt x="1032" y="115"/>
                  </a:lnTo>
                  <a:lnTo>
                    <a:pt x="1032" y="115"/>
                  </a:lnTo>
                  <a:lnTo>
                    <a:pt x="1035" y="115"/>
                  </a:lnTo>
                  <a:close/>
                  <a:moveTo>
                    <a:pt x="1030" y="160"/>
                  </a:moveTo>
                  <a:lnTo>
                    <a:pt x="1032" y="158"/>
                  </a:lnTo>
                  <a:lnTo>
                    <a:pt x="1035" y="155"/>
                  </a:lnTo>
                  <a:lnTo>
                    <a:pt x="1037" y="155"/>
                  </a:lnTo>
                  <a:lnTo>
                    <a:pt x="1037" y="155"/>
                  </a:lnTo>
                  <a:lnTo>
                    <a:pt x="1040" y="155"/>
                  </a:lnTo>
                  <a:lnTo>
                    <a:pt x="1045" y="153"/>
                  </a:lnTo>
                  <a:lnTo>
                    <a:pt x="1048" y="150"/>
                  </a:lnTo>
                  <a:lnTo>
                    <a:pt x="1050" y="150"/>
                  </a:lnTo>
                  <a:lnTo>
                    <a:pt x="1053" y="150"/>
                  </a:lnTo>
                  <a:lnTo>
                    <a:pt x="1050" y="148"/>
                  </a:lnTo>
                  <a:lnTo>
                    <a:pt x="1050" y="148"/>
                  </a:lnTo>
                  <a:lnTo>
                    <a:pt x="1045" y="148"/>
                  </a:lnTo>
                  <a:lnTo>
                    <a:pt x="1037" y="145"/>
                  </a:lnTo>
                  <a:lnTo>
                    <a:pt x="1035" y="148"/>
                  </a:lnTo>
                  <a:lnTo>
                    <a:pt x="1027" y="148"/>
                  </a:lnTo>
                  <a:lnTo>
                    <a:pt x="1027" y="148"/>
                  </a:lnTo>
                  <a:lnTo>
                    <a:pt x="1027" y="145"/>
                  </a:lnTo>
                  <a:lnTo>
                    <a:pt x="1025" y="145"/>
                  </a:lnTo>
                  <a:lnTo>
                    <a:pt x="1025" y="145"/>
                  </a:lnTo>
                  <a:lnTo>
                    <a:pt x="1019" y="145"/>
                  </a:lnTo>
                  <a:lnTo>
                    <a:pt x="1017" y="143"/>
                  </a:lnTo>
                  <a:lnTo>
                    <a:pt x="1014" y="143"/>
                  </a:lnTo>
                  <a:lnTo>
                    <a:pt x="1009" y="145"/>
                  </a:lnTo>
                  <a:lnTo>
                    <a:pt x="1007" y="145"/>
                  </a:lnTo>
                  <a:lnTo>
                    <a:pt x="999" y="145"/>
                  </a:lnTo>
                  <a:lnTo>
                    <a:pt x="997" y="145"/>
                  </a:lnTo>
                  <a:lnTo>
                    <a:pt x="991" y="145"/>
                  </a:lnTo>
                  <a:lnTo>
                    <a:pt x="991" y="145"/>
                  </a:lnTo>
                  <a:lnTo>
                    <a:pt x="989" y="148"/>
                  </a:lnTo>
                  <a:lnTo>
                    <a:pt x="989" y="148"/>
                  </a:lnTo>
                  <a:lnTo>
                    <a:pt x="986" y="148"/>
                  </a:lnTo>
                  <a:lnTo>
                    <a:pt x="986" y="148"/>
                  </a:lnTo>
                  <a:lnTo>
                    <a:pt x="986" y="148"/>
                  </a:lnTo>
                  <a:lnTo>
                    <a:pt x="986" y="150"/>
                  </a:lnTo>
                  <a:lnTo>
                    <a:pt x="986" y="153"/>
                  </a:lnTo>
                  <a:lnTo>
                    <a:pt x="986" y="153"/>
                  </a:lnTo>
                  <a:lnTo>
                    <a:pt x="989" y="153"/>
                  </a:lnTo>
                  <a:lnTo>
                    <a:pt x="989" y="153"/>
                  </a:lnTo>
                  <a:lnTo>
                    <a:pt x="986" y="153"/>
                  </a:lnTo>
                  <a:lnTo>
                    <a:pt x="984" y="153"/>
                  </a:lnTo>
                  <a:lnTo>
                    <a:pt x="981" y="150"/>
                  </a:lnTo>
                  <a:lnTo>
                    <a:pt x="979" y="150"/>
                  </a:lnTo>
                  <a:lnTo>
                    <a:pt x="976" y="153"/>
                  </a:lnTo>
                  <a:lnTo>
                    <a:pt x="976" y="153"/>
                  </a:lnTo>
                  <a:lnTo>
                    <a:pt x="976" y="153"/>
                  </a:lnTo>
                  <a:lnTo>
                    <a:pt x="974" y="153"/>
                  </a:lnTo>
                  <a:lnTo>
                    <a:pt x="974" y="155"/>
                  </a:lnTo>
                  <a:lnTo>
                    <a:pt x="968" y="158"/>
                  </a:lnTo>
                  <a:lnTo>
                    <a:pt x="966" y="163"/>
                  </a:lnTo>
                  <a:lnTo>
                    <a:pt x="966" y="163"/>
                  </a:lnTo>
                  <a:lnTo>
                    <a:pt x="963" y="165"/>
                  </a:lnTo>
                  <a:lnTo>
                    <a:pt x="961" y="165"/>
                  </a:lnTo>
                  <a:lnTo>
                    <a:pt x="961" y="168"/>
                  </a:lnTo>
                  <a:lnTo>
                    <a:pt x="958" y="168"/>
                  </a:lnTo>
                  <a:lnTo>
                    <a:pt x="958" y="168"/>
                  </a:lnTo>
                  <a:lnTo>
                    <a:pt x="958" y="173"/>
                  </a:lnTo>
                  <a:lnTo>
                    <a:pt x="956" y="176"/>
                  </a:lnTo>
                  <a:lnTo>
                    <a:pt x="953" y="181"/>
                  </a:lnTo>
                  <a:lnTo>
                    <a:pt x="948" y="183"/>
                  </a:lnTo>
                  <a:lnTo>
                    <a:pt x="951" y="183"/>
                  </a:lnTo>
                  <a:lnTo>
                    <a:pt x="958" y="183"/>
                  </a:lnTo>
                  <a:lnTo>
                    <a:pt x="958" y="183"/>
                  </a:lnTo>
                  <a:lnTo>
                    <a:pt x="963" y="183"/>
                  </a:lnTo>
                  <a:lnTo>
                    <a:pt x="966" y="183"/>
                  </a:lnTo>
                  <a:lnTo>
                    <a:pt x="968" y="181"/>
                  </a:lnTo>
                  <a:lnTo>
                    <a:pt x="971" y="178"/>
                  </a:lnTo>
                  <a:lnTo>
                    <a:pt x="979" y="176"/>
                  </a:lnTo>
                  <a:lnTo>
                    <a:pt x="981" y="176"/>
                  </a:lnTo>
                  <a:lnTo>
                    <a:pt x="981" y="173"/>
                  </a:lnTo>
                  <a:lnTo>
                    <a:pt x="981" y="173"/>
                  </a:lnTo>
                  <a:lnTo>
                    <a:pt x="981" y="173"/>
                  </a:lnTo>
                  <a:lnTo>
                    <a:pt x="981" y="171"/>
                  </a:lnTo>
                  <a:lnTo>
                    <a:pt x="981" y="171"/>
                  </a:lnTo>
                  <a:lnTo>
                    <a:pt x="979" y="171"/>
                  </a:lnTo>
                  <a:lnTo>
                    <a:pt x="976" y="171"/>
                  </a:lnTo>
                  <a:lnTo>
                    <a:pt x="986" y="168"/>
                  </a:lnTo>
                  <a:lnTo>
                    <a:pt x="989" y="168"/>
                  </a:lnTo>
                  <a:lnTo>
                    <a:pt x="1002" y="171"/>
                  </a:lnTo>
                  <a:lnTo>
                    <a:pt x="1004" y="171"/>
                  </a:lnTo>
                  <a:lnTo>
                    <a:pt x="1007" y="171"/>
                  </a:lnTo>
                  <a:lnTo>
                    <a:pt x="1012" y="168"/>
                  </a:lnTo>
                  <a:lnTo>
                    <a:pt x="1014" y="165"/>
                  </a:lnTo>
                  <a:lnTo>
                    <a:pt x="1019" y="165"/>
                  </a:lnTo>
                  <a:lnTo>
                    <a:pt x="1022" y="163"/>
                  </a:lnTo>
                  <a:lnTo>
                    <a:pt x="1025" y="160"/>
                  </a:lnTo>
                  <a:lnTo>
                    <a:pt x="1025" y="160"/>
                  </a:lnTo>
                  <a:lnTo>
                    <a:pt x="1022" y="160"/>
                  </a:lnTo>
                  <a:lnTo>
                    <a:pt x="1027" y="160"/>
                  </a:lnTo>
                  <a:lnTo>
                    <a:pt x="1030" y="160"/>
                  </a:lnTo>
                  <a:close/>
                  <a:moveTo>
                    <a:pt x="961" y="71"/>
                  </a:moveTo>
                  <a:lnTo>
                    <a:pt x="963" y="71"/>
                  </a:lnTo>
                  <a:lnTo>
                    <a:pt x="968" y="74"/>
                  </a:lnTo>
                  <a:lnTo>
                    <a:pt x="974" y="71"/>
                  </a:lnTo>
                  <a:lnTo>
                    <a:pt x="986" y="71"/>
                  </a:lnTo>
                  <a:lnTo>
                    <a:pt x="984" y="71"/>
                  </a:lnTo>
                  <a:lnTo>
                    <a:pt x="984" y="71"/>
                  </a:lnTo>
                  <a:lnTo>
                    <a:pt x="984" y="71"/>
                  </a:lnTo>
                  <a:lnTo>
                    <a:pt x="984" y="74"/>
                  </a:lnTo>
                  <a:lnTo>
                    <a:pt x="984" y="74"/>
                  </a:lnTo>
                  <a:lnTo>
                    <a:pt x="989" y="71"/>
                  </a:lnTo>
                  <a:lnTo>
                    <a:pt x="991" y="71"/>
                  </a:lnTo>
                  <a:lnTo>
                    <a:pt x="994" y="74"/>
                  </a:lnTo>
                  <a:lnTo>
                    <a:pt x="1002" y="74"/>
                  </a:lnTo>
                  <a:lnTo>
                    <a:pt x="1004" y="74"/>
                  </a:lnTo>
                  <a:lnTo>
                    <a:pt x="1004" y="74"/>
                  </a:lnTo>
                  <a:lnTo>
                    <a:pt x="1004" y="76"/>
                  </a:lnTo>
                  <a:lnTo>
                    <a:pt x="1004" y="76"/>
                  </a:lnTo>
                  <a:lnTo>
                    <a:pt x="1002" y="76"/>
                  </a:lnTo>
                  <a:lnTo>
                    <a:pt x="1002" y="76"/>
                  </a:lnTo>
                  <a:lnTo>
                    <a:pt x="1002" y="79"/>
                  </a:lnTo>
                  <a:lnTo>
                    <a:pt x="1002" y="79"/>
                  </a:lnTo>
                  <a:lnTo>
                    <a:pt x="1004" y="79"/>
                  </a:lnTo>
                  <a:lnTo>
                    <a:pt x="1009" y="82"/>
                  </a:lnTo>
                  <a:lnTo>
                    <a:pt x="1012" y="79"/>
                  </a:lnTo>
                  <a:lnTo>
                    <a:pt x="1017" y="79"/>
                  </a:lnTo>
                  <a:lnTo>
                    <a:pt x="1019" y="79"/>
                  </a:lnTo>
                  <a:lnTo>
                    <a:pt x="1022" y="79"/>
                  </a:lnTo>
                  <a:lnTo>
                    <a:pt x="1025" y="76"/>
                  </a:lnTo>
                  <a:lnTo>
                    <a:pt x="1025" y="76"/>
                  </a:lnTo>
                  <a:lnTo>
                    <a:pt x="1025" y="76"/>
                  </a:lnTo>
                  <a:lnTo>
                    <a:pt x="1027" y="76"/>
                  </a:lnTo>
                  <a:lnTo>
                    <a:pt x="1027" y="74"/>
                  </a:lnTo>
                  <a:lnTo>
                    <a:pt x="1025" y="71"/>
                  </a:lnTo>
                  <a:lnTo>
                    <a:pt x="1022" y="71"/>
                  </a:lnTo>
                  <a:lnTo>
                    <a:pt x="1022" y="71"/>
                  </a:lnTo>
                  <a:lnTo>
                    <a:pt x="1025" y="71"/>
                  </a:lnTo>
                  <a:lnTo>
                    <a:pt x="1025" y="71"/>
                  </a:lnTo>
                  <a:lnTo>
                    <a:pt x="1025" y="69"/>
                  </a:lnTo>
                  <a:lnTo>
                    <a:pt x="1025" y="69"/>
                  </a:lnTo>
                  <a:lnTo>
                    <a:pt x="1027" y="69"/>
                  </a:lnTo>
                  <a:lnTo>
                    <a:pt x="1030" y="69"/>
                  </a:lnTo>
                  <a:lnTo>
                    <a:pt x="1032" y="69"/>
                  </a:lnTo>
                  <a:lnTo>
                    <a:pt x="1032" y="66"/>
                  </a:lnTo>
                  <a:lnTo>
                    <a:pt x="1030" y="66"/>
                  </a:lnTo>
                  <a:lnTo>
                    <a:pt x="1030" y="66"/>
                  </a:lnTo>
                  <a:lnTo>
                    <a:pt x="1027" y="64"/>
                  </a:lnTo>
                  <a:lnTo>
                    <a:pt x="1019" y="64"/>
                  </a:lnTo>
                  <a:lnTo>
                    <a:pt x="1017" y="64"/>
                  </a:lnTo>
                  <a:lnTo>
                    <a:pt x="1017" y="64"/>
                  </a:lnTo>
                  <a:lnTo>
                    <a:pt x="1019" y="64"/>
                  </a:lnTo>
                  <a:lnTo>
                    <a:pt x="1022" y="61"/>
                  </a:lnTo>
                  <a:lnTo>
                    <a:pt x="1022" y="61"/>
                  </a:lnTo>
                  <a:lnTo>
                    <a:pt x="1022" y="61"/>
                  </a:lnTo>
                  <a:lnTo>
                    <a:pt x="1022" y="61"/>
                  </a:lnTo>
                  <a:lnTo>
                    <a:pt x="1019" y="61"/>
                  </a:lnTo>
                  <a:lnTo>
                    <a:pt x="1017" y="59"/>
                  </a:lnTo>
                  <a:lnTo>
                    <a:pt x="1014" y="59"/>
                  </a:lnTo>
                  <a:lnTo>
                    <a:pt x="1012" y="59"/>
                  </a:lnTo>
                  <a:lnTo>
                    <a:pt x="1009" y="61"/>
                  </a:lnTo>
                  <a:lnTo>
                    <a:pt x="1007" y="61"/>
                  </a:lnTo>
                  <a:lnTo>
                    <a:pt x="1004" y="61"/>
                  </a:lnTo>
                  <a:lnTo>
                    <a:pt x="1004" y="61"/>
                  </a:lnTo>
                  <a:lnTo>
                    <a:pt x="1002" y="61"/>
                  </a:lnTo>
                  <a:lnTo>
                    <a:pt x="999" y="64"/>
                  </a:lnTo>
                  <a:lnTo>
                    <a:pt x="1002" y="61"/>
                  </a:lnTo>
                  <a:lnTo>
                    <a:pt x="1002" y="61"/>
                  </a:lnTo>
                  <a:lnTo>
                    <a:pt x="1002" y="61"/>
                  </a:lnTo>
                  <a:lnTo>
                    <a:pt x="1002" y="61"/>
                  </a:lnTo>
                  <a:lnTo>
                    <a:pt x="1002" y="61"/>
                  </a:lnTo>
                  <a:lnTo>
                    <a:pt x="1004" y="61"/>
                  </a:lnTo>
                  <a:lnTo>
                    <a:pt x="1004" y="59"/>
                  </a:lnTo>
                  <a:lnTo>
                    <a:pt x="1004" y="59"/>
                  </a:lnTo>
                  <a:lnTo>
                    <a:pt x="1004" y="59"/>
                  </a:lnTo>
                  <a:lnTo>
                    <a:pt x="1004" y="56"/>
                  </a:lnTo>
                  <a:lnTo>
                    <a:pt x="1002" y="56"/>
                  </a:lnTo>
                  <a:lnTo>
                    <a:pt x="999" y="56"/>
                  </a:lnTo>
                  <a:lnTo>
                    <a:pt x="997" y="56"/>
                  </a:lnTo>
                  <a:lnTo>
                    <a:pt x="994" y="56"/>
                  </a:lnTo>
                  <a:lnTo>
                    <a:pt x="981" y="56"/>
                  </a:lnTo>
                  <a:lnTo>
                    <a:pt x="976" y="56"/>
                  </a:lnTo>
                  <a:lnTo>
                    <a:pt x="974" y="56"/>
                  </a:lnTo>
                  <a:lnTo>
                    <a:pt x="971" y="56"/>
                  </a:lnTo>
                  <a:lnTo>
                    <a:pt x="968" y="59"/>
                  </a:lnTo>
                  <a:lnTo>
                    <a:pt x="968" y="59"/>
                  </a:lnTo>
                  <a:lnTo>
                    <a:pt x="966" y="59"/>
                  </a:lnTo>
                  <a:lnTo>
                    <a:pt x="966" y="61"/>
                  </a:lnTo>
                  <a:lnTo>
                    <a:pt x="968" y="61"/>
                  </a:lnTo>
                  <a:lnTo>
                    <a:pt x="976" y="61"/>
                  </a:lnTo>
                  <a:lnTo>
                    <a:pt x="976" y="61"/>
                  </a:lnTo>
                  <a:lnTo>
                    <a:pt x="976" y="61"/>
                  </a:lnTo>
                  <a:lnTo>
                    <a:pt x="971" y="64"/>
                  </a:lnTo>
                  <a:lnTo>
                    <a:pt x="968" y="64"/>
                  </a:lnTo>
                  <a:lnTo>
                    <a:pt x="968" y="64"/>
                  </a:lnTo>
                  <a:lnTo>
                    <a:pt x="968" y="64"/>
                  </a:lnTo>
                  <a:lnTo>
                    <a:pt x="971" y="64"/>
                  </a:lnTo>
                  <a:lnTo>
                    <a:pt x="971" y="64"/>
                  </a:lnTo>
                  <a:lnTo>
                    <a:pt x="979" y="61"/>
                  </a:lnTo>
                  <a:lnTo>
                    <a:pt x="984" y="61"/>
                  </a:lnTo>
                  <a:lnTo>
                    <a:pt x="984" y="61"/>
                  </a:lnTo>
                  <a:lnTo>
                    <a:pt x="984" y="61"/>
                  </a:lnTo>
                  <a:lnTo>
                    <a:pt x="984" y="61"/>
                  </a:lnTo>
                  <a:lnTo>
                    <a:pt x="984" y="61"/>
                  </a:lnTo>
                  <a:lnTo>
                    <a:pt x="979" y="64"/>
                  </a:lnTo>
                  <a:lnTo>
                    <a:pt x="979" y="64"/>
                  </a:lnTo>
                  <a:lnTo>
                    <a:pt x="979" y="64"/>
                  </a:lnTo>
                  <a:lnTo>
                    <a:pt x="979" y="64"/>
                  </a:lnTo>
                  <a:lnTo>
                    <a:pt x="986" y="64"/>
                  </a:lnTo>
                  <a:lnTo>
                    <a:pt x="986" y="64"/>
                  </a:lnTo>
                  <a:lnTo>
                    <a:pt x="986" y="64"/>
                  </a:lnTo>
                  <a:lnTo>
                    <a:pt x="984" y="66"/>
                  </a:lnTo>
                  <a:lnTo>
                    <a:pt x="979" y="66"/>
                  </a:lnTo>
                  <a:lnTo>
                    <a:pt x="976" y="66"/>
                  </a:lnTo>
                  <a:lnTo>
                    <a:pt x="981" y="66"/>
                  </a:lnTo>
                  <a:lnTo>
                    <a:pt x="981" y="66"/>
                  </a:lnTo>
                  <a:lnTo>
                    <a:pt x="979" y="69"/>
                  </a:lnTo>
                  <a:lnTo>
                    <a:pt x="976" y="69"/>
                  </a:lnTo>
                  <a:lnTo>
                    <a:pt x="971" y="69"/>
                  </a:lnTo>
                  <a:lnTo>
                    <a:pt x="966" y="69"/>
                  </a:lnTo>
                  <a:lnTo>
                    <a:pt x="963" y="69"/>
                  </a:lnTo>
                  <a:lnTo>
                    <a:pt x="963" y="69"/>
                  </a:lnTo>
                  <a:lnTo>
                    <a:pt x="961" y="69"/>
                  </a:lnTo>
                  <a:lnTo>
                    <a:pt x="958" y="69"/>
                  </a:lnTo>
                  <a:lnTo>
                    <a:pt x="958" y="71"/>
                  </a:lnTo>
                  <a:lnTo>
                    <a:pt x="958" y="71"/>
                  </a:lnTo>
                  <a:lnTo>
                    <a:pt x="961" y="71"/>
                  </a:lnTo>
                  <a:close/>
                  <a:moveTo>
                    <a:pt x="1114" y="102"/>
                  </a:moveTo>
                  <a:lnTo>
                    <a:pt x="1114" y="99"/>
                  </a:lnTo>
                  <a:lnTo>
                    <a:pt x="1116" y="99"/>
                  </a:lnTo>
                  <a:lnTo>
                    <a:pt x="1119" y="99"/>
                  </a:lnTo>
                  <a:lnTo>
                    <a:pt x="1119" y="99"/>
                  </a:lnTo>
                  <a:lnTo>
                    <a:pt x="1119" y="99"/>
                  </a:lnTo>
                  <a:lnTo>
                    <a:pt x="1119" y="97"/>
                  </a:lnTo>
                  <a:lnTo>
                    <a:pt x="1119" y="97"/>
                  </a:lnTo>
                  <a:lnTo>
                    <a:pt x="1116" y="97"/>
                  </a:lnTo>
                  <a:lnTo>
                    <a:pt x="1114" y="97"/>
                  </a:lnTo>
                  <a:lnTo>
                    <a:pt x="1111" y="97"/>
                  </a:lnTo>
                  <a:lnTo>
                    <a:pt x="1109" y="97"/>
                  </a:lnTo>
                  <a:lnTo>
                    <a:pt x="1109" y="99"/>
                  </a:lnTo>
                  <a:lnTo>
                    <a:pt x="1106" y="99"/>
                  </a:lnTo>
                  <a:lnTo>
                    <a:pt x="1106" y="99"/>
                  </a:lnTo>
                  <a:lnTo>
                    <a:pt x="1109" y="102"/>
                  </a:lnTo>
                  <a:lnTo>
                    <a:pt x="1109" y="102"/>
                  </a:lnTo>
                  <a:lnTo>
                    <a:pt x="1109" y="102"/>
                  </a:lnTo>
                  <a:lnTo>
                    <a:pt x="1109" y="102"/>
                  </a:lnTo>
                  <a:lnTo>
                    <a:pt x="1111" y="102"/>
                  </a:lnTo>
                  <a:lnTo>
                    <a:pt x="1114" y="102"/>
                  </a:lnTo>
                  <a:lnTo>
                    <a:pt x="1114" y="102"/>
                  </a:lnTo>
                  <a:lnTo>
                    <a:pt x="1114" y="102"/>
                  </a:lnTo>
                  <a:lnTo>
                    <a:pt x="1114" y="102"/>
                  </a:lnTo>
                  <a:lnTo>
                    <a:pt x="1114" y="102"/>
                  </a:lnTo>
                  <a:lnTo>
                    <a:pt x="1114" y="102"/>
                  </a:lnTo>
                  <a:close/>
                  <a:moveTo>
                    <a:pt x="1124" y="89"/>
                  </a:moveTo>
                  <a:lnTo>
                    <a:pt x="1129" y="89"/>
                  </a:lnTo>
                  <a:lnTo>
                    <a:pt x="1129" y="89"/>
                  </a:lnTo>
                  <a:lnTo>
                    <a:pt x="1132" y="89"/>
                  </a:lnTo>
                  <a:lnTo>
                    <a:pt x="1132" y="89"/>
                  </a:lnTo>
                  <a:lnTo>
                    <a:pt x="1132" y="87"/>
                  </a:lnTo>
                  <a:lnTo>
                    <a:pt x="1134" y="87"/>
                  </a:lnTo>
                  <a:lnTo>
                    <a:pt x="1132" y="87"/>
                  </a:lnTo>
                  <a:lnTo>
                    <a:pt x="1132" y="84"/>
                  </a:lnTo>
                  <a:lnTo>
                    <a:pt x="1129" y="84"/>
                  </a:lnTo>
                  <a:lnTo>
                    <a:pt x="1127" y="84"/>
                  </a:lnTo>
                  <a:lnTo>
                    <a:pt x="1124" y="84"/>
                  </a:lnTo>
                  <a:lnTo>
                    <a:pt x="1121" y="84"/>
                  </a:lnTo>
                  <a:lnTo>
                    <a:pt x="1119" y="84"/>
                  </a:lnTo>
                  <a:lnTo>
                    <a:pt x="1119" y="84"/>
                  </a:lnTo>
                  <a:lnTo>
                    <a:pt x="1116" y="84"/>
                  </a:lnTo>
                  <a:lnTo>
                    <a:pt x="1116" y="87"/>
                  </a:lnTo>
                  <a:lnTo>
                    <a:pt x="1114" y="87"/>
                  </a:lnTo>
                  <a:lnTo>
                    <a:pt x="1114" y="87"/>
                  </a:lnTo>
                  <a:lnTo>
                    <a:pt x="1114" y="89"/>
                  </a:lnTo>
                  <a:lnTo>
                    <a:pt x="1121" y="89"/>
                  </a:lnTo>
                  <a:lnTo>
                    <a:pt x="1124" y="89"/>
                  </a:lnTo>
                  <a:close/>
                  <a:moveTo>
                    <a:pt x="1076" y="82"/>
                  </a:moveTo>
                  <a:lnTo>
                    <a:pt x="1073" y="82"/>
                  </a:lnTo>
                  <a:lnTo>
                    <a:pt x="1068" y="82"/>
                  </a:lnTo>
                  <a:lnTo>
                    <a:pt x="1065" y="82"/>
                  </a:lnTo>
                  <a:lnTo>
                    <a:pt x="1063" y="82"/>
                  </a:lnTo>
                  <a:lnTo>
                    <a:pt x="1055" y="82"/>
                  </a:lnTo>
                  <a:lnTo>
                    <a:pt x="1055" y="82"/>
                  </a:lnTo>
                  <a:lnTo>
                    <a:pt x="1053" y="82"/>
                  </a:lnTo>
                  <a:lnTo>
                    <a:pt x="1053" y="84"/>
                  </a:lnTo>
                  <a:lnTo>
                    <a:pt x="1053" y="84"/>
                  </a:lnTo>
                  <a:lnTo>
                    <a:pt x="1053" y="87"/>
                  </a:lnTo>
                  <a:lnTo>
                    <a:pt x="1053" y="87"/>
                  </a:lnTo>
                  <a:lnTo>
                    <a:pt x="1073" y="87"/>
                  </a:lnTo>
                  <a:lnTo>
                    <a:pt x="1081" y="87"/>
                  </a:lnTo>
                  <a:lnTo>
                    <a:pt x="1081" y="87"/>
                  </a:lnTo>
                  <a:lnTo>
                    <a:pt x="1083" y="87"/>
                  </a:lnTo>
                  <a:lnTo>
                    <a:pt x="1086" y="87"/>
                  </a:lnTo>
                  <a:lnTo>
                    <a:pt x="1091" y="84"/>
                  </a:lnTo>
                  <a:lnTo>
                    <a:pt x="1093" y="82"/>
                  </a:lnTo>
                  <a:lnTo>
                    <a:pt x="1093" y="82"/>
                  </a:lnTo>
                  <a:lnTo>
                    <a:pt x="1093" y="82"/>
                  </a:lnTo>
                  <a:lnTo>
                    <a:pt x="1091" y="82"/>
                  </a:lnTo>
                  <a:lnTo>
                    <a:pt x="1091" y="82"/>
                  </a:lnTo>
                  <a:lnTo>
                    <a:pt x="1083" y="82"/>
                  </a:lnTo>
                  <a:lnTo>
                    <a:pt x="1076" y="82"/>
                  </a:lnTo>
                  <a:close/>
                  <a:moveTo>
                    <a:pt x="1231" y="160"/>
                  </a:moveTo>
                  <a:lnTo>
                    <a:pt x="1228" y="160"/>
                  </a:lnTo>
                  <a:lnTo>
                    <a:pt x="1226" y="158"/>
                  </a:lnTo>
                  <a:lnTo>
                    <a:pt x="1226" y="158"/>
                  </a:lnTo>
                  <a:lnTo>
                    <a:pt x="1226" y="158"/>
                  </a:lnTo>
                  <a:lnTo>
                    <a:pt x="1226" y="155"/>
                  </a:lnTo>
                  <a:lnTo>
                    <a:pt x="1226" y="155"/>
                  </a:lnTo>
                  <a:lnTo>
                    <a:pt x="1218" y="153"/>
                  </a:lnTo>
                  <a:lnTo>
                    <a:pt x="1213" y="153"/>
                  </a:lnTo>
                  <a:lnTo>
                    <a:pt x="1198" y="153"/>
                  </a:lnTo>
                  <a:lnTo>
                    <a:pt x="1198" y="153"/>
                  </a:lnTo>
                  <a:lnTo>
                    <a:pt x="1193" y="153"/>
                  </a:lnTo>
                  <a:lnTo>
                    <a:pt x="1190" y="153"/>
                  </a:lnTo>
                  <a:lnTo>
                    <a:pt x="1188" y="150"/>
                  </a:lnTo>
                  <a:lnTo>
                    <a:pt x="1185" y="150"/>
                  </a:lnTo>
                  <a:lnTo>
                    <a:pt x="1183" y="150"/>
                  </a:lnTo>
                  <a:lnTo>
                    <a:pt x="1180" y="150"/>
                  </a:lnTo>
                  <a:lnTo>
                    <a:pt x="1180" y="153"/>
                  </a:lnTo>
                  <a:lnTo>
                    <a:pt x="1180" y="153"/>
                  </a:lnTo>
                  <a:lnTo>
                    <a:pt x="1177" y="155"/>
                  </a:lnTo>
                  <a:lnTo>
                    <a:pt x="1177" y="155"/>
                  </a:lnTo>
                  <a:lnTo>
                    <a:pt x="1177" y="155"/>
                  </a:lnTo>
                  <a:lnTo>
                    <a:pt x="1177" y="155"/>
                  </a:lnTo>
                  <a:lnTo>
                    <a:pt x="1177" y="155"/>
                  </a:lnTo>
                  <a:lnTo>
                    <a:pt x="1175" y="158"/>
                  </a:lnTo>
                  <a:lnTo>
                    <a:pt x="1175" y="158"/>
                  </a:lnTo>
                  <a:lnTo>
                    <a:pt x="1175" y="158"/>
                  </a:lnTo>
                  <a:lnTo>
                    <a:pt x="1175" y="160"/>
                  </a:lnTo>
                  <a:lnTo>
                    <a:pt x="1175" y="160"/>
                  </a:lnTo>
                  <a:lnTo>
                    <a:pt x="1180" y="160"/>
                  </a:lnTo>
                  <a:lnTo>
                    <a:pt x="1180" y="160"/>
                  </a:lnTo>
                  <a:lnTo>
                    <a:pt x="1180" y="163"/>
                  </a:lnTo>
                  <a:lnTo>
                    <a:pt x="1180" y="163"/>
                  </a:lnTo>
                  <a:lnTo>
                    <a:pt x="1177" y="165"/>
                  </a:lnTo>
                  <a:lnTo>
                    <a:pt x="1177" y="168"/>
                  </a:lnTo>
                  <a:lnTo>
                    <a:pt x="1177" y="168"/>
                  </a:lnTo>
                  <a:lnTo>
                    <a:pt x="1180" y="168"/>
                  </a:lnTo>
                  <a:lnTo>
                    <a:pt x="1183" y="171"/>
                  </a:lnTo>
                  <a:lnTo>
                    <a:pt x="1185" y="171"/>
                  </a:lnTo>
                  <a:lnTo>
                    <a:pt x="1188" y="168"/>
                  </a:lnTo>
                  <a:lnTo>
                    <a:pt x="1198" y="168"/>
                  </a:lnTo>
                  <a:lnTo>
                    <a:pt x="1200" y="168"/>
                  </a:lnTo>
                  <a:lnTo>
                    <a:pt x="1208" y="168"/>
                  </a:lnTo>
                  <a:lnTo>
                    <a:pt x="1218" y="168"/>
                  </a:lnTo>
                  <a:lnTo>
                    <a:pt x="1226" y="168"/>
                  </a:lnTo>
                  <a:lnTo>
                    <a:pt x="1231" y="168"/>
                  </a:lnTo>
                  <a:lnTo>
                    <a:pt x="1231" y="168"/>
                  </a:lnTo>
                  <a:lnTo>
                    <a:pt x="1231" y="165"/>
                  </a:lnTo>
                  <a:lnTo>
                    <a:pt x="1231" y="165"/>
                  </a:lnTo>
                  <a:lnTo>
                    <a:pt x="1231" y="165"/>
                  </a:lnTo>
                  <a:lnTo>
                    <a:pt x="1234" y="163"/>
                  </a:lnTo>
                  <a:lnTo>
                    <a:pt x="1231" y="163"/>
                  </a:lnTo>
                  <a:lnTo>
                    <a:pt x="1231" y="163"/>
                  </a:lnTo>
                  <a:lnTo>
                    <a:pt x="1231" y="163"/>
                  </a:lnTo>
                  <a:lnTo>
                    <a:pt x="1231" y="160"/>
                  </a:lnTo>
                  <a:lnTo>
                    <a:pt x="1231" y="160"/>
                  </a:lnTo>
                  <a:close/>
                  <a:moveTo>
                    <a:pt x="1121" y="51"/>
                  </a:moveTo>
                  <a:lnTo>
                    <a:pt x="1109" y="51"/>
                  </a:lnTo>
                  <a:lnTo>
                    <a:pt x="1104" y="51"/>
                  </a:lnTo>
                  <a:lnTo>
                    <a:pt x="1104" y="54"/>
                  </a:lnTo>
                  <a:lnTo>
                    <a:pt x="1098" y="54"/>
                  </a:lnTo>
                  <a:lnTo>
                    <a:pt x="1101" y="54"/>
                  </a:lnTo>
                  <a:lnTo>
                    <a:pt x="1104" y="56"/>
                  </a:lnTo>
                  <a:lnTo>
                    <a:pt x="1104" y="56"/>
                  </a:lnTo>
                  <a:lnTo>
                    <a:pt x="1106" y="56"/>
                  </a:lnTo>
                  <a:lnTo>
                    <a:pt x="1109" y="56"/>
                  </a:lnTo>
                  <a:lnTo>
                    <a:pt x="1116" y="54"/>
                  </a:lnTo>
                  <a:lnTo>
                    <a:pt x="1116" y="54"/>
                  </a:lnTo>
                  <a:lnTo>
                    <a:pt x="1119" y="54"/>
                  </a:lnTo>
                  <a:lnTo>
                    <a:pt x="1121" y="54"/>
                  </a:lnTo>
                  <a:lnTo>
                    <a:pt x="1121" y="54"/>
                  </a:lnTo>
                  <a:lnTo>
                    <a:pt x="1119" y="56"/>
                  </a:lnTo>
                  <a:lnTo>
                    <a:pt x="1119" y="56"/>
                  </a:lnTo>
                  <a:lnTo>
                    <a:pt x="1119" y="56"/>
                  </a:lnTo>
                  <a:lnTo>
                    <a:pt x="1119" y="56"/>
                  </a:lnTo>
                  <a:lnTo>
                    <a:pt x="1119" y="56"/>
                  </a:lnTo>
                  <a:lnTo>
                    <a:pt x="1127" y="56"/>
                  </a:lnTo>
                  <a:lnTo>
                    <a:pt x="1129" y="56"/>
                  </a:lnTo>
                  <a:lnTo>
                    <a:pt x="1134" y="54"/>
                  </a:lnTo>
                  <a:lnTo>
                    <a:pt x="1137" y="54"/>
                  </a:lnTo>
                  <a:lnTo>
                    <a:pt x="1139" y="54"/>
                  </a:lnTo>
                  <a:lnTo>
                    <a:pt x="1142" y="54"/>
                  </a:lnTo>
                  <a:lnTo>
                    <a:pt x="1142" y="54"/>
                  </a:lnTo>
                  <a:lnTo>
                    <a:pt x="1149" y="56"/>
                  </a:lnTo>
                  <a:lnTo>
                    <a:pt x="1155" y="54"/>
                  </a:lnTo>
                  <a:lnTo>
                    <a:pt x="1155" y="56"/>
                  </a:lnTo>
                  <a:lnTo>
                    <a:pt x="1147" y="56"/>
                  </a:lnTo>
                  <a:lnTo>
                    <a:pt x="1137" y="56"/>
                  </a:lnTo>
                  <a:lnTo>
                    <a:pt x="1134" y="59"/>
                  </a:lnTo>
                  <a:lnTo>
                    <a:pt x="1132" y="59"/>
                  </a:lnTo>
                  <a:lnTo>
                    <a:pt x="1127" y="59"/>
                  </a:lnTo>
                  <a:lnTo>
                    <a:pt x="1124" y="59"/>
                  </a:lnTo>
                  <a:lnTo>
                    <a:pt x="1114" y="61"/>
                  </a:lnTo>
                  <a:lnTo>
                    <a:pt x="1111" y="61"/>
                  </a:lnTo>
                  <a:lnTo>
                    <a:pt x="1109" y="61"/>
                  </a:lnTo>
                  <a:lnTo>
                    <a:pt x="1109" y="61"/>
                  </a:lnTo>
                  <a:lnTo>
                    <a:pt x="1109" y="61"/>
                  </a:lnTo>
                  <a:lnTo>
                    <a:pt x="1111" y="64"/>
                  </a:lnTo>
                  <a:lnTo>
                    <a:pt x="1116" y="64"/>
                  </a:lnTo>
                  <a:lnTo>
                    <a:pt x="1119" y="64"/>
                  </a:lnTo>
                  <a:lnTo>
                    <a:pt x="1116" y="64"/>
                  </a:lnTo>
                  <a:lnTo>
                    <a:pt x="1114" y="64"/>
                  </a:lnTo>
                  <a:lnTo>
                    <a:pt x="1111" y="64"/>
                  </a:lnTo>
                  <a:lnTo>
                    <a:pt x="1111" y="64"/>
                  </a:lnTo>
                  <a:lnTo>
                    <a:pt x="1111" y="66"/>
                  </a:lnTo>
                  <a:lnTo>
                    <a:pt x="1111" y="66"/>
                  </a:lnTo>
                  <a:lnTo>
                    <a:pt x="1114" y="66"/>
                  </a:lnTo>
                  <a:lnTo>
                    <a:pt x="1114" y="66"/>
                  </a:lnTo>
                  <a:lnTo>
                    <a:pt x="1116" y="66"/>
                  </a:lnTo>
                  <a:lnTo>
                    <a:pt x="1119" y="66"/>
                  </a:lnTo>
                  <a:lnTo>
                    <a:pt x="1129" y="69"/>
                  </a:lnTo>
                  <a:lnTo>
                    <a:pt x="1129" y="69"/>
                  </a:lnTo>
                  <a:lnTo>
                    <a:pt x="1124" y="69"/>
                  </a:lnTo>
                  <a:lnTo>
                    <a:pt x="1116" y="69"/>
                  </a:lnTo>
                  <a:lnTo>
                    <a:pt x="1114" y="69"/>
                  </a:lnTo>
                  <a:lnTo>
                    <a:pt x="1114" y="69"/>
                  </a:lnTo>
                  <a:lnTo>
                    <a:pt x="1116" y="71"/>
                  </a:lnTo>
                  <a:lnTo>
                    <a:pt x="1119" y="71"/>
                  </a:lnTo>
                  <a:lnTo>
                    <a:pt x="1121" y="74"/>
                  </a:lnTo>
                  <a:lnTo>
                    <a:pt x="1127" y="74"/>
                  </a:lnTo>
                  <a:lnTo>
                    <a:pt x="1134" y="74"/>
                  </a:lnTo>
                  <a:lnTo>
                    <a:pt x="1137" y="74"/>
                  </a:lnTo>
                  <a:lnTo>
                    <a:pt x="1139" y="74"/>
                  </a:lnTo>
                  <a:lnTo>
                    <a:pt x="1142" y="74"/>
                  </a:lnTo>
                  <a:lnTo>
                    <a:pt x="1142" y="74"/>
                  </a:lnTo>
                  <a:lnTo>
                    <a:pt x="1142" y="74"/>
                  </a:lnTo>
                  <a:lnTo>
                    <a:pt x="1142" y="74"/>
                  </a:lnTo>
                  <a:lnTo>
                    <a:pt x="1139" y="71"/>
                  </a:lnTo>
                  <a:lnTo>
                    <a:pt x="1139" y="71"/>
                  </a:lnTo>
                  <a:lnTo>
                    <a:pt x="1142" y="71"/>
                  </a:lnTo>
                  <a:lnTo>
                    <a:pt x="1144" y="71"/>
                  </a:lnTo>
                  <a:lnTo>
                    <a:pt x="1147" y="71"/>
                  </a:lnTo>
                  <a:lnTo>
                    <a:pt x="1147" y="71"/>
                  </a:lnTo>
                  <a:lnTo>
                    <a:pt x="1147" y="74"/>
                  </a:lnTo>
                  <a:lnTo>
                    <a:pt x="1149" y="74"/>
                  </a:lnTo>
                  <a:lnTo>
                    <a:pt x="1149" y="74"/>
                  </a:lnTo>
                  <a:lnTo>
                    <a:pt x="1149" y="74"/>
                  </a:lnTo>
                  <a:lnTo>
                    <a:pt x="1152" y="74"/>
                  </a:lnTo>
                  <a:lnTo>
                    <a:pt x="1152" y="74"/>
                  </a:lnTo>
                  <a:lnTo>
                    <a:pt x="1152" y="74"/>
                  </a:lnTo>
                  <a:lnTo>
                    <a:pt x="1152" y="71"/>
                  </a:lnTo>
                  <a:lnTo>
                    <a:pt x="1152" y="71"/>
                  </a:lnTo>
                  <a:lnTo>
                    <a:pt x="1152" y="69"/>
                  </a:lnTo>
                  <a:lnTo>
                    <a:pt x="1152" y="69"/>
                  </a:lnTo>
                  <a:lnTo>
                    <a:pt x="1155" y="66"/>
                  </a:lnTo>
                  <a:lnTo>
                    <a:pt x="1155" y="66"/>
                  </a:lnTo>
                  <a:lnTo>
                    <a:pt x="1155" y="69"/>
                  </a:lnTo>
                  <a:lnTo>
                    <a:pt x="1155" y="69"/>
                  </a:lnTo>
                  <a:lnTo>
                    <a:pt x="1157" y="71"/>
                  </a:lnTo>
                  <a:lnTo>
                    <a:pt x="1157" y="74"/>
                  </a:lnTo>
                  <a:lnTo>
                    <a:pt x="1160" y="74"/>
                  </a:lnTo>
                  <a:lnTo>
                    <a:pt x="1160" y="74"/>
                  </a:lnTo>
                  <a:lnTo>
                    <a:pt x="1162" y="74"/>
                  </a:lnTo>
                  <a:lnTo>
                    <a:pt x="1162" y="74"/>
                  </a:lnTo>
                  <a:lnTo>
                    <a:pt x="1167" y="71"/>
                  </a:lnTo>
                  <a:lnTo>
                    <a:pt x="1167" y="71"/>
                  </a:lnTo>
                  <a:lnTo>
                    <a:pt x="1170" y="69"/>
                  </a:lnTo>
                  <a:lnTo>
                    <a:pt x="1170" y="69"/>
                  </a:lnTo>
                  <a:lnTo>
                    <a:pt x="1170" y="66"/>
                  </a:lnTo>
                  <a:lnTo>
                    <a:pt x="1170" y="66"/>
                  </a:lnTo>
                  <a:lnTo>
                    <a:pt x="1172" y="66"/>
                  </a:lnTo>
                  <a:lnTo>
                    <a:pt x="1175" y="69"/>
                  </a:lnTo>
                  <a:lnTo>
                    <a:pt x="1175" y="69"/>
                  </a:lnTo>
                  <a:lnTo>
                    <a:pt x="1177" y="69"/>
                  </a:lnTo>
                  <a:lnTo>
                    <a:pt x="1180" y="69"/>
                  </a:lnTo>
                  <a:lnTo>
                    <a:pt x="1180" y="69"/>
                  </a:lnTo>
                  <a:lnTo>
                    <a:pt x="1180" y="66"/>
                  </a:lnTo>
                  <a:lnTo>
                    <a:pt x="1180" y="66"/>
                  </a:lnTo>
                  <a:lnTo>
                    <a:pt x="1180" y="66"/>
                  </a:lnTo>
                  <a:lnTo>
                    <a:pt x="1177" y="66"/>
                  </a:lnTo>
                  <a:lnTo>
                    <a:pt x="1177" y="66"/>
                  </a:lnTo>
                  <a:lnTo>
                    <a:pt x="1180" y="66"/>
                  </a:lnTo>
                  <a:lnTo>
                    <a:pt x="1180" y="64"/>
                  </a:lnTo>
                  <a:lnTo>
                    <a:pt x="1183" y="64"/>
                  </a:lnTo>
                  <a:lnTo>
                    <a:pt x="1185" y="61"/>
                  </a:lnTo>
                  <a:lnTo>
                    <a:pt x="1188" y="61"/>
                  </a:lnTo>
                  <a:lnTo>
                    <a:pt x="1188" y="61"/>
                  </a:lnTo>
                  <a:lnTo>
                    <a:pt x="1190" y="61"/>
                  </a:lnTo>
                  <a:lnTo>
                    <a:pt x="1193" y="61"/>
                  </a:lnTo>
                  <a:lnTo>
                    <a:pt x="1193" y="61"/>
                  </a:lnTo>
                  <a:lnTo>
                    <a:pt x="1188" y="61"/>
                  </a:lnTo>
                  <a:lnTo>
                    <a:pt x="1188" y="61"/>
                  </a:lnTo>
                  <a:lnTo>
                    <a:pt x="1188" y="64"/>
                  </a:lnTo>
                  <a:lnTo>
                    <a:pt x="1185" y="64"/>
                  </a:lnTo>
                  <a:lnTo>
                    <a:pt x="1185" y="64"/>
                  </a:lnTo>
                  <a:lnTo>
                    <a:pt x="1185" y="66"/>
                  </a:lnTo>
                  <a:lnTo>
                    <a:pt x="1188" y="66"/>
                  </a:lnTo>
                  <a:lnTo>
                    <a:pt x="1190" y="66"/>
                  </a:lnTo>
                  <a:lnTo>
                    <a:pt x="1195" y="64"/>
                  </a:lnTo>
                  <a:lnTo>
                    <a:pt x="1198" y="64"/>
                  </a:lnTo>
                  <a:lnTo>
                    <a:pt x="1198" y="61"/>
                  </a:lnTo>
                  <a:lnTo>
                    <a:pt x="1200" y="61"/>
                  </a:lnTo>
                  <a:lnTo>
                    <a:pt x="1203" y="61"/>
                  </a:lnTo>
                  <a:lnTo>
                    <a:pt x="1203" y="61"/>
                  </a:lnTo>
                  <a:lnTo>
                    <a:pt x="1206" y="61"/>
                  </a:lnTo>
                  <a:lnTo>
                    <a:pt x="1208" y="61"/>
                  </a:lnTo>
                  <a:lnTo>
                    <a:pt x="1216" y="59"/>
                  </a:lnTo>
                  <a:lnTo>
                    <a:pt x="1226" y="59"/>
                  </a:lnTo>
                  <a:lnTo>
                    <a:pt x="1228" y="56"/>
                  </a:lnTo>
                  <a:lnTo>
                    <a:pt x="1231" y="56"/>
                  </a:lnTo>
                  <a:lnTo>
                    <a:pt x="1234" y="56"/>
                  </a:lnTo>
                  <a:lnTo>
                    <a:pt x="1231" y="54"/>
                  </a:lnTo>
                  <a:lnTo>
                    <a:pt x="1231" y="54"/>
                  </a:lnTo>
                  <a:lnTo>
                    <a:pt x="1231" y="51"/>
                  </a:lnTo>
                  <a:lnTo>
                    <a:pt x="1231" y="51"/>
                  </a:lnTo>
                  <a:lnTo>
                    <a:pt x="1228" y="51"/>
                  </a:lnTo>
                  <a:lnTo>
                    <a:pt x="1228" y="51"/>
                  </a:lnTo>
                  <a:lnTo>
                    <a:pt x="1223" y="54"/>
                  </a:lnTo>
                  <a:lnTo>
                    <a:pt x="1223" y="54"/>
                  </a:lnTo>
                  <a:lnTo>
                    <a:pt x="1223" y="51"/>
                  </a:lnTo>
                  <a:lnTo>
                    <a:pt x="1223" y="51"/>
                  </a:lnTo>
                  <a:lnTo>
                    <a:pt x="1223" y="51"/>
                  </a:lnTo>
                  <a:lnTo>
                    <a:pt x="1223" y="51"/>
                  </a:lnTo>
                  <a:lnTo>
                    <a:pt x="1218" y="51"/>
                  </a:lnTo>
                  <a:lnTo>
                    <a:pt x="1216" y="51"/>
                  </a:lnTo>
                  <a:lnTo>
                    <a:pt x="1213" y="51"/>
                  </a:lnTo>
                  <a:lnTo>
                    <a:pt x="1211" y="51"/>
                  </a:lnTo>
                  <a:lnTo>
                    <a:pt x="1211" y="51"/>
                  </a:lnTo>
                  <a:lnTo>
                    <a:pt x="1211" y="51"/>
                  </a:lnTo>
                  <a:lnTo>
                    <a:pt x="1213" y="51"/>
                  </a:lnTo>
                  <a:lnTo>
                    <a:pt x="1218" y="48"/>
                  </a:lnTo>
                  <a:lnTo>
                    <a:pt x="1221" y="46"/>
                  </a:lnTo>
                  <a:lnTo>
                    <a:pt x="1221" y="46"/>
                  </a:lnTo>
                  <a:lnTo>
                    <a:pt x="1221" y="43"/>
                  </a:lnTo>
                  <a:lnTo>
                    <a:pt x="1218" y="43"/>
                  </a:lnTo>
                  <a:lnTo>
                    <a:pt x="1216" y="43"/>
                  </a:lnTo>
                  <a:lnTo>
                    <a:pt x="1213" y="43"/>
                  </a:lnTo>
                  <a:lnTo>
                    <a:pt x="1213" y="43"/>
                  </a:lnTo>
                  <a:lnTo>
                    <a:pt x="1213" y="43"/>
                  </a:lnTo>
                  <a:lnTo>
                    <a:pt x="1218" y="43"/>
                  </a:lnTo>
                  <a:lnTo>
                    <a:pt x="1218" y="41"/>
                  </a:lnTo>
                  <a:lnTo>
                    <a:pt x="1221" y="41"/>
                  </a:lnTo>
                  <a:lnTo>
                    <a:pt x="1221" y="41"/>
                  </a:lnTo>
                  <a:lnTo>
                    <a:pt x="1221" y="38"/>
                  </a:lnTo>
                  <a:lnTo>
                    <a:pt x="1218" y="38"/>
                  </a:lnTo>
                  <a:lnTo>
                    <a:pt x="1216" y="38"/>
                  </a:lnTo>
                  <a:lnTo>
                    <a:pt x="1213" y="38"/>
                  </a:lnTo>
                  <a:lnTo>
                    <a:pt x="1211" y="38"/>
                  </a:lnTo>
                  <a:lnTo>
                    <a:pt x="1208" y="38"/>
                  </a:lnTo>
                  <a:lnTo>
                    <a:pt x="1208" y="41"/>
                  </a:lnTo>
                  <a:lnTo>
                    <a:pt x="1208" y="41"/>
                  </a:lnTo>
                  <a:lnTo>
                    <a:pt x="1208" y="41"/>
                  </a:lnTo>
                  <a:lnTo>
                    <a:pt x="1208" y="41"/>
                  </a:lnTo>
                  <a:lnTo>
                    <a:pt x="1211" y="43"/>
                  </a:lnTo>
                  <a:lnTo>
                    <a:pt x="1211" y="43"/>
                  </a:lnTo>
                  <a:lnTo>
                    <a:pt x="1208" y="43"/>
                  </a:lnTo>
                  <a:lnTo>
                    <a:pt x="1208" y="43"/>
                  </a:lnTo>
                  <a:lnTo>
                    <a:pt x="1206" y="43"/>
                  </a:lnTo>
                  <a:lnTo>
                    <a:pt x="1203" y="43"/>
                  </a:lnTo>
                  <a:lnTo>
                    <a:pt x="1200" y="41"/>
                  </a:lnTo>
                  <a:lnTo>
                    <a:pt x="1200" y="41"/>
                  </a:lnTo>
                  <a:lnTo>
                    <a:pt x="1200" y="41"/>
                  </a:lnTo>
                  <a:lnTo>
                    <a:pt x="1203" y="38"/>
                  </a:lnTo>
                  <a:lnTo>
                    <a:pt x="1203" y="38"/>
                  </a:lnTo>
                  <a:lnTo>
                    <a:pt x="1203" y="38"/>
                  </a:lnTo>
                  <a:lnTo>
                    <a:pt x="1203" y="38"/>
                  </a:lnTo>
                  <a:lnTo>
                    <a:pt x="1206" y="38"/>
                  </a:lnTo>
                  <a:lnTo>
                    <a:pt x="1206" y="38"/>
                  </a:lnTo>
                  <a:lnTo>
                    <a:pt x="1206" y="38"/>
                  </a:lnTo>
                  <a:lnTo>
                    <a:pt x="1206" y="38"/>
                  </a:lnTo>
                  <a:lnTo>
                    <a:pt x="1203" y="36"/>
                  </a:lnTo>
                  <a:lnTo>
                    <a:pt x="1200" y="36"/>
                  </a:lnTo>
                  <a:lnTo>
                    <a:pt x="1200" y="36"/>
                  </a:lnTo>
                  <a:lnTo>
                    <a:pt x="1198" y="38"/>
                  </a:lnTo>
                  <a:lnTo>
                    <a:pt x="1195" y="38"/>
                  </a:lnTo>
                  <a:lnTo>
                    <a:pt x="1193" y="36"/>
                  </a:lnTo>
                  <a:lnTo>
                    <a:pt x="1190" y="36"/>
                  </a:lnTo>
                  <a:lnTo>
                    <a:pt x="1188" y="36"/>
                  </a:lnTo>
                  <a:lnTo>
                    <a:pt x="1190" y="36"/>
                  </a:lnTo>
                  <a:lnTo>
                    <a:pt x="1190" y="36"/>
                  </a:lnTo>
                  <a:lnTo>
                    <a:pt x="1190" y="36"/>
                  </a:lnTo>
                  <a:lnTo>
                    <a:pt x="1188" y="33"/>
                  </a:lnTo>
                  <a:lnTo>
                    <a:pt x="1188" y="33"/>
                  </a:lnTo>
                  <a:lnTo>
                    <a:pt x="1185" y="28"/>
                  </a:lnTo>
                  <a:lnTo>
                    <a:pt x="1185" y="28"/>
                  </a:lnTo>
                  <a:lnTo>
                    <a:pt x="1185" y="28"/>
                  </a:lnTo>
                  <a:lnTo>
                    <a:pt x="1183" y="26"/>
                  </a:lnTo>
                  <a:lnTo>
                    <a:pt x="1183" y="26"/>
                  </a:lnTo>
                  <a:lnTo>
                    <a:pt x="1175" y="26"/>
                  </a:lnTo>
                  <a:lnTo>
                    <a:pt x="1172" y="26"/>
                  </a:lnTo>
                  <a:lnTo>
                    <a:pt x="1167" y="26"/>
                  </a:lnTo>
                  <a:lnTo>
                    <a:pt x="1162" y="26"/>
                  </a:lnTo>
                  <a:lnTo>
                    <a:pt x="1162" y="26"/>
                  </a:lnTo>
                  <a:lnTo>
                    <a:pt x="1160" y="26"/>
                  </a:lnTo>
                  <a:lnTo>
                    <a:pt x="1160" y="26"/>
                  </a:lnTo>
                  <a:lnTo>
                    <a:pt x="1160" y="26"/>
                  </a:lnTo>
                  <a:lnTo>
                    <a:pt x="1160" y="26"/>
                  </a:lnTo>
                  <a:lnTo>
                    <a:pt x="1160" y="26"/>
                  </a:lnTo>
                  <a:lnTo>
                    <a:pt x="1160" y="26"/>
                  </a:lnTo>
                  <a:lnTo>
                    <a:pt x="1162" y="28"/>
                  </a:lnTo>
                  <a:lnTo>
                    <a:pt x="1167" y="28"/>
                  </a:lnTo>
                  <a:lnTo>
                    <a:pt x="1170" y="28"/>
                  </a:lnTo>
                  <a:lnTo>
                    <a:pt x="1170" y="28"/>
                  </a:lnTo>
                  <a:lnTo>
                    <a:pt x="1167" y="28"/>
                  </a:lnTo>
                  <a:lnTo>
                    <a:pt x="1167" y="28"/>
                  </a:lnTo>
                  <a:lnTo>
                    <a:pt x="1165" y="28"/>
                  </a:lnTo>
                  <a:lnTo>
                    <a:pt x="1165" y="28"/>
                  </a:lnTo>
                  <a:lnTo>
                    <a:pt x="1160" y="28"/>
                  </a:lnTo>
                  <a:lnTo>
                    <a:pt x="1155" y="28"/>
                  </a:lnTo>
                  <a:lnTo>
                    <a:pt x="1149" y="31"/>
                  </a:lnTo>
                  <a:lnTo>
                    <a:pt x="1144" y="28"/>
                  </a:lnTo>
                  <a:lnTo>
                    <a:pt x="1142" y="31"/>
                  </a:lnTo>
                  <a:lnTo>
                    <a:pt x="1134" y="33"/>
                  </a:lnTo>
                  <a:lnTo>
                    <a:pt x="1134" y="33"/>
                  </a:lnTo>
                  <a:lnTo>
                    <a:pt x="1137" y="33"/>
                  </a:lnTo>
                  <a:lnTo>
                    <a:pt x="1142" y="33"/>
                  </a:lnTo>
                  <a:lnTo>
                    <a:pt x="1142" y="36"/>
                  </a:lnTo>
                  <a:lnTo>
                    <a:pt x="1144" y="36"/>
                  </a:lnTo>
                  <a:lnTo>
                    <a:pt x="1147" y="36"/>
                  </a:lnTo>
                  <a:lnTo>
                    <a:pt x="1147" y="36"/>
                  </a:lnTo>
                  <a:lnTo>
                    <a:pt x="1142" y="36"/>
                  </a:lnTo>
                  <a:lnTo>
                    <a:pt x="1137" y="36"/>
                  </a:lnTo>
                  <a:lnTo>
                    <a:pt x="1137" y="36"/>
                  </a:lnTo>
                  <a:lnTo>
                    <a:pt x="1137" y="36"/>
                  </a:lnTo>
                  <a:lnTo>
                    <a:pt x="1134" y="36"/>
                  </a:lnTo>
                  <a:lnTo>
                    <a:pt x="1132" y="36"/>
                  </a:lnTo>
                  <a:lnTo>
                    <a:pt x="1129" y="33"/>
                  </a:lnTo>
                  <a:lnTo>
                    <a:pt x="1127" y="33"/>
                  </a:lnTo>
                  <a:lnTo>
                    <a:pt x="1124" y="36"/>
                  </a:lnTo>
                  <a:lnTo>
                    <a:pt x="1119" y="36"/>
                  </a:lnTo>
                  <a:lnTo>
                    <a:pt x="1121" y="38"/>
                  </a:lnTo>
                  <a:lnTo>
                    <a:pt x="1124" y="38"/>
                  </a:lnTo>
                  <a:lnTo>
                    <a:pt x="1124" y="38"/>
                  </a:lnTo>
                  <a:lnTo>
                    <a:pt x="1121" y="38"/>
                  </a:lnTo>
                  <a:lnTo>
                    <a:pt x="1119" y="38"/>
                  </a:lnTo>
                  <a:lnTo>
                    <a:pt x="1116" y="38"/>
                  </a:lnTo>
                  <a:lnTo>
                    <a:pt x="1114" y="41"/>
                  </a:lnTo>
                  <a:lnTo>
                    <a:pt x="1111" y="41"/>
                  </a:lnTo>
                  <a:lnTo>
                    <a:pt x="1111" y="41"/>
                  </a:lnTo>
                  <a:lnTo>
                    <a:pt x="1111" y="41"/>
                  </a:lnTo>
                  <a:lnTo>
                    <a:pt x="1111" y="41"/>
                  </a:lnTo>
                  <a:lnTo>
                    <a:pt x="1111" y="41"/>
                  </a:lnTo>
                  <a:lnTo>
                    <a:pt x="1114" y="41"/>
                  </a:lnTo>
                  <a:lnTo>
                    <a:pt x="1116" y="41"/>
                  </a:lnTo>
                  <a:lnTo>
                    <a:pt x="1119" y="41"/>
                  </a:lnTo>
                  <a:lnTo>
                    <a:pt x="1119" y="43"/>
                  </a:lnTo>
                  <a:lnTo>
                    <a:pt x="1121" y="43"/>
                  </a:lnTo>
                  <a:lnTo>
                    <a:pt x="1132" y="41"/>
                  </a:lnTo>
                  <a:lnTo>
                    <a:pt x="1134" y="41"/>
                  </a:lnTo>
                  <a:lnTo>
                    <a:pt x="1134" y="43"/>
                  </a:lnTo>
                  <a:lnTo>
                    <a:pt x="1129" y="43"/>
                  </a:lnTo>
                  <a:lnTo>
                    <a:pt x="1129" y="43"/>
                  </a:lnTo>
                  <a:lnTo>
                    <a:pt x="1129" y="43"/>
                  </a:lnTo>
                  <a:lnTo>
                    <a:pt x="1129" y="43"/>
                  </a:lnTo>
                  <a:lnTo>
                    <a:pt x="1129" y="43"/>
                  </a:lnTo>
                  <a:lnTo>
                    <a:pt x="1127" y="43"/>
                  </a:lnTo>
                  <a:lnTo>
                    <a:pt x="1119" y="43"/>
                  </a:lnTo>
                  <a:lnTo>
                    <a:pt x="1114" y="43"/>
                  </a:lnTo>
                  <a:lnTo>
                    <a:pt x="1104" y="43"/>
                  </a:lnTo>
                  <a:lnTo>
                    <a:pt x="1101" y="43"/>
                  </a:lnTo>
                  <a:lnTo>
                    <a:pt x="1101" y="46"/>
                  </a:lnTo>
                  <a:lnTo>
                    <a:pt x="1101" y="46"/>
                  </a:lnTo>
                  <a:lnTo>
                    <a:pt x="1101" y="48"/>
                  </a:lnTo>
                  <a:lnTo>
                    <a:pt x="1104" y="48"/>
                  </a:lnTo>
                  <a:lnTo>
                    <a:pt x="1104" y="51"/>
                  </a:lnTo>
                  <a:lnTo>
                    <a:pt x="1106" y="51"/>
                  </a:lnTo>
                  <a:lnTo>
                    <a:pt x="1106" y="51"/>
                  </a:lnTo>
                  <a:lnTo>
                    <a:pt x="1111" y="51"/>
                  </a:lnTo>
                  <a:lnTo>
                    <a:pt x="1114" y="51"/>
                  </a:lnTo>
                  <a:lnTo>
                    <a:pt x="1121" y="48"/>
                  </a:lnTo>
                  <a:lnTo>
                    <a:pt x="1124" y="48"/>
                  </a:lnTo>
                  <a:lnTo>
                    <a:pt x="1121" y="51"/>
                  </a:lnTo>
                  <a:lnTo>
                    <a:pt x="1121" y="51"/>
                  </a:lnTo>
                  <a:close/>
                  <a:moveTo>
                    <a:pt x="1030" y="94"/>
                  </a:moveTo>
                  <a:lnTo>
                    <a:pt x="1030" y="94"/>
                  </a:lnTo>
                  <a:lnTo>
                    <a:pt x="1030" y="97"/>
                  </a:lnTo>
                  <a:lnTo>
                    <a:pt x="1030" y="97"/>
                  </a:lnTo>
                  <a:lnTo>
                    <a:pt x="1032" y="97"/>
                  </a:lnTo>
                  <a:lnTo>
                    <a:pt x="1032" y="97"/>
                  </a:lnTo>
                  <a:lnTo>
                    <a:pt x="1030" y="97"/>
                  </a:lnTo>
                  <a:lnTo>
                    <a:pt x="1030" y="97"/>
                  </a:lnTo>
                  <a:lnTo>
                    <a:pt x="1027" y="97"/>
                  </a:lnTo>
                  <a:lnTo>
                    <a:pt x="1025" y="97"/>
                  </a:lnTo>
                  <a:lnTo>
                    <a:pt x="1025" y="97"/>
                  </a:lnTo>
                  <a:lnTo>
                    <a:pt x="1025" y="99"/>
                  </a:lnTo>
                  <a:lnTo>
                    <a:pt x="1025" y="99"/>
                  </a:lnTo>
                  <a:lnTo>
                    <a:pt x="1025" y="99"/>
                  </a:lnTo>
                  <a:lnTo>
                    <a:pt x="1027" y="99"/>
                  </a:lnTo>
                  <a:lnTo>
                    <a:pt x="1032" y="102"/>
                  </a:lnTo>
                  <a:lnTo>
                    <a:pt x="1035" y="102"/>
                  </a:lnTo>
                  <a:lnTo>
                    <a:pt x="1037" y="102"/>
                  </a:lnTo>
                  <a:lnTo>
                    <a:pt x="1035" y="102"/>
                  </a:lnTo>
                  <a:lnTo>
                    <a:pt x="1035" y="102"/>
                  </a:lnTo>
                  <a:lnTo>
                    <a:pt x="1030" y="102"/>
                  </a:lnTo>
                  <a:lnTo>
                    <a:pt x="1030" y="102"/>
                  </a:lnTo>
                  <a:lnTo>
                    <a:pt x="1030" y="104"/>
                  </a:lnTo>
                  <a:lnTo>
                    <a:pt x="1030" y="104"/>
                  </a:lnTo>
                  <a:lnTo>
                    <a:pt x="1035" y="104"/>
                  </a:lnTo>
                  <a:lnTo>
                    <a:pt x="1035" y="107"/>
                  </a:lnTo>
                  <a:lnTo>
                    <a:pt x="1037" y="107"/>
                  </a:lnTo>
                  <a:lnTo>
                    <a:pt x="1042" y="107"/>
                  </a:lnTo>
                  <a:lnTo>
                    <a:pt x="1045" y="107"/>
                  </a:lnTo>
                  <a:lnTo>
                    <a:pt x="1048" y="107"/>
                  </a:lnTo>
                  <a:lnTo>
                    <a:pt x="1053" y="107"/>
                  </a:lnTo>
                  <a:lnTo>
                    <a:pt x="1055" y="107"/>
                  </a:lnTo>
                  <a:lnTo>
                    <a:pt x="1058" y="107"/>
                  </a:lnTo>
                  <a:lnTo>
                    <a:pt x="1058" y="107"/>
                  </a:lnTo>
                  <a:lnTo>
                    <a:pt x="1063" y="104"/>
                  </a:lnTo>
                  <a:lnTo>
                    <a:pt x="1065" y="104"/>
                  </a:lnTo>
                  <a:lnTo>
                    <a:pt x="1065" y="104"/>
                  </a:lnTo>
                  <a:lnTo>
                    <a:pt x="1065" y="107"/>
                  </a:lnTo>
                  <a:lnTo>
                    <a:pt x="1065" y="109"/>
                  </a:lnTo>
                  <a:lnTo>
                    <a:pt x="1065" y="112"/>
                  </a:lnTo>
                  <a:lnTo>
                    <a:pt x="1068" y="112"/>
                  </a:lnTo>
                  <a:lnTo>
                    <a:pt x="1068" y="115"/>
                  </a:lnTo>
                  <a:lnTo>
                    <a:pt x="1065" y="115"/>
                  </a:lnTo>
                  <a:lnTo>
                    <a:pt x="1065" y="117"/>
                  </a:lnTo>
                  <a:lnTo>
                    <a:pt x="1065" y="117"/>
                  </a:lnTo>
                  <a:lnTo>
                    <a:pt x="1063" y="117"/>
                  </a:lnTo>
                  <a:lnTo>
                    <a:pt x="1063" y="117"/>
                  </a:lnTo>
                  <a:lnTo>
                    <a:pt x="1058" y="120"/>
                  </a:lnTo>
                  <a:lnTo>
                    <a:pt x="1055" y="122"/>
                  </a:lnTo>
                  <a:lnTo>
                    <a:pt x="1055" y="122"/>
                  </a:lnTo>
                  <a:lnTo>
                    <a:pt x="1053" y="122"/>
                  </a:lnTo>
                  <a:lnTo>
                    <a:pt x="1053" y="125"/>
                  </a:lnTo>
                  <a:lnTo>
                    <a:pt x="1053" y="125"/>
                  </a:lnTo>
                  <a:lnTo>
                    <a:pt x="1053" y="125"/>
                  </a:lnTo>
                  <a:lnTo>
                    <a:pt x="1053" y="125"/>
                  </a:lnTo>
                  <a:lnTo>
                    <a:pt x="1053" y="127"/>
                  </a:lnTo>
                  <a:lnTo>
                    <a:pt x="1053" y="127"/>
                  </a:lnTo>
                  <a:lnTo>
                    <a:pt x="1050" y="127"/>
                  </a:lnTo>
                  <a:lnTo>
                    <a:pt x="1050" y="127"/>
                  </a:lnTo>
                  <a:lnTo>
                    <a:pt x="1050" y="130"/>
                  </a:lnTo>
                  <a:lnTo>
                    <a:pt x="1048" y="132"/>
                  </a:lnTo>
                  <a:lnTo>
                    <a:pt x="1048" y="132"/>
                  </a:lnTo>
                  <a:lnTo>
                    <a:pt x="1050" y="135"/>
                  </a:lnTo>
                  <a:lnTo>
                    <a:pt x="1050" y="135"/>
                  </a:lnTo>
                  <a:lnTo>
                    <a:pt x="1053" y="135"/>
                  </a:lnTo>
                  <a:lnTo>
                    <a:pt x="1055" y="135"/>
                  </a:lnTo>
                  <a:lnTo>
                    <a:pt x="1055" y="135"/>
                  </a:lnTo>
                  <a:lnTo>
                    <a:pt x="1058" y="135"/>
                  </a:lnTo>
                  <a:lnTo>
                    <a:pt x="1058" y="135"/>
                  </a:lnTo>
                  <a:lnTo>
                    <a:pt x="1058" y="132"/>
                  </a:lnTo>
                  <a:lnTo>
                    <a:pt x="1063" y="132"/>
                  </a:lnTo>
                  <a:lnTo>
                    <a:pt x="1063" y="132"/>
                  </a:lnTo>
                  <a:lnTo>
                    <a:pt x="1060" y="132"/>
                  </a:lnTo>
                  <a:lnTo>
                    <a:pt x="1060" y="135"/>
                  </a:lnTo>
                  <a:lnTo>
                    <a:pt x="1063" y="135"/>
                  </a:lnTo>
                  <a:lnTo>
                    <a:pt x="1063" y="135"/>
                  </a:lnTo>
                  <a:lnTo>
                    <a:pt x="1065" y="135"/>
                  </a:lnTo>
                  <a:lnTo>
                    <a:pt x="1070" y="137"/>
                  </a:lnTo>
                  <a:lnTo>
                    <a:pt x="1073" y="137"/>
                  </a:lnTo>
                  <a:lnTo>
                    <a:pt x="1076" y="137"/>
                  </a:lnTo>
                  <a:lnTo>
                    <a:pt x="1078" y="137"/>
                  </a:lnTo>
                  <a:lnTo>
                    <a:pt x="1081" y="135"/>
                  </a:lnTo>
                  <a:lnTo>
                    <a:pt x="1083" y="135"/>
                  </a:lnTo>
                  <a:lnTo>
                    <a:pt x="1083" y="135"/>
                  </a:lnTo>
                  <a:lnTo>
                    <a:pt x="1083" y="135"/>
                  </a:lnTo>
                  <a:lnTo>
                    <a:pt x="1083" y="132"/>
                  </a:lnTo>
                  <a:lnTo>
                    <a:pt x="1086" y="132"/>
                  </a:lnTo>
                  <a:lnTo>
                    <a:pt x="1086" y="132"/>
                  </a:lnTo>
                  <a:lnTo>
                    <a:pt x="1086" y="132"/>
                  </a:lnTo>
                  <a:lnTo>
                    <a:pt x="1088" y="132"/>
                  </a:lnTo>
                  <a:lnTo>
                    <a:pt x="1088" y="132"/>
                  </a:lnTo>
                  <a:lnTo>
                    <a:pt x="1088" y="132"/>
                  </a:lnTo>
                  <a:lnTo>
                    <a:pt x="1088" y="132"/>
                  </a:lnTo>
                  <a:lnTo>
                    <a:pt x="1088" y="135"/>
                  </a:lnTo>
                  <a:lnTo>
                    <a:pt x="1088" y="135"/>
                  </a:lnTo>
                  <a:lnTo>
                    <a:pt x="1091" y="135"/>
                  </a:lnTo>
                  <a:lnTo>
                    <a:pt x="1093" y="132"/>
                  </a:lnTo>
                  <a:lnTo>
                    <a:pt x="1096" y="132"/>
                  </a:lnTo>
                  <a:lnTo>
                    <a:pt x="1096" y="132"/>
                  </a:lnTo>
                  <a:lnTo>
                    <a:pt x="1096" y="132"/>
                  </a:lnTo>
                  <a:lnTo>
                    <a:pt x="1096" y="132"/>
                  </a:lnTo>
                  <a:lnTo>
                    <a:pt x="1096" y="132"/>
                  </a:lnTo>
                  <a:lnTo>
                    <a:pt x="1093" y="135"/>
                  </a:lnTo>
                  <a:lnTo>
                    <a:pt x="1091" y="135"/>
                  </a:lnTo>
                  <a:lnTo>
                    <a:pt x="1091" y="137"/>
                  </a:lnTo>
                  <a:lnTo>
                    <a:pt x="1088" y="137"/>
                  </a:lnTo>
                  <a:lnTo>
                    <a:pt x="1091" y="137"/>
                  </a:lnTo>
                  <a:lnTo>
                    <a:pt x="1091" y="137"/>
                  </a:lnTo>
                  <a:lnTo>
                    <a:pt x="1096" y="137"/>
                  </a:lnTo>
                  <a:lnTo>
                    <a:pt x="1101" y="137"/>
                  </a:lnTo>
                  <a:lnTo>
                    <a:pt x="1106" y="137"/>
                  </a:lnTo>
                  <a:lnTo>
                    <a:pt x="1109" y="137"/>
                  </a:lnTo>
                  <a:lnTo>
                    <a:pt x="1114" y="137"/>
                  </a:lnTo>
                  <a:lnTo>
                    <a:pt x="1114" y="137"/>
                  </a:lnTo>
                  <a:lnTo>
                    <a:pt x="1114" y="137"/>
                  </a:lnTo>
                  <a:lnTo>
                    <a:pt x="1116" y="137"/>
                  </a:lnTo>
                  <a:lnTo>
                    <a:pt x="1119" y="137"/>
                  </a:lnTo>
                  <a:lnTo>
                    <a:pt x="1121" y="137"/>
                  </a:lnTo>
                  <a:lnTo>
                    <a:pt x="1124" y="137"/>
                  </a:lnTo>
                  <a:lnTo>
                    <a:pt x="1124" y="137"/>
                  </a:lnTo>
                  <a:lnTo>
                    <a:pt x="1127" y="137"/>
                  </a:lnTo>
                  <a:lnTo>
                    <a:pt x="1132" y="137"/>
                  </a:lnTo>
                  <a:lnTo>
                    <a:pt x="1132" y="137"/>
                  </a:lnTo>
                  <a:lnTo>
                    <a:pt x="1132" y="137"/>
                  </a:lnTo>
                  <a:lnTo>
                    <a:pt x="1132" y="135"/>
                  </a:lnTo>
                  <a:lnTo>
                    <a:pt x="1134" y="135"/>
                  </a:lnTo>
                  <a:lnTo>
                    <a:pt x="1134" y="137"/>
                  </a:lnTo>
                  <a:lnTo>
                    <a:pt x="1134" y="137"/>
                  </a:lnTo>
                  <a:lnTo>
                    <a:pt x="1137" y="137"/>
                  </a:lnTo>
                  <a:lnTo>
                    <a:pt x="1137" y="137"/>
                  </a:lnTo>
                  <a:lnTo>
                    <a:pt x="1139" y="135"/>
                  </a:lnTo>
                  <a:lnTo>
                    <a:pt x="1139" y="135"/>
                  </a:lnTo>
                  <a:lnTo>
                    <a:pt x="1139" y="137"/>
                  </a:lnTo>
                  <a:lnTo>
                    <a:pt x="1139" y="137"/>
                  </a:lnTo>
                  <a:lnTo>
                    <a:pt x="1142" y="137"/>
                  </a:lnTo>
                  <a:lnTo>
                    <a:pt x="1144" y="137"/>
                  </a:lnTo>
                  <a:lnTo>
                    <a:pt x="1147" y="137"/>
                  </a:lnTo>
                  <a:lnTo>
                    <a:pt x="1155" y="137"/>
                  </a:lnTo>
                  <a:lnTo>
                    <a:pt x="1157" y="137"/>
                  </a:lnTo>
                  <a:lnTo>
                    <a:pt x="1160" y="137"/>
                  </a:lnTo>
                  <a:lnTo>
                    <a:pt x="1162" y="135"/>
                  </a:lnTo>
                  <a:lnTo>
                    <a:pt x="1162" y="135"/>
                  </a:lnTo>
                  <a:lnTo>
                    <a:pt x="1165" y="132"/>
                  </a:lnTo>
                  <a:lnTo>
                    <a:pt x="1165" y="132"/>
                  </a:lnTo>
                  <a:lnTo>
                    <a:pt x="1165" y="132"/>
                  </a:lnTo>
                  <a:lnTo>
                    <a:pt x="1165" y="132"/>
                  </a:lnTo>
                  <a:lnTo>
                    <a:pt x="1165" y="130"/>
                  </a:lnTo>
                  <a:lnTo>
                    <a:pt x="1165" y="130"/>
                  </a:lnTo>
                  <a:lnTo>
                    <a:pt x="1165" y="130"/>
                  </a:lnTo>
                  <a:lnTo>
                    <a:pt x="1167" y="132"/>
                  </a:lnTo>
                  <a:lnTo>
                    <a:pt x="1167" y="132"/>
                  </a:lnTo>
                  <a:lnTo>
                    <a:pt x="1170" y="132"/>
                  </a:lnTo>
                  <a:lnTo>
                    <a:pt x="1167" y="132"/>
                  </a:lnTo>
                  <a:lnTo>
                    <a:pt x="1167" y="132"/>
                  </a:lnTo>
                  <a:lnTo>
                    <a:pt x="1167" y="135"/>
                  </a:lnTo>
                  <a:lnTo>
                    <a:pt x="1167" y="135"/>
                  </a:lnTo>
                  <a:lnTo>
                    <a:pt x="1167" y="137"/>
                  </a:lnTo>
                  <a:lnTo>
                    <a:pt x="1167" y="137"/>
                  </a:lnTo>
                  <a:lnTo>
                    <a:pt x="1170" y="137"/>
                  </a:lnTo>
                  <a:lnTo>
                    <a:pt x="1170" y="137"/>
                  </a:lnTo>
                  <a:lnTo>
                    <a:pt x="1172" y="137"/>
                  </a:lnTo>
                  <a:lnTo>
                    <a:pt x="1177" y="137"/>
                  </a:lnTo>
                  <a:lnTo>
                    <a:pt x="1177" y="137"/>
                  </a:lnTo>
                  <a:lnTo>
                    <a:pt x="1180" y="137"/>
                  </a:lnTo>
                  <a:lnTo>
                    <a:pt x="1183" y="137"/>
                  </a:lnTo>
                  <a:lnTo>
                    <a:pt x="1188" y="137"/>
                  </a:lnTo>
                  <a:lnTo>
                    <a:pt x="1190" y="137"/>
                  </a:lnTo>
                  <a:lnTo>
                    <a:pt x="1203" y="137"/>
                  </a:lnTo>
                  <a:lnTo>
                    <a:pt x="1203" y="137"/>
                  </a:lnTo>
                  <a:lnTo>
                    <a:pt x="1206" y="135"/>
                  </a:lnTo>
                  <a:lnTo>
                    <a:pt x="1206" y="135"/>
                  </a:lnTo>
                  <a:lnTo>
                    <a:pt x="1208" y="132"/>
                  </a:lnTo>
                  <a:lnTo>
                    <a:pt x="1208" y="132"/>
                  </a:lnTo>
                  <a:lnTo>
                    <a:pt x="1208" y="132"/>
                  </a:lnTo>
                  <a:lnTo>
                    <a:pt x="1208" y="132"/>
                  </a:lnTo>
                  <a:lnTo>
                    <a:pt x="1208" y="130"/>
                  </a:lnTo>
                  <a:lnTo>
                    <a:pt x="1208" y="130"/>
                  </a:lnTo>
                  <a:lnTo>
                    <a:pt x="1208" y="130"/>
                  </a:lnTo>
                  <a:lnTo>
                    <a:pt x="1211" y="130"/>
                  </a:lnTo>
                  <a:lnTo>
                    <a:pt x="1213" y="132"/>
                  </a:lnTo>
                  <a:lnTo>
                    <a:pt x="1218" y="130"/>
                  </a:lnTo>
                  <a:lnTo>
                    <a:pt x="1221" y="130"/>
                  </a:lnTo>
                  <a:lnTo>
                    <a:pt x="1221" y="130"/>
                  </a:lnTo>
                  <a:lnTo>
                    <a:pt x="1221" y="130"/>
                  </a:lnTo>
                  <a:lnTo>
                    <a:pt x="1218" y="127"/>
                  </a:lnTo>
                  <a:lnTo>
                    <a:pt x="1218" y="127"/>
                  </a:lnTo>
                  <a:lnTo>
                    <a:pt x="1213" y="130"/>
                  </a:lnTo>
                  <a:lnTo>
                    <a:pt x="1213" y="130"/>
                  </a:lnTo>
                  <a:lnTo>
                    <a:pt x="1211" y="130"/>
                  </a:lnTo>
                  <a:lnTo>
                    <a:pt x="1211" y="127"/>
                  </a:lnTo>
                  <a:lnTo>
                    <a:pt x="1211" y="127"/>
                  </a:lnTo>
                  <a:lnTo>
                    <a:pt x="1216" y="127"/>
                  </a:lnTo>
                  <a:lnTo>
                    <a:pt x="1223" y="125"/>
                  </a:lnTo>
                  <a:lnTo>
                    <a:pt x="1226" y="125"/>
                  </a:lnTo>
                  <a:lnTo>
                    <a:pt x="1226" y="125"/>
                  </a:lnTo>
                  <a:lnTo>
                    <a:pt x="1226" y="122"/>
                  </a:lnTo>
                  <a:lnTo>
                    <a:pt x="1226" y="120"/>
                  </a:lnTo>
                  <a:lnTo>
                    <a:pt x="1226" y="120"/>
                  </a:lnTo>
                  <a:lnTo>
                    <a:pt x="1221" y="120"/>
                  </a:lnTo>
                  <a:lnTo>
                    <a:pt x="1218" y="120"/>
                  </a:lnTo>
                  <a:lnTo>
                    <a:pt x="1218" y="120"/>
                  </a:lnTo>
                  <a:lnTo>
                    <a:pt x="1223" y="120"/>
                  </a:lnTo>
                  <a:lnTo>
                    <a:pt x="1223" y="120"/>
                  </a:lnTo>
                  <a:lnTo>
                    <a:pt x="1223" y="120"/>
                  </a:lnTo>
                  <a:lnTo>
                    <a:pt x="1221" y="117"/>
                  </a:lnTo>
                  <a:lnTo>
                    <a:pt x="1218" y="117"/>
                  </a:lnTo>
                  <a:lnTo>
                    <a:pt x="1213" y="117"/>
                  </a:lnTo>
                  <a:lnTo>
                    <a:pt x="1211" y="117"/>
                  </a:lnTo>
                  <a:lnTo>
                    <a:pt x="1211" y="117"/>
                  </a:lnTo>
                  <a:lnTo>
                    <a:pt x="1211" y="117"/>
                  </a:lnTo>
                  <a:lnTo>
                    <a:pt x="1213" y="117"/>
                  </a:lnTo>
                  <a:lnTo>
                    <a:pt x="1211" y="115"/>
                  </a:lnTo>
                  <a:lnTo>
                    <a:pt x="1206" y="115"/>
                  </a:lnTo>
                  <a:lnTo>
                    <a:pt x="1200" y="115"/>
                  </a:lnTo>
                  <a:lnTo>
                    <a:pt x="1198" y="115"/>
                  </a:lnTo>
                  <a:lnTo>
                    <a:pt x="1195" y="115"/>
                  </a:lnTo>
                  <a:lnTo>
                    <a:pt x="1188" y="115"/>
                  </a:lnTo>
                  <a:lnTo>
                    <a:pt x="1185" y="115"/>
                  </a:lnTo>
                  <a:lnTo>
                    <a:pt x="1180" y="115"/>
                  </a:lnTo>
                  <a:lnTo>
                    <a:pt x="1177" y="115"/>
                  </a:lnTo>
                  <a:lnTo>
                    <a:pt x="1175" y="115"/>
                  </a:lnTo>
                  <a:lnTo>
                    <a:pt x="1172" y="115"/>
                  </a:lnTo>
                  <a:lnTo>
                    <a:pt x="1165" y="117"/>
                  </a:lnTo>
                  <a:lnTo>
                    <a:pt x="1162" y="117"/>
                  </a:lnTo>
                  <a:lnTo>
                    <a:pt x="1160" y="117"/>
                  </a:lnTo>
                  <a:lnTo>
                    <a:pt x="1152" y="120"/>
                  </a:lnTo>
                  <a:lnTo>
                    <a:pt x="1149" y="120"/>
                  </a:lnTo>
                  <a:lnTo>
                    <a:pt x="1144" y="120"/>
                  </a:lnTo>
                  <a:lnTo>
                    <a:pt x="1142" y="120"/>
                  </a:lnTo>
                  <a:lnTo>
                    <a:pt x="1142" y="122"/>
                  </a:lnTo>
                  <a:lnTo>
                    <a:pt x="1142" y="122"/>
                  </a:lnTo>
                  <a:lnTo>
                    <a:pt x="1137" y="122"/>
                  </a:lnTo>
                  <a:lnTo>
                    <a:pt x="1137" y="122"/>
                  </a:lnTo>
                  <a:lnTo>
                    <a:pt x="1134" y="120"/>
                  </a:lnTo>
                  <a:lnTo>
                    <a:pt x="1132" y="120"/>
                  </a:lnTo>
                  <a:lnTo>
                    <a:pt x="1129" y="117"/>
                  </a:lnTo>
                  <a:lnTo>
                    <a:pt x="1127" y="120"/>
                  </a:lnTo>
                  <a:lnTo>
                    <a:pt x="1121" y="120"/>
                  </a:lnTo>
                  <a:lnTo>
                    <a:pt x="1121" y="120"/>
                  </a:lnTo>
                  <a:lnTo>
                    <a:pt x="1121" y="120"/>
                  </a:lnTo>
                  <a:lnTo>
                    <a:pt x="1121" y="120"/>
                  </a:lnTo>
                  <a:lnTo>
                    <a:pt x="1114" y="120"/>
                  </a:lnTo>
                  <a:lnTo>
                    <a:pt x="1111" y="117"/>
                  </a:lnTo>
                  <a:lnTo>
                    <a:pt x="1111" y="117"/>
                  </a:lnTo>
                  <a:lnTo>
                    <a:pt x="1109" y="117"/>
                  </a:lnTo>
                  <a:lnTo>
                    <a:pt x="1109" y="117"/>
                  </a:lnTo>
                  <a:lnTo>
                    <a:pt x="1106" y="117"/>
                  </a:lnTo>
                  <a:lnTo>
                    <a:pt x="1106" y="120"/>
                  </a:lnTo>
                  <a:lnTo>
                    <a:pt x="1106" y="120"/>
                  </a:lnTo>
                  <a:lnTo>
                    <a:pt x="1106" y="120"/>
                  </a:lnTo>
                  <a:lnTo>
                    <a:pt x="1104" y="120"/>
                  </a:lnTo>
                  <a:lnTo>
                    <a:pt x="1104" y="120"/>
                  </a:lnTo>
                  <a:lnTo>
                    <a:pt x="1104" y="120"/>
                  </a:lnTo>
                  <a:lnTo>
                    <a:pt x="1101" y="120"/>
                  </a:lnTo>
                  <a:lnTo>
                    <a:pt x="1098" y="120"/>
                  </a:lnTo>
                  <a:lnTo>
                    <a:pt x="1096" y="120"/>
                  </a:lnTo>
                  <a:lnTo>
                    <a:pt x="1096" y="120"/>
                  </a:lnTo>
                  <a:lnTo>
                    <a:pt x="1101" y="117"/>
                  </a:lnTo>
                  <a:lnTo>
                    <a:pt x="1104" y="117"/>
                  </a:lnTo>
                  <a:lnTo>
                    <a:pt x="1104" y="115"/>
                  </a:lnTo>
                  <a:lnTo>
                    <a:pt x="1106" y="115"/>
                  </a:lnTo>
                  <a:lnTo>
                    <a:pt x="1104" y="115"/>
                  </a:lnTo>
                  <a:lnTo>
                    <a:pt x="1104" y="115"/>
                  </a:lnTo>
                  <a:lnTo>
                    <a:pt x="1101" y="115"/>
                  </a:lnTo>
                  <a:lnTo>
                    <a:pt x="1101" y="115"/>
                  </a:lnTo>
                  <a:lnTo>
                    <a:pt x="1101" y="112"/>
                  </a:lnTo>
                  <a:lnTo>
                    <a:pt x="1101" y="112"/>
                  </a:lnTo>
                  <a:lnTo>
                    <a:pt x="1098" y="112"/>
                  </a:lnTo>
                  <a:lnTo>
                    <a:pt x="1098" y="109"/>
                  </a:lnTo>
                  <a:lnTo>
                    <a:pt x="1096" y="109"/>
                  </a:lnTo>
                  <a:lnTo>
                    <a:pt x="1091" y="109"/>
                  </a:lnTo>
                  <a:lnTo>
                    <a:pt x="1091" y="109"/>
                  </a:lnTo>
                  <a:lnTo>
                    <a:pt x="1088" y="109"/>
                  </a:lnTo>
                  <a:lnTo>
                    <a:pt x="1086" y="109"/>
                  </a:lnTo>
                  <a:lnTo>
                    <a:pt x="1086" y="107"/>
                  </a:lnTo>
                  <a:lnTo>
                    <a:pt x="1088" y="107"/>
                  </a:lnTo>
                  <a:lnTo>
                    <a:pt x="1093" y="107"/>
                  </a:lnTo>
                  <a:lnTo>
                    <a:pt x="1098" y="109"/>
                  </a:lnTo>
                  <a:lnTo>
                    <a:pt x="1111" y="107"/>
                  </a:lnTo>
                  <a:lnTo>
                    <a:pt x="1114" y="107"/>
                  </a:lnTo>
                  <a:lnTo>
                    <a:pt x="1114" y="107"/>
                  </a:lnTo>
                  <a:lnTo>
                    <a:pt x="1116" y="107"/>
                  </a:lnTo>
                  <a:lnTo>
                    <a:pt x="1116" y="107"/>
                  </a:lnTo>
                  <a:lnTo>
                    <a:pt x="1096" y="104"/>
                  </a:lnTo>
                  <a:lnTo>
                    <a:pt x="1091" y="104"/>
                  </a:lnTo>
                  <a:lnTo>
                    <a:pt x="1091" y="104"/>
                  </a:lnTo>
                  <a:lnTo>
                    <a:pt x="1091" y="102"/>
                  </a:lnTo>
                  <a:lnTo>
                    <a:pt x="1091" y="102"/>
                  </a:lnTo>
                  <a:lnTo>
                    <a:pt x="1093" y="102"/>
                  </a:lnTo>
                  <a:lnTo>
                    <a:pt x="1093" y="102"/>
                  </a:lnTo>
                  <a:lnTo>
                    <a:pt x="1098" y="102"/>
                  </a:lnTo>
                  <a:lnTo>
                    <a:pt x="1101" y="104"/>
                  </a:lnTo>
                  <a:lnTo>
                    <a:pt x="1104" y="102"/>
                  </a:lnTo>
                  <a:lnTo>
                    <a:pt x="1104" y="102"/>
                  </a:lnTo>
                  <a:lnTo>
                    <a:pt x="1104" y="102"/>
                  </a:lnTo>
                  <a:lnTo>
                    <a:pt x="1101" y="102"/>
                  </a:lnTo>
                  <a:lnTo>
                    <a:pt x="1098" y="99"/>
                  </a:lnTo>
                  <a:lnTo>
                    <a:pt x="1096" y="99"/>
                  </a:lnTo>
                  <a:lnTo>
                    <a:pt x="1093" y="99"/>
                  </a:lnTo>
                  <a:lnTo>
                    <a:pt x="1091" y="99"/>
                  </a:lnTo>
                  <a:lnTo>
                    <a:pt x="1081" y="99"/>
                  </a:lnTo>
                  <a:lnTo>
                    <a:pt x="1076" y="102"/>
                  </a:lnTo>
                  <a:lnTo>
                    <a:pt x="1073" y="99"/>
                  </a:lnTo>
                  <a:lnTo>
                    <a:pt x="1063" y="102"/>
                  </a:lnTo>
                  <a:lnTo>
                    <a:pt x="1063" y="104"/>
                  </a:lnTo>
                  <a:lnTo>
                    <a:pt x="1063" y="102"/>
                  </a:lnTo>
                  <a:lnTo>
                    <a:pt x="1065" y="102"/>
                  </a:lnTo>
                  <a:lnTo>
                    <a:pt x="1068" y="102"/>
                  </a:lnTo>
                  <a:lnTo>
                    <a:pt x="1070" y="99"/>
                  </a:lnTo>
                  <a:lnTo>
                    <a:pt x="1070" y="99"/>
                  </a:lnTo>
                  <a:lnTo>
                    <a:pt x="1070" y="99"/>
                  </a:lnTo>
                  <a:lnTo>
                    <a:pt x="1073" y="99"/>
                  </a:lnTo>
                  <a:lnTo>
                    <a:pt x="1073" y="99"/>
                  </a:lnTo>
                  <a:lnTo>
                    <a:pt x="1073" y="97"/>
                  </a:lnTo>
                  <a:lnTo>
                    <a:pt x="1073" y="97"/>
                  </a:lnTo>
                  <a:lnTo>
                    <a:pt x="1070" y="97"/>
                  </a:lnTo>
                  <a:lnTo>
                    <a:pt x="1070" y="97"/>
                  </a:lnTo>
                  <a:lnTo>
                    <a:pt x="1068" y="94"/>
                  </a:lnTo>
                  <a:lnTo>
                    <a:pt x="1068" y="94"/>
                  </a:lnTo>
                  <a:lnTo>
                    <a:pt x="1065" y="97"/>
                  </a:lnTo>
                  <a:lnTo>
                    <a:pt x="1063" y="94"/>
                  </a:lnTo>
                  <a:lnTo>
                    <a:pt x="1058" y="94"/>
                  </a:lnTo>
                  <a:lnTo>
                    <a:pt x="1053" y="94"/>
                  </a:lnTo>
                  <a:lnTo>
                    <a:pt x="1048" y="92"/>
                  </a:lnTo>
                  <a:lnTo>
                    <a:pt x="1045" y="92"/>
                  </a:lnTo>
                  <a:lnTo>
                    <a:pt x="1042" y="94"/>
                  </a:lnTo>
                  <a:lnTo>
                    <a:pt x="1037" y="94"/>
                  </a:lnTo>
                  <a:lnTo>
                    <a:pt x="1035" y="94"/>
                  </a:lnTo>
                  <a:lnTo>
                    <a:pt x="1032" y="94"/>
                  </a:lnTo>
                  <a:lnTo>
                    <a:pt x="1030" y="94"/>
                  </a:lnTo>
                  <a:lnTo>
                    <a:pt x="1030" y="94"/>
                  </a:lnTo>
                  <a:close/>
                  <a:moveTo>
                    <a:pt x="1058" y="46"/>
                  </a:moveTo>
                  <a:lnTo>
                    <a:pt x="1063" y="46"/>
                  </a:lnTo>
                  <a:lnTo>
                    <a:pt x="1063" y="48"/>
                  </a:lnTo>
                  <a:lnTo>
                    <a:pt x="1063" y="48"/>
                  </a:lnTo>
                  <a:lnTo>
                    <a:pt x="1063" y="48"/>
                  </a:lnTo>
                  <a:lnTo>
                    <a:pt x="1063" y="48"/>
                  </a:lnTo>
                  <a:lnTo>
                    <a:pt x="1065" y="48"/>
                  </a:lnTo>
                  <a:lnTo>
                    <a:pt x="1068" y="48"/>
                  </a:lnTo>
                  <a:lnTo>
                    <a:pt x="1068" y="48"/>
                  </a:lnTo>
                  <a:lnTo>
                    <a:pt x="1070" y="48"/>
                  </a:lnTo>
                  <a:lnTo>
                    <a:pt x="1070" y="48"/>
                  </a:lnTo>
                  <a:lnTo>
                    <a:pt x="1073" y="46"/>
                  </a:lnTo>
                  <a:lnTo>
                    <a:pt x="1076" y="43"/>
                  </a:lnTo>
                  <a:lnTo>
                    <a:pt x="1076" y="43"/>
                  </a:lnTo>
                  <a:lnTo>
                    <a:pt x="1073" y="43"/>
                  </a:lnTo>
                  <a:lnTo>
                    <a:pt x="1073" y="43"/>
                  </a:lnTo>
                  <a:lnTo>
                    <a:pt x="1070" y="43"/>
                  </a:lnTo>
                  <a:lnTo>
                    <a:pt x="1065" y="43"/>
                  </a:lnTo>
                  <a:lnTo>
                    <a:pt x="1065" y="43"/>
                  </a:lnTo>
                  <a:lnTo>
                    <a:pt x="1060" y="43"/>
                  </a:lnTo>
                  <a:lnTo>
                    <a:pt x="1060" y="43"/>
                  </a:lnTo>
                  <a:lnTo>
                    <a:pt x="1058" y="43"/>
                  </a:lnTo>
                  <a:lnTo>
                    <a:pt x="1058" y="46"/>
                  </a:lnTo>
                  <a:lnTo>
                    <a:pt x="1055" y="46"/>
                  </a:lnTo>
                  <a:lnTo>
                    <a:pt x="1055" y="46"/>
                  </a:lnTo>
                  <a:lnTo>
                    <a:pt x="1058" y="46"/>
                  </a:lnTo>
                  <a:lnTo>
                    <a:pt x="1058" y="46"/>
                  </a:lnTo>
                  <a:close/>
                  <a:moveTo>
                    <a:pt x="1048" y="79"/>
                  </a:moveTo>
                  <a:lnTo>
                    <a:pt x="1050" y="79"/>
                  </a:lnTo>
                  <a:lnTo>
                    <a:pt x="1048" y="79"/>
                  </a:lnTo>
                  <a:lnTo>
                    <a:pt x="1048" y="79"/>
                  </a:lnTo>
                  <a:lnTo>
                    <a:pt x="1048" y="79"/>
                  </a:lnTo>
                  <a:lnTo>
                    <a:pt x="1048" y="82"/>
                  </a:lnTo>
                  <a:lnTo>
                    <a:pt x="1050" y="79"/>
                  </a:lnTo>
                  <a:lnTo>
                    <a:pt x="1053" y="79"/>
                  </a:lnTo>
                  <a:lnTo>
                    <a:pt x="1055" y="79"/>
                  </a:lnTo>
                  <a:lnTo>
                    <a:pt x="1060" y="79"/>
                  </a:lnTo>
                  <a:lnTo>
                    <a:pt x="1068" y="79"/>
                  </a:lnTo>
                  <a:lnTo>
                    <a:pt x="1070" y="76"/>
                  </a:lnTo>
                  <a:lnTo>
                    <a:pt x="1070" y="76"/>
                  </a:lnTo>
                  <a:lnTo>
                    <a:pt x="1073" y="76"/>
                  </a:lnTo>
                  <a:lnTo>
                    <a:pt x="1076" y="76"/>
                  </a:lnTo>
                  <a:lnTo>
                    <a:pt x="1081" y="76"/>
                  </a:lnTo>
                  <a:lnTo>
                    <a:pt x="1081" y="76"/>
                  </a:lnTo>
                  <a:lnTo>
                    <a:pt x="1081" y="74"/>
                  </a:lnTo>
                  <a:lnTo>
                    <a:pt x="1081" y="74"/>
                  </a:lnTo>
                  <a:lnTo>
                    <a:pt x="1078" y="74"/>
                  </a:lnTo>
                  <a:lnTo>
                    <a:pt x="1081" y="74"/>
                  </a:lnTo>
                  <a:lnTo>
                    <a:pt x="1083" y="71"/>
                  </a:lnTo>
                  <a:lnTo>
                    <a:pt x="1086" y="71"/>
                  </a:lnTo>
                  <a:lnTo>
                    <a:pt x="1086" y="71"/>
                  </a:lnTo>
                  <a:lnTo>
                    <a:pt x="1086" y="71"/>
                  </a:lnTo>
                  <a:lnTo>
                    <a:pt x="1086" y="69"/>
                  </a:lnTo>
                  <a:lnTo>
                    <a:pt x="1083" y="69"/>
                  </a:lnTo>
                  <a:lnTo>
                    <a:pt x="1081" y="69"/>
                  </a:lnTo>
                  <a:lnTo>
                    <a:pt x="1076" y="69"/>
                  </a:lnTo>
                  <a:lnTo>
                    <a:pt x="1073" y="69"/>
                  </a:lnTo>
                  <a:lnTo>
                    <a:pt x="1073" y="69"/>
                  </a:lnTo>
                  <a:lnTo>
                    <a:pt x="1073" y="69"/>
                  </a:lnTo>
                  <a:lnTo>
                    <a:pt x="1073" y="66"/>
                  </a:lnTo>
                  <a:lnTo>
                    <a:pt x="1073" y="66"/>
                  </a:lnTo>
                  <a:lnTo>
                    <a:pt x="1073" y="66"/>
                  </a:lnTo>
                  <a:lnTo>
                    <a:pt x="1068" y="66"/>
                  </a:lnTo>
                  <a:lnTo>
                    <a:pt x="1065" y="64"/>
                  </a:lnTo>
                  <a:lnTo>
                    <a:pt x="1065" y="64"/>
                  </a:lnTo>
                  <a:lnTo>
                    <a:pt x="1063" y="64"/>
                  </a:lnTo>
                  <a:lnTo>
                    <a:pt x="1055" y="64"/>
                  </a:lnTo>
                  <a:lnTo>
                    <a:pt x="1055" y="64"/>
                  </a:lnTo>
                  <a:lnTo>
                    <a:pt x="1053" y="64"/>
                  </a:lnTo>
                  <a:lnTo>
                    <a:pt x="1050" y="64"/>
                  </a:lnTo>
                  <a:lnTo>
                    <a:pt x="1050" y="66"/>
                  </a:lnTo>
                  <a:lnTo>
                    <a:pt x="1050" y="66"/>
                  </a:lnTo>
                  <a:lnTo>
                    <a:pt x="1050" y="69"/>
                  </a:lnTo>
                  <a:lnTo>
                    <a:pt x="1045" y="69"/>
                  </a:lnTo>
                  <a:lnTo>
                    <a:pt x="1045" y="69"/>
                  </a:lnTo>
                  <a:lnTo>
                    <a:pt x="1045" y="69"/>
                  </a:lnTo>
                  <a:lnTo>
                    <a:pt x="1045" y="69"/>
                  </a:lnTo>
                  <a:lnTo>
                    <a:pt x="1045" y="69"/>
                  </a:lnTo>
                  <a:lnTo>
                    <a:pt x="1045" y="71"/>
                  </a:lnTo>
                  <a:lnTo>
                    <a:pt x="1048" y="71"/>
                  </a:lnTo>
                  <a:lnTo>
                    <a:pt x="1045" y="71"/>
                  </a:lnTo>
                  <a:lnTo>
                    <a:pt x="1048" y="74"/>
                  </a:lnTo>
                  <a:lnTo>
                    <a:pt x="1045" y="74"/>
                  </a:lnTo>
                  <a:lnTo>
                    <a:pt x="1053" y="74"/>
                  </a:lnTo>
                  <a:lnTo>
                    <a:pt x="1055" y="74"/>
                  </a:lnTo>
                  <a:lnTo>
                    <a:pt x="1055" y="74"/>
                  </a:lnTo>
                  <a:lnTo>
                    <a:pt x="1055" y="74"/>
                  </a:lnTo>
                  <a:lnTo>
                    <a:pt x="1053" y="74"/>
                  </a:lnTo>
                  <a:lnTo>
                    <a:pt x="1050" y="76"/>
                  </a:lnTo>
                  <a:lnTo>
                    <a:pt x="1045" y="76"/>
                  </a:lnTo>
                  <a:lnTo>
                    <a:pt x="1045" y="76"/>
                  </a:lnTo>
                  <a:lnTo>
                    <a:pt x="1045" y="76"/>
                  </a:lnTo>
                  <a:lnTo>
                    <a:pt x="1045" y="76"/>
                  </a:lnTo>
                  <a:lnTo>
                    <a:pt x="1048" y="79"/>
                  </a:lnTo>
                  <a:close/>
                  <a:moveTo>
                    <a:pt x="963" y="102"/>
                  </a:moveTo>
                  <a:lnTo>
                    <a:pt x="971" y="99"/>
                  </a:lnTo>
                  <a:lnTo>
                    <a:pt x="979" y="99"/>
                  </a:lnTo>
                  <a:lnTo>
                    <a:pt x="976" y="99"/>
                  </a:lnTo>
                  <a:lnTo>
                    <a:pt x="976" y="99"/>
                  </a:lnTo>
                  <a:lnTo>
                    <a:pt x="971" y="99"/>
                  </a:lnTo>
                  <a:lnTo>
                    <a:pt x="971" y="99"/>
                  </a:lnTo>
                  <a:lnTo>
                    <a:pt x="966" y="99"/>
                  </a:lnTo>
                  <a:lnTo>
                    <a:pt x="961" y="99"/>
                  </a:lnTo>
                  <a:lnTo>
                    <a:pt x="958" y="102"/>
                  </a:lnTo>
                  <a:lnTo>
                    <a:pt x="958" y="102"/>
                  </a:lnTo>
                  <a:lnTo>
                    <a:pt x="958" y="102"/>
                  </a:lnTo>
                  <a:lnTo>
                    <a:pt x="963" y="102"/>
                  </a:lnTo>
                  <a:close/>
                  <a:moveTo>
                    <a:pt x="826" y="224"/>
                  </a:moveTo>
                  <a:lnTo>
                    <a:pt x="828" y="219"/>
                  </a:lnTo>
                  <a:lnTo>
                    <a:pt x="828" y="219"/>
                  </a:lnTo>
                  <a:lnTo>
                    <a:pt x="828" y="219"/>
                  </a:lnTo>
                  <a:lnTo>
                    <a:pt x="828" y="219"/>
                  </a:lnTo>
                  <a:lnTo>
                    <a:pt x="828" y="219"/>
                  </a:lnTo>
                  <a:lnTo>
                    <a:pt x="823" y="219"/>
                  </a:lnTo>
                  <a:lnTo>
                    <a:pt x="823" y="216"/>
                  </a:lnTo>
                  <a:lnTo>
                    <a:pt x="823" y="216"/>
                  </a:lnTo>
                  <a:lnTo>
                    <a:pt x="823" y="216"/>
                  </a:lnTo>
                  <a:lnTo>
                    <a:pt x="823" y="216"/>
                  </a:lnTo>
                  <a:lnTo>
                    <a:pt x="823" y="216"/>
                  </a:lnTo>
                  <a:lnTo>
                    <a:pt x="821" y="216"/>
                  </a:lnTo>
                  <a:lnTo>
                    <a:pt x="818" y="216"/>
                  </a:lnTo>
                  <a:lnTo>
                    <a:pt x="816" y="214"/>
                  </a:lnTo>
                  <a:lnTo>
                    <a:pt x="813" y="211"/>
                  </a:lnTo>
                  <a:lnTo>
                    <a:pt x="813" y="211"/>
                  </a:lnTo>
                  <a:lnTo>
                    <a:pt x="810" y="209"/>
                  </a:lnTo>
                  <a:lnTo>
                    <a:pt x="810" y="209"/>
                  </a:lnTo>
                  <a:lnTo>
                    <a:pt x="810" y="209"/>
                  </a:lnTo>
                  <a:lnTo>
                    <a:pt x="810" y="211"/>
                  </a:lnTo>
                  <a:lnTo>
                    <a:pt x="808" y="211"/>
                  </a:lnTo>
                  <a:lnTo>
                    <a:pt x="808" y="211"/>
                  </a:lnTo>
                  <a:lnTo>
                    <a:pt x="808" y="211"/>
                  </a:lnTo>
                  <a:lnTo>
                    <a:pt x="808" y="211"/>
                  </a:lnTo>
                  <a:lnTo>
                    <a:pt x="808" y="211"/>
                  </a:lnTo>
                  <a:lnTo>
                    <a:pt x="805" y="209"/>
                  </a:lnTo>
                  <a:lnTo>
                    <a:pt x="803" y="209"/>
                  </a:lnTo>
                  <a:lnTo>
                    <a:pt x="800" y="206"/>
                  </a:lnTo>
                  <a:lnTo>
                    <a:pt x="800" y="206"/>
                  </a:lnTo>
                  <a:lnTo>
                    <a:pt x="800" y="204"/>
                  </a:lnTo>
                  <a:lnTo>
                    <a:pt x="798" y="201"/>
                  </a:lnTo>
                  <a:lnTo>
                    <a:pt x="798" y="201"/>
                  </a:lnTo>
                  <a:lnTo>
                    <a:pt x="798" y="199"/>
                  </a:lnTo>
                  <a:lnTo>
                    <a:pt x="803" y="196"/>
                  </a:lnTo>
                  <a:lnTo>
                    <a:pt x="805" y="196"/>
                  </a:lnTo>
                  <a:lnTo>
                    <a:pt x="805" y="196"/>
                  </a:lnTo>
                  <a:lnTo>
                    <a:pt x="808" y="193"/>
                  </a:lnTo>
                  <a:lnTo>
                    <a:pt x="808" y="193"/>
                  </a:lnTo>
                  <a:lnTo>
                    <a:pt x="808" y="193"/>
                  </a:lnTo>
                  <a:lnTo>
                    <a:pt x="808" y="193"/>
                  </a:lnTo>
                  <a:lnTo>
                    <a:pt x="810" y="191"/>
                  </a:lnTo>
                  <a:lnTo>
                    <a:pt x="810" y="188"/>
                  </a:lnTo>
                  <a:lnTo>
                    <a:pt x="810" y="186"/>
                  </a:lnTo>
                  <a:lnTo>
                    <a:pt x="810" y="186"/>
                  </a:lnTo>
                  <a:lnTo>
                    <a:pt x="813" y="183"/>
                  </a:lnTo>
                  <a:lnTo>
                    <a:pt x="816" y="176"/>
                  </a:lnTo>
                  <a:lnTo>
                    <a:pt x="816" y="176"/>
                  </a:lnTo>
                  <a:lnTo>
                    <a:pt x="818" y="173"/>
                  </a:lnTo>
                  <a:lnTo>
                    <a:pt x="818" y="171"/>
                  </a:lnTo>
                  <a:lnTo>
                    <a:pt x="821" y="171"/>
                  </a:lnTo>
                  <a:lnTo>
                    <a:pt x="821" y="171"/>
                  </a:lnTo>
                  <a:lnTo>
                    <a:pt x="821" y="171"/>
                  </a:lnTo>
                  <a:lnTo>
                    <a:pt x="821" y="168"/>
                  </a:lnTo>
                  <a:lnTo>
                    <a:pt x="821" y="168"/>
                  </a:lnTo>
                  <a:lnTo>
                    <a:pt x="821" y="168"/>
                  </a:lnTo>
                  <a:lnTo>
                    <a:pt x="821" y="165"/>
                  </a:lnTo>
                  <a:lnTo>
                    <a:pt x="821" y="165"/>
                  </a:lnTo>
                  <a:lnTo>
                    <a:pt x="818" y="163"/>
                  </a:lnTo>
                  <a:lnTo>
                    <a:pt x="816" y="160"/>
                  </a:lnTo>
                  <a:lnTo>
                    <a:pt x="813" y="160"/>
                  </a:lnTo>
                  <a:lnTo>
                    <a:pt x="810" y="160"/>
                  </a:lnTo>
                  <a:lnTo>
                    <a:pt x="808" y="160"/>
                  </a:lnTo>
                  <a:lnTo>
                    <a:pt x="808" y="160"/>
                  </a:lnTo>
                  <a:lnTo>
                    <a:pt x="805" y="160"/>
                  </a:lnTo>
                  <a:lnTo>
                    <a:pt x="803" y="160"/>
                  </a:lnTo>
                  <a:lnTo>
                    <a:pt x="800" y="158"/>
                  </a:lnTo>
                  <a:lnTo>
                    <a:pt x="798" y="158"/>
                  </a:lnTo>
                  <a:lnTo>
                    <a:pt x="795" y="160"/>
                  </a:lnTo>
                  <a:lnTo>
                    <a:pt x="795" y="160"/>
                  </a:lnTo>
                  <a:lnTo>
                    <a:pt x="795" y="160"/>
                  </a:lnTo>
                  <a:lnTo>
                    <a:pt x="795" y="160"/>
                  </a:lnTo>
                  <a:lnTo>
                    <a:pt x="795" y="160"/>
                  </a:lnTo>
                  <a:lnTo>
                    <a:pt x="793" y="160"/>
                  </a:lnTo>
                  <a:lnTo>
                    <a:pt x="790" y="160"/>
                  </a:lnTo>
                  <a:lnTo>
                    <a:pt x="790" y="163"/>
                  </a:lnTo>
                  <a:lnTo>
                    <a:pt x="790" y="163"/>
                  </a:lnTo>
                  <a:lnTo>
                    <a:pt x="782" y="171"/>
                  </a:lnTo>
                  <a:lnTo>
                    <a:pt x="782" y="173"/>
                  </a:lnTo>
                  <a:lnTo>
                    <a:pt x="782" y="173"/>
                  </a:lnTo>
                  <a:lnTo>
                    <a:pt x="780" y="173"/>
                  </a:lnTo>
                  <a:lnTo>
                    <a:pt x="780" y="173"/>
                  </a:lnTo>
                  <a:lnTo>
                    <a:pt x="780" y="176"/>
                  </a:lnTo>
                  <a:lnTo>
                    <a:pt x="780" y="176"/>
                  </a:lnTo>
                  <a:lnTo>
                    <a:pt x="777" y="176"/>
                  </a:lnTo>
                  <a:lnTo>
                    <a:pt x="777" y="178"/>
                  </a:lnTo>
                  <a:lnTo>
                    <a:pt x="775" y="181"/>
                  </a:lnTo>
                  <a:lnTo>
                    <a:pt x="775" y="183"/>
                  </a:lnTo>
                  <a:lnTo>
                    <a:pt x="775" y="186"/>
                  </a:lnTo>
                  <a:lnTo>
                    <a:pt x="775" y="186"/>
                  </a:lnTo>
                  <a:lnTo>
                    <a:pt x="775" y="186"/>
                  </a:lnTo>
                  <a:lnTo>
                    <a:pt x="775" y="186"/>
                  </a:lnTo>
                  <a:lnTo>
                    <a:pt x="775" y="186"/>
                  </a:lnTo>
                  <a:lnTo>
                    <a:pt x="775" y="186"/>
                  </a:lnTo>
                  <a:lnTo>
                    <a:pt x="767" y="188"/>
                  </a:lnTo>
                  <a:lnTo>
                    <a:pt x="765" y="188"/>
                  </a:lnTo>
                  <a:lnTo>
                    <a:pt x="765" y="191"/>
                  </a:lnTo>
                  <a:lnTo>
                    <a:pt x="762" y="191"/>
                  </a:lnTo>
                  <a:lnTo>
                    <a:pt x="762" y="191"/>
                  </a:lnTo>
                  <a:lnTo>
                    <a:pt x="762" y="188"/>
                  </a:lnTo>
                  <a:lnTo>
                    <a:pt x="760" y="188"/>
                  </a:lnTo>
                  <a:lnTo>
                    <a:pt x="760" y="188"/>
                  </a:lnTo>
                  <a:lnTo>
                    <a:pt x="760" y="188"/>
                  </a:lnTo>
                  <a:lnTo>
                    <a:pt x="762" y="186"/>
                  </a:lnTo>
                  <a:lnTo>
                    <a:pt x="765" y="181"/>
                  </a:lnTo>
                  <a:lnTo>
                    <a:pt x="767" y="178"/>
                  </a:lnTo>
                  <a:lnTo>
                    <a:pt x="767" y="176"/>
                  </a:lnTo>
                  <a:lnTo>
                    <a:pt x="770" y="173"/>
                  </a:lnTo>
                  <a:lnTo>
                    <a:pt x="770" y="173"/>
                  </a:lnTo>
                  <a:lnTo>
                    <a:pt x="770" y="173"/>
                  </a:lnTo>
                  <a:lnTo>
                    <a:pt x="767" y="173"/>
                  </a:lnTo>
                  <a:lnTo>
                    <a:pt x="767" y="173"/>
                  </a:lnTo>
                  <a:lnTo>
                    <a:pt x="767" y="171"/>
                  </a:lnTo>
                  <a:lnTo>
                    <a:pt x="770" y="171"/>
                  </a:lnTo>
                  <a:lnTo>
                    <a:pt x="770" y="171"/>
                  </a:lnTo>
                  <a:lnTo>
                    <a:pt x="767" y="171"/>
                  </a:lnTo>
                  <a:lnTo>
                    <a:pt x="767" y="171"/>
                  </a:lnTo>
                  <a:lnTo>
                    <a:pt x="767" y="168"/>
                  </a:lnTo>
                  <a:lnTo>
                    <a:pt x="765" y="168"/>
                  </a:lnTo>
                  <a:lnTo>
                    <a:pt x="765" y="168"/>
                  </a:lnTo>
                  <a:lnTo>
                    <a:pt x="762" y="165"/>
                  </a:lnTo>
                  <a:lnTo>
                    <a:pt x="760" y="165"/>
                  </a:lnTo>
                  <a:lnTo>
                    <a:pt x="754" y="165"/>
                  </a:lnTo>
                  <a:lnTo>
                    <a:pt x="752" y="165"/>
                  </a:lnTo>
                  <a:lnTo>
                    <a:pt x="752" y="165"/>
                  </a:lnTo>
                  <a:lnTo>
                    <a:pt x="752" y="168"/>
                  </a:lnTo>
                  <a:lnTo>
                    <a:pt x="754" y="168"/>
                  </a:lnTo>
                  <a:lnTo>
                    <a:pt x="754" y="168"/>
                  </a:lnTo>
                  <a:lnTo>
                    <a:pt x="752" y="171"/>
                  </a:lnTo>
                  <a:lnTo>
                    <a:pt x="752" y="171"/>
                  </a:lnTo>
                  <a:lnTo>
                    <a:pt x="747" y="171"/>
                  </a:lnTo>
                  <a:lnTo>
                    <a:pt x="747" y="173"/>
                  </a:lnTo>
                  <a:lnTo>
                    <a:pt x="742" y="173"/>
                  </a:lnTo>
                  <a:lnTo>
                    <a:pt x="737" y="176"/>
                  </a:lnTo>
                  <a:lnTo>
                    <a:pt x="731" y="176"/>
                  </a:lnTo>
                  <a:lnTo>
                    <a:pt x="731" y="176"/>
                  </a:lnTo>
                  <a:lnTo>
                    <a:pt x="729" y="176"/>
                  </a:lnTo>
                  <a:lnTo>
                    <a:pt x="731" y="176"/>
                  </a:lnTo>
                  <a:lnTo>
                    <a:pt x="731" y="176"/>
                  </a:lnTo>
                  <a:lnTo>
                    <a:pt x="731" y="176"/>
                  </a:lnTo>
                  <a:lnTo>
                    <a:pt x="731" y="176"/>
                  </a:lnTo>
                  <a:lnTo>
                    <a:pt x="731" y="176"/>
                  </a:lnTo>
                  <a:lnTo>
                    <a:pt x="731" y="176"/>
                  </a:lnTo>
                  <a:lnTo>
                    <a:pt x="729" y="176"/>
                  </a:lnTo>
                  <a:lnTo>
                    <a:pt x="726" y="176"/>
                  </a:lnTo>
                  <a:lnTo>
                    <a:pt x="724" y="178"/>
                  </a:lnTo>
                  <a:lnTo>
                    <a:pt x="724" y="178"/>
                  </a:lnTo>
                  <a:lnTo>
                    <a:pt x="721" y="176"/>
                  </a:lnTo>
                  <a:lnTo>
                    <a:pt x="724" y="176"/>
                  </a:lnTo>
                  <a:lnTo>
                    <a:pt x="726" y="176"/>
                  </a:lnTo>
                  <a:lnTo>
                    <a:pt x="734" y="173"/>
                  </a:lnTo>
                  <a:lnTo>
                    <a:pt x="737" y="171"/>
                  </a:lnTo>
                  <a:lnTo>
                    <a:pt x="739" y="171"/>
                  </a:lnTo>
                  <a:lnTo>
                    <a:pt x="737" y="168"/>
                  </a:lnTo>
                  <a:lnTo>
                    <a:pt x="731" y="168"/>
                  </a:lnTo>
                  <a:lnTo>
                    <a:pt x="726" y="165"/>
                  </a:lnTo>
                  <a:lnTo>
                    <a:pt x="724" y="165"/>
                  </a:lnTo>
                  <a:lnTo>
                    <a:pt x="719" y="165"/>
                  </a:lnTo>
                  <a:lnTo>
                    <a:pt x="716" y="165"/>
                  </a:lnTo>
                  <a:lnTo>
                    <a:pt x="716" y="165"/>
                  </a:lnTo>
                  <a:lnTo>
                    <a:pt x="711" y="168"/>
                  </a:lnTo>
                  <a:lnTo>
                    <a:pt x="709" y="168"/>
                  </a:lnTo>
                  <a:lnTo>
                    <a:pt x="709" y="171"/>
                  </a:lnTo>
                  <a:lnTo>
                    <a:pt x="706" y="171"/>
                  </a:lnTo>
                  <a:lnTo>
                    <a:pt x="706" y="171"/>
                  </a:lnTo>
                  <a:lnTo>
                    <a:pt x="703" y="171"/>
                  </a:lnTo>
                  <a:lnTo>
                    <a:pt x="703" y="171"/>
                  </a:lnTo>
                  <a:lnTo>
                    <a:pt x="703" y="171"/>
                  </a:lnTo>
                  <a:lnTo>
                    <a:pt x="698" y="171"/>
                  </a:lnTo>
                  <a:lnTo>
                    <a:pt x="696" y="171"/>
                  </a:lnTo>
                  <a:lnTo>
                    <a:pt x="693" y="173"/>
                  </a:lnTo>
                  <a:lnTo>
                    <a:pt x="691" y="173"/>
                  </a:lnTo>
                  <a:lnTo>
                    <a:pt x="691" y="173"/>
                  </a:lnTo>
                  <a:lnTo>
                    <a:pt x="691" y="171"/>
                  </a:lnTo>
                  <a:lnTo>
                    <a:pt x="696" y="171"/>
                  </a:lnTo>
                  <a:lnTo>
                    <a:pt x="698" y="168"/>
                  </a:lnTo>
                  <a:lnTo>
                    <a:pt x="701" y="168"/>
                  </a:lnTo>
                  <a:lnTo>
                    <a:pt x="703" y="165"/>
                  </a:lnTo>
                  <a:lnTo>
                    <a:pt x="703" y="165"/>
                  </a:lnTo>
                  <a:lnTo>
                    <a:pt x="706" y="165"/>
                  </a:lnTo>
                  <a:lnTo>
                    <a:pt x="706" y="163"/>
                  </a:lnTo>
                  <a:lnTo>
                    <a:pt x="709" y="160"/>
                  </a:lnTo>
                  <a:lnTo>
                    <a:pt x="711" y="160"/>
                  </a:lnTo>
                  <a:lnTo>
                    <a:pt x="711" y="160"/>
                  </a:lnTo>
                  <a:lnTo>
                    <a:pt x="711" y="160"/>
                  </a:lnTo>
                  <a:lnTo>
                    <a:pt x="709" y="158"/>
                  </a:lnTo>
                  <a:lnTo>
                    <a:pt x="706" y="158"/>
                  </a:lnTo>
                  <a:lnTo>
                    <a:pt x="691" y="160"/>
                  </a:lnTo>
                  <a:lnTo>
                    <a:pt x="673" y="163"/>
                  </a:lnTo>
                  <a:lnTo>
                    <a:pt x="665" y="165"/>
                  </a:lnTo>
                  <a:lnTo>
                    <a:pt x="660" y="165"/>
                  </a:lnTo>
                  <a:lnTo>
                    <a:pt x="652" y="168"/>
                  </a:lnTo>
                  <a:lnTo>
                    <a:pt x="640" y="171"/>
                  </a:lnTo>
                  <a:lnTo>
                    <a:pt x="635" y="173"/>
                  </a:lnTo>
                  <a:lnTo>
                    <a:pt x="632" y="176"/>
                  </a:lnTo>
                  <a:lnTo>
                    <a:pt x="630" y="176"/>
                  </a:lnTo>
                  <a:lnTo>
                    <a:pt x="630" y="176"/>
                  </a:lnTo>
                  <a:lnTo>
                    <a:pt x="630" y="176"/>
                  </a:lnTo>
                  <a:lnTo>
                    <a:pt x="632" y="178"/>
                  </a:lnTo>
                  <a:lnTo>
                    <a:pt x="632" y="178"/>
                  </a:lnTo>
                  <a:lnTo>
                    <a:pt x="630" y="178"/>
                  </a:lnTo>
                  <a:lnTo>
                    <a:pt x="627" y="178"/>
                  </a:lnTo>
                  <a:lnTo>
                    <a:pt x="622" y="181"/>
                  </a:lnTo>
                  <a:lnTo>
                    <a:pt x="614" y="183"/>
                  </a:lnTo>
                  <a:lnTo>
                    <a:pt x="614" y="183"/>
                  </a:lnTo>
                  <a:lnTo>
                    <a:pt x="612" y="186"/>
                  </a:lnTo>
                  <a:lnTo>
                    <a:pt x="609" y="186"/>
                  </a:lnTo>
                  <a:lnTo>
                    <a:pt x="607" y="188"/>
                  </a:lnTo>
                  <a:lnTo>
                    <a:pt x="607" y="188"/>
                  </a:lnTo>
                  <a:lnTo>
                    <a:pt x="607" y="188"/>
                  </a:lnTo>
                  <a:lnTo>
                    <a:pt x="612" y="191"/>
                  </a:lnTo>
                  <a:lnTo>
                    <a:pt x="614" y="191"/>
                  </a:lnTo>
                  <a:lnTo>
                    <a:pt x="622" y="188"/>
                  </a:lnTo>
                  <a:lnTo>
                    <a:pt x="622" y="188"/>
                  </a:lnTo>
                  <a:lnTo>
                    <a:pt x="619" y="191"/>
                  </a:lnTo>
                  <a:lnTo>
                    <a:pt x="614" y="191"/>
                  </a:lnTo>
                  <a:lnTo>
                    <a:pt x="612" y="193"/>
                  </a:lnTo>
                  <a:lnTo>
                    <a:pt x="612" y="193"/>
                  </a:lnTo>
                  <a:lnTo>
                    <a:pt x="612" y="193"/>
                  </a:lnTo>
                  <a:lnTo>
                    <a:pt x="614" y="193"/>
                  </a:lnTo>
                  <a:lnTo>
                    <a:pt x="617" y="193"/>
                  </a:lnTo>
                  <a:lnTo>
                    <a:pt x="624" y="193"/>
                  </a:lnTo>
                  <a:lnTo>
                    <a:pt x="632" y="193"/>
                  </a:lnTo>
                  <a:lnTo>
                    <a:pt x="650" y="191"/>
                  </a:lnTo>
                  <a:lnTo>
                    <a:pt x="655" y="193"/>
                  </a:lnTo>
                  <a:lnTo>
                    <a:pt x="655" y="193"/>
                  </a:lnTo>
                  <a:lnTo>
                    <a:pt x="652" y="193"/>
                  </a:lnTo>
                  <a:lnTo>
                    <a:pt x="650" y="193"/>
                  </a:lnTo>
                  <a:lnTo>
                    <a:pt x="647" y="193"/>
                  </a:lnTo>
                  <a:lnTo>
                    <a:pt x="645" y="193"/>
                  </a:lnTo>
                  <a:lnTo>
                    <a:pt x="642" y="193"/>
                  </a:lnTo>
                  <a:lnTo>
                    <a:pt x="642" y="193"/>
                  </a:lnTo>
                  <a:lnTo>
                    <a:pt x="642" y="193"/>
                  </a:lnTo>
                  <a:lnTo>
                    <a:pt x="642" y="193"/>
                  </a:lnTo>
                  <a:lnTo>
                    <a:pt x="640" y="196"/>
                  </a:lnTo>
                  <a:lnTo>
                    <a:pt x="637" y="196"/>
                  </a:lnTo>
                  <a:lnTo>
                    <a:pt x="635" y="196"/>
                  </a:lnTo>
                  <a:lnTo>
                    <a:pt x="627" y="196"/>
                  </a:lnTo>
                  <a:lnTo>
                    <a:pt x="619" y="199"/>
                  </a:lnTo>
                  <a:lnTo>
                    <a:pt x="612" y="199"/>
                  </a:lnTo>
                  <a:lnTo>
                    <a:pt x="609" y="199"/>
                  </a:lnTo>
                  <a:lnTo>
                    <a:pt x="602" y="201"/>
                  </a:lnTo>
                  <a:lnTo>
                    <a:pt x="599" y="201"/>
                  </a:lnTo>
                  <a:lnTo>
                    <a:pt x="599" y="204"/>
                  </a:lnTo>
                  <a:lnTo>
                    <a:pt x="599" y="204"/>
                  </a:lnTo>
                  <a:lnTo>
                    <a:pt x="602" y="209"/>
                  </a:lnTo>
                  <a:lnTo>
                    <a:pt x="609" y="209"/>
                  </a:lnTo>
                  <a:lnTo>
                    <a:pt x="619" y="209"/>
                  </a:lnTo>
                  <a:lnTo>
                    <a:pt x="622" y="209"/>
                  </a:lnTo>
                  <a:lnTo>
                    <a:pt x="622" y="209"/>
                  </a:lnTo>
                  <a:lnTo>
                    <a:pt x="624" y="209"/>
                  </a:lnTo>
                  <a:lnTo>
                    <a:pt x="635" y="209"/>
                  </a:lnTo>
                  <a:lnTo>
                    <a:pt x="642" y="209"/>
                  </a:lnTo>
                  <a:lnTo>
                    <a:pt x="645" y="209"/>
                  </a:lnTo>
                  <a:lnTo>
                    <a:pt x="650" y="209"/>
                  </a:lnTo>
                  <a:lnTo>
                    <a:pt x="650" y="209"/>
                  </a:lnTo>
                  <a:lnTo>
                    <a:pt x="655" y="209"/>
                  </a:lnTo>
                  <a:lnTo>
                    <a:pt x="658" y="209"/>
                  </a:lnTo>
                  <a:lnTo>
                    <a:pt x="663" y="209"/>
                  </a:lnTo>
                  <a:lnTo>
                    <a:pt x="665" y="209"/>
                  </a:lnTo>
                  <a:lnTo>
                    <a:pt x="675" y="211"/>
                  </a:lnTo>
                  <a:lnTo>
                    <a:pt x="681" y="214"/>
                  </a:lnTo>
                  <a:lnTo>
                    <a:pt x="681" y="214"/>
                  </a:lnTo>
                  <a:lnTo>
                    <a:pt x="678" y="216"/>
                  </a:lnTo>
                  <a:lnTo>
                    <a:pt x="678" y="216"/>
                  </a:lnTo>
                  <a:lnTo>
                    <a:pt x="673" y="216"/>
                  </a:lnTo>
                  <a:lnTo>
                    <a:pt x="670" y="216"/>
                  </a:lnTo>
                  <a:lnTo>
                    <a:pt x="665" y="216"/>
                  </a:lnTo>
                  <a:lnTo>
                    <a:pt x="665" y="216"/>
                  </a:lnTo>
                  <a:lnTo>
                    <a:pt x="658" y="216"/>
                  </a:lnTo>
                  <a:lnTo>
                    <a:pt x="650" y="216"/>
                  </a:lnTo>
                  <a:lnTo>
                    <a:pt x="647" y="216"/>
                  </a:lnTo>
                  <a:lnTo>
                    <a:pt x="645" y="214"/>
                  </a:lnTo>
                  <a:lnTo>
                    <a:pt x="637" y="214"/>
                  </a:lnTo>
                  <a:lnTo>
                    <a:pt x="624" y="216"/>
                  </a:lnTo>
                  <a:lnTo>
                    <a:pt x="607" y="216"/>
                  </a:lnTo>
                  <a:lnTo>
                    <a:pt x="596" y="219"/>
                  </a:lnTo>
                  <a:lnTo>
                    <a:pt x="596" y="219"/>
                  </a:lnTo>
                  <a:lnTo>
                    <a:pt x="594" y="219"/>
                  </a:lnTo>
                  <a:lnTo>
                    <a:pt x="594" y="221"/>
                  </a:lnTo>
                  <a:lnTo>
                    <a:pt x="591" y="224"/>
                  </a:lnTo>
                  <a:lnTo>
                    <a:pt x="591" y="224"/>
                  </a:lnTo>
                  <a:lnTo>
                    <a:pt x="591" y="224"/>
                  </a:lnTo>
                  <a:lnTo>
                    <a:pt x="591" y="227"/>
                  </a:lnTo>
                  <a:lnTo>
                    <a:pt x="591" y="229"/>
                  </a:lnTo>
                  <a:lnTo>
                    <a:pt x="591" y="229"/>
                  </a:lnTo>
                  <a:lnTo>
                    <a:pt x="591" y="232"/>
                  </a:lnTo>
                  <a:lnTo>
                    <a:pt x="591" y="232"/>
                  </a:lnTo>
                  <a:lnTo>
                    <a:pt x="591" y="232"/>
                  </a:lnTo>
                  <a:lnTo>
                    <a:pt x="596" y="234"/>
                  </a:lnTo>
                  <a:lnTo>
                    <a:pt x="599" y="234"/>
                  </a:lnTo>
                  <a:lnTo>
                    <a:pt x="602" y="234"/>
                  </a:lnTo>
                  <a:lnTo>
                    <a:pt x="607" y="234"/>
                  </a:lnTo>
                  <a:lnTo>
                    <a:pt x="614" y="234"/>
                  </a:lnTo>
                  <a:lnTo>
                    <a:pt x="619" y="234"/>
                  </a:lnTo>
                  <a:lnTo>
                    <a:pt x="622" y="234"/>
                  </a:lnTo>
                  <a:lnTo>
                    <a:pt x="627" y="237"/>
                  </a:lnTo>
                  <a:lnTo>
                    <a:pt x="627" y="237"/>
                  </a:lnTo>
                  <a:lnTo>
                    <a:pt x="624" y="239"/>
                  </a:lnTo>
                  <a:lnTo>
                    <a:pt x="624" y="239"/>
                  </a:lnTo>
                  <a:lnTo>
                    <a:pt x="622" y="242"/>
                  </a:lnTo>
                  <a:lnTo>
                    <a:pt x="619" y="244"/>
                  </a:lnTo>
                  <a:lnTo>
                    <a:pt x="619" y="247"/>
                  </a:lnTo>
                  <a:lnTo>
                    <a:pt x="619" y="249"/>
                  </a:lnTo>
                  <a:lnTo>
                    <a:pt x="622" y="249"/>
                  </a:lnTo>
                  <a:lnTo>
                    <a:pt x="622" y="249"/>
                  </a:lnTo>
                  <a:lnTo>
                    <a:pt x="624" y="249"/>
                  </a:lnTo>
                  <a:lnTo>
                    <a:pt x="627" y="249"/>
                  </a:lnTo>
                  <a:lnTo>
                    <a:pt x="635" y="249"/>
                  </a:lnTo>
                  <a:lnTo>
                    <a:pt x="645" y="249"/>
                  </a:lnTo>
                  <a:lnTo>
                    <a:pt x="647" y="249"/>
                  </a:lnTo>
                  <a:lnTo>
                    <a:pt x="652" y="247"/>
                  </a:lnTo>
                  <a:lnTo>
                    <a:pt x="655" y="247"/>
                  </a:lnTo>
                  <a:lnTo>
                    <a:pt x="655" y="247"/>
                  </a:lnTo>
                  <a:lnTo>
                    <a:pt x="663" y="247"/>
                  </a:lnTo>
                  <a:lnTo>
                    <a:pt x="670" y="247"/>
                  </a:lnTo>
                  <a:lnTo>
                    <a:pt x="678" y="247"/>
                  </a:lnTo>
                  <a:lnTo>
                    <a:pt x="688" y="244"/>
                  </a:lnTo>
                  <a:lnTo>
                    <a:pt x="693" y="242"/>
                  </a:lnTo>
                  <a:lnTo>
                    <a:pt x="696" y="242"/>
                  </a:lnTo>
                  <a:lnTo>
                    <a:pt x="701" y="242"/>
                  </a:lnTo>
                  <a:lnTo>
                    <a:pt x="709" y="242"/>
                  </a:lnTo>
                  <a:lnTo>
                    <a:pt x="714" y="239"/>
                  </a:lnTo>
                  <a:lnTo>
                    <a:pt x="716" y="239"/>
                  </a:lnTo>
                  <a:lnTo>
                    <a:pt x="721" y="237"/>
                  </a:lnTo>
                  <a:lnTo>
                    <a:pt x="724" y="237"/>
                  </a:lnTo>
                  <a:lnTo>
                    <a:pt x="729" y="234"/>
                  </a:lnTo>
                  <a:lnTo>
                    <a:pt x="731" y="232"/>
                  </a:lnTo>
                  <a:lnTo>
                    <a:pt x="734" y="232"/>
                  </a:lnTo>
                  <a:lnTo>
                    <a:pt x="737" y="232"/>
                  </a:lnTo>
                  <a:lnTo>
                    <a:pt x="737" y="232"/>
                  </a:lnTo>
                  <a:lnTo>
                    <a:pt x="739" y="232"/>
                  </a:lnTo>
                  <a:lnTo>
                    <a:pt x="737" y="234"/>
                  </a:lnTo>
                  <a:lnTo>
                    <a:pt x="737" y="234"/>
                  </a:lnTo>
                  <a:lnTo>
                    <a:pt x="737" y="234"/>
                  </a:lnTo>
                  <a:lnTo>
                    <a:pt x="734" y="234"/>
                  </a:lnTo>
                  <a:lnTo>
                    <a:pt x="737" y="237"/>
                  </a:lnTo>
                  <a:lnTo>
                    <a:pt x="737" y="237"/>
                  </a:lnTo>
                  <a:lnTo>
                    <a:pt x="739" y="237"/>
                  </a:lnTo>
                  <a:lnTo>
                    <a:pt x="742" y="237"/>
                  </a:lnTo>
                  <a:lnTo>
                    <a:pt x="744" y="237"/>
                  </a:lnTo>
                  <a:lnTo>
                    <a:pt x="749" y="237"/>
                  </a:lnTo>
                  <a:lnTo>
                    <a:pt x="752" y="239"/>
                  </a:lnTo>
                  <a:lnTo>
                    <a:pt x="752" y="239"/>
                  </a:lnTo>
                  <a:lnTo>
                    <a:pt x="752" y="239"/>
                  </a:lnTo>
                  <a:lnTo>
                    <a:pt x="747" y="239"/>
                  </a:lnTo>
                  <a:lnTo>
                    <a:pt x="747" y="242"/>
                  </a:lnTo>
                  <a:lnTo>
                    <a:pt x="747" y="242"/>
                  </a:lnTo>
                  <a:lnTo>
                    <a:pt x="754" y="242"/>
                  </a:lnTo>
                  <a:lnTo>
                    <a:pt x="757" y="242"/>
                  </a:lnTo>
                  <a:lnTo>
                    <a:pt x="760" y="242"/>
                  </a:lnTo>
                  <a:lnTo>
                    <a:pt x="762" y="242"/>
                  </a:lnTo>
                  <a:lnTo>
                    <a:pt x="765" y="242"/>
                  </a:lnTo>
                  <a:lnTo>
                    <a:pt x="770" y="244"/>
                  </a:lnTo>
                  <a:lnTo>
                    <a:pt x="775" y="242"/>
                  </a:lnTo>
                  <a:lnTo>
                    <a:pt x="777" y="244"/>
                  </a:lnTo>
                  <a:lnTo>
                    <a:pt x="780" y="242"/>
                  </a:lnTo>
                  <a:lnTo>
                    <a:pt x="780" y="242"/>
                  </a:lnTo>
                  <a:lnTo>
                    <a:pt x="785" y="242"/>
                  </a:lnTo>
                  <a:lnTo>
                    <a:pt x="788" y="242"/>
                  </a:lnTo>
                  <a:lnTo>
                    <a:pt x="795" y="239"/>
                  </a:lnTo>
                  <a:lnTo>
                    <a:pt x="798" y="239"/>
                  </a:lnTo>
                  <a:lnTo>
                    <a:pt x="800" y="237"/>
                  </a:lnTo>
                  <a:lnTo>
                    <a:pt x="800" y="237"/>
                  </a:lnTo>
                  <a:lnTo>
                    <a:pt x="800" y="237"/>
                  </a:lnTo>
                  <a:lnTo>
                    <a:pt x="800" y="234"/>
                  </a:lnTo>
                  <a:lnTo>
                    <a:pt x="800" y="234"/>
                  </a:lnTo>
                  <a:lnTo>
                    <a:pt x="798" y="234"/>
                  </a:lnTo>
                  <a:lnTo>
                    <a:pt x="798" y="234"/>
                  </a:lnTo>
                  <a:lnTo>
                    <a:pt x="798" y="234"/>
                  </a:lnTo>
                  <a:lnTo>
                    <a:pt x="798" y="234"/>
                  </a:lnTo>
                  <a:lnTo>
                    <a:pt x="800" y="234"/>
                  </a:lnTo>
                  <a:lnTo>
                    <a:pt x="800" y="232"/>
                  </a:lnTo>
                  <a:lnTo>
                    <a:pt x="803" y="232"/>
                  </a:lnTo>
                  <a:lnTo>
                    <a:pt x="803" y="232"/>
                  </a:lnTo>
                  <a:lnTo>
                    <a:pt x="803" y="232"/>
                  </a:lnTo>
                  <a:lnTo>
                    <a:pt x="800" y="232"/>
                  </a:lnTo>
                  <a:lnTo>
                    <a:pt x="798" y="232"/>
                  </a:lnTo>
                  <a:lnTo>
                    <a:pt x="795" y="232"/>
                  </a:lnTo>
                  <a:lnTo>
                    <a:pt x="790" y="232"/>
                  </a:lnTo>
                  <a:lnTo>
                    <a:pt x="788" y="234"/>
                  </a:lnTo>
                  <a:lnTo>
                    <a:pt x="782" y="237"/>
                  </a:lnTo>
                  <a:lnTo>
                    <a:pt x="782" y="237"/>
                  </a:lnTo>
                  <a:lnTo>
                    <a:pt x="782" y="234"/>
                  </a:lnTo>
                  <a:lnTo>
                    <a:pt x="785" y="232"/>
                  </a:lnTo>
                  <a:lnTo>
                    <a:pt x="788" y="232"/>
                  </a:lnTo>
                  <a:lnTo>
                    <a:pt x="788" y="232"/>
                  </a:lnTo>
                  <a:lnTo>
                    <a:pt x="788" y="232"/>
                  </a:lnTo>
                  <a:lnTo>
                    <a:pt x="788" y="232"/>
                  </a:lnTo>
                  <a:lnTo>
                    <a:pt x="788" y="229"/>
                  </a:lnTo>
                  <a:lnTo>
                    <a:pt x="785" y="229"/>
                  </a:lnTo>
                  <a:lnTo>
                    <a:pt x="785" y="229"/>
                  </a:lnTo>
                  <a:lnTo>
                    <a:pt x="785" y="227"/>
                  </a:lnTo>
                  <a:lnTo>
                    <a:pt x="785" y="227"/>
                  </a:lnTo>
                  <a:lnTo>
                    <a:pt x="788" y="227"/>
                  </a:lnTo>
                  <a:lnTo>
                    <a:pt x="788" y="227"/>
                  </a:lnTo>
                  <a:lnTo>
                    <a:pt x="790" y="229"/>
                  </a:lnTo>
                  <a:lnTo>
                    <a:pt x="793" y="229"/>
                  </a:lnTo>
                  <a:lnTo>
                    <a:pt x="793" y="229"/>
                  </a:lnTo>
                  <a:lnTo>
                    <a:pt x="795" y="229"/>
                  </a:lnTo>
                  <a:lnTo>
                    <a:pt x="798" y="229"/>
                  </a:lnTo>
                  <a:lnTo>
                    <a:pt x="798" y="229"/>
                  </a:lnTo>
                  <a:lnTo>
                    <a:pt x="798" y="229"/>
                  </a:lnTo>
                  <a:lnTo>
                    <a:pt x="798" y="227"/>
                  </a:lnTo>
                  <a:lnTo>
                    <a:pt x="800" y="227"/>
                  </a:lnTo>
                  <a:lnTo>
                    <a:pt x="800" y="227"/>
                  </a:lnTo>
                  <a:lnTo>
                    <a:pt x="800" y="224"/>
                  </a:lnTo>
                  <a:lnTo>
                    <a:pt x="805" y="224"/>
                  </a:lnTo>
                  <a:lnTo>
                    <a:pt x="808" y="224"/>
                  </a:lnTo>
                  <a:lnTo>
                    <a:pt x="808" y="224"/>
                  </a:lnTo>
                  <a:lnTo>
                    <a:pt x="808" y="224"/>
                  </a:lnTo>
                  <a:lnTo>
                    <a:pt x="810" y="227"/>
                  </a:lnTo>
                  <a:lnTo>
                    <a:pt x="810" y="227"/>
                  </a:lnTo>
                  <a:lnTo>
                    <a:pt x="813" y="227"/>
                  </a:lnTo>
                  <a:lnTo>
                    <a:pt x="813" y="227"/>
                  </a:lnTo>
                  <a:lnTo>
                    <a:pt x="816" y="227"/>
                  </a:lnTo>
                  <a:lnTo>
                    <a:pt x="818" y="224"/>
                  </a:lnTo>
                  <a:lnTo>
                    <a:pt x="818" y="224"/>
                  </a:lnTo>
                  <a:lnTo>
                    <a:pt x="818" y="224"/>
                  </a:lnTo>
                  <a:lnTo>
                    <a:pt x="818" y="227"/>
                  </a:lnTo>
                  <a:lnTo>
                    <a:pt x="818" y="227"/>
                  </a:lnTo>
                  <a:lnTo>
                    <a:pt x="818" y="227"/>
                  </a:lnTo>
                  <a:lnTo>
                    <a:pt x="821" y="227"/>
                  </a:lnTo>
                  <a:lnTo>
                    <a:pt x="821" y="227"/>
                  </a:lnTo>
                  <a:lnTo>
                    <a:pt x="823" y="227"/>
                  </a:lnTo>
                  <a:lnTo>
                    <a:pt x="826" y="224"/>
                  </a:lnTo>
                  <a:lnTo>
                    <a:pt x="826" y="224"/>
                  </a:lnTo>
                  <a:close/>
                  <a:moveTo>
                    <a:pt x="813" y="244"/>
                  </a:moveTo>
                  <a:lnTo>
                    <a:pt x="813" y="244"/>
                  </a:lnTo>
                  <a:lnTo>
                    <a:pt x="816" y="244"/>
                  </a:lnTo>
                  <a:lnTo>
                    <a:pt x="816" y="244"/>
                  </a:lnTo>
                  <a:lnTo>
                    <a:pt x="816" y="244"/>
                  </a:lnTo>
                  <a:lnTo>
                    <a:pt x="818" y="242"/>
                  </a:lnTo>
                  <a:lnTo>
                    <a:pt x="818" y="242"/>
                  </a:lnTo>
                  <a:lnTo>
                    <a:pt x="818" y="242"/>
                  </a:lnTo>
                  <a:lnTo>
                    <a:pt x="818" y="239"/>
                  </a:lnTo>
                  <a:lnTo>
                    <a:pt x="818" y="239"/>
                  </a:lnTo>
                  <a:lnTo>
                    <a:pt x="816" y="239"/>
                  </a:lnTo>
                  <a:lnTo>
                    <a:pt x="816" y="239"/>
                  </a:lnTo>
                  <a:lnTo>
                    <a:pt x="816" y="239"/>
                  </a:lnTo>
                  <a:lnTo>
                    <a:pt x="813" y="239"/>
                  </a:lnTo>
                  <a:lnTo>
                    <a:pt x="813" y="239"/>
                  </a:lnTo>
                  <a:lnTo>
                    <a:pt x="813" y="242"/>
                  </a:lnTo>
                  <a:lnTo>
                    <a:pt x="810" y="242"/>
                  </a:lnTo>
                  <a:lnTo>
                    <a:pt x="810" y="244"/>
                  </a:lnTo>
                  <a:lnTo>
                    <a:pt x="810" y="244"/>
                  </a:lnTo>
                  <a:lnTo>
                    <a:pt x="810" y="244"/>
                  </a:lnTo>
                  <a:lnTo>
                    <a:pt x="810" y="244"/>
                  </a:lnTo>
                  <a:lnTo>
                    <a:pt x="813" y="244"/>
                  </a:lnTo>
                  <a:lnTo>
                    <a:pt x="813" y="244"/>
                  </a:lnTo>
                  <a:lnTo>
                    <a:pt x="813" y="244"/>
                  </a:lnTo>
                  <a:lnTo>
                    <a:pt x="813" y="244"/>
                  </a:lnTo>
                  <a:lnTo>
                    <a:pt x="813" y="244"/>
                  </a:lnTo>
                  <a:close/>
                  <a:moveTo>
                    <a:pt x="823" y="237"/>
                  </a:moveTo>
                  <a:lnTo>
                    <a:pt x="821" y="239"/>
                  </a:lnTo>
                  <a:lnTo>
                    <a:pt x="821" y="239"/>
                  </a:lnTo>
                  <a:lnTo>
                    <a:pt x="821" y="239"/>
                  </a:lnTo>
                  <a:lnTo>
                    <a:pt x="821" y="239"/>
                  </a:lnTo>
                  <a:lnTo>
                    <a:pt x="821" y="239"/>
                  </a:lnTo>
                  <a:lnTo>
                    <a:pt x="823" y="242"/>
                  </a:lnTo>
                  <a:lnTo>
                    <a:pt x="823" y="239"/>
                  </a:lnTo>
                  <a:lnTo>
                    <a:pt x="823" y="239"/>
                  </a:lnTo>
                  <a:lnTo>
                    <a:pt x="823" y="239"/>
                  </a:lnTo>
                  <a:lnTo>
                    <a:pt x="823" y="237"/>
                  </a:lnTo>
                  <a:lnTo>
                    <a:pt x="823" y="237"/>
                  </a:lnTo>
                  <a:lnTo>
                    <a:pt x="823" y="237"/>
                  </a:lnTo>
                  <a:close/>
                  <a:moveTo>
                    <a:pt x="844" y="244"/>
                  </a:moveTo>
                  <a:lnTo>
                    <a:pt x="844" y="244"/>
                  </a:lnTo>
                  <a:lnTo>
                    <a:pt x="844" y="244"/>
                  </a:lnTo>
                  <a:lnTo>
                    <a:pt x="849" y="247"/>
                  </a:lnTo>
                  <a:lnTo>
                    <a:pt x="851" y="247"/>
                  </a:lnTo>
                  <a:lnTo>
                    <a:pt x="851" y="249"/>
                  </a:lnTo>
                  <a:lnTo>
                    <a:pt x="854" y="249"/>
                  </a:lnTo>
                  <a:lnTo>
                    <a:pt x="859" y="249"/>
                  </a:lnTo>
                  <a:lnTo>
                    <a:pt x="864" y="249"/>
                  </a:lnTo>
                  <a:lnTo>
                    <a:pt x="867" y="249"/>
                  </a:lnTo>
                  <a:lnTo>
                    <a:pt x="869" y="249"/>
                  </a:lnTo>
                  <a:lnTo>
                    <a:pt x="874" y="247"/>
                  </a:lnTo>
                  <a:lnTo>
                    <a:pt x="877" y="247"/>
                  </a:lnTo>
                  <a:lnTo>
                    <a:pt x="879" y="247"/>
                  </a:lnTo>
                  <a:lnTo>
                    <a:pt x="882" y="244"/>
                  </a:lnTo>
                  <a:lnTo>
                    <a:pt x="882" y="244"/>
                  </a:lnTo>
                  <a:lnTo>
                    <a:pt x="884" y="244"/>
                  </a:lnTo>
                  <a:lnTo>
                    <a:pt x="887" y="244"/>
                  </a:lnTo>
                  <a:lnTo>
                    <a:pt x="889" y="244"/>
                  </a:lnTo>
                  <a:lnTo>
                    <a:pt x="889" y="242"/>
                  </a:lnTo>
                  <a:lnTo>
                    <a:pt x="889" y="242"/>
                  </a:lnTo>
                  <a:lnTo>
                    <a:pt x="889" y="242"/>
                  </a:lnTo>
                  <a:lnTo>
                    <a:pt x="887" y="242"/>
                  </a:lnTo>
                  <a:lnTo>
                    <a:pt x="884" y="242"/>
                  </a:lnTo>
                  <a:lnTo>
                    <a:pt x="884" y="242"/>
                  </a:lnTo>
                  <a:lnTo>
                    <a:pt x="884" y="242"/>
                  </a:lnTo>
                  <a:lnTo>
                    <a:pt x="882" y="239"/>
                  </a:lnTo>
                  <a:lnTo>
                    <a:pt x="884" y="237"/>
                  </a:lnTo>
                  <a:lnTo>
                    <a:pt x="884" y="234"/>
                  </a:lnTo>
                  <a:lnTo>
                    <a:pt x="884" y="234"/>
                  </a:lnTo>
                  <a:lnTo>
                    <a:pt x="879" y="232"/>
                  </a:lnTo>
                  <a:lnTo>
                    <a:pt x="879" y="229"/>
                  </a:lnTo>
                  <a:lnTo>
                    <a:pt x="877" y="229"/>
                  </a:lnTo>
                  <a:lnTo>
                    <a:pt x="877" y="229"/>
                  </a:lnTo>
                  <a:lnTo>
                    <a:pt x="877" y="227"/>
                  </a:lnTo>
                  <a:lnTo>
                    <a:pt x="877" y="227"/>
                  </a:lnTo>
                  <a:lnTo>
                    <a:pt x="874" y="227"/>
                  </a:lnTo>
                  <a:lnTo>
                    <a:pt x="874" y="227"/>
                  </a:lnTo>
                  <a:lnTo>
                    <a:pt x="872" y="227"/>
                  </a:lnTo>
                  <a:lnTo>
                    <a:pt x="872" y="227"/>
                  </a:lnTo>
                  <a:lnTo>
                    <a:pt x="872" y="227"/>
                  </a:lnTo>
                  <a:lnTo>
                    <a:pt x="874" y="227"/>
                  </a:lnTo>
                  <a:lnTo>
                    <a:pt x="874" y="227"/>
                  </a:lnTo>
                  <a:lnTo>
                    <a:pt x="874" y="227"/>
                  </a:lnTo>
                  <a:lnTo>
                    <a:pt x="874" y="227"/>
                  </a:lnTo>
                  <a:lnTo>
                    <a:pt x="874" y="224"/>
                  </a:lnTo>
                  <a:lnTo>
                    <a:pt x="872" y="224"/>
                  </a:lnTo>
                  <a:lnTo>
                    <a:pt x="872" y="224"/>
                  </a:lnTo>
                  <a:lnTo>
                    <a:pt x="869" y="224"/>
                  </a:lnTo>
                  <a:lnTo>
                    <a:pt x="867" y="224"/>
                  </a:lnTo>
                  <a:lnTo>
                    <a:pt x="864" y="224"/>
                  </a:lnTo>
                  <a:lnTo>
                    <a:pt x="864" y="224"/>
                  </a:lnTo>
                  <a:lnTo>
                    <a:pt x="861" y="227"/>
                  </a:lnTo>
                  <a:lnTo>
                    <a:pt x="861" y="227"/>
                  </a:lnTo>
                  <a:lnTo>
                    <a:pt x="861" y="227"/>
                  </a:lnTo>
                  <a:lnTo>
                    <a:pt x="859" y="227"/>
                  </a:lnTo>
                  <a:lnTo>
                    <a:pt x="859" y="229"/>
                  </a:lnTo>
                  <a:lnTo>
                    <a:pt x="861" y="232"/>
                  </a:lnTo>
                  <a:lnTo>
                    <a:pt x="859" y="232"/>
                  </a:lnTo>
                  <a:lnTo>
                    <a:pt x="859" y="232"/>
                  </a:lnTo>
                  <a:lnTo>
                    <a:pt x="856" y="229"/>
                  </a:lnTo>
                  <a:lnTo>
                    <a:pt x="856" y="229"/>
                  </a:lnTo>
                  <a:lnTo>
                    <a:pt x="856" y="229"/>
                  </a:lnTo>
                  <a:lnTo>
                    <a:pt x="854" y="229"/>
                  </a:lnTo>
                  <a:lnTo>
                    <a:pt x="854" y="229"/>
                  </a:lnTo>
                  <a:lnTo>
                    <a:pt x="854" y="229"/>
                  </a:lnTo>
                  <a:lnTo>
                    <a:pt x="854" y="232"/>
                  </a:lnTo>
                  <a:lnTo>
                    <a:pt x="854" y="232"/>
                  </a:lnTo>
                  <a:lnTo>
                    <a:pt x="854" y="232"/>
                  </a:lnTo>
                  <a:lnTo>
                    <a:pt x="854" y="232"/>
                  </a:lnTo>
                  <a:lnTo>
                    <a:pt x="854" y="232"/>
                  </a:lnTo>
                  <a:lnTo>
                    <a:pt x="854" y="234"/>
                  </a:lnTo>
                  <a:lnTo>
                    <a:pt x="851" y="234"/>
                  </a:lnTo>
                  <a:lnTo>
                    <a:pt x="851" y="234"/>
                  </a:lnTo>
                  <a:lnTo>
                    <a:pt x="846" y="237"/>
                  </a:lnTo>
                  <a:lnTo>
                    <a:pt x="844" y="237"/>
                  </a:lnTo>
                  <a:lnTo>
                    <a:pt x="839" y="237"/>
                  </a:lnTo>
                  <a:lnTo>
                    <a:pt x="833" y="237"/>
                  </a:lnTo>
                  <a:lnTo>
                    <a:pt x="833" y="237"/>
                  </a:lnTo>
                  <a:lnTo>
                    <a:pt x="831" y="239"/>
                  </a:lnTo>
                  <a:lnTo>
                    <a:pt x="831" y="239"/>
                  </a:lnTo>
                  <a:lnTo>
                    <a:pt x="831" y="239"/>
                  </a:lnTo>
                  <a:lnTo>
                    <a:pt x="831" y="242"/>
                  </a:lnTo>
                  <a:lnTo>
                    <a:pt x="831" y="242"/>
                  </a:lnTo>
                  <a:lnTo>
                    <a:pt x="831" y="242"/>
                  </a:lnTo>
                  <a:lnTo>
                    <a:pt x="833" y="242"/>
                  </a:lnTo>
                  <a:lnTo>
                    <a:pt x="833" y="242"/>
                  </a:lnTo>
                  <a:lnTo>
                    <a:pt x="836" y="242"/>
                  </a:lnTo>
                  <a:lnTo>
                    <a:pt x="836" y="242"/>
                  </a:lnTo>
                  <a:lnTo>
                    <a:pt x="839" y="242"/>
                  </a:lnTo>
                  <a:lnTo>
                    <a:pt x="839" y="242"/>
                  </a:lnTo>
                  <a:lnTo>
                    <a:pt x="839" y="242"/>
                  </a:lnTo>
                  <a:lnTo>
                    <a:pt x="839" y="242"/>
                  </a:lnTo>
                  <a:lnTo>
                    <a:pt x="839" y="242"/>
                  </a:lnTo>
                  <a:lnTo>
                    <a:pt x="839" y="242"/>
                  </a:lnTo>
                  <a:lnTo>
                    <a:pt x="839" y="244"/>
                  </a:lnTo>
                  <a:lnTo>
                    <a:pt x="839" y="244"/>
                  </a:lnTo>
                  <a:lnTo>
                    <a:pt x="841" y="244"/>
                  </a:lnTo>
                  <a:lnTo>
                    <a:pt x="844" y="244"/>
                  </a:lnTo>
                  <a:lnTo>
                    <a:pt x="844" y="242"/>
                  </a:lnTo>
                  <a:lnTo>
                    <a:pt x="846" y="242"/>
                  </a:lnTo>
                  <a:lnTo>
                    <a:pt x="846" y="242"/>
                  </a:lnTo>
                  <a:lnTo>
                    <a:pt x="846" y="244"/>
                  </a:lnTo>
                  <a:lnTo>
                    <a:pt x="844" y="244"/>
                  </a:lnTo>
                  <a:close/>
                  <a:moveTo>
                    <a:pt x="813" y="232"/>
                  </a:moveTo>
                  <a:lnTo>
                    <a:pt x="813" y="232"/>
                  </a:lnTo>
                  <a:lnTo>
                    <a:pt x="813" y="232"/>
                  </a:lnTo>
                  <a:lnTo>
                    <a:pt x="816" y="232"/>
                  </a:lnTo>
                  <a:lnTo>
                    <a:pt x="816" y="232"/>
                  </a:lnTo>
                  <a:lnTo>
                    <a:pt x="816" y="232"/>
                  </a:lnTo>
                  <a:lnTo>
                    <a:pt x="818" y="232"/>
                  </a:lnTo>
                  <a:lnTo>
                    <a:pt x="818" y="229"/>
                  </a:lnTo>
                  <a:lnTo>
                    <a:pt x="818" y="229"/>
                  </a:lnTo>
                  <a:lnTo>
                    <a:pt x="816" y="229"/>
                  </a:lnTo>
                  <a:lnTo>
                    <a:pt x="816" y="229"/>
                  </a:lnTo>
                  <a:lnTo>
                    <a:pt x="813" y="229"/>
                  </a:lnTo>
                  <a:lnTo>
                    <a:pt x="813" y="229"/>
                  </a:lnTo>
                  <a:lnTo>
                    <a:pt x="813" y="229"/>
                  </a:lnTo>
                  <a:lnTo>
                    <a:pt x="816" y="229"/>
                  </a:lnTo>
                  <a:lnTo>
                    <a:pt x="816" y="232"/>
                  </a:lnTo>
                  <a:lnTo>
                    <a:pt x="816" y="232"/>
                  </a:lnTo>
                  <a:lnTo>
                    <a:pt x="813" y="232"/>
                  </a:lnTo>
                  <a:lnTo>
                    <a:pt x="813" y="232"/>
                  </a:lnTo>
                  <a:lnTo>
                    <a:pt x="813" y="232"/>
                  </a:lnTo>
                  <a:lnTo>
                    <a:pt x="813" y="232"/>
                  </a:lnTo>
                  <a:close/>
                  <a:moveTo>
                    <a:pt x="895" y="232"/>
                  </a:moveTo>
                  <a:lnTo>
                    <a:pt x="895" y="232"/>
                  </a:lnTo>
                  <a:lnTo>
                    <a:pt x="895" y="232"/>
                  </a:lnTo>
                  <a:lnTo>
                    <a:pt x="892" y="234"/>
                  </a:lnTo>
                  <a:lnTo>
                    <a:pt x="892" y="234"/>
                  </a:lnTo>
                  <a:lnTo>
                    <a:pt x="895" y="234"/>
                  </a:lnTo>
                  <a:lnTo>
                    <a:pt x="895" y="234"/>
                  </a:lnTo>
                  <a:lnTo>
                    <a:pt x="897" y="232"/>
                  </a:lnTo>
                  <a:lnTo>
                    <a:pt x="897" y="232"/>
                  </a:lnTo>
                  <a:lnTo>
                    <a:pt x="900" y="232"/>
                  </a:lnTo>
                  <a:lnTo>
                    <a:pt x="900" y="229"/>
                  </a:lnTo>
                  <a:lnTo>
                    <a:pt x="900" y="229"/>
                  </a:lnTo>
                  <a:lnTo>
                    <a:pt x="900" y="229"/>
                  </a:lnTo>
                  <a:lnTo>
                    <a:pt x="897" y="227"/>
                  </a:lnTo>
                  <a:lnTo>
                    <a:pt x="897" y="227"/>
                  </a:lnTo>
                  <a:lnTo>
                    <a:pt x="895" y="229"/>
                  </a:lnTo>
                  <a:lnTo>
                    <a:pt x="892" y="229"/>
                  </a:lnTo>
                  <a:lnTo>
                    <a:pt x="892" y="229"/>
                  </a:lnTo>
                  <a:lnTo>
                    <a:pt x="889" y="232"/>
                  </a:lnTo>
                  <a:lnTo>
                    <a:pt x="889" y="232"/>
                  </a:lnTo>
                  <a:lnTo>
                    <a:pt x="889" y="232"/>
                  </a:lnTo>
                  <a:lnTo>
                    <a:pt x="889" y="232"/>
                  </a:lnTo>
                  <a:lnTo>
                    <a:pt x="889" y="234"/>
                  </a:lnTo>
                  <a:lnTo>
                    <a:pt x="892" y="232"/>
                  </a:lnTo>
                  <a:lnTo>
                    <a:pt x="892" y="232"/>
                  </a:lnTo>
                  <a:lnTo>
                    <a:pt x="895" y="229"/>
                  </a:lnTo>
                  <a:lnTo>
                    <a:pt x="895" y="229"/>
                  </a:lnTo>
                  <a:lnTo>
                    <a:pt x="895" y="229"/>
                  </a:lnTo>
                  <a:lnTo>
                    <a:pt x="895" y="229"/>
                  </a:lnTo>
                  <a:lnTo>
                    <a:pt x="897" y="229"/>
                  </a:lnTo>
                  <a:lnTo>
                    <a:pt x="895" y="229"/>
                  </a:lnTo>
                  <a:lnTo>
                    <a:pt x="895" y="232"/>
                  </a:lnTo>
                  <a:close/>
                  <a:moveTo>
                    <a:pt x="678" y="267"/>
                  </a:moveTo>
                  <a:lnTo>
                    <a:pt x="678" y="265"/>
                  </a:lnTo>
                  <a:lnTo>
                    <a:pt x="678" y="267"/>
                  </a:lnTo>
                  <a:lnTo>
                    <a:pt x="675" y="267"/>
                  </a:lnTo>
                  <a:lnTo>
                    <a:pt x="675" y="267"/>
                  </a:lnTo>
                  <a:lnTo>
                    <a:pt x="673" y="270"/>
                  </a:lnTo>
                  <a:lnTo>
                    <a:pt x="673" y="270"/>
                  </a:lnTo>
                  <a:lnTo>
                    <a:pt x="673" y="272"/>
                  </a:lnTo>
                  <a:lnTo>
                    <a:pt x="673" y="272"/>
                  </a:lnTo>
                  <a:lnTo>
                    <a:pt x="673" y="272"/>
                  </a:lnTo>
                  <a:lnTo>
                    <a:pt x="675" y="270"/>
                  </a:lnTo>
                  <a:lnTo>
                    <a:pt x="678" y="270"/>
                  </a:lnTo>
                  <a:lnTo>
                    <a:pt x="678" y="270"/>
                  </a:lnTo>
                  <a:lnTo>
                    <a:pt x="678" y="270"/>
                  </a:lnTo>
                  <a:lnTo>
                    <a:pt x="678" y="267"/>
                  </a:lnTo>
                  <a:lnTo>
                    <a:pt x="678" y="267"/>
                  </a:lnTo>
                  <a:lnTo>
                    <a:pt x="678" y="267"/>
                  </a:lnTo>
                  <a:close/>
                  <a:moveTo>
                    <a:pt x="744" y="247"/>
                  </a:moveTo>
                  <a:lnTo>
                    <a:pt x="742" y="247"/>
                  </a:lnTo>
                  <a:lnTo>
                    <a:pt x="742" y="249"/>
                  </a:lnTo>
                  <a:lnTo>
                    <a:pt x="742" y="249"/>
                  </a:lnTo>
                  <a:lnTo>
                    <a:pt x="742" y="249"/>
                  </a:lnTo>
                  <a:lnTo>
                    <a:pt x="742" y="249"/>
                  </a:lnTo>
                  <a:lnTo>
                    <a:pt x="744" y="252"/>
                  </a:lnTo>
                  <a:lnTo>
                    <a:pt x="744" y="252"/>
                  </a:lnTo>
                  <a:lnTo>
                    <a:pt x="747" y="252"/>
                  </a:lnTo>
                  <a:lnTo>
                    <a:pt x="747" y="249"/>
                  </a:lnTo>
                  <a:lnTo>
                    <a:pt x="747" y="249"/>
                  </a:lnTo>
                  <a:lnTo>
                    <a:pt x="749" y="249"/>
                  </a:lnTo>
                  <a:lnTo>
                    <a:pt x="749" y="249"/>
                  </a:lnTo>
                  <a:lnTo>
                    <a:pt x="747" y="247"/>
                  </a:lnTo>
                  <a:lnTo>
                    <a:pt x="747" y="247"/>
                  </a:lnTo>
                  <a:lnTo>
                    <a:pt x="744" y="247"/>
                  </a:lnTo>
                  <a:close/>
                  <a:moveTo>
                    <a:pt x="979" y="82"/>
                  </a:moveTo>
                  <a:lnTo>
                    <a:pt x="981" y="82"/>
                  </a:lnTo>
                  <a:lnTo>
                    <a:pt x="984" y="82"/>
                  </a:lnTo>
                  <a:lnTo>
                    <a:pt x="986" y="82"/>
                  </a:lnTo>
                  <a:lnTo>
                    <a:pt x="989" y="82"/>
                  </a:lnTo>
                  <a:lnTo>
                    <a:pt x="994" y="82"/>
                  </a:lnTo>
                  <a:lnTo>
                    <a:pt x="994" y="82"/>
                  </a:lnTo>
                  <a:lnTo>
                    <a:pt x="994" y="82"/>
                  </a:lnTo>
                  <a:lnTo>
                    <a:pt x="994" y="79"/>
                  </a:lnTo>
                  <a:lnTo>
                    <a:pt x="994" y="79"/>
                  </a:lnTo>
                  <a:lnTo>
                    <a:pt x="991" y="79"/>
                  </a:lnTo>
                  <a:lnTo>
                    <a:pt x="989" y="79"/>
                  </a:lnTo>
                  <a:lnTo>
                    <a:pt x="986" y="79"/>
                  </a:lnTo>
                  <a:lnTo>
                    <a:pt x="981" y="79"/>
                  </a:lnTo>
                  <a:lnTo>
                    <a:pt x="979" y="79"/>
                  </a:lnTo>
                  <a:lnTo>
                    <a:pt x="979" y="79"/>
                  </a:lnTo>
                  <a:lnTo>
                    <a:pt x="976" y="79"/>
                  </a:lnTo>
                  <a:lnTo>
                    <a:pt x="976" y="82"/>
                  </a:lnTo>
                  <a:lnTo>
                    <a:pt x="976" y="82"/>
                  </a:lnTo>
                  <a:lnTo>
                    <a:pt x="979" y="82"/>
                  </a:lnTo>
                  <a:close/>
                  <a:moveTo>
                    <a:pt x="788" y="244"/>
                  </a:moveTo>
                  <a:lnTo>
                    <a:pt x="788" y="244"/>
                  </a:lnTo>
                  <a:lnTo>
                    <a:pt x="785" y="244"/>
                  </a:lnTo>
                  <a:lnTo>
                    <a:pt x="782" y="247"/>
                  </a:lnTo>
                  <a:lnTo>
                    <a:pt x="785" y="247"/>
                  </a:lnTo>
                  <a:lnTo>
                    <a:pt x="788" y="247"/>
                  </a:lnTo>
                  <a:lnTo>
                    <a:pt x="788" y="247"/>
                  </a:lnTo>
                  <a:lnTo>
                    <a:pt x="788" y="247"/>
                  </a:lnTo>
                  <a:lnTo>
                    <a:pt x="790" y="247"/>
                  </a:lnTo>
                  <a:lnTo>
                    <a:pt x="793" y="247"/>
                  </a:lnTo>
                  <a:lnTo>
                    <a:pt x="793" y="244"/>
                  </a:lnTo>
                  <a:lnTo>
                    <a:pt x="793" y="244"/>
                  </a:lnTo>
                  <a:lnTo>
                    <a:pt x="793" y="244"/>
                  </a:lnTo>
                  <a:lnTo>
                    <a:pt x="793" y="244"/>
                  </a:lnTo>
                  <a:lnTo>
                    <a:pt x="790" y="242"/>
                  </a:lnTo>
                  <a:lnTo>
                    <a:pt x="788" y="244"/>
                  </a:lnTo>
                  <a:close/>
                  <a:moveTo>
                    <a:pt x="935" y="115"/>
                  </a:moveTo>
                  <a:lnTo>
                    <a:pt x="930" y="115"/>
                  </a:lnTo>
                  <a:lnTo>
                    <a:pt x="930" y="115"/>
                  </a:lnTo>
                  <a:lnTo>
                    <a:pt x="928" y="117"/>
                  </a:lnTo>
                  <a:lnTo>
                    <a:pt x="920" y="117"/>
                  </a:lnTo>
                  <a:lnTo>
                    <a:pt x="920" y="117"/>
                  </a:lnTo>
                  <a:lnTo>
                    <a:pt x="920" y="120"/>
                  </a:lnTo>
                  <a:lnTo>
                    <a:pt x="920" y="120"/>
                  </a:lnTo>
                  <a:lnTo>
                    <a:pt x="920" y="120"/>
                  </a:lnTo>
                  <a:lnTo>
                    <a:pt x="938" y="117"/>
                  </a:lnTo>
                  <a:lnTo>
                    <a:pt x="940" y="120"/>
                  </a:lnTo>
                  <a:lnTo>
                    <a:pt x="946" y="117"/>
                  </a:lnTo>
                  <a:lnTo>
                    <a:pt x="961" y="117"/>
                  </a:lnTo>
                  <a:lnTo>
                    <a:pt x="971" y="117"/>
                  </a:lnTo>
                  <a:lnTo>
                    <a:pt x="968" y="117"/>
                  </a:lnTo>
                  <a:lnTo>
                    <a:pt x="963" y="117"/>
                  </a:lnTo>
                  <a:lnTo>
                    <a:pt x="961" y="117"/>
                  </a:lnTo>
                  <a:lnTo>
                    <a:pt x="961" y="117"/>
                  </a:lnTo>
                  <a:lnTo>
                    <a:pt x="956" y="120"/>
                  </a:lnTo>
                  <a:lnTo>
                    <a:pt x="951" y="120"/>
                  </a:lnTo>
                  <a:lnTo>
                    <a:pt x="943" y="122"/>
                  </a:lnTo>
                  <a:lnTo>
                    <a:pt x="943" y="122"/>
                  </a:lnTo>
                  <a:lnTo>
                    <a:pt x="940" y="122"/>
                  </a:lnTo>
                  <a:lnTo>
                    <a:pt x="943" y="122"/>
                  </a:lnTo>
                  <a:lnTo>
                    <a:pt x="946" y="125"/>
                  </a:lnTo>
                  <a:lnTo>
                    <a:pt x="948" y="125"/>
                  </a:lnTo>
                  <a:lnTo>
                    <a:pt x="946" y="125"/>
                  </a:lnTo>
                  <a:lnTo>
                    <a:pt x="943" y="125"/>
                  </a:lnTo>
                  <a:lnTo>
                    <a:pt x="940" y="125"/>
                  </a:lnTo>
                  <a:lnTo>
                    <a:pt x="940" y="127"/>
                  </a:lnTo>
                  <a:lnTo>
                    <a:pt x="940" y="127"/>
                  </a:lnTo>
                  <a:lnTo>
                    <a:pt x="940" y="130"/>
                  </a:lnTo>
                  <a:lnTo>
                    <a:pt x="946" y="130"/>
                  </a:lnTo>
                  <a:lnTo>
                    <a:pt x="948" y="130"/>
                  </a:lnTo>
                  <a:lnTo>
                    <a:pt x="953" y="127"/>
                  </a:lnTo>
                  <a:lnTo>
                    <a:pt x="953" y="127"/>
                  </a:lnTo>
                  <a:lnTo>
                    <a:pt x="953" y="127"/>
                  </a:lnTo>
                  <a:lnTo>
                    <a:pt x="956" y="130"/>
                  </a:lnTo>
                  <a:lnTo>
                    <a:pt x="958" y="127"/>
                  </a:lnTo>
                  <a:lnTo>
                    <a:pt x="961" y="127"/>
                  </a:lnTo>
                  <a:lnTo>
                    <a:pt x="961" y="130"/>
                  </a:lnTo>
                  <a:lnTo>
                    <a:pt x="963" y="130"/>
                  </a:lnTo>
                  <a:lnTo>
                    <a:pt x="968" y="127"/>
                  </a:lnTo>
                  <a:lnTo>
                    <a:pt x="968" y="127"/>
                  </a:lnTo>
                  <a:lnTo>
                    <a:pt x="971" y="127"/>
                  </a:lnTo>
                  <a:lnTo>
                    <a:pt x="974" y="127"/>
                  </a:lnTo>
                  <a:lnTo>
                    <a:pt x="974" y="127"/>
                  </a:lnTo>
                  <a:lnTo>
                    <a:pt x="974" y="127"/>
                  </a:lnTo>
                  <a:lnTo>
                    <a:pt x="974" y="125"/>
                  </a:lnTo>
                  <a:lnTo>
                    <a:pt x="974" y="125"/>
                  </a:lnTo>
                  <a:lnTo>
                    <a:pt x="974" y="125"/>
                  </a:lnTo>
                  <a:lnTo>
                    <a:pt x="974" y="127"/>
                  </a:lnTo>
                  <a:lnTo>
                    <a:pt x="976" y="127"/>
                  </a:lnTo>
                  <a:lnTo>
                    <a:pt x="976" y="127"/>
                  </a:lnTo>
                  <a:lnTo>
                    <a:pt x="979" y="127"/>
                  </a:lnTo>
                  <a:lnTo>
                    <a:pt x="979" y="127"/>
                  </a:lnTo>
                  <a:lnTo>
                    <a:pt x="979" y="125"/>
                  </a:lnTo>
                  <a:lnTo>
                    <a:pt x="979" y="125"/>
                  </a:lnTo>
                  <a:lnTo>
                    <a:pt x="981" y="122"/>
                  </a:lnTo>
                  <a:lnTo>
                    <a:pt x="986" y="120"/>
                  </a:lnTo>
                  <a:lnTo>
                    <a:pt x="989" y="120"/>
                  </a:lnTo>
                  <a:lnTo>
                    <a:pt x="989" y="122"/>
                  </a:lnTo>
                  <a:lnTo>
                    <a:pt x="989" y="122"/>
                  </a:lnTo>
                  <a:lnTo>
                    <a:pt x="991" y="120"/>
                  </a:lnTo>
                  <a:lnTo>
                    <a:pt x="994" y="117"/>
                  </a:lnTo>
                  <a:lnTo>
                    <a:pt x="994" y="117"/>
                  </a:lnTo>
                  <a:lnTo>
                    <a:pt x="989" y="115"/>
                  </a:lnTo>
                  <a:lnTo>
                    <a:pt x="989" y="115"/>
                  </a:lnTo>
                  <a:lnTo>
                    <a:pt x="991" y="115"/>
                  </a:lnTo>
                  <a:lnTo>
                    <a:pt x="994" y="115"/>
                  </a:lnTo>
                  <a:lnTo>
                    <a:pt x="994" y="115"/>
                  </a:lnTo>
                  <a:lnTo>
                    <a:pt x="997" y="112"/>
                  </a:lnTo>
                  <a:lnTo>
                    <a:pt x="997" y="112"/>
                  </a:lnTo>
                  <a:lnTo>
                    <a:pt x="999" y="109"/>
                  </a:lnTo>
                  <a:lnTo>
                    <a:pt x="1002" y="109"/>
                  </a:lnTo>
                  <a:lnTo>
                    <a:pt x="1002" y="109"/>
                  </a:lnTo>
                  <a:lnTo>
                    <a:pt x="1004" y="107"/>
                  </a:lnTo>
                  <a:lnTo>
                    <a:pt x="1004" y="107"/>
                  </a:lnTo>
                  <a:lnTo>
                    <a:pt x="1004" y="107"/>
                  </a:lnTo>
                  <a:lnTo>
                    <a:pt x="1004" y="104"/>
                  </a:lnTo>
                  <a:lnTo>
                    <a:pt x="1004" y="104"/>
                  </a:lnTo>
                  <a:lnTo>
                    <a:pt x="1004" y="104"/>
                  </a:lnTo>
                  <a:lnTo>
                    <a:pt x="1007" y="104"/>
                  </a:lnTo>
                  <a:lnTo>
                    <a:pt x="1007" y="102"/>
                  </a:lnTo>
                  <a:lnTo>
                    <a:pt x="1007" y="102"/>
                  </a:lnTo>
                  <a:lnTo>
                    <a:pt x="1007" y="102"/>
                  </a:lnTo>
                  <a:lnTo>
                    <a:pt x="1004" y="102"/>
                  </a:lnTo>
                  <a:lnTo>
                    <a:pt x="1002" y="102"/>
                  </a:lnTo>
                  <a:lnTo>
                    <a:pt x="1002" y="102"/>
                  </a:lnTo>
                  <a:lnTo>
                    <a:pt x="1002" y="99"/>
                  </a:lnTo>
                  <a:lnTo>
                    <a:pt x="999" y="99"/>
                  </a:lnTo>
                  <a:lnTo>
                    <a:pt x="994" y="99"/>
                  </a:lnTo>
                  <a:lnTo>
                    <a:pt x="994" y="99"/>
                  </a:lnTo>
                  <a:lnTo>
                    <a:pt x="991" y="102"/>
                  </a:lnTo>
                  <a:lnTo>
                    <a:pt x="991" y="104"/>
                  </a:lnTo>
                  <a:lnTo>
                    <a:pt x="986" y="104"/>
                  </a:lnTo>
                  <a:lnTo>
                    <a:pt x="986" y="102"/>
                  </a:lnTo>
                  <a:lnTo>
                    <a:pt x="984" y="99"/>
                  </a:lnTo>
                  <a:lnTo>
                    <a:pt x="984" y="99"/>
                  </a:lnTo>
                  <a:lnTo>
                    <a:pt x="979" y="99"/>
                  </a:lnTo>
                  <a:lnTo>
                    <a:pt x="976" y="99"/>
                  </a:lnTo>
                  <a:lnTo>
                    <a:pt x="971" y="102"/>
                  </a:lnTo>
                  <a:lnTo>
                    <a:pt x="966" y="102"/>
                  </a:lnTo>
                  <a:lnTo>
                    <a:pt x="966" y="102"/>
                  </a:lnTo>
                  <a:lnTo>
                    <a:pt x="966" y="104"/>
                  </a:lnTo>
                  <a:lnTo>
                    <a:pt x="966" y="104"/>
                  </a:lnTo>
                  <a:lnTo>
                    <a:pt x="966" y="104"/>
                  </a:lnTo>
                  <a:lnTo>
                    <a:pt x="971" y="104"/>
                  </a:lnTo>
                  <a:lnTo>
                    <a:pt x="974" y="104"/>
                  </a:lnTo>
                  <a:lnTo>
                    <a:pt x="974" y="107"/>
                  </a:lnTo>
                  <a:lnTo>
                    <a:pt x="974" y="107"/>
                  </a:lnTo>
                  <a:lnTo>
                    <a:pt x="971" y="107"/>
                  </a:lnTo>
                  <a:lnTo>
                    <a:pt x="968" y="107"/>
                  </a:lnTo>
                  <a:lnTo>
                    <a:pt x="966" y="107"/>
                  </a:lnTo>
                  <a:lnTo>
                    <a:pt x="966" y="107"/>
                  </a:lnTo>
                  <a:lnTo>
                    <a:pt x="968" y="107"/>
                  </a:lnTo>
                  <a:lnTo>
                    <a:pt x="971" y="107"/>
                  </a:lnTo>
                  <a:lnTo>
                    <a:pt x="971" y="109"/>
                  </a:lnTo>
                  <a:lnTo>
                    <a:pt x="976" y="109"/>
                  </a:lnTo>
                  <a:lnTo>
                    <a:pt x="971" y="109"/>
                  </a:lnTo>
                  <a:lnTo>
                    <a:pt x="968" y="109"/>
                  </a:lnTo>
                  <a:lnTo>
                    <a:pt x="968" y="109"/>
                  </a:lnTo>
                  <a:lnTo>
                    <a:pt x="966" y="109"/>
                  </a:lnTo>
                  <a:lnTo>
                    <a:pt x="966" y="109"/>
                  </a:lnTo>
                  <a:lnTo>
                    <a:pt x="966" y="109"/>
                  </a:lnTo>
                  <a:lnTo>
                    <a:pt x="968" y="112"/>
                  </a:lnTo>
                  <a:lnTo>
                    <a:pt x="968" y="112"/>
                  </a:lnTo>
                  <a:lnTo>
                    <a:pt x="968" y="112"/>
                  </a:lnTo>
                  <a:lnTo>
                    <a:pt x="966" y="112"/>
                  </a:lnTo>
                  <a:lnTo>
                    <a:pt x="963" y="112"/>
                  </a:lnTo>
                  <a:lnTo>
                    <a:pt x="963" y="112"/>
                  </a:lnTo>
                  <a:lnTo>
                    <a:pt x="963" y="112"/>
                  </a:lnTo>
                  <a:lnTo>
                    <a:pt x="958" y="107"/>
                  </a:lnTo>
                  <a:lnTo>
                    <a:pt x="958" y="107"/>
                  </a:lnTo>
                  <a:lnTo>
                    <a:pt x="958" y="107"/>
                  </a:lnTo>
                  <a:lnTo>
                    <a:pt x="958" y="107"/>
                  </a:lnTo>
                  <a:lnTo>
                    <a:pt x="958" y="104"/>
                  </a:lnTo>
                  <a:lnTo>
                    <a:pt x="958" y="104"/>
                  </a:lnTo>
                  <a:lnTo>
                    <a:pt x="956" y="104"/>
                  </a:lnTo>
                  <a:lnTo>
                    <a:pt x="953" y="104"/>
                  </a:lnTo>
                  <a:lnTo>
                    <a:pt x="953" y="104"/>
                  </a:lnTo>
                  <a:lnTo>
                    <a:pt x="951" y="104"/>
                  </a:lnTo>
                  <a:lnTo>
                    <a:pt x="948" y="104"/>
                  </a:lnTo>
                  <a:lnTo>
                    <a:pt x="946" y="104"/>
                  </a:lnTo>
                  <a:lnTo>
                    <a:pt x="943" y="107"/>
                  </a:lnTo>
                  <a:lnTo>
                    <a:pt x="946" y="107"/>
                  </a:lnTo>
                  <a:lnTo>
                    <a:pt x="946" y="107"/>
                  </a:lnTo>
                  <a:lnTo>
                    <a:pt x="951" y="107"/>
                  </a:lnTo>
                  <a:lnTo>
                    <a:pt x="951" y="107"/>
                  </a:lnTo>
                  <a:lnTo>
                    <a:pt x="946" y="109"/>
                  </a:lnTo>
                  <a:lnTo>
                    <a:pt x="943" y="109"/>
                  </a:lnTo>
                  <a:lnTo>
                    <a:pt x="943" y="109"/>
                  </a:lnTo>
                  <a:lnTo>
                    <a:pt x="943" y="109"/>
                  </a:lnTo>
                  <a:lnTo>
                    <a:pt x="943" y="112"/>
                  </a:lnTo>
                  <a:lnTo>
                    <a:pt x="946" y="112"/>
                  </a:lnTo>
                  <a:lnTo>
                    <a:pt x="946" y="112"/>
                  </a:lnTo>
                  <a:lnTo>
                    <a:pt x="943" y="112"/>
                  </a:lnTo>
                  <a:lnTo>
                    <a:pt x="943" y="112"/>
                  </a:lnTo>
                  <a:lnTo>
                    <a:pt x="943" y="115"/>
                  </a:lnTo>
                  <a:lnTo>
                    <a:pt x="943" y="115"/>
                  </a:lnTo>
                  <a:lnTo>
                    <a:pt x="943" y="115"/>
                  </a:lnTo>
                  <a:lnTo>
                    <a:pt x="948" y="115"/>
                  </a:lnTo>
                  <a:lnTo>
                    <a:pt x="948" y="115"/>
                  </a:lnTo>
                  <a:lnTo>
                    <a:pt x="946" y="115"/>
                  </a:lnTo>
                  <a:lnTo>
                    <a:pt x="943" y="115"/>
                  </a:lnTo>
                  <a:lnTo>
                    <a:pt x="943" y="115"/>
                  </a:lnTo>
                  <a:lnTo>
                    <a:pt x="940" y="115"/>
                  </a:lnTo>
                  <a:lnTo>
                    <a:pt x="938" y="112"/>
                  </a:lnTo>
                  <a:lnTo>
                    <a:pt x="935" y="115"/>
                  </a:lnTo>
                  <a:close/>
                  <a:moveTo>
                    <a:pt x="668" y="260"/>
                  </a:moveTo>
                  <a:lnTo>
                    <a:pt x="668" y="260"/>
                  </a:lnTo>
                  <a:lnTo>
                    <a:pt x="668" y="260"/>
                  </a:lnTo>
                  <a:lnTo>
                    <a:pt x="668" y="260"/>
                  </a:lnTo>
                  <a:lnTo>
                    <a:pt x="670" y="262"/>
                  </a:lnTo>
                  <a:lnTo>
                    <a:pt x="670" y="262"/>
                  </a:lnTo>
                  <a:lnTo>
                    <a:pt x="670" y="262"/>
                  </a:lnTo>
                  <a:lnTo>
                    <a:pt x="673" y="260"/>
                  </a:lnTo>
                  <a:lnTo>
                    <a:pt x="673" y="260"/>
                  </a:lnTo>
                  <a:lnTo>
                    <a:pt x="670" y="260"/>
                  </a:lnTo>
                  <a:lnTo>
                    <a:pt x="668" y="260"/>
                  </a:lnTo>
                  <a:close/>
                  <a:moveTo>
                    <a:pt x="951" y="145"/>
                  </a:moveTo>
                  <a:lnTo>
                    <a:pt x="943" y="145"/>
                  </a:lnTo>
                  <a:lnTo>
                    <a:pt x="938" y="145"/>
                  </a:lnTo>
                  <a:lnTo>
                    <a:pt x="938" y="148"/>
                  </a:lnTo>
                  <a:lnTo>
                    <a:pt x="935" y="148"/>
                  </a:lnTo>
                  <a:lnTo>
                    <a:pt x="935" y="148"/>
                  </a:lnTo>
                  <a:lnTo>
                    <a:pt x="933" y="148"/>
                  </a:lnTo>
                  <a:lnTo>
                    <a:pt x="930" y="148"/>
                  </a:lnTo>
                  <a:lnTo>
                    <a:pt x="928" y="148"/>
                  </a:lnTo>
                  <a:lnTo>
                    <a:pt x="928" y="148"/>
                  </a:lnTo>
                  <a:lnTo>
                    <a:pt x="928" y="148"/>
                  </a:lnTo>
                  <a:lnTo>
                    <a:pt x="928" y="150"/>
                  </a:lnTo>
                  <a:lnTo>
                    <a:pt x="933" y="150"/>
                  </a:lnTo>
                  <a:lnTo>
                    <a:pt x="935" y="150"/>
                  </a:lnTo>
                  <a:lnTo>
                    <a:pt x="935" y="150"/>
                  </a:lnTo>
                  <a:lnTo>
                    <a:pt x="938" y="150"/>
                  </a:lnTo>
                  <a:lnTo>
                    <a:pt x="938" y="150"/>
                  </a:lnTo>
                  <a:lnTo>
                    <a:pt x="943" y="150"/>
                  </a:lnTo>
                  <a:lnTo>
                    <a:pt x="946" y="148"/>
                  </a:lnTo>
                  <a:lnTo>
                    <a:pt x="951" y="148"/>
                  </a:lnTo>
                  <a:lnTo>
                    <a:pt x="953" y="148"/>
                  </a:lnTo>
                  <a:lnTo>
                    <a:pt x="956" y="145"/>
                  </a:lnTo>
                  <a:lnTo>
                    <a:pt x="956" y="145"/>
                  </a:lnTo>
                  <a:lnTo>
                    <a:pt x="956" y="145"/>
                  </a:lnTo>
                  <a:lnTo>
                    <a:pt x="956" y="145"/>
                  </a:lnTo>
                  <a:lnTo>
                    <a:pt x="956" y="145"/>
                  </a:lnTo>
                  <a:lnTo>
                    <a:pt x="951" y="145"/>
                  </a:lnTo>
                  <a:close/>
                  <a:moveTo>
                    <a:pt x="981" y="74"/>
                  </a:moveTo>
                  <a:lnTo>
                    <a:pt x="981" y="74"/>
                  </a:lnTo>
                  <a:lnTo>
                    <a:pt x="981" y="71"/>
                  </a:lnTo>
                  <a:lnTo>
                    <a:pt x="981" y="74"/>
                  </a:lnTo>
                  <a:lnTo>
                    <a:pt x="979" y="74"/>
                  </a:lnTo>
                  <a:lnTo>
                    <a:pt x="974" y="74"/>
                  </a:lnTo>
                  <a:lnTo>
                    <a:pt x="974" y="74"/>
                  </a:lnTo>
                  <a:lnTo>
                    <a:pt x="974" y="74"/>
                  </a:lnTo>
                  <a:lnTo>
                    <a:pt x="974" y="74"/>
                  </a:lnTo>
                  <a:lnTo>
                    <a:pt x="976" y="74"/>
                  </a:lnTo>
                  <a:lnTo>
                    <a:pt x="976" y="74"/>
                  </a:lnTo>
                  <a:lnTo>
                    <a:pt x="981" y="74"/>
                  </a:lnTo>
                  <a:close/>
                  <a:moveTo>
                    <a:pt x="915" y="109"/>
                  </a:moveTo>
                  <a:lnTo>
                    <a:pt x="915" y="109"/>
                  </a:lnTo>
                  <a:lnTo>
                    <a:pt x="912" y="112"/>
                  </a:lnTo>
                  <a:lnTo>
                    <a:pt x="912" y="112"/>
                  </a:lnTo>
                  <a:lnTo>
                    <a:pt x="923" y="112"/>
                  </a:lnTo>
                  <a:lnTo>
                    <a:pt x="923" y="112"/>
                  </a:lnTo>
                  <a:lnTo>
                    <a:pt x="918" y="115"/>
                  </a:lnTo>
                  <a:lnTo>
                    <a:pt x="918" y="115"/>
                  </a:lnTo>
                  <a:lnTo>
                    <a:pt x="920" y="115"/>
                  </a:lnTo>
                  <a:lnTo>
                    <a:pt x="928" y="115"/>
                  </a:lnTo>
                  <a:lnTo>
                    <a:pt x="928" y="115"/>
                  </a:lnTo>
                  <a:lnTo>
                    <a:pt x="930" y="115"/>
                  </a:lnTo>
                  <a:lnTo>
                    <a:pt x="933" y="112"/>
                  </a:lnTo>
                  <a:lnTo>
                    <a:pt x="938" y="112"/>
                  </a:lnTo>
                  <a:lnTo>
                    <a:pt x="938" y="112"/>
                  </a:lnTo>
                  <a:lnTo>
                    <a:pt x="938" y="112"/>
                  </a:lnTo>
                  <a:lnTo>
                    <a:pt x="935" y="112"/>
                  </a:lnTo>
                  <a:lnTo>
                    <a:pt x="935" y="109"/>
                  </a:lnTo>
                  <a:lnTo>
                    <a:pt x="935" y="109"/>
                  </a:lnTo>
                  <a:lnTo>
                    <a:pt x="938" y="107"/>
                  </a:lnTo>
                  <a:lnTo>
                    <a:pt x="938" y="107"/>
                  </a:lnTo>
                  <a:lnTo>
                    <a:pt x="938" y="107"/>
                  </a:lnTo>
                  <a:lnTo>
                    <a:pt x="933" y="107"/>
                  </a:lnTo>
                  <a:lnTo>
                    <a:pt x="925" y="107"/>
                  </a:lnTo>
                  <a:lnTo>
                    <a:pt x="918" y="107"/>
                  </a:lnTo>
                  <a:lnTo>
                    <a:pt x="912" y="107"/>
                  </a:lnTo>
                  <a:lnTo>
                    <a:pt x="910" y="109"/>
                  </a:lnTo>
                  <a:lnTo>
                    <a:pt x="910" y="109"/>
                  </a:lnTo>
                  <a:lnTo>
                    <a:pt x="915" y="109"/>
                  </a:lnTo>
                  <a:close/>
                  <a:moveTo>
                    <a:pt x="928" y="92"/>
                  </a:moveTo>
                  <a:lnTo>
                    <a:pt x="930" y="92"/>
                  </a:lnTo>
                  <a:lnTo>
                    <a:pt x="933" y="92"/>
                  </a:lnTo>
                  <a:lnTo>
                    <a:pt x="933" y="92"/>
                  </a:lnTo>
                  <a:lnTo>
                    <a:pt x="935" y="89"/>
                  </a:lnTo>
                  <a:lnTo>
                    <a:pt x="935" y="89"/>
                  </a:lnTo>
                  <a:lnTo>
                    <a:pt x="938" y="89"/>
                  </a:lnTo>
                  <a:lnTo>
                    <a:pt x="938" y="89"/>
                  </a:lnTo>
                  <a:lnTo>
                    <a:pt x="935" y="87"/>
                  </a:lnTo>
                  <a:lnTo>
                    <a:pt x="935" y="87"/>
                  </a:lnTo>
                  <a:lnTo>
                    <a:pt x="935" y="87"/>
                  </a:lnTo>
                  <a:lnTo>
                    <a:pt x="935" y="87"/>
                  </a:lnTo>
                  <a:lnTo>
                    <a:pt x="935" y="84"/>
                  </a:lnTo>
                  <a:lnTo>
                    <a:pt x="935" y="84"/>
                  </a:lnTo>
                  <a:lnTo>
                    <a:pt x="935" y="82"/>
                  </a:lnTo>
                  <a:lnTo>
                    <a:pt x="933" y="82"/>
                  </a:lnTo>
                  <a:lnTo>
                    <a:pt x="930" y="82"/>
                  </a:lnTo>
                  <a:lnTo>
                    <a:pt x="928" y="82"/>
                  </a:lnTo>
                  <a:lnTo>
                    <a:pt x="928" y="82"/>
                  </a:lnTo>
                  <a:lnTo>
                    <a:pt x="928" y="84"/>
                  </a:lnTo>
                  <a:lnTo>
                    <a:pt x="925" y="84"/>
                  </a:lnTo>
                  <a:lnTo>
                    <a:pt x="928" y="84"/>
                  </a:lnTo>
                  <a:lnTo>
                    <a:pt x="925" y="87"/>
                  </a:lnTo>
                  <a:lnTo>
                    <a:pt x="925" y="89"/>
                  </a:lnTo>
                  <a:lnTo>
                    <a:pt x="925" y="89"/>
                  </a:lnTo>
                  <a:lnTo>
                    <a:pt x="925" y="92"/>
                  </a:lnTo>
                  <a:lnTo>
                    <a:pt x="928" y="92"/>
                  </a:lnTo>
                  <a:close/>
                  <a:moveTo>
                    <a:pt x="902" y="150"/>
                  </a:moveTo>
                  <a:lnTo>
                    <a:pt x="902" y="153"/>
                  </a:lnTo>
                  <a:lnTo>
                    <a:pt x="902" y="153"/>
                  </a:lnTo>
                  <a:lnTo>
                    <a:pt x="902" y="153"/>
                  </a:lnTo>
                  <a:lnTo>
                    <a:pt x="902" y="153"/>
                  </a:lnTo>
                  <a:lnTo>
                    <a:pt x="905" y="155"/>
                  </a:lnTo>
                  <a:lnTo>
                    <a:pt x="905" y="155"/>
                  </a:lnTo>
                  <a:lnTo>
                    <a:pt x="905" y="155"/>
                  </a:lnTo>
                  <a:lnTo>
                    <a:pt x="905" y="155"/>
                  </a:lnTo>
                  <a:lnTo>
                    <a:pt x="902" y="158"/>
                  </a:lnTo>
                  <a:lnTo>
                    <a:pt x="902" y="155"/>
                  </a:lnTo>
                  <a:lnTo>
                    <a:pt x="902" y="155"/>
                  </a:lnTo>
                  <a:lnTo>
                    <a:pt x="900" y="153"/>
                  </a:lnTo>
                  <a:lnTo>
                    <a:pt x="897" y="155"/>
                  </a:lnTo>
                  <a:lnTo>
                    <a:pt x="895" y="155"/>
                  </a:lnTo>
                  <a:lnTo>
                    <a:pt x="892" y="155"/>
                  </a:lnTo>
                  <a:lnTo>
                    <a:pt x="889" y="155"/>
                  </a:lnTo>
                  <a:lnTo>
                    <a:pt x="889" y="155"/>
                  </a:lnTo>
                  <a:lnTo>
                    <a:pt x="889" y="158"/>
                  </a:lnTo>
                  <a:lnTo>
                    <a:pt x="889" y="158"/>
                  </a:lnTo>
                  <a:lnTo>
                    <a:pt x="895" y="160"/>
                  </a:lnTo>
                  <a:lnTo>
                    <a:pt x="897" y="160"/>
                  </a:lnTo>
                  <a:lnTo>
                    <a:pt x="900" y="160"/>
                  </a:lnTo>
                  <a:lnTo>
                    <a:pt x="900" y="160"/>
                  </a:lnTo>
                  <a:lnTo>
                    <a:pt x="902" y="158"/>
                  </a:lnTo>
                  <a:lnTo>
                    <a:pt x="905" y="158"/>
                  </a:lnTo>
                  <a:lnTo>
                    <a:pt x="905" y="160"/>
                  </a:lnTo>
                  <a:lnTo>
                    <a:pt x="907" y="160"/>
                  </a:lnTo>
                  <a:lnTo>
                    <a:pt x="905" y="160"/>
                  </a:lnTo>
                  <a:lnTo>
                    <a:pt x="905" y="160"/>
                  </a:lnTo>
                  <a:lnTo>
                    <a:pt x="902" y="160"/>
                  </a:lnTo>
                  <a:lnTo>
                    <a:pt x="902" y="160"/>
                  </a:lnTo>
                  <a:lnTo>
                    <a:pt x="900" y="160"/>
                  </a:lnTo>
                  <a:lnTo>
                    <a:pt x="900" y="160"/>
                  </a:lnTo>
                  <a:lnTo>
                    <a:pt x="897" y="160"/>
                  </a:lnTo>
                  <a:lnTo>
                    <a:pt x="897" y="163"/>
                  </a:lnTo>
                  <a:lnTo>
                    <a:pt x="897" y="163"/>
                  </a:lnTo>
                  <a:lnTo>
                    <a:pt x="897" y="163"/>
                  </a:lnTo>
                  <a:lnTo>
                    <a:pt x="900" y="163"/>
                  </a:lnTo>
                  <a:lnTo>
                    <a:pt x="900" y="163"/>
                  </a:lnTo>
                  <a:lnTo>
                    <a:pt x="900" y="163"/>
                  </a:lnTo>
                  <a:lnTo>
                    <a:pt x="900" y="163"/>
                  </a:lnTo>
                  <a:lnTo>
                    <a:pt x="900" y="165"/>
                  </a:lnTo>
                  <a:lnTo>
                    <a:pt x="900" y="165"/>
                  </a:lnTo>
                  <a:lnTo>
                    <a:pt x="897" y="165"/>
                  </a:lnTo>
                  <a:lnTo>
                    <a:pt x="897" y="168"/>
                  </a:lnTo>
                  <a:lnTo>
                    <a:pt x="897" y="165"/>
                  </a:lnTo>
                  <a:lnTo>
                    <a:pt x="895" y="165"/>
                  </a:lnTo>
                  <a:lnTo>
                    <a:pt x="895" y="165"/>
                  </a:lnTo>
                  <a:lnTo>
                    <a:pt x="892" y="168"/>
                  </a:lnTo>
                  <a:lnTo>
                    <a:pt x="889" y="168"/>
                  </a:lnTo>
                  <a:lnTo>
                    <a:pt x="889" y="168"/>
                  </a:lnTo>
                  <a:lnTo>
                    <a:pt x="882" y="171"/>
                  </a:lnTo>
                  <a:lnTo>
                    <a:pt x="879" y="171"/>
                  </a:lnTo>
                  <a:lnTo>
                    <a:pt x="877" y="171"/>
                  </a:lnTo>
                  <a:lnTo>
                    <a:pt x="877" y="171"/>
                  </a:lnTo>
                  <a:lnTo>
                    <a:pt x="877" y="168"/>
                  </a:lnTo>
                  <a:lnTo>
                    <a:pt x="877" y="168"/>
                  </a:lnTo>
                  <a:lnTo>
                    <a:pt x="877" y="165"/>
                  </a:lnTo>
                  <a:lnTo>
                    <a:pt x="877" y="165"/>
                  </a:lnTo>
                  <a:lnTo>
                    <a:pt x="877" y="165"/>
                  </a:lnTo>
                  <a:lnTo>
                    <a:pt x="877" y="165"/>
                  </a:lnTo>
                  <a:lnTo>
                    <a:pt x="877" y="163"/>
                  </a:lnTo>
                  <a:lnTo>
                    <a:pt x="874" y="163"/>
                  </a:lnTo>
                  <a:lnTo>
                    <a:pt x="872" y="163"/>
                  </a:lnTo>
                  <a:lnTo>
                    <a:pt x="869" y="163"/>
                  </a:lnTo>
                  <a:lnTo>
                    <a:pt x="867" y="165"/>
                  </a:lnTo>
                  <a:lnTo>
                    <a:pt x="864" y="165"/>
                  </a:lnTo>
                  <a:lnTo>
                    <a:pt x="861" y="165"/>
                  </a:lnTo>
                  <a:lnTo>
                    <a:pt x="861" y="168"/>
                  </a:lnTo>
                  <a:lnTo>
                    <a:pt x="859" y="168"/>
                  </a:lnTo>
                  <a:lnTo>
                    <a:pt x="859" y="168"/>
                  </a:lnTo>
                  <a:lnTo>
                    <a:pt x="859" y="171"/>
                  </a:lnTo>
                  <a:lnTo>
                    <a:pt x="859" y="173"/>
                  </a:lnTo>
                  <a:lnTo>
                    <a:pt x="864" y="173"/>
                  </a:lnTo>
                  <a:lnTo>
                    <a:pt x="864" y="176"/>
                  </a:lnTo>
                  <a:lnTo>
                    <a:pt x="864" y="176"/>
                  </a:lnTo>
                  <a:lnTo>
                    <a:pt x="864" y="176"/>
                  </a:lnTo>
                  <a:lnTo>
                    <a:pt x="864" y="178"/>
                  </a:lnTo>
                  <a:lnTo>
                    <a:pt x="864" y="178"/>
                  </a:lnTo>
                  <a:lnTo>
                    <a:pt x="867" y="178"/>
                  </a:lnTo>
                  <a:lnTo>
                    <a:pt x="869" y="178"/>
                  </a:lnTo>
                  <a:lnTo>
                    <a:pt x="869" y="178"/>
                  </a:lnTo>
                  <a:lnTo>
                    <a:pt x="869" y="178"/>
                  </a:lnTo>
                  <a:lnTo>
                    <a:pt x="872" y="178"/>
                  </a:lnTo>
                  <a:lnTo>
                    <a:pt x="872" y="178"/>
                  </a:lnTo>
                  <a:lnTo>
                    <a:pt x="872" y="178"/>
                  </a:lnTo>
                  <a:lnTo>
                    <a:pt x="874" y="181"/>
                  </a:lnTo>
                  <a:lnTo>
                    <a:pt x="874" y="181"/>
                  </a:lnTo>
                  <a:lnTo>
                    <a:pt x="877" y="181"/>
                  </a:lnTo>
                  <a:lnTo>
                    <a:pt x="877" y="183"/>
                  </a:lnTo>
                  <a:lnTo>
                    <a:pt x="877" y="186"/>
                  </a:lnTo>
                  <a:lnTo>
                    <a:pt x="879" y="188"/>
                  </a:lnTo>
                  <a:lnTo>
                    <a:pt x="879" y="191"/>
                  </a:lnTo>
                  <a:lnTo>
                    <a:pt x="882" y="191"/>
                  </a:lnTo>
                  <a:lnTo>
                    <a:pt x="879" y="193"/>
                  </a:lnTo>
                  <a:lnTo>
                    <a:pt x="879" y="193"/>
                  </a:lnTo>
                  <a:lnTo>
                    <a:pt x="879" y="196"/>
                  </a:lnTo>
                  <a:lnTo>
                    <a:pt x="882" y="196"/>
                  </a:lnTo>
                  <a:lnTo>
                    <a:pt x="884" y="196"/>
                  </a:lnTo>
                  <a:lnTo>
                    <a:pt x="884" y="196"/>
                  </a:lnTo>
                  <a:lnTo>
                    <a:pt x="887" y="196"/>
                  </a:lnTo>
                  <a:lnTo>
                    <a:pt x="889" y="196"/>
                  </a:lnTo>
                  <a:lnTo>
                    <a:pt x="892" y="196"/>
                  </a:lnTo>
                  <a:lnTo>
                    <a:pt x="895" y="193"/>
                  </a:lnTo>
                  <a:lnTo>
                    <a:pt x="897" y="193"/>
                  </a:lnTo>
                  <a:lnTo>
                    <a:pt x="897" y="193"/>
                  </a:lnTo>
                  <a:lnTo>
                    <a:pt x="897" y="191"/>
                  </a:lnTo>
                  <a:lnTo>
                    <a:pt x="897" y="188"/>
                  </a:lnTo>
                  <a:lnTo>
                    <a:pt x="897" y="188"/>
                  </a:lnTo>
                  <a:lnTo>
                    <a:pt x="900" y="186"/>
                  </a:lnTo>
                  <a:lnTo>
                    <a:pt x="902" y="186"/>
                  </a:lnTo>
                  <a:lnTo>
                    <a:pt x="902" y="186"/>
                  </a:lnTo>
                  <a:lnTo>
                    <a:pt x="902" y="186"/>
                  </a:lnTo>
                  <a:lnTo>
                    <a:pt x="900" y="186"/>
                  </a:lnTo>
                  <a:lnTo>
                    <a:pt x="900" y="188"/>
                  </a:lnTo>
                  <a:lnTo>
                    <a:pt x="900" y="188"/>
                  </a:lnTo>
                  <a:lnTo>
                    <a:pt x="900" y="188"/>
                  </a:lnTo>
                  <a:lnTo>
                    <a:pt x="900" y="188"/>
                  </a:lnTo>
                  <a:lnTo>
                    <a:pt x="907" y="191"/>
                  </a:lnTo>
                  <a:lnTo>
                    <a:pt x="910" y="191"/>
                  </a:lnTo>
                  <a:lnTo>
                    <a:pt x="915" y="188"/>
                  </a:lnTo>
                  <a:lnTo>
                    <a:pt x="915" y="188"/>
                  </a:lnTo>
                  <a:lnTo>
                    <a:pt x="918" y="188"/>
                  </a:lnTo>
                  <a:lnTo>
                    <a:pt x="920" y="186"/>
                  </a:lnTo>
                  <a:lnTo>
                    <a:pt x="925" y="186"/>
                  </a:lnTo>
                  <a:lnTo>
                    <a:pt x="928" y="183"/>
                  </a:lnTo>
                  <a:lnTo>
                    <a:pt x="928" y="183"/>
                  </a:lnTo>
                  <a:lnTo>
                    <a:pt x="928" y="183"/>
                  </a:lnTo>
                  <a:lnTo>
                    <a:pt x="928" y="183"/>
                  </a:lnTo>
                  <a:lnTo>
                    <a:pt x="930" y="181"/>
                  </a:lnTo>
                  <a:lnTo>
                    <a:pt x="933" y="181"/>
                  </a:lnTo>
                  <a:lnTo>
                    <a:pt x="933" y="178"/>
                  </a:lnTo>
                  <a:lnTo>
                    <a:pt x="933" y="178"/>
                  </a:lnTo>
                  <a:lnTo>
                    <a:pt x="933" y="178"/>
                  </a:lnTo>
                  <a:lnTo>
                    <a:pt x="933" y="178"/>
                  </a:lnTo>
                  <a:lnTo>
                    <a:pt x="933" y="178"/>
                  </a:lnTo>
                  <a:lnTo>
                    <a:pt x="933" y="178"/>
                  </a:lnTo>
                  <a:lnTo>
                    <a:pt x="935" y="178"/>
                  </a:lnTo>
                  <a:lnTo>
                    <a:pt x="938" y="176"/>
                  </a:lnTo>
                  <a:lnTo>
                    <a:pt x="938" y="176"/>
                  </a:lnTo>
                  <a:lnTo>
                    <a:pt x="940" y="173"/>
                  </a:lnTo>
                  <a:lnTo>
                    <a:pt x="943" y="173"/>
                  </a:lnTo>
                  <a:lnTo>
                    <a:pt x="943" y="171"/>
                  </a:lnTo>
                  <a:lnTo>
                    <a:pt x="943" y="171"/>
                  </a:lnTo>
                  <a:lnTo>
                    <a:pt x="943" y="171"/>
                  </a:lnTo>
                  <a:lnTo>
                    <a:pt x="943" y="171"/>
                  </a:lnTo>
                  <a:lnTo>
                    <a:pt x="938" y="171"/>
                  </a:lnTo>
                  <a:lnTo>
                    <a:pt x="935" y="171"/>
                  </a:lnTo>
                  <a:lnTo>
                    <a:pt x="933" y="171"/>
                  </a:lnTo>
                  <a:lnTo>
                    <a:pt x="933" y="171"/>
                  </a:lnTo>
                  <a:lnTo>
                    <a:pt x="935" y="171"/>
                  </a:lnTo>
                  <a:lnTo>
                    <a:pt x="935" y="171"/>
                  </a:lnTo>
                  <a:lnTo>
                    <a:pt x="938" y="168"/>
                  </a:lnTo>
                  <a:lnTo>
                    <a:pt x="935" y="168"/>
                  </a:lnTo>
                  <a:lnTo>
                    <a:pt x="935" y="168"/>
                  </a:lnTo>
                  <a:lnTo>
                    <a:pt x="935" y="168"/>
                  </a:lnTo>
                  <a:lnTo>
                    <a:pt x="935" y="165"/>
                  </a:lnTo>
                  <a:lnTo>
                    <a:pt x="938" y="165"/>
                  </a:lnTo>
                  <a:lnTo>
                    <a:pt x="938" y="165"/>
                  </a:lnTo>
                  <a:lnTo>
                    <a:pt x="935" y="165"/>
                  </a:lnTo>
                  <a:lnTo>
                    <a:pt x="935" y="165"/>
                  </a:lnTo>
                  <a:lnTo>
                    <a:pt x="933" y="165"/>
                  </a:lnTo>
                  <a:lnTo>
                    <a:pt x="930" y="165"/>
                  </a:lnTo>
                  <a:lnTo>
                    <a:pt x="928" y="165"/>
                  </a:lnTo>
                  <a:lnTo>
                    <a:pt x="925" y="165"/>
                  </a:lnTo>
                  <a:lnTo>
                    <a:pt x="923" y="165"/>
                  </a:lnTo>
                  <a:lnTo>
                    <a:pt x="923" y="165"/>
                  </a:lnTo>
                  <a:lnTo>
                    <a:pt x="923" y="165"/>
                  </a:lnTo>
                  <a:lnTo>
                    <a:pt x="923" y="165"/>
                  </a:lnTo>
                  <a:lnTo>
                    <a:pt x="923" y="165"/>
                  </a:lnTo>
                  <a:lnTo>
                    <a:pt x="925" y="163"/>
                  </a:lnTo>
                  <a:lnTo>
                    <a:pt x="928" y="163"/>
                  </a:lnTo>
                  <a:lnTo>
                    <a:pt x="938" y="160"/>
                  </a:lnTo>
                  <a:lnTo>
                    <a:pt x="943" y="158"/>
                  </a:lnTo>
                  <a:lnTo>
                    <a:pt x="948" y="158"/>
                  </a:lnTo>
                  <a:lnTo>
                    <a:pt x="948" y="158"/>
                  </a:lnTo>
                  <a:lnTo>
                    <a:pt x="948" y="155"/>
                  </a:lnTo>
                  <a:lnTo>
                    <a:pt x="948" y="155"/>
                  </a:lnTo>
                  <a:lnTo>
                    <a:pt x="946" y="155"/>
                  </a:lnTo>
                  <a:lnTo>
                    <a:pt x="946" y="155"/>
                  </a:lnTo>
                  <a:lnTo>
                    <a:pt x="943" y="155"/>
                  </a:lnTo>
                  <a:lnTo>
                    <a:pt x="943" y="155"/>
                  </a:lnTo>
                  <a:lnTo>
                    <a:pt x="946" y="155"/>
                  </a:lnTo>
                  <a:lnTo>
                    <a:pt x="946" y="155"/>
                  </a:lnTo>
                  <a:lnTo>
                    <a:pt x="946" y="155"/>
                  </a:lnTo>
                  <a:lnTo>
                    <a:pt x="948" y="155"/>
                  </a:lnTo>
                  <a:lnTo>
                    <a:pt x="951" y="155"/>
                  </a:lnTo>
                  <a:lnTo>
                    <a:pt x="953" y="155"/>
                  </a:lnTo>
                  <a:lnTo>
                    <a:pt x="953" y="153"/>
                  </a:lnTo>
                  <a:lnTo>
                    <a:pt x="956" y="153"/>
                  </a:lnTo>
                  <a:lnTo>
                    <a:pt x="956" y="153"/>
                  </a:lnTo>
                  <a:lnTo>
                    <a:pt x="956" y="153"/>
                  </a:lnTo>
                  <a:lnTo>
                    <a:pt x="958" y="150"/>
                  </a:lnTo>
                  <a:lnTo>
                    <a:pt x="958" y="150"/>
                  </a:lnTo>
                  <a:lnTo>
                    <a:pt x="956" y="150"/>
                  </a:lnTo>
                  <a:lnTo>
                    <a:pt x="956" y="150"/>
                  </a:lnTo>
                  <a:lnTo>
                    <a:pt x="953" y="148"/>
                  </a:lnTo>
                  <a:lnTo>
                    <a:pt x="951" y="148"/>
                  </a:lnTo>
                  <a:lnTo>
                    <a:pt x="948" y="148"/>
                  </a:lnTo>
                  <a:lnTo>
                    <a:pt x="948" y="150"/>
                  </a:lnTo>
                  <a:lnTo>
                    <a:pt x="943" y="150"/>
                  </a:lnTo>
                  <a:lnTo>
                    <a:pt x="938" y="150"/>
                  </a:lnTo>
                  <a:lnTo>
                    <a:pt x="933" y="150"/>
                  </a:lnTo>
                  <a:lnTo>
                    <a:pt x="930" y="150"/>
                  </a:lnTo>
                  <a:lnTo>
                    <a:pt x="928" y="153"/>
                  </a:lnTo>
                  <a:lnTo>
                    <a:pt x="920" y="148"/>
                  </a:lnTo>
                  <a:lnTo>
                    <a:pt x="918" y="148"/>
                  </a:lnTo>
                  <a:lnTo>
                    <a:pt x="918" y="148"/>
                  </a:lnTo>
                  <a:lnTo>
                    <a:pt x="915" y="150"/>
                  </a:lnTo>
                  <a:lnTo>
                    <a:pt x="918" y="150"/>
                  </a:lnTo>
                  <a:lnTo>
                    <a:pt x="918" y="150"/>
                  </a:lnTo>
                  <a:lnTo>
                    <a:pt x="920" y="150"/>
                  </a:lnTo>
                  <a:lnTo>
                    <a:pt x="920" y="150"/>
                  </a:lnTo>
                  <a:lnTo>
                    <a:pt x="918" y="150"/>
                  </a:lnTo>
                  <a:lnTo>
                    <a:pt x="915" y="150"/>
                  </a:lnTo>
                  <a:lnTo>
                    <a:pt x="912" y="150"/>
                  </a:lnTo>
                  <a:lnTo>
                    <a:pt x="905" y="150"/>
                  </a:lnTo>
                  <a:lnTo>
                    <a:pt x="905" y="150"/>
                  </a:lnTo>
                  <a:lnTo>
                    <a:pt x="902" y="150"/>
                  </a:lnTo>
                  <a:close/>
                  <a:moveTo>
                    <a:pt x="928" y="104"/>
                  </a:moveTo>
                  <a:lnTo>
                    <a:pt x="930" y="104"/>
                  </a:lnTo>
                  <a:lnTo>
                    <a:pt x="933" y="104"/>
                  </a:lnTo>
                  <a:lnTo>
                    <a:pt x="935" y="104"/>
                  </a:lnTo>
                  <a:lnTo>
                    <a:pt x="935" y="104"/>
                  </a:lnTo>
                  <a:lnTo>
                    <a:pt x="935" y="104"/>
                  </a:lnTo>
                  <a:lnTo>
                    <a:pt x="935" y="102"/>
                  </a:lnTo>
                  <a:lnTo>
                    <a:pt x="930" y="102"/>
                  </a:lnTo>
                  <a:lnTo>
                    <a:pt x="930" y="102"/>
                  </a:lnTo>
                  <a:lnTo>
                    <a:pt x="930" y="102"/>
                  </a:lnTo>
                  <a:lnTo>
                    <a:pt x="930" y="102"/>
                  </a:lnTo>
                  <a:lnTo>
                    <a:pt x="928" y="102"/>
                  </a:lnTo>
                  <a:lnTo>
                    <a:pt x="925" y="102"/>
                  </a:lnTo>
                  <a:lnTo>
                    <a:pt x="928" y="99"/>
                  </a:lnTo>
                  <a:lnTo>
                    <a:pt x="928" y="99"/>
                  </a:lnTo>
                  <a:lnTo>
                    <a:pt x="928" y="99"/>
                  </a:lnTo>
                  <a:lnTo>
                    <a:pt x="928" y="99"/>
                  </a:lnTo>
                  <a:lnTo>
                    <a:pt x="925" y="99"/>
                  </a:lnTo>
                  <a:lnTo>
                    <a:pt x="920" y="99"/>
                  </a:lnTo>
                  <a:lnTo>
                    <a:pt x="920" y="102"/>
                  </a:lnTo>
                  <a:lnTo>
                    <a:pt x="918" y="102"/>
                  </a:lnTo>
                  <a:lnTo>
                    <a:pt x="918" y="102"/>
                  </a:lnTo>
                  <a:lnTo>
                    <a:pt x="918" y="102"/>
                  </a:lnTo>
                  <a:lnTo>
                    <a:pt x="915" y="104"/>
                  </a:lnTo>
                  <a:lnTo>
                    <a:pt x="915" y="104"/>
                  </a:lnTo>
                  <a:lnTo>
                    <a:pt x="918" y="104"/>
                  </a:lnTo>
                  <a:lnTo>
                    <a:pt x="928" y="104"/>
                  </a:lnTo>
                  <a:close/>
                  <a:moveTo>
                    <a:pt x="82" y="659"/>
                  </a:moveTo>
                  <a:lnTo>
                    <a:pt x="79" y="659"/>
                  </a:lnTo>
                  <a:lnTo>
                    <a:pt x="79" y="662"/>
                  </a:lnTo>
                  <a:lnTo>
                    <a:pt x="79" y="662"/>
                  </a:lnTo>
                  <a:lnTo>
                    <a:pt x="79" y="662"/>
                  </a:lnTo>
                  <a:lnTo>
                    <a:pt x="79" y="662"/>
                  </a:lnTo>
                  <a:lnTo>
                    <a:pt x="82" y="662"/>
                  </a:lnTo>
                  <a:lnTo>
                    <a:pt x="82" y="662"/>
                  </a:lnTo>
                  <a:lnTo>
                    <a:pt x="82" y="659"/>
                  </a:lnTo>
                  <a:lnTo>
                    <a:pt x="82" y="659"/>
                  </a:lnTo>
                  <a:lnTo>
                    <a:pt x="82" y="659"/>
                  </a:lnTo>
                  <a:close/>
                  <a:moveTo>
                    <a:pt x="1239" y="387"/>
                  </a:moveTo>
                  <a:lnTo>
                    <a:pt x="1239" y="387"/>
                  </a:lnTo>
                  <a:lnTo>
                    <a:pt x="1239" y="387"/>
                  </a:lnTo>
                  <a:lnTo>
                    <a:pt x="1239" y="387"/>
                  </a:lnTo>
                  <a:lnTo>
                    <a:pt x="1241" y="389"/>
                  </a:lnTo>
                  <a:lnTo>
                    <a:pt x="1241" y="389"/>
                  </a:lnTo>
                  <a:lnTo>
                    <a:pt x="1244" y="392"/>
                  </a:lnTo>
                  <a:lnTo>
                    <a:pt x="1244" y="392"/>
                  </a:lnTo>
                  <a:lnTo>
                    <a:pt x="1244" y="392"/>
                  </a:lnTo>
                  <a:lnTo>
                    <a:pt x="1244" y="392"/>
                  </a:lnTo>
                  <a:lnTo>
                    <a:pt x="1246" y="392"/>
                  </a:lnTo>
                  <a:lnTo>
                    <a:pt x="1246" y="389"/>
                  </a:lnTo>
                  <a:lnTo>
                    <a:pt x="1249" y="389"/>
                  </a:lnTo>
                  <a:lnTo>
                    <a:pt x="1249" y="389"/>
                  </a:lnTo>
                  <a:lnTo>
                    <a:pt x="1249" y="387"/>
                  </a:lnTo>
                  <a:lnTo>
                    <a:pt x="1249" y="387"/>
                  </a:lnTo>
                  <a:lnTo>
                    <a:pt x="1249" y="387"/>
                  </a:lnTo>
                  <a:lnTo>
                    <a:pt x="1246" y="384"/>
                  </a:lnTo>
                  <a:lnTo>
                    <a:pt x="1244" y="384"/>
                  </a:lnTo>
                  <a:lnTo>
                    <a:pt x="1239" y="387"/>
                  </a:lnTo>
                  <a:close/>
                  <a:moveTo>
                    <a:pt x="1249" y="382"/>
                  </a:moveTo>
                  <a:lnTo>
                    <a:pt x="1246" y="382"/>
                  </a:lnTo>
                  <a:lnTo>
                    <a:pt x="1246" y="382"/>
                  </a:lnTo>
                  <a:lnTo>
                    <a:pt x="1246" y="379"/>
                  </a:lnTo>
                  <a:lnTo>
                    <a:pt x="1246" y="379"/>
                  </a:lnTo>
                  <a:lnTo>
                    <a:pt x="1246" y="379"/>
                  </a:lnTo>
                  <a:lnTo>
                    <a:pt x="1244" y="379"/>
                  </a:lnTo>
                  <a:lnTo>
                    <a:pt x="1244" y="382"/>
                  </a:lnTo>
                  <a:lnTo>
                    <a:pt x="1244" y="382"/>
                  </a:lnTo>
                  <a:lnTo>
                    <a:pt x="1244" y="382"/>
                  </a:lnTo>
                  <a:lnTo>
                    <a:pt x="1246" y="384"/>
                  </a:lnTo>
                  <a:lnTo>
                    <a:pt x="1246" y="384"/>
                  </a:lnTo>
                  <a:lnTo>
                    <a:pt x="1249" y="384"/>
                  </a:lnTo>
                  <a:lnTo>
                    <a:pt x="1249" y="384"/>
                  </a:lnTo>
                  <a:lnTo>
                    <a:pt x="1249" y="382"/>
                  </a:lnTo>
                  <a:lnTo>
                    <a:pt x="1249" y="382"/>
                  </a:lnTo>
                  <a:lnTo>
                    <a:pt x="1249" y="382"/>
                  </a:lnTo>
                  <a:lnTo>
                    <a:pt x="1249" y="382"/>
                  </a:lnTo>
                  <a:lnTo>
                    <a:pt x="1249" y="382"/>
                  </a:lnTo>
                  <a:close/>
                  <a:moveTo>
                    <a:pt x="1177" y="415"/>
                  </a:moveTo>
                  <a:lnTo>
                    <a:pt x="1180" y="415"/>
                  </a:lnTo>
                  <a:lnTo>
                    <a:pt x="1183" y="412"/>
                  </a:lnTo>
                  <a:lnTo>
                    <a:pt x="1185" y="412"/>
                  </a:lnTo>
                  <a:lnTo>
                    <a:pt x="1185" y="410"/>
                  </a:lnTo>
                  <a:lnTo>
                    <a:pt x="1185" y="410"/>
                  </a:lnTo>
                  <a:lnTo>
                    <a:pt x="1185" y="410"/>
                  </a:lnTo>
                  <a:lnTo>
                    <a:pt x="1185" y="407"/>
                  </a:lnTo>
                  <a:lnTo>
                    <a:pt x="1183" y="407"/>
                  </a:lnTo>
                  <a:lnTo>
                    <a:pt x="1183" y="410"/>
                  </a:lnTo>
                  <a:lnTo>
                    <a:pt x="1180" y="410"/>
                  </a:lnTo>
                  <a:lnTo>
                    <a:pt x="1177" y="412"/>
                  </a:lnTo>
                  <a:lnTo>
                    <a:pt x="1175" y="415"/>
                  </a:lnTo>
                  <a:lnTo>
                    <a:pt x="1175" y="415"/>
                  </a:lnTo>
                  <a:lnTo>
                    <a:pt x="1175" y="415"/>
                  </a:lnTo>
                  <a:lnTo>
                    <a:pt x="1177" y="415"/>
                  </a:lnTo>
                  <a:close/>
                  <a:moveTo>
                    <a:pt x="1147" y="438"/>
                  </a:moveTo>
                  <a:lnTo>
                    <a:pt x="1147" y="438"/>
                  </a:lnTo>
                  <a:lnTo>
                    <a:pt x="1144" y="438"/>
                  </a:lnTo>
                  <a:lnTo>
                    <a:pt x="1144" y="440"/>
                  </a:lnTo>
                  <a:lnTo>
                    <a:pt x="1144" y="440"/>
                  </a:lnTo>
                  <a:lnTo>
                    <a:pt x="1144" y="443"/>
                  </a:lnTo>
                  <a:lnTo>
                    <a:pt x="1144" y="443"/>
                  </a:lnTo>
                  <a:lnTo>
                    <a:pt x="1144" y="440"/>
                  </a:lnTo>
                  <a:lnTo>
                    <a:pt x="1144" y="443"/>
                  </a:lnTo>
                  <a:lnTo>
                    <a:pt x="1147" y="440"/>
                  </a:lnTo>
                  <a:lnTo>
                    <a:pt x="1147" y="440"/>
                  </a:lnTo>
                  <a:lnTo>
                    <a:pt x="1147" y="440"/>
                  </a:lnTo>
                  <a:lnTo>
                    <a:pt x="1147" y="440"/>
                  </a:lnTo>
                  <a:lnTo>
                    <a:pt x="1147" y="438"/>
                  </a:lnTo>
                  <a:close/>
                  <a:moveTo>
                    <a:pt x="1042" y="753"/>
                  </a:moveTo>
                  <a:lnTo>
                    <a:pt x="1040" y="756"/>
                  </a:lnTo>
                  <a:lnTo>
                    <a:pt x="1042" y="753"/>
                  </a:lnTo>
                  <a:lnTo>
                    <a:pt x="1042" y="753"/>
                  </a:lnTo>
                  <a:lnTo>
                    <a:pt x="1042" y="751"/>
                  </a:lnTo>
                  <a:lnTo>
                    <a:pt x="1042" y="751"/>
                  </a:lnTo>
                  <a:lnTo>
                    <a:pt x="1042" y="753"/>
                  </a:lnTo>
                  <a:close/>
                  <a:moveTo>
                    <a:pt x="1256" y="369"/>
                  </a:moveTo>
                  <a:lnTo>
                    <a:pt x="1254" y="369"/>
                  </a:lnTo>
                  <a:lnTo>
                    <a:pt x="1256" y="369"/>
                  </a:lnTo>
                  <a:lnTo>
                    <a:pt x="1256" y="372"/>
                  </a:lnTo>
                  <a:lnTo>
                    <a:pt x="1259" y="372"/>
                  </a:lnTo>
                  <a:lnTo>
                    <a:pt x="1262" y="372"/>
                  </a:lnTo>
                  <a:lnTo>
                    <a:pt x="1262" y="372"/>
                  </a:lnTo>
                  <a:lnTo>
                    <a:pt x="1264" y="369"/>
                  </a:lnTo>
                  <a:lnTo>
                    <a:pt x="1264" y="369"/>
                  </a:lnTo>
                  <a:lnTo>
                    <a:pt x="1264" y="366"/>
                  </a:lnTo>
                  <a:lnTo>
                    <a:pt x="1262" y="366"/>
                  </a:lnTo>
                  <a:lnTo>
                    <a:pt x="1259" y="366"/>
                  </a:lnTo>
                  <a:lnTo>
                    <a:pt x="1259" y="366"/>
                  </a:lnTo>
                  <a:lnTo>
                    <a:pt x="1256" y="369"/>
                  </a:lnTo>
                  <a:lnTo>
                    <a:pt x="1256" y="369"/>
                  </a:lnTo>
                  <a:lnTo>
                    <a:pt x="1256" y="369"/>
                  </a:lnTo>
                  <a:lnTo>
                    <a:pt x="1256" y="369"/>
                  </a:lnTo>
                  <a:close/>
                  <a:moveTo>
                    <a:pt x="1236" y="410"/>
                  </a:moveTo>
                  <a:lnTo>
                    <a:pt x="1234" y="410"/>
                  </a:lnTo>
                  <a:lnTo>
                    <a:pt x="1234" y="410"/>
                  </a:lnTo>
                  <a:lnTo>
                    <a:pt x="1234" y="412"/>
                  </a:lnTo>
                  <a:lnTo>
                    <a:pt x="1234" y="412"/>
                  </a:lnTo>
                  <a:lnTo>
                    <a:pt x="1236" y="412"/>
                  </a:lnTo>
                  <a:lnTo>
                    <a:pt x="1239" y="415"/>
                  </a:lnTo>
                  <a:lnTo>
                    <a:pt x="1239" y="412"/>
                  </a:lnTo>
                  <a:lnTo>
                    <a:pt x="1239" y="412"/>
                  </a:lnTo>
                  <a:lnTo>
                    <a:pt x="1239" y="410"/>
                  </a:lnTo>
                  <a:lnTo>
                    <a:pt x="1236" y="410"/>
                  </a:lnTo>
                  <a:lnTo>
                    <a:pt x="1236" y="410"/>
                  </a:lnTo>
                  <a:close/>
                  <a:moveTo>
                    <a:pt x="1246" y="501"/>
                  </a:moveTo>
                  <a:lnTo>
                    <a:pt x="1246" y="501"/>
                  </a:lnTo>
                  <a:lnTo>
                    <a:pt x="1246" y="501"/>
                  </a:lnTo>
                  <a:lnTo>
                    <a:pt x="1244" y="504"/>
                  </a:lnTo>
                  <a:lnTo>
                    <a:pt x="1244" y="504"/>
                  </a:lnTo>
                  <a:lnTo>
                    <a:pt x="1246" y="504"/>
                  </a:lnTo>
                  <a:lnTo>
                    <a:pt x="1249" y="504"/>
                  </a:lnTo>
                  <a:lnTo>
                    <a:pt x="1249" y="504"/>
                  </a:lnTo>
                  <a:lnTo>
                    <a:pt x="1249" y="504"/>
                  </a:lnTo>
                  <a:lnTo>
                    <a:pt x="1249" y="501"/>
                  </a:lnTo>
                  <a:lnTo>
                    <a:pt x="1249" y="501"/>
                  </a:lnTo>
                  <a:lnTo>
                    <a:pt x="1246" y="501"/>
                  </a:lnTo>
                  <a:close/>
                  <a:moveTo>
                    <a:pt x="1165" y="366"/>
                  </a:moveTo>
                  <a:lnTo>
                    <a:pt x="1167" y="366"/>
                  </a:lnTo>
                  <a:lnTo>
                    <a:pt x="1170" y="366"/>
                  </a:lnTo>
                  <a:lnTo>
                    <a:pt x="1170" y="366"/>
                  </a:lnTo>
                  <a:lnTo>
                    <a:pt x="1172" y="366"/>
                  </a:lnTo>
                  <a:lnTo>
                    <a:pt x="1172" y="366"/>
                  </a:lnTo>
                  <a:lnTo>
                    <a:pt x="1172" y="366"/>
                  </a:lnTo>
                  <a:lnTo>
                    <a:pt x="1172" y="366"/>
                  </a:lnTo>
                  <a:lnTo>
                    <a:pt x="1172" y="366"/>
                  </a:lnTo>
                  <a:lnTo>
                    <a:pt x="1172" y="364"/>
                  </a:lnTo>
                  <a:lnTo>
                    <a:pt x="1170" y="361"/>
                  </a:lnTo>
                  <a:lnTo>
                    <a:pt x="1167" y="361"/>
                  </a:lnTo>
                  <a:lnTo>
                    <a:pt x="1165" y="361"/>
                  </a:lnTo>
                  <a:lnTo>
                    <a:pt x="1165" y="361"/>
                  </a:lnTo>
                  <a:lnTo>
                    <a:pt x="1162" y="361"/>
                  </a:lnTo>
                  <a:lnTo>
                    <a:pt x="1162" y="361"/>
                  </a:lnTo>
                  <a:lnTo>
                    <a:pt x="1165" y="364"/>
                  </a:lnTo>
                  <a:lnTo>
                    <a:pt x="1165" y="364"/>
                  </a:lnTo>
                  <a:lnTo>
                    <a:pt x="1165" y="366"/>
                  </a:lnTo>
                  <a:lnTo>
                    <a:pt x="1165" y="366"/>
                  </a:lnTo>
                  <a:close/>
                  <a:moveTo>
                    <a:pt x="1111" y="366"/>
                  </a:moveTo>
                  <a:lnTo>
                    <a:pt x="1114" y="366"/>
                  </a:lnTo>
                  <a:lnTo>
                    <a:pt x="1116" y="366"/>
                  </a:lnTo>
                  <a:lnTo>
                    <a:pt x="1116" y="366"/>
                  </a:lnTo>
                  <a:lnTo>
                    <a:pt x="1116" y="366"/>
                  </a:lnTo>
                  <a:lnTo>
                    <a:pt x="1114" y="364"/>
                  </a:lnTo>
                  <a:lnTo>
                    <a:pt x="1111" y="364"/>
                  </a:lnTo>
                  <a:lnTo>
                    <a:pt x="1109" y="364"/>
                  </a:lnTo>
                  <a:lnTo>
                    <a:pt x="1109" y="364"/>
                  </a:lnTo>
                  <a:lnTo>
                    <a:pt x="1106" y="364"/>
                  </a:lnTo>
                  <a:lnTo>
                    <a:pt x="1106" y="364"/>
                  </a:lnTo>
                  <a:lnTo>
                    <a:pt x="1109" y="364"/>
                  </a:lnTo>
                  <a:lnTo>
                    <a:pt x="1111" y="366"/>
                  </a:lnTo>
                  <a:close/>
                  <a:moveTo>
                    <a:pt x="1027" y="295"/>
                  </a:moveTo>
                  <a:lnTo>
                    <a:pt x="1027" y="295"/>
                  </a:lnTo>
                  <a:lnTo>
                    <a:pt x="1030" y="293"/>
                  </a:lnTo>
                  <a:lnTo>
                    <a:pt x="1030" y="293"/>
                  </a:lnTo>
                  <a:lnTo>
                    <a:pt x="1030" y="293"/>
                  </a:lnTo>
                  <a:lnTo>
                    <a:pt x="1027" y="293"/>
                  </a:lnTo>
                  <a:lnTo>
                    <a:pt x="1027" y="293"/>
                  </a:lnTo>
                  <a:lnTo>
                    <a:pt x="1027" y="293"/>
                  </a:lnTo>
                  <a:lnTo>
                    <a:pt x="1027" y="293"/>
                  </a:lnTo>
                  <a:lnTo>
                    <a:pt x="1027" y="293"/>
                  </a:lnTo>
                  <a:lnTo>
                    <a:pt x="1027" y="293"/>
                  </a:lnTo>
                  <a:lnTo>
                    <a:pt x="1027" y="295"/>
                  </a:lnTo>
                  <a:close/>
                  <a:moveTo>
                    <a:pt x="997" y="298"/>
                  </a:moveTo>
                  <a:lnTo>
                    <a:pt x="997" y="298"/>
                  </a:lnTo>
                  <a:lnTo>
                    <a:pt x="994" y="298"/>
                  </a:lnTo>
                  <a:lnTo>
                    <a:pt x="994" y="298"/>
                  </a:lnTo>
                  <a:lnTo>
                    <a:pt x="991" y="298"/>
                  </a:lnTo>
                  <a:lnTo>
                    <a:pt x="991" y="300"/>
                  </a:lnTo>
                  <a:lnTo>
                    <a:pt x="991" y="300"/>
                  </a:lnTo>
                  <a:lnTo>
                    <a:pt x="991" y="303"/>
                  </a:lnTo>
                  <a:lnTo>
                    <a:pt x="989" y="303"/>
                  </a:lnTo>
                  <a:lnTo>
                    <a:pt x="989" y="303"/>
                  </a:lnTo>
                  <a:lnTo>
                    <a:pt x="991" y="305"/>
                  </a:lnTo>
                  <a:lnTo>
                    <a:pt x="991" y="305"/>
                  </a:lnTo>
                  <a:lnTo>
                    <a:pt x="991" y="305"/>
                  </a:lnTo>
                  <a:lnTo>
                    <a:pt x="991" y="308"/>
                  </a:lnTo>
                  <a:lnTo>
                    <a:pt x="991" y="308"/>
                  </a:lnTo>
                  <a:lnTo>
                    <a:pt x="994" y="305"/>
                  </a:lnTo>
                  <a:lnTo>
                    <a:pt x="994" y="305"/>
                  </a:lnTo>
                  <a:lnTo>
                    <a:pt x="997" y="305"/>
                  </a:lnTo>
                  <a:lnTo>
                    <a:pt x="997" y="305"/>
                  </a:lnTo>
                  <a:lnTo>
                    <a:pt x="997" y="303"/>
                  </a:lnTo>
                  <a:lnTo>
                    <a:pt x="997" y="300"/>
                  </a:lnTo>
                  <a:lnTo>
                    <a:pt x="997" y="300"/>
                  </a:lnTo>
                  <a:lnTo>
                    <a:pt x="997" y="298"/>
                  </a:lnTo>
                  <a:lnTo>
                    <a:pt x="997" y="298"/>
                  </a:lnTo>
                  <a:close/>
                  <a:moveTo>
                    <a:pt x="1014" y="300"/>
                  </a:moveTo>
                  <a:lnTo>
                    <a:pt x="1014" y="300"/>
                  </a:lnTo>
                  <a:lnTo>
                    <a:pt x="1012" y="298"/>
                  </a:lnTo>
                  <a:lnTo>
                    <a:pt x="1012" y="298"/>
                  </a:lnTo>
                  <a:lnTo>
                    <a:pt x="1009" y="298"/>
                  </a:lnTo>
                  <a:lnTo>
                    <a:pt x="1007" y="295"/>
                  </a:lnTo>
                  <a:lnTo>
                    <a:pt x="1004" y="295"/>
                  </a:lnTo>
                  <a:lnTo>
                    <a:pt x="1004" y="295"/>
                  </a:lnTo>
                  <a:lnTo>
                    <a:pt x="1004" y="298"/>
                  </a:lnTo>
                  <a:lnTo>
                    <a:pt x="1004" y="298"/>
                  </a:lnTo>
                  <a:lnTo>
                    <a:pt x="1007" y="298"/>
                  </a:lnTo>
                  <a:lnTo>
                    <a:pt x="1007" y="298"/>
                  </a:lnTo>
                  <a:lnTo>
                    <a:pt x="1007" y="300"/>
                  </a:lnTo>
                  <a:lnTo>
                    <a:pt x="1007" y="300"/>
                  </a:lnTo>
                  <a:lnTo>
                    <a:pt x="1007" y="300"/>
                  </a:lnTo>
                  <a:lnTo>
                    <a:pt x="1004" y="303"/>
                  </a:lnTo>
                  <a:lnTo>
                    <a:pt x="1007" y="303"/>
                  </a:lnTo>
                  <a:lnTo>
                    <a:pt x="1007" y="303"/>
                  </a:lnTo>
                  <a:lnTo>
                    <a:pt x="1009" y="303"/>
                  </a:lnTo>
                  <a:lnTo>
                    <a:pt x="1009" y="303"/>
                  </a:lnTo>
                  <a:lnTo>
                    <a:pt x="1012" y="303"/>
                  </a:lnTo>
                  <a:lnTo>
                    <a:pt x="1009" y="303"/>
                  </a:lnTo>
                  <a:lnTo>
                    <a:pt x="1009" y="305"/>
                  </a:lnTo>
                  <a:lnTo>
                    <a:pt x="1009" y="305"/>
                  </a:lnTo>
                  <a:lnTo>
                    <a:pt x="1009" y="305"/>
                  </a:lnTo>
                  <a:lnTo>
                    <a:pt x="1012" y="305"/>
                  </a:lnTo>
                  <a:lnTo>
                    <a:pt x="1012" y="305"/>
                  </a:lnTo>
                  <a:lnTo>
                    <a:pt x="1012" y="305"/>
                  </a:lnTo>
                  <a:lnTo>
                    <a:pt x="1012" y="305"/>
                  </a:lnTo>
                  <a:lnTo>
                    <a:pt x="1012" y="305"/>
                  </a:lnTo>
                  <a:lnTo>
                    <a:pt x="1012" y="305"/>
                  </a:lnTo>
                  <a:lnTo>
                    <a:pt x="1012" y="305"/>
                  </a:lnTo>
                  <a:lnTo>
                    <a:pt x="1014" y="305"/>
                  </a:lnTo>
                  <a:lnTo>
                    <a:pt x="1014" y="305"/>
                  </a:lnTo>
                  <a:lnTo>
                    <a:pt x="1017" y="305"/>
                  </a:lnTo>
                  <a:lnTo>
                    <a:pt x="1017" y="305"/>
                  </a:lnTo>
                  <a:lnTo>
                    <a:pt x="1017" y="303"/>
                  </a:lnTo>
                  <a:lnTo>
                    <a:pt x="1017" y="303"/>
                  </a:lnTo>
                  <a:lnTo>
                    <a:pt x="1014" y="303"/>
                  </a:lnTo>
                  <a:lnTo>
                    <a:pt x="1012" y="303"/>
                  </a:lnTo>
                  <a:lnTo>
                    <a:pt x="1012" y="303"/>
                  </a:lnTo>
                  <a:lnTo>
                    <a:pt x="1012" y="300"/>
                  </a:lnTo>
                  <a:lnTo>
                    <a:pt x="1012" y="300"/>
                  </a:lnTo>
                  <a:lnTo>
                    <a:pt x="1014" y="300"/>
                  </a:lnTo>
                  <a:close/>
                  <a:moveTo>
                    <a:pt x="953" y="501"/>
                  </a:moveTo>
                  <a:lnTo>
                    <a:pt x="953" y="501"/>
                  </a:lnTo>
                  <a:lnTo>
                    <a:pt x="956" y="499"/>
                  </a:lnTo>
                  <a:lnTo>
                    <a:pt x="956" y="499"/>
                  </a:lnTo>
                  <a:lnTo>
                    <a:pt x="958" y="499"/>
                  </a:lnTo>
                  <a:lnTo>
                    <a:pt x="958" y="496"/>
                  </a:lnTo>
                  <a:lnTo>
                    <a:pt x="958" y="496"/>
                  </a:lnTo>
                  <a:lnTo>
                    <a:pt x="958" y="496"/>
                  </a:lnTo>
                  <a:lnTo>
                    <a:pt x="956" y="496"/>
                  </a:lnTo>
                  <a:lnTo>
                    <a:pt x="956" y="496"/>
                  </a:lnTo>
                  <a:lnTo>
                    <a:pt x="953" y="499"/>
                  </a:lnTo>
                  <a:lnTo>
                    <a:pt x="953" y="499"/>
                  </a:lnTo>
                  <a:lnTo>
                    <a:pt x="951" y="501"/>
                  </a:lnTo>
                  <a:lnTo>
                    <a:pt x="951" y="501"/>
                  </a:lnTo>
                  <a:lnTo>
                    <a:pt x="951" y="501"/>
                  </a:lnTo>
                  <a:lnTo>
                    <a:pt x="953" y="501"/>
                  </a:lnTo>
                  <a:close/>
                  <a:moveTo>
                    <a:pt x="803" y="382"/>
                  </a:moveTo>
                  <a:lnTo>
                    <a:pt x="803" y="382"/>
                  </a:lnTo>
                  <a:lnTo>
                    <a:pt x="805" y="382"/>
                  </a:lnTo>
                  <a:lnTo>
                    <a:pt x="805" y="382"/>
                  </a:lnTo>
                  <a:lnTo>
                    <a:pt x="805" y="382"/>
                  </a:lnTo>
                  <a:lnTo>
                    <a:pt x="805" y="382"/>
                  </a:lnTo>
                  <a:lnTo>
                    <a:pt x="805" y="379"/>
                  </a:lnTo>
                  <a:lnTo>
                    <a:pt x="803" y="382"/>
                  </a:lnTo>
                  <a:close/>
                  <a:moveTo>
                    <a:pt x="877" y="565"/>
                  </a:moveTo>
                  <a:lnTo>
                    <a:pt x="874" y="565"/>
                  </a:lnTo>
                  <a:lnTo>
                    <a:pt x="864" y="565"/>
                  </a:lnTo>
                  <a:lnTo>
                    <a:pt x="864" y="565"/>
                  </a:lnTo>
                  <a:lnTo>
                    <a:pt x="861" y="565"/>
                  </a:lnTo>
                  <a:lnTo>
                    <a:pt x="859" y="568"/>
                  </a:lnTo>
                  <a:lnTo>
                    <a:pt x="859" y="568"/>
                  </a:lnTo>
                  <a:lnTo>
                    <a:pt x="861" y="570"/>
                  </a:lnTo>
                  <a:lnTo>
                    <a:pt x="869" y="573"/>
                  </a:lnTo>
                  <a:lnTo>
                    <a:pt x="872" y="573"/>
                  </a:lnTo>
                  <a:lnTo>
                    <a:pt x="874" y="575"/>
                  </a:lnTo>
                  <a:lnTo>
                    <a:pt x="877" y="575"/>
                  </a:lnTo>
                  <a:lnTo>
                    <a:pt x="877" y="575"/>
                  </a:lnTo>
                  <a:lnTo>
                    <a:pt x="879" y="573"/>
                  </a:lnTo>
                  <a:lnTo>
                    <a:pt x="879" y="573"/>
                  </a:lnTo>
                  <a:lnTo>
                    <a:pt x="879" y="570"/>
                  </a:lnTo>
                  <a:lnTo>
                    <a:pt x="879" y="568"/>
                  </a:lnTo>
                  <a:lnTo>
                    <a:pt x="877" y="565"/>
                  </a:lnTo>
                  <a:close/>
                  <a:moveTo>
                    <a:pt x="1305" y="644"/>
                  </a:moveTo>
                  <a:lnTo>
                    <a:pt x="1310" y="641"/>
                  </a:lnTo>
                  <a:lnTo>
                    <a:pt x="1310" y="641"/>
                  </a:lnTo>
                  <a:lnTo>
                    <a:pt x="1307" y="641"/>
                  </a:lnTo>
                  <a:lnTo>
                    <a:pt x="1307" y="641"/>
                  </a:lnTo>
                  <a:lnTo>
                    <a:pt x="1305" y="641"/>
                  </a:lnTo>
                  <a:lnTo>
                    <a:pt x="1305" y="641"/>
                  </a:lnTo>
                  <a:lnTo>
                    <a:pt x="1305" y="641"/>
                  </a:lnTo>
                  <a:lnTo>
                    <a:pt x="1305" y="641"/>
                  </a:lnTo>
                  <a:lnTo>
                    <a:pt x="1302" y="644"/>
                  </a:lnTo>
                  <a:lnTo>
                    <a:pt x="1305" y="644"/>
                  </a:lnTo>
                  <a:lnTo>
                    <a:pt x="1305" y="644"/>
                  </a:lnTo>
                  <a:close/>
                  <a:moveTo>
                    <a:pt x="897" y="562"/>
                  </a:moveTo>
                  <a:lnTo>
                    <a:pt x="897" y="562"/>
                  </a:lnTo>
                  <a:lnTo>
                    <a:pt x="897" y="562"/>
                  </a:lnTo>
                  <a:lnTo>
                    <a:pt x="897" y="562"/>
                  </a:lnTo>
                  <a:lnTo>
                    <a:pt x="897" y="562"/>
                  </a:lnTo>
                  <a:lnTo>
                    <a:pt x="897" y="562"/>
                  </a:lnTo>
                  <a:lnTo>
                    <a:pt x="897" y="562"/>
                  </a:lnTo>
                  <a:lnTo>
                    <a:pt x="897" y="560"/>
                  </a:lnTo>
                  <a:lnTo>
                    <a:pt x="897" y="562"/>
                  </a:lnTo>
                  <a:close/>
                  <a:moveTo>
                    <a:pt x="887" y="590"/>
                  </a:moveTo>
                  <a:lnTo>
                    <a:pt x="887" y="590"/>
                  </a:lnTo>
                  <a:lnTo>
                    <a:pt x="889" y="593"/>
                  </a:lnTo>
                  <a:lnTo>
                    <a:pt x="889" y="593"/>
                  </a:lnTo>
                  <a:lnTo>
                    <a:pt x="892" y="593"/>
                  </a:lnTo>
                  <a:lnTo>
                    <a:pt x="892" y="590"/>
                  </a:lnTo>
                  <a:lnTo>
                    <a:pt x="892" y="590"/>
                  </a:lnTo>
                  <a:lnTo>
                    <a:pt x="892" y="590"/>
                  </a:lnTo>
                  <a:lnTo>
                    <a:pt x="895" y="590"/>
                  </a:lnTo>
                  <a:lnTo>
                    <a:pt x="895" y="588"/>
                  </a:lnTo>
                  <a:lnTo>
                    <a:pt x="895" y="588"/>
                  </a:lnTo>
                  <a:lnTo>
                    <a:pt x="887" y="590"/>
                  </a:lnTo>
                  <a:close/>
                  <a:moveTo>
                    <a:pt x="1152" y="255"/>
                  </a:moveTo>
                  <a:lnTo>
                    <a:pt x="1152" y="255"/>
                  </a:lnTo>
                  <a:lnTo>
                    <a:pt x="1147" y="257"/>
                  </a:lnTo>
                  <a:lnTo>
                    <a:pt x="1142" y="260"/>
                  </a:lnTo>
                  <a:lnTo>
                    <a:pt x="1139" y="262"/>
                  </a:lnTo>
                  <a:lnTo>
                    <a:pt x="1137" y="265"/>
                  </a:lnTo>
                  <a:lnTo>
                    <a:pt x="1137" y="265"/>
                  </a:lnTo>
                  <a:lnTo>
                    <a:pt x="1134" y="270"/>
                  </a:lnTo>
                  <a:lnTo>
                    <a:pt x="1134" y="270"/>
                  </a:lnTo>
                  <a:lnTo>
                    <a:pt x="1134" y="272"/>
                  </a:lnTo>
                  <a:lnTo>
                    <a:pt x="1134" y="272"/>
                  </a:lnTo>
                  <a:lnTo>
                    <a:pt x="1134" y="275"/>
                  </a:lnTo>
                  <a:lnTo>
                    <a:pt x="1137" y="275"/>
                  </a:lnTo>
                  <a:lnTo>
                    <a:pt x="1139" y="275"/>
                  </a:lnTo>
                  <a:lnTo>
                    <a:pt x="1144" y="272"/>
                  </a:lnTo>
                  <a:lnTo>
                    <a:pt x="1149" y="272"/>
                  </a:lnTo>
                  <a:lnTo>
                    <a:pt x="1152" y="272"/>
                  </a:lnTo>
                  <a:lnTo>
                    <a:pt x="1160" y="272"/>
                  </a:lnTo>
                  <a:lnTo>
                    <a:pt x="1162" y="270"/>
                  </a:lnTo>
                  <a:lnTo>
                    <a:pt x="1165" y="270"/>
                  </a:lnTo>
                  <a:lnTo>
                    <a:pt x="1165" y="267"/>
                  </a:lnTo>
                  <a:lnTo>
                    <a:pt x="1167" y="267"/>
                  </a:lnTo>
                  <a:lnTo>
                    <a:pt x="1170" y="265"/>
                  </a:lnTo>
                  <a:lnTo>
                    <a:pt x="1172" y="260"/>
                  </a:lnTo>
                  <a:lnTo>
                    <a:pt x="1172" y="260"/>
                  </a:lnTo>
                  <a:lnTo>
                    <a:pt x="1175" y="257"/>
                  </a:lnTo>
                  <a:lnTo>
                    <a:pt x="1175" y="257"/>
                  </a:lnTo>
                  <a:lnTo>
                    <a:pt x="1175" y="257"/>
                  </a:lnTo>
                  <a:lnTo>
                    <a:pt x="1175" y="255"/>
                  </a:lnTo>
                  <a:lnTo>
                    <a:pt x="1175" y="255"/>
                  </a:lnTo>
                  <a:lnTo>
                    <a:pt x="1175" y="255"/>
                  </a:lnTo>
                  <a:lnTo>
                    <a:pt x="1170" y="252"/>
                  </a:lnTo>
                  <a:lnTo>
                    <a:pt x="1167" y="252"/>
                  </a:lnTo>
                  <a:lnTo>
                    <a:pt x="1165" y="252"/>
                  </a:lnTo>
                  <a:lnTo>
                    <a:pt x="1162" y="252"/>
                  </a:lnTo>
                  <a:lnTo>
                    <a:pt x="1162" y="252"/>
                  </a:lnTo>
                  <a:lnTo>
                    <a:pt x="1160" y="252"/>
                  </a:lnTo>
                  <a:lnTo>
                    <a:pt x="1155" y="255"/>
                  </a:lnTo>
                  <a:lnTo>
                    <a:pt x="1152" y="255"/>
                  </a:lnTo>
                  <a:close/>
                  <a:moveTo>
                    <a:pt x="1183" y="247"/>
                  </a:moveTo>
                  <a:lnTo>
                    <a:pt x="1183" y="244"/>
                  </a:lnTo>
                  <a:lnTo>
                    <a:pt x="1180" y="247"/>
                  </a:lnTo>
                  <a:lnTo>
                    <a:pt x="1177" y="247"/>
                  </a:lnTo>
                  <a:lnTo>
                    <a:pt x="1177" y="247"/>
                  </a:lnTo>
                  <a:lnTo>
                    <a:pt x="1177" y="249"/>
                  </a:lnTo>
                  <a:lnTo>
                    <a:pt x="1175" y="249"/>
                  </a:lnTo>
                  <a:lnTo>
                    <a:pt x="1177" y="249"/>
                  </a:lnTo>
                  <a:lnTo>
                    <a:pt x="1180" y="252"/>
                  </a:lnTo>
                  <a:lnTo>
                    <a:pt x="1180" y="252"/>
                  </a:lnTo>
                  <a:lnTo>
                    <a:pt x="1180" y="252"/>
                  </a:lnTo>
                  <a:lnTo>
                    <a:pt x="1183" y="252"/>
                  </a:lnTo>
                  <a:lnTo>
                    <a:pt x="1183" y="252"/>
                  </a:lnTo>
                  <a:lnTo>
                    <a:pt x="1183" y="252"/>
                  </a:lnTo>
                  <a:lnTo>
                    <a:pt x="1183" y="252"/>
                  </a:lnTo>
                  <a:lnTo>
                    <a:pt x="1183" y="249"/>
                  </a:lnTo>
                  <a:lnTo>
                    <a:pt x="1185" y="249"/>
                  </a:lnTo>
                  <a:lnTo>
                    <a:pt x="1185" y="249"/>
                  </a:lnTo>
                  <a:lnTo>
                    <a:pt x="1185" y="249"/>
                  </a:lnTo>
                  <a:lnTo>
                    <a:pt x="1185" y="247"/>
                  </a:lnTo>
                  <a:lnTo>
                    <a:pt x="1183" y="247"/>
                  </a:lnTo>
                  <a:close/>
                  <a:moveTo>
                    <a:pt x="1307" y="590"/>
                  </a:moveTo>
                  <a:lnTo>
                    <a:pt x="1305" y="590"/>
                  </a:lnTo>
                  <a:lnTo>
                    <a:pt x="1302" y="593"/>
                  </a:lnTo>
                  <a:lnTo>
                    <a:pt x="1302" y="593"/>
                  </a:lnTo>
                  <a:lnTo>
                    <a:pt x="1302" y="593"/>
                  </a:lnTo>
                  <a:lnTo>
                    <a:pt x="1305" y="593"/>
                  </a:lnTo>
                  <a:lnTo>
                    <a:pt x="1305" y="593"/>
                  </a:lnTo>
                  <a:lnTo>
                    <a:pt x="1307" y="590"/>
                  </a:lnTo>
                  <a:close/>
                  <a:moveTo>
                    <a:pt x="1152" y="227"/>
                  </a:moveTo>
                  <a:lnTo>
                    <a:pt x="1152" y="227"/>
                  </a:lnTo>
                  <a:lnTo>
                    <a:pt x="1152" y="227"/>
                  </a:lnTo>
                  <a:lnTo>
                    <a:pt x="1152" y="227"/>
                  </a:lnTo>
                  <a:lnTo>
                    <a:pt x="1149" y="227"/>
                  </a:lnTo>
                  <a:lnTo>
                    <a:pt x="1149" y="227"/>
                  </a:lnTo>
                  <a:lnTo>
                    <a:pt x="1147" y="227"/>
                  </a:lnTo>
                  <a:lnTo>
                    <a:pt x="1142" y="229"/>
                  </a:lnTo>
                  <a:lnTo>
                    <a:pt x="1139" y="232"/>
                  </a:lnTo>
                  <a:lnTo>
                    <a:pt x="1142" y="232"/>
                  </a:lnTo>
                  <a:lnTo>
                    <a:pt x="1142" y="229"/>
                  </a:lnTo>
                  <a:lnTo>
                    <a:pt x="1144" y="229"/>
                  </a:lnTo>
                  <a:lnTo>
                    <a:pt x="1147" y="229"/>
                  </a:lnTo>
                  <a:lnTo>
                    <a:pt x="1149" y="229"/>
                  </a:lnTo>
                  <a:lnTo>
                    <a:pt x="1155" y="229"/>
                  </a:lnTo>
                  <a:lnTo>
                    <a:pt x="1155" y="227"/>
                  </a:lnTo>
                  <a:lnTo>
                    <a:pt x="1155" y="227"/>
                  </a:lnTo>
                  <a:lnTo>
                    <a:pt x="1155" y="227"/>
                  </a:lnTo>
                  <a:lnTo>
                    <a:pt x="1155" y="227"/>
                  </a:lnTo>
                  <a:lnTo>
                    <a:pt x="1152" y="227"/>
                  </a:lnTo>
                  <a:close/>
                  <a:moveTo>
                    <a:pt x="1180" y="257"/>
                  </a:moveTo>
                  <a:lnTo>
                    <a:pt x="1177" y="260"/>
                  </a:lnTo>
                  <a:lnTo>
                    <a:pt x="1177" y="260"/>
                  </a:lnTo>
                  <a:lnTo>
                    <a:pt x="1177" y="260"/>
                  </a:lnTo>
                  <a:lnTo>
                    <a:pt x="1177" y="262"/>
                  </a:lnTo>
                  <a:lnTo>
                    <a:pt x="1180" y="262"/>
                  </a:lnTo>
                  <a:lnTo>
                    <a:pt x="1180" y="262"/>
                  </a:lnTo>
                  <a:lnTo>
                    <a:pt x="1185" y="262"/>
                  </a:lnTo>
                  <a:lnTo>
                    <a:pt x="1193" y="262"/>
                  </a:lnTo>
                  <a:lnTo>
                    <a:pt x="1195" y="262"/>
                  </a:lnTo>
                  <a:lnTo>
                    <a:pt x="1195" y="262"/>
                  </a:lnTo>
                  <a:lnTo>
                    <a:pt x="1195" y="262"/>
                  </a:lnTo>
                  <a:lnTo>
                    <a:pt x="1198" y="260"/>
                  </a:lnTo>
                  <a:lnTo>
                    <a:pt x="1198" y="260"/>
                  </a:lnTo>
                  <a:lnTo>
                    <a:pt x="1198" y="260"/>
                  </a:lnTo>
                  <a:lnTo>
                    <a:pt x="1195" y="260"/>
                  </a:lnTo>
                  <a:lnTo>
                    <a:pt x="1190" y="260"/>
                  </a:lnTo>
                  <a:lnTo>
                    <a:pt x="1188" y="257"/>
                  </a:lnTo>
                  <a:lnTo>
                    <a:pt x="1185" y="257"/>
                  </a:lnTo>
                  <a:lnTo>
                    <a:pt x="1180" y="257"/>
                  </a:lnTo>
                  <a:lnTo>
                    <a:pt x="1180" y="257"/>
                  </a:lnTo>
                  <a:close/>
                  <a:moveTo>
                    <a:pt x="1300" y="227"/>
                  </a:moveTo>
                  <a:lnTo>
                    <a:pt x="1300" y="227"/>
                  </a:lnTo>
                  <a:lnTo>
                    <a:pt x="1297" y="229"/>
                  </a:lnTo>
                  <a:lnTo>
                    <a:pt x="1295" y="229"/>
                  </a:lnTo>
                  <a:lnTo>
                    <a:pt x="1300" y="229"/>
                  </a:lnTo>
                  <a:lnTo>
                    <a:pt x="1300" y="229"/>
                  </a:lnTo>
                  <a:lnTo>
                    <a:pt x="1302" y="229"/>
                  </a:lnTo>
                  <a:lnTo>
                    <a:pt x="1302" y="227"/>
                  </a:lnTo>
                  <a:lnTo>
                    <a:pt x="1302" y="227"/>
                  </a:lnTo>
                  <a:lnTo>
                    <a:pt x="1302" y="227"/>
                  </a:lnTo>
                  <a:lnTo>
                    <a:pt x="1300" y="227"/>
                  </a:lnTo>
                  <a:close/>
                  <a:moveTo>
                    <a:pt x="1348" y="275"/>
                  </a:moveTo>
                  <a:lnTo>
                    <a:pt x="1351" y="275"/>
                  </a:lnTo>
                  <a:lnTo>
                    <a:pt x="1351" y="275"/>
                  </a:lnTo>
                  <a:lnTo>
                    <a:pt x="1351" y="275"/>
                  </a:lnTo>
                  <a:lnTo>
                    <a:pt x="1348" y="275"/>
                  </a:lnTo>
                  <a:lnTo>
                    <a:pt x="1346" y="275"/>
                  </a:lnTo>
                  <a:lnTo>
                    <a:pt x="1346" y="277"/>
                  </a:lnTo>
                  <a:lnTo>
                    <a:pt x="1343" y="277"/>
                  </a:lnTo>
                  <a:lnTo>
                    <a:pt x="1343" y="277"/>
                  </a:lnTo>
                  <a:lnTo>
                    <a:pt x="1343" y="277"/>
                  </a:lnTo>
                  <a:lnTo>
                    <a:pt x="1346" y="277"/>
                  </a:lnTo>
                  <a:lnTo>
                    <a:pt x="1348" y="275"/>
                  </a:lnTo>
                  <a:close/>
                  <a:moveTo>
                    <a:pt x="1239" y="115"/>
                  </a:moveTo>
                  <a:lnTo>
                    <a:pt x="1241" y="115"/>
                  </a:lnTo>
                  <a:lnTo>
                    <a:pt x="1244" y="115"/>
                  </a:lnTo>
                  <a:lnTo>
                    <a:pt x="1244" y="112"/>
                  </a:lnTo>
                  <a:lnTo>
                    <a:pt x="1244" y="112"/>
                  </a:lnTo>
                  <a:lnTo>
                    <a:pt x="1246" y="112"/>
                  </a:lnTo>
                  <a:lnTo>
                    <a:pt x="1249" y="109"/>
                  </a:lnTo>
                  <a:lnTo>
                    <a:pt x="1249" y="109"/>
                  </a:lnTo>
                  <a:lnTo>
                    <a:pt x="1249" y="109"/>
                  </a:lnTo>
                  <a:lnTo>
                    <a:pt x="1246" y="109"/>
                  </a:lnTo>
                  <a:lnTo>
                    <a:pt x="1241" y="112"/>
                  </a:lnTo>
                  <a:lnTo>
                    <a:pt x="1239" y="112"/>
                  </a:lnTo>
                  <a:lnTo>
                    <a:pt x="1234" y="112"/>
                  </a:lnTo>
                  <a:lnTo>
                    <a:pt x="1234" y="115"/>
                  </a:lnTo>
                  <a:lnTo>
                    <a:pt x="1236" y="115"/>
                  </a:lnTo>
                  <a:lnTo>
                    <a:pt x="1239" y="115"/>
                  </a:lnTo>
                  <a:close/>
                  <a:moveTo>
                    <a:pt x="1578" y="10"/>
                  </a:moveTo>
                  <a:lnTo>
                    <a:pt x="1578" y="10"/>
                  </a:lnTo>
                  <a:lnTo>
                    <a:pt x="1578" y="10"/>
                  </a:lnTo>
                  <a:lnTo>
                    <a:pt x="1575" y="8"/>
                  </a:lnTo>
                  <a:lnTo>
                    <a:pt x="1565" y="8"/>
                  </a:lnTo>
                  <a:lnTo>
                    <a:pt x="1555" y="10"/>
                  </a:lnTo>
                  <a:lnTo>
                    <a:pt x="1555" y="10"/>
                  </a:lnTo>
                  <a:lnTo>
                    <a:pt x="1560" y="8"/>
                  </a:lnTo>
                  <a:lnTo>
                    <a:pt x="1560" y="8"/>
                  </a:lnTo>
                  <a:lnTo>
                    <a:pt x="1557" y="8"/>
                  </a:lnTo>
                  <a:lnTo>
                    <a:pt x="1555" y="5"/>
                  </a:lnTo>
                  <a:lnTo>
                    <a:pt x="1555" y="5"/>
                  </a:lnTo>
                  <a:lnTo>
                    <a:pt x="1555" y="5"/>
                  </a:lnTo>
                  <a:lnTo>
                    <a:pt x="1557" y="5"/>
                  </a:lnTo>
                  <a:lnTo>
                    <a:pt x="1557" y="5"/>
                  </a:lnTo>
                  <a:lnTo>
                    <a:pt x="1557" y="5"/>
                  </a:lnTo>
                  <a:lnTo>
                    <a:pt x="1557" y="5"/>
                  </a:lnTo>
                  <a:lnTo>
                    <a:pt x="1552" y="5"/>
                  </a:lnTo>
                  <a:lnTo>
                    <a:pt x="1550" y="5"/>
                  </a:lnTo>
                  <a:lnTo>
                    <a:pt x="1547" y="5"/>
                  </a:lnTo>
                  <a:lnTo>
                    <a:pt x="1544" y="5"/>
                  </a:lnTo>
                  <a:lnTo>
                    <a:pt x="1544" y="5"/>
                  </a:lnTo>
                  <a:lnTo>
                    <a:pt x="1544" y="3"/>
                  </a:lnTo>
                  <a:lnTo>
                    <a:pt x="1542" y="3"/>
                  </a:lnTo>
                  <a:lnTo>
                    <a:pt x="1542" y="3"/>
                  </a:lnTo>
                  <a:lnTo>
                    <a:pt x="1539" y="3"/>
                  </a:lnTo>
                  <a:lnTo>
                    <a:pt x="1539" y="3"/>
                  </a:lnTo>
                  <a:lnTo>
                    <a:pt x="1537" y="5"/>
                  </a:lnTo>
                  <a:lnTo>
                    <a:pt x="1537" y="5"/>
                  </a:lnTo>
                  <a:lnTo>
                    <a:pt x="1534" y="5"/>
                  </a:lnTo>
                  <a:lnTo>
                    <a:pt x="1534" y="5"/>
                  </a:lnTo>
                  <a:lnTo>
                    <a:pt x="1532" y="5"/>
                  </a:lnTo>
                  <a:lnTo>
                    <a:pt x="1527" y="5"/>
                  </a:lnTo>
                  <a:lnTo>
                    <a:pt x="1519" y="5"/>
                  </a:lnTo>
                  <a:lnTo>
                    <a:pt x="1516" y="5"/>
                  </a:lnTo>
                  <a:lnTo>
                    <a:pt x="1514" y="5"/>
                  </a:lnTo>
                  <a:lnTo>
                    <a:pt x="1509" y="8"/>
                  </a:lnTo>
                  <a:lnTo>
                    <a:pt x="1506" y="8"/>
                  </a:lnTo>
                  <a:lnTo>
                    <a:pt x="1499" y="8"/>
                  </a:lnTo>
                  <a:lnTo>
                    <a:pt x="1496" y="8"/>
                  </a:lnTo>
                  <a:lnTo>
                    <a:pt x="1499" y="5"/>
                  </a:lnTo>
                  <a:lnTo>
                    <a:pt x="1519" y="5"/>
                  </a:lnTo>
                  <a:lnTo>
                    <a:pt x="1522" y="5"/>
                  </a:lnTo>
                  <a:lnTo>
                    <a:pt x="1524" y="3"/>
                  </a:lnTo>
                  <a:lnTo>
                    <a:pt x="1524" y="3"/>
                  </a:lnTo>
                  <a:lnTo>
                    <a:pt x="1524" y="3"/>
                  </a:lnTo>
                  <a:lnTo>
                    <a:pt x="1514" y="3"/>
                  </a:lnTo>
                  <a:lnTo>
                    <a:pt x="1511" y="3"/>
                  </a:lnTo>
                  <a:lnTo>
                    <a:pt x="1506" y="3"/>
                  </a:lnTo>
                  <a:lnTo>
                    <a:pt x="1506" y="3"/>
                  </a:lnTo>
                  <a:lnTo>
                    <a:pt x="1504" y="3"/>
                  </a:lnTo>
                  <a:lnTo>
                    <a:pt x="1499" y="3"/>
                  </a:lnTo>
                  <a:lnTo>
                    <a:pt x="1491" y="3"/>
                  </a:lnTo>
                  <a:lnTo>
                    <a:pt x="1488" y="3"/>
                  </a:lnTo>
                  <a:lnTo>
                    <a:pt x="1488" y="0"/>
                  </a:lnTo>
                  <a:lnTo>
                    <a:pt x="1486" y="0"/>
                  </a:lnTo>
                  <a:lnTo>
                    <a:pt x="1486" y="0"/>
                  </a:lnTo>
                  <a:lnTo>
                    <a:pt x="1476" y="0"/>
                  </a:lnTo>
                  <a:lnTo>
                    <a:pt x="1473" y="0"/>
                  </a:lnTo>
                  <a:lnTo>
                    <a:pt x="1468" y="3"/>
                  </a:lnTo>
                  <a:lnTo>
                    <a:pt x="1468" y="3"/>
                  </a:lnTo>
                  <a:lnTo>
                    <a:pt x="1468" y="3"/>
                  </a:lnTo>
                  <a:lnTo>
                    <a:pt x="1471" y="3"/>
                  </a:lnTo>
                  <a:lnTo>
                    <a:pt x="1471" y="3"/>
                  </a:lnTo>
                  <a:lnTo>
                    <a:pt x="1468" y="3"/>
                  </a:lnTo>
                  <a:lnTo>
                    <a:pt x="1465" y="3"/>
                  </a:lnTo>
                  <a:lnTo>
                    <a:pt x="1460" y="0"/>
                  </a:lnTo>
                  <a:lnTo>
                    <a:pt x="1460" y="0"/>
                  </a:lnTo>
                  <a:lnTo>
                    <a:pt x="1450" y="0"/>
                  </a:lnTo>
                  <a:lnTo>
                    <a:pt x="1445" y="3"/>
                  </a:lnTo>
                  <a:lnTo>
                    <a:pt x="1443" y="3"/>
                  </a:lnTo>
                  <a:lnTo>
                    <a:pt x="1443" y="3"/>
                  </a:lnTo>
                  <a:lnTo>
                    <a:pt x="1440" y="3"/>
                  </a:lnTo>
                  <a:lnTo>
                    <a:pt x="1443" y="5"/>
                  </a:lnTo>
                  <a:lnTo>
                    <a:pt x="1448" y="5"/>
                  </a:lnTo>
                  <a:lnTo>
                    <a:pt x="1448" y="5"/>
                  </a:lnTo>
                  <a:lnTo>
                    <a:pt x="1440" y="5"/>
                  </a:lnTo>
                  <a:lnTo>
                    <a:pt x="1437" y="5"/>
                  </a:lnTo>
                  <a:lnTo>
                    <a:pt x="1435" y="3"/>
                  </a:lnTo>
                  <a:lnTo>
                    <a:pt x="1435" y="3"/>
                  </a:lnTo>
                  <a:lnTo>
                    <a:pt x="1432" y="3"/>
                  </a:lnTo>
                  <a:lnTo>
                    <a:pt x="1432" y="3"/>
                  </a:lnTo>
                  <a:lnTo>
                    <a:pt x="1417" y="3"/>
                  </a:lnTo>
                  <a:lnTo>
                    <a:pt x="1399" y="3"/>
                  </a:lnTo>
                  <a:lnTo>
                    <a:pt x="1399" y="3"/>
                  </a:lnTo>
                  <a:lnTo>
                    <a:pt x="1399" y="3"/>
                  </a:lnTo>
                  <a:lnTo>
                    <a:pt x="1404" y="5"/>
                  </a:lnTo>
                  <a:lnTo>
                    <a:pt x="1407" y="5"/>
                  </a:lnTo>
                  <a:lnTo>
                    <a:pt x="1407" y="5"/>
                  </a:lnTo>
                  <a:lnTo>
                    <a:pt x="1409" y="8"/>
                  </a:lnTo>
                  <a:lnTo>
                    <a:pt x="1409" y="8"/>
                  </a:lnTo>
                  <a:lnTo>
                    <a:pt x="1407" y="8"/>
                  </a:lnTo>
                  <a:lnTo>
                    <a:pt x="1404" y="8"/>
                  </a:lnTo>
                  <a:lnTo>
                    <a:pt x="1402" y="8"/>
                  </a:lnTo>
                  <a:lnTo>
                    <a:pt x="1402" y="8"/>
                  </a:lnTo>
                  <a:lnTo>
                    <a:pt x="1402" y="8"/>
                  </a:lnTo>
                  <a:lnTo>
                    <a:pt x="1402" y="8"/>
                  </a:lnTo>
                  <a:lnTo>
                    <a:pt x="1394" y="5"/>
                  </a:lnTo>
                  <a:lnTo>
                    <a:pt x="1392" y="3"/>
                  </a:lnTo>
                  <a:lnTo>
                    <a:pt x="1392" y="3"/>
                  </a:lnTo>
                  <a:lnTo>
                    <a:pt x="1386" y="3"/>
                  </a:lnTo>
                  <a:lnTo>
                    <a:pt x="1381" y="3"/>
                  </a:lnTo>
                  <a:lnTo>
                    <a:pt x="1374" y="3"/>
                  </a:lnTo>
                  <a:lnTo>
                    <a:pt x="1366" y="3"/>
                  </a:lnTo>
                  <a:lnTo>
                    <a:pt x="1361" y="3"/>
                  </a:lnTo>
                  <a:lnTo>
                    <a:pt x="1361" y="3"/>
                  </a:lnTo>
                  <a:lnTo>
                    <a:pt x="1364" y="5"/>
                  </a:lnTo>
                  <a:lnTo>
                    <a:pt x="1364" y="5"/>
                  </a:lnTo>
                  <a:lnTo>
                    <a:pt x="1366" y="5"/>
                  </a:lnTo>
                  <a:lnTo>
                    <a:pt x="1369" y="5"/>
                  </a:lnTo>
                  <a:lnTo>
                    <a:pt x="1374" y="5"/>
                  </a:lnTo>
                  <a:lnTo>
                    <a:pt x="1374" y="5"/>
                  </a:lnTo>
                  <a:lnTo>
                    <a:pt x="1371" y="5"/>
                  </a:lnTo>
                  <a:lnTo>
                    <a:pt x="1358" y="5"/>
                  </a:lnTo>
                  <a:lnTo>
                    <a:pt x="1353" y="5"/>
                  </a:lnTo>
                  <a:lnTo>
                    <a:pt x="1348" y="5"/>
                  </a:lnTo>
                  <a:lnTo>
                    <a:pt x="1346" y="5"/>
                  </a:lnTo>
                  <a:lnTo>
                    <a:pt x="1346" y="5"/>
                  </a:lnTo>
                  <a:lnTo>
                    <a:pt x="1346" y="5"/>
                  </a:lnTo>
                  <a:lnTo>
                    <a:pt x="1348" y="8"/>
                  </a:lnTo>
                  <a:lnTo>
                    <a:pt x="1346" y="8"/>
                  </a:lnTo>
                  <a:lnTo>
                    <a:pt x="1343" y="8"/>
                  </a:lnTo>
                  <a:lnTo>
                    <a:pt x="1341" y="8"/>
                  </a:lnTo>
                  <a:lnTo>
                    <a:pt x="1338" y="8"/>
                  </a:lnTo>
                  <a:lnTo>
                    <a:pt x="1333" y="8"/>
                  </a:lnTo>
                  <a:lnTo>
                    <a:pt x="1333" y="8"/>
                  </a:lnTo>
                  <a:lnTo>
                    <a:pt x="1333" y="8"/>
                  </a:lnTo>
                  <a:lnTo>
                    <a:pt x="1335" y="8"/>
                  </a:lnTo>
                  <a:lnTo>
                    <a:pt x="1335" y="8"/>
                  </a:lnTo>
                  <a:lnTo>
                    <a:pt x="1330" y="8"/>
                  </a:lnTo>
                  <a:lnTo>
                    <a:pt x="1328" y="10"/>
                  </a:lnTo>
                  <a:lnTo>
                    <a:pt x="1325" y="10"/>
                  </a:lnTo>
                  <a:lnTo>
                    <a:pt x="1325" y="10"/>
                  </a:lnTo>
                  <a:lnTo>
                    <a:pt x="1325" y="10"/>
                  </a:lnTo>
                  <a:lnTo>
                    <a:pt x="1328" y="13"/>
                  </a:lnTo>
                  <a:lnTo>
                    <a:pt x="1333" y="13"/>
                  </a:lnTo>
                  <a:lnTo>
                    <a:pt x="1346" y="15"/>
                  </a:lnTo>
                  <a:lnTo>
                    <a:pt x="1351" y="15"/>
                  </a:lnTo>
                  <a:lnTo>
                    <a:pt x="1351" y="18"/>
                  </a:lnTo>
                  <a:lnTo>
                    <a:pt x="1351" y="18"/>
                  </a:lnTo>
                  <a:lnTo>
                    <a:pt x="1348" y="18"/>
                  </a:lnTo>
                  <a:lnTo>
                    <a:pt x="1346" y="15"/>
                  </a:lnTo>
                  <a:lnTo>
                    <a:pt x="1343" y="15"/>
                  </a:lnTo>
                  <a:lnTo>
                    <a:pt x="1341" y="15"/>
                  </a:lnTo>
                  <a:lnTo>
                    <a:pt x="1330" y="13"/>
                  </a:lnTo>
                  <a:lnTo>
                    <a:pt x="1323" y="13"/>
                  </a:lnTo>
                  <a:lnTo>
                    <a:pt x="1320" y="13"/>
                  </a:lnTo>
                  <a:lnTo>
                    <a:pt x="1320" y="13"/>
                  </a:lnTo>
                  <a:lnTo>
                    <a:pt x="1318" y="13"/>
                  </a:lnTo>
                  <a:lnTo>
                    <a:pt x="1318" y="13"/>
                  </a:lnTo>
                  <a:lnTo>
                    <a:pt x="1318" y="13"/>
                  </a:lnTo>
                  <a:lnTo>
                    <a:pt x="1320" y="15"/>
                  </a:lnTo>
                  <a:lnTo>
                    <a:pt x="1320" y="15"/>
                  </a:lnTo>
                  <a:lnTo>
                    <a:pt x="1315" y="15"/>
                  </a:lnTo>
                  <a:lnTo>
                    <a:pt x="1315" y="15"/>
                  </a:lnTo>
                  <a:lnTo>
                    <a:pt x="1313" y="13"/>
                  </a:lnTo>
                  <a:lnTo>
                    <a:pt x="1313" y="13"/>
                  </a:lnTo>
                  <a:lnTo>
                    <a:pt x="1310" y="10"/>
                  </a:lnTo>
                  <a:lnTo>
                    <a:pt x="1307" y="10"/>
                  </a:lnTo>
                  <a:lnTo>
                    <a:pt x="1300" y="10"/>
                  </a:lnTo>
                  <a:lnTo>
                    <a:pt x="1300" y="10"/>
                  </a:lnTo>
                  <a:lnTo>
                    <a:pt x="1297" y="10"/>
                  </a:lnTo>
                  <a:lnTo>
                    <a:pt x="1297" y="10"/>
                  </a:lnTo>
                  <a:lnTo>
                    <a:pt x="1290" y="10"/>
                  </a:lnTo>
                  <a:lnTo>
                    <a:pt x="1287" y="10"/>
                  </a:lnTo>
                  <a:lnTo>
                    <a:pt x="1282" y="13"/>
                  </a:lnTo>
                  <a:lnTo>
                    <a:pt x="1279" y="13"/>
                  </a:lnTo>
                  <a:lnTo>
                    <a:pt x="1277" y="13"/>
                  </a:lnTo>
                  <a:lnTo>
                    <a:pt x="1272" y="13"/>
                  </a:lnTo>
                  <a:lnTo>
                    <a:pt x="1272" y="13"/>
                  </a:lnTo>
                  <a:lnTo>
                    <a:pt x="1285" y="15"/>
                  </a:lnTo>
                  <a:lnTo>
                    <a:pt x="1285" y="15"/>
                  </a:lnTo>
                  <a:lnTo>
                    <a:pt x="1285" y="15"/>
                  </a:lnTo>
                  <a:lnTo>
                    <a:pt x="1285" y="15"/>
                  </a:lnTo>
                  <a:lnTo>
                    <a:pt x="1282" y="15"/>
                  </a:lnTo>
                  <a:lnTo>
                    <a:pt x="1279" y="15"/>
                  </a:lnTo>
                  <a:lnTo>
                    <a:pt x="1277" y="15"/>
                  </a:lnTo>
                  <a:lnTo>
                    <a:pt x="1274" y="15"/>
                  </a:lnTo>
                  <a:lnTo>
                    <a:pt x="1272" y="15"/>
                  </a:lnTo>
                  <a:lnTo>
                    <a:pt x="1269" y="15"/>
                  </a:lnTo>
                  <a:lnTo>
                    <a:pt x="1267" y="15"/>
                  </a:lnTo>
                  <a:lnTo>
                    <a:pt x="1264" y="15"/>
                  </a:lnTo>
                  <a:lnTo>
                    <a:pt x="1262" y="15"/>
                  </a:lnTo>
                  <a:lnTo>
                    <a:pt x="1262" y="15"/>
                  </a:lnTo>
                  <a:lnTo>
                    <a:pt x="1259" y="15"/>
                  </a:lnTo>
                  <a:lnTo>
                    <a:pt x="1259" y="15"/>
                  </a:lnTo>
                  <a:lnTo>
                    <a:pt x="1256" y="15"/>
                  </a:lnTo>
                  <a:lnTo>
                    <a:pt x="1251" y="15"/>
                  </a:lnTo>
                  <a:lnTo>
                    <a:pt x="1244" y="15"/>
                  </a:lnTo>
                  <a:lnTo>
                    <a:pt x="1239" y="15"/>
                  </a:lnTo>
                  <a:lnTo>
                    <a:pt x="1236" y="15"/>
                  </a:lnTo>
                  <a:lnTo>
                    <a:pt x="1231" y="18"/>
                  </a:lnTo>
                  <a:lnTo>
                    <a:pt x="1228" y="18"/>
                  </a:lnTo>
                  <a:lnTo>
                    <a:pt x="1221" y="18"/>
                  </a:lnTo>
                  <a:lnTo>
                    <a:pt x="1218" y="18"/>
                  </a:lnTo>
                  <a:lnTo>
                    <a:pt x="1211" y="18"/>
                  </a:lnTo>
                  <a:lnTo>
                    <a:pt x="1206" y="18"/>
                  </a:lnTo>
                  <a:lnTo>
                    <a:pt x="1203" y="20"/>
                  </a:lnTo>
                  <a:lnTo>
                    <a:pt x="1200" y="20"/>
                  </a:lnTo>
                  <a:lnTo>
                    <a:pt x="1198" y="20"/>
                  </a:lnTo>
                  <a:lnTo>
                    <a:pt x="1200" y="20"/>
                  </a:lnTo>
                  <a:lnTo>
                    <a:pt x="1200" y="20"/>
                  </a:lnTo>
                  <a:lnTo>
                    <a:pt x="1203" y="20"/>
                  </a:lnTo>
                  <a:lnTo>
                    <a:pt x="1208" y="20"/>
                  </a:lnTo>
                  <a:lnTo>
                    <a:pt x="1211" y="20"/>
                  </a:lnTo>
                  <a:lnTo>
                    <a:pt x="1213" y="20"/>
                  </a:lnTo>
                  <a:lnTo>
                    <a:pt x="1213" y="20"/>
                  </a:lnTo>
                  <a:lnTo>
                    <a:pt x="1221" y="20"/>
                  </a:lnTo>
                  <a:lnTo>
                    <a:pt x="1221" y="20"/>
                  </a:lnTo>
                  <a:lnTo>
                    <a:pt x="1208" y="23"/>
                  </a:lnTo>
                  <a:lnTo>
                    <a:pt x="1206" y="23"/>
                  </a:lnTo>
                  <a:lnTo>
                    <a:pt x="1208" y="23"/>
                  </a:lnTo>
                  <a:lnTo>
                    <a:pt x="1211" y="23"/>
                  </a:lnTo>
                  <a:lnTo>
                    <a:pt x="1228" y="23"/>
                  </a:lnTo>
                  <a:lnTo>
                    <a:pt x="1236" y="23"/>
                  </a:lnTo>
                  <a:lnTo>
                    <a:pt x="1239" y="23"/>
                  </a:lnTo>
                  <a:lnTo>
                    <a:pt x="1246" y="23"/>
                  </a:lnTo>
                  <a:lnTo>
                    <a:pt x="1244" y="23"/>
                  </a:lnTo>
                  <a:lnTo>
                    <a:pt x="1239" y="23"/>
                  </a:lnTo>
                  <a:lnTo>
                    <a:pt x="1234" y="23"/>
                  </a:lnTo>
                  <a:lnTo>
                    <a:pt x="1228" y="23"/>
                  </a:lnTo>
                  <a:lnTo>
                    <a:pt x="1221" y="26"/>
                  </a:lnTo>
                  <a:lnTo>
                    <a:pt x="1216" y="26"/>
                  </a:lnTo>
                  <a:lnTo>
                    <a:pt x="1216" y="26"/>
                  </a:lnTo>
                  <a:lnTo>
                    <a:pt x="1221" y="26"/>
                  </a:lnTo>
                  <a:lnTo>
                    <a:pt x="1218" y="26"/>
                  </a:lnTo>
                  <a:lnTo>
                    <a:pt x="1216" y="26"/>
                  </a:lnTo>
                  <a:lnTo>
                    <a:pt x="1211" y="28"/>
                  </a:lnTo>
                  <a:lnTo>
                    <a:pt x="1208" y="28"/>
                  </a:lnTo>
                  <a:lnTo>
                    <a:pt x="1208" y="28"/>
                  </a:lnTo>
                  <a:lnTo>
                    <a:pt x="1211" y="31"/>
                  </a:lnTo>
                  <a:lnTo>
                    <a:pt x="1213" y="31"/>
                  </a:lnTo>
                  <a:lnTo>
                    <a:pt x="1221" y="28"/>
                  </a:lnTo>
                  <a:lnTo>
                    <a:pt x="1241" y="28"/>
                  </a:lnTo>
                  <a:lnTo>
                    <a:pt x="1249" y="28"/>
                  </a:lnTo>
                  <a:lnTo>
                    <a:pt x="1262" y="26"/>
                  </a:lnTo>
                  <a:lnTo>
                    <a:pt x="1267" y="26"/>
                  </a:lnTo>
                  <a:lnTo>
                    <a:pt x="1269" y="26"/>
                  </a:lnTo>
                  <a:lnTo>
                    <a:pt x="1272" y="26"/>
                  </a:lnTo>
                  <a:lnTo>
                    <a:pt x="1272" y="26"/>
                  </a:lnTo>
                  <a:lnTo>
                    <a:pt x="1259" y="28"/>
                  </a:lnTo>
                  <a:lnTo>
                    <a:pt x="1249" y="31"/>
                  </a:lnTo>
                  <a:lnTo>
                    <a:pt x="1244" y="31"/>
                  </a:lnTo>
                  <a:lnTo>
                    <a:pt x="1236" y="31"/>
                  </a:lnTo>
                  <a:lnTo>
                    <a:pt x="1226" y="31"/>
                  </a:lnTo>
                  <a:lnTo>
                    <a:pt x="1213" y="31"/>
                  </a:lnTo>
                  <a:lnTo>
                    <a:pt x="1213" y="31"/>
                  </a:lnTo>
                  <a:lnTo>
                    <a:pt x="1213" y="31"/>
                  </a:lnTo>
                  <a:lnTo>
                    <a:pt x="1213" y="33"/>
                  </a:lnTo>
                  <a:lnTo>
                    <a:pt x="1213" y="33"/>
                  </a:lnTo>
                  <a:lnTo>
                    <a:pt x="1216" y="33"/>
                  </a:lnTo>
                  <a:lnTo>
                    <a:pt x="1218" y="33"/>
                  </a:lnTo>
                  <a:lnTo>
                    <a:pt x="1221" y="33"/>
                  </a:lnTo>
                  <a:lnTo>
                    <a:pt x="1223" y="36"/>
                  </a:lnTo>
                  <a:lnTo>
                    <a:pt x="1226" y="36"/>
                  </a:lnTo>
                  <a:lnTo>
                    <a:pt x="1231" y="36"/>
                  </a:lnTo>
                  <a:lnTo>
                    <a:pt x="1236" y="33"/>
                  </a:lnTo>
                  <a:lnTo>
                    <a:pt x="1251" y="31"/>
                  </a:lnTo>
                  <a:lnTo>
                    <a:pt x="1254" y="31"/>
                  </a:lnTo>
                  <a:lnTo>
                    <a:pt x="1259" y="31"/>
                  </a:lnTo>
                  <a:lnTo>
                    <a:pt x="1274" y="28"/>
                  </a:lnTo>
                  <a:lnTo>
                    <a:pt x="1290" y="28"/>
                  </a:lnTo>
                  <a:lnTo>
                    <a:pt x="1290" y="28"/>
                  </a:lnTo>
                  <a:lnTo>
                    <a:pt x="1272" y="28"/>
                  </a:lnTo>
                  <a:lnTo>
                    <a:pt x="1264" y="31"/>
                  </a:lnTo>
                  <a:lnTo>
                    <a:pt x="1256" y="31"/>
                  </a:lnTo>
                  <a:lnTo>
                    <a:pt x="1246" y="33"/>
                  </a:lnTo>
                  <a:lnTo>
                    <a:pt x="1244" y="33"/>
                  </a:lnTo>
                  <a:lnTo>
                    <a:pt x="1241" y="36"/>
                  </a:lnTo>
                  <a:lnTo>
                    <a:pt x="1239" y="36"/>
                  </a:lnTo>
                  <a:lnTo>
                    <a:pt x="1239" y="36"/>
                  </a:lnTo>
                  <a:lnTo>
                    <a:pt x="1244" y="36"/>
                  </a:lnTo>
                  <a:lnTo>
                    <a:pt x="1244" y="36"/>
                  </a:lnTo>
                  <a:lnTo>
                    <a:pt x="1249" y="36"/>
                  </a:lnTo>
                  <a:lnTo>
                    <a:pt x="1254" y="36"/>
                  </a:lnTo>
                  <a:lnTo>
                    <a:pt x="1256" y="38"/>
                  </a:lnTo>
                  <a:lnTo>
                    <a:pt x="1264" y="36"/>
                  </a:lnTo>
                  <a:lnTo>
                    <a:pt x="1267" y="36"/>
                  </a:lnTo>
                  <a:lnTo>
                    <a:pt x="1269" y="36"/>
                  </a:lnTo>
                  <a:lnTo>
                    <a:pt x="1272" y="36"/>
                  </a:lnTo>
                  <a:lnTo>
                    <a:pt x="1277" y="36"/>
                  </a:lnTo>
                  <a:lnTo>
                    <a:pt x="1282" y="33"/>
                  </a:lnTo>
                  <a:lnTo>
                    <a:pt x="1290" y="33"/>
                  </a:lnTo>
                  <a:lnTo>
                    <a:pt x="1292" y="33"/>
                  </a:lnTo>
                  <a:lnTo>
                    <a:pt x="1297" y="33"/>
                  </a:lnTo>
                  <a:lnTo>
                    <a:pt x="1295" y="33"/>
                  </a:lnTo>
                  <a:lnTo>
                    <a:pt x="1287" y="36"/>
                  </a:lnTo>
                  <a:lnTo>
                    <a:pt x="1285" y="36"/>
                  </a:lnTo>
                  <a:lnTo>
                    <a:pt x="1287" y="36"/>
                  </a:lnTo>
                  <a:lnTo>
                    <a:pt x="1290" y="36"/>
                  </a:lnTo>
                  <a:lnTo>
                    <a:pt x="1302" y="36"/>
                  </a:lnTo>
                  <a:lnTo>
                    <a:pt x="1305" y="36"/>
                  </a:lnTo>
                  <a:lnTo>
                    <a:pt x="1310" y="36"/>
                  </a:lnTo>
                  <a:lnTo>
                    <a:pt x="1323" y="33"/>
                  </a:lnTo>
                  <a:lnTo>
                    <a:pt x="1328" y="33"/>
                  </a:lnTo>
                  <a:lnTo>
                    <a:pt x="1330" y="31"/>
                  </a:lnTo>
                  <a:lnTo>
                    <a:pt x="1333" y="31"/>
                  </a:lnTo>
                  <a:lnTo>
                    <a:pt x="1333" y="31"/>
                  </a:lnTo>
                  <a:lnTo>
                    <a:pt x="1335" y="31"/>
                  </a:lnTo>
                  <a:lnTo>
                    <a:pt x="1338" y="28"/>
                  </a:lnTo>
                  <a:lnTo>
                    <a:pt x="1341" y="28"/>
                  </a:lnTo>
                  <a:lnTo>
                    <a:pt x="1341" y="28"/>
                  </a:lnTo>
                  <a:lnTo>
                    <a:pt x="1343" y="28"/>
                  </a:lnTo>
                  <a:lnTo>
                    <a:pt x="1346" y="28"/>
                  </a:lnTo>
                  <a:lnTo>
                    <a:pt x="1353" y="26"/>
                  </a:lnTo>
                  <a:lnTo>
                    <a:pt x="1358" y="26"/>
                  </a:lnTo>
                  <a:lnTo>
                    <a:pt x="1374" y="23"/>
                  </a:lnTo>
                  <a:lnTo>
                    <a:pt x="1371" y="26"/>
                  </a:lnTo>
                  <a:lnTo>
                    <a:pt x="1364" y="26"/>
                  </a:lnTo>
                  <a:lnTo>
                    <a:pt x="1353" y="28"/>
                  </a:lnTo>
                  <a:lnTo>
                    <a:pt x="1348" y="28"/>
                  </a:lnTo>
                  <a:lnTo>
                    <a:pt x="1346" y="28"/>
                  </a:lnTo>
                  <a:lnTo>
                    <a:pt x="1343" y="31"/>
                  </a:lnTo>
                  <a:lnTo>
                    <a:pt x="1343" y="31"/>
                  </a:lnTo>
                  <a:lnTo>
                    <a:pt x="1346" y="31"/>
                  </a:lnTo>
                  <a:lnTo>
                    <a:pt x="1351" y="31"/>
                  </a:lnTo>
                  <a:lnTo>
                    <a:pt x="1358" y="31"/>
                  </a:lnTo>
                  <a:lnTo>
                    <a:pt x="1361" y="31"/>
                  </a:lnTo>
                  <a:lnTo>
                    <a:pt x="1364" y="31"/>
                  </a:lnTo>
                  <a:lnTo>
                    <a:pt x="1364" y="33"/>
                  </a:lnTo>
                  <a:lnTo>
                    <a:pt x="1361" y="33"/>
                  </a:lnTo>
                  <a:lnTo>
                    <a:pt x="1356" y="33"/>
                  </a:lnTo>
                  <a:lnTo>
                    <a:pt x="1343" y="33"/>
                  </a:lnTo>
                  <a:lnTo>
                    <a:pt x="1325" y="36"/>
                  </a:lnTo>
                  <a:lnTo>
                    <a:pt x="1325" y="36"/>
                  </a:lnTo>
                  <a:lnTo>
                    <a:pt x="1318" y="36"/>
                  </a:lnTo>
                  <a:lnTo>
                    <a:pt x="1305" y="38"/>
                  </a:lnTo>
                  <a:lnTo>
                    <a:pt x="1285" y="38"/>
                  </a:lnTo>
                  <a:lnTo>
                    <a:pt x="1282" y="41"/>
                  </a:lnTo>
                  <a:lnTo>
                    <a:pt x="1279" y="41"/>
                  </a:lnTo>
                  <a:lnTo>
                    <a:pt x="1277" y="41"/>
                  </a:lnTo>
                  <a:lnTo>
                    <a:pt x="1279" y="43"/>
                  </a:lnTo>
                  <a:lnTo>
                    <a:pt x="1282" y="43"/>
                  </a:lnTo>
                  <a:lnTo>
                    <a:pt x="1285" y="46"/>
                  </a:lnTo>
                  <a:lnTo>
                    <a:pt x="1287" y="46"/>
                  </a:lnTo>
                  <a:lnTo>
                    <a:pt x="1287" y="48"/>
                  </a:lnTo>
                  <a:lnTo>
                    <a:pt x="1290" y="48"/>
                  </a:lnTo>
                  <a:lnTo>
                    <a:pt x="1290" y="51"/>
                  </a:lnTo>
                  <a:lnTo>
                    <a:pt x="1295" y="51"/>
                  </a:lnTo>
                  <a:lnTo>
                    <a:pt x="1300" y="51"/>
                  </a:lnTo>
                  <a:lnTo>
                    <a:pt x="1302" y="51"/>
                  </a:lnTo>
                  <a:lnTo>
                    <a:pt x="1300" y="51"/>
                  </a:lnTo>
                  <a:lnTo>
                    <a:pt x="1295" y="51"/>
                  </a:lnTo>
                  <a:lnTo>
                    <a:pt x="1292" y="51"/>
                  </a:lnTo>
                  <a:lnTo>
                    <a:pt x="1290" y="51"/>
                  </a:lnTo>
                  <a:lnTo>
                    <a:pt x="1285" y="51"/>
                  </a:lnTo>
                  <a:lnTo>
                    <a:pt x="1282" y="51"/>
                  </a:lnTo>
                  <a:lnTo>
                    <a:pt x="1279" y="48"/>
                  </a:lnTo>
                  <a:lnTo>
                    <a:pt x="1279" y="48"/>
                  </a:lnTo>
                  <a:lnTo>
                    <a:pt x="1277" y="46"/>
                  </a:lnTo>
                  <a:lnTo>
                    <a:pt x="1277" y="46"/>
                  </a:lnTo>
                  <a:lnTo>
                    <a:pt x="1272" y="43"/>
                  </a:lnTo>
                  <a:lnTo>
                    <a:pt x="1269" y="43"/>
                  </a:lnTo>
                  <a:lnTo>
                    <a:pt x="1267" y="41"/>
                  </a:lnTo>
                  <a:lnTo>
                    <a:pt x="1264" y="41"/>
                  </a:lnTo>
                  <a:lnTo>
                    <a:pt x="1256" y="41"/>
                  </a:lnTo>
                  <a:lnTo>
                    <a:pt x="1251" y="41"/>
                  </a:lnTo>
                  <a:lnTo>
                    <a:pt x="1236" y="41"/>
                  </a:lnTo>
                  <a:lnTo>
                    <a:pt x="1234" y="41"/>
                  </a:lnTo>
                  <a:lnTo>
                    <a:pt x="1228" y="43"/>
                  </a:lnTo>
                  <a:lnTo>
                    <a:pt x="1228" y="46"/>
                  </a:lnTo>
                  <a:lnTo>
                    <a:pt x="1226" y="48"/>
                  </a:lnTo>
                  <a:lnTo>
                    <a:pt x="1228" y="48"/>
                  </a:lnTo>
                  <a:lnTo>
                    <a:pt x="1228" y="48"/>
                  </a:lnTo>
                  <a:lnTo>
                    <a:pt x="1234" y="51"/>
                  </a:lnTo>
                  <a:lnTo>
                    <a:pt x="1236" y="51"/>
                  </a:lnTo>
                  <a:lnTo>
                    <a:pt x="1239" y="51"/>
                  </a:lnTo>
                  <a:lnTo>
                    <a:pt x="1239" y="54"/>
                  </a:lnTo>
                  <a:lnTo>
                    <a:pt x="1241" y="54"/>
                  </a:lnTo>
                  <a:lnTo>
                    <a:pt x="1241" y="56"/>
                  </a:lnTo>
                  <a:lnTo>
                    <a:pt x="1241" y="56"/>
                  </a:lnTo>
                  <a:lnTo>
                    <a:pt x="1244" y="59"/>
                  </a:lnTo>
                  <a:lnTo>
                    <a:pt x="1246" y="59"/>
                  </a:lnTo>
                  <a:lnTo>
                    <a:pt x="1246" y="59"/>
                  </a:lnTo>
                  <a:lnTo>
                    <a:pt x="1244" y="59"/>
                  </a:lnTo>
                  <a:lnTo>
                    <a:pt x="1241" y="59"/>
                  </a:lnTo>
                  <a:lnTo>
                    <a:pt x="1239" y="59"/>
                  </a:lnTo>
                  <a:lnTo>
                    <a:pt x="1236" y="59"/>
                  </a:lnTo>
                  <a:lnTo>
                    <a:pt x="1234" y="59"/>
                  </a:lnTo>
                  <a:lnTo>
                    <a:pt x="1234" y="59"/>
                  </a:lnTo>
                  <a:lnTo>
                    <a:pt x="1234" y="61"/>
                  </a:lnTo>
                  <a:lnTo>
                    <a:pt x="1234" y="61"/>
                  </a:lnTo>
                  <a:lnTo>
                    <a:pt x="1234" y="61"/>
                  </a:lnTo>
                  <a:lnTo>
                    <a:pt x="1236" y="61"/>
                  </a:lnTo>
                  <a:lnTo>
                    <a:pt x="1241" y="61"/>
                  </a:lnTo>
                  <a:lnTo>
                    <a:pt x="1249" y="61"/>
                  </a:lnTo>
                  <a:lnTo>
                    <a:pt x="1254" y="61"/>
                  </a:lnTo>
                  <a:lnTo>
                    <a:pt x="1256" y="61"/>
                  </a:lnTo>
                  <a:lnTo>
                    <a:pt x="1259" y="61"/>
                  </a:lnTo>
                  <a:lnTo>
                    <a:pt x="1264" y="61"/>
                  </a:lnTo>
                  <a:lnTo>
                    <a:pt x="1267" y="61"/>
                  </a:lnTo>
                  <a:lnTo>
                    <a:pt x="1267" y="61"/>
                  </a:lnTo>
                  <a:lnTo>
                    <a:pt x="1267" y="61"/>
                  </a:lnTo>
                  <a:lnTo>
                    <a:pt x="1264" y="61"/>
                  </a:lnTo>
                  <a:lnTo>
                    <a:pt x="1259" y="64"/>
                  </a:lnTo>
                  <a:lnTo>
                    <a:pt x="1259" y="64"/>
                  </a:lnTo>
                  <a:lnTo>
                    <a:pt x="1256" y="64"/>
                  </a:lnTo>
                  <a:lnTo>
                    <a:pt x="1249" y="64"/>
                  </a:lnTo>
                  <a:lnTo>
                    <a:pt x="1246" y="64"/>
                  </a:lnTo>
                  <a:lnTo>
                    <a:pt x="1244" y="64"/>
                  </a:lnTo>
                  <a:lnTo>
                    <a:pt x="1244" y="64"/>
                  </a:lnTo>
                  <a:lnTo>
                    <a:pt x="1241" y="64"/>
                  </a:lnTo>
                  <a:lnTo>
                    <a:pt x="1236" y="64"/>
                  </a:lnTo>
                  <a:lnTo>
                    <a:pt x="1226" y="64"/>
                  </a:lnTo>
                  <a:lnTo>
                    <a:pt x="1226" y="61"/>
                  </a:lnTo>
                  <a:lnTo>
                    <a:pt x="1221" y="61"/>
                  </a:lnTo>
                  <a:lnTo>
                    <a:pt x="1216" y="64"/>
                  </a:lnTo>
                  <a:lnTo>
                    <a:pt x="1208" y="64"/>
                  </a:lnTo>
                  <a:lnTo>
                    <a:pt x="1198" y="64"/>
                  </a:lnTo>
                  <a:lnTo>
                    <a:pt x="1195" y="66"/>
                  </a:lnTo>
                  <a:lnTo>
                    <a:pt x="1190" y="69"/>
                  </a:lnTo>
                  <a:lnTo>
                    <a:pt x="1185" y="69"/>
                  </a:lnTo>
                  <a:lnTo>
                    <a:pt x="1183" y="71"/>
                  </a:lnTo>
                  <a:lnTo>
                    <a:pt x="1180" y="71"/>
                  </a:lnTo>
                  <a:lnTo>
                    <a:pt x="1177" y="74"/>
                  </a:lnTo>
                  <a:lnTo>
                    <a:pt x="1177" y="74"/>
                  </a:lnTo>
                  <a:lnTo>
                    <a:pt x="1185" y="74"/>
                  </a:lnTo>
                  <a:lnTo>
                    <a:pt x="1188" y="74"/>
                  </a:lnTo>
                  <a:lnTo>
                    <a:pt x="1193" y="74"/>
                  </a:lnTo>
                  <a:lnTo>
                    <a:pt x="1198" y="71"/>
                  </a:lnTo>
                  <a:lnTo>
                    <a:pt x="1200" y="71"/>
                  </a:lnTo>
                  <a:lnTo>
                    <a:pt x="1195" y="74"/>
                  </a:lnTo>
                  <a:lnTo>
                    <a:pt x="1193" y="76"/>
                  </a:lnTo>
                  <a:lnTo>
                    <a:pt x="1200" y="76"/>
                  </a:lnTo>
                  <a:lnTo>
                    <a:pt x="1203" y="74"/>
                  </a:lnTo>
                  <a:lnTo>
                    <a:pt x="1206" y="74"/>
                  </a:lnTo>
                  <a:lnTo>
                    <a:pt x="1213" y="71"/>
                  </a:lnTo>
                  <a:lnTo>
                    <a:pt x="1221" y="69"/>
                  </a:lnTo>
                  <a:lnTo>
                    <a:pt x="1213" y="74"/>
                  </a:lnTo>
                  <a:lnTo>
                    <a:pt x="1218" y="74"/>
                  </a:lnTo>
                  <a:lnTo>
                    <a:pt x="1218" y="74"/>
                  </a:lnTo>
                  <a:lnTo>
                    <a:pt x="1221" y="74"/>
                  </a:lnTo>
                  <a:lnTo>
                    <a:pt x="1216" y="74"/>
                  </a:lnTo>
                  <a:lnTo>
                    <a:pt x="1216" y="74"/>
                  </a:lnTo>
                  <a:lnTo>
                    <a:pt x="1208" y="76"/>
                  </a:lnTo>
                  <a:lnTo>
                    <a:pt x="1203" y="76"/>
                  </a:lnTo>
                  <a:lnTo>
                    <a:pt x="1198" y="79"/>
                  </a:lnTo>
                  <a:lnTo>
                    <a:pt x="1198" y="82"/>
                  </a:lnTo>
                  <a:lnTo>
                    <a:pt x="1193" y="84"/>
                  </a:lnTo>
                  <a:lnTo>
                    <a:pt x="1195" y="84"/>
                  </a:lnTo>
                  <a:lnTo>
                    <a:pt x="1198" y="87"/>
                  </a:lnTo>
                  <a:lnTo>
                    <a:pt x="1203" y="84"/>
                  </a:lnTo>
                  <a:lnTo>
                    <a:pt x="1208" y="84"/>
                  </a:lnTo>
                  <a:lnTo>
                    <a:pt x="1211" y="84"/>
                  </a:lnTo>
                  <a:lnTo>
                    <a:pt x="1213" y="84"/>
                  </a:lnTo>
                  <a:lnTo>
                    <a:pt x="1218" y="84"/>
                  </a:lnTo>
                  <a:lnTo>
                    <a:pt x="1221" y="82"/>
                  </a:lnTo>
                  <a:lnTo>
                    <a:pt x="1236" y="76"/>
                  </a:lnTo>
                  <a:lnTo>
                    <a:pt x="1236" y="76"/>
                  </a:lnTo>
                  <a:lnTo>
                    <a:pt x="1236" y="79"/>
                  </a:lnTo>
                  <a:lnTo>
                    <a:pt x="1234" y="79"/>
                  </a:lnTo>
                  <a:lnTo>
                    <a:pt x="1234" y="79"/>
                  </a:lnTo>
                  <a:lnTo>
                    <a:pt x="1228" y="82"/>
                  </a:lnTo>
                  <a:lnTo>
                    <a:pt x="1221" y="84"/>
                  </a:lnTo>
                  <a:lnTo>
                    <a:pt x="1216" y="84"/>
                  </a:lnTo>
                  <a:lnTo>
                    <a:pt x="1216" y="87"/>
                  </a:lnTo>
                  <a:lnTo>
                    <a:pt x="1213" y="87"/>
                  </a:lnTo>
                  <a:lnTo>
                    <a:pt x="1211" y="87"/>
                  </a:lnTo>
                  <a:lnTo>
                    <a:pt x="1208" y="87"/>
                  </a:lnTo>
                  <a:lnTo>
                    <a:pt x="1200" y="87"/>
                  </a:lnTo>
                  <a:lnTo>
                    <a:pt x="1198" y="87"/>
                  </a:lnTo>
                  <a:lnTo>
                    <a:pt x="1195" y="87"/>
                  </a:lnTo>
                  <a:lnTo>
                    <a:pt x="1188" y="87"/>
                  </a:lnTo>
                  <a:lnTo>
                    <a:pt x="1188" y="84"/>
                  </a:lnTo>
                  <a:lnTo>
                    <a:pt x="1188" y="84"/>
                  </a:lnTo>
                  <a:lnTo>
                    <a:pt x="1185" y="82"/>
                  </a:lnTo>
                  <a:lnTo>
                    <a:pt x="1185" y="82"/>
                  </a:lnTo>
                  <a:lnTo>
                    <a:pt x="1180" y="79"/>
                  </a:lnTo>
                  <a:lnTo>
                    <a:pt x="1177" y="79"/>
                  </a:lnTo>
                  <a:lnTo>
                    <a:pt x="1175" y="79"/>
                  </a:lnTo>
                  <a:lnTo>
                    <a:pt x="1172" y="79"/>
                  </a:lnTo>
                  <a:lnTo>
                    <a:pt x="1167" y="79"/>
                  </a:lnTo>
                  <a:lnTo>
                    <a:pt x="1162" y="82"/>
                  </a:lnTo>
                  <a:lnTo>
                    <a:pt x="1160" y="82"/>
                  </a:lnTo>
                  <a:lnTo>
                    <a:pt x="1160" y="84"/>
                  </a:lnTo>
                  <a:lnTo>
                    <a:pt x="1160" y="87"/>
                  </a:lnTo>
                  <a:lnTo>
                    <a:pt x="1160" y="87"/>
                  </a:lnTo>
                  <a:lnTo>
                    <a:pt x="1160" y="87"/>
                  </a:lnTo>
                  <a:lnTo>
                    <a:pt x="1162" y="89"/>
                  </a:lnTo>
                  <a:lnTo>
                    <a:pt x="1162" y="89"/>
                  </a:lnTo>
                  <a:lnTo>
                    <a:pt x="1165" y="89"/>
                  </a:lnTo>
                  <a:lnTo>
                    <a:pt x="1165" y="89"/>
                  </a:lnTo>
                  <a:lnTo>
                    <a:pt x="1165" y="92"/>
                  </a:lnTo>
                  <a:lnTo>
                    <a:pt x="1165" y="92"/>
                  </a:lnTo>
                  <a:lnTo>
                    <a:pt x="1165" y="92"/>
                  </a:lnTo>
                  <a:lnTo>
                    <a:pt x="1162" y="92"/>
                  </a:lnTo>
                  <a:lnTo>
                    <a:pt x="1157" y="92"/>
                  </a:lnTo>
                  <a:lnTo>
                    <a:pt x="1155" y="92"/>
                  </a:lnTo>
                  <a:lnTo>
                    <a:pt x="1152" y="92"/>
                  </a:lnTo>
                  <a:lnTo>
                    <a:pt x="1147" y="92"/>
                  </a:lnTo>
                  <a:lnTo>
                    <a:pt x="1144" y="92"/>
                  </a:lnTo>
                  <a:lnTo>
                    <a:pt x="1142" y="92"/>
                  </a:lnTo>
                  <a:lnTo>
                    <a:pt x="1137" y="94"/>
                  </a:lnTo>
                  <a:lnTo>
                    <a:pt x="1124" y="97"/>
                  </a:lnTo>
                  <a:lnTo>
                    <a:pt x="1119" y="99"/>
                  </a:lnTo>
                  <a:lnTo>
                    <a:pt x="1116" y="102"/>
                  </a:lnTo>
                  <a:lnTo>
                    <a:pt x="1116" y="102"/>
                  </a:lnTo>
                  <a:lnTo>
                    <a:pt x="1124" y="104"/>
                  </a:lnTo>
                  <a:lnTo>
                    <a:pt x="1127" y="104"/>
                  </a:lnTo>
                  <a:lnTo>
                    <a:pt x="1129" y="102"/>
                  </a:lnTo>
                  <a:lnTo>
                    <a:pt x="1132" y="99"/>
                  </a:lnTo>
                  <a:lnTo>
                    <a:pt x="1134" y="97"/>
                  </a:lnTo>
                  <a:lnTo>
                    <a:pt x="1132" y="102"/>
                  </a:lnTo>
                  <a:lnTo>
                    <a:pt x="1129" y="104"/>
                  </a:lnTo>
                  <a:lnTo>
                    <a:pt x="1134" y="104"/>
                  </a:lnTo>
                  <a:lnTo>
                    <a:pt x="1139" y="104"/>
                  </a:lnTo>
                  <a:lnTo>
                    <a:pt x="1144" y="102"/>
                  </a:lnTo>
                  <a:lnTo>
                    <a:pt x="1144" y="104"/>
                  </a:lnTo>
                  <a:lnTo>
                    <a:pt x="1147" y="104"/>
                  </a:lnTo>
                  <a:lnTo>
                    <a:pt x="1152" y="104"/>
                  </a:lnTo>
                  <a:lnTo>
                    <a:pt x="1155" y="102"/>
                  </a:lnTo>
                  <a:lnTo>
                    <a:pt x="1160" y="102"/>
                  </a:lnTo>
                  <a:lnTo>
                    <a:pt x="1160" y="102"/>
                  </a:lnTo>
                  <a:lnTo>
                    <a:pt x="1160" y="102"/>
                  </a:lnTo>
                  <a:lnTo>
                    <a:pt x="1160" y="102"/>
                  </a:lnTo>
                  <a:lnTo>
                    <a:pt x="1160" y="104"/>
                  </a:lnTo>
                  <a:lnTo>
                    <a:pt x="1165" y="104"/>
                  </a:lnTo>
                  <a:lnTo>
                    <a:pt x="1167" y="107"/>
                  </a:lnTo>
                  <a:lnTo>
                    <a:pt x="1170" y="107"/>
                  </a:lnTo>
                  <a:lnTo>
                    <a:pt x="1183" y="104"/>
                  </a:lnTo>
                  <a:lnTo>
                    <a:pt x="1190" y="99"/>
                  </a:lnTo>
                  <a:lnTo>
                    <a:pt x="1190" y="102"/>
                  </a:lnTo>
                  <a:lnTo>
                    <a:pt x="1190" y="104"/>
                  </a:lnTo>
                  <a:lnTo>
                    <a:pt x="1195" y="104"/>
                  </a:lnTo>
                  <a:lnTo>
                    <a:pt x="1211" y="102"/>
                  </a:lnTo>
                  <a:lnTo>
                    <a:pt x="1213" y="102"/>
                  </a:lnTo>
                  <a:lnTo>
                    <a:pt x="1213" y="102"/>
                  </a:lnTo>
                  <a:lnTo>
                    <a:pt x="1213" y="99"/>
                  </a:lnTo>
                  <a:lnTo>
                    <a:pt x="1213" y="99"/>
                  </a:lnTo>
                  <a:lnTo>
                    <a:pt x="1213" y="99"/>
                  </a:lnTo>
                  <a:lnTo>
                    <a:pt x="1213" y="99"/>
                  </a:lnTo>
                  <a:lnTo>
                    <a:pt x="1216" y="99"/>
                  </a:lnTo>
                  <a:lnTo>
                    <a:pt x="1216" y="99"/>
                  </a:lnTo>
                  <a:lnTo>
                    <a:pt x="1216" y="99"/>
                  </a:lnTo>
                  <a:lnTo>
                    <a:pt x="1218" y="99"/>
                  </a:lnTo>
                  <a:lnTo>
                    <a:pt x="1218" y="102"/>
                  </a:lnTo>
                  <a:lnTo>
                    <a:pt x="1218" y="102"/>
                  </a:lnTo>
                  <a:lnTo>
                    <a:pt x="1221" y="102"/>
                  </a:lnTo>
                  <a:lnTo>
                    <a:pt x="1223" y="102"/>
                  </a:lnTo>
                  <a:lnTo>
                    <a:pt x="1223" y="102"/>
                  </a:lnTo>
                  <a:lnTo>
                    <a:pt x="1226" y="102"/>
                  </a:lnTo>
                  <a:lnTo>
                    <a:pt x="1228" y="102"/>
                  </a:lnTo>
                  <a:lnTo>
                    <a:pt x="1228" y="102"/>
                  </a:lnTo>
                  <a:lnTo>
                    <a:pt x="1228" y="104"/>
                  </a:lnTo>
                  <a:lnTo>
                    <a:pt x="1228" y="104"/>
                  </a:lnTo>
                  <a:lnTo>
                    <a:pt x="1226" y="104"/>
                  </a:lnTo>
                  <a:lnTo>
                    <a:pt x="1226" y="107"/>
                  </a:lnTo>
                  <a:lnTo>
                    <a:pt x="1223" y="107"/>
                  </a:lnTo>
                  <a:lnTo>
                    <a:pt x="1223" y="107"/>
                  </a:lnTo>
                  <a:lnTo>
                    <a:pt x="1226" y="107"/>
                  </a:lnTo>
                  <a:lnTo>
                    <a:pt x="1226" y="107"/>
                  </a:lnTo>
                  <a:lnTo>
                    <a:pt x="1234" y="107"/>
                  </a:lnTo>
                  <a:lnTo>
                    <a:pt x="1239" y="107"/>
                  </a:lnTo>
                  <a:lnTo>
                    <a:pt x="1244" y="107"/>
                  </a:lnTo>
                  <a:lnTo>
                    <a:pt x="1249" y="104"/>
                  </a:lnTo>
                  <a:lnTo>
                    <a:pt x="1251" y="104"/>
                  </a:lnTo>
                  <a:lnTo>
                    <a:pt x="1256" y="104"/>
                  </a:lnTo>
                  <a:lnTo>
                    <a:pt x="1267" y="102"/>
                  </a:lnTo>
                  <a:lnTo>
                    <a:pt x="1269" y="99"/>
                  </a:lnTo>
                  <a:lnTo>
                    <a:pt x="1274" y="99"/>
                  </a:lnTo>
                  <a:lnTo>
                    <a:pt x="1274" y="97"/>
                  </a:lnTo>
                  <a:lnTo>
                    <a:pt x="1274" y="94"/>
                  </a:lnTo>
                  <a:lnTo>
                    <a:pt x="1274" y="94"/>
                  </a:lnTo>
                  <a:lnTo>
                    <a:pt x="1272" y="94"/>
                  </a:lnTo>
                  <a:lnTo>
                    <a:pt x="1272" y="94"/>
                  </a:lnTo>
                  <a:lnTo>
                    <a:pt x="1267" y="97"/>
                  </a:lnTo>
                  <a:lnTo>
                    <a:pt x="1264" y="97"/>
                  </a:lnTo>
                  <a:lnTo>
                    <a:pt x="1264" y="97"/>
                  </a:lnTo>
                  <a:lnTo>
                    <a:pt x="1262" y="94"/>
                  </a:lnTo>
                  <a:lnTo>
                    <a:pt x="1259" y="94"/>
                  </a:lnTo>
                  <a:lnTo>
                    <a:pt x="1262" y="94"/>
                  </a:lnTo>
                  <a:lnTo>
                    <a:pt x="1262" y="92"/>
                  </a:lnTo>
                  <a:lnTo>
                    <a:pt x="1264" y="92"/>
                  </a:lnTo>
                  <a:lnTo>
                    <a:pt x="1262" y="92"/>
                  </a:lnTo>
                  <a:lnTo>
                    <a:pt x="1256" y="92"/>
                  </a:lnTo>
                  <a:lnTo>
                    <a:pt x="1251" y="92"/>
                  </a:lnTo>
                  <a:lnTo>
                    <a:pt x="1251" y="92"/>
                  </a:lnTo>
                  <a:lnTo>
                    <a:pt x="1246" y="89"/>
                  </a:lnTo>
                  <a:lnTo>
                    <a:pt x="1246" y="89"/>
                  </a:lnTo>
                  <a:lnTo>
                    <a:pt x="1241" y="89"/>
                  </a:lnTo>
                  <a:lnTo>
                    <a:pt x="1239" y="89"/>
                  </a:lnTo>
                  <a:lnTo>
                    <a:pt x="1236" y="89"/>
                  </a:lnTo>
                  <a:lnTo>
                    <a:pt x="1234" y="92"/>
                  </a:lnTo>
                  <a:lnTo>
                    <a:pt x="1231" y="89"/>
                  </a:lnTo>
                  <a:lnTo>
                    <a:pt x="1231" y="89"/>
                  </a:lnTo>
                  <a:lnTo>
                    <a:pt x="1231" y="89"/>
                  </a:lnTo>
                  <a:lnTo>
                    <a:pt x="1231" y="89"/>
                  </a:lnTo>
                  <a:lnTo>
                    <a:pt x="1234" y="89"/>
                  </a:lnTo>
                  <a:lnTo>
                    <a:pt x="1239" y="89"/>
                  </a:lnTo>
                  <a:lnTo>
                    <a:pt x="1241" y="89"/>
                  </a:lnTo>
                  <a:lnTo>
                    <a:pt x="1241" y="87"/>
                  </a:lnTo>
                  <a:lnTo>
                    <a:pt x="1241" y="87"/>
                  </a:lnTo>
                  <a:lnTo>
                    <a:pt x="1241" y="87"/>
                  </a:lnTo>
                  <a:lnTo>
                    <a:pt x="1239" y="87"/>
                  </a:lnTo>
                  <a:lnTo>
                    <a:pt x="1241" y="84"/>
                  </a:lnTo>
                  <a:lnTo>
                    <a:pt x="1241" y="84"/>
                  </a:lnTo>
                  <a:lnTo>
                    <a:pt x="1244" y="87"/>
                  </a:lnTo>
                  <a:lnTo>
                    <a:pt x="1246" y="87"/>
                  </a:lnTo>
                  <a:lnTo>
                    <a:pt x="1249" y="89"/>
                  </a:lnTo>
                  <a:lnTo>
                    <a:pt x="1254" y="89"/>
                  </a:lnTo>
                  <a:lnTo>
                    <a:pt x="1259" y="89"/>
                  </a:lnTo>
                  <a:lnTo>
                    <a:pt x="1269" y="89"/>
                  </a:lnTo>
                  <a:lnTo>
                    <a:pt x="1272" y="89"/>
                  </a:lnTo>
                  <a:lnTo>
                    <a:pt x="1274" y="89"/>
                  </a:lnTo>
                  <a:lnTo>
                    <a:pt x="1279" y="87"/>
                  </a:lnTo>
                  <a:lnTo>
                    <a:pt x="1282" y="87"/>
                  </a:lnTo>
                  <a:lnTo>
                    <a:pt x="1285" y="87"/>
                  </a:lnTo>
                  <a:lnTo>
                    <a:pt x="1287" y="84"/>
                  </a:lnTo>
                  <a:lnTo>
                    <a:pt x="1290" y="84"/>
                  </a:lnTo>
                  <a:lnTo>
                    <a:pt x="1290" y="82"/>
                  </a:lnTo>
                  <a:lnTo>
                    <a:pt x="1292" y="79"/>
                  </a:lnTo>
                  <a:lnTo>
                    <a:pt x="1295" y="79"/>
                  </a:lnTo>
                  <a:lnTo>
                    <a:pt x="1295" y="79"/>
                  </a:lnTo>
                  <a:lnTo>
                    <a:pt x="1302" y="79"/>
                  </a:lnTo>
                  <a:lnTo>
                    <a:pt x="1307" y="79"/>
                  </a:lnTo>
                  <a:lnTo>
                    <a:pt x="1313" y="79"/>
                  </a:lnTo>
                  <a:lnTo>
                    <a:pt x="1318" y="76"/>
                  </a:lnTo>
                  <a:lnTo>
                    <a:pt x="1320" y="76"/>
                  </a:lnTo>
                  <a:lnTo>
                    <a:pt x="1323" y="76"/>
                  </a:lnTo>
                  <a:lnTo>
                    <a:pt x="1325" y="76"/>
                  </a:lnTo>
                  <a:lnTo>
                    <a:pt x="1333" y="74"/>
                  </a:lnTo>
                  <a:lnTo>
                    <a:pt x="1338" y="71"/>
                  </a:lnTo>
                  <a:lnTo>
                    <a:pt x="1338" y="71"/>
                  </a:lnTo>
                  <a:lnTo>
                    <a:pt x="1335" y="71"/>
                  </a:lnTo>
                  <a:lnTo>
                    <a:pt x="1330" y="69"/>
                  </a:lnTo>
                  <a:lnTo>
                    <a:pt x="1325" y="69"/>
                  </a:lnTo>
                  <a:lnTo>
                    <a:pt x="1328" y="69"/>
                  </a:lnTo>
                  <a:lnTo>
                    <a:pt x="1333" y="69"/>
                  </a:lnTo>
                  <a:lnTo>
                    <a:pt x="1341" y="69"/>
                  </a:lnTo>
                  <a:lnTo>
                    <a:pt x="1346" y="69"/>
                  </a:lnTo>
                  <a:lnTo>
                    <a:pt x="1353" y="66"/>
                  </a:lnTo>
                  <a:lnTo>
                    <a:pt x="1353" y="66"/>
                  </a:lnTo>
                  <a:lnTo>
                    <a:pt x="1356" y="66"/>
                  </a:lnTo>
                  <a:lnTo>
                    <a:pt x="1356" y="64"/>
                  </a:lnTo>
                  <a:lnTo>
                    <a:pt x="1353" y="64"/>
                  </a:lnTo>
                  <a:lnTo>
                    <a:pt x="1351" y="64"/>
                  </a:lnTo>
                  <a:lnTo>
                    <a:pt x="1346" y="64"/>
                  </a:lnTo>
                  <a:lnTo>
                    <a:pt x="1341" y="64"/>
                  </a:lnTo>
                  <a:lnTo>
                    <a:pt x="1341" y="61"/>
                  </a:lnTo>
                  <a:lnTo>
                    <a:pt x="1341" y="61"/>
                  </a:lnTo>
                  <a:lnTo>
                    <a:pt x="1338" y="61"/>
                  </a:lnTo>
                  <a:lnTo>
                    <a:pt x="1335" y="61"/>
                  </a:lnTo>
                  <a:lnTo>
                    <a:pt x="1330" y="61"/>
                  </a:lnTo>
                  <a:lnTo>
                    <a:pt x="1320" y="61"/>
                  </a:lnTo>
                  <a:lnTo>
                    <a:pt x="1318" y="61"/>
                  </a:lnTo>
                  <a:lnTo>
                    <a:pt x="1315" y="61"/>
                  </a:lnTo>
                  <a:lnTo>
                    <a:pt x="1315" y="61"/>
                  </a:lnTo>
                  <a:lnTo>
                    <a:pt x="1313" y="61"/>
                  </a:lnTo>
                  <a:lnTo>
                    <a:pt x="1310" y="61"/>
                  </a:lnTo>
                  <a:lnTo>
                    <a:pt x="1310" y="59"/>
                  </a:lnTo>
                  <a:lnTo>
                    <a:pt x="1310" y="59"/>
                  </a:lnTo>
                  <a:lnTo>
                    <a:pt x="1313" y="59"/>
                  </a:lnTo>
                  <a:lnTo>
                    <a:pt x="1318" y="59"/>
                  </a:lnTo>
                  <a:lnTo>
                    <a:pt x="1320" y="59"/>
                  </a:lnTo>
                  <a:lnTo>
                    <a:pt x="1325" y="59"/>
                  </a:lnTo>
                  <a:lnTo>
                    <a:pt x="1333" y="59"/>
                  </a:lnTo>
                  <a:lnTo>
                    <a:pt x="1335" y="59"/>
                  </a:lnTo>
                  <a:lnTo>
                    <a:pt x="1338" y="59"/>
                  </a:lnTo>
                  <a:lnTo>
                    <a:pt x="1341" y="59"/>
                  </a:lnTo>
                  <a:lnTo>
                    <a:pt x="1343" y="59"/>
                  </a:lnTo>
                  <a:lnTo>
                    <a:pt x="1348" y="59"/>
                  </a:lnTo>
                  <a:lnTo>
                    <a:pt x="1348" y="59"/>
                  </a:lnTo>
                  <a:lnTo>
                    <a:pt x="1351" y="61"/>
                  </a:lnTo>
                  <a:lnTo>
                    <a:pt x="1358" y="61"/>
                  </a:lnTo>
                  <a:lnTo>
                    <a:pt x="1361" y="59"/>
                  </a:lnTo>
                  <a:lnTo>
                    <a:pt x="1364" y="56"/>
                  </a:lnTo>
                  <a:lnTo>
                    <a:pt x="1361" y="56"/>
                  </a:lnTo>
                  <a:lnTo>
                    <a:pt x="1356" y="59"/>
                  </a:lnTo>
                  <a:lnTo>
                    <a:pt x="1353" y="56"/>
                  </a:lnTo>
                  <a:lnTo>
                    <a:pt x="1351" y="56"/>
                  </a:lnTo>
                  <a:lnTo>
                    <a:pt x="1348" y="56"/>
                  </a:lnTo>
                  <a:lnTo>
                    <a:pt x="1346" y="56"/>
                  </a:lnTo>
                  <a:lnTo>
                    <a:pt x="1346" y="54"/>
                  </a:lnTo>
                  <a:lnTo>
                    <a:pt x="1341" y="54"/>
                  </a:lnTo>
                  <a:lnTo>
                    <a:pt x="1338" y="54"/>
                  </a:lnTo>
                  <a:lnTo>
                    <a:pt x="1338" y="54"/>
                  </a:lnTo>
                  <a:lnTo>
                    <a:pt x="1346" y="54"/>
                  </a:lnTo>
                  <a:lnTo>
                    <a:pt x="1348" y="54"/>
                  </a:lnTo>
                  <a:lnTo>
                    <a:pt x="1351" y="54"/>
                  </a:lnTo>
                  <a:lnTo>
                    <a:pt x="1356" y="54"/>
                  </a:lnTo>
                  <a:lnTo>
                    <a:pt x="1358" y="54"/>
                  </a:lnTo>
                  <a:lnTo>
                    <a:pt x="1364" y="54"/>
                  </a:lnTo>
                  <a:lnTo>
                    <a:pt x="1369" y="54"/>
                  </a:lnTo>
                  <a:lnTo>
                    <a:pt x="1371" y="54"/>
                  </a:lnTo>
                  <a:lnTo>
                    <a:pt x="1374" y="54"/>
                  </a:lnTo>
                  <a:lnTo>
                    <a:pt x="1376" y="54"/>
                  </a:lnTo>
                  <a:lnTo>
                    <a:pt x="1381" y="54"/>
                  </a:lnTo>
                  <a:lnTo>
                    <a:pt x="1384" y="54"/>
                  </a:lnTo>
                  <a:lnTo>
                    <a:pt x="1384" y="54"/>
                  </a:lnTo>
                  <a:lnTo>
                    <a:pt x="1386" y="51"/>
                  </a:lnTo>
                  <a:lnTo>
                    <a:pt x="1386" y="51"/>
                  </a:lnTo>
                  <a:lnTo>
                    <a:pt x="1386" y="51"/>
                  </a:lnTo>
                  <a:lnTo>
                    <a:pt x="1386" y="48"/>
                  </a:lnTo>
                  <a:lnTo>
                    <a:pt x="1386" y="48"/>
                  </a:lnTo>
                  <a:lnTo>
                    <a:pt x="1384" y="48"/>
                  </a:lnTo>
                  <a:lnTo>
                    <a:pt x="1379" y="48"/>
                  </a:lnTo>
                  <a:lnTo>
                    <a:pt x="1374" y="48"/>
                  </a:lnTo>
                  <a:lnTo>
                    <a:pt x="1374" y="48"/>
                  </a:lnTo>
                  <a:lnTo>
                    <a:pt x="1376" y="46"/>
                  </a:lnTo>
                  <a:lnTo>
                    <a:pt x="1381" y="46"/>
                  </a:lnTo>
                  <a:lnTo>
                    <a:pt x="1384" y="48"/>
                  </a:lnTo>
                  <a:lnTo>
                    <a:pt x="1389" y="48"/>
                  </a:lnTo>
                  <a:lnTo>
                    <a:pt x="1399" y="51"/>
                  </a:lnTo>
                  <a:lnTo>
                    <a:pt x="1402" y="51"/>
                  </a:lnTo>
                  <a:lnTo>
                    <a:pt x="1404" y="48"/>
                  </a:lnTo>
                  <a:lnTo>
                    <a:pt x="1412" y="48"/>
                  </a:lnTo>
                  <a:lnTo>
                    <a:pt x="1414" y="48"/>
                  </a:lnTo>
                  <a:lnTo>
                    <a:pt x="1417" y="48"/>
                  </a:lnTo>
                  <a:lnTo>
                    <a:pt x="1417" y="46"/>
                  </a:lnTo>
                  <a:lnTo>
                    <a:pt x="1417" y="46"/>
                  </a:lnTo>
                  <a:lnTo>
                    <a:pt x="1414" y="46"/>
                  </a:lnTo>
                  <a:lnTo>
                    <a:pt x="1425" y="46"/>
                  </a:lnTo>
                  <a:lnTo>
                    <a:pt x="1427" y="43"/>
                  </a:lnTo>
                  <a:lnTo>
                    <a:pt x="1430" y="43"/>
                  </a:lnTo>
                  <a:lnTo>
                    <a:pt x="1427" y="43"/>
                  </a:lnTo>
                  <a:lnTo>
                    <a:pt x="1425" y="43"/>
                  </a:lnTo>
                  <a:lnTo>
                    <a:pt x="1414" y="43"/>
                  </a:lnTo>
                  <a:lnTo>
                    <a:pt x="1412" y="43"/>
                  </a:lnTo>
                  <a:lnTo>
                    <a:pt x="1409" y="43"/>
                  </a:lnTo>
                  <a:lnTo>
                    <a:pt x="1409" y="43"/>
                  </a:lnTo>
                  <a:lnTo>
                    <a:pt x="1412" y="43"/>
                  </a:lnTo>
                  <a:lnTo>
                    <a:pt x="1414" y="43"/>
                  </a:lnTo>
                  <a:lnTo>
                    <a:pt x="1414" y="43"/>
                  </a:lnTo>
                  <a:lnTo>
                    <a:pt x="1417" y="43"/>
                  </a:lnTo>
                  <a:lnTo>
                    <a:pt x="1425" y="43"/>
                  </a:lnTo>
                  <a:lnTo>
                    <a:pt x="1435" y="41"/>
                  </a:lnTo>
                  <a:lnTo>
                    <a:pt x="1437" y="41"/>
                  </a:lnTo>
                  <a:lnTo>
                    <a:pt x="1435" y="38"/>
                  </a:lnTo>
                  <a:lnTo>
                    <a:pt x="1435" y="36"/>
                  </a:lnTo>
                  <a:lnTo>
                    <a:pt x="1435" y="36"/>
                  </a:lnTo>
                  <a:lnTo>
                    <a:pt x="1437" y="38"/>
                  </a:lnTo>
                  <a:lnTo>
                    <a:pt x="1440" y="38"/>
                  </a:lnTo>
                  <a:lnTo>
                    <a:pt x="1440" y="38"/>
                  </a:lnTo>
                  <a:lnTo>
                    <a:pt x="1443" y="38"/>
                  </a:lnTo>
                  <a:lnTo>
                    <a:pt x="1445" y="38"/>
                  </a:lnTo>
                  <a:lnTo>
                    <a:pt x="1448" y="38"/>
                  </a:lnTo>
                  <a:lnTo>
                    <a:pt x="1458" y="36"/>
                  </a:lnTo>
                  <a:lnTo>
                    <a:pt x="1463" y="36"/>
                  </a:lnTo>
                  <a:lnTo>
                    <a:pt x="1476" y="33"/>
                  </a:lnTo>
                  <a:lnTo>
                    <a:pt x="1491" y="28"/>
                  </a:lnTo>
                  <a:lnTo>
                    <a:pt x="1499" y="28"/>
                  </a:lnTo>
                  <a:lnTo>
                    <a:pt x="1511" y="26"/>
                  </a:lnTo>
                  <a:lnTo>
                    <a:pt x="1522" y="23"/>
                  </a:lnTo>
                  <a:lnTo>
                    <a:pt x="1522" y="23"/>
                  </a:lnTo>
                  <a:lnTo>
                    <a:pt x="1516" y="23"/>
                  </a:lnTo>
                  <a:lnTo>
                    <a:pt x="1511" y="23"/>
                  </a:lnTo>
                  <a:lnTo>
                    <a:pt x="1476" y="26"/>
                  </a:lnTo>
                  <a:lnTo>
                    <a:pt x="1473" y="26"/>
                  </a:lnTo>
                  <a:lnTo>
                    <a:pt x="1471" y="26"/>
                  </a:lnTo>
                  <a:lnTo>
                    <a:pt x="1473" y="26"/>
                  </a:lnTo>
                  <a:lnTo>
                    <a:pt x="1496" y="23"/>
                  </a:lnTo>
                  <a:lnTo>
                    <a:pt x="1499" y="23"/>
                  </a:lnTo>
                  <a:lnTo>
                    <a:pt x="1499" y="23"/>
                  </a:lnTo>
                  <a:lnTo>
                    <a:pt x="1499" y="23"/>
                  </a:lnTo>
                  <a:lnTo>
                    <a:pt x="1501" y="20"/>
                  </a:lnTo>
                  <a:lnTo>
                    <a:pt x="1509" y="20"/>
                  </a:lnTo>
                  <a:lnTo>
                    <a:pt x="1514" y="20"/>
                  </a:lnTo>
                  <a:lnTo>
                    <a:pt x="1516" y="20"/>
                  </a:lnTo>
                  <a:lnTo>
                    <a:pt x="1519" y="20"/>
                  </a:lnTo>
                  <a:lnTo>
                    <a:pt x="1522" y="20"/>
                  </a:lnTo>
                  <a:lnTo>
                    <a:pt x="1529" y="20"/>
                  </a:lnTo>
                  <a:lnTo>
                    <a:pt x="1532" y="20"/>
                  </a:lnTo>
                  <a:lnTo>
                    <a:pt x="1534" y="18"/>
                  </a:lnTo>
                  <a:lnTo>
                    <a:pt x="1542" y="18"/>
                  </a:lnTo>
                  <a:lnTo>
                    <a:pt x="1557" y="15"/>
                  </a:lnTo>
                  <a:lnTo>
                    <a:pt x="1562" y="15"/>
                  </a:lnTo>
                  <a:lnTo>
                    <a:pt x="1565" y="15"/>
                  </a:lnTo>
                  <a:lnTo>
                    <a:pt x="1573" y="13"/>
                  </a:lnTo>
                  <a:lnTo>
                    <a:pt x="1578" y="13"/>
                  </a:lnTo>
                  <a:lnTo>
                    <a:pt x="1578" y="10"/>
                  </a:lnTo>
                  <a:lnTo>
                    <a:pt x="1578" y="10"/>
                  </a:lnTo>
                  <a:close/>
                  <a:moveTo>
                    <a:pt x="1160" y="237"/>
                  </a:moveTo>
                  <a:lnTo>
                    <a:pt x="1162" y="237"/>
                  </a:lnTo>
                  <a:lnTo>
                    <a:pt x="1165" y="237"/>
                  </a:lnTo>
                  <a:lnTo>
                    <a:pt x="1165" y="234"/>
                  </a:lnTo>
                  <a:lnTo>
                    <a:pt x="1167" y="234"/>
                  </a:lnTo>
                  <a:lnTo>
                    <a:pt x="1170" y="234"/>
                  </a:lnTo>
                  <a:lnTo>
                    <a:pt x="1170" y="234"/>
                  </a:lnTo>
                  <a:lnTo>
                    <a:pt x="1170" y="232"/>
                  </a:lnTo>
                  <a:lnTo>
                    <a:pt x="1170" y="232"/>
                  </a:lnTo>
                  <a:lnTo>
                    <a:pt x="1170" y="232"/>
                  </a:lnTo>
                  <a:lnTo>
                    <a:pt x="1165" y="232"/>
                  </a:lnTo>
                  <a:lnTo>
                    <a:pt x="1165" y="232"/>
                  </a:lnTo>
                  <a:lnTo>
                    <a:pt x="1162" y="232"/>
                  </a:lnTo>
                  <a:lnTo>
                    <a:pt x="1162" y="232"/>
                  </a:lnTo>
                  <a:lnTo>
                    <a:pt x="1160" y="232"/>
                  </a:lnTo>
                  <a:lnTo>
                    <a:pt x="1160" y="232"/>
                  </a:lnTo>
                  <a:lnTo>
                    <a:pt x="1160" y="234"/>
                  </a:lnTo>
                  <a:lnTo>
                    <a:pt x="1157" y="234"/>
                  </a:lnTo>
                  <a:lnTo>
                    <a:pt x="1157" y="237"/>
                  </a:lnTo>
                  <a:lnTo>
                    <a:pt x="1157" y="237"/>
                  </a:lnTo>
                  <a:lnTo>
                    <a:pt x="1160" y="237"/>
                  </a:lnTo>
                  <a:lnTo>
                    <a:pt x="1160" y="237"/>
                  </a:lnTo>
                  <a:close/>
                  <a:moveTo>
                    <a:pt x="1119" y="252"/>
                  </a:moveTo>
                  <a:lnTo>
                    <a:pt x="1116" y="255"/>
                  </a:lnTo>
                  <a:lnTo>
                    <a:pt x="1116" y="255"/>
                  </a:lnTo>
                  <a:lnTo>
                    <a:pt x="1116" y="255"/>
                  </a:lnTo>
                  <a:lnTo>
                    <a:pt x="1119" y="255"/>
                  </a:lnTo>
                  <a:lnTo>
                    <a:pt x="1121" y="255"/>
                  </a:lnTo>
                  <a:lnTo>
                    <a:pt x="1121" y="252"/>
                  </a:lnTo>
                  <a:lnTo>
                    <a:pt x="1121" y="252"/>
                  </a:lnTo>
                  <a:lnTo>
                    <a:pt x="1119" y="252"/>
                  </a:lnTo>
                  <a:close/>
                  <a:moveTo>
                    <a:pt x="1290" y="687"/>
                  </a:moveTo>
                  <a:lnTo>
                    <a:pt x="1292" y="687"/>
                  </a:lnTo>
                  <a:lnTo>
                    <a:pt x="1290" y="687"/>
                  </a:lnTo>
                  <a:lnTo>
                    <a:pt x="1290" y="687"/>
                  </a:lnTo>
                  <a:lnTo>
                    <a:pt x="1290" y="690"/>
                  </a:lnTo>
                  <a:lnTo>
                    <a:pt x="1290" y="690"/>
                  </a:lnTo>
                  <a:lnTo>
                    <a:pt x="1287" y="690"/>
                  </a:lnTo>
                  <a:lnTo>
                    <a:pt x="1287" y="692"/>
                  </a:lnTo>
                  <a:lnTo>
                    <a:pt x="1287" y="692"/>
                  </a:lnTo>
                  <a:lnTo>
                    <a:pt x="1287" y="692"/>
                  </a:lnTo>
                  <a:lnTo>
                    <a:pt x="1287" y="692"/>
                  </a:lnTo>
                  <a:lnTo>
                    <a:pt x="1290" y="687"/>
                  </a:lnTo>
                  <a:close/>
                  <a:moveTo>
                    <a:pt x="1295" y="644"/>
                  </a:moveTo>
                  <a:lnTo>
                    <a:pt x="1295" y="644"/>
                  </a:lnTo>
                  <a:lnTo>
                    <a:pt x="1292" y="644"/>
                  </a:lnTo>
                  <a:lnTo>
                    <a:pt x="1295" y="646"/>
                  </a:lnTo>
                  <a:lnTo>
                    <a:pt x="1295" y="646"/>
                  </a:lnTo>
                  <a:lnTo>
                    <a:pt x="1295" y="646"/>
                  </a:lnTo>
                  <a:lnTo>
                    <a:pt x="1295" y="644"/>
                  </a:lnTo>
                  <a:lnTo>
                    <a:pt x="1300" y="644"/>
                  </a:lnTo>
                  <a:lnTo>
                    <a:pt x="1300" y="644"/>
                  </a:lnTo>
                  <a:lnTo>
                    <a:pt x="1300" y="644"/>
                  </a:lnTo>
                  <a:lnTo>
                    <a:pt x="1297" y="644"/>
                  </a:lnTo>
                  <a:lnTo>
                    <a:pt x="1295" y="644"/>
                  </a:lnTo>
                  <a:lnTo>
                    <a:pt x="1295" y="644"/>
                  </a:lnTo>
                  <a:lnTo>
                    <a:pt x="1295" y="644"/>
                  </a:lnTo>
                  <a:lnTo>
                    <a:pt x="1295" y="644"/>
                  </a:lnTo>
                  <a:lnTo>
                    <a:pt x="1295" y="644"/>
                  </a:lnTo>
                  <a:close/>
                  <a:moveTo>
                    <a:pt x="1290" y="618"/>
                  </a:moveTo>
                  <a:lnTo>
                    <a:pt x="1290" y="618"/>
                  </a:lnTo>
                  <a:lnTo>
                    <a:pt x="1290" y="618"/>
                  </a:lnTo>
                  <a:lnTo>
                    <a:pt x="1290" y="618"/>
                  </a:lnTo>
                  <a:lnTo>
                    <a:pt x="1290" y="618"/>
                  </a:lnTo>
                  <a:lnTo>
                    <a:pt x="1292" y="618"/>
                  </a:lnTo>
                  <a:lnTo>
                    <a:pt x="1292" y="618"/>
                  </a:lnTo>
                  <a:lnTo>
                    <a:pt x="1292" y="616"/>
                  </a:lnTo>
                  <a:lnTo>
                    <a:pt x="1292" y="616"/>
                  </a:lnTo>
                  <a:lnTo>
                    <a:pt x="1290" y="618"/>
                  </a:lnTo>
                  <a:lnTo>
                    <a:pt x="1290" y="618"/>
                  </a:lnTo>
                  <a:close/>
                  <a:moveTo>
                    <a:pt x="1318" y="664"/>
                  </a:moveTo>
                  <a:lnTo>
                    <a:pt x="1318" y="664"/>
                  </a:lnTo>
                  <a:lnTo>
                    <a:pt x="1315" y="667"/>
                  </a:lnTo>
                  <a:lnTo>
                    <a:pt x="1313" y="667"/>
                  </a:lnTo>
                  <a:lnTo>
                    <a:pt x="1313" y="667"/>
                  </a:lnTo>
                  <a:lnTo>
                    <a:pt x="1310" y="667"/>
                  </a:lnTo>
                  <a:lnTo>
                    <a:pt x="1307" y="669"/>
                  </a:lnTo>
                  <a:lnTo>
                    <a:pt x="1307" y="667"/>
                  </a:lnTo>
                  <a:lnTo>
                    <a:pt x="1305" y="667"/>
                  </a:lnTo>
                  <a:lnTo>
                    <a:pt x="1302" y="669"/>
                  </a:lnTo>
                  <a:lnTo>
                    <a:pt x="1302" y="669"/>
                  </a:lnTo>
                  <a:lnTo>
                    <a:pt x="1300" y="669"/>
                  </a:lnTo>
                  <a:lnTo>
                    <a:pt x="1297" y="669"/>
                  </a:lnTo>
                  <a:lnTo>
                    <a:pt x="1297" y="669"/>
                  </a:lnTo>
                  <a:lnTo>
                    <a:pt x="1297" y="669"/>
                  </a:lnTo>
                  <a:lnTo>
                    <a:pt x="1302" y="669"/>
                  </a:lnTo>
                  <a:lnTo>
                    <a:pt x="1305" y="667"/>
                  </a:lnTo>
                  <a:lnTo>
                    <a:pt x="1305" y="667"/>
                  </a:lnTo>
                  <a:lnTo>
                    <a:pt x="1307" y="664"/>
                  </a:lnTo>
                  <a:lnTo>
                    <a:pt x="1307" y="664"/>
                  </a:lnTo>
                  <a:lnTo>
                    <a:pt x="1305" y="664"/>
                  </a:lnTo>
                  <a:lnTo>
                    <a:pt x="1302" y="664"/>
                  </a:lnTo>
                  <a:lnTo>
                    <a:pt x="1302" y="664"/>
                  </a:lnTo>
                  <a:lnTo>
                    <a:pt x="1302" y="662"/>
                  </a:lnTo>
                  <a:lnTo>
                    <a:pt x="1302" y="662"/>
                  </a:lnTo>
                  <a:lnTo>
                    <a:pt x="1305" y="662"/>
                  </a:lnTo>
                  <a:lnTo>
                    <a:pt x="1305" y="662"/>
                  </a:lnTo>
                  <a:lnTo>
                    <a:pt x="1305" y="662"/>
                  </a:lnTo>
                  <a:lnTo>
                    <a:pt x="1302" y="662"/>
                  </a:lnTo>
                  <a:lnTo>
                    <a:pt x="1300" y="662"/>
                  </a:lnTo>
                  <a:lnTo>
                    <a:pt x="1300" y="662"/>
                  </a:lnTo>
                  <a:lnTo>
                    <a:pt x="1305" y="659"/>
                  </a:lnTo>
                  <a:lnTo>
                    <a:pt x="1305" y="659"/>
                  </a:lnTo>
                  <a:lnTo>
                    <a:pt x="1307" y="657"/>
                  </a:lnTo>
                  <a:lnTo>
                    <a:pt x="1307" y="657"/>
                  </a:lnTo>
                  <a:lnTo>
                    <a:pt x="1307" y="657"/>
                  </a:lnTo>
                  <a:lnTo>
                    <a:pt x="1310" y="654"/>
                  </a:lnTo>
                  <a:lnTo>
                    <a:pt x="1313" y="654"/>
                  </a:lnTo>
                  <a:lnTo>
                    <a:pt x="1313" y="651"/>
                  </a:lnTo>
                  <a:lnTo>
                    <a:pt x="1313" y="651"/>
                  </a:lnTo>
                  <a:lnTo>
                    <a:pt x="1313" y="649"/>
                  </a:lnTo>
                  <a:lnTo>
                    <a:pt x="1310" y="649"/>
                  </a:lnTo>
                  <a:lnTo>
                    <a:pt x="1310" y="646"/>
                  </a:lnTo>
                  <a:lnTo>
                    <a:pt x="1307" y="646"/>
                  </a:lnTo>
                  <a:lnTo>
                    <a:pt x="1302" y="646"/>
                  </a:lnTo>
                  <a:lnTo>
                    <a:pt x="1302" y="646"/>
                  </a:lnTo>
                  <a:lnTo>
                    <a:pt x="1300" y="646"/>
                  </a:lnTo>
                  <a:lnTo>
                    <a:pt x="1300" y="649"/>
                  </a:lnTo>
                  <a:lnTo>
                    <a:pt x="1300" y="649"/>
                  </a:lnTo>
                  <a:lnTo>
                    <a:pt x="1297" y="649"/>
                  </a:lnTo>
                  <a:lnTo>
                    <a:pt x="1300" y="649"/>
                  </a:lnTo>
                  <a:lnTo>
                    <a:pt x="1300" y="646"/>
                  </a:lnTo>
                  <a:lnTo>
                    <a:pt x="1300" y="644"/>
                  </a:lnTo>
                  <a:lnTo>
                    <a:pt x="1300" y="644"/>
                  </a:lnTo>
                  <a:lnTo>
                    <a:pt x="1297" y="646"/>
                  </a:lnTo>
                  <a:lnTo>
                    <a:pt x="1295" y="646"/>
                  </a:lnTo>
                  <a:lnTo>
                    <a:pt x="1295" y="649"/>
                  </a:lnTo>
                  <a:lnTo>
                    <a:pt x="1292" y="649"/>
                  </a:lnTo>
                  <a:lnTo>
                    <a:pt x="1292" y="649"/>
                  </a:lnTo>
                  <a:lnTo>
                    <a:pt x="1290" y="649"/>
                  </a:lnTo>
                  <a:lnTo>
                    <a:pt x="1290" y="651"/>
                  </a:lnTo>
                  <a:lnTo>
                    <a:pt x="1287" y="651"/>
                  </a:lnTo>
                  <a:lnTo>
                    <a:pt x="1290" y="649"/>
                  </a:lnTo>
                  <a:lnTo>
                    <a:pt x="1287" y="649"/>
                  </a:lnTo>
                  <a:lnTo>
                    <a:pt x="1287" y="649"/>
                  </a:lnTo>
                  <a:lnTo>
                    <a:pt x="1285" y="651"/>
                  </a:lnTo>
                  <a:lnTo>
                    <a:pt x="1285" y="651"/>
                  </a:lnTo>
                  <a:lnTo>
                    <a:pt x="1285" y="651"/>
                  </a:lnTo>
                  <a:lnTo>
                    <a:pt x="1282" y="654"/>
                  </a:lnTo>
                  <a:lnTo>
                    <a:pt x="1282" y="654"/>
                  </a:lnTo>
                  <a:lnTo>
                    <a:pt x="1282" y="654"/>
                  </a:lnTo>
                  <a:lnTo>
                    <a:pt x="1282" y="654"/>
                  </a:lnTo>
                  <a:lnTo>
                    <a:pt x="1282" y="654"/>
                  </a:lnTo>
                  <a:lnTo>
                    <a:pt x="1282" y="654"/>
                  </a:lnTo>
                  <a:lnTo>
                    <a:pt x="1285" y="651"/>
                  </a:lnTo>
                  <a:lnTo>
                    <a:pt x="1285" y="649"/>
                  </a:lnTo>
                  <a:lnTo>
                    <a:pt x="1287" y="646"/>
                  </a:lnTo>
                  <a:lnTo>
                    <a:pt x="1287" y="646"/>
                  </a:lnTo>
                  <a:lnTo>
                    <a:pt x="1287" y="646"/>
                  </a:lnTo>
                  <a:lnTo>
                    <a:pt x="1287" y="644"/>
                  </a:lnTo>
                  <a:lnTo>
                    <a:pt x="1285" y="646"/>
                  </a:lnTo>
                  <a:lnTo>
                    <a:pt x="1285" y="646"/>
                  </a:lnTo>
                  <a:lnTo>
                    <a:pt x="1285" y="649"/>
                  </a:lnTo>
                  <a:lnTo>
                    <a:pt x="1282" y="649"/>
                  </a:lnTo>
                  <a:lnTo>
                    <a:pt x="1282" y="649"/>
                  </a:lnTo>
                  <a:lnTo>
                    <a:pt x="1285" y="646"/>
                  </a:lnTo>
                  <a:lnTo>
                    <a:pt x="1285" y="646"/>
                  </a:lnTo>
                  <a:lnTo>
                    <a:pt x="1285" y="646"/>
                  </a:lnTo>
                  <a:lnTo>
                    <a:pt x="1282" y="646"/>
                  </a:lnTo>
                  <a:lnTo>
                    <a:pt x="1277" y="646"/>
                  </a:lnTo>
                  <a:lnTo>
                    <a:pt x="1277" y="646"/>
                  </a:lnTo>
                  <a:lnTo>
                    <a:pt x="1272" y="646"/>
                  </a:lnTo>
                  <a:lnTo>
                    <a:pt x="1272" y="646"/>
                  </a:lnTo>
                  <a:lnTo>
                    <a:pt x="1274" y="644"/>
                  </a:lnTo>
                  <a:lnTo>
                    <a:pt x="1277" y="641"/>
                  </a:lnTo>
                  <a:lnTo>
                    <a:pt x="1277" y="641"/>
                  </a:lnTo>
                  <a:lnTo>
                    <a:pt x="1277" y="641"/>
                  </a:lnTo>
                  <a:lnTo>
                    <a:pt x="1274" y="641"/>
                  </a:lnTo>
                  <a:lnTo>
                    <a:pt x="1274" y="641"/>
                  </a:lnTo>
                  <a:lnTo>
                    <a:pt x="1272" y="644"/>
                  </a:lnTo>
                  <a:lnTo>
                    <a:pt x="1272" y="644"/>
                  </a:lnTo>
                  <a:lnTo>
                    <a:pt x="1274" y="641"/>
                  </a:lnTo>
                  <a:lnTo>
                    <a:pt x="1279" y="639"/>
                  </a:lnTo>
                  <a:lnTo>
                    <a:pt x="1282" y="636"/>
                  </a:lnTo>
                  <a:lnTo>
                    <a:pt x="1285" y="636"/>
                  </a:lnTo>
                  <a:lnTo>
                    <a:pt x="1285" y="634"/>
                  </a:lnTo>
                  <a:lnTo>
                    <a:pt x="1285" y="634"/>
                  </a:lnTo>
                  <a:lnTo>
                    <a:pt x="1282" y="636"/>
                  </a:lnTo>
                  <a:lnTo>
                    <a:pt x="1279" y="636"/>
                  </a:lnTo>
                  <a:lnTo>
                    <a:pt x="1279" y="634"/>
                  </a:lnTo>
                  <a:lnTo>
                    <a:pt x="1279" y="634"/>
                  </a:lnTo>
                  <a:lnTo>
                    <a:pt x="1274" y="634"/>
                  </a:lnTo>
                  <a:lnTo>
                    <a:pt x="1274" y="636"/>
                  </a:lnTo>
                  <a:lnTo>
                    <a:pt x="1274" y="636"/>
                  </a:lnTo>
                  <a:lnTo>
                    <a:pt x="1274" y="634"/>
                  </a:lnTo>
                  <a:lnTo>
                    <a:pt x="1274" y="634"/>
                  </a:lnTo>
                  <a:lnTo>
                    <a:pt x="1274" y="631"/>
                  </a:lnTo>
                  <a:lnTo>
                    <a:pt x="1274" y="631"/>
                  </a:lnTo>
                  <a:lnTo>
                    <a:pt x="1274" y="634"/>
                  </a:lnTo>
                  <a:lnTo>
                    <a:pt x="1272" y="634"/>
                  </a:lnTo>
                  <a:lnTo>
                    <a:pt x="1269" y="636"/>
                  </a:lnTo>
                  <a:lnTo>
                    <a:pt x="1269" y="636"/>
                  </a:lnTo>
                  <a:lnTo>
                    <a:pt x="1267" y="636"/>
                  </a:lnTo>
                  <a:lnTo>
                    <a:pt x="1264" y="639"/>
                  </a:lnTo>
                  <a:lnTo>
                    <a:pt x="1262" y="641"/>
                  </a:lnTo>
                  <a:lnTo>
                    <a:pt x="1259" y="644"/>
                  </a:lnTo>
                  <a:lnTo>
                    <a:pt x="1259" y="641"/>
                  </a:lnTo>
                  <a:lnTo>
                    <a:pt x="1262" y="641"/>
                  </a:lnTo>
                  <a:lnTo>
                    <a:pt x="1259" y="641"/>
                  </a:lnTo>
                  <a:lnTo>
                    <a:pt x="1259" y="639"/>
                  </a:lnTo>
                  <a:lnTo>
                    <a:pt x="1262" y="639"/>
                  </a:lnTo>
                  <a:lnTo>
                    <a:pt x="1262" y="639"/>
                  </a:lnTo>
                  <a:lnTo>
                    <a:pt x="1262" y="636"/>
                  </a:lnTo>
                  <a:lnTo>
                    <a:pt x="1264" y="636"/>
                  </a:lnTo>
                  <a:lnTo>
                    <a:pt x="1264" y="636"/>
                  </a:lnTo>
                  <a:lnTo>
                    <a:pt x="1264" y="634"/>
                  </a:lnTo>
                  <a:lnTo>
                    <a:pt x="1264" y="634"/>
                  </a:lnTo>
                  <a:lnTo>
                    <a:pt x="1269" y="631"/>
                  </a:lnTo>
                  <a:lnTo>
                    <a:pt x="1272" y="629"/>
                  </a:lnTo>
                  <a:lnTo>
                    <a:pt x="1272" y="626"/>
                  </a:lnTo>
                  <a:lnTo>
                    <a:pt x="1272" y="626"/>
                  </a:lnTo>
                  <a:lnTo>
                    <a:pt x="1274" y="626"/>
                  </a:lnTo>
                  <a:lnTo>
                    <a:pt x="1279" y="621"/>
                  </a:lnTo>
                  <a:lnTo>
                    <a:pt x="1279" y="621"/>
                  </a:lnTo>
                  <a:lnTo>
                    <a:pt x="1282" y="618"/>
                  </a:lnTo>
                  <a:lnTo>
                    <a:pt x="1282" y="618"/>
                  </a:lnTo>
                  <a:lnTo>
                    <a:pt x="1282" y="618"/>
                  </a:lnTo>
                  <a:lnTo>
                    <a:pt x="1285" y="616"/>
                  </a:lnTo>
                  <a:lnTo>
                    <a:pt x="1287" y="616"/>
                  </a:lnTo>
                  <a:lnTo>
                    <a:pt x="1290" y="611"/>
                  </a:lnTo>
                  <a:lnTo>
                    <a:pt x="1290" y="611"/>
                  </a:lnTo>
                  <a:lnTo>
                    <a:pt x="1290" y="611"/>
                  </a:lnTo>
                  <a:lnTo>
                    <a:pt x="1290" y="608"/>
                  </a:lnTo>
                  <a:lnTo>
                    <a:pt x="1290" y="608"/>
                  </a:lnTo>
                  <a:lnTo>
                    <a:pt x="1290" y="608"/>
                  </a:lnTo>
                  <a:lnTo>
                    <a:pt x="1290" y="608"/>
                  </a:lnTo>
                  <a:lnTo>
                    <a:pt x="1287" y="608"/>
                  </a:lnTo>
                  <a:lnTo>
                    <a:pt x="1287" y="608"/>
                  </a:lnTo>
                  <a:lnTo>
                    <a:pt x="1287" y="608"/>
                  </a:lnTo>
                  <a:lnTo>
                    <a:pt x="1287" y="606"/>
                  </a:lnTo>
                  <a:lnTo>
                    <a:pt x="1287" y="606"/>
                  </a:lnTo>
                  <a:lnTo>
                    <a:pt x="1290" y="606"/>
                  </a:lnTo>
                  <a:lnTo>
                    <a:pt x="1292" y="606"/>
                  </a:lnTo>
                  <a:lnTo>
                    <a:pt x="1295" y="603"/>
                  </a:lnTo>
                  <a:lnTo>
                    <a:pt x="1295" y="603"/>
                  </a:lnTo>
                  <a:lnTo>
                    <a:pt x="1297" y="603"/>
                  </a:lnTo>
                  <a:lnTo>
                    <a:pt x="1300" y="601"/>
                  </a:lnTo>
                  <a:lnTo>
                    <a:pt x="1300" y="601"/>
                  </a:lnTo>
                  <a:lnTo>
                    <a:pt x="1300" y="601"/>
                  </a:lnTo>
                  <a:lnTo>
                    <a:pt x="1300" y="601"/>
                  </a:lnTo>
                  <a:lnTo>
                    <a:pt x="1295" y="601"/>
                  </a:lnTo>
                  <a:lnTo>
                    <a:pt x="1295" y="601"/>
                  </a:lnTo>
                  <a:lnTo>
                    <a:pt x="1295" y="601"/>
                  </a:lnTo>
                  <a:lnTo>
                    <a:pt x="1295" y="603"/>
                  </a:lnTo>
                  <a:lnTo>
                    <a:pt x="1292" y="601"/>
                  </a:lnTo>
                  <a:lnTo>
                    <a:pt x="1292" y="601"/>
                  </a:lnTo>
                  <a:lnTo>
                    <a:pt x="1290" y="601"/>
                  </a:lnTo>
                  <a:lnTo>
                    <a:pt x="1285" y="603"/>
                  </a:lnTo>
                  <a:lnTo>
                    <a:pt x="1279" y="603"/>
                  </a:lnTo>
                  <a:lnTo>
                    <a:pt x="1277" y="606"/>
                  </a:lnTo>
                  <a:lnTo>
                    <a:pt x="1277" y="606"/>
                  </a:lnTo>
                  <a:lnTo>
                    <a:pt x="1274" y="606"/>
                  </a:lnTo>
                  <a:lnTo>
                    <a:pt x="1272" y="608"/>
                  </a:lnTo>
                  <a:lnTo>
                    <a:pt x="1272" y="611"/>
                  </a:lnTo>
                  <a:lnTo>
                    <a:pt x="1269" y="611"/>
                  </a:lnTo>
                  <a:lnTo>
                    <a:pt x="1267" y="613"/>
                  </a:lnTo>
                  <a:lnTo>
                    <a:pt x="1267" y="613"/>
                  </a:lnTo>
                  <a:lnTo>
                    <a:pt x="1267" y="613"/>
                  </a:lnTo>
                  <a:lnTo>
                    <a:pt x="1267" y="613"/>
                  </a:lnTo>
                  <a:lnTo>
                    <a:pt x="1267" y="616"/>
                  </a:lnTo>
                  <a:lnTo>
                    <a:pt x="1264" y="618"/>
                  </a:lnTo>
                  <a:lnTo>
                    <a:pt x="1262" y="618"/>
                  </a:lnTo>
                  <a:lnTo>
                    <a:pt x="1262" y="618"/>
                  </a:lnTo>
                  <a:lnTo>
                    <a:pt x="1259" y="618"/>
                  </a:lnTo>
                  <a:lnTo>
                    <a:pt x="1259" y="621"/>
                  </a:lnTo>
                  <a:lnTo>
                    <a:pt x="1259" y="621"/>
                  </a:lnTo>
                  <a:lnTo>
                    <a:pt x="1262" y="621"/>
                  </a:lnTo>
                  <a:lnTo>
                    <a:pt x="1262" y="621"/>
                  </a:lnTo>
                  <a:lnTo>
                    <a:pt x="1259" y="621"/>
                  </a:lnTo>
                  <a:lnTo>
                    <a:pt x="1259" y="621"/>
                  </a:lnTo>
                  <a:lnTo>
                    <a:pt x="1256" y="623"/>
                  </a:lnTo>
                  <a:lnTo>
                    <a:pt x="1254" y="623"/>
                  </a:lnTo>
                  <a:lnTo>
                    <a:pt x="1251" y="631"/>
                  </a:lnTo>
                  <a:lnTo>
                    <a:pt x="1246" y="634"/>
                  </a:lnTo>
                  <a:lnTo>
                    <a:pt x="1241" y="641"/>
                  </a:lnTo>
                  <a:lnTo>
                    <a:pt x="1241" y="641"/>
                  </a:lnTo>
                  <a:lnTo>
                    <a:pt x="1241" y="644"/>
                  </a:lnTo>
                  <a:lnTo>
                    <a:pt x="1241" y="646"/>
                  </a:lnTo>
                  <a:lnTo>
                    <a:pt x="1241" y="646"/>
                  </a:lnTo>
                  <a:lnTo>
                    <a:pt x="1241" y="646"/>
                  </a:lnTo>
                  <a:lnTo>
                    <a:pt x="1239" y="644"/>
                  </a:lnTo>
                  <a:lnTo>
                    <a:pt x="1239" y="644"/>
                  </a:lnTo>
                  <a:lnTo>
                    <a:pt x="1236" y="646"/>
                  </a:lnTo>
                  <a:lnTo>
                    <a:pt x="1234" y="646"/>
                  </a:lnTo>
                  <a:lnTo>
                    <a:pt x="1234" y="649"/>
                  </a:lnTo>
                  <a:lnTo>
                    <a:pt x="1234" y="649"/>
                  </a:lnTo>
                  <a:lnTo>
                    <a:pt x="1234" y="651"/>
                  </a:lnTo>
                  <a:lnTo>
                    <a:pt x="1234" y="651"/>
                  </a:lnTo>
                  <a:lnTo>
                    <a:pt x="1236" y="651"/>
                  </a:lnTo>
                  <a:lnTo>
                    <a:pt x="1236" y="651"/>
                  </a:lnTo>
                  <a:lnTo>
                    <a:pt x="1234" y="651"/>
                  </a:lnTo>
                  <a:lnTo>
                    <a:pt x="1234" y="654"/>
                  </a:lnTo>
                  <a:lnTo>
                    <a:pt x="1234" y="657"/>
                  </a:lnTo>
                  <a:lnTo>
                    <a:pt x="1234" y="657"/>
                  </a:lnTo>
                  <a:lnTo>
                    <a:pt x="1234" y="657"/>
                  </a:lnTo>
                  <a:lnTo>
                    <a:pt x="1234" y="657"/>
                  </a:lnTo>
                  <a:lnTo>
                    <a:pt x="1234" y="657"/>
                  </a:lnTo>
                  <a:lnTo>
                    <a:pt x="1231" y="654"/>
                  </a:lnTo>
                  <a:lnTo>
                    <a:pt x="1228" y="654"/>
                  </a:lnTo>
                  <a:lnTo>
                    <a:pt x="1228" y="654"/>
                  </a:lnTo>
                  <a:lnTo>
                    <a:pt x="1228" y="654"/>
                  </a:lnTo>
                  <a:lnTo>
                    <a:pt x="1226" y="657"/>
                  </a:lnTo>
                  <a:lnTo>
                    <a:pt x="1223" y="659"/>
                  </a:lnTo>
                  <a:lnTo>
                    <a:pt x="1221" y="662"/>
                  </a:lnTo>
                  <a:lnTo>
                    <a:pt x="1218" y="664"/>
                  </a:lnTo>
                  <a:lnTo>
                    <a:pt x="1218" y="667"/>
                  </a:lnTo>
                  <a:lnTo>
                    <a:pt x="1216" y="664"/>
                  </a:lnTo>
                  <a:lnTo>
                    <a:pt x="1216" y="664"/>
                  </a:lnTo>
                  <a:lnTo>
                    <a:pt x="1216" y="664"/>
                  </a:lnTo>
                  <a:lnTo>
                    <a:pt x="1216" y="664"/>
                  </a:lnTo>
                  <a:lnTo>
                    <a:pt x="1218" y="662"/>
                  </a:lnTo>
                  <a:lnTo>
                    <a:pt x="1216" y="662"/>
                  </a:lnTo>
                  <a:lnTo>
                    <a:pt x="1211" y="664"/>
                  </a:lnTo>
                  <a:lnTo>
                    <a:pt x="1211" y="667"/>
                  </a:lnTo>
                  <a:lnTo>
                    <a:pt x="1208" y="667"/>
                  </a:lnTo>
                  <a:lnTo>
                    <a:pt x="1213" y="667"/>
                  </a:lnTo>
                  <a:lnTo>
                    <a:pt x="1218" y="667"/>
                  </a:lnTo>
                  <a:lnTo>
                    <a:pt x="1218" y="667"/>
                  </a:lnTo>
                  <a:lnTo>
                    <a:pt x="1221" y="667"/>
                  </a:lnTo>
                  <a:lnTo>
                    <a:pt x="1223" y="667"/>
                  </a:lnTo>
                  <a:lnTo>
                    <a:pt x="1223" y="667"/>
                  </a:lnTo>
                  <a:lnTo>
                    <a:pt x="1221" y="669"/>
                  </a:lnTo>
                  <a:lnTo>
                    <a:pt x="1218" y="669"/>
                  </a:lnTo>
                  <a:lnTo>
                    <a:pt x="1216" y="672"/>
                  </a:lnTo>
                  <a:lnTo>
                    <a:pt x="1211" y="674"/>
                  </a:lnTo>
                  <a:lnTo>
                    <a:pt x="1203" y="679"/>
                  </a:lnTo>
                  <a:lnTo>
                    <a:pt x="1200" y="679"/>
                  </a:lnTo>
                  <a:lnTo>
                    <a:pt x="1200" y="682"/>
                  </a:lnTo>
                  <a:lnTo>
                    <a:pt x="1200" y="682"/>
                  </a:lnTo>
                  <a:lnTo>
                    <a:pt x="1200" y="685"/>
                  </a:lnTo>
                  <a:lnTo>
                    <a:pt x="1200" y="687"/>
                  </a:lnTo>
                  <a:lnTo>
                    <a:pt x="1200" y="687"/>
                  </a:lnTo>
                  <a:lnTo>
                    <a:pt x="1203" y="690"/>
                  </a:lnTo>
                  <a:lnTo>
                    <a:pt x="1206" y="687"/>
                  </a:lnTo>
                  <a:lnTo>
                    <a:pt x="1211" y="687"/>
                  </a:lnTo>
                  <a:lnTo>
                    <a:pt x="1213" y="687"/>
                  </a:lnTo>
                  <a:lnTo>
                    <a:pt x="1216" y="687"/>
                  </a:lnTo>
                  <a:lnTo>
                    <a:pt x="1218" y="685"/>
                  </a:lnTo>
                  <a:lnTo>
                    <a:pt x="1218" y="685"/>
                  </a:lnTo>
                  <a:lnTo>
                    <a:pt x="1218" y="687"/>
                  </a:lnTo>
                  <a:lnTo>
                    <a:pt x="1218" y="687"/>
                  </a:lnTo>
                  <a:lnTo>
                    <a:pt x="1223" y="687"/>
                  </a:lnTo>
                  <a:lnTo>
                    <a:pt x="1226" y="687"/>
                  </a:lnTo>
                  <a:lnTo>
                    <a:pt x="1228" y="687"/>
                  </a:lnTo>
                  <a:lnTo>
                    <a:pt x="1231" y="687"/>
                  </a:lnTo>
                  <a:lnTo>
                    <a:pt x="1241" y="687"/>
                  </a:lnTo>
                  <a:lnTo>
                    <a:pt x="1244" y="690"/>
                  </a:lnTo>
                  <a:lnTo>
                    <a:pt x="1246" y="687"/>
                  </a:lnTo>
                  <a:lnTo>
                    <a:pt x="1249" y="687"/>
                  </a:lnTo>
                  <a:lnTo>
                    <a:pt x="1251" y="687"/>
                  </a:lnTo>
                  <a:lnTo>
                    <a:pt x="1254" y="687"/>
                  </a:lnTo>
                  <a:lnTo>
                    <a:pt x="1254" y="687"/>
                  </a:lnTo>
                  <a:lnTo>
                    <a:pt x="1256" y="685"/>
                  </a:lnTo>
                  <a:lnTo>
                    <a:pt x="1256" y="685"/>
                  </a:lnTo>
                  <a:lnTo>
                    <a:pt x="1256" y="685"/>
                  </a:lnTo>
                  <a:lnTo>
                    <a:pt x="1259" y="685"/>
                  </a:lnTo>
                  <a:lnTo>
                    <a:pt x="1262" y="685"/>
                  </a:lnTo>
                  <a:lnTo>
                    <a:pt x="1262" y="682"/>
                  </a:lnTo>
                  <a:lnTo>
                    <a:pt x="1262" y="685"/>
                  </a:lnTo>
                  <a:lnTo>
                    <a:pt x="1259" y="687"/>
                  </a:lnTo>
                  <a:lnTo>
                    <a:pt x="1256" y="690"/>
                  </a:lnTo>
                  <a:lnTo>
                    <a:pt x="1254" y="690"/>
                  </a:lnTo>
                  <a:lnTo>
                    <a:pt x="1256" y="690"/>
                  </a:lnTo>
                  <a:lnTo>
                    <a:pt x="1259" y="690"/>
                  </a:lnTo>
                  <a:lnTo>
                    <a:pt x="1262" y="690"/>
                  </a:lnTo>
                  <a:lnTo>
                    <a:pt x="1262" y="690"/>
                  </a:lnTo>
                  <a:lnTo>
                    <a:pt x="1264" y="690"/>
                  </a:lnTo>
                  <a:lnTo>
                    <a:pt x="1267" y="690"/>
                  </a:lnTo>
                  <a:lnTo>
                    <a:pt x="1267" y="690"/>
                  </a:lnTo>
                  <a:lnTo>
                    <a:pt x="1267" y="690"/>
                  </a:lnTo>
                  <a:lnTo>
                    <a:pt x="1267" y="690"/>
                  </a:lnTo>
                  <a:lnTo>
                    <a:pt x="1269" y="687"/>
                  </a:lnTo>
                  <a:lnTo>
                    <a:pt x="1269" y="687"/>
                  </a:lnTo>
                  <a:lnTo>
                    <a:pt x="1272" y="687"/>
                  </a:lnTo>
                  <a:lnTo>
                    <a:pt x="1274" y="687"/>
                  </a:lnTo>
                  <a:lnTo>
                    <a:pt x="1274" y="687"/>
                  </a:lnTo>
                  <a:lnTo>
                    <a:pt x="1277" y="687"/>
                  </a:lnTo>
                  <a:lnTo>
                    <a:pt x="1277" y="687"/>
                  </a:lnTo>
                  <a:lnTo>
                    <a:pt x="1279" y="687"/>
                  </a:lnTo>
                  <a:lnTo>
                    <a:pt x="1279" y="687"/>
                  </a:lnTo>
                  <a:lnTo>
                    <a:pt x="1277" y="690"/>
                  </a:lnTo>
                  <a:lnTo>
                    <a:pt x="1274" y="690"/>
                  </a:lnTo>
                  <a:lnTo>
                    <a:pt x="1272" y="692"/>
                  </a:lnTo>
                  <a:lnTo>
                    <a:pt x="1267" y="695"/>
                  </a:lnTo>
                  <a:lnTo>
                    <a:pt x="1267" y="697"/>
                  </a:lnTo>
                  <a:lnTo>
                    <a:pt x="1264" y="697"/>
                  </a:lnTo>
                  <a:lnTo>
                    <a:pt x="1262" y="697"/>
                  </a:lnTo>
                  <a:lnTo>
                    <a:pt x="1259" y="700"/>
                  </a:lnTo>
                  <a:lnTo>
                    <a:pt x="1256" y="700"/>
                  </a:lnTo>
                  <a:lnTo>
                    <a:pt x="1254" y="700"/>
                  </a:lnTo>
                  <a:lnTo>
                    <a:pt x="1254" y="702"/>
                  </a:lnTo>
                  <a:lnTo>
                    <a:pt x="1254" y="702"/>
                  </a:lnTo>
                  <a:lnTo>
                    <a:pt x="1254" y="702"/>
                  </a:lnTo>
                  <a:lnTo>
                    <a:pt x="1254" y="702"/>
                  </a:lnTo>
                  <a:lnTo>
                    <a:pt x="1254" y="705"/>
                  </a:lnTo>
                  <a:lnTo>
                    <a:pt x="1256" y="705"/>
                  </a:lnTo>
                  <a:lnTo>
                    <a:pt x="1259" y="705"/>
                  </a:lnTo>
                  <a:lnTo>
                    <a:pt x="1262" y="702"/>
                  </a:lnTo>
                  <a:lnTo>
                    <a:pt x="1262" y="702"/>
                  </a:lnTo>
                  <a:lnTo>
                    <a:pt x="1264" y="702"/>
                  </a:lnTo>
                  <a:lnTo>
                    <a:pt x="1264" y="702"/>
                  </a:lnTo>
                  <a:lnTo>
                    <a:pt x="1267" y="702"/>
                  </a:lnTo>
                  <a:lnTo>
                    <a:pt x="1269" y="700"/>
                  </a:lnTo>
                  <a:lnTo>
                    <a:pt x="1269" y="700"/>
                  </a:lnTo>
                  <a:lnTo>
                    <a:pt x="1272" y="697"/>
                  </a:lnTo>
                  <a:lnTo>
                    <a:pt x="1277" y="692"/>
                  </a:lnTo>
                  <a:lnTo>
                    <a:pt x="1277" y="692"/>
                  </a:lnTo>
                  <a:lnTo>
                    <a:pt x="1279" y="692"/>
                  </a:lnTo>
                  <a:lnTo>
                    <a:pt x="1279" y="692"/>
                  </a:lnTo>
                  <a:lnTo>
                    <a:pt x="1282" y="690"/>
                  </a:lnTo>
                  <a:lnTo>
                    <a:pt x="1285" y="690"/>
                  </a:lnTo>
                  <a:lnTo>
                    <a:pt x="1285" y="690"/>
                  </a:lnTo>
                  <a:lnTo>
                    <a:pt x="1282" y="692"/>
                  </a:lnTo>
                  <a:lnTo>
                    <a:pt x="1282" y="692"/>
                  </a:lnTo>
                  <a:lnTo>
                    <a:pt x="1285" y="692"/>
                  </a:lnTo>
                  <a:lnTo>
                    <a:pt x="1285" y="692"/>
                  </a:lnTo>
                  <a:lnTo>
                    <a:pt x="1285" y="690"/>
                  </a:lnTo>
                  <a:lnTo>
                    <a:pt x="1287" y="690"/>
                  </a:lnTo>
                  <a:lnTo>
                    <a:pt x="1290" y="685"/>
                  </a:lnTo>
                  <a:lnTo>
                    <a:pt x="1292" y="682"/>
                  </a:lnTo>
                  <a:lnTo>
                    <a:pt x="1292" y="682"/>
                  </a:lnTo>
                  <a:lnTo>
                    <a:pt x="1295" y="682"/>
                  </a:lnTo>
                  <a:lnTo>
                    <a:pt x="1295" y="685"/>
                  </a:lnTo>
                  <a:lnTo>
                    <a:pt x="1295" y="687"/>
                  </a:lnTo>
                  <a:lnTo>
                    <a:pt x="1295" y="690"/>
                  </a:lnTo>
                  <a:lnTo>
                    <a:pt x="1295" y="690"/>
                  </a:lnTo>
                  <a:lnTo>
                    <a:pt x="1295" y="692"/>
                  </a:lnTo>
                  <a:lnTo>
                    <a:pt x="1295" y="692"/>
                  </a:lnTo>
                  <a:lnTo>
                    <a:pt x="1292" y="695"/>
                  </a:lnTo>
                  <a:lnTo>
                    <a:pt x="1287" y="700"/>
                  </a:lnTo>
                  <a:lnTo>
                    <a:pt x="1287" y="702"/>
                  </a:lnTo>
                  <a:lnTo>
                    <a:pt x="1285" y="702"/>
                  </a:lnTo>
                  <a:lnTo>
                    <a:pt x="1285" y="705"/>
                  </a:lnTo>
                  <a:lnTo>
                    <a:pt x="1285" y="705"/>
                  </a:lnTo>
                  <a:lnTo>
                    <a:pt x="1287" y="705"/>
                  </a:lnTo>
                  <a:lnTo>
                    <a:pt x="1287" y="705"/>
                  </a:lnTo>
                  <a:lnTo>
                    <a:pt x="1287" y="705"/>
                  </a:lnTo>
                  <a:lnTo>
                    <a:pt x="1292" y="702"/>
                  </a:lnTo>
                  <a:lnTo>
                    <a:pt x="1292" y="700"/>
                  </a:lnTo>
                  <a:lnTo>
                    <a:pt x="1295" y="700"/>
                  </a:lnTo>
                  <a:lnTo>
                    <a:pt x="1297" y="697"/>
                  </a:lnTo>
                  <a:lnTo>
                    <a:pt x="1297" y="697"/>
                  </a:lnTo>
                  <a:lnTo>
                    <a:pt x="1297" y="697"/>
                  </a:lnTo>
                  <a:lnTo>
                    <a:pt x="1297" y="700"/>
                  </a:lnTo>
                  <a:lnTo>
                    <a:pt x="1295" y="700"/>
                  </a:lnTo>
                  <a:lnTo>
                    <a:pt x="1297" y="702"/>
                  </a:lnTo>
                  <a:lnTo>
                    <a:pt x="1295" y="702"/>
                  </a:lnTo>
                  <a:lnTo>
                    <a:pt x="1295" y="707"/>
                  </a:lnTo>
                  <a:lnTo>
                    <a:pt x="1295" y="710"/>
                  </a:lnTo>
                  <a:lnTo>
                    <a:pt x="1295" y="710"/>
                  </a:lnTo>
                  <a:lnTo>
                    <a:pt x="1295" y="710"/>
                  </a:lnTo>
                  <a:lnTo>
                    <a:pt x="1297" y="707"/>
                  </a:lnTo>
                  <a:lnTo>
                    <a:pt x="1300" y="707"/>
                  </a:lnTo>
                  <a:lnTo>
                    <a:pt x="1300" y="707"/>
                  </a:lnTo>
                  <a:lnTo>
                    <a:pt x="1300" y="707"/>
                  </a:lnTo>
                  <a:lnTo>
                    <a:pt x="1300" y="707"/>
                  </a:lnTo>
                  <a:lnTo>
                    <a:pt x="1302" y="710"/>
                  </a:lnTo>
                  <a:lnTo>
                    <a:pt x="1302" y="707"/>
                  </a:lnTo>
                  <a:lnTo>
                    <a:pt x="1302" y="707"/>
                  </a:lnTo>
                  <a:lnTo>
                    <a:pt x="1305" y="707"/>
                  </a:lnTo>
                  <a:lnTo>
                    <a:pt x="1305" y="705"/>
                  </a:lnTo>
                  <a:lnTo>
                    <a:pt x="1307" y="702"/>
                  </a:lnTo>
                  <a:lnTo>
                    <a:pt x="1310" y="700"/>
                  </a:lnTo>
                  <a:lnTo>
                    <a:pt x="1310" y="700"/>
                  </a:lnTo>
                  <a:lnTo>
                    <a:pt x="1310" y="700"/>
                  </a:lnTo>
                  <a:lnTo>
                    <a:pt x="1315" y="692"/>
                  </a:lnTo>
                  <a:lnTo>
                    <a:pt x="1315" y="690"/>
                  </a:lnTo>
                  <a:lnTo>
                    <a:pt x="1318" y="690"/>
                  </a:lnTo>
                  <a:lnTo>
                    <a:pt x="1318" y="687"/>
                  </a:lnTo>
                  <a:lnTo>
                    <a:pt x="1318" y="685"/>
                  </a:lnTo>
                  <a:lnTo>
                    <a:pt x="1318" y="685"/>
                  </a:lnTo>
                  <a:lnTo>
                    <a:pt x="1318" y="685"/>
                  </a:lnTo>
                  <a:lnTo>
                    <a:pt x="1315" y="685"/>
                  </a:lnTo>
                  <a:lnTo>
                    <a:pt x="1315" y="685"/>
                  </a:lnTo>
                  <a:lnTo>
                    <a:pt x="1313" y="687"/>
                  </a:lnTo>
                  <a:lnTo>
                    <a:pt x="1313" y="690"/>
                  </a:lnTo>
                  <a:lnTo>
                    <a:pt x="1310" y="690"/>
                  </a:lnTo>
                  <a:lnTo>
                    <a:pt x="1307" y="692"/>
                  </a:lnTo>
                  <a:lnTo>
                    <a:pt x="1307" y="690"/>
                  </a:lnTo>
                  <a:lnTo>
                    <a:pt x="1307" y="690"/>
                  </a:lnTo>
                  <a:lnTo>
                    <a:pt x="1307" y="687"/>
                  </a:lnTo>
                  <a:lnTo>
                    <a:pt x="1310" y="685"/>
                  </a:lnTo>
                  <a:lnTo>
                    <a:pt x="1310" y="682"/>
                  </a:lnTo>
                  <a:lnTo>
                    <a:pt x="1315" y="679"/>
                  </a:lnTo>
                  <a:lnTo>
                    <a:pt x="1315" y="679"/>
                  </a:lnTo>
                  <a:lnTo>
                    <a:pt x="1318" y="677"/>
                  </a:lnTo>
                  <a:lnTo>
                    <a:pt x="1318" y="677"/>
                  </a:lnTo>
                  <a:lnTo>
                    <a:pt x="1318" y="677"/>
                  </a:lnTo>
                  <a:lnTo>
                    <a:pt x="1318" y="674"/>
                  </a:lnTo>
                  <a:lnTo>
                    <a:pt x="1313" y="677"/>
                  </a:lnTo>
                  <a:lnTo>
                    <a:pt x="1310" y="679"/>
                  </a:lnTo>
                  <a:lnTo>
                    <a:pt x="1302" y="685"/>
                  </a:lnTo>
                  <a:lnTo>
                    <a:pt x="1300" y="687"/>
                  </a:lnTo>
                  <a:lnTo>
                    <a:pt x="1300" y="687"/>
                  </a:lnTo>
                  <a:lnTo>
                    <a:pt x="1297" y="687"/>
                  </a:lnTo>
                  <a:lnTo>
                    <a:pt x="1297" y="687"/>
                  </a:lnTo>
                  <a:lnTo>
                    <a:pt x="1297" y="685"/>
                  </a:lnTo>
                  <a:lnTo>
                    <a:pt x="1297" y="685"/>
                  </a:lnTo>
                  <a:lnTo>
                    <a:pt x="1297" y="685"/>
                  </a:lnTo>
                  <a:lnTo>
                    <a:pt x="1302" y="679"/>
                  </a:lnTo>
                  <a:lnTo>
                    <a:pt x="1302" y="679"/>
                  </a:lnTo>
                  <a:lnTo>
                    <a:pt x="1302" y="679"/>
                  </a:lnTo>
                  <a:lnTo>
                    <a:pt x="1302" y="679"/>
                  </a:lnTo>
                  <a:lnTo>
                    <a:pt x="1300" y="679"/>
                  </a:lnTo>
                  <a:lnTo>
                    <a:pt x="1300" y="679"/>
                  </a:lnTo>
                  <a:lnTo>
                    <a:pt x="1300" y="677"/>
                  </a:lnTo>
                  <a:lnTo>
                    <a:pt x="1302" y="677"/>
                  </a:lnTo>
                  <a:lnTo>
                    <a:pt x="1302" y="677"/>
                  </a:lnTo>
                  <a:lnTo>
                    <a:pt x="1305" y="677"/>
                  </a:lnTo>
                  <a:lnTo>
                    <a:pt x="1305" y="677"/>
                  </a:lnTo>
                  <a:lnTo>
                    <a:pt x="1305" y="674"/>
                  </a:lnTo>
                  <a:lnTo>
                    <a:pt x="1305" y="674"/>
                  </a:lnTo>
                  <a:lnTo>
                    <a:pt x="1307" y="674"/>
                  </a:lnTo>
                  <a:lnTo>
                    <a:pt x="1310" y="672"/>
                  </a:lnTo>
                  <a:lnTo>
                    <a:pt x="1310" y="672"/>
                  </a:lnTo>
                  <a:lnTo>
                    <a:pt x="1313" y="672"/>
                  </a:lnTo>
                  <a:lnTo>
                    <a:pt x="1313" y="672"/>
                  </a:lnTo>
                  <a:lnTo>
                    <a:pt x="1313" y="669"/>
                  </a:lnTo>
                  <a:lnTo>
                    <a:pt x="1315" y="669"/>
                  </a:lnTo>
                  <a:lnTo>
                    <a:pt x="1318" y="669"/>
                  </a:lnTo>
                  <a:lnTo>
                    <a:pt x="1318" y="667"/>
                  </a:lnTo>
                  <a:lnTo>
                    <a:pt x="1318" y="667"/>
                  </a:lnTo>
                  <a:lnTo>
                    <a:pt x="1318" y="664"/>
                  </a:lnTo>
                  <a:lnTo>
                    <a:pt x="1318" y="664"/>
                  </a:lnTo>
                  <a:lnTo>
                    <a:pt x="1318" y="664"/>
                  </a:lnTo>
                  <a:close/>
                  <a:moveTo>
                    <a:pt x="1358" y="283"/>
                  </a:moveTo>
                  <a:lnTo>
                    <a:pt x="1356" y="280"/>
                  </a:lnTo>
                  <a:lnTo>
                    <a:pt x="1356" y="277"/>
                  </a:lnTo>
                  <a:lnTo>
                    <a:pt x="1353" y="277"/>
                  </a:lnTo>
                  <a:lnTo>
                    <a:pt x="1348" y="280"/>
                  </a:lnTo>
                  <a:lnTo>
                    <a:pt x="1346" y="280"/>
                  </a:lnTo>
                  <a:lnTo>
                    <a:pt x="1343" y="280"/>
                  </a:lnTo>
                  <a:lnTo>
                    <a:pt x="1343" y="280"/>
                  </a:lnTo>
                  <a:lnTo>
                    <a:pt x="1341" y="280"/>
                  </a:lnTo>
                  <a:lnTo>
                    <a:pt x="1341" y="280"/>
                  </a:lnTo>
                  <a:lnTo>
                    <a:pt x="1335" y="280"/>
                  </a:lnTo>
                  <a:lnTo>
                    <a:pt x="1330" y="280"/>
                  </a:lnTo>
                  <a:lnTo>
                    <a:pt x="1328" y="283"/>
                  </a:lnTo>
                  <a:lnTo>
                    <a:pt x="1328" y="283"/>
                  </a:lnTo>
                  <a:lnTo>
                    <a:pt x="1335" y="277"/>
                  </a:lnTo>
                  <a:lnTo>
                    <a:pt x="1335" y="277"/>
                  </a:lnTo>
                  <a:lnTo>
                    <a:pt x="1338" y="277"/>
                  </a:lnTo>
                  <a:lnTo>
                    <a:pt x="1338" y="277"/>
                  </a:lnTo>
                  <a:lnTo>
                    <a:pt x="1341" y="275"/>
                  </a:lnTo>
                  <a:lnTo>
                    <a:pt x="1343" y="275"/>
                  </a:lnTo>
                  <a:lnTo>
                    <a:pt x="1338" y="272"/>
                  </a:lnTo>
                  <a:lnTo>
                    <a:pt x="1335" y="272"/>
                  </a:lnTo>
                  <a:lnTo>
                    <a:pt x="1335" y="272"/>
                  </a:lnTo>
                  <a:lnTo>
                    <a:pt x="1333" y="272"/>
                  </a:lnTo>
                  <a:lnTo>
                    <a:pt x="1330" y="272"/>
                  </a:lnTo>
                  <a:lnTo>
                    <a:pt x="1330" y="272"/>
                  </a:lnTo>
                  <a:lnTo>
                    <a:pt x="1328" y="272"/>
                  </a:lnTo>
                  <a:lnTo>
                    <a:pt x="1325" y="272"/>
                  </a:lnTo>
                  <a:lnTo>
                    <a:pt x="1323" y="272"/>
                  </a:lnTo>
                  <a:lnTo>
                    <a:pt x="1323" y="272"/>
                  </a:lnTo>
                  <a:lnTo>
                    <a:pt x="1320" y="272"/>
                  </a:lnTo>
                  <a:lnTo>
                    <a:pt x="1318" y="272"/>
                  </a:lnTo>
                  <a:lnTo>
                    <a:pt x="1320" y="272"/>
                  </a:lnTo>
                  <a:lnTo>
                    <a:pt x="1323" y="272"/>
                  </a:lnTo>
                  <a:lnTo>
                    <a:pt x="1325" y="272"/>
                  </a:lnTo>
                  <a:lnTo>
                    <a:pt x="1328" y="272"/>
                  </a:lnTo>
                  <a:lnTo>
                    <a:pt x="1330" y="270"/>
                  </a:lnTo>
                  <a:lnTo>
                    <a:pt x="1333" y="267"/>
                  </a:lnTo>
                  <a:lnTo>
                    <a:pt x="1333" y="265"/>
                  </a:lnTo>
                  <a:lnTo>
                    <a:pt x="1330" y="267"/>
                  </a:lnTo>
                  <a:lnTo>
                    <a:pt x="1328" y="265"/>
                  </a:lnTo>
                  <a:lnTo>
                    <a:pt x="1328" y="262"/>
                  </a:lnTo>
                  <a:lnTo>
                    <a:pt x="1325" y="262"/>
                  </a:lnTo>
                  <a:lnTo>
                    <a:pt x="1323" y="262"/>
                  </a:lnTo>
                  <a:lnTo>
                    <a:pt x="1320" y="262"/>
                  </a:lnTo>
                  <a:lnTo>
                    <a:pt x="1320" y="262"/>
                  </a:lnTo>
                  <a:lnTo>
                    <a:pt x="1320" y="262"/>
                  </a:lnTo>
                  <a:lnTo>
                    <a:pt x="1323" y="260"/>
                  </a:lnTo>
                  <a:lnTo>
                    <a:pt x="1323" y="260"/>
                  </a:lnTo>
                  <a:lnTo>
                    <a:pt x="1325" y="260"/>
                  </a:lnTo>
                  <a:lnTo>
                    <a:pt x="1323" y="260"/>
                  </a:lnTo>
                  <a:lnTo>
                    <a:pt x="1323" y="257"/>
                  </a:lnTo>
                  <a:lnTo>
                    <a:pt x="1323" y="260"/>
                  </a:lnTo>
                  <a:lnTo>
                    <a:pt x="1318" y="260"/>
                  </a:lnTo>
                  <a:lnTo>
                    <a:pt x="1315" y="262"/>
                  </a:lnTo>
                  <a:lnTo>
                    <a:pt x="1313" y="262"/>
                  </a:lnTo>
                  <a:lnTo>
                    <a:pt x="1313" y="265"/>
                  </a:lnTo>
                  <a:lnTo>
                    <a:pt x="1313" y="265"/>
                  </a:lnTo>
                  <a:lnTo>
                    <a:pt x="1313" y="265"/>
                  </a:lnTo>
                  <a:lnTo>
                    <a:pt x="1313" y="265"/>
                  </a:lnTo>
                  <a:lnTo>
                    <a:pt x="1313" y="262"/>
                  </a:lnTo>
                  <a:lnTo>
                    <a:pt x="1315" y="260"/>
                  </a:lnTo>
                  <a:lnTo>
                    <a:pt x="1315" y="260"/>
                  </a:lnTo>
                  <a:lnTo>
                    <a:pt x="1313" y="260"/>
                  </a:lnTo>
                  <a:lnTo>
                    <a:pt x="1313" y="260"/>
                  </a:lnTo>
                  <a:lnTo>
                    <a:pt x="1310" y="260"/>
                  </a:lnTo>
                  <a:lnTo>
                    <a:pt x="1307" y="260"/>
                  </a:lnTo>
                  <a:lnTo>
                    <a:pt x="1307" y="260"/>
                  </a:lnTo>
                  <a:lnTo>
                    <a:pt x="1310" y="260"/>
                  </a:lnTo>
                  <a:lnTo>
                    <a:pt x="1310" y="257"/>
                  </a:lnTo>
                  <a:lnTo>
                    <a:pt x="1307" y="257"/>
                  </a:lnTo>
                  <a:lnTo>
                    <a:pt x="1305" y="260"/>
                  </a:lnTo>
                  <a:lnTo>
                    <a:pt x="1300" y="262"/>
                  </a:lnTo>
                  <a:lnTo>
                    <a:pt x="1300" y="262"/>
                  </a:lnTo>
                  <a:lnTo>
                    <a:pt x="1300" y="262"/>
                  </a:lnTo>
                  <a:lnTo>
                    <a:pt x="1297" y="262"/>
                  </a:lnTo>
                  <a:lnTo>
                    <a:pt x="1297" y="262"/>
                  </a:lnTo>
                  <a:lnTo>
                    <a:pt x="1300" y="260"/>
                  </a:lnTo>
                  <a:lnTo>
                    <a:pt x="1305" y="257"/>
                  </a:lnTo>
                  <a:lnTo>
                    <a:pt x="1305" y="257"/>
                  </a:lnTo>
                  <a:lnTo>
                    <a:pt x="1307" y="255"/>
                  </a:lnTo>
                  <a:lnTo>
                    <a:pt x="1302" y="255"/>
                  </a:lnTo>
                  <a:lnTo>
                    <a:pt x="1300" y="255"/>
                  </a:lnTo>
                  <a:lnTo>
                    <a:pt x="1300" y="257"/>
                  </a:lnTo>
                  <a:lnTo>
                    <a:pt x="1297" y="260"/>
                  </a:lnTo>
                  <a:lnTo>
                    <a:pt x="1297" y="260"/>
                  </a:lnTo>
                  <a:lnTo>
                    <a:pt x="1300" y="257"/>
                  </a:lnTo>
                  <a:lnTo>
                    <a:pt x="1297" y="257"/>
                  </a:lnTo>
                  <a:lnTo>
                    <a:pt x="1295" y="257"/>
                  </a:lnTo>
                  <a:lnTo>
                    <a:pt x="1295" y="257"/>
                  </a:lnTo>
                  <a:lnTo>
                    <a:pt x="1295" y="257"/>
                  </a:lnTo>
                  <a:lnTo>
                    <a:pt x="1297" y="255"/>
                  </a:lnTo>
                  <a:lnTo>
                    <a:pt x="1297" y="255"/>
                  </a:lnTo>
                  <a:lnTo>
                    <a:pt x="1297" y="255"/>
                  </a:lnTo>
                  <a:lnTo>
                    <a:pt x="1297" y="252"/>
                  </a:lnTo>
                  <a:lnTo>
                    <a:pt x="1297" y="252"/>
                  </a:lnTo>
                  <a:lnTo>
                    <a:pt x="1302" y="252"/>
                  </a:lnTo>
                  <a:lnTo>
                    <a:pt x="1302" y="249"/>
                  </a:lnTo>
                  <a:lnTo>
                    <a:pt x="1302" y="249"/>
                  </a:lnTo>
                  <a:lnTo>
                    <a:pt x="1300" y="249"/>
                  </a:lnTo>
                  <a:lnTo>
                    <a:pt x="1297" y="249"/>
                  </a:lnTo>
                  <a:lnTo>
                    <a:pt x="1295" y="249"/>
                  </a:lnTo>
                  <a:lnTo>
                    <a:pt x="1295" y="249"/>
                  </a:lnTo>
                  <a:lnTo>
                    <a:pt x="1292" y="249"/>
                  </a:lnTo>
                  <a:lnTo>
                    <a:pt x="1292" y="249"/>
                  </a:lnTo>
                  <a:lnTo>
                    <a:pt x="1290" y="249"/>
                  </a:lnTo>
                  <a:lnTo>
                    <a:pt x="1290" y="249"/>
                  </a:lnTo>
                  <a:lnTo>
                    <a:pt x="1287" y="249"/>
                  </a:lnTo>
                  <a:lnTo>
                    <a:pt x="1285" y="249"/>
                  </a:lnTo>
                  <a:lnTo>
                    <a:pt x="1285" y="249"/>
                  </a:lnTo>
                  <a:lnTo>
                    <a:pt x="1285" y="247"/>
                  </a:lnTo>
                  <a:lnTo>
                    <a:pt x="1285" y="247"/>
                  </a:lnTo>
                  <a:lnTo>
                    <a:pt x="1285" y="244"/>
                  </a:lnTo>
                  <a:lnTo>
                    <a:pt x="1282" y="244"/>
                  </a:lnTo>
                  <a:lnTo>
                    <a:pt x="1279" y="244"/>
                  </a:lnTo>
                  <a:lnTo>
                    <a:pt x="1274" y="244"/>
                  </a:lnTo>
                  <a:lnTo>
                    <a:pt x="1269" y="242"/>
                  </a:lnTo>
                  <a:lnTo>
                    <a:pt x="1269" y="242"/>
                  </a:lnTo>
                  <a:lnTo>
                    <a:pt x="1269" y="242"/>
                  </a:lnTo>
                  <a:lnTo>
                    <a:pt x="1272" y="242"/>
                  </a:lnTo>
                  <a:lnTo>
                    <a:pt x="1277" y="244"/>
                  </a:lnTo>
                  <a:lnTo>
                    <a:pt x="1279" y="244"/>
                  </a:lnTo>
                  <a:lnTo>
                    <a:pt x="1282" y="242"/>
                  </a:lnTo>
                  <a:lnTo>
                    <a:pt x="1282" y="242"/>
                  </a:lnTo>
                  <a:lnTo>
                    <a:pt x="1285" y="242"/>
                  </a:lnTo>
                  <a:lnTo>
                    <a:pt x="1287" y="244"/>
                  </a:lnTo>
                  <a:lnTo>
                    <a:pt x="1290" y="244"/>
                  </a:lnTo>
                  <a:lnTo>
                    <a:pt x="1292" y="242"/>
                  </a:lnTo>
                  <a:lnTo>
                    <a:pt x="1295" y="242"/>
                  </a:lnTo>
                  <a:lnTo>
                    <a:pt x="1295" y="239"/>
                  </a:lnTo>
                  <a:lnTo>
                    <a:pt x="1295" y="239"/>
                  </a:lnTo>
                  <a:lnTo>
                    <a:pt x="1292" y="237"/>
                  </a:lnTo>
                  <a:lnTo>
                    <a:pt x="1290" y="237"/>
                  </a:lnTo>
                  <a:lnTo>
                    <a:pt x="1287" y="237"/>
                  </a:lnTo>
                  <a:lnTo>
                    <a:pt x="1277" y="239"/>
                  </a:lnTo>
                  <a:lnTo>
                    <a:pt x="1277" y="237"/>
                  </a:lnTo>
                  <a:lnTo>
                    <a:pt x="1285" y="237"/>
                  </a:lnTo>
                  <a:lnTo>
                    <a:pt x="1287" y="234"/>
                  </a:lnTo>
                  <a:lnTo>
                    <a:pt x="1292" y="237"/>
                  </a:lnTo>
                  <a:lnTo>
                    <a:pt x="1295" y="234"/>
                  </a:lnTo>
                  <a:lnTo>
                    <a:pt x="1297" y="237"/>
                  </a:lnTo>
                  <a:lnTo>
                    <a:pt x="1300" y="237"/>
                  </a:lnTo>
                  <a:lnTo>
                    <a:pt x="1300" y="237"/>
                  </a:lnTo>
                  <a:lnTo>
                    <a:pt x="1302" y="237"/>
                  </a:lnTo>
                  <a:lnTo>
                    <a:pt x="1305" y="237"/>
                  </a:lnTo>
                  <a:lnTo>
                    <a:pt x="1310" y="237"/>
                  </a:lnTo>
                  <a:lnTo>
                    <a:pt x="1313" y="237"/>
                  </a:lnTo>
                  <a:lnTo>
                    <a:pt x="1313" y="237"/>
                  </a:lnTo>
                  <a:lnTo>
                    <a:pt x="1315" y="234"/>
                  </a:lnTo>
                  <a:lnTo>
                    <a:pt x="1315" y="234"/>
                  </a:lnTo>
                  <a:lnTo>
                    <a:pt x="1315" y="234"/>
                  </a:lnTo>
                  <a:lnTo>
                    <a:pt x="1313" y="234"/>
                  </a:lnTo>
                  <a:lnTo>
                    <a:pt x="1310" y="232"/>
                  </a:lnTo>
                  <a:lnTo>
                    <a:pt x="1307" y="232"/>
                  </a:lnTo>
                  <a:lnTo>
                    <a:pt x="1307" y="232"/>
                  </a:lnTo>
                  <a:lnTo>
                    <a:pt x="1302" y="232"/>
                  </a:lnTo>
                  <a:lnTo>
                    <a:pt x="1300" y="232"/>
                  </a:lnTo>
                  <a:lnTo>
                    <a:pt x="1300" y="232"/>
                  </a:lnTo>
                  <a:lnTo>
                    <a:pt x="1297" y="232"/>
                  </a:lnTo>
                  <a:lnTo>
                    <a:pt x="1292" y="229"/>
                  </a:lnTo>
                  <a:lnTo>
                    <a:pt x="1287" y="229"/>
                  </a:lnTo>
                  <a:lnTo>
                    <a:pt x="1282" y="229"/>
                  </a:lnTo>
                  <a:lnTo>
                    <a:pt x="1279" y="229"/>
                  </a:lnTo>
                  <a:lnTo>
                    <a:pt x="1279" y="229"/>
                  </a:lnTo>
                  <a:lnTo>
                    <a:pt x="1282" y="229"/>
                  </a:lnTo>
                  <a:lnTo>
                    <a:pt x="1287" y="227"/>
                  </a:lnTo>
                  <a:lnTo>
                    <a:pt x="1290" y="227"/>
                  </a:lnTo>
                  <a:lnTo>
                    <a:pt x="1295" y="227"/>
                  </a:lnTo>
                  <a:lnTo>
                    <a:pt x="1295" y="227"/>
                  </a:lnTo>
                  <a:lnTo>
                    <a:pt x="1297" y="227"/>
                  </a:lnTo>
                  <a:lnTo>
                    <a:pt x="1297" y="227"/>
                  </a:lnTo>
                  <a:lnTo>
                    <a:pt x="1300" y="227"/>
                  </a:lnTo>
                  <a:lnTo>
                    <a:pt x="1302" y="224"/>
                  </a:lnTo>
                  <a:lnTo>
                    <a:pt x="1305" y="224"/>
                  </a:lnTo>
                  <a:lnTo>
                    <a:pt x="1310" y="227"/>
                  </a:lnTo>
                  <a:lnTo>
                    <a:pt x="1313" y="227"/>
                  </a:lnTo>
                  <a:lnTo>
                    <a:pt x="1313" y="227"/>
                  </a:lnTo>
                  <a:lnTo>
                    <a:pt x="1313" y="227"/>
                  </a:lnTo>
                  <a:lnTo>
                    <a:pt x="1315" y="224"/>
                  </a:lnTo>
                  <a:lnTo>
                    <a:pt x="1315" y="224"/>
                  </a:lnTo>
                  <a:lnTo>
                    <a:pt x="1315" y="221"/>
                  </a:lnTo>
                  <a:lnTo>
                    <a:pt x="1315" y="219"/>
                  </a:lnTo>
                  <a:lnTo>
                    <a:pt x="1313" y="216"/>
                  </a:lnTo>
                  <a:lnTo>
                    <a:pt x="1310" y="216"/>
                  </a:lnTo>
                  <a:lnTo>
                    <a:pt x="1307" y="214"/>
                  </a:lnTo>
                  <a:lnTo>
                    <a:pt x="1307" y="214"/>
                  </a:lnTo>
                  <a:lnTo>
                    <a:pt x="1305" y="216"/>
                  </a:lnTo>
                  <a:lnTo>
                    <a:pt x="1302" y="216"/>
                  </a:lnTo>
                  <a:lnTo>
                    <a:pt x="1302" y="216"/>
                  </a:lnTo>
                  <a:lnTo>
                    <a:pt x="1302" y="216"/>
                  </a:lnTo>
                  <a:lnTo>
                    <a:pt x="1302" y="219"/>
                  </a:lnTo>
                  <a:lnTo>
                    <a:pt x="1302" y="219"/>
                  </a:lnTo>
                  <a:lnTo>
                    <a:pt x="1302" y="219"/>
                  </a:lnTo>
                  <a:lnTo>
                    <a:pt x="1300" y="219"/>
                  </a:lnTo>
                  <a:lnTo>
                    <a:pt x="1297" y="219"/>
                  </a:lnTo>
                  <a:lnTo>
                    <a:pt x="1297" y="219"/>
                  </a:lnTo>
                  <a:lnTo>
                    <a:pt x="1295" y="221"/>
                  </a:lnTo>
                  <a:lnTo>
                    <a:pt x="1292" y="221"/>
                  </a:lnTo>
                  <a:lnTo>
                    <a:pt x="1292" y="221"/>
                  </a:lnTo>
                  <a:lnTo>
                    <a:pt x="1290" y="221"/>
                  </a:lnTo>
                  <a:lnTo>
                    <a:pt x="1295" y="219"/>
                  </a:lnTo>
                  <a:lnTo>
                    <a:pt x="1295" y="219"/>
                  </a:lnTo>
                  <a:lnTo>
                    <a:pt x="1297" y="219"/>
                  </a:lnTo>
                  <a:lnTo>
                    <a:pt x="1297" y="216"/>
                  </a:lnTo>
                  <a:lnTo>
                    <a:pt x="1297" y="216"/>
                  </a:lnTo>
                  <a:lnTo>
                    <a:pt x="1297" y="216"/>
                  </a:lnTo>
                  <a:lnTo>
                    <a:pt x="1295" y="216"/>
                  </a:lnTo>
                  <a:lnTo>
                    <a:pt x="1290" y="216"/>
                  </a:lnTo>
                  <a:lnTo>
                    <a:pt x="1285" y="216"/>
                  </a:lnTo>
                  <a:lnTo>
                    <a:pt x="1282" y="219"/>
                  </a:lnTo>
                  <a:lnTo>
                    <a:pt x="1279" y="219"/>
                  </a:lnTo>
                  <a:lnTo>
                    <a:pt x="1277" y="219"/>
                  </a:lnTo>
                  <a:lnTo>
                    <a:pt x="1274" y="219"/>
                  </a:lnTo>
                  <a:lnTo>
                    <a:pt x="1277" y="219"/>
                  </a:lnTo>
                  <a:lnTo>
                    <a:pt x="1282" y="216"/>
                  </a:lnTo>
                  <a:lnTo>
                    <a:pt x="1287" y="216"/>
                  </a:lnTo>
                  <a:lnTo>
                    <a:pt x="1290" y="216"/>
                  </a:lnTo>
                  <a:lnTo>
                    <a:pt x="1292" y="216"/>
                  </a:lnTo>
                  <a:lnTo>
                    <a:pt x="1297" y="214"/>
                  </a:lnTo>
                  <a:lnTo>
                    <a:pt x="1297" y="214"/>
                  </a:lnTo>
                  <a:lnTo>
                    <a:pt x="1300" y="214"/>
                  </a:lnTo>
                  <a:lnTo>
                    <a:pt x="1302" y="214"/>
                  </a:lnTo>
                  <a:lnTo>
                    <a:pt x="1302" y="214"/>
                  </a:lnTo>
                  <a:lnTo>
                    <a:pt x="1305" y="211"/>
                  </a:lnTo>
                  <a:lnTo>
                    <a:pt x="1305" y="211"/>
                  </a:lnTo>
                  <a:lnTo>
                    <a:pt x="1307" y="211"/>
                  </a:lnTo>
                  <a:lnTo>
                    <a:pt x="1307" y="209"/>
                  </a:lnTo>
                  <a:lnTo>
                    <a:pt x="1307" y="209"/>
                  </a:lnTo>
                  <a:lnTo>
                    <a:pt x="1305" y="209"/>
                  </a:lnTo>
                  <a:lnTo>
                    <a:pt x="1302" y="209"/>
                  </a:lnTo>
                  <a:lnTo>
                    <a:pt x="1300" y="206"/>
                  </a:lnTo>
                  <a:lnTo>
                    <a:pt x="1297" y="206"/>
                  </a:lnTo>
                  <a:lnTo>
                    <a:pt x="1297" y="206"/>
                  </a:lnTo>
                  <a:lnTo>
                    <a:pt x="1295" y="206"/>
                  </a:lnTo>
                  <a:lnTo>
                    <a:pt x="1292" y="206"/>
                  </a:lnTo>
                  <a:lnTo>
                    <a:pt x="1292" y="206"/>
                  </a:lnTo>
                  <a:lnTo>
                    <a:pt x="1290" y="206"/>
                  </a:lnTo>
                  <a:lnTo>
                    <a:pt x="1287" y="204"/>
                  </a:lnTo>
                  <a:lnTo>
                    <a:pt x="1287" y="206"/>
                  </a:lnTo>
                  <a:lnTo>
                    <a:pt x="1282" y="206"/>
                  </a:lnTo>
                  <a:lnTo>
                    <a:pt x="1277" y="206"/>
                  </a:lnTo>
                  <a:lnTo>
                    <a:pt x="1272" y="209"/>
                  </a:lnTo>
                  <a:lnTo>
                    <a:pt x="1269" y="209"/>
                  </a:lnTo>
                  <a:lnTo>
                    <a:pt x="1267" y="211"/>
                  </a:lnTo>
                  <a:lnTo>
                    <a:pt x="1259" y="216"/>
                  </a:lnTo>
                  <a:lnTo>
                    <a:pt x="1256" y="219"/>
                  </a:lnTo>
                  <a:lnTo>
                    <a:pt x="1256" y="219"/>
                  </a:lnTo>
                  <a:lnTo>
                    <a:pt x="1264" y="214"/>
                  </a:lnTo>
                  <a:lnTo>
                    <a:pt x="1264" y="211"/>
                  </a:lnTo>
                  <a:lnTo>
                    <a:pt x="1264" y="211"/>
                  </a:lnTo>
                  <a:lnTo>
                    <a:pt x="1264" y="211"/>
                  </a:lnTo>
                  <a:lnTo>
                    <a:pt x="1264" y="211"/>
                  </a:lnTo>
                  <a:lnTo>
                    <a:pt x="1262" y="211"/>
                  </a:lnTo>
                  <a:lnTo>
                    <a:pt x="1259" y="211"/>
                  </a:lnTo>
                  <a:lnTo>
                    <a:pt x="1256" y="214"/>
                  </a:lnTo>
                  <a:lnTo>
                    <a:pt x="1256" y="214"/>
                  </a:lnTo>
                  <a:lnTo>
                    <a:pt x="1256" y="214"/>
                  </a:lnTo>
                  <a:lnTo>
                    <a:pt x="1254" y="211"/>
                  </a:lnTo>
                  <a:lnTo>
                    <a:pt x="1256" y="211"/>
                  </a:lnTo>
                  <a:lnTo>
                    <a:pt x="1256" y="211"/>
                  </a:lnTo>
                  <a:lnTo>
                    <a:pt x="1259" y="211"/>
                  </a:lnTo>
                  <a:lnTo>
                    <a:pt x="1262" y="209"/>
                  </a:lnTo>
                  <a:lnTo>
                    <a:pt x="1264" y="209"/>
                  </a:lnTo>
                  <a:lnTo>
                    <a:pt x="1267" y="209"/>
                  </a:lnTo>
                  <a:lnTo>
                    <a:pt x="1269" y="209"/>
                  </a:lnTo>
                  <a:lnTo>
                    <a:pt x="1277" y="206"/>
                  </a:lnTo>
                  <a:lnTo>
                    <a:pt x="1279" y="204"/>
                  </a:lnTo>
                  <a:lnTo>
                    <a:pt x="1279" y="204"/>
                  </a:lnTo>
                  <a:lnTo>
                    <a:pt x="1279" y="201"/>
                  </a:lnTo>
                  <a:lnTo>
                    <a:pt x="1282" y="201"/>
                  </a:lnTo>
                  <a:lnTo>
                    <a:pt x="1279" y="201"/>
                  </a:lnTo>
                  <a:lnTo>
                    <a:pt x="1279" y="199"/>
                  </a:lnTo>
                  <a:lnTo>
                    <a:pt x="1279" y="201"/>
                  </a:lnTo>
                  <a:lnTo>
                    <a:pt x="1274" y="201"/>
                  </a:lnTo>
                  <a:lnTo>
                    <a:pt x="1272" y="201"/>
                  </a:lnTo>
                  <a:lnTo>
                    <a:pt x="1269" y="201"/>
                  </a:lnTo>
                  <a:lnTo>
                    <a:pt x="1267" y="201"/>
                  </a:lnTo>
                  <a:lnTo>
                    <a:pt x="1262" y="201"/>
                  </a:lnTo>
                  <a:lnTo>
                    <a:pt x="1259" y="204"/>
                  </a:lnTo>
                  <a:lnTo>
                    <a:pt x="1256" y="204"/>
                  </a:lnTo>
                  <a:lnTo>
                    <a:pt x="1254" y="206"/>
                  </a:lnTo>
                  <a:lnTo>
                    <a:pt x="1249" y="206"/>
                  </a:lnTo>
                  <a:lnTo>
                    <a:pt x="1251" y="204"/>
                  </a:lnTo>
                  <a:lnTo>
                    <a:pt x="1254" y="204"/>
                  </a:lnTo>
                  <a:lnTo>
                    <a:pt x="1256" y="204"/>
                  </a:lnTo>
                  <a:lnTo>
                    <a:pt x="1262" y="201"/>
                  </a:lnTo>
                  <a:lnTo>
                    <a:pt x="1264" y="201"/>
                  </a:lnTo>
                  <a:lnTo>
                    <a:pt x="1264" y="201"/>
                  </a:lnTo>
                  <a:lnTo>
                    <a:pt x="1269" y="201"/>
                  </a:lnTo>
                  <a:lnTo>
                    <a:pt x="1269" y="201"/>
                  </a:lnTo>
                  <a:lnTo>
                    <a:pt x="1272" y="199"/>
                  </a:lnTo>
                  <a:lnTo>
                    <a:pt x="1277" y="199"/>
                  </a:lnTo>
                  <a:lnTo>
                    <a:pt x="1277" y="196"/>
                  </a:lnTo>
                  <a:lnTo>
                    <a:pt x="1277" y="196"/>
                  </a:lnTo>
                  <a:lnTo>
                    <a:pt x="1277" y="196"/>
                  </a:lnTo>
                  <a:lnTo>
                    <a:pt x="1277" y="193"/>
                  </a:lnTo>
                  <a:lnTo>
                    <a:pt x="1274" y="193"/>
                  </a:lnTo>
                  <a:lnTo>
                    <a:pt x="1274" y="193"/>
                  </a:lnTo>
                  <a:lnTo>
                    <a:pt x="1272" y="191"/>
                  </a:lnTo>
                  <a:lnTo>
                    <a:pt x="1269" y="191"/>
                  </a:lnTo>
                  <a:lnTo>
                    <a:pt x="1264" y="191"/>
                  </a:lnTo>
                  <a:lnTo>
                    <a:pt x="1262" y="191"/>
                  </a:lnTo>
                  <a:lnTo>
                    <a:pt x="1262" y="191"/>
                  </a:lnTo>
                  <a:lnTo>
                    <a:pt x="1262" y="191"/>
                  </a:lnTo>
                  <a:lnTo>
                    <a:pt x="1259" y="188"/>
                  </a:lnTo>
                  <a:lnTo>
                    <a:pt x="1251" y="191"/>
                  </a:lnTo>
                  <a:lnTo>
                    <a:pt x="1251" y="191"/>
                  </a:lnTo>
                  <a:lnTo>
                    <a:pt x="1249" y="193"/>
                  </a:lnTo>
                  <a:lnTo>
                    <a:pt x="1249" y="196"/>
                  </a:lnTo>
                  <a:lnTo>
                    <a:pt x="1249" y="196"/>
                  </a:lnTo>
                  <a:lnTo>
                    <a:pt x="1249" y="196"/>
                  </a:lnTo>
                  <a:lnTo>
                    <a:pt x="1246" y="196"/>
                  </a:lnTo>
                  <a:lnTo>
                    <a:pt x="1246" y="193"/>
                  </a:lnTo>
                  <a:lnTo>
                    <a:pt x="1246" y="191"/>
                  </a:lnTo>
                  <a:lnTo>
                    <a:pt x="1246" y="191"/>
                  </a:lnTo>
                  <a:lnTo>
                    <a:pt x="1241" y="191"/>
                  </a:lnTo>
                  <a:lnTo>
                    <a:pt x="1241" y="193"/>
                  </a:lnTo>
                  <a:lnTo>
                    <a:pt x="1239" y="193"/>
                  </a:lnTo>
                  <a:lnTo>
                    <a:pt x="1236" y="193"/>
                  </a:lnTo>
                  <a:lnTo>
                    <a:pt x="1244" y="191"/>
                  </a:lnTo>
                  <a:lnTo>
                    <a:pt x="1246" y="188"/>
                  </a:lnTo>
                  <a:lnTo>
                    <a:pt x="1249" y="188"/>
                  </a:lnTo>
                  <a:lnTo>
                    <a:pt x="1246" y="188"/>
                  </a:lnTo>
                  <a:lnTo>
                    <a:pt x="1246" y="188"/>
                  </a:lnTo>
                  <a:lnTo>
                    <a:pt x="1244" y="188"/>
                  </a:lnTo>
                  <a:lnTo>
                    <a:pt x="1241" y="188"/>
                  </a:lnTo>
                  <a:lnTo>
                    <a:pt x="1236" y="188"/>
                  </a:lnTo>
                  <a:lnTo>
                    <a:pt x="1236" y="191"/>
                  </a:lnTo>
                  <a:lnTo>
                    <a:pt x="1234" y="191"/>
                  </a:lnTo>
                  <a:lnTo>
                    <a:pt x="1228" y="193"/>
                  </a:lnTo>
                  <a:lnTo>
                    <a:pt x="1226" y="196"/>
                  </a:lnTo>
                  <a:lnTo>
                    <a:pt x="1221" y="199"/>
                  </a:lnTo>
                  <a:lnTo>
                    <a:pt x="1221" y="199"/>
                  </a:lnTo>
                  <a:lnTo>
                    <a:pt x="1223" y="196"/>
                  </a:lnTo>
                  <a:lnTo>
                    <a:pt x="1226" y="193"/>
                  </a:lnTo>
                  <a:lnTo>
                    <a:pt x="1228" y="193"/>
                  </a:lnTo>
                  <a:lnTo>
                    <a:pt x="1228" y="193"/>
                  </a:lnTo>
                  <a:lnTo>
                    <a:pt x="1228" y="191"/>
                  </a:lnTo>
                  <a:lnTo>
                    <a:pt x="1231" y="191"/>
                  </a:lnTo>
                  <a:lnTo>
                    <a:pt x="1234" y="188"/>
                  </a:lnTo>
                  <a:lnTo>
                    <a:pt x="1228" y="188"/>
                  </a:lnTo>
                  <a:lnTo>
                    <a:pt x="1226" y="188"/>
                  </a:lnTo>
                  <a:lnTo>
                    <a:pt x="1226" y="188"/>
                  </a:lnTo>
                  <a:lnTo>
                    <a:pt x="1231" y="188"/>
                  </a:lnTo>
                  <a:lnTo>
                    <a:pt x="1234" y="188"/>
                  </a:lnTo>
                  <a:lnTo>
                    <a:pt x="1236" y="188"/>
                  </a:lnTo>
                  <a:lnTo>
                    <a:pt x="1241" y="186"/>
                  </a:lnTo>
                  <a:lnTo>
                    <a:pt x="1241" y="186"/>
                  </a:lnTo>
                  <a:lnTo>
                    <a:pt x="1244" y="183"/>
                  </a:lnTo>
                  <a:lnTo>
                    <a:pt x="1244" y="183"/>
                  </a:lnTo>
                  <a:lnTo>
                    <a:pt x="1244" y="183"/>
                  </a:lnTo>
                  <a:lnTo>
                    <a:pt x="1244" y="183"/>
                  </a:lnTo>
                  <a:lnTo>
                    <a:pt x="1244" y="181"/>
                  </a:lnTo>
                  <a:lnTo>
                    <a:pt x="1241" y="181"/>
                  </a:lnTo>
                  <a:lnTo>
                    <a:pt x="1239" y="181"/>
                  </a:lnTo>
                  <a:lnTo>
                    <a:pt x="1236" y="181"/>
                  </a:lnTo>
                  <a:lnTo>
                    <a:pt x="1234" y="183"/>
                  </a:lnTo>
                  <a:lnTo>
                    <a:pt x="1228" y="183"/>
                  </a:lnTo>
                  <a:lnTo>
                    <a:pt x="1223" y="186"/>
                  </a:lnTo>
                  <a:lnTo>
                    <a:pt x="1221" y="186"/>
                  </a:lnTo>
                  <a:lnTo>
                    <a:pt x="1218" y="188"/>
                  </a:lnTo>
                  <a:lnTo>
                    <a:pt x="1216" y="188"/>
                  </a:lnTo>
                  <a:lnTo>
                    <a:pt x="1216" y="188"/>
                  </a:lnTo>
                  <a:lnTo>
                    <a:pt x="1216" y="188"/>
                  </a:lnTo>
                  <a:lnTo>
                    <a:pt x="1218" y="186"/>
                  </a:lnTo>
                  <a:lnTo>
                    <a:pt x="1223" y="183"/>
                  </a:lnTo>
                  <a:lnTo>
                    <a:pt x="1226" y="183"/>
                  </a:lnTo>
                  <a:lnTo>
                    <a:pt x="1228" y="183"/>
                  </a:lnTo>
                  <a:lnTo>
                    <a:pt x="1236" y="178"/>
                  </a:lnTo>
                  <a:lnTo>
                    <a:pt x="1236" y="178"/>
                  </a:lnTo>
                  <a:lnTo>
                    <a:pt x="1239" y="178"/>
                  </a:lnTo>
                  <a:lnTo>
                    <a:pt x="1239" y="176"/>
                  </a:lnTo>
                  <a:lnTo>
                    <a:pt x="1239" y="176"/>
                  </a:lnTo>
                  <a:lnTo>
                    <a:pt x="1236" y="173"/>
                  </a:lnTo>
                  <a:lnTo>
                    <a:pt x="1234" y="173"/>
                  </a:lnTo>
                  <a:lnTo>
                    <a:pt x="1231" y="173"/>
                  </a:lnTo>
                  <a:lnTo>
                    <a:pt x="1228" y="173"/>
                  </a:lnTo>
                  <a:lnTo>
                    <a:pt x="1226" y="173"/>
                  </a:lnTo>
                  <a:lnTo>
                    <a:pt x="1226" y="173"/>
                  </a:lnTo>
                  <a:lnTo>
                    <a:pt x="1223" y="171"/>
                  </a:lnTo>
                  <a:lnTo>
                    <a:pt x="1221" y="171"/>
                  </a:lnTo>
                  <a:lnTo>
                    <a:pt x="1218" y="171"/>
                  </a:lnTo>
                  <a:lnTo>
                    <a:pt x="1213" y="171"/>
                  </a:lnTo>
                  <a:lnTo>
                    <a:pt x="1208" y="171"/>
                  </a:lnTo>
                  <a:lnTo>
                    <a:pt x="1206" y="171"/>
                  </a:lnTo>
                  <a:lnTo>
                    <a:pt x="1203" y="171"/>
                  </a:lnTo>
                  <a:lnTo>
                    <a:pt x="1195" y="173"/>
                  </a:lnTo>
                  <a:lnTo>
                    <a:pt x="1195" y="173"/>
                  </a:lnTo>
                  <a:lnTo>
                    <a:pt x="1193" y="173"/>
                  </a:lnTo>
                  <a:lnTo>
                    <a:pt x="1193" y="173"/>
                  </a:lnTo>
                  <a:lnTo>
                    <a:pt x="1193" y="176"/>
                  </a:lnTo>
                  <a:lnTo>
                    <a:pt x="1193" y="176"/>
                  </a:lnTo>
                  <a:lnTo>
                    <a:pt x="1193" y="176"/>
                  </a:lnTo>
                  <a:lnTo>
                    <a:pt x="1198" y="178"/>
                  </a:lnTo>
                  <a:lnTo>
                    <a:pt x="1200" y="178"/>
                  </a:lnTo>
                  <a:lnTo>
                    <a:pt x="1200" y="178"/>
                  </a:lnTo>
                  <a:lnTo>
                    <a:pt x="1200" y="181"/>
                  </a:lnTo>
                  <a:lnTo>
                    <a:pt x="1198" y="181"/>
                  </a:lnTo>
                  <a:lnTo>
                    <a:pt x="1193" y="178"/>
                  </a:lnTo>
                  <a:lnTo>
                    <a:pt x="1190" y="178"/>
                  </a:lnTo>
                  <a:lnTo>
                    <a:pt x="1190" y="178"/>
                  </a:lnTo>
                  <a:lnTo>
                    <a:pt x="1188" y="178"/>
                  </a:lnTo>
                  <a:lnTo>
                    <a:pt x="1188" y="176"/>
                  </a:lnTo>
                  <a:lnTo>
                    <a:pt x="1185" y="178"/>
                  </a:lnTo>
                  <a:lnTo>
                    <a:pt x="1180" y="181"/>
                  </a:lnTo>
                  <a:lnTo>
                    <a:pt x="1180" y="183"/>
                  </a:lnTo>
                  <a:lnTo>
                    <a:pt x="1180" y="183"/>
                  </a:lnTo>
                  <a:lnTo>
                    <a:pt x="1183" y="183"/>
                  </a:lnTo>
                  <a:lnTo>
                    <a:pt x="1180" y="186"/>
                  </a:lnTo>
                  <a:lnTo>
                    <a:pt x="1180" y="186"/>
                  </a:lnTo>
                  <a:lnTo>
                    <a:pt x="1180" y="186"/>
                  </a:lnTo>
                  <a:lnTo>
                    <a:pt x="1180" y="183"/>
                  </a:lnTo>
                  <a:lnTo>
                    <a:pt x="1177" y="183"/>
                  </a:lnTo>
                  <a:lnTo>
                    <a:pt x="1177" y="181"/>
                  </a:lnTo>
                  <a:lnTo>
                    <a:pt x="1180" y="181"/>
                  </a:lnTo>
                  <a:lnTo>
                    <a:pt x="1183" y="178"/>
                  </a:lnTo>
                  <a:lnTo>
                    <a:pt x="1180" y="176"/>
                  </a:lnTo>
                  <a:lnTo>
                    <a:pt x="1180" y="176"/>
                  </a:lnTo>
                  <a:lnTo>
                    <a:pt x="1177" y="178"/>
                  </a:lnTo>
                  <a:lnTo>
                    <a:pt x="1175" y="178"/>
                  </a:lnTo>
                  <a:lnTo>
                    <a:pt x="1172" y="178"/>
                  </a:lnTo>
                  <a:lnTo>
                    <a:pt x="1172" y="176"/>
                  </a:lnTo>
                  <a:lnTo>
                    <a:pt x="1172" y="176"/>
                  </a:lnTo>
                  <a:lnTo>
                    <a:pt x="1172" y="176"/>
                  </a:lnTo>
                  <a:lnTo>
                    <a:pt x="1170" y="176"/>
                  </a:lnTo>
                  <a:lnTo>
                    <a:pt x="1170" y="176"/>
                  </a:lnTo>
                  <a:lnTo>
                    <a:pt x="1167" y="176"/>
                  </a:lnTo>
                  <a:lnTo>
                    <a:pt x="1167" y="178"/>
                  </a:lnTo>
                  <a:lnTo>
                    <a:pt x="1167" y="178"/>
                  </a:lnTo>
                  <a:lnTo>
                    <a:pt x="1167" y="181"/>
                  </a:lnTo>
                  <a:lnTo>
                    <a:pt x="1167" y="181"/>
                  </a:lnTo>
                  <a:lnTo>
                    <a:pt x="1165" y="178"/>
                  </a:lnTo>
                  <a:lnTo>
                    <a:pt x="1165" y="178"/>
                  </a:lnTo>
                  <a:lnTo>
                    <a:pt x="1160" y="181"/>
                  </a:lnTo>
                  <a:lnTo>
                    <a:pt x="1152" y="183"/>
                  </a:lnTo>
                  <a:lnTo>
                    <a:pt x="1149" y="183"/>
                  </a:lnTo>
                  <a:lnTo>
                    <a:pt x="1149" y="186"/>
                  </a:lnTo>
                  <a:lnTo>
                    <a:pt x="1149" y="186"/>
                  </a:lnTo>
                  <a:lnTo>
                    <a:pt x="1149" y="186"/>
                  </a:lnTo>
                  <a:lnTo>
                    <a:pt x="1149" y="183"/>
                  </a:lnTo>
                  <a:lnTo>
                    <a:pt x="1149" y="183"/>
                  </a:lnTo>
                  <a:lnTo>
                    <a:pt x="1149" y="183"/>
                  </a:lnTo>
                  <a:lnTo>
                    <a:pt x="1149" y="183"/>
                  </a:lnTo>
                  <a:lnTo>
                    <a:pt x="1152" y="181"/>
                  </a:lnTo>
                  <a:lnTo>
                    <a:pt x="1152" y="181"/>
                  </a:lnTo>
                  <a:lnTo>
                    <a:pt x="1152" y="181"/>
                  </a:lnTo>
                  <a:lnTo>
                    <a:pt x="1155" y="181"/>
                  </a:lnTo>
                  <a:lnTo>
                    <a:pt x="1155" y="181"/>
                  </a:lnTo>
                  <a:lnTo>
                    <a:pt x="1152" y="181"/>
                  </a:lnTo>
                  <a:lnTo>
                    <a:pt x="1152" y="178"/>
                  </a:lnTo>
                  <a:lnTo>
                    <a:pt x="1155" y="178"/>
                  </a:lnTo>
                  <a:lnTo>
                    <a:pt x="1160" y="178"/>
                  </a:lnTo>
                  <a:lnTo>
                    <a:pt x="1162" y="176"/>
                  </a:lnTo>
                  <a:lnTo>
                    <a:pt x="1162" y="176"/>
                  </a:lnTo>
                  <a:lnTo>
                    <a:pt x="1160" y="176"/>
                  </a:lnTo>
                  <a:lnTo>
                    <a:pt x="1149" y="178"/>
                  </a:lnTo>
                  <a:lnTo>
                    <a:pt x="1152" y="178"/>
                  </a:lnTo>
                  <a:lnTo>
                    <a:pt x="1157" y="176"/>
                  </a:lnTo>
                  <a:lnTo>
                    <a:pt x="1162" y="173"/>
                  </a:lnTo>
                  <a:lnTo>
                    <a:pt x="1167" y="171"/>
                  </a:lnTo>
                  <a:lnTo>
                    <a:pt x="1170" y="171"/>
                  </a:lnTo>
                  <a:lnTo>
                    <a:pt x="1172" y="171"/>
                  </a:lnTo>
                  <a:lnTo>
                    <a:pt x="1172" y="168"/>
                  </a:lnTo>
                  <a:lnTo>
                    <a:pt x="1170" y="168"/>
                  </a:lnTo>
                  <a:lnTo>
                    <a:pt x="1170" y="168"/>
                  </a:lnTo>
                  <a:lnTo>
                    <a:pt x="1170" y="165"/>
                  </a:lnTo>
                  <a:lnTo>
                    <a:pt x="1170" y="165"/>
                  </a:lnTo>
                  <a:lnTo>
                    <a:pt x="1172" y="163"/>
                  </a:lnTo>
                  <a:lnTo>
                    <a:pt x="1172" y="163"/>
                  </a:lnTo>
                  <a:lnTo>
                    <a:pt x="1172" y="163"/>
                  </a:lnTo>
                  <a:lnTo>
                    <a:pt x="1172" y="160"/>
                  </a:lnTo>
                  <a:lnTo>
                    <a:pt x="1170" y="160"/>
                  </a:lnTo>
                  <a:lnTo>
                    <a:pt x="1170" y="160"/>
                  </a:lnTo>
                  <a:lnTo>
                    <a:pt x="1170" y="155"/>
                  </a:lnTo>
                  <a:lnTo>
                    <a:pt x="1170" y="153"/>
                  </a:lnTo>
                  <a:lnTo>
                    <a:pt x="1170" y="153"/>
                  </a:lnTo>
                  <a:lnTo>
                    <a:pt x="1170" y="153"/>
                  </a:lnTo>
                  <a:lnTo>
                    <a:pt x="1165" y="153"/>
                  </a:lnTo>
                  <a:lnTo>
                    <a:pt x="1162" y="153"/>
                  </a:lnTo>
                  <a:lnTo>
                    <a:pt x="1155" y="153"/>
                  </a:lnTo>
                  <a:lnTo>
                    <a:pt x="1152" y="153"/>
                  </a:lnTo>
                  <a:lnTo>
                    <a:pt x="1152" y="153"/>
                  </a:lnTo>
                  <a:lnTo>
                    <a:pt x="1149" y="153"/>
                  </a:lnTo>
                  <a:lnTo>
                    <a:pt x="1144" y="153"/>
                  </a:lnTo>
                  <a:lnTo>
                    <a:pt x="1137" y="155"/>
                  </a:lnTo>
                  <a:lnTo>
                    <a:pt x="1134" y="155"/>
                  </a:lnTo>
                  <a:lnTo>
                    <a:pt x="1134" y="155"/>
                  </a:lnTo>
                  <a:lnTo>
                    <a:pt x="1134" y="158"/>
                  </a:lnTo>
                  <a:lnTo>
                    <a:pt x="1134" y="158"/>
                  </a:lnTo>
                  <a:lnTo>
                    <a:pt x="1132" y="155"/>
                  </a:lnTo>
                  <a:lnTo>
                    <a:pt x="1127" y="158"/>
                  </a:lnTo>
                  <a:lnTo>
                    <a:pt x="1121" y="158"/>
                  </a:lnTo>
                  <a:lnTo>
                    <a:pt x="1116" y="158"/>
                  </a:lnTo>
                  <a:lnTo>
                    <a:pt x="1106" y="163"/>
                  </a:lnTo>
                  <a:lnTo>
                    <a:pt x="1106" y="163"/>
                  </a:lnTo>
                  <a:lnTo>
                    <a:pt x="1109" y="165"/>
                  </a:lnTo>
                  <a:lnTo>
                    <a:pt x="1116" y="168"/>
                  </a:lnTo>
                  <a:lnTo>
                    <a:pt x="1116" y="168"/>
                  </a:lnTo>
                  <a:lnTo>
                    <a:pt x="1109" y="165"/>
                  </a:lnTo>
                  <a:lnTo>
                    <a:pt x="1106" y="165"/>
                  </a:lnTo>
                  <a:lnTo>
                    <a:pt x="1104" y="165"/>
                  </a:lnTo>
                  <a:lnTo>
                    <a:pt x="1101" y="165"/>
                  </a:lnTo>
                  <a:lnTo>
                    <a:pt x="1098" y="168"/>
                  </a:lnTo>
                  <a:lnTo>
                    <a:pt x="1098" y="168"/>
                  </a:lnTo>
                  <a:lnTo>
                    <a:pt x="1096" y="168"/>
                  </a:lnTo>
                  <a:lnTo>
                    <a:pt x="1096" y="171"/>
                  </a:lnTo>
                  <a:lnTo>
                    <a:pt x="1093" y="171"/>
                  </a:lnTo>
                  <a:lnTo>
                    <a:pt x="1093" y="173"/>
                  </a:lnTo>
                  <a:lnTo>
                    <a:pt x="1093" y="173"/>
                  </a:lnTo>
                  <a:lnTo>
                    <a:pt x="1093" y="173"/>
                  </a:lnTo>
                  <a:lnTo>
                    <a:pt x="1096" y="176"/>
                  </a:lnTo>
                  <a:lnTo>
                    <a:pt x="1096" y="176"/>
                  </a:lnTo>
                  <a:lnTo>
                    <a:pt x="1096" y="176"/>
                  </a:lnTo>
                  <a:lnTo>
                    <a:pt x="1098" y="176"/>
                  </a:lnTo>
                  <a:lnTo>
                    <a:pt x="1101" y="176"/>
                  </a:lnTo>
                  <a:lnTo>
                    <a:pt x="1101" y="176"/>
                  </a:lnTo>
                  <a:lnTo>
                    <a:pt x="1104" y="176"/>
                  </a:lnTo>
                  <a:lnTo>
                    <a:pt x="1104" y="176"/>
                  </a:lnTo>
                  <a:lnTo>
                    <a:pt x="1101" y="178"/>
                  </a:lnTo>
                  <a:lnTo>
                    <a:pt x="1101" y="178"/>
                  </a:lnTo>
                  <a:lnTo>
                    <a:pt x="1101" y="178"/>
                  </a:lnTo>
                  <a:lnTo>
                    <a:pt x="1101" y="181"/>
                  </a:lnTo>
                  <a:lnTo>
                    <a:pt x="1104" y="181"/>
                  </a:lnTo>
                  <a:lnTo>
                    <a:pt x="1104" y="183"/>
                  </a:lnTo>
                  <a:lnTo>
                    <a:pt x="1104" y="183"/>
                  </a:lnTo>
                  <a:lnTo>
                    <a:pt x="1104" y="183"/>
                  </a:lnTo>
                  <a:lnTo>
                    <a:pt x="1101" y="181"/>
                  </a:lnTo>
                  <a:lnTo>
                    <a:pt x="1096" y="178"/>
                  </a:lnTo>
                  <a:lnTo>
                    <a:pt x="1091" y="178"/>
                  </a:lnTo>
                  <a:lnTo>
                    <a:pt x="1091" y="178"/>
                  </a:lnTo>
                  <a:lnTo>
                    <a:pt x="1086" y="181"/>
                  </a:lnTo>
                  <a:lnTo>
                    <a:pt x="1083" y="183"/>
                  </a:lnTo>
                  <a:lnTo>
                    <a:pt x="1081" y="183"/>
                  </a:lnTo>
                  <a:lnTo>
                    <a:pt x="1081" y="183"/>
                  </a:lnTo>
                  <a:lnTo>
                    <a:pt x="1081" y="183"/>
                  </a:lnTo>
                  <a:lnTo>
                    <a:pt x="1081" y="186"/>
                  </a:lnTo>
                  <a:lnTo>
                    <a:pt x="1083" y="186"/>
                  </a:lnTo>
                  <a:lnTo>
                    <a:pt x="1083" y="188"/>
                  </a:lnTo>
                  <a:lnTo>
                    <a:pt x="1083" y="188"/>
                  </a:lnTo>
                  <a:lnTo>
                    <a:pt x="1083" y="188"/>
                  </a:lnTo>
                  <a:lnTo>
                    <a:pt x="1086" y="188"/>
                  </a:lnTo>
                  <a:lnTo>
                    <a:pt x="1086" y="188"/>
                  </a:lnTo>
                  <a:lnTo>
                    <a:pt x="1088" y="188"/>
                  </a:lnTo>
                  <a:lnTo>
                    <a:pt x="1091" y="191"/>
                  </a:lnTo>
                  <a:lnTo>
                    <a:pt x="1091" y="191"/>
                  </a:lnTo>
                  <a:lnTo>
                    <a:pt x="1088" y="193"/>
                  </a:lnTo>
                  <a:lnTo>
                    <a:pt x="1088" y="193"/>
                  </a:lnTo>
                  <a:lnTo>
                    <a:pt x="1086" y="196"/>
                  </a:lnTo>
                  <a:lnTo>
                    <a:pt x="1081" y="201"/>
                  </a:lnTo>
                  <a:lnTo>
                    <a:pt x="1078" y="201"/>
                  </a:lnTo>
                  <a:lnTo>
                    <a:pt x="1078" y="201"/>
                  </a:lnTo>
                  <a:lnTo>
                    <a:pt x="1076" y="201"/>
                  </a:lnTo>
                  <a:lnTo>
                    <a:pt x="1076" y="201"/>
                  </a:lnTo>
                  <a:lnTo>
                    <a:pt x="1076" y="201"/>
                  </a:lnTo>
                  <a:lnTo>
                    <a:pt x="1076" y="201"/>
                  </a:lnTo>
                  <a:lnTo>
                    <a:pt x="1078" y="199"/>
                  </a:lnTo>
                  <a:lnTo>
                    <a:pt x="1076" y="199"/>
                  </a:lnTo>
                  <a:lnTo>
                    <a:pt x="1068" y="199"/>
                  </a:lnTo>
                  <a:lnTo>
                    <a:pt x="1065" y="199"/>
                  </a:lnTo>
                  <a:lnTo>
                    <a:pt x="1060" y="201"/>
                  </a:lnTo>
                  <a:lnTo>
                    <a:pt x="1058" y="201"/>
                  </a:lnTo>
                  <a:lnTo>
                    <a:pt x="1053" y="201"/>
                  </a:lnTo>
                  <a:lnTo>
                    <a:pt x="1053" y="201"/>
                  </a:lnTo>
                  <a:lnTo>
                    <a:pt x="1055" y="201"/>
                  </a:lnTo>
                  <a:lnTo>
                    <a:pt x="1060" y="201"/>
                  </a:lnTo>
                  <a:lnTo>
                    <a:pt x="1065" y="199"/>
                  </a:lnTo>
                  <a:lnTo>
                    <a:pt x="1068" y="199"/>
                  </a:lnTo>
                  <a:lnTo>
                    <a:pt x="1073" y="199"/>
                  </a:lnTo>
                  <a:lnTo>
                    <a:pt x="1078" y="196"/>
                  </a:lnTo>
                  <a:lnTo>
                    <a:pt x="1081" y="196"/>
                  </a:lnTo>
                  <a:lnTo>
                    <a:pt x="1081" y="193"/>
                  </a:lnTo>
                  <a:lnTo>
                    <a:pt x="1078" y="193"/>
                  </a:lnTo>
                  <a:lnTo>
                    <a:pt x="1078" y="191"/>
                  </a:lnTo>
                  <a:lnTo>
                    <a:pt x="1076" y="191"/>
                  </a:lnTo>
                  <a:lnTo>
                    <a:pt x="1073" y="188"/>
                  </a:lnTo>
                  <a:lnTo>
                    <a:pt x="1073" y="186"/>
                  </a:lnTo>
                  <a:lnTo>
                    <a:pt x="1076" y="183"/>
                  </a:lnTo>
                  <a:lnTo>
                    <a:pt x="1076" y="181"/>
                  </a:lnTo>
                  <a:lnTo>
                    <a:pt x="1076" y="181"/>
                  </a:lnTo>
                  <a:lnTo>
                    <a:pt x="1078" y="178"/>
                  </a:lnTo>
                  <a:lnTo>
                    <a:pt x="1081" y="176"/>
                  </a:lnTo>
                  <a:lnTo>
                    <a:pt x="1083" y="176"/>
                  </a:lnTo>
                  <a:lnTo>
                    <a:pt x="1083" y="173"/>
                  </a:lnTo>
                  <a:lnTo>
                    <a:pt x="1081" y="171"/>
                  </a:lnTo>
                  <a:lnTo>
                    <a:pt x="1083" y="171"/>
                  </a:lnTo>
                  <a:lnTo>
                    <a:pt x="1083" y="168"/>
                  </a:lnTo>
                  <a:lnTo>
                    <a:pt x="1086" y="168"/>
                  </a:lnTo>
                  <a:lnTo>
                    <a:pt x="1086" y="165"/>
                  </a:lnTo>
                  <a:lnTo>
                    <a:pt x="1088" y="165"/>
                  </a:lnTo>
                  <a:lnTo>
                    <a:pt x="1098" y="160"/>
                  </a:lnTo>
                  <a:lnTo>
                    <a:pt x="1101" y="160"/>
                  </a:lnTo>
                  <a:lnTo>
                    <a:pt x="1109" y="155"/>
                  </a:lnTo>
                  <a:lnTo>
                    <a:pt x="1114" y="155"/>
                  </a:lnTo>
                  <a:lnTo>
                    <a:pt x="1119" y="153"/>
                  </a:lnTo>
                  <a:lnTo>
                    <a:pt x="1124" y="153"/>
                  </a:lnTo>
                  <a:lnTo>
                    <a:pt x="1124" y="153"/>
                  </a:lnTo>
                  <a:lnTo>
                    <a:pt x="1124" y="150"/>
                  </a:lnTo>
                  <a:lnTo>
                    <a:pt x="1124" y="150"/>
                  </a:lnTo>
                  <a:lnTo>
                    <a:pt x="1124" y="150"/>
                  </a:lnTo>
                  <a:lnTo>
                    <a:pt x="1111" y="150"/>
                  </a:lnTo>
                  <a:lnTo>
                    <a:pt x="1106" y="150"/>
                  </a:lnTo>
                  <a:lnTo>
                    <a:pt x="1101" y="150"/>
                  </a:lnTo>
                  <a:lnTo>
                    <a:pt x="1088" y="150"/>
                  </a:lnTo>
                  <a:lnTo>
                    <a:pt x="1086" y="153"/>
                  </a:lnTo>
                  <a:lnTo>
                    <a:pt x="1081" y="153"/>
                  </a:lnTo>
                  <a:lnTo>
                    <a:pt x="1076" y="155"/>
                  </a:lnTo>
                  <a:lnTo>
                    <a:pt x="1065" y="158"/>
                  </a:lnTo>
                  <a:lnTo>
                    <a:pt x="1065" y="158"/>
                  </a:lnTo>
                  <a:lnTo>
                    <a:pt x="1065" y="158"/>
                  </a:lnTo>
                  <a:lnTo>
                    <a:pt x="1063" y="158"/>
                  </a:lnTo>
                  <a:lnTo>
                    <a:pt x="1063" y="160"/>
                  </a:lnTo>
                  <a:lnTo>
                    <a:pt x="1060" y="160"/>
                  </a:lnTo>
                  <a:lnTo>
                    <a:pt x="1055" y="160"/>
                  </a:lnTo>
                  <a:lnTo>
                    <a:pt x="1053" y="163"/>
                  </a:lnTo>
                  <a:lnTo>
                    <a:pt x="1053" y="163"/>
                  </a:lnTo>
                  <a:lnTo>
                    <a:pt x="1050" y="165"/>
                  </a:lnTo>
                  <a:lnTo>
                    <a:pt x="1050" y="165"/>
                  </a:lnTo>
                  <a:lnTo>
                    <a:pt x="1048" y="168"/>
                  </a:lnTo>
                  <a:lnTo>
                    <a:pt x="1045" y="168"/>
                  </a:lnTo>
                  <a:lnTo>
                    <a:pt x="1040" y="171"/>
                  </a:lnTo>
                  <a:lnTo>
                    <a:pt x="1037" y="173"/>
                  </a:lnTo>
                  <a:lnTo>
                    <a:pt x="1032" y="176"/>
                  </a:lnTo>
                  <a:lnTo>
                    <a:pt x="1032" y="176"/>
                  </a:lnTo>
                  <a:lnTo>
                    <a:pt x="1030" y="176"/>
                  </a:lnTo>
                  <a:lnTo>
                    <a:pt x="1030" y="178"/>
                  </a:lnTo>
                  <a:lnTo>
                    <a:pt x="1030" y="178"/>
                  </a:lnTo>
                  <a:lnTo>
                    <a:pt x="1027" y="178"/>
                  </a:lnTo>
                  <a:lnTo>
                    <a:pt x="1030" y="181"/>
                  </a:lnTo>
                  <a:lnTo>
                    <a:pt x="1030" y="181"/>
                  </a:lnTo>
                  <a:lnTo>
                    <a:pt x="1030" y="181"/>
                  </a:lnTo>
                  <a:lnTo>
                    <a:pt x="1025" y="183"/>
                  </a:lnTo>
                  <a:lnTo>
                    <a:pt x="1019" y="183"/>
                  </a:lnTo>
                  <a:lnTo>
                    <a:pt x="1019" y="186"/>
                  </a:lnTo>
                  <a:lnTo>
                    <a:pt x="1019" y="186"/>
                  </a:lnTo>
                  <a:lnTo>
                    <a:pt x="1019" y="188"/>
                  </a:lnTo>
                  <a:lnTo>
                    <a:pt x="1017" y="191"/>
                  </a:lnTo>
                  <a:lnTo>
                    <a:pt x="1014" y="193"/>
                  </a:lnTo>
                  <a:lnTo>
                    <a:pt x="1014" y="193"/>
                  </a:lnTo>
                  <a:lnTo>
                    <a:pt x="1017" y="193"/>
                  </a:lnTo>
                  <a:lnTo>
                    <a:pt x="1019" y="196"/>
                  </a:lnTo>
                  <a:lnTo>
                    <a:pt x="1022" y="196"/>
                  </a:lnTo>
                  <a:lnTo>
                    <a:pt x="1030" y="199"/>
                  </a:lnTo>
                  <a:lnTo>
                    <a:pt x="1035" y="199"/>
                  </a:lnTo>
                  <a:lnTo>
                    <a:pt x="1037" y="199"/>
                  </a:lnTo>
                  <a:lnTo>
                    <a:pt x="1040" y="199"/>
                  </a:lnTo>
                  <a:lnTo>
                    <a:pt x="1040" y="199"/>
                  </a:lnTo>
                  <a:lnTo>
                    <a:pt x="1042" y="201"/>
                  </a:lnTo>
                  <a:lnTo>
                    <a:pt x="1045" y="201"/>
                  </a:lnTo>
                  <a:lnTo>
                    <a:pt x="1045" y="201"/>
                  </a:lnTo>
                  <a:lnTo>
                    <a:pt x="1040" y="204"/>
                  </a:lnTo>
                  <a:lnTo>
                    <a:pt x="1035" y="204"/>
                  </a:lnTo>
                  <a:lnTo>
                    <a:pt x="1032" y="204"/>
                  </a:lnTo>
                  <a:lnTo>
                    <a:pt x="1027" y="201"/>
                  </a:lnTo>
                  <a:lnTo>
                    <a:pt x="1027" y="201"/>
                  </a:lnTo>
                  <a:lnTo>
                    <a:pt x="1025" y="201"/>
                  </a:lnTo>
                  <a:lnTo>
                    <a:pt x="1019" y="201"/>
                  </a:lnTo>
                  <a:lnTo>
                    <a:pt x="1014" y="201"/>
                  </a:lnTo>
                  <a:lnTo>
                    <a:pt x="1012" y="201"/>
                  </a:lnTo>
                  <a:lnTo>
                    <a:pt x="1014" y="201"/>
                  </a:lnTo>
                  <a:lnTo>
                    <a:pt x="1012" y="201"/>
                  </a:lnTo>
                  <a:lnTo>
                    <a:pt x="1012" y="206"/>
                  </a:lnTo>
                  <a:lnTo>
                    <a:pt x="1012" y="206"/>
                  </a:lnTo>
                  <a:lnTo>
                    <a:pt x="1012" y="211"/>
                  </a:lnTo>
                  <a:lnTo>
                    <a:pt x="1012" y="211"/>
                  </a:lnTo>
                  <a:lnTo>
                    <a:pt x="1014" y="211"/>
                  </a:lnTo>
                  <a:lnTo>
                    <a:pt x="1017" y="211"/>
                  </a:lnTo>
                  <a:lnTo>
                    <a:pt x="1019" y="214"/>
                  </a:lnTo>
                  <a:lnTo>
                    <a:pt x="1022" y="216"/>
                  </a:lnTo>
                  <a:lnTo>
                    <a:pt x="1022" y="216"/>
                  </a:lnTo>
                  <a:lnTo>
                    <a:pt x="1022" y="216"/>
                  </a:lnTo>
                  <a:lnTo>
                    <a:pt x="1025" y="214"/>
                  </a:lnTo>
                  <a:lnTo>
                    <a:pt x="1027" y="214"/>
                  </a:lnTo>
                  <a:lnTo>
                    <a:pt x="1027" y="214"/>
                  </a:lnTo>
                  <a:lnTo>
                    <a:pt x="1032" y="214"/>
                  </a:lnTo>
                  <a:lnTo>
                    <a:pt x="1035" y="214"/>
                  </a:lnTo>
                  <a:lnTo>
                    <a:pt x="1035" y="214"/>
                  </a:lnTo>
                  <a:lnTo>
                    <a:pt x="1035" y="214"/>
                  </a:lnTo>
                  <a:lnTo>
                    <a:pt x="1035" y="214"/>
                  </a:lnTo>
                  <a:lnTo>
                    <a:pt x="1035" y="214"/>
                  </a:lnTo>
                  <a:lnTo>
                    <a:pt x="1040" y="214"/>
                  </a:lnTo>
                  <a:lnTo>
                    <a:pt x="1040" y="214"/>
                  </a:lnTo>
                  <a:lnTo>
                    <a:pt x="1042" y="214"/>
                  </a:lnTo>
                  <a:lnTo>
                    <a:pt x="1048" y="211"/>
                  </a:lnTo>
                  <a:lnTo>
                    <a:pt x="1045" y="211"/>
                  </a:lnTo>
                  <a:lnTo>
                    <a:pt x="1045" y="214"/>
                  </a:lnTo>
                  <a:lnTo>
                    <a:pt x="1042" y="214"/>
                  </a:lnTo>
                  <a:lnTo>
                    <a:pt x="1042" y="216"/>
                  </a:lnTo>
                  <a:lnTo>
                    <a:pt x="1042" y="216"/>
                  </a:lnTo>
                  <a:lnTo>
                    <a:pt x="1042" y="219"/>
                  </a:lnTo>
                  <a:lnTo>
                    <a:pt x="1042" y="219"/>
                  </a:lnTo>
                  <a:lnTo>
                    <a:pt x="1048" y="219"/>
                  </a:lnTo>
                  <a:lnTo>
                    <a:pt x="1055" y="219"/>
                  </a:lnTo>
                  <a:lnTo>
                    <a:pt x="1060" y="219"/>
                  </a:lnTo>
                  <a:lnTo>
                    <a:pt x="1063" y="219"/>
                  </a:lnTo>
                  <a:lnTo>
                    <a:pt x="1063" y="219"/>
                  </a:lnTo>
                  <a:lnTo>
                    <a:pt x="1063" y="219"/>
                  </a:lnTo>
                  <a:lnTo>
                    <a:pt x="1065" y="221"/>
                  </a:lnTo>
                  <a:lnTo>
                    <a:pt x="1076" y="221"/>
                  </a:lnTo>
                  <a:lnTo>
                    <a:pt x="1081" y="221"/>
                  </a:lnTo>
                  <a:lnTo>
                    <a:pt x="1086" y="221"/>
                  </a:lnTo>
                  <a:lnTo>
                    <a:pt x="1086" y="221"/>
                  </a:lnTo>
                  <a:lnTo>
                    <a:pt x="1088" y="221"/>
                  </a:lnTo>
                  <a:lnTo>
                    <a:pt x="1093" y="224"/>
                  </a:lnTo>
                  <a:lnTo>
                    <a:pt x="1096" y="224"/>
                  </a:lnTo>
                  <a:lnTo>
                    <a:pt x="1098" y="224"/>
                  </a:lnTo>
                  <a:lnTo>
                    <a:pt x="1101" y="224"/>
                  </a:lnTo>
                  <a:lnTo>
                    <a:pt x="1109" y="221"/>
                  </a:lnTo>
                  <a:lnTo>
                    <a:pt x="1114" y="227"/>
                  </a:lnTo>
                  <a:lnTo>
                    <a:pt x="1116" y="224"/>
                  </a:lnTo>
                  <a:lnTo>
                    <a:pt x="1116" y="224"/>
                  </a:lnTo>
                  <a:lnTo>
                    <a:pt x="1116" y="224"/>
                  </a:lnTo>
                  <a:lnTo>
                    <a:pt x="1114" y="221"/>
                  </a:lnTo>
                  <a:lnTo>
                    <a:pt x="1114" y="221"/>
                  </a:lnTo>
                  <a:lnTo>
                    <a:pt x="1111" y="221"/>
                  </a:lnTo>
                  <a:lnTo>
                    <a:pt x="1111" y="221"/>
                  </a:lnTo>
                  <a:lnTo>
                    <a:pt x="1109" y="219"/>
                  </a:lnTo>
                  <a:lnTo>
                    <a:pt x="1109" y="219"/>
                  </a:lnTo>
                  <a:lnTo>
                    <a:pt x="1111" y="219"/>
                  </a:lnTo>
                  <a:lnTo>
                    <a:pt x="1116" y="219"/>
                  </a:lnTo>
                  <a:lnTo>
                    <a:pt x="1121" y="219"/>
                  </a:lnTo>
                  <a:lnTo>
                    <a:pt x="1121" y="219"/>
                  </a:lnTo>
                  <a:lnTo>
                    <a:pt x="1127" y="221"/>
                  </a:lnTo>
                  <a:lnTo>
                    <a:pt x="1127" y="221"/>
                  </a:lnTo>
                  <a:lnTo>
                    <a:pt x="1129" y="221"/>
                  </a:lnTo>
                  <a:lnTo>
                    <a:pt x="1134" y="221"/>
                  </a:lnTo>
                  <a:lnTo>
                    <a:pt x="1137" y="224"/>
                  </a:lnTo>
                  <a:lnTo>
                    <a:pt x="1139" y="221"/>
                  </a:lnTo>
                  <a:lnTo>
                    <a:pt x="1144" y="221"/>
                  </a:lnTo>
                  <a:lnTo>
                    <a:pt x="1147" y="221"/>
                  </a:lnTo>
                  <a:lnTo>
                    <a:pt x="1149" y="221"/>
                  </a:lnTo>
                  <a:lnTo>
                    <a:pt x="1149" y="219"/>
                  </a:lnTo>
                  <a:lnTo>
                    <a:pt x="1149" y="219"/>
                  </a:lnTo>
                  <a:lnTo>
                    <a:pt x="1152" y="216"/>
                  </a:lnTo>
                  <a:lnTo>
                    <a:pt x="1152" y="216"/>
                  </a:lnTo>
                  <a:lnTo>
                    <a:pt x="1152" y="216"/>
                  </a:lnTo>
                  <a:lnTo>
                    <a:pt x="1149" y="214"/>
                  </a:lnTo>
                  <a:lnTo>
                    <a:pt x="1147" y="214"/>
                  </a:lnTo>
                  <a:lnTo>
                    <a:pt x="1147" y="214"/>
                  </a:lnTo>
                  <a:lnTo>
                    <a:pt x="1147" y="211"/>
                  </a:lnTo>
                  <a:lnTo>
                    <a:pt x="1147" y="211"/>
                  </a:lnTo>
                  <a:lnTo>
                    <a:pt x="1149" y="211"/>
                  </a:lnTo>
                  <a:lnTo>
                    <a:pt x="1152" y="209"/>
                  </a:lnTo>
                  <a:lnTo>
                    <a:pt x="1155" y="209"/>
                  </a:lnTo>
                  <a:lnTo>
                    <a:pt x="1155" y="209"/>
                  </a:lnTo>
                  <a:lnTo>
                    <a:pt x="1155" y="211"/>
                  </a:lnTo>
                  <a:lnTo>
                    <a:pt x="1155" y="211"/>
                  </a:lnTo>
                  <a:lnTo>
                    <a:pt x="1155" y="211"/>
                  </a:lnTo>
                  <a:lnTo>
                    <a:pt x="1157" y="214"/>
                  </a:lnTo>
                  <a:lnTo>
                    <a:pt x="1157" y="214"/>
                  </a:lnTo>
                  <a:lnTo>
                    <a:pt x="1157" y="214"/>
                  </a:lnTo>
                  <a:lnTo>
                    <a:pt x="1160" y="216"/>
                  </a:lnTo>
                  <a:lnTo>
                    <a:pt x="1160" y="216"/>
                  </a:lnTo>
                  <a:lnTo>
                    <a:pt x="1162" y="216"/>
                  </a:lnTo>
                  <a:lnTo>
                    <a:pt x="1167" y="216"/>
                  </a:lnTo>
                  <a:lnTo>
                    <a:pt x="1167" y="216"/>
                  </a:lnTo>
                  <a:lnTo>
                    <a:pt x="1167" y="216"/>
                  </a:lnTo>
                  <a:lnTo>
                    <a:pt x="1165" y="219"/>
                  </a:lnTo>
                  <a:lnTo>
                    <a:pt x="1165" y="221"/>
                  </a:lnTo>
                  <a:lnTo>
                    <a:pt x="1165" y="221"/>
                  </a:lnTo>
                  <a:lnTo>
                    <a:pt x="1165" y="224"/>
                  </a:lnTo>
                  <a:lnTo>
                    <a:pt x="1165" y="224"/>
                  </a:lnTo>
                  <a:lnTo>
                    <a:pt x="1170" y="224"/>
                  </a:lnTo>
                  <a:lnTo>
                    <a:pt x="1172" y="224"/>
                  </a:lnTo>
                  <a:lnTo>
                    <a:pt x="1172" y="224"/>
                  </a:lnTo>
                  <a:lnTo>
                    <a:pt x="1172" y="224"/>
                  </a:lnTo>
                  <a:lnTo>
                    <a:pt x="1172" y="227"/>
                  </a:lnTo>
                  <a:lnTo>
                    <a:pt x="1170" y="227"/>
                  </a:lnTo>
                  <a:lnTo>
                    <a:pt x="1167" y="227"/>
                  </a:lnTo>
                  <a:lnTo>
                    <a:pt x="1167" y="227"/>
                  </a:lnTo>
                  <a:lnTo>
                    <a:pt x="1167" y="227"/>
                  </a:lnTo>
                  <a:lnTo>
                    <a:pt x="1167" y="229"/>
                  </a:lnTo>
                  <a:lnTo>
                    <a:pt x="1170" y="229"/>
                  </a:lnTo>
                  <a:lnTo>
                    <a:pt x="1172" y="229"/>
                  </a:lnTo>
                  <a:lnTo>
                    <a:pt x="1172" y="229"/>
                  </a:lnTo>
                  <a:lnTo>
                    <a:pt x="1175" y="227"/>
                  </a:lnTo>
                  <a:lnTo>
                    <a:pt x="1177" y="227"/>
                  </a:lnTo>
                  <a:lnTo>
                    <a:pt x="1177" y="227"/>
                  </a:lnTo>
                  <a:lnTo>
                    <a:pt x="1180" y="227"/>
                  </a:lnTo>
                  <a:lnTo>
                    <a:pt x="1180" y="227"/>
                  </a:lnTo>
                  <a:lnTo>
                    <a:pt x="1177" y="229"/>
                  </a:lnTo>
                  <a:lnTo>
                    <a:pt x="1175" y="229"/>
                  </a:lnTo>
                  <a:lnTo>
                    <a:pt x="1175" y="229"/>
                  </a:lnTo>
                  <a:lnTo>
                    <a:pt x="1175" y="229"/>
                  </a:lnTo>
                  <a:lnTo>
                    <a:pt x="1175" y="232"/>
                  </a:lnTo>
                  <a:lnTo>
                    <a:pt x="1175" y="232"/>
                  </a:lnTo>
                  <a:lnTo>
                    <a:pt x="1175" y="232"/>
                  </a:lnTo>
                  <a:lnTo>
                    <a:pt x="1177" y="232"/>
                  </a:lnTo>
                  <a:lnTo>
                    <a:pt x="1180" y="232"/>
                  </a:lnTo>
                  <a:lnTo>
                    <a:pt x="1183" y="234"/>
                  </a:lnTo>
                  <a:lnTo>
                    <a:pt x="1183" y="234"/>
                  </a:lnTo>
                  <a:lnTo>
                    <a:pt x="1183" y="237"/>
                  </a:lnTo>
                  <a:lnTo>
                    <a:pt x="1183" y="237"/>
                  </a:lnTo>
                  <a:lnTo>
                    <a:pt x="1180" y="237"/>
                  </a:lnTo>
                  <a:lnTo>
                    <a:pt x="1177" y="239"/>
                  </a:lnTo>
                  <a:lnTo>
                    <a:pt x="1175" y="239"/>
                  </a:lnTo>
                  <a:lnTo>
                    <a:pt x="1172" y="239"/>
                  </a:lnTo>
                  <a:lnTo>
                    <a:pt x="1170" y="239"/>
                  </a:lnTo>
                  <a:lnTo>
                    <a:pt x="1167" y="239"/>
                  </a:lnTo>
                  <a:lnTo>
                    <a:pt x="1167" y="239"/>
                  </a:lnTo>
                  <a:lnTo>
                    <a:pt x="1165" y="239"/>
                  </a:lnTo>
                  <a:lnTo>
                    <a:pt x="1165" y="242"/>
                  </a:lnTo>
                  <a:lnTo>
                    <a:pt x="1162" y="244"/>
                  </a:lnTo>
                  <a:lnTo>
                    <a:pt x="1162" y="244"/>
                  </a:lnTo>
                  <a:lnTo>
                    <a:pt x="1162" y="244"/>
                  </a:lnTo>
                  <a:lnTo>
                    <a:pt x="1162" y="244"/>
                  </a:lnTo>
                  <a:lnTo>
                    <a:pt x="1162" y="244"/>
                  </a:lnTo>
                  <a:lnTo>
                    <a:pt x="1165" y="247"/>
                  </a:lnTo>
                  <a:lnTo>
                    <a:pt x="1167" y="244"/>
                  </a:lnTo>
                  <a:lnTo>
                    <a:pt x="1175" y="242"/>
                  </a:lnTo>
                  <a:lnTo>
                    <a:pt x="1177" y="242"/>
                  </a:lnTo>
                  <a:lnTo>
                    <a:pt x="1180" y="242"/>
                  </a:lnTo>
                  <a:lnTo>
                    <a:pt x="1183" y="239"/>
                  </a:lnTo>
                  <a:lnTo>
                    <a:pt x="1183" y="242"/>
                  </a:lnTo>
                  <a:lnTo>
                    <a:pt x="1185" y="242"/>
                  </a:lnTo>
                  <a:lnTo>
                    <a:pt x="1188" y="242"/>
                  </a:lnTo>
                  <a:lnTo>
                    <a:pt x="1190" y="239"/>
                  </a:lnTo>
                  <a:lnTo>
                    <a:pt x="1193" y="239"/>
                  </a:lnTo>
                  <a:lnTo>
                    <a:pt x="1193" y="239"/>
                  </a:lnTo>
                  <a:lnTo>
                    <a:pt x="1193" y="239"/>
                  </a:lnTo>
                  <a:lnTo>
                    <a:pt x="1193" y="239"/>
                  </a:lnTo>
                  <a:lnTo>
                    <a:pt x="1190" y="239"/>
                  </a:lnTo>
                  <a:lnTo>
                    <a:pt x="1188" y="239"/>
                  </a:lnTo>
                  <a:lnTo>
                    <a:pt x="1190" y="242"/>
                  </a:lnTo>
                  <a:lnTo>
                    <a:pt x="1190" y="242"/>
                  </a:lnTo>
                  <a:lnTo>
                    <a:pt x="1190" y="242"/>
                  </a:lnTo>
                  <a:lnTo>
                    <a:pt x="1190" y="242"/>
                  </a:lnTo>
                  <a:lnTo>
                    <a:pt x="1188" y="244"/>
                  </a:lnTo>
                  <a:lnTo>
                    <a:pt x="1188" y="244"/>
                  </a:lnTo>
                  <a:lnTo>
                    <a:pt x="1188" y="244"/>
                  </a:lnTo>
                  <a:lnTo>
                    <a:pt x="1190" y="244"/>
                  </a:lnTo>
                  <a:lnTo>
                    <a:pt x="1190" y="244"/>
                  </a:lnTo>
                  <a:lnTo>
                    <a:pt x="1190" y="244"/>
                  </a:lnTo>
                  <a:lnTo>
                    <a:pt x="1190" y="244"/>
                  </a:lnTo>
                  <a:lnTo>
                    <a:pt x="1190" y="244"/>
                  </a:lnTo>
                  <a:lnTo>
                    <a:pt x="1190" y="247"/>
                  </a:lnTo>
                  <a:lnTo>
                    <a:pt x="1193" y="249"/>
                  </a:lnTo>
                  <a:lnTo>
                    <a:pt x="1193" y="249"/>
                  </a:lnTo>
                  <a:lnTo>
                    <a:pt x="1195" y="249"/>
                  </a:lnTo>
                  <a:lnTo>
                    <a:pt x="1198" y="249"/>
                  </a:lnTo>
                  <a:lnTo>
                    <a:pt x="1198" y="247"/>
                  </a:lnTo>
                  <a:lnTo>
                    <a:pt x="1198" y="244"/>
                  </a:lnTo>
                  <a:lnTo>
                    <a:pt x="1198" y="244"/>
                  </a:lnTo>
                  <a:lnTo>
                    <a:pt x="1200" y="244"/>
                  </a:lnTo>
                  <a:lnTo>
                    <a:pt x="1200" y="244"/>
                  </a:lnTo>
                  <a:lnTo>
                    <a:pt x="1200" y="247"/>
                  </a:lnTo>
                  <a:lnTo>
                    <a:pt x="1200" y="247"/>
                  </a:lnTo>
                  <a:lnTo>
                    <a:pt x="1200" y="247"/>
                  </a:lnTo>
                  <a:lnTo>
                    <a:pt x="1200" y="247"/>
                  </a:lnTo>
                  <a:lnTo>
                    <a:pt x="1198" y="249"/>
                  </a:lnTo>
                  <a:lnTo>
                    <a:pt x="1198" y="249"/>
                  </a:lnTo>
                  <a:lnTo>
                    <a:pt x="1198" y="249"/>
                  </a:lnTo>
                  <a:lnTo>
                    <a:pt x="1198" y="252"/>
                  </a:lnTo>
                  <a:lnTo>
                    <a:pt x="1198" y="252"/>
                  </a:lnTo>
                  <a:lnTo>
                    <a:pt x="1198" y="255"/>
                  </a:lnTo>
                  <a:lnTo>
                    <a:pt x="1200" y="252"/>
                  </a:lnTo>
                  <a:lnTo>
                    <a:pt x="1206" y="252"/>
                  </a:lnTo>
                  <a:lnTo>
                    <a:pt x="1206" y="252"/>
                  </a:lnTo>
                  <a:lnTo>
                    <a:pt x="1203" y="252"/>
                  </a:lnTo>
                  <a:lnTo>
                    <a:pt x="1203" y="255"/>
                  </a:lnTo>
                  <a:lnTo>
                    <a:pt x="1206" y="257"/>
                  </a:lnTo>
                  <a:lnTo>
                    <a:pt x="1206" y="260"/>
                  </a:lnTo>
                  <a:lnTo>
                    <a:pt x="1206" y="262"/>
                  </a:lnTo>
                  <a:lnTo>
                    <a:pt x="1206" y="265"/>
                  </a:lnTo>
                  <a:lnTo>
                    <a:pt x="1206" y="272"/>
                  </a:lnTo>
                  <a:lnTo>
                    <a:pt x="1206" y="272"/>
                  </a:lnTo>
                  <a:lnTo>
                    <a:pt x="1206" y="272"/>
                  </a:lnTo>
                  <a:lnTo>
                    <a:pt x="1206" y="272"/>
                  </a:lnTo>
                  <a:lnTo>
                    <a:pt x="1200" y="275"/>
                  </a:lnTo>
                  <a:lnTo>
                    <a:pt x="1200" y="277"/>
                  </a:lnTo>
                  <a:lnTo>
                    <a:pt x="1195" y="277"/>
                  </a:lnTo>
                  <a:lnTo>
                    <a:pt x="1193" y="277"/>
                  </a:lnTo>
                  <a:lnTo>
                    <a:pt x="1190" y="280"/>
                  </a:lnTo>
                  <a:lnTo>
                    <a:pt x="1188" y="283"/>
                  </a:lnTo>
                  <a:lnTo>
                    <a:pt x="1188" y="283"/>
                  </a:lnTo>
                  <a:lnTo>
                    <a:pt x="1185" y="285"/>
                  </a:lnTo>
                  <a:lnTo>
                    <a:pt x="1183" y="285"/>
                  </a:lnTo>
                  <a:lnTo>
                    <a:pt x="1183" y="285"/>
                  </a:lnTo>
                  <a:lnTo>
                    <a:pt x="1180" y="285"/>
                  </a:lnTo>
                  <a:lnTo>
                    <a:pt x="1177" y="288"/>
                  </a:lnTo>
                  <a:lnTo>
                    <a:pt x="1175" y="288"/>
                  </a:lnTo>
                  <a:lnTo>
                    <a:pt x="1167" y="290"/>
                  </a:lnTo>
                  <a:lnTo>
                    <a:pt x="1160" y="295"/>
                  </a:lnTo>
                  <a:lnTo>
                    <a:pt x="1157" y="295"/>
                  </a:lnTo>
                  <a:lnTo>
                    <a:pt x="1157" y="295"/>
                  </a:lnTo>
                  <a:lnTo>
                    <a:pt x="1157" y="295"/>
                  </a:lnTo>
                  <a:lnTo>
                    <a:pt x="1157" y="298"/>
                  </a:lnTo>
                  <a:lnTo>
                    <a:pt x="1160" y="300"/>
                  </a:lnTo>
                  <a:lnTo>
                    <a:pt x="1162" y="303"/>
                  </a:lnTo>
                  <a:lnTo>
                    <a:pt x="1162" y="303"/>
                  </a:lnTo>
                  <a:lnTo>
                    <a:pt x="1162" y="305"/>
                  </a:lnTo>
                  <a:lnTo>
                    <a:pt x="1162" y="308"/>
                  </a:lnTo>
                  <a:lnTo>
                    <a:pt x="1162" y="308"/>
                  </a:lnTo>
                  <a:lnTo>
                    <a:pt x="1160" y="308"/>
                  </a:lnTo>
                  <a:lnTo>
                    <a:pt x="1157" y="308"/>
                  </a:lnTo>
                  <a:lnTo>
                    <a:pt x="1155" y="308"/>
                  </a:lnTo>
                  <a:lnTo>
                    <a:pt x="1152" y="308"/>
                  </a:lnTo>
                  <a:lnTo>
                    <a:pt x="1149" y="308"/>
                  </a:lnTo>
                  <a:lnTo>
                    <a:pt x="1147" y="311"/>
                  </a:lnTo>
                  <a:lnTo>
                    <a:pt x="1144" y="311"/>
                  </a:lnTo>
                  <a:lnTo>
                    <a:pt x="1144" y="311"/>
                  </a:lnTo>
                  <a:lnTo>
                    <a:pt x="1142" y="311"/>
                  </a:lnTo>
                  <a:lnTo>
                    <a:pt x="1139" y="311"/>
                  </a:lnTo>
                  <a:lnTo>
                    <a:pt x="1137" y="311"/>
                  </a:lnTo>
                  <a:lnTo>
                    <a:pt x="1137" y="311"/>
                  </a:lnTo>
                  <a:lnTo>
                    <a:pt x="1134" y="311"/>
                  </a:lnTo>
                  <a:lnTo>
                    <a:pt x="1134" y="313"/>
                  </a:lnTo>
                  <a:lnTo>
                    <a:pt x="1132" y="313"/>
                  </a:lnTo>
                  <a:lnTo>
                    <a:pt x="1127" y="313"/>
                  </a:lnTo>
                  <a:lnTo>
                    <a:pt x="1124" y="313"/>
                  </a:lnTo>
                  <a:lnTo>
                    <a:pt x="1124" y="313"/>
                  </a:lnTo>
                  <a:lnTo>
                    <a:pt x="1127" y="316"/>
                  </a:lnTo>
                  <a:lnTo>
                    <a:pt x="1127" y="316"/>
                  </a:lnTo>
                  <a:lnTo>
                    <a:pt x="1127" y="318"/>
                  </a:lnTo>
                  <a:lnTo>
                    <a:pt x="1127" y="318"/>
                  </a:lnTo>
                  <a:lnTo>
                    <a:pt x="1127" y="318"/>
                  </a:lnTo>
                  <a:lnTo>
                    <a:pt x="1124" y="318"/>
                  </a:lnTo>
                  <a:lnTo>
                    <a:pt x="1124" y="321"/>
                  </a:lnTo>
                  <a:lnTo>
                    <a:pt x="1124" y="321"/>
                  </a:lnTo>
                  <a:lnTo>
                    <a:pt x="1124" y="321"/>
                  </a:lnTo>
                  <a:lnTo>
                    <a:pt x="1121" y="321"/>
                  </a:lnTo>
                  <a:lnTo>
                    <a:pt x="1121" y="321"/>
                  </a:lnTo>
                  <a:lnTo>
                    <a:pt x="1121" y="321"/>
                  </a:lnTo>
                  <a:lnTo>
                    <a:pt x="1124" y="318"/>
                  </a:lnTo>
                  <a:lnTo>
                    <a:pt x="1124" y="318"/>
                  </a:lnTo>
                  <a:lnTo>
                    <a:pt x="1124" y="318"/>
                  </a:lnTo>
                  <a:lnTo>
                    <a:pt x="1124" y="316"/>
                  </a:lnTo>
                  <a:lnTo>
                    <a:pt x="1124" y="313"/>
                  </a:lnTo>
                  <a:lnTo>
                    <a:pt x="1119" y="313"/>
                  </a:lnTo>
                  <a:lnTo>
                    <a:pt x="1114" y="311"/>
                  </a:lnTo>
                  <a:lnTo>
                    <a:pt x="1111" y="311"/>
                  </a:lnTo>
                  <a:lnTo>
                    <a:pt x="1109" y="311"/>
                  </a:lnTo>
                  <a:lnTo>
                    <a:pt x="1106" y="311"/>
                  </a:lnTo>
                  <a:lnTo>
                    <a:pt x="1104" y="308"/>
                  </a:lnTo>
                  <a:lnTo>
                    <a:pt x="1104" y="308"/>
                  </a:lnTo>
                  <a:lnTo>
                    <a:pt x="1104" y="311"/>
                  </a:lnTo>
                  <a:lnTo>
                    <a:pt x="1101" y="311"/>
                  </a:lnTo>
                  <a:lnTo>
                    <a:pt x="1101" y="311"/>
                  </a:lnTo>
                  <a:lnTo>
                    <a:pt x="1098" y="311"/>
                  </a:lnTo>
                  <a:lnTo>
                    <a:pt x="1098" y="313"/>
                  </a:lnTo>
                  <a:lnTo>
                    <a:pt x="1098" y="313"/>
                  </a:lnTo>
                  <a:lnTo>
                    <a:pt x="1098" y="316"/>
                  </a:lnTo>
                  <a:lnTo>
                    <a:pt x="1088" y="316"/>
                  </a:lnTo>
                  <a:lnTo>
                    <a:pt x="1086" y="318"/>
                  </a:lnTo>
                  <a:lnTo>
                    <a:pt x="1086" y="318"/>
                  </a:lnTo>
                  <a:lnTo>
                    <a:pt x="1083" y="318"/>
                  </a:lnTo>
                  <a:lnTo>
                    <a:pt x="1081" y="323"/>
                  </a:lnTo>
                  <a:lnTo>
                    <a:pt x="1081" y="323"/>
                  </a:lnTo>
                  <a:lnTo>
                    <a:pt x="1081" y="323"/>
                  </a:lnTo>
                  <a:lnTo>
                    <a:pt x="1078" y="326"/>
                  </a:lnTo>
                  <a:lnTo>
                    <a:pt x="1078" y="326"/>
                  </a:lnTo>
                  <a:lnTo>
                    <a:pt x="1078" y="328"/>
                  </a:lnTo>
                  <a:lnTo>
                    <a:pt x="1078" y="328"/>
                  </a:lnTo>
                  <a:lnTo>
                    <a:pt x="1081" y="331"/>
                  </a:lnTo>
                  <a:lnTo>
                    <a:pt x="1081" y="331"/>
                  </a:lnTo>
                  <a:lnTo>
                    <a:pt x="1083" y="331"/>
                  </a:lnTo>
                  <a:lnTo>
                    <a:pt x="1086" y="331"/>
                  </a:lnTo>
                  <a:lnTo>
                    <a:pt x="1086" y="333"/>
                  </a:lnTo>
                  <a:lnTo>
                    <a:pt x="1088" y="333"/>
                  </a:lnTo>
                  <a:lnTo>
                    <a:pt x="1088" y="333"/>
                  </a:lnTo>
                  <a:lnTo>
                    <a:pt x="1091" y="333"/>
                  </a:lnTo>
                  <a:lnTo>
                    <a:pt x="1093" y="333"/>
                  </a:lnTo>
                  <a:lnTo>
                    <a:pt x="1096" y="333"/>
                  </a:lnTo>
                  <a:lnTo>
                    <a:pt x="1098" y="333"/>
                  </a:lnTo>
                  <a:lnTo>
                    <a:pt x="1098" y="331"/>
                  </a:lnTo>
                  <a:lnTo>
                    <a:pt x="1098" y="333"/>
                  </a:lnTo>
                  <a:lnTo>
                    <a:pt x="1101" y="331"/>
                  </a:lnTo>
                  <a:lnTo>
                    <a:pt x="1106" y="331"/>
                  </a:lnTo>
                  <a:lnTo>
                    <a:pt x="1109" y="331"/>
                  </a:lnTo>
                  <a:lnTo>
                    <a:pt x="1111" y="331"/>
                  </a:lnTo>
                  <a:lnTo>
                    <a:pt x="1111" y="331"/>
                  </a:lnTo>
                  <a:lnTo>
                    <a:pt x="1114" y="328"/>
                  </a:lnTo>
                  <a:lnTo>
                    <a:pt x="1119" y="328"/>
                  </a:lnTo>
                  <a:lnTo>
                    <a:pt x="1121" y="328"/>
                  </a:lnTo>
                  <a:lnTo>
                    <a:pt x="1121" y="328"/>
                  </a:lnTo>
                  <a:lnTo>
                    <a:pt x="1124" y="328"/>
                  </a:lnTo>
                  <a:lnTo>
                    <a:pt x="1127" y="328"/>
                  </a:lnTo>
                  <a:lnTo>
                    <a:pt x="1129" y="328"/>
                  </a:lnTo>
                  <a:lnTo>
                    <a:pt x="1132" y="326"/>
                  </a:lnTo>
                  <a:lnTo>
                    <a:pt x="1132" y="326"/>
                  </a:lnTo>
                  <a:lnTo>
                    <a:pt x="1132" y="323"/>
                  </a:lnTo>
                  <a:lnTo>
                    <a:pt x="1132" y="323"/>
                  </a:lnTo>
                  <a:lnTo>
                    <a:pt x="1132" y="323"/>
                  </a:lnTo>
                  <a:lnTo>
                    <a:pt x="1132" y="323"/>
                  </a:lnTo>
                  <a:lnTo>
                    <a:pt x="1134" y="323"/>
                  </a:lnTo>
                  <a:lnTo>
                    <a:pt x="1134" y="321"/>
                  </a:lnTo>
                  <a:lnTo>
                    <a:pt x="1134" y="321"/>
                  </a:lnTo>
                  <a:lnTo>
                    <a:pt x="1137" y="321"/>
                  </a:lnTo>
                  <a:lnTo>
                    <a:pt x="1137" y="323"/>
                  </a:lnTo>
                  <a:lnTo>
                    <a:pt x="1134" y="323"/>
                  </a:lnTo>
                  <a:lnTo>
                    <a:pt x="1134" y="326"/>
                  </a:lnTo>
                  <a:lnTo>
                    <a:pt x="1137" y="326"/>
                  </a:lnTo>
                  <a:lnTo>
                    <a:pt x="1137" y="326"/>
                  </a:lnTo>
                  <a:lnTo>
                    <a:pt x="1139" y="326"/>
                  </a:lnTo>
                  <a:lnTo>
                    <a:pt x="1139" y="326"/>
                  </a:lnTo>
                  <a:lnTo>
                    <a:pt x="1139" y="328"/>
                  </a:lnTo>
                  <a:lnTo>
                    <a:pt x="1139" y="328"/>
                  </a:lnTo>
                  <a:lnTo>
                    <a:pt x="1139" y="331"/>
                  </a:lnTo>
                  <a:lnTo>
                    <a:pt x="1139" y="331"/>
                  </a:lnTo>
                  <a:lnTo>
                    <a:pt x="1139" y="328"/>
                  </a:lnTo>
                  <a:lnTo>
                    <a:pt x="1142" y="328"/>
                  </a:lnTo>
                  <a:lnTo>
                    <a:pt x="1144" y="326"/>
                  </a:lnTo>
                  <a:lnTo>
                    <a:pt x="1144" y="326"/>
                  </a:lnTo>
                  <a:lnTo>
                    <a:pt x="1144" y="326"/>
                  </a:lnTo>
                  <a:lnTo>
                    <a:pt x="1147" y="326"/>
                  </a:lnTo>
                  <a:lnTo>
                    <a:pt x="1147" y="326"/>
                  </a:lnTo>
                  <a:lnTo>
                    <a:pt x="1152" y="326"/>
                  </a:lnTo>
                  <a:lnTo>
                    <a:pt x="1152" y="326"/>
                  </a:lnTo>
                  <a:lnTo>
                    <a:pt x="1152" y="326"/>
                  </a:lnTo>
                  <a:lnTo>
                    <a:pt x="1149" y="331"/>
                  </a:lnTo>
                  <a:lnTo>
                    <a:pt x="1147" y="331"/>
                  </a:lnTo>
                  <a:lnTo>
                    <a:pt x="1149" y="331"/>
                  </a:lnTo>
                  <a:lnTo>
                    <a:pt x="1149" y="331"/>
                  </a:lnTo>
                  <a:lnTo>
                    <a:pt x="1149" y="333"/>
                  </a:lnTo>
                  <a:lnTo>
                    <a:pt x="1152" y="336"/>
                  </a:lnTo>
                  <a:lnTo>
                    <a:pt x="1155" y="339"/>
                  </a:lnTo>
                  <a:lnTo>
                    <a:pt x="1155" y="339"/>
                  </a:lnTo>
                  <a:lnTo>
                    <a:pt x="1155" y="339"/>
                  </a:lnTo>
                  <a:lnTo>
                    <a:pt x="1155" y="341"/>
                  </a:lnTo>
                  <a:lnTo>
                    <a:pt x="1155" y="341"/>
                  </a:lnTo>
                  <a:lnTo>
                    <a:pt x="1155" y="341"/>
                  </a:lnTo>
                  <a:lnTo>
                    <a:pt x="1160" y="341"/>
                  </a:lnTo>
                  <a:lnTo>
                    <a:pt x="1160" y="341"/>
                  </a:lnTo>
                  <a:lnTo>
                    <a:pt x="1162" y="341"/>
                  </a:lnTo>
                  <a:lnTo>
                    <a:pt x="1160" y="341"/>
                  </a:lnTo>
                  <a:lnTo>
                    <a:pt x="1160" y="341"/>
                  </a:lnTo>
                  <a:lnTo>
                    <a:pt x="1157" y="344"/>
                  </a:lnTo>
                  <a:lnTo>
                    <a:pt x="1157" y="344"/>
                  </a:lnTo>
                  <a:lnTo>
                    <a:pt x="1157" y="344"/>
                  </a:lnTo>
                  <a:lnTo>
                    <a:pt x="1165" y="344"/>
                  </a:lnTo>
                  <a:lnTo>
                    <a:pt x="1165" y="344"/>
                  </a:lnTo>
                  <a:lnTo>
                    <a:pt x="1167" y="346"/>
                  </a:lnTo>
                  <a:lnTo>
                    <a:pt x="1167" y="346"/>
                  </a:lnTo>
                  <a:lnTo>
                    <a:pt x="1167" y="346"/>
                  </a:lnTo>
                  <a:lnTo>
                    <a:pt x="1167" y="346"/>
                  </a:lnTo>
                  <a:lnTo>
                    <a:pt x="1170" y="346"/>
                  </a:lnTo>
                  <a:lnTo>
                    <a:pt x="1170" y="346"/>
                  </a:lnTo>
                  <a:lnTo>
                    <a:pt x="1167" y="349"/>
                  </a:lnTo>
                  <a:lnTo>
                    <a:pt x="1165" y="349"/>
                  </a:lnTo>
                  <a:lnTo>
                    <a:pt x="1162" y="349"/>
                  </a:lnTo>
                  <a:lnTo>
                    <a:pt x="1160" y="349"/>
                  </a:lnTo>
                  <a:lnTo>
                    <a:pt x="1157" y="349"/>
                  </a:lnTo>
                  <a:lnTo>
                    <a:pt x="1157" y="351"/>
                  </a:lnTo>
                  <a:lnTo>
                    <a:pt x="1160" y="351"/>
                  </a:lnTo>
                  <a:lnTo>
                    <a:pt x="1160" y="354"/>
                  </a:lnTo>
                  <a:lnTo>
                    <a:pt x="1162" y="356"/>
                  </a:lnTo>
                  <a:lnTo>
                    <a:pt x="1162" y="356"/>
                  </a:lnTo>
                  <a:lnTo>
                    <a:pt x="1165" y="359"/>
                  </a:lnTo>
                  <a:lnTo>
                    <a:pt x="1170" y="356"/>
                  </a:lnTo>
                  <a:lnTo>
                    <a:pt x="1170" y="356"/>
                  </a:lnTo>
                  <a:lnTo>
                    <a:pt x="1167" y="359"/>
                  </a:lnTo>
                  <a:lnTo>
                    <a:pt x="1165" y="359"/>
                  </a:lnTo>
                  <a:lnTo>
                    <a:pt x="1167" y="359"/>
                  </a:lnTo>
                  <a:lnTo>
                    <a:pt x="1170" y="361"/>
                  </a:lnTo>
                  <a:lnTo>
                    <a:pt x="1172" y="361"/>
                  </a:lnTo>
                  <a:lnTo>
                    <a:pt x="1175" y="364"/>
                  </a:lnTo>
                  <a:lnTo>
                    <a:pt x="1177" y="364"/>
                  </a:lnTo>
                  <a:lnTo>
                    <a:pt x="1180" y="364"/>
                  </a:lnTo>
                  <a:lnTo>
                    <a:pt x="1180" y="364"/>
                  </a:lnTo>
                  <a:lnTo>
                    <a:pt x="1183" y="364"/>
                  </a:lnTo>
                  <a:lnTo>
                    <a:pt x="1185" y="364"/>
                  </a:lnTo>
                  <a:lnTo>
                    <a:pt x="1188" y="364"/>
                  </a:lnTo>
                  <a:lnTo>
                    <a:pt x="1188" y="366"/>
                  </a:lnTo>
                  <a:lnTo>
                    <a:pt x="1190" y="369"/>
                  </a:lnTo>
                  <a:lnTo>
                    <a:pt x="1190" y="372"/>
                  </a:lnTo>
                  <a:lnTo>
                    <a:pt x="1195" y="372"/>
                  </a:lnTo>
                  <a:lnTo>
                    <a:pt x="1195" y="374"/>
                  </a:lnTo>
                  <a:lnTo>
                    <a:pt x="1195" y="374"/>
                  </a:lnTo>
                  <a:lnTo>
                    <a:pt x="1198" y="374"/>
                  </a:lnTo>
                  <a:lnTo>
                    <a:pt x="1213" y="377"/>
                  </a:lnTo>
                  <a:lnTo>
                    <a:pt x="1213" y="377"/>
                  </a:lnTo>
                  <a:lnTo>
                    <a:pt x="1213" y="377"/>
                  </a:lnTo>
                  <a:lnTo>
                    <a:pt x="1216" y="377"/>
                  </a:lnTo>
                  <a:lnTo>
                    <a:pt x="1221" y="379"/>
                  </a:lnTo>
                  <a:lnTo>
                    <a:pt x="1223" y="379"/>
                  </a:lnTo>
                  <a:lnTo>
                    <a:pt x="1226" y="382"/>
                  </a:lnTo>
                  <a:lnTo>
                    <a:pt x="1226" y="382"/>
                  </a:lnTo>
                  <a:lnTo>
                    <a:pt x="1228" y="382"/>
                  </a:lnTo>
                  <a:lnTo>
                    <a:pt x="1231" y="382"/>
                  </a:lnTo>
                  <a:lnTo>
                    <a:pt x="1231" y="382"/>
                  </a:lnTo>
                  <a:lnTo>
                    <a:pt x="1231" y="379"/>
                  </a:lnTo>
                  <a:lnTo>
                    <a:pt x="1231" y="377"/>
                  </a:lnTo>
                  <a:lnTo>
                    <a:pt x="1234" y="377"/>
                  </a:lnTo>
                  <a:lnTo>
                    <a:pt x="1234" y="377"/>
                  </a:lnTo>
                  <a:lnTo>
                    <a:pt x="1236" y="377"/>
                  </a:lnTo>
                  <a:lnTo>
                    <a:pt x="1236" y="374"/>
                  </a:lnTo>
                  <a:lnTo>
                    <a:pt x="1236" y="374"/>
                  </a:lnTo>
                  <a:lnTo>
                    <a:pt x="1234" y="374"/>
                  </a:lnTo>
                  <a:lnTo>
                    <a:pt x="1234" y="372"/>
                  </a:lnTo>
                  <a:lnTo>
                    <a:pt x="1231" y="372"/>
                  </a:lnTo>
                  <a:lnTo>
                    <a:pt x="1231" y="369"/>
                  </a:lnTo>
                  <a:lnTo>
                    <a:pt x="1231" y="369"/>
                  </a:lnTo>
                  <a:lnTo>
                    <a:pt x="1231" y="366"/>
                  </a:lnTo>
                  <a:lnTo>
                    <a:pt x="1231" y="366"/>
                  </a:lnTo>
                  <a:lnTo>
                    <a:pt x="1226" y="364"/>
                  </a:lnTo>
                  <a:lnTo>
                    <a:pt x="1226" y="364"/>
                  </a:lnTo>
                  <a:lnTo>
                    <a:pt x="1223" y="361"/>
                  </a:lnTo>
                  <a:lnTo>
                    <a:pt x="1223" y="361"/>
                  </a:lnTo>
                  <a:lnTo>
                    <a:pt x="1223" y="361"/>
                  </a:lnTo>
                  <a:lnTo>
                    <a:pt x="1221" y="359"/>
                  </a:lnTo>
                  <a:lnTo>
                    <a:pt x="1218" y="359"/>
                  </a:lnTo>
                  <a:lnTo>
                    <a:pt x="1218" y="359"/>
                  </a:lnTo>
                  <a:lnTo>
                    <a:pt x="1221" y="356"/>
                  </a:lnTo>
                  <a:lnTo>
                    <a:pt x="1221" y="356"/>
                  </a:lnTo>
                  <a:lnTo>
                    <a:pt x="1218" y="356"/>
                  </a:lnTo>
                  <a:lnTo>
                    <a:pt x="1216" y="356"/>
                  </a:lnTo>
                  <a:lnTo>
                    <a:pt x="1213" y="354"/>
                  </a:lnTo>
                  <a:lnTo>
                    <a:pt x="1213" y="354"/>
                  </a:lnTo>
                  <a:lnTo>
                    <a:pt x="1213" y="351"/>
                  </a:lnTo>
                  <a:lnTo>
                    <a:pt x="1211" y="349"/>
                  </a:lnTo>
                  <a:lnTo>
                    <a:pt x="1211" y="349"/>
                  </a:lnTo>
                  <a:lnTo>
                    <a:pt x="1211" y="346"/>
                  </a:lnTo>
                  <a:lnTo>
                    <a:pt x="1208" y="344"/>
                  </a:lnTo>
                  <a:lnTo>
                    <a:pt x="1211" y="344"/>
                  </a:lnTo>
                  <a:lnTo>
                    <a:pt x="1213" y="344"/>
                  </a:lnTo>
                  <a:lnTo>
                    <a:pt x="1216" y="344"/>
                  </a:lnTo>
                  <a:lnTo>
                    <a:pt x="1218" y="346"/>
                  </a:lnTo>
                  <a:lnTo>
                    <a:pt x="1223" y="349"/>
                  </a:lnTo>
                  <a:lnTo>
                    <a:pt x="1223" y="349"/>
                  </a:lnTo>
                  <a:lnTo>
                    <a:pt x="1223" y="349"/>
                  </a:lnTo>
                  <a:lnTo>
                    <a:pt x="1223" y="349"/>
                  </a:lnTo>
                  <a:lnTo>
                    <a:pt x="1226" y="346"/>
                  </a:lnTo>
                  <a:lnTo>
                    <a:pt x="1226" y="344"/>
                  </a:lnTo>
                  <a:lnTo>
                    <a:pt x="1226" y="344"/>
                  </a:lnTo>
                  <a:lnTo>
                    <a:pt x="1226" y="346"/>
                  </a:lnTo>
                  <a:lnTo>
                    <a:pt x="1228" y="349"/>
                  </a:lnTo>
                  <a:lnTo>
                    <a:pt x="1231" y="351"/>
                  </a:lnTo>
                  <a:lnTo>
                    <a:pt x="1231" y="351"/>
                  </a:lnTo>
                  <a:lnTo>
                    <a:pt x="1234" y="351"/>
                  </a:lnTo>
                  <a:lnTo>
                    <a:pt x="1234" y="351"/>
                  </a:lnTo>
                  <a:lnTo>
                    <a:pt x="1234" y="354"/>
                  </a:lnTo>
                  <a:lnTo>
                    <a:pt x="1234" y="354"/>
                  </a:lnTo>
                  <a:lnTo>
                    <a:pt x="1236" y="354"/>
                  </a:lnTo>
                  <a:lnTo>
                    <a:pt x="1236" y="356"/>
                  </a:lnTo>
                  <a:lnTo>
                    <a:pt x="1236" y="356"/>
                  </a:lnTo>
                  <a:lnTo>
                    <a:pt x="1236" y="356"/>
                  </a:lnTo>
                  <a:lnTo>
                    <a:pt x="1236" y="356"/>
                  </a:lnTo>
                  <a:lnTo>
                    <a:pt x="1236" y="356"/>
                  </a:lnTo>
                  <a:lnTo>
                    <a:pt x="1236" y="356"/>
                  </a:lnTo>
                  <a:lnTo>
                    <a:pt x="1239" y="354"/>
                  </a:lnTo>
                  <a:lnTo>
                    <a:pt x="1239" y="354"/>
                  </a:lnTo>
                  <a:lnTo>
                    <a:pt x="1239" y="354"/>
                  </a:lnTo>
                  <a:lnTo>
                    <a:pt x="1239" y="356"/>
                  </a:lnTo>
                  <a:lnTo>
                    <a:pt x="1239" y="359"/>
                  </a:lnTo>
                  <a:lnTo>
                    <a:pt x="1241" y="359"/>
                  </a:lnTo>
                  <a:lnTo>
                    <a:pt x="1241" y="359"/>
                  </a:lnTo>
                  <a:lnTo>
                    <a:pt x="1241" y="359"/>
                  </a:lnTo>
                  <a:lnTo>
                    <a:pt x="1244" y="356"/>
                  </a:lnTo>
                  <a:lnTo>
                    <a:pt x="1244" y="356"/>
                  </a:lnTo>
                  <a:lnTo>
                    <a:pt x="1244" y="356"/>
                  </a:lnTo>
                  <a:lnTo>
                    <a:pt x="1246" y="359"/>
                  </a:lnTo>
                  <a:lnTo>
                    <a:pt x="1246" y="359"/>
                  </a:lnTo>
                  <a:lnTo>
                    <a:pt x="1246" y="359"/>
                  </a:lnTo>
                  <a:lnTo>
                    <a:pt x="1246" y="361"/>
                  </a:lnTo>
                  <a:lnTo>
                    <a:pt x="1246" y="361"/>
                  </a:lnTo>
                  <a:lnTo>
                    <a:pt x="1249" y="359"/>
                  </a:lnTo>
                  <a:lnTo>
                    <a:pt x="1249" y="359"/>
                  </a:lnTo>
                  <a:lnTo>
                    <a:pt x="1251" y="361"/>
                  </a:lnTo>
                  <a:lnTo>
                    <a:pt x="1251" y="364"/>
                  </a:lnTo>
                  <a:lnTo>
                    <a:pt x="1254" y="364"/>
                  </a:lnTo>
                  <a:lnTo>
                    <a:pt x="1254" y="366"/>
                  </a:lnTo>
                  <a:lnTo>
                    <a:pt x="1254" y="366"/>
                  </a:lnTo>
                  <a:lnTo>
                    <a:pt x="1256" y="366"/>
                  </a:lnTo>
                  <a:lnTo>
                    <a:pt x="1256" y="364"/>
                  </a:lnTo>
                  <a:lnTo>
                    <a:pt x="1256" y="359"/>
                  </a:lnTo>
                  <a:lnTo>
                    <a:pt x="1259" y="359"/>
                  </a:lnTo>
                  <a:lnTo>
                    <a:pt x="1262" y="361"/>
                  </a:lnTo>
                  <a:lnTo>
                    <a:pt x="1262" y="361"/>
                  </a:lnTo>
                  <a:lnTo>
                    <a:pt x="1264" y="361"/>
                  </a:lnTo>
                  <a:lnTo>
                    <a:pt x="1264" y="361"/>
                  </a:lnTo>
                  <a:lnTo>
                    <a:pt x="1264" y="359"/>
                  </a:lnTo>
                  <a:lnTo>
                    <a:pt x="1264" y="359"/>
                  </a:lnTo>
                  <a:lnTo>
                    <a:pt x="1264" y="359"/>
                  </a:lnTo>
                  <a:lnTo>
                    <a:pt x="1264" y="356"/>
                  </a:lnTo>
                  <a:lnTo>
                    <a:pt x="1264" y="356"/>
                  </a:lnTo>
                  <a:lnTo>
                    <a:pt x="1264" y="354"/>
                  </a:lnTo>
                  <a:lnTo>
                    <a:pt x="1264" y="354"/>
                  </a:lnTo>
                  <a:lnTo>
                    <a:pt x="1264" y="354"/>
                  </a:lnTo>
                  <a:lnTo>
                    <a:pt x="1264" y="354"/>
                  </a:lnTo>
                  <a:lnTo>
                    <a:pt x="1264" y="351"/>
                  </a:lnTo>
                  <a:lnTo>
                    <a:pt x="1267" y="349"/>
                  </a:lnTo>
                  <a:lnTo>
                    <a:pt x="1267" y="346"/>
                  </a:lnTo>
                  <a:lnTo>
                    <a:pt x="1267" y="344"/>
                  </a:lnTo>
                  <a:lnTo>
                    <a:pt x="1267" y="344"/>
                  </a:lnTo>
                  <a:lnTo>
                    <a:pt x="1267" y="344"/>
                  </a:lnTo>
                  <a:lnTo>
                    <a:pt x="1269" y="346"/>
                  </a:lnTo>
                  <a:lnTo>
                    <a:pt x="1269" y="346"/>
                  </a:lnTo>
                  <a:lnTo>
                    <a:pt x="1269" y="346"/>
                  </a:lnTo>
                  <a:lnTo>
                    <a:pt x="1269" y="354"/>
                  </a:lnTo>
                  <a:lnTo>
                    <a:pt x="1269" y="354"/>
                  </a:lnTo>
                  <a:lnTo>
                    <a:pt x="1269" y="354"/>
                  </a:lnTo>
                  <a:lnTo>
                    <a:pt x="1272" y="354"/>
                  </a:lnTo>
                  <a:lnTo>
                    <a:pt x="1272" y="351"/>
                  </a:lnTo>
                  <a:lnTo>
                    <a:pt x="1274" y="349"/>
                  </a:lnTo>
                  <a:lnTo>
                    <a:pt x="1274" y="346"/>
                  </a:lnTo>
                  <a:lnTo>
                    <a:pt x="1277" y="344"/>
                  </a:lnTo>
                  <a:lnTo>
                    <a:pt x="1277" y="344"/>
                  </a:lnTo>
                  <a:lnTo>
                    <a:pt x="1279" y="344"/>
                  </a:lnTo>
                  <a:lnTo>
                    <a:pt x="1279" y="344"/>
                  </a:lnTo>
                  <a:lnTo>
                    <a:pt x="1279" y="341"/>
                  </a:lnTo>
                  <a:lnTo>
                    <a:pt x="1277" y="341"/>
                  </a:lnTo>
                  <a:lnTo>
                    <a:pt x="1274" y="341"/>
                  </a:lnTo>
                  <a:lnTo>
                    <a:pt x="1274" y="341"/>
                  </a:lnTo>
                  <a:lnTo>
                    <a:pt x="1277" y="339"/>
                  </a:lnTo>
                  <a:lnTo>
                    <a:pt x="1279" y="339"/>
                  </a:lnTo>
                  <a:lnTo>
                    <a:pt x="1279" y="339"/>
                  </a:lnTo>
                  <a:lnTo>
                    <a:pt x="1277" y="339"/>
                  </a:lnTo>
                  <a:lnTo>
                    <a:pt x="1274" y="339"/>
                  </a:lnTo>
                  <a:lnTo>
                    <a:pt x="1272" y="339"/>
                  </a:lnTo>
                  <a:lnTo>
                    <a:pt x="1272" y="339"/>
                  </a:lnTo>
                  <a:lnTo>
                    <a:pt x="1272" y="339"/>
                  </a:lnTo>
                  <a:lnTo>
                    <a:pt x="1272" y="336"/>
                  </a:lnTo>
                  <a:lnTo>
                    <a:pt x="1272" y="336"/>
                  </a:lnTo>
                  <a:lnTo>
                    <a:pt x="1272" y="336"/>
                  </a:lnTo>
                  <a:lnTo>
                    <a:pt x="1272" y="333"/>
                  </a:lnTo>
                  <a:lnTo>
                    <a:pt x="1269" y="333"/>
                  </a:lnTo>
                  <a:lnTo>
                    <a:pt x="1267" y="333"/>
                  </a:lnTo>
                  <a:lnTo>
                    <a:pt x="1267" y="331"/>
                  </a:lnTo>
                  <a:lnTo>
                    <a:pt x="1269" y="331"/>
                  </a:lnTo>
                  <a:lnTo>
                    <a:pt x="1272" y="331"/>
                  </a:lnTo>
                  <a:lnTo>
                    <a:pt x="1274" y="331"/>
                  </a:lnTo>
                  <a:lnTo>
                    <a:pt x="1277" y="328"/>
                  </a:lnTo>
                  <a:lnTo>
                    <a:pt x="1277" y="328"/>
                  </a:lnTo>
                  <a:lnTo>
                    <a:pt x="1277" y="328"/>
                  </a:lnTo>
                  <a:lnTo>
                    <a:pt x="1272" y="328"/>
                  </a:lnTo>
                  <a:lnTo>
                    <a:pt x="1272" y="328"/>
                  </a:lnTo>
                  <a:lnTo>
                    <a:pt x="1272" y="328"/>
                  </a:lnTo>
                  <a:lnTo>
                    <a:pt x="1274" y="326"/>
                  </a:lnTo>
                  <a:lnTo>
                    <a:pt x="1277" y="326"/>
                  </a:lnTo>
                  <a:lnTo>
                    <a:pt x="1274" y="323"/>
                  </a:lnTo>
                  <a:lnTo>
                    <a:pt x="1274" y="323"/>
                  </a:lnTo>
                  <a:lnTo>
                    <a:pt x="1272" y="323"/>
                  </a:lnTo>
                  <a:lnTo>
                    <a:pt x="1272" y="323"/>
                  </a:lnTo>
                  <a:lnTo>
                    <a:pt x="1272" y="321"/>
                  </a:lnTo>
                  <a:lnTo>
                    <a:pt x="1269" y="321"/>
                  </a:lnTo>
                  <a:lnTo>
                    <a:pt x="1267" y="321"/>
                  </a:lnTo>
                  <a:lnTo>
                    <a:pt x="1267" y="323"/>
                  </a:lnTo>
                  <a:lnTo>
                    <a:pt x="1264" y="323"/>
                  </a:lnTo>
                  <a:lnTo>
                    <a:pt x="1264" y="323"/>
                  </a:lnTo>
                  <a:lnTo>
                    <a:pt x="1262" y="323"/>
                  </a:lnTo>
                  <a:lnTo>
                    <a:pt x="1262" y="323"/>
                  </a:lnTo>
                  <a:lnTo>
                    <a:pt x="1264" y="321"/>
                  </a:lnTo>
                  <a:lnTo>
                    <a:pt x="1264" y="321"/>
                  </a:lnTo>
                  <a:lnTo>
                    <a:pt x="1264" y="321"/>
                  </a:lnTo>
                  <a:lnTo>
                    <a:pt x="1262" y="318"/>
                  </a:lnTo>
                  <a:lnTo>
                    <a:pt x="1259" y="318"/>
                  </a:lnTo>
                  <a:lnTo>
                    <a:pt x="1259" y="318"/>
                  </a:lnTo>
                  <a:lnTo>
                    <a:pt x="1256" y="321"/>
                  </a:lnTo>
                  <a:lnTo>
                    <a:pt x="1256" y="321"/>
                  </a:lnTo>
                  <a:lnTo>
                    <a:pt x="1256" y="321"/>
                  </a:lnTo>
                  <a:lnTo>
                    <a:pt x="1259" y="318"/>
                  </a:lnTo>
                  <a:lnTo>
                    <a:pt x="1259" y="316"/>
                  </a:lnTo>
                  <a:lnTo>
                    <a:pt x="1259" y="316"/>
                  </a:lnTo>
                  <a:lnTo>
                    <a:pt x="1256" y="316"/>
                  </a:lnTo>
                  <a:lnTo>
                    <a:pt x="1256" y="316"/>
                  </a:lnTo>
                  <a:lnTo>
                    <a:pt x="1256" y="316"/>
                  </a:lnTo>
                  <a:lnTo>
                    <a:pt x="1256" y="316"/>
                  </a:lnTo>
                  <a:lnTo>
                    <a:pt x="1256" y="316"/>
                  </a:lnTo>
                  <a:lnTo>
                    <a:pt x="1256" y="316"/>
                  </a:lnTo>
                  <a:lnTo>
                    <a:pt x="1256" y="313"/>
                  </a:lnTo>
                  <a:lnTo>
                    <a:pt x="1256" y="313"/>
                  </a:lnTo>
                  <a:lnTo>
                    <a:pt x="1254" y="311"/>
                  </a:lnTo>
                  <a:lnTo>
                    <a:pt x="1254" y="311"/>
                  </a:lnTo>
                  <a:lnTo>
                    <a:pt x="1254" y="311"/>
                  </a:lnTo>
                  <a:lnTo>
                    <a:pt x="1259" y="311"/>
                  </a:lnTo>
                  <a:lnTo>
                    <a:pt x="1259" y="311"/>
                  </a:lnTo>
                  <a:lnTo>
                    <a:pt x="1256" y="308"/>
                  </a:lnTo>
                  <a:lnTo>
                    <a:pt x="1256" y="308"/>
                  </a:lnTo>
                  <a:lnTo>
                    <a:pt x="1256" y="308"/>
                  </a:lnTo>
                  <a:lnTo>
                    <a:pt x="1256" y="305"/>
                  </a:lnTo>
                  <a:lnTo>
                    <a:pt x="1254" y="305"/>
                  </a:lnTo>
                  <a:lnTo>
                    <a:pt x="1254" y="305"/>
                  </a:lnTo>
                  <a:lnTo>
                    <a:pt x="1254" y="305"/>
                  </a:lnTo>
                  <a:lnTo>
                    <a:pt x="1251" y="305"/>
                  </a:lnTo>
                  <a:lnTo>
                    <a:pt x="1249" y="308"/>
                  </a:lnTo>
                  <a:lnTo>
                    <a:pt x="1246" y="308"/>
                  </a:lnTo>
                  <a:lnTo>
                    <a:pt x="1246" y="305"/>
                  </a:lnTo>
                  <a:lnTo>
                    <a:pt x="1249" y="305"/>
                  </a:lnTo>
                  <a:lnTo>
                    <a:pt x="1251" y="303"/>
                  </a:lnTo>
                  <a:lnTo>
                    <a:pt x="1251" y="303"/>
                  </a:lnTo>
                  <a:lnTo>
                    <a:pt x="1249" y="303"/>
                  </a:lnTo>
                  <a:lnTo>
                    <a:pt x="1249" y="303"/>
                  </a:lnTo>
                  <a:lnTo>
                    <a:pt x="1246" y="300"/>
                  </a:lnTo>
                  <a:lnTo>
                    <a:pt x="1246" y="300"/>
                  </a:lnTo>
                  <a:lnTo>
                    <a:pt x="1249" y="298"/>
                  </a:lnTo>
                  <a:lnTo>
                    <a:pt x="1249" y="298"/>
                  </a:lnTo>
                  <a:lnTo>
                    <a:pt x="1249" y="298"/>
                  </a:lnTo>
                  <a:lnTo>
                    <a:pt x="1246" y="295"/>
                  </a:lnTo>
                  <a:lnTo>
                    <a:pt x="1246" y="295"/>
                  </a:lnTo>
                  <a:lnTo>
                    <a:pt x="1244" y="295"/>
                  </a:lnTo>
                  <a:lnTo>
                    <a:pt x="1244" y="295"/>
                  </a:lnTo>
                  <a:lnTo>
                    <a:pt x="1246" y="293"/>
                  </a:lnTo>
                  <a:lnTo>
                    <a:pt x="1249" y="293"/>
                  </a:lnTo>
                  <a:lnTo>
                    <a:pt x="1251" y="295"/>
                  </a:lnTo>
                  <a:lnTo>
                    <a:pt x="1254" y="298"/>
                  </a:lnTo>
                  <a:lnTo>
                    <a:pt x="1254" y="298"/>
                  </a:lnTo>
                  <a:lnTo>
                    <a:pt x="1259" y="300"/>
                  </a:lnTo>
                  <a:lnTo>
                    <a:pt x="1259" y="300"/>
                  </a:lnTo>
                  <a:lnTo>
                    <a:pt x="1262" y="300"/>
                  </a:lnTo>
                  <a:lnTo>
                    <a:pt x="1262" y="300"/>
                  </a:lnTo>
                  <a:lnTo>
                    <a:pt x="1264" y="298"/>
                  </a:lnTo>
                  <a:lnTo>
                    <a:pt x="1264" y="295"/>
                  </a:lnTo>
                  <a:lnTo>
                    <a:pt x="1262" y="295"/>
                  </a:lnTo>
                  <a:lnTo>
                    <a:pt x="1259" y="293"/>
                  </a:lnTo>
                  <a:lnTo>
                    <a:pt x="1259" y="290"/>
                  </a:lnTo>
                  <a:lnTo>
                    <a:pt x="1259" y="290"/>
                  </a:lnTo>
                  <a:lnTo>
                    <a:pt x="1259" y="288"/>
                  </a:lnTo>
                  <a:lnTo>
                    <a:pt x="1262" y="290"/>
                  </a:lnTo>
                  <a:lnTo>
                    <a:pt x="1264" y="290"/>
                  </a:lnTo>
                  <a:lnTo>
                    <a:pt x="1267" y="293"/>
                  </a:lnTo>
                  <a:lnTo>
                    <a:pt x="1267" y="293"/>
                  </a:lnTo>
                  <a:lnTo>
                    <a:pt x="1267" y="293"/>
                  </a:lnTo>
                  <a:lnTo>
                    <a:pt x="1269" y="293"/>
                  </a:lnTo>
                  <a:lnTo>
                    <a:pt x="1269" y="290"/>
                  </a:lnTo>
                  <a:lnTo>
                    <a:pt x="1269" y="288"/>
                  </a:lnTo>
                  <a:lnTo>
                    <a:pt x="1269" y="288"/>
                  </a:lnTo>
                  <a:lnTo>
                    <a:pt x="1272" y="288"/>
                  </a:lnTo>
                  <a:lnTo>
                    <a:pt x="1272" y="288"/>
                  </a:lnTo>
                  <a:lnTo>
                    <a:pt x="1274" y="288"/>
                  </a:lnTo>
                  <a:lnTo>
                    <a:pt x="1274" y="288"/>
                  </a:lnTo>
                  <a:lnTo>
                    <a:pt x="1274" y="285"/>
                  </a:lnTo>
                  <a:lnTo>
                    <a:pt x="1274" y="285"/>
                  </a:lnTo>
                  <a:lnTo>
                    <a:pt x="1277" y="288"/>
                  </a:lnTo>
                  <a:lnTo>
                    <a:pt x="1277" y="288"/>
                  </a:lnTo>
                  <a:lnTo>
                    <a:pt x="1277" y="288"/>
                  </a:lnTo>
                  <a:lnTo>
                    <a:pt x="1277" y="290"/>
                  </a:lnTo>
                  <a:lnTo>
                    <a:pt x="1279" y="293"/>
                  </a:lnTo>
                  <a:lnTo>
                    <a:pt x="1279" y="293"/>
                  </a:lnTo>
                  <a:lnTo>
                    <a:pt x="1282" y="293"/>
                  </a:lnTo>
                  <a:lnTo>
                    <a:pt x="1282" y="295"/>
                  </a:lnTo>
                  <a:lnTo>
                    <a:pt x="1282" y="295"/>
                  </a:lnTo>
                  <a:lnTo>
                    <a:pt x="1285" y="295"/>
                  </a:lnTo>
                  <a:lnTo>
                    <a:pt x="1287" y="295"/>
                  </a:lnTo>
                  <a:lnTo>
                    <a:pt x="1287" y="295"/>
                  </a:lnTo>
                  <a:lnTo>
                    <a:pt x="1290" y="295"/>
                  </a:lnTo>
                  <a:lnTo>
                    <a:pt x="1290" y="295"/>
                  </a:lnTo>
                  <a:lnTo>
                    <a:pt x="1285" y="298"/>
                  </a:lnTo>
                  <a:lnTo>
                    <a:pt x="1285" y="298"/>
                  </a:lnTo>
                  <a:lnTo>
                    <a:pt x="1285" y="298"/>
                  </a:lnTo>
                  <a:lnTo>
                    <a:pt x="1290" y="298"/>
                  </a:lnTo>
                  <a:lnTo>
                    <a:pt x="1292" y="298"/>
                  </a:lnTo>
                  <a:lnTo>
                    <a:pt x="1292" y="298"/>
                  </a:lnTo>
                  <a:lnTo>
                    <a:pt x="1297" y="298"/>
                  </a:lnTo>
                  <a:lnTo>
                    <a:pt x="1300" y="295"/>
                  </a:lnTo>
                  <a:lnTo>
                    <a:pt x="1305" y="293"/>
                  </a:lnTo>
                  <a:lnTo>
                    <a:pt x="1305" y="293"/>
                  </a:lnTo>
                  <a:lnTo>
                    <a:pt x="1310" y="293"/>
                  </a:lnTo>
                  <a:lnTo>
                    <a:pt x="1310" y="293"/>
                  </a:lnTo>
                  <a:lnTo>
                    <a:pt x="1307" y="293"/>
                  </a:lnTo>
                  <a:lnTo>
                    <a:pt x="1305" y="295"/>
                  </a:lnTo>
                  <a:lnTo>
                    <a:pt x="1302" y="298"/>
                  </a:lnTo>
                  <a:lnTo>
                    <a:pt x="1300" y="298"/>
                  </a:lnTo>
                  <a:lnTo>
                    <a:pt x="1297" y="298"/>
                  </a:lnTo>
                  <a:lnTo>
                    <a:pt x="1295" y="300"/>
                  </a:lnTo>
                  <a:lnTo>
                    <a:pt x="1292" y="300"/>
                  </a:lnTo>
                  <a:lnTo>
                    <a:pt x="1290" y="303"/>
                  </a:lnTo>
                  <a:lnTo>
                    <a:pt x="1290" y="303"/>
                  </a:lnTo>
                  <a:lnTo>
                    <a:pt x="1290" y="303"/>
                  </a:lnTo>
                  <a:lnTo>
                    <a:pt x="1290" y="305"/>
                  </a:lnTo>
                  <a:lnTo>
                    <a:pt x="1290" y="305"/>
                  </a:lnTo>
                  <a:lnTo>
                    <a:pt x="1290" y="305"/>
                  </a:lnTo>
                  <a:lnTo>
                    <a:pt x="1290" y="308"/>
                  </a:lnTo>
                  <a:lnTo>
                    <a:pt x="1290" y="308"/>
                  </a:lnTo>
                  <a:lnTo>
                    <a:pt x="1290" y="311"/>
                  </a:lnTo>
                  <a:lnTo>
                    <a:pt x="1292" y="313"/>
                  </a:lnTo>
                  <a:lnTo>
                    <a:pt x="1292" y="313"/>
                  </a:lnTo>
                  <a:lnTo>
                    <a:pt x="1292" y="316"/>
                  </a:lnTo>
                  <a:lnTo>
                    <a:pt x="1292" y="316"/>
                  </a:lnTo>
                  <a:lnTo>
                    <a:pt x="1297" y="313"/>
                  </a:lnTo>
                  <a:lnTo>
                    <a:pt x="1300" y="311"/>
                  </a:lnTo>
                  <a:lnTo>
                    <a:pt x="1300" y="311"/>
                  </a:lnTo>
                  <a:lnTo>
                    <a:pt x="1302" y="311"/>
                  </a:lnTo>
                  <a:lnTo>
                    <a:pt x="1300" y="311"/>
                  </a:lnTo>
                  <a:lnTo>
                    <a:pt x="1297" y="316"/>
                  </a:lnTo>
                  <a:lnTo>
                    <a:pt x="1297" y="316"/>
                  </a:lnTo>
                  <a:lnTo>
                    <a:pt x="1300" y="316"/>
                  </a:lnTo>
                  <a:lnTo>
                    <a:pt x="1300" y="316"/>
                  </a:lnTo>
                  <a:lnTo>
                    <a:pt x="1302" y="316"/>
                  </a:lnTo>
                  <a:lnTo>
                    <a:pt x="1302" y="316"/>
                  </a:lnTo>
                  <a:lnTo>
                    <a:pt x="1305" y="316"/>
                  </a:lnTo>
                  <a:lnTo>
                    <a:pt x="1305" y="318"/>
                  </a:lnTo>
                  <a:lnTo>
                    <a:pt x="1305" y="318"/>
                  </a:lnTo>
                  <a:lnTo>
                    <a:pt x="1305" y="321"/>
                  </a:lnTo>
                  <a:lnTo>
                    <a:pt x="1307" y="318"/>
                  </a:lnTo>
                  <a:lnTo>
                    <a:pt x="1310" y="316"/>
                  </a:lnTo>
                  <a:lnTo>
                    <a:pt x="1313" y="313"/>
                  </a:lnTo>
                  <a:lnTo>
                    <a:pt x="1318" y="308"/>
                  </a:lnTo>
                  <a:lnTo>
                    <a:pt x="1318" y="305"/>
                  </a:lnTo>
                  <a:lnTo>
                    <a:pt x="1315" y="305"/>
                  </a:lnTo>
                  <a:lnTo>
                    <a:pt x="1313" y="305"/>
                  </a:lnTo>
                  <a:lnTo>
                    <a:pt x="1313" y="305"/>
                  </a:lnTo>
                  <a:lnTo>
                    <a:pt x="1318" y="303"/>
                  </a:lnTo>
                  <a:lnTo>
                    <a:pt x="1318" y="303"/>
                  </a:lnTo>
                  <a:lnTo>
                    <a:pt x="1318" y="300"/>
                  </a:lnTo>
                  <a:lnTo>
                    <a:pt x="1318" y="300"/>
                  </a:lnTo>
                  <a:lnTo>
                    <a:pt x="1320" y="305"/>
                  </a:lnTo>
                  <a:lnTo>
                    <a:pt x="1320" y="305"/>
                  </a:lnTo>
                  <a:lnTo>
                    <a:pt x="1323" y="305"/>
                  </a:lnTo>
                  <a:lnTo>
                    <a:pt x="1325" y="305"/>
                  </a:lnTo>
                  <a:lnTo>
                    <a:pt x="1328" y="305"/>
                  </a:lnTo>
                  <a:lnTo>
                    <a:pt x="1328" y="305"/>
                  </a:lnTo>
                  <a:lnTo>
                    <a:pt x="1330" y="303"/>
                  </a:lnTo>
                  <a:lnTo>
                    <a:pt x="1333" y="303"/>
                  </a:lnTo>
                  <a:lnTo>
                    <a:pt x="1335" y="300"/>
                  </a:lnTo>
                  <a:lnTo>
                    <a:pt x="1335" y="300"/>
                  </a:lnTo>
                  <a:lnTo>
                    <a:pt x="1335" y="300"/>
                  </a:lnTo>
                  <a:lnTo>
                    <a:pt x="1335" y="300"/>
                  </a:lnTo>
                  <a:lnTo>
                    <a:pt x="1335" y="298"/>
                  </a:lnTo>
                  <a:lnTo>
                    <a:pt x="1333" y="298"/>
                  </a:lnTo>
                  <a:lnTo>
                    <a:pt x="1333" y="298"/>
                  </a:lnTo>
                  <a:lnTo>
                    <a:pt x="1335" y="298"/>
                  </a:lnTo>
                  <a:lnTo>
                    <a:pt x="1338" y="298"/>
                  </a:lnTo>
                  <a:lnTo>
                    <a:pt x="1341" y="298"/>
                  </a:lnTo>
                  <a:lnTo>
                    <a:pt x="1343" y="298"/>
                  </a:lnTo>
                  <a:lnTo>
                    <a:pt x="1343" y="298"/>
                  </a:lnTo>
                  <a:lnTo>
                    <a:pt x="1341" y="295"/>
                  </a:lnTo>
                  <a:lnTo>
                    <a:pt x="1338" y="293"/>
                  </a:lnTo>
                  <a:lnTo>
                    <a:pt x="1338" y="293"/>
                  </a:lnTo>
                  <a:lnTo>
                    <a:pt x="1341" y="293"/>
                  </a:lnTo>
                  <a:lnTo>
                    <a:pt x="1341" y="293"/>
                  </a:lnTo>
                  <a:lnTo>
                    <a:pt x="1338" y="290"/>
                  </a:lnTo>
                  <a:lnTo>
                    <a:pt x="1341" y="290"/>
                  </a:lnTo>
                  <a:lnTo>
                    <a:pt x="1343" y="290"/>
                  </a:lnTo>
                  <a:lnTo>
                    <a:pt x="1343" y="290"/>
                  </a:lnTo>
                  <a:lnTo>
                    <a:pt x="1343" y="293"/>
                  </a:lnTo>
                  <a:lnTo>
                    <a:pt x="1348" y="293"/>
                  </a:lnTo>
                  <a:lnTo>
                    <a:pt x="1348" y="293"/>
                  </a:lnTo>
                  <a:lnTo>
                    <a:pt x="1353" y="290"/>
                  </a:lnTo>
                  <a:lnTo>
                    <a:pt x="1353" y="290"/>
                  </a:lnTo>
                  <a:lnTo>
                    <a:pt x="1353" y="288"/>
                  </a:lnTo>
                  <a:lnTo>
                    <a:pt x="1348" y="285"/>
                  </a:lnTo>
                  <a:lnTo>
                    <a:pt x="1348" y="285"/>
                  </a:lnTo>
                  <a:lnTo>
                    <a:pt x="1351" y="285"/>
                  </a:lnTo>
                  <a:lnTo>
                    <a:pt x="1353" y="285"/>
                  </a:lnTo>
                  <a:lnTo>
                    <a:pt x="1353" y="285"/>
                  </a:lnTo>
                  <a:lnTo>
                    <a:pt x="1356" y="288"/>
                  </a:lnTo>
                  <a:lnTo>
                    <a:pt x="1358" y="288"/>
                  </a:lnTo>
                  <a:lnTo>
                    <a:pt x="1361" y="285"/>
                  </a:lnTo>
                  <a:lnTo>
                    <a:pt x="1361" y="285"/>
                  </a:lnTo>
                  <a:lnTo>
                    <a:pt x="1361" y="285"/>
                  </a:lnTo>
                  <a:lnTo>
                    <a:pt x="1358" y="283"/>
                  </a:lnTo>
                  <a:close/>
                  <a:moveTo>
                    <a:pt x="1137" y="234"/>
                  </a:moveTo>
                  <a:lnTo>
                    <a:pt x="1137" y="234"/>
                  </a:lnTo>
                  <a:lnTo>
                    <a:pt x="1134" y="237"/>
                  </a:lnTo>
                  <a:lnTo>
                    <a:pt x="1134" y="237"/>
                  </a:lnTo>
                  <a:lnTo>
                    <a:pt x="1129" y="239"/>
                  </a:lnTo>
                  <a:lnTo>
                    <a:pt x="1127" y="239"/>
                  </a:lnTo>
                  <a:lnTo>
                    <a:pt x="1127" y="239"/>
                  </a:lnTo>
                  <a:lnTo>
                    <a:pt x="1124" y="242"/>
                  </a:lnTo>
                  <a:lnTo>
                    <a:pt x="1124" y="242"/>
                  </a:lnTo>
                  <a:lnTo>
                    <a:pt x="1124" y="242"/>
                  </a:lnTo>
                  <a:lnTo>
                    <a:pt x="1124" y="242"/>
                  </a:lnTo>
                  <a:lnTo>
                    <a:pt x="1124" y="242"/>
                  </a:lnTo>
                  <a:lnTo>
                    <a:pt x="1124" y="242"/>
                  </a:lnTo>
                  <a:lnTo>
                    <a:pt x="1124" y="242"/>
                  </a:lnTo>
                  <a:lnTo>
                    <a:pt x="1129" y="242"/>
                  </a:lnTo>
                  <a:lnTo>
                    <a:pt x="1132" y="242"/>
                  </a:lnTo>
                  <a:lnTo>
                    <a:pt x="1132" y="242"/>
                  </a:lnTo>
                  <a:lnTo>
                    <a:pt x="1134" y="239"/>
                  </a:lnTo>
                  <a:lnTo>
                    <a:pt x="1137" y="239"/>
                  </a:lnTo>
                  <a:lnTo>
                    <a:pt x="1139" y="237"/>
                  </a:lnTo>
                  <a:lnTo>
                    <a:pt x="1139" y="237"/>
                  </a:lnTo>
                  <a:lnTo>
                    <a:pt x="1139" y="237"/>
                  </a:lnTo>
                  <a:lnTo>
                    <a:pt x="1142" y="237"/>
                  </a:lnTo>
                  <a:lnTo>
                    <a:pt x="1144" y="234"/>
                  </a:lnTo>
                  <a:lnTo>
                    <a:pt x="1147" y="234"/>
                  </a:lnTo>
                  <a:lnTo>
                    <a:pt x="1147" y="234"/>
                  </a:lnTo>
                  <a:lnTo>
                    <a:pt x="1147" y="232"/>
                  </a:lnTo>
                  <a:lnTo>
                    <a:pt x="1147" y="232"/>
                  </a:lnTo>
                  <a:lnTo>
                    <a:pt x="1147" y="232"/>
                  </a:lnTo>
                  <a:lnTo>
                    <a:pt x="1144" y="232"/>
                  </a:lnTo>
                  <a:lnTo>
                    <a:pt x="1142" y="232"/>
                  </a:lnTo>
                  <a:lnTo>
                    <a:pt x="1142" y="234"/>
                  </a:lnTo>
                  <a:lnTo>
                    <a:pt x="1139" y="234"/>
                  </a:lnTo>
                  <a:lnTo>
                    <a:pt x="1139" y="234"/>
                  </a:lnTo>
                  <a:lnTo>
                    <a:pt x="1139" y="234"/>
                  </a:lnTo>
                  <a:lnTo>
                    <a:pt x="1139" y="234"/>
                  </a:lnTo>
                  <a:lnTo>
                    <a:pt x="1137" y="234"/>
                  </a:lnTo>
                  <a:close/>
                  <a:moveTo>
                    <a:pt x="1124" y="224"/>
                  </a:moveTo>
                  <a:lnTo>
                    <a:pt x="1124" y="224"/>
                  </a:lnTo>
                  <a:lnTo>
                    <a:pt x="1121" y="224"/>
                  </a:lnTo>
                  <a:lnTo>
                    <a:pt x="1121" y="224"/>
                  </a:lnTo>
                  <a:lnTo>
                    <a:pt x="1121" y="227"/>
                  </a:lnTo>
                  <a:lnTo>
                    <a:pt x="1121" y="227"/>
                  </a:lnTo>
                  <a:lnTo>
                    <a:pt x="1119" y="227"/>
                  </a:lnTo>
                  <a:lnTo>
                    <a:pt x="1116" y="227"/>
                  </a:lnTo>
                  <a:lnTo>
                    <a:pt x="1116" y="227"/>
                  </a:lnTo>
                  <a:lnTo>
                    <a:pt x="1114" y="227"/>
                  </a:lnTo>
                  <a:lnTo>
                    <a:pt x="1114" y="227"/>
                  </a:lnTo>
                  <a:lnTo>
                    <a:pt x="1119" y="227"/>
                  </a:lnTo>
                  <a:lnTo>
                    <a:pt x="1119" y="227"/>
                  </a:lnTo>
                  <a:lnTo>
                    <a:pt x="1119" y="229"/>
                  </a:lnTo>
                  <a:lnTo>
                    <a:pt x="1121" y="229"/>
                  </a:lnTo>
                  <a:lnTo>
                    <a:pt x="1121" y="229"/>
                  </a:lnTo>
                  <a:lnTo>
                    <a:pt x="1121" y="229"/>
                  </a:lnTo>
                  <a:lnTo>
                    <a:pt x="1121" y="229"/>
                  </a:lnTo>
                  <a:lnTo>
                    <a:pt x="1121" y="229"/>
                  </a:lnTo>
                  <a:lnTo>
                    <a:pt x="1124" y="229"/>
                  </a:lnTo>
                  <a:lnTo>
                    <a:pt x="1124" y="229"/>
                  </a:lnTo>
                  <a:lnTo>
                    <a:pt x="1124" y="229"/>
                  </a:lnTo>
                  <a:lnTo>
                    <a:pt x="1124" y="229"/>
                  </a:lnTo>
                  <a:lnTo>
                    <a:pt x="1124" y="227"/>
                  </a:lnTo>
                  <a:lnTo>
                    <a:pt x="1127" y="229"/>
                  </a:lnTo>
                  <a:lnTo>
                    <a:pt x="1132" y="227"/>
                  </a:lnTo>
                  <a:lnTo>
                    <a:pt x="1134" y="227"/>
                  </a:lnTo>
                  <a:lnTo>
                    <a:pt x="1137" y="227"/>
                  </a:lnTo>
                  <a:lnTo>
                    <a:pt x="1137" y="227"/>
                  </a:lnTo>
                  <a:lnTo>
                    <a:pt x="1137" y="224"/>
                  </a:lnTo>
                  <a:lnTo>
                    <a:pt x="1134" y="224"/>
                  </a:lnTo>
                  <a:lnTo>
                    <a:pt x="1132" y="224"/>
                  </a:lnTo>
                  <a:lnTo>
                    <a:pt x="1129" y="227"/>
                  </a:lnTo>
                  <a:lnTo>
                    <a:pt x="1127" y="227"/>
                  </a:lnTo>
                  <a:lnTo>
                    <a:pt x="1127" y="227"/>
                  </a:lnTo>
                  <a:lnTo>
                    <a:pt x="1127" y="227"/>
                  </a:lnTo>
                  <a:lnTo>
                    <a:pt x="1127" y="224"/>
                  </a:lnTo>
                  <a:lnTo>
                    <a:pt x="1124" y="224"/>
                  </a:lnTo>
                  <a:close/>
                  <a:moveTo>
                    <a:pt x="956" y="473"/>
                  </a:moveTo>
                  <a:lnTo>
                    <a:pt x="956" y="473"/>
                  </a:lnTo>
                  <a:lnTo>
                    <a:pt x="956" y="473"/>
                  </a:lnTo>
                  <a:lnTo>
                    <a:pt x="956" y="471"/>
                  </a:lnTo>
                  <a:lnTo>
                    <a:pt x="956" y="471"/>
                  </a:lnTo>
                  <a:lnTo>
                    <a:pt x="956" y="471"/>
                  </a:lnTo>
                  <a:lnTo>
                    <a:pt x="956" y="471"/>
                  </a:lnTo>
                  <a:lnTo>
                    <a:pt x="956" y="471"/>
                  </a:lnTo>
                  <a:lnTo>
                    <a:pt x="953" y="471"/>
                  </a:lnTo>
                  <a:lnTo>
                    <a:pt x="953" y="473"/>
                  </a:lnTo>
                  <a:lnTo>
                    <a:pt x="953" y="473"/>
                  </a:lnTo>
                  <a:lnTo>
                    <a:pt x="953" y="473"/>
                  </a:lnTo>
                  <a:lnTo>
                    <a:pt x="953" y="473"/>
                  </a:lnTo>
                  <a:lnTo>
                    <a:pt x="956" y="473"/>
                  </a:lnTo>
                  <a:close/>
                  <a:moveTo>
                    <a:pt x="1249" y="471"/>
                  </a:moveTo>
                  <a:lnTo>
                    <a:pt x="1249" y="471"/>
                  </a:lnTo>
                  <a:lnTo>
                    <a:pt x="1249" y="471"/>
                  </a:lnTo>
                  <a:lnTo>
                    <a:pt x="1249" y="471"/>
                  </a:lnTo>
                  <a:lnTo>
                    <a:pt x="1246" y="471"/>
                  </a:lnTo>
                  <a:lnTo>
                    <a:pt x="1246" y="471"/>
                  </a:lnTo>
                  <a:lnTo>
                    <a:pt x="1246" y="473"/>
                  </a:lnTo>
                  <a:lnTo>
                    <a:pt x="1249" y="473"/>
                  </a:lnTo>
                  <a:lnTo>
                    <a:pt x="1251" y="473"/>
                  </a:lnTo>
                  <a:lnTo>
                    <a:pt x="1251" y="473"/>
                  </a:lnTo>
                  <a:lnTo>
                    <a:pt x="1251" y="471"/>
                  </a:lnTo>
                  <a:lnTo>
                    <a:pt x="1249" y="471"/>
                  </a:lnTo>
                  <a:close/>
                  <a:moveTo>
                    <a:pt x="920" y="735"/>
                  </a:moveTo>
                  <a:lnTo>
                    <a:pt x="920" y="735"/>
                  </a:lnTo>
                  <a:lnTo>
                    <a:pt x="923" y="735"/>
                  </a:lnTo>
                  <a:lnTo>
                    <a:pt x="925" y="735"/>
                  </a:lnTo>
                  <a:lnTo>
                    <a:pt x="928" y="735"/>
                  </a:lnTo>
                  <a:lnTo>
                    <a:pt x="928" y="735"/>
                  </a:lnTo>
                  <a:lnTo>
                    <a:pt x="928" y="733"/>
                  </a:lnTo>
                  <a:lnTo>
                    <a:pt x="930" y="730"/>
                  </a:lnTo>
                  <a:lnTo>
                    <a:pt x="930" y="730"/>
                  </a:lnTo>
                  <a:lnTo>
                    <a:pt x="925" y="733"/>
                  </a:lnTo>
                  <a:lnTo>
                    <a:pt x="923" y="733"/>
                  </a:lnTo>
                  <a:lnTo>
                    <a:pt x="920" y="735"/>
                  </a:lnTo>
                  <a:close/>
                  <a:moveTo>
                    <a:pt x="984" y="702"/>
                  </a:moveTo>
                  <a:lnTo>
                    <a:pt x="984" y="705"/>
                  </a:lnTo>
                  <a:lnTo>
                    <a:pt x="984" y="705"/>
                  </a:lnTo>
                  <a:lnTo>
                    <a:pt x="986" y="702"/>
                  </a:lnTo>
                  <a:lnTo>
                    <a:pt x="989" y="702"/>
                  </a:lnTo>
                  <a:lnTo>
                    <a:pt x="989" y="702"/>
                  </a:lnTo>
                  <a:lnTo>
                    <a:pt x="986" y="702"/>
                  </a:lnTo>
                  <a:lnTo>
                    <a:pt x="984" y="702"/>
                  </a:lnTo>
                  <a:close/>
                  <a:moveTo>
                    <a:pt x="948" y="491"/>
                  </a:moveTo>
                  <a:lnTo>
                    <a:pt x="948" y="491"/>
                  </a:lnTo>
                  <a:lnTo>
                    <a:pt x="948" y="491"/>
                  </a:lnTo>
                  <a:lnTo>
                    <a:pt x="948" y="489"/>
                  </a:lnTo>
                  <a:lnTo>
                    <a:pt x="948" y="489"/>
                  </a:lnTo>
                  <a:lnTo>
                    <a:pt x="948" y="489"/>
                  </a:lnTo>
                  <a:lnTo>
                    <a:pt x="948" y="489"/>
                  </a:lnTo>
                  <a:lnTo>
                    <a:pt x="948" y="489"/>
                  </a:lnTo>
                  <a:lnTo>
                    <a:pt x="948" y="489"/>
                  </a:lnTo>
                  <a:lnTo>
                    <a:pt x="948" y="489"/>
                  </a:lnTo>
                  <a:lnTo>
                    <a:pt x="948" y="489"/>
                  </a:lnTo>
                  <a:lnTo>
                    <a:pt x="948" y="489"/>
                  </a:lnTo>
                  <a:lnTo>
                    <a:pt x="946" y="491"/>
                  </a:lnTo>
                  <a:lnTo>
                    <a:pt x="948" y="491"/>
                  </a:lnTo>
                  <a:close/>
                  <a:moveTo>
                    <a:pt x="1208" y="629"/>
                  </a:moveTo>
                  <a:lnTo>
                    <a:pt x="1211" y="629"/>
                  </a:lnTo>
                  <a:lnTo>
                    <a:pt x="1213" y="626"/>
                  </a:lnTo>
                  <a:lnTo>
                    <a:pt x="1218" y="623"/>
                  </a:lnTo>
                  <a:lnTo>
                    <a:pt x="1223" y="621"/>
                  </a:lnTo>
                  <a:lnTo>
                    <a:pt x="1228" y="618"/>
                  </a:lnTo>
                  <a:lnTo>
                    <a:pt x="1231" y="616"/>
                  </a:lnTo>
                  <a:lnTo>
                    <a:pt x="1241" y="608"/>
                  </a:lnTo>
                  <a:lnTo>
                    <a:pt x="1241" y="608"/>
                  </a:lnTo>
                  <a:lnTo>
                    <a:pt x="1244" y="606"/>
                  </a:lnTo>
                  <a:lnTo>
                    <a:pt x="1244" y="606"/>
                  </a:lnTo>
                  <a:lnTo>
                    <a:pt x="1246" y="606"/>
                  </a:lnTo>
                  <a:lnTo>
                    <a:pt x="1249" y="606"/>
                  </a:lnTo>
                  <a:lnTo>
                    <a:pt x="1251" y="606"/>
                  </a:lnTo>
                  <a:lnTo>
                    <a:pt x="1254" y="606"/>
                  </a:lnTo>
                  <a:lnTo>
                    <a:pt x="1256" y="603"/>
                  </a:lnTo>
                  <a:lnTo>
                    <a:pt x="1259" y="603"/>
                  </a:lnTo>
                  <a:lnTo>
                    <a:pt x="1264" y="603"/>
                  </a:lnTo>
                  <a:lnTo>
                    <a:pt x="1267" y="603"/>
                  </a:lnTo>
                  <a:lnTo>
                    <a:pt x="1269" y="603"/>
                  </a:lnTo>
                  <a:lnTo>
                    <a:pt x="1272" y="603"/>
                  </a:lnTo>
                  <a:lnTo>
                    <a:pt x="1272" y="603"/>
                  </a:lnTo>
                  <a:lnTo>
                    <a:pt x="1282" y="598"/>
                  </a:lnTo>
                  <a:lnTo>
                    <a:pt x="1287" y="596"/>
                  </a:lnTo>
                  <a:lnTo>
                    <a:pt x="1292" y="593"/>
                  </a:lnTo>
                  <a:lnTo>
                    <a:pt x="1300" y="588"/>
                  </a:lnTo>
                  <a:lnTo>
                    <a:pt x="1302" y="585"/>
                  </a:lnTo>
                  <a:lnTo>
                    <a:pt x="1302" y="585"/>
                  </a:lnTo>
                  <a:lnTo>
                    <a:pt x="1300" y="585"/>
                  </a:lnTo>
                  <a:lnTo>
                    <a:pt x="1300" y="583"/>
                  </a:lnTo>
                  <a:lnTo>
                    <a:pt x="1297" y="583"/>
                  </a:lnTo>
                  <a:lnTo>
                    <a:pt x="1297" y="583"/>
                  </a:lnTo>
                  <a:lnTo>
                    <a:pt x="1300" y="583"/>
                  </a:lnTo>
                  <a:lnTo>
                    <a:pt x="1300" y="583"/>
                  </a:lnTo>
                  <a:lnTo>
                    <a:pt x="1302" y="583"/>
                  </a:lnTo>
                  <a:lnTo>
                    <a:pt x="1302" y="580"/>
                  </a:lnTo>
                  <a:lnTo>
                    <a:pt x="1302" y="580"/>
                  </a:lnTo>
                  <a:lnTo>
                    <a:pt x="1300" y="580"/>
                  </a:lnTo>
                  <a:lnTo>
                    <a:pt x="1297" y="580"/>
                  </a:lnTo>
                  <a:lnTo>
                    <a:pt x="1295" y="580"/>
                  </a:lnTo>
                  <a:lnTo>
                    <a:pt x="1292" y="578"/>
                  </a:lnTo>
                  <a:lnTo>
                    <a:pt x="1295" y="578"/>
                  </a:lnTo>
                  <a:lnTo>
                    <a:pt x="1297" y="578"/>
                  </a:lnTo>
                  <a:lnTo>
                    <a:pt x="1302" y="578"/>
                  </a:lnTo>
                  <a:lnTo>
                    <a:pt x="1302" y="578"/>
                  </a:lnTo>
                  <a:lnTo>
                    <a:pt x="1302" y="575"/>
                  </a:lnTo>
                  <a:lnTo>
                    <a:pt x="1302" y="575"/>
                  </a:lnTo>
                  <a:lnTo>
                    <a:pt x="1302" y="573"/>
                  </a:lnTo>
                  <a:lnTo>
                    <a:pt x="1305" y="573"/>
                  </a:lnTo>
                  <a:lnTo>
                    <a:pt x="1305" y="570"/>
                  </a:lnTo>
                  <a:lnTo>
                    <a:pt x="1307" y="565"/>
                  </a:lnTo>
                  <a:lnTo>
                    <a:pt x="1307" y="565"/>
                  </a:lnTo>
                  <a:lnTo>
                    <a:pt x="1307" y="562"/>
                  </a:lnTo>
                  <a:lnTo>
                    <a:pt x="1307" y="562"/>
                  </a:lnTo>
                  <a:lnTo>
                    <a:pt x="1307" y="562"/>
                  </a:lnTo>
                  <a:lnTo>
                    <a:pt x="1307" y="562"/>
                  </a:lnTo>
                  <a:lnTo>
                    <a:pt x="1307" y="560"/>
                  </a:lnTo>
                  <a:lnTo>
                    <a:pt x="1307" y="560"/>
                  </a:lnTo>
                  <a:lnTo>
                    <a:pt x="1305" y="557"/>
                  </a:lnTo>
                  <a:lnTo>
                    <a:pt x="1302" y="555"/>
                  </a:lnTo>
                  <a:lnTo>
                    <a:pt x="1302" y="555"/>
                  </a:lnTo>
                  <a:lnTo>
                    <a:pt x="1302" y="552"/>
                  </a:lnTo>
                  <a:lnTo>
                    <a:pt x="1302" y="552"/>
                  </a:lnTo>
                  <a:lnTo>
                    <a:pt x="1300" y="552"/>
                  </a:lnTo>
                  <a:lnTo>
                    <a:pt x="1297" y="552"/>
                  </a:lnTo>
                  <a:lnTo>
                    <a:pt x="1295" y="552"/>
                  </a:lnTo>
                  <a:lnTo>
                    <a:pt x="1292" y="555"/>
                  </a:lnTo>
                  <a:lnTo>
                    <a:pt x="1287" y="557"/>
                  </a:lnTo>
                  <a:lnTo>
                    <a:pt x="1285" y="560"/>
                  </a:lnTo>
                  <a:lnTo>
                    <a:pt x="1285" y="557"/>
                  </a:lnTo>
                  <a:lnTo>
                    <a:pt x="1285" y="557"/>
                  </a:lnTo>
                  <a:lnTo>
                    <a:pt x="1282" y="555"/>
                  </a:lnTo>
                  <a:lnTo>
                    <a:pt x="1282" y="555"/>
                  </a:lnTo>
                  <a:lnTo>
                    <a:pt x="1282" y="555"/>
                  </a:lnTo>
                  <a:lnTo>
                    <a:pt x="1287" y="555"/>
                  </a:lnTo>
                  <a:lnTo>
                    <a:pt x="1290" y="552"/>
                  </a:lnTo>
                  <a:lnTo>
                    <a:pt x="1290" y="552"/>
                  </a:lnTo>
                  <a:lnTo>
                    <a:pt x="1292" y="550"/>
                  </a:lnTo>
                  <a:lnTo>
                    <a:pt x="1290" y="550"/>
                  </a:lnTo>
                  <a:lnTo>
                    <a:pt x="1290" y="545"/>
                  </a:lnTo>
                  <a:lnTo>
                    <a:pt x="1287" y="542"/>
                  </a:lnTo>
                  <a:lnTo>
                    <a:pt x="1277" y="542"/>
                  </a:lnTo>
                  <a:lnTo>
                    <a:pt x="1274" y="542"/>
                  </a:lnTo>
                  <a:lnTo>
                    <a:pt x="1274" y="545"/>
                  </a:lnTo>
                  <a:lnTo>
                    <a:pt x="1274" y="545"/>
                  </a:lnTo>
                  <a:lnTo>
                    <a:pt x="1274" y="545"/>
                  </a:lnTo>
                  <a:lnTo>
                    <a:pt x="1277" y="545"/>
                  </a:lnTo>
                  <a:lnTo>
                    <a:pt x="1277" y="545"/>
                  </a:lnTo>
                  <a:lnTo>
                    <a:pt x="1279" y="545"/>
                  </a:lnTo>
                  <a:lnTo>
                    <a:pt x="1279" y="545"/>
                  </a:lnTo>
                  <a:lnTo>
                    <a:pt x="1277" y="545"/>
                  </a:lnTo>
                  <a:lnTo>
                    <a:pt x="1272" y="547"/>
                  </a:lnTo>
                  <a:lnTo>
                    <a:pt x="1267" y="547"/>
                  </a:lnTo>
                  <a:lnTo>
                    <a:pt x="1262" y="550"/>
                  </a:lnTo>
                  <a:lnTo>
                    <a:pt x="1256" y="552"/>
                  </a:lnTo>
                  <a:lnTo>
                    <a:pt x="1251" y="555"/>
                  </a:lnTo>
                  <a:lnTo>
                    <a:pt x="1249" y="557"/>
                  </a:lnTo>
                  <a:lnTo>
                    <a:pt x="1246" y="557"/>
                  </a:lnTo>
                  <a:lnTo>
                    <a:pt x="1241" y="557"/>
                  </a:lnTo>
                  <a:lnTo>
                    <a:pt x="1241" y="557"/>
                  </a:lnTo>
                  <a:lnTo>
                    <a:pt x="1239" y="560"/>
                  </a:lnTo>
                  <a:lnTo>
                    <a:pt x="1236" y="562"/>
                  </a:lnTo>
                  <a:lnTo>
                    <a:pt x="1231" y="562"/>
                  </a:lnTo>
                  <a:lnTo>
                    <a:pt x="1231" y="562"/>
                  </a:lnTo>
                  <a:lnTo>
                    <a:pt x="1231" y="562"/>
                  </a:lnTo>
                  <a:lnTo>
                    <a:pt x="1234" y="562"/>
                  </a:lnTo>
                  <a:lnTo>
                    <a:pt x="1234" y="562"/>
                  </a:lnTo>
                  <a:lnTo>
                    <a:pt x="1234" y="562"/>
                  </a:lnTo>
                  <a:lnTo>
                    <a:pt x="1234" y="560"/>
                  </a:lnTo>
                  <a:lnTo>
                    <a:pt x="1236" y="560"/>
                  </a:lnTo>
                  <a:lnTo>
                    <a:pt x="1239" y="557"/>
                  </a:lnTo>
                  <a:lnTo>
                    <a:pt x="1236" y="557"/>
                  </a:lnTo>
                  <a:lnTo>
                    <a:pt x="1234" y="555"/>
                  </a:lnTo>
                  <a:lnTo>
                    <a:pt x="1234" y="555"/>
                  </a:lnTo>
                  <a:lnTo>
                    <a:pt x="1236" y="555"/>
                  </a:lnTo>
                  <a:lnTo>
                    <a:pt x="1239" y="557"/>
                  </a:lnTo>
                  <a:lnTo>
                    <a:pt x="1239" y="555"/>
                  </a:lnTo>
                  <a:lnTo>
                    <a:pt x="1239" y="555"/>
                  </a:lnTo>
                  <a:lnTo>
                    <a:pt x="1239" y="555"/>
                  </a:lnTo>
                  <a:lnTo>
                    <a:pt x="1241" y="552"/>
                  </a:lnTo>
                  <a:lnTo>
                    <a:pt x="1241" y="552"/>
                  </a:lnTo>
                  <a:lnTo>
                    <a:pt x="1244" y="552"/>
                  </a:lnTo>
                  <a:lnTo>
                    <a:pt x="1246" y="550"/>
                  </a:lnTo>
                  <a:lnTo>
                    <a:pt x="1246" y="550"/>
                  </a:lnTo>
                  <a:lnTo>
                    <a:pt x="1249" y="552"/>
                  </a:lnTo>
                  <a:lnTo>
                    <a:pt x="1251" y="550"/>
                  </a:lnTo>
                  <a:lnTo>
                    <a:pt x="1256" y="550"/>
                  </a:lnTo>
                  <a:lnTo>
                    <a:pt x="1259" y="547"/>
                  </a:lnTo>
                  <a:lnTo>
                    <a:pt x="1262" y="547"/>
                  </a:lnTo>
                  <a:lnTo>
                    <a:pt x="1262" y="547"/>
                  </a:lnTo>
                  <a:lnTo>
                    <a:pt x="1262" y="547"/>
                  </a:lnTo>
                  <a:lnTo>
                    <a:pt x="1264" y="547"/>
                  </a:lnTo>
                  <a:lnTo>
                    <a:pt x="1267" y="547"/>
                  </a:lnTo>
                  <a:lnTo>
                    <a:pt x="1267" y="547"/>
                  </a:lnTo>
                  <a:lnTo>
                    <a:pt x="1269" y="545"/>
                  </a:lnTo>
                  <a:lnTo>
                    <a:pt x="1272" y="542"/>
                  </a:lnTo>
                  <a:lnTo>
                    <a:pt x="1274" y="542"/>
                  </a:lnTo>
                  <a:lnTo>
                    <a:pt x="1277" y="542"/>
                  </a:lnTo>
                  <a:lnTo>
                    <a:pt x="1279" y="540"/>
                  </a:lnTo>
                  <a:lnTo>
                    <a:pt x="1279" y="540"/>
                  </a:lnTo>
                  <a:lnTo>
                    <a:pt x="1285" y="540"/>
                  </a:lnTo>
                  <a:lnTo>
                    <a:pt x="1287" y="540"/>
                  </a:lnTo>
                  <a:lnTo>
                    <a:pt x="1290" y="537"/>
                  </a:lnTo>
                  <a:lnTo>
                    <a:pt x="1292" y="537"/>
                  </a:lnTo>
                  <a:lnTo>
                    <a:pt x="1295" y="534"/>
                  </a:lnTo>
                  <a:lnTo>
                    <a:pt x="1295" y="534"/>
                  </a:lnTo>
                  <a:lnTo>
                    <a:pt x="1292" y="534"/>
                  </a:lnTo>
                  <a:lnTo>
                    <a:pt x="1290" y="534"/>
                  </a:lnTo>
                  <a:lnTo>
                    <a:pt x="1290" y="532"/>
                  </a:lnTo>
                  <a:lnTo>
                    <a:pt x="1287" y="532"/>
                  </a:lnTo>
                  <a:lnTo>
                    <a:pt x="1287" y="532"/>
                  </a:lnTo>
                  <a:lnTo>
                    <a:pt x="1287" y="529"/>
                  </a:lnTo>
                  <a:lnTo>
                    <a:pt x="1285" y="529"/>
                  </a:lnTo>
                  <a:lnTo>
                    <a:pt x="1282" y="529"/>
                  </a:lnTo>
                  <a:lnTo>
                    <a:pt x="1282" y="529"/>
                  </a:lnTo>
                  <a:lnTo>
                    <a:pt x="1279" y="532"/>
                  </a:lnTo>
                  <a:lnTo>
                    <a:pt x="1277" y="529"/>
                  </a:lnTo>
                  <a:lnTo>
                    <a:pt x="1272" y="529"/>
                  </a:lnTo>
                  <a:lnTo>
                    <a:pt x="1272" y="527"/>
                  </a:lnTo>
                  <a:lnTo>
                    <a:pt x="1272" y="524"/>
                  </a:lnTo>
                  <a:lnTo>
                    <a:pt x="1272" y="522"/>
                  </a:lnTo>
                  <a:lnTo>
                    <a:pt x="1272" y="522"/>
                  </a:lnTo>
                  <a:lnTo>
                    <a:pt x="1269" y="522"/>
                  </a:lnTo>
                  <a:lnTo>
                    <a:pt x="1267" y="522"/>
                  </a:lnTo>
                  <a:lnTo>
                    <a:pt x="1264" y="524"/>
                  </a:lnTo>
                  <a:lnTo>
                    <a:pt x="1264" y="524"/>
                  </a:lnTo>
                  <a:lnTo>
                    <a:pt x="1256" y="529"/>
                  </a:lnTo>
                  <a:lnTo>
                    <a:pt x="1254" y="529"/>
                  </a:lnTo>
                  <a:lnTo>
                    <a:pt x="1256" y="529"/>
                  </a:lnTo>
                  <a:lnTo>
                    <a:pt x="1256" y="527"/>
                  </a:lnTo>
                  <a:lnTo>
                    <a:pt x="1264" y="524"/>
                  </a:lnTo>
                  <a:lnTo>
                    <a:pt x="1264" y="522"/>
                  </a:lnTo>
                  <a:lnTo>
                    <a:pt x="1264" y="522"/>
                  </a:lnTo>
                  <a:lnTo>
                    <a:pt x="1262" y="522"/>
                  </a:lnTo>
                  <a:lnTo>
                    <a:pt x="1262" y="522"/>
                  </a:lnTo>
                  <a:lnTo>
                    <a:pt x="1262" y="519"/>
                  </a:lnTo>
                  <a:lnTo>
                    <a:pt x="1262" y="519"/>
                  </a:lnTo>
                  <a:lnTo>
                    <a:pt x="1259" y="519"/>
                  </a:lnTo>
                  <a:lnTo>
                    <a:pt x="1256" y="519"/>
                  </a:lnTo>
                  <a:lnTo>
                    <a:pt x="1254" y="522"/>
                  </a:lnTo>
                  <a:lnTo>
                    <a:pt x="1251" y="522"/>
                  </a:lnTo>
                  <a:lnTo>
                    <a:pt x="1246" y="524"/>
                  </a:lnTo>
                  <a:lnTo>
                    <a:pt x="1244" y="524"/>
                  </a:lnTo>
                  <a:lnTo>
                    <a:pt x="1246" y="524"/>
                  </a:lnTo>
                  <a:lnTo>
                    <a:pt x="1249" y="522"/>
                  </a:lnTo>
                  <a:lnTo>
                    <a:pt x="1249" y="522"/>
                  </a:lnTo>
                  <a:lnTo>
                    <a:pt x="1251" y="519"/>
                  </a:lnTo>
                  <a:lnTo>
                    <a:pt x="1254" y="517"/>
                  </a:lnTo>
                  <a:lnTo>
                    <a:pt x="1256" y="517"/>
                  </a:lnTo>
                  <a:lnTo>
                    <a:pt x="1254" y="514"/>
                  </a:lnTo>
                  <a:lnTo>
                    <a:pt x="1254" y="512"/>
                  </a:lnTo>
                  <a:lnTo>
                    <a:pt x="1254" y="512"/>
                  </a:lnTo>
                  <a:lnTo>
                    <a:pt x="1254" y="512"/>
                  </a:lnTo>
                  <a:lnTo>
                    <a:pt x="1256" y="509"/>
                  </a:lnTo>
                  <a:lnTo>
                    <a:pt x="1254" y="509"/>
                  </a:lnTo>
                  <a:lnTo>
                    <a:pt x="1254" y="509"/>
                  </a:lnTo>
                  <a:lnTo>
                    <a:pt x="1251" y="512"/>
                  </a:lnTo>
                  <a:lnTo>
                    <a:pt x="1251" y="509"/>
                  </a:lnTo>
                  <a:lnTo>
                    <a:pt x="1251" y="509"/>
                  </a:lnTo>
                  <a:lnTo>
                    <a:pt x="1251" y="506"/>
                  </a:lnTo>
                  <a:lnTo>
                    <a:pt x="1251" y="506"/>
                  </a:lnTo>
                  <a:lnTo>
                    <a:pt x="1249" y="506"/>
                  </a:lnTo>
                  <a:lnTo>
                    <a:pt x="1249" y="506"/>
                  </a:lnTo>
                  <a:lnTo>
                    <a:pt x="1246" y="506"/>
                  </a:lnTo>
                  <a:lnTo>
                    <a:pt x="1244" y="506"/>
                  </a:lnTo>
                  <a:lnTo>
                    <a:pt x="1244" y="506"/>
                  </a:lnTo>
                  <a:lnTo>
                    <a:pt x="1244" y="506"/>
                  </a:lnTo>
                  <a:lnTo>
                    <a:pt x="1244" y="506"/>
                  </a:lnTo>
                  <a:lnTo>
                    <a:pt x="1241" y="504"/>
                  </a:lnTo>
                  <a:lnTo>
                    <a:pt x="1239" y="504"/>
                  </a:lnTo>
                  <a:lnTo>
                    <a:pt x="1241" y="504"/>
                  </a:lnTo>
                  <a:lnTo>
                    <a:pt x="1244" y="504"/>
                  </a:lnTo>
                  <a:lnTo>
                    <a:pt x="1244" y="504"/>
                  </a:lnTo>
                  <a:lnTo>
                    <a:pt x="1244" y="499"/>
                  </a:lnTo>
                  <a:lnTo>
                    <a:pt x="1244" y="499"/>
                  </a:lnTo>
                  <a:lnTo>
                    <a:pt x="1241" y="499"/>
                  </a:lnTo>
                  <a:lnTo>
                    <a:pt x="1239" y="499"/>
                  </a:lnTo>
                  <a:lnTo>
                    <a:pt x="1239" y="499"/>
                  </a:lnTo>
                  <a:lnTo>
                    <a:pt x="1244" y="496"/>
                  </a:lnTo>
                  <a:lnTo>
                    <a:pt x="1244" y="496"/>
                  </a:lnTo>
                  <a:lnTo>
                    <a:pt x="1244" y="496"/>
                  </a:lnTo>
                  <a:lnTo>
                    <a:pt x="1241" y="496"/>
                  </a:lnTo>
                  <a:lnTo>
                    <a:pt x="1236" y="496"/>
                  </a:lnTo>
                  <a:lnTo>
                    <a:pt x="1236" y="494"/>
                  </a:lnTo>
                  <a:lnTo>
                    <a:pt x="1239" y="494"/>
                  </a:lnTo>
                  <a:lnTo>
                    <a:pt x="1241" y="494"/>
                  </a:lnTo>
                  <a:lnTo>
                    <a:pt x="1241" y="494"/>
                  </a:lnTo>
                  <a:lnTo>
                    <a:pt x="1239" y="491"/>
                  </a:lnTo>
                  <a:lnTo>
                    <a:pt x="1239" y="491"/>
                  </a:lnTo>
                  <a:lnTo>
                    <a:pt x="1236" y="491"/>
                  </a:lnTo>
                  <a:lnTo>
                    <a:pt x="1236" y="491"/>
                  </a:lnTo>
                  <a:lnTo>
                    <a:pt x="1231" y="489"/>
                  </a:lnTo>
                  <a:lnTo>
                    <a:pt x="1231" y="489"/>
                  </a:lnTo>
                  <a:lnTo>
                    <a:pt x="1231" y="486"/>
                  </a:lnTo>
                  <a:lnTo>
                    <a:pt x="1234" y="486"/>
                  </a:lnTo>
                  <a:lnTo>
                    <a:pt x="1234" y="486"/>
                  </a:lnTo>
                  <a:lnTo>
                    <a:pt x="1234" y="489"/>
                  </a:lnTo>
                  <a:lnTo>
                    <a:pt x="1234" y="489"/>
                  </a:lnTo>
                  <a:lnTo>
                    <a:pt x="1236" y="489"/>
                  </a:lnTo>
                  <a:lnTo>
                    <a:pt x="1246" y="491"/>
                  </a:lnTo>
                  <a:lnTo>
                    <a:pt x="1249" y="491"/>
                  </a:lnTo>
                  <a:lnTo>
                    <a:pt x="1249" y="489"/>
                  </a:lnTo>
                  <a:lnTo>
                    <a:pt x="1249" y="486"/>
                  </a:lnTo>
                  <a:lnTo>
                    <a:pt x="1251" y="486"/>
                  </a:lnTo>
                  <a:lnTo>
                    <a:pt x="1251" y="484"/>
                  </a:lnTo>
                  <a:lnTo>
                    <a:pt x="1249" y="478"/>
                  </a:lnTo>
                  <a:lnTo>
                    <a:pt x="1249" y="478"/>
                  </a:lnTo>
                  <a:lnTo>
                    <a:pt x="1246" y="478"/>
                  </a:lnTo>
                  <a:lnTo>
                    <a:pt x="1246" y="478"/>
                  </a:lnTo>
                  <a:lnTo>
                    <a:pt x="1244" y="478"/>
                  </a:lnTo>
                  <a:lnTo>
                    <a:pt x="1244" y="478"/>
                  </a:lnTo>
                  <a:lnTo>
                    <a:pt x="1246" y="478"/>
                  </a:lnTo>
                  <a:lnTo>
                    <a:pt x="1246" y="476"/>
                  </a:lnTo>
                  <a:lnTo>
                    <a:pt x="1249" y="476"/>
                  </a:lnTo>
                  <a:lnTo>
                    <a:pt x="1249" y="476"/>
                  </a:lnTo>
                  <a:lnTo>
                    <a:pt x="1246" y="473"/>
                  </a:lnTo>
                  <a:lnTo>
                    <a:pt x="1244" y="473"/>
                  </a:lnTo>
                  <a:lnTo>
                    <a:pt x="1244" y="473"/>
                  </a:lnTo>
                  <a:lnTo>
                    <a:pt x="1241" y="473"/>
                  </a:lnTo>
                  <a:lnTo>
                    <a:pt x="1239" y="473"/>
                  </a:lnTo>
                  <a:lnTo>
                    <a:pt x="1239" y="473"/>
                  </a:lnTo>
                  <a:lnTo>
                    <a:pt x="1239" y="473"/>
                  </a:lnTo>
                  <a:lnTo>
                    <a:pt x="1241" y="473"/>
                  </a:lnTo>
                  <a:lnTo>
                    <a:pt x="1241" y="473"/>
                  </a:lnTo>
                  <a:lnTo>
                    <a:pt x="1244" y="471"/>
                  </a:lnTo>
                  <a:lnTo>
                    <a:pt x="1244" y="471"/>
                  </a:lnTo>
                  <a:lnTo>
                    <a:pt x="1246" y="471"/>
                  </a:lnTo>
                  <a:lnTo>
                    <a:pt x="1249" y="471"/>
                  </a:lnTo>
                  <a:lnTo>
                    <a:pt x="1249" y="468"/>
                  </a:lnTo>
                  <a:lnTo>
                    <a:pt x="1249" y="466"/>
                  </a:lnTo>
                  <a:lnTo>
                    <a:pt x="1251" y="466"/>
                  </a:lnTo>
                  <a:lnTo>
                    <a:pt x="1251" y="466"/>
                  </a:lnTo>
                  <a:lnTo>
                    <a:pt x="1251" y="466"/>
                  </a:lnTo>
                  <a:lnTo>
                    <a:pt x="1251" y="463"/>
                  </a:lnTo>
                  <a:lnTo>
                    <a:pt x="1249" y="463"/>
                  </a:lnTo>
                  <a:lnTo>
                    <a:pt x="1249" y="463"/>
                  </a:lnTo>
                  <a:lnTo>
                    <a:pt x="1246" y="463"/>
                  </a:lnTo>
                  <a:lnTo>
                    <a:pt x="1246" y="458"/>
                  </a:lnTo>
                  <a:lnTo>
                    <a:pt x="1244" y="458"/>
                  </a:lnTo>
                  <a:lnTo>
                    <a:pt x="1241" y="458"/>
                  </a:lnTo>
                  <a:lnTo>
                    <a:pt x="1236" y="461"/>
                  </a:lnTo>
                  <a:lnTo>
                    <a:pt x="1231" y="463"/>
                  </a:lnTo>
                  <a:lnTo>
                    <a:pt x="1231" y="461"/>
                  </a:lnTo>
                  <a:lnTo>
                    <a:pt x="1234" y="461"/>
                  </a:lnTo>
                  <a:lnTo>
                    <a:pt x="1236" y="461"/>
                  </a:lnTo>
                  <a:lnTo>
                    <a:pt x="1241" y="458"/>
                  </a:lnTo>
                  <a:lnTo>
                    <a:pt x="1244" y="456"/>
                  </a:lnTo>
                  <a:lnTo>
                    <a:pt x="1246" y="453"/>
                  </a:lnTo>
                  <a:lnTo>
                    <a:pt x="1246" y="450"/>
                  </a:lnTo>
                  <a:lnTo>
                    <a:pt x="1246" y="450"/>
                  </a:lnTo>
                  <a:lnTo>
                    <a:pt x="1244" y="453"/>
                  </a:lnTo>
                  <a:lnTo>
                    <a:pt x="1239" y="453"/>
                  </a:lnTo>
                  <a:lnTo>
                    <a:pt x="1239" y="453"/>
                  </a:lnTo>
                  <a:lnTo>
                    <a:pt x="1239" y="453"/>
                  </a:lnTo>
                  <a:lnTo>
                    <a:pt x="1239" y="453"/>
                  </a:lnTo>
                  <a:lnTo>
                    <a:pt x="1236" y="453"/>
                  </a:lnTo>
                  <a:lnTo>
                    <a:pt x="1236" y="453"/>
                  </a:lnTo>
                  <a:lnTo>
                    <a:pt x="1231" y="456"/>
                  </a:lnTo>
                  <a:lnTo>
                    <a:pt x="1231" y="456"/>
                  </a:lnTo>
                  <a:lnTo>
                    <a:pt x="1234" y="453"/>
                  </a:lnTo>
                  <a:lnTo>
                    <a:pt x="1234" y="453"/>
                  </a:lnTo>
                  <a:lnTo>
                    <a:pt x="1239" y="450"/>
                  </a:lnTo>
                  <a:lnTo>
                    <a:pt x="1241" y="450"/>
                  </a:lnTo>
                  <a:lnTo>
                    <a:pt x="1246" y="448"/>
                  </a:lnTo>
                  <a:lnTo>
                    <a:pt x="1246" y="445"/>
                  </a:lnTo>
                  <a:lnTo>
                    <a:pt x="1244" y="443"/>
                  </a:lnTo>
                  <a:lnTo>
                    <a:pt x="1244" y="443"/>
                  </a:lnTo>
                  <a:lnTo>
                    <a:pt x="1241" y="443"/>
                  </a:lnTo>
                  <a:lnTo>
                    <a:pt x="1241" y="443"/>
                  </a:lnTo>
                  <a:lnTo>
                    <a:pt x="1241" y="443"/>
                  </a:lnTo>
                  <a:lnTo>
                    <a:pt x="1241" y="443"/>
                  </a:lnTo>
                  <a:lnTo>
                    <a:pt x="1241" y="440"/>
                  </a:lnTo>
                  <a:lnTo>
                    <a:pt x="1241" y="440"/>
                  </a:lnTo>
                  <a:lnTo>
                    <a:pt x="1241" y="440"/>
                  </a:lnTo>
                  <a:lnTo>
                    <a:pt x="1244" y="440"/>
                  </a:lnTo>
                  <a:lnTo>
                    <a:pt x="1244" y="440"/>
                  </a:lnTo>
                  <a:lnTo>
                    <a:pt x="1241" y="440"/>
                  </a:lnTo>
                  <a:lnTo>
                    <a:pt x="1241" y="440"/>
                  </a:lnTo>
                  <a:lnTo>
                    <a:pt x="1239" y="440"/>
                  </a:lnTo>
                  <a:lnTo>
                    <a:pt x="1234" y="440"/>
                  </a:lnTo>
                  <a:lnTo>
                    <a:pt x="1231" y="440"/>
                  </a:lnTo>
                  <a:lnTo>
                    <a:pt x="1231" y="440"/>
                  </a:lnTo>
                  <a:lnTo>
                    <a:pt x="1234" y="440"/>
                  </a:lnTo>
                  <a:lnTo>
                    <a:pt x="1236" y="440"/>
                  </a:lnTo>
                  <a:lnTo>
                    <a:pt x="1236" y="440"/>
                  </a:lnTo>
                  <a:lnTo>
                    <a:pt x="1239" y="438"/>
                  </a:lnTo>
                  <a:lnTo>
                    <a:pt x="1241" y="438"/>
                  </a:lnTo>
                  <a:lnTo>
                    <a:pt x="1241" y="435"/>
                  </a:lnTo>
                  <a:lnTo>
                    <a:pt x="1241" y="433"/>
                  </a:lnTo>
                  <a:lnTo>
                    <a:pt x="1239" y="435"/>
                  </a:lnTo>
                  <a:lnTo>
                    <a:pt x="1236" y="435"/>
                  </a:lnTo>
                  <a:lnTo>
                    <a:pt x="1239" y="435"/>
                  </a:lnTo>
                  <a:lnTo>
                    <a:pt x="1239" y="433"/>
                  </a:lnTo>
                  <a:lnTo>
                    <a:pt x="1236" y="433"/>
                  </a:lnTo>
                  <a:lnTo>
                    <a:pt x="1236" y="433"/>
                  </a:lnTo>
                  <a:lnTo>
                    <a:pt x="1239" y="433"/>
                  </a:lnTo>
                  <a:lnTo>
                    <a:pt x="1241" y="430"/>
                  </a:lnTo>
                  <a:lnTo>
                    <a:pt x="1239" y="430"/>
                  </a:lnTo>
                  <a:lnTo>
                    <a:pt x="1239" y="428"/>
                  </a:lnTo>
                  <a:lnTo>
                    <a:pt x="1239" y="428"/>
                  </a:lnTo>
                  <a:lnTo>
                    <a:pt x="1239" y="425"/>
                  </a:lnTo>
                  <a:lnTo>
                    <a:pt x="1239" y="425"/>
                  </a:lnTo>
                  <a:lnTo>
                    <a:pt x="1236" y="425"/>
                  </a:lnTo>
                  <a:lnTo>
                    <a:pt x="1236" y="425"/>
                  </a:lnTo>
                  <a:lnTo>
                    <a:pt x="1236" y="422"/>
                  </a:lnTo>
                  <a:lnTo>
                    <a:pt x="1239" y="420"/>
                  </a:lnTo>
                  <a:lnTo>
                    <a:pt x="1239" y="420"/>
                  </a:lnTo>
                  <a:lnTo>
                    <a:pt x="1236" y="420"/>
                  </a:lnTo>
                  <a:lnTo>
                    <a:pt x="1234" y="420"/>
                  </a:lnTo>
                  <a:lnTo>
                    <a:pt x="1231" y="420"/>
                  </a:lnTo>
                  <a:lnTo>
                    <a:pt x="1228" y="420"/>
                  </a:lnTo>
                  <a:lnTo>
                    <a:pt x="1231" y="420"/>
                  </a:lnTo>
                  <a:lnTo>
                    <a:pt x="1234" y="417"/>
                  </a:lnTo>
                  <a:lnTo>
                    <a:pt x="1236" y="417"/>
                  </a:lnTo>
                  <a:lnTo>
                    <a:pt x="1236" y="415"/>
                  </a:lnTo>
                  <a:lnTo>
                    <a:pt x="1236" y="415"/>
                  </a:lnTo>
                  <a:lnTo>
                    <a:pt x="1234" y="412"/>
                  </a:lnTo>
                  <a:lnTo>
                    <a:pt x="1234" y="412"/>
                  </a:lnTo>
                  <a:lnTo>
                    <a:pt x="1231" y="415"/>
                  </a:lnTo>
                  <a:lnTo>
                    <a:pt x="1231" y="415"/>
                  </a:lnTo>
                  <a:lnTo>
                    <a:pt x="1228" y="415"/>
                  </a:lnTo>
                  <a:lnTo>
                    <a:pt x="1226" y="420"/>
                  </a:lnTo>
                  <a:lnTo>
                    <a:pt x="1223" y="420"/>
                  </a:lnTo>
                  <a:lnTo>
                    <a:pt x="1221" y="422"/>
                  </a:lnTo>
                  <a:lnTo>
                    <a:pt x="1221" y="422"/>
                  </a:lnTo>
                  <a:lnTo>
                    <a:pt x="1221" y="422"/>
                  </a:lnTo>
                  <a:lnTo>
                    <a:pt x="1221" y="425"/>
                  </a:lnTo>
                  <a:lnTo>
                    <a:pt x="1223" y="425"/>
                  </a:lnTo>
                  <a:lnTo>
                    <a:pt x="1221" y="425"/>
                  </a:lnTo>
                  <a:lnTo>
                    <a:pt x="1221" y="425"/>
                  </a:lnTo>
                  <a:lnTo>
                    <a:pt x="1218" y="425"/>
                  </a:lnTo>
                  <a:lnTo>
                    <a:pt x="1218" y="425"/>
                  </a:lnTo>
                  <a:lnTo>
                    <a:pt x="1216" y="425"/>
                  </a:lnTo>
                  <a:lnTo>
                    <a:pt x="1216" y="425"/>
                  </a:lnTo>
                  <a:lnTo>
                    <a:pt x="1213" y="428"/>
                  </a:lnTo>
                  <a:lnTo>
                    <a:pt x="1213" y="428"/>
                  </a:lnTo>
                  <a:lnTo>
                    <a:pt x="1213" y="428"/>
                  </a:lnTo>
                  <a:lnTo>
                    <a:pt x="1213" y="430"/>
                  </a:lnTo>
                  <a:lnTo>
                    <a:pt x="1216" y="430"/>
                  </a:lnTo>
                  <a:lnTo>
                    <a:pt x="1216" y="430"/>
                  </a:lnTo>
                  <a:lnTo>
                    <a:pt x="1216" y="433"/>
                  </a:lnTo>
                  <a:lnTo>
                    <a:pt x="1218" y="433"/>
                  </a:lnTo>
                  <a:lnTo>
                    <a:pt x="1218" y="433"/>
                  </a:lnTo>
                  <a:lnTo>
                    <a:pt x="1218" y="433"/>
                  </a:lnTo>
                  <a:lnTo>
                    <a:pt x="1216" y="430"/>
                  </a:lnTo>
                  <a:lnTo>
                    <a:pt x="1213" y="430"/>
                  </a:lnTo>
                  <a:lnTo>
                    <a:pt x="1213" y="430"/>
                  </a:lnTo>
                  <a:lnTo>
                    <a:pt x="1211" y="433"/>
                  </a:lnTo>
                  <a:lnTo>
                    <a:pt x="1211" y="435"/>
                  </a:lnTo>
                  <a:lnTo>
                    <a:pt x="1211" y="435"/>
                  </a:lnTo>
                  <a:lnTo>
                    <a:pt x="1211" y="433"/>
                  </a:lnTo>
                  <a:lnTo>
                    <a:pt x="1208" y="435"/>
                  </a:lnTo>
                  <a:lnTo>
                    <a:pt x="1208" y="435"/>
                  </a:lnTo>
                  <a:lnTo>
                    <a:pt x="1208" y="438"/>
                  </a:lnTo>
                  <a:lnTo>
                    <a:pt x="1206" y="435"/>
                  </a:lnTo>
                  <a:lnTo>
                    <a:pt x="1206" y="435"/>
                  </a:lnTo>
                  <a:lnTo>
                    <a:pt x="1206" y="438"/>
                  </a:lnTo>
                  <a:lnTo>
                    <a:pt x="1206" y="438"/>
                  </a:lnTo>
                  <a:lnTo>
                    <a:pt x="1206" y="438"/>
                  </a:lnTo>
                  <a:lnTo>
                    <a:pt x="1206" y="438"/>
                  </a:lnTo>
                  <a:lnTo>
                    <a:pt x="1208" y="440"/>
                  </a:lnTo>
                  <a:lnTo>
                    <a:pt x="1208" y="440"/>
                  </a:lnTo>
                  <a:lnTo>
                    <a:pt x="1208" y="440"/>
                  </a:lnTo>
                  <a:lnTo>
                    <a:pt x="1206" y="440"/>
                  </a:lnTo>
                  <a:lnTo>
                    <a:pt x="1206" y="440"/>
                  </a:lnTo>
                  <a:lnTo>
                    <a:pt x="1203" y="440"/>
                  </a:lnTo>
                  <a:lnTo>
                    <a:pt x="1203" y="440"/>
                  </a:lnTo>
                  <a:lnTo>
                    <a:pt x="1203" y="440"/>
                  </a:lnTo>
                  <a:lnTo>
                    <a:pt x="1203" y="443"/>
                  </a:lnTo>
                  <a:lnTo>
                    <a:pt x="1200" y="440"/>
                  </a:lnTo>
                  <a:lnTo>
                    <a:pt x="1200" y="440"/>
                  </a:lnTo>
                  <a:lnTo>
                    <a:pt x="1198" y="443"/>
                  </a:lnTo>
                  <a:lnTo>
                    <a:pt x="1198" y="443"/>
                  </a:lnTo>
                  <a:lnTo>
                    <a:pt x="1198" y="443"/>
                  </a:lnTo>
                  <a:lnTo>
                    <a:pt x="1198" y="445"/>
                  </a:lnTo>
                  <a:lnTo>
                    <a:pt x="1198" y="445"/>
                  </a:lnTo>
                  <a:lnTo>
                    <a:pt x="1195" y="445"/>
                  </a:lnTo>
                  <a:lnTo>
                    <a:pt x="1195" y="445"/>
                  </a:lnTo>
                  <a:lnTo>
                    <a:pt x="1195" y="445"/>
                  </a:lnTo>
                  <a:lnTo>
                    <a:pt x="1195" y="448"/>
                  </a:lnTo>
                  <a:lnTo>
                    <a:pt x="1195" y="450"/>
                  </a:lnTo>
                  <a:lnTo>
                    <a:pt x="1195" y="450"/>
                  </a:lnTo>
                  <a:lnTo>
                    <a:pt x="1193" y="450"/>
                  </a:lnTo>
                  <a:lnTo>
                    <a:pt x="1190" y="453"/>
                  </a:lnTo>
                  <a:lnTo>
                    <a:pt x="1190" y="453"/>
                  </a:lnTo>
                  <a:lnTo>
                    <a:pt x="1193" y="450"/>
                  </a:lnTo>
                  <a:lnTo>
                    <a:pt x="1193" y="450"/>
                  </a:lnTo>
                  <a:lnTo>
                    <a:pt x="1193" y="448"/>
                  </a:lnTo>
                  <a:lnTo>
                    <a:pt x="1193" y="448"/>
                  </a:lnTo>
                  <a:lnTo>
                    <a:pt x="1193" y="445"/>
                  </a:lnTo>
                  <a:lnTo>
                    <a:pt x="1190" y="445"/>
                  </a:lnTo>
                  <a:lnTo>
                    <a:pt x="1190" y="445"/>
                  </a:lnTo>
                  <a:lnTo>
                    <a:pt x="1188" y="448"/>
                  </a:lnTo>
                  <a:lnTo>
                    <a:pt x="1185" y="448"/>
                  </a:lnTo>
                  <a:lnTo>
                    <a:pt x="1185" y="448"/>
                  </a:lnTo>
                  <a:lnTo>
                    <a:pt x="1183" y="450"/>
                  </a:lnTo>
                  <a:lnTo>
                    <a:pt x="1180" y="453"/>
                  </a:lnTo>
                  <a:lnTo>
                    <a:pt x="1177" y="453"/>
                  </a:lnTo>
                  <a:lnTo>
                    <a:pt x="1175" y="453"/>
                  </a:lnTo>
                  <a:lnTo>
                    <a:pt x="1172" y="456"/>
                  </a:lnTo>
                  <a:lnTo>
                    <a:pt x="1167" y="456"/>
                  </a:lnTo>
                  <a:lnTo>
                    <a:pt x="1162" y="458"/>
                  </a:lnTo>
                  <a:lnTo>
                    <a:pt x="1162" y="458"/>
                  </a:lnTo>
                  <a:lnTo>
                    <a:pt x="1162" y="458"/>
                  </a:lnTo>
                  <a:lnTo>
                    <a:pt x="1160" y="461"/>
                  </a:lnTo>
                  <a:lnTo>
                    <a:pt x="1160" y="463"/>
                  </a:lnTo>
                  <a:lnTo>
                    <a:pt x="1160" y="461"/>
                  </a:lnTo>
                  <a:lnTo>
                    <a:pt x="1160" y="461"/>
                  </a:lnTo>
                  <a:lnTo>
                    <a:pt x="1160" y="458"/>
                  </a:lnTo>
                  <a:lnTo>
                    <a:pt x="1162" y="458"/>
                  </a:lnTo>
                  <a:lnTo>
                    <a:pt x="1162" y="453"/>
                  </a:lnTo>
                  <a:lnTo>
                    <a:pt x="1162" y="453"/>
                  </a:lnTo>
                  <a:lnTo>
                    <a:pt x="1162" y="456"/>
                  </a:lnTo>
                  <a:lnTo>
                    <a:pt x="1160" y="456"/>
                  </a:lnTo>
                  <a:lnTo>
                    <a:pt x="1160" y="456"/>
                  </a:lnTo>
                  <a:lnTo>
                    <a:pt x="1155" y="458"/>
                  </a:lnTo>
                  <a:lnTo>
                    <a:pt x="1155" y="458"/>
                  </a:lnTo>
                  <a:lnTo>
                    <a:pt x="1160" y="456"/>
                  </a:lnTo>
                  <a:lnTo>
                    <a:pt x="1160" y="456"/>
                  </a:lnTo>
                  <a:lnTo>
                    <a:pt x="1160" y="456"/>
                  </a:lnTo>
                  <a:lnTo>
                    <a:pt x="1160" y="453"/>
                  </a:lnTo>
                  <a:lnTo>
                    <a:pt x="1160" y="453"/>
                  </a:lnTo>
                  <a:lnTo>
                    <a:pt x="1157" y="453"/>
                  </a:lnTo>
                  <a:lnTo>
                    <a:pt x="1155" y="453"/>
                  </a:lnTo>
                  <a:lnTo>
                    <a:pt x="1152" y="458"/>
                  </a:lnTo>
                  <a:lnTo>
                    <a:pt x="1149" y="461"/>
                  </a:lnTo>
                  <a:lnTo>
                    <a:pt x="1147" y="461"/>
                  </a:lnTo>
                  <a:lnTo>
                    <a:pt x="1147" y="461"/>
                  </a:lnTo>
                  <a:lnTo>
                    <a:pt x="1142" y="463"/>
                  </a:lnTo>
                  <a:lnTo>
                    <a:pt x="1137" y="463"/>
                  </a:lnTo>
                  <a:lnTo>
                    <a:pt x="1137" y="463"/>
                  </a:lnTo>
                  <a:lnTo>
                    <a:pt x="1139" y="463"/>
                  </a:lnTo>
                  <a:lnTo>
                    <a:pt x="1139" y="463"/>
                  </a:lnTo>
                  <a:lnTo>
                    <a:pt x="1144" y="461"/>
                  </a:lnTo>
                  <a:lnTo>
                    <a:pt x="1147" y="461"/>
                  </a:lnTo>
                  <a:lnTo>
                    <a:pt x="1149" y="458"/>
                  </a:lnTo>
                  <a:lnTo>
                    <a:pt x="1152" y="458"/>
                  </a:lnTo>
                  <a:lnTo>
                    <a:pt x="1155" y="453"/>
                  </a:lnTo>
                  <a:lnTo>
                    <a:pt x="1155" y="453"/>
                  </a:lnTo>
                  <a:lnTo>
                    <a:pt x="1157" y="450"/>
                  </a:lnTo>
                  <a:lnTo>
                    <a:pt x="1157" y="450"/>
                  </a:lnTo>
                  <a:lnTo>
                    <a:pt x="1155" y="450"/>
                  </a:lnTo>
                  <a:lnTo>
                    <a:pt x="1157" y="445"/>
                  </a:lnTo>
                  <a:lnTo>
                    <a:pt x="1157" y="445"/>
                  </a:lnTo>
                  <a:lnTo>
                    <a:pt x="1155" y="445"/>
                  </a:lnTo>
                  <a:lnTo>
                    <a:pt x="1155" y="443"/>
                  </a:lnTo>
                  <a:lnTo>
                    <a:pt x="1155" y="443"/>
                  </a:lnTo>
                  <a:lnTo>
                    <a:pt x="1152" y="443"/>
                  </a:lnTo>
                  <a:lnTo>
                    <a:pt x="1149" y="443"/>
                  </a:lnTo>
                  <a:lnTo>
                    <a:pt x="1147" y="443"/>
                  </a:lnTo>
                  <a:lnTo>
                    <a:pt x="1144" y="443"/>
                  </a:lnTo>
                  <a:lnTo>
                    <a:pt x="1144" y="443"/>
                  </a:lnTo>
                  <a:lnTo>
                    <a:pt x="1142" y="445"/>
                  </a:lnTo>
                  <a:lnTo>
                    <a:pt x="1137" y="448"/>
                  </a:lnTo>
                  <a:lnTo>
                    <a:pt x="1132" y="448"/>
                  </a:lnTo>
                  <a:lnTo>
                    <a:pt x="1132" y="448"/>
                  </a:lnTo>
                  <a:lnTo>
                    <a:pt x="1129" y="445"/>
                  </a:lnTo>
                  <a:lnTo>
                    <a:pt x="1127" y="445"/>
                  </a:lnTo>
                  <a:lnTo>
                    <a:pt x="1129" y="445"/>
                  </a:lnTo>
                  <a:lnTo>
                    <a:pt x="1132" y="445"/>
                  </a:lnTo>
                  <a:lnTo>
                    <a:pt x="1134" y="443"/>
                  </a:lnTo>
                  <a:lnTo>
                    <a:pt x="1134" y="443"/>
                  </a:lnTo>
                  <a:lnTo>
                    <a:pt x="1134" y="443"/>
                  </a:lnTo>
                  <a:lnTo>
                    <a:pt x="1134" y="443"/>
                  </a:lnTo>
                  <a:lnTo>
                    <a:pt x="1137" y="443"/>
                  </a:lnTo>
                  <a:lnTo>
                    <a:pt x="1137" y="443"/>
                  </a:lnTo>
                  <a:lnTo>
                    <a:pt x="1137" y="443"/>
                  </a:lnTo>
                  <a:lnTo>
                    <a:pt x="1137" y="445"/>
                  </a:lnTo>
                  <a:lnTo>
                    <a:pt x="1137" y="445"/>
                  </a:lnTo>
                  <a:lnTo>
                    <a:pt x="1137" y="445"/>
                  </a:lnTo>
                  <a:lnTo>
                    <a:pt x="1139" y="443"/>
                  </a:lnTo>
                  <a:lnTo>
                    <a:pt x="1139" y="443"/>
                  </a:lnTo>
                  <a:lnTo>
                    <a:pt x="1142" y="440"/>
                  </a:lnTo>
                  <a:lnTo>
                    <a:pt x="1142" y="440"/>
                  </a:lnTo>
                  <a:lnTo>
                    <a:pt x="1144" y="440"/>
                  </a:lnTo>
                  <a:lnTo>
                    <a:pt x="1144" y="440"/>
                  </a:lnTo>
                  <a:lnTo>
                    <a:pt x="1144" y="438"/>
                  </a:lnTo>
                  <a:lnTo>
                    <a:pt x="1144" y="438"/>
                  </a:lnTo>
                  <a:lnTo>
                    <a:pt x="1147" y="435"/>
                  </a:lnTo>
                  <a:lnTo>
                    <a:pt x="1147" y="435"/>
                  </a:lnTo>
                  <a:lnTo>
                    <a:pt x="1147" y="435"/>
                  </a:lnTo>
                  <a:lnTo>
                    <a:pt x="1142" y="433"/>
                  </a:lnTo>
                  <a:lnTo>
                    <a:pt x="1142" y="433"/>
                  </a:lnTo>
                  <a:lnTo>
                    <a:pt x="1144" y="430"/>
                  </a:lnTo>
                  <a:lnTo>
                    <a:pt x="1144" y="430"/>
                  </a:lnTo>
                  <a:lnTo>
                    <a:pt x="1147" y="428"/>
                  </a:lnTo>
                  <a:lnTo>
                    <a:pt x="1149" y="428"/>
                  </a:lnTo>
                  <a:lnTo>
                    <a:pt x="1149" y="425"/>
                  </a:lnTo>
                  <a:lnTo>
                    <a:pt x="1149" y="425"/>
                  </a:lnTo>
                  <a:lnTo>
                    <a:pt x="1149" y="422"/>
                  </a:lnTo>
                  <a:lnTo>
                    <a:pt x="1149" y="422"/>
                  </a:lnTo>
                  <a:lnTo>
                    <a:pt x="1147" y="422"/>
                  </a:lnTo>
                  <a:lnTo>
                    <a:pt x="1139" y="420"/>
                  </a:lnTo>
                  <a:lnTo>
                    <a:pt x="1137" y="420"/>
                  </a:lnTo>
                  <a:lnTo>
                    <a:pt x="1134" y="420"/>
                  </a:lnTo>
                  <a:lnTo>
                    <a:pt x="1134" y="420"/>
                  </a:lnTo>
                  <a:lnTo>
                    <a:pt x="1137" y="420"/>
                  </a:lnTo>
                  <a:lnTo>
                    <a:pt x="1147" y="420"/>
                  </a:lnTo>
                  <a:lnTo>
                    <a:pt x="1149" y="420"/>
                  </a:lnTo>
                  <a:lnTo>
                    <a:pt x="1152" y="417"/>
                  </a:lnTo>
                  <a:lnTo>
                    <a:pt x="1152" y="417"/>
                  </a:lnTo>
                  <a:lnTo>
                    <a:pt x="1152" y="417"/>
                  </a:lnTo>
                  <a:lnTo>
                    <a:pt x="1155" y="415"/>
                  </a:lnTo>
                  <a:lnTo>
                    <a:pt x="1155" y="415"/>
                  </a:lnTo>
                  <a:lnTo>
                    <a:pt x="1155" y="415"/>
                  </a:lnTo>
                  <a:lnTo>
                    <a:pt x="1155" y="412"/>
                  </a:lnTo>
                  <a:lnTo>
                    <a:pt x="1155" y="412"/>
                  </a:lnTo>
                  <a:lnTo>
                    <a:pt x="1155" y="412"/>
                  </a:lnTo>
                  <a:lnTo>
                    <a:pt x="1155" y="410"/>
                  </a:lnTo>
                  <a:lnTo>
                    <a:pt x="1157" y="407"/>
                  </a:lnTo>
                  <a:lnTo>
                    <a:pt x="1160" y="405"/>
                  </a:lnTo>
                  <a:lnTo>
                    <a:pt x="1162" y="405"/>
                  </a:lnTo>
                  <a:lnTo>
                    <a:pt x="1162" y="405"/>
                  </a:lnTo>
                  <a:lnTo>
                    <a:pt x="1165" y="402"/>
                  </a:lnTo>
                  <a:lnTo>
                    <a:pt x="1165" y="402"/>
                  </a:lnTo>
                  <a:lnTo>
                    <a:pt x="1165" y="402"/>
                  </a:lnTo>
                  <a:lnTo>
                    <a:pt x="1167" y="402"/>
                  </a:lnTo>
                  <a:lnTo>
                    <a:pt x="1167" y="400"/>
                  </a:lnTo>
                  <a:lnTo>
                    <a:pt x="1167" y="400"/>
                  </a:lnTo>
                  <a:lnTo>
                    <a:pt x="1165" y="397"/>
                  </a:lnTo>
                  <a:lnTo>
                    <a:pt x="1165" y="400"/>
                  </a:lnTo>
                  <a:lnTo>
                    <a:pt x="1165" y="400"/>
                  </a:lnTo>
                  <a:lnTo>
                    <a:pt x="1162" y="400"/>
                  </a:lnTo>
                  <a:lnTo>
                    <a:pt x="1162" y="402"/>
                  </a:lnTo>
                  <a:lnTo>
                    <a:pt x="1160" y="402"/>
                  </a:lnTo>
                  <a:lnTo>
                    <a:pt x="1157" y="402"/>
                  </a:lnTo>
                  <a:lnTo>
                    <a:pt x="1157" y="402"/>
                  </a:lnTo>
                  <a:lnTo>
                    <a:pt x="1155" y="402"/>
                  </a:lnTo>
                  <a:lnTo>
                    <a:pt x="1155" y="402"/>
                  </a:lnTo>
                  <a:lnTo>
                    <a:pt x="1155" y="400"/>
                  </a:lnTo>
                  <a:lnTo>
                    <a:pt x="1155" y="400"/>
                  </a:lnTo>
                  <a:lnTo>
                    <a:pt x="1155" y="400"/>
                  </a:lnTo>
                  <a:lnTo>
                    <a:pt x="1155" y="397"/>
                  </a:lnTo>
                  <a:lnTo>
                    <a:pt x="1152" y="397"/>
                  </a:lnTo>
                  <a:lnTo>
                    <a:pt x="1149" y="400"/>
                  </a:lnTo>
                  <a:lnTo>
                    <a:pt x="1147" y="400"/>
                  </a:lnTo>
                  <a:lnTo>
                    <a:pt x="1142" y="397"/>
                  </a:lnTo>
                  <a:lnTo>
                    <a:pt x="1142" y="397"/>
                  </a:lnTo>
                  <a:lnTo>
                    <a:pt x="1139" y="397"/>
                  </a:lnTo>
                  <a:lnTo>
                    <a:pt x="1137" y="397"/>
                  </a:lnTo>
                  <a:lnTo>
                    <a:pt x="1137" y="394"/>
                  </a:lnTo>
                  <a:lnTo>
                    <a:pt x="1134" y="392"/>
                  </a:lnTo>
                  <a:lnTo>
                    <a:pt x="1134" y="392"/>
                  </a:lnTo>
                  <a:lnTo>
                    <a:pt x="1137" y="392"/>
                  </a:lnTo>
                  <a:lnTo>
                    <a:pt x="1137" y="392"/>
                  </a:lnTo>
                  <a:lnTo>
                    <a:pt x="1134" y="392"/>
                  </a:lnTo>
                  <a:lnTo>
                    <a:pt x="1134" y="389"/>
                  </a:lnTo>
                  <a:lnTo>
                    <a:pt x="1134" y="389"/>
                  </a:lnTo>
                  <a:lnTo>
                    <a:pt x="1137" y="389"/>
                  </a:lnTo>
                  <a:lnTo>
                    <a:pt x="1139" y="387"/>
                  </a:lnTo>
                  <a:lnTo>
                    <a:pt x="1139" y="387"/>
                  </a:lnTo>
                  <a:lnTo>
                    <a:pt x="1139" y="387"/>
                  </a:lnTo>
                  <a:lnTo>
                    <a:pt x="1139" y="387"/>
                  </a:lnTo>
                  <a:lnTo>
                    <a:pt x="1137" y="384"/>
                  </a:lnTo>
                  <a:lnTo>
                    <a:pt x="1137" y="384"/>
                  </a:lnTo>
                  <a:lnTo>
                    <a:pt x="1134" y="387"/>
                  </a:lnTo>
                  <a:lnTo>
                    <a:pt x="1134" y="387"/>
                  </a:lnTo>
                  <a:lnTo>
                    <a:pt x="1129" y="387"/>
                  </a:lnTo>
                  <a:lnTo>
                    <a:pt x="1129" y="387"/>
                  </a:lnTo>
                  <a:lnTo>
                    <a:pt x="1134" y="387"/>
                  </a:lnTo>
                  <a:lnTo>
                    <a:pt x="1134" y="387"/>
                  </a:lnTo>
                  <a:lnTo>
                    <a:pt x="1134" y="384"/>
                  </a:lnTo>
                  <a:lnTo>
                    <a:pt x="1134" y="384"/>
                  </a:lnTo>
                  <a:lnTo>
                    <a:pt x="1134" y="384"/>
                  </a:lnTo>
                  <a:lnTo>
                    <a:pt x="1134" y="382"/>
                  </a:lnTo>
                  <a:lnTo>
                    <a:pt x="1134" y="382"/>
                  </a:lnTo>
                  <a:lnTo>
                    <a:pt x="1132" y="382"/>
                  </a:lnTo>
                  <a:lnTo>
                    <a:pt x="1129" y="379"/>
                  </a:lnTo>
                  <a:lnTo>
                    <a:pt x="1129" y="382"/>
                  </a:lnTo>
                  <a:lnTo>
                    <a:pt x="1127" y="382"/>
                  </a:lnTo>
                  <a:lnTo>
                    <a:pt x="1127" y="382"/>
                  </a:lnTo>
                  <a:lnTo>
                    <a:pt x="1124" y="382"/>
                  </a:lnTo>
                  <a:lnTo>
                    <a:pt x="1127" y="379"/>
                  </a:lnTo>
                  <a:lnTo>
                    <a:pt x="1129" y="379"/>
                  </a:lnTo>
                  <a:lnTo>
                    <a:pt x="1129" y="377"/>
                  </a:lnTo>
                  <a:lnTo>
                    <a:pt x="1129" y="377"/>
                  </a:lnTo>
                  <a:lnTo>
                    <a:pt x="1129" y="377"/>
                  </a:lnTo>
                  <a:lnTo>
                    <a:pt x="1129" y="377"/>
                  </a:lnTo>
                  <a:lnTo>
                    <a:pt x="1129" y="377"/>
                  </a:lnTo>
                  <a:lnTo>
                    <a:pt x="1127" y="377"/>
                  </a:lnTo>
                  <a:lnTo>
                    <a:pt x="1127" y="374"/>
                  </a:lnTo>
                  <a:lnTo>
                    <a:pt x="1124" y="374"/>
                  </a:lnTo>
                  <a:lnTo>
                    <a:pt x="1124" y="374"/>
                  </a:lnTo>
                  <a:lnTo>
                    <a:pt x="1121" y="372"/>
                  </a:lnTo>
                  <a:lnTo>
                    <a:pt x="1121" y="372"/>
                  </a:lnTo>
                  <a:lnTo>
                    <a:pt x="1119" y="369"/>
                  </a:lnTo>
                  <a:lnTo>
                    <a:pt x="1119" y="369"/>
                  </a:lnTo>
                  <a:lnTo>
                    <a:pt x="1116" y="369"/>
                  </a:lnTo>
                  <a:lnTo>
                    <a:pt x="1114" y="369"/>
                  </a:lnTo>
                  <a:lnTo>
                    <a:pt x="1111" y="372"/>
                  </a:lnTo>
                  <a:lnTo>
                    <a:pt x="1109" y="372"/>
                  </a:lnTo>
                  <a:lnTo>
                    <a:pt x="1104" y="374"/>
                  </a:lnTo>
                  <a:lnTo>
                    <a:pt x="1101" y="374"/>
                  </a:lnTo>
                  <a:lnTo>
                    <a:pt x="1098" y="374"/>
                  </a:lnTo>
                  <a:lnTo>
                    <a:pt x="1098" y="377"/>
                  </a:lnTo>
                  <a:lnTo>
                    <a:pt x="1098" y="377"/>
                  </a:lnTo>
                  <a:lnTo>
                    <a:pt x="1096" y="374"/>
                  </a:lnTo>
                  <a:lnTo>
                    <a:pt x="1096" y="374"/>
                  </a:lnTo>
                  <a:lnTo>
                    <a:pt x="1093" y="374"/>
                  </a:lnTo>
                  <a:lnTo>
                    <a:pt x="1091" y="372"/>
                  </a:lnTo>
                  <a:lnTo>
                    <a:pt x="1088" y="372"/>
                  </a:lnTo>
                  <a:lnTo>
                    <a:pt x="1088" y="374"/>
                  </a:lnTo>
                  <a:lnTo>
                    <a:pt x="1081" y="374"/>
                  </a:lnTo>
                  <a:lnTo>
                    <a:pt x="1081" y="374"/>
                  </a:lnTo>
                  <a:lnTo>
                    <a:pt x="1083" y="374"/>
                  </a:lnTo>
                  <a:lnTo>
                    <a:pt x="1083" y="372"/>
                  </a:lnTo>
                  <a:lnTo>
                    <a:pt x="1073" y="369"/>
                  </a:lnTo>
                  <a:lnTo>
                    <a:pt x="1070" y="369"/>
                  </a:lnTo>
                  <a:lnTo>
                    <a:pt x="1065" y="366"/>
                  </a:lnTo>
                  <a:lnTo>
                    <a:pt x="1063" y="366"/>
                  </a:lnTo>
                  <a:lnTo>
                    <a:pt x="1058" y="369"/>
                  </a:lnTo>
                  <a:lnTo>
                    <a:pt x="1053" y="369"/>
                  </a:lnTo>
                  <a:lnTo>
                    <a:pt x="1048" y="372"/>
                  </a:lnTo>
                  <a:lnTo>
                    <a:pt x="1048" y="372"/>
                  </a:lnTo>
                  <a:lnTo>
                    <a:pt x="1045" y="374"/>
                  </a:lnTo>
                  <a:lnTo>
                    <a:pt x="1045" y="374"/>
                  </a:lnTo>
                  <a:lnTo>
                    <a:pt x="1042" y="377"/>
                  </a:lnTo>
                  <a:lnTo>
                    <a:pt x="1042" y="379"/>
                  </a:lnTo>
                  <a:lnTo>
                    <a:pt x="1042" y="382"/>
                  </a:lnTo>
                  <a:lnTo>
                    <a:pt x="1042" y="384"/>
                  </a:lnTo>
                  <a:lnTo>
                    <a:pt x="1042" y="384"/>
                  </a:lnTo>
                  <a:lnTo>
                    <a:pt x="1042" y="384"/>
                  </a:lnTo>
                  <a:lnTo>
                    <a:pt x="1045" y="387"/>
                  </a:lnTo>
                  <a:lnTo>
                    <a:pt x="1045" y="387"/>
                  </a:lnTo>
                  <a:lnTo>
                    <a:pt x="1042" y="389"/>
                  </a:lnTo>
                  <a:lnTo>
                    <a:pt x="1040" y="389"/>
                  </a:lnTo>
                  <a:lnTo>
                    <a:pt x="1040" y="392"/>
                  </a:lnTo>
                  <a:lnTo>
                    <a:pt x="1037" y="394"/>
                  </a:lnTo>
                  <a:lnTo>
                    <a:pt x="1037" y="394"/>
                  </a:lnTo>
                  <a:lnTo>
                    <a:pt x="1037" y="397"/>
                  </a:lnTo>
                  <a:lnTo>
                    <a:pt x="1035" y="397"/>
                  </a:lnTo>
                  <a:lnTo>
                    <a:pt x="1032" y="400"/>
                  </a:lnTo>
                  <a:lnTo>
                    <a:pt x="1027" y="402"/>
                  </a:lnTo>
                  <a:lnTo>
                    <a:pt x="1025" y="402"/>
                  </a:lnTo>
                  <a:lnTo>
                    <a:pt x="1027" y="402"/>
                  </a:lnTo>
                  <a:lnTo>
                    <a:pt x="1027" y="402"/>
                  </a:lnTo>
                  <a:lnTo>
                    <a:pt x="1030" y="405"/>
                  </a:lnTo>
                  <a:lnTo>
                    <a:pt x="1035" y="402"/>
                  </a:lnTo>
                  <a:lnTo>
                    <a:pt x="1035" y="405"/>
                  </a:lnTo>
                  <a:lnTo>
                    <a:pt x="1032" y="405"/>
                  </a:lnTo>
                  <a:lnTo>
                    <a:pt x="1030" y="405"/>
                  </a:lnTo>
                  <a:lnTo>
                    <a:pt x="1030" y="407"/>
                  </a:lnTo>
                  <a:lnTo>
                    <a:pt x="1030" y="407"/>
                  </a:lnTo>
                  <a:lnTo>
                    <a:pt x="1030" y="407"/>
                  </a:lnTo>
                  <a:lnTo>
                    <a:pt x="1030" y="407"/>
                  </a:lnTo>
                  <a:lnTo>
                    <a:pt x="1032" y="410"/>
                  </a:lnTo>
                  <a:lnTo>
                    <a:pt x="1032" y="410"/>
                  </a:lnTo>
                  <a:lnTo>
                    <a:pt x="1030" y="410"/>
                  </a:lnTo>
                  <a:lnTo>
                    <a:pt x="1027" y="412"/>
                  </a:lnTo>
                  <a:lnTo>
                    <a:pt x="1027" y="412"/>
                  </a:lnTo>
                  <a:lnTo>
                    <a:pt x="1027" y="417"/>
                  </a:lnTo>
                  <a:lnTo>
                    <a:pt x="1027" y="417"/>
                  </a:lnTo>
                  <a:lnTo>
                    <a:pt x="1025" y="417"/>
                  </a:lnTo>
                  <a:lnTo>
                    <a:pt x="1025" y="417"/>
                  </a:lnTo>
                  <a:lnTo>
                    <a:pt x="1025" y="420"/>
                  </a:lnTo>
                  <a:lnTo>
                    <a:pt x="1030" y="420"/>
                  </a:lnTo>
                  <a:lnTo>
                    <a:pt x="1030" y="420"/>
                  </a:lnTo>
                  <a:lnTo>
                    <a:pt x="1027" y="422"/>
                  </a:lnTo>
                  <a:lnTo>
                    <a:pt x="1025" y="422"/>
                  </a:lnTo>
                  <a:lnTo>
                    <a:pt x="1025" y="422"/>
                  </a:lnTo>
                  <a:lnTo>
                    <a:pt x="1025" y="425"/>
                  </a:lnTo>
                  <a:lnTo>
                    <a:pt x="1022" y="425"/>
                  </a:lnTo>
                  <a:lnTo>
                    <a:pt x="1022" y="428"/>
                  </a:lnTo>
                  <a:lnTo>
                    <a:pt x="1022" y="428"/>
                  </a:lnTo>
                  <a:lnTo>
                    <a:pt x="1022" y="430"/>
                  </a:lnTo>
                  <a:lnTo>
                    <a:pt x="1022" y="430"/>
                  </a:lnTo>
                  <a:lnTo>
                    <a:pt x="1019" y="428"/>
                  </a:lnTo>
                  <a:lnTo>
                    <a:pt x="1017" y="428"/>
                  </a:lnTo>
                  <a:lnTo>
                    <a:pt x="1017" y="428"/>
                  </a:lnTo>
                  <a:lnTo>
                    <a:pt x="1014" y="430"/>
                  </a:lnTo>
                  <a:lnTo>
                    <a:pt x="1014" y="430"/>
                  </a:lnTo>
                  <a:lnTo>
                    <a:pt x="1012" y="430"/>
                  </a:lnTo>
                  <a:lnTo>
                    <a:pt x="1012" y="433"/>
                  </a:lnTo>
                  <a:lnTo>
                    <a:pt x="1012" y="433"/>
                  </a:lnTo>
                  <a:lnTo>
                    <a:pt x="1012" y="433"/>
                  </a:lnTo>
                  <a:lnTo>
                    <a:pt x="1009" y="435"/>
                  </a:lnTo>
                  <a:lnTo>
                    <a:pt x="1007" y="435"/>
                  </a:lnTo>
                  <a:lnTo>
                    <a:pt x="1004" y="438"/>
                  </a:lnTo>
                  <a:lnTo>
                    <a:pt x="1004" y="438"/>
                  </a:lnTo>
                  <a:lnTo>
                    <a:pt x="999" y="440"/>
                  </a:lnTo>
                  <a:lnTo>
                    <a:pt x="994" y="443"/>
                  </a:lnTo>
                  <a:lnTo>
                    <a:pt x="994" y="443"/>
                  </a:lnTo>
                  <a:lnTo>
                    <a:pt x="994" y="445"/>
                  </a:lnTo>
                  <a:lnTo>
                    <a:pt x="991" y="445"/>
                  </a:lnTo>
                  <a:lnTo>
                    <a:pt x="991" y="448"/>
                  </a:lnTo>
                  <a:lnTo>
                    <a:pt x="991" y="448"/>
                  </a:lnTo>
                  <a:lnTo>
                    <a:pt x="991" y="450"/>
                  </a:lnTo>
                  <a:lnTo>
                    <a:pt x="991" y="450"/>
                  </a:lnTo>
                  <a:lnTo>
                    <a:pt x="997" y="453"/>
                  </a:lnTo>
                  <a:lnTo>
                    <a:pt x="997" y="456"/>
                  </a:lnTo>
                  <a:lnTo>
                    <a:pt x="999" y="456"/>
                  </a:lnTo>
                  <a:lnTo>
                    <a:pt x="1002" y="458"/>
                  </a:lnTo>
                  <a:lnTo>
                    <a:pt x="1002" y="458"/>
                  </a:lnTo>
                  <a:lnTo>
                    <a:pt x="1004" y="461"/>
                  </a:lnTo>
                  <a:lnTo>
                    <a:pt x="1004" y="468"/>
                  </a:lnTo>
                  <a:lnTo>
                    <a:pt x="1004" y="468"/>
                  </a:lnTo>
                  <a:lnTo>
                    <a:pt x="1004" y="471"/>
                  </a:lnTo>
                  <a:lnTo>
                    <a:pt x="1004" y="476"/>
                  </a:lnTo>
                  <a:lnTo>
                    <a:pt x="1004" y="478"/>
                  </a:lnTo>
                  <a:lnTo>
                    <a:pt x="1004" y="478"/>
                  </a:lnTo>
                  <a:lnTo>
                    <a:pt x="999" y="486"/>
                  </a:lnTo>
                  <a:lnTo>
                    <a:pt x="999" y="489"/>
                  </a:lnTo>
                  <a:lnTo>
                    <a:pt x="994" y="494"/>
                  </a:lnTo>
                  <a:lnTo>
                    <a:pt x="994" y="496"/>
                  </a:lnTo>
                  <a:lnTo>
                    <a:pt x="989" y="501"/>
                  </a:lnTo>
                  <a:lnTo>
                    <a:pt x="989" y="501"/>
                  </a:lnTo>
                  <a:lnTo>
                    <a:pt x="984" y="504"/>
                  </a:lnTo>
                  <a:lnTo>
                    <a:pt x="981" y="506"/>
                  </a:lnTo>
                  <a:lnTo>
                    <a:pt x="976" y="509"/>
                  </a:lnTo>
                  <a:lnTo>
                    <a:pt x="974" y="512"/>
                  </a:lnTo>
                  <a:lnTo>
                    <a:pt x="971" y="514"/>
                  </a:lnTo>
                  <a:lnTo>
                    <a:pt x="961" y="519"/>
                  </a:lnTo>
                  <a:lnTo>
                    <a:pt x="958" y="519"/>
                  </a:lnTo>
                  <a:lnTo>
                    <a:pt x="956" y="522"/>
                  </a:lnTo>
                  <a:lnTo>
                    <a:pt x="951" y="522"/>
                  </a:lnTo>
                  <a:lnTo>
                    <a:pt x="948" y="524"/>
                  </a:lnTo>
                  <a:lnTo>
                    <a:pt x="943" y="527"/>
                  </a:lnTo>
                  <a:lnTo>
                    <a:pt x="935" y="527"/>
                  </a:lnTo>
                  <a:lnTo>
                    <a:pt x="935" y="529"/>
                  </a:lnTo>
                  <a:lnTo>
                    <a:pt x="920" y="532"/>
                  </a:lnTo>
                  <a:lnTo>
                    <a:pt x="920" y="532"/>
                  </a:lnTo>
                  <a:lnTo>
                    <a:pt x="918" y="534"/>
                  </a:lnTo>
                  <a:lnTo>
                    <a:pt x="920" y="534"/>
                  </a:lnTo>
                  <a:lnTo>
                    <a:pt x="920" y="534"/>
                  </a:lnTo>
                  <a:lnTo>
                    <a:pt x="920" y="534"/>
                  </a:lnTo>
                  <a:lnTo>
                    <a:pt x="920" y="537"/>
                  </a:lnTo>
                  <a:lnTo>
                    <a:pt x="920" y="540"/>
                  </a:lnTo>
                  <a:lnTo>
                    <a:pt x="920" y="540"/>
                  </a:lnTo>
                  <a:lnTo>
                    <a:pt x="920" y="542"/>
                  </a:lnTo>
                  <a:lnTo>
                    <a:pt x="920" y="542"/>
                  </a:lnTo>
                  <a:lnTo>
                    <a:pt x="920" y="545"/>
                  </a:lnTo>
                  <a:lnTo>
                    <a:pt x="923" y="545"/>
                  </a:lnTo>
                  <a:lnTo>
                    <a:pt x="923" y="545"/>
                  </a:lnTo>
                  <a:lnTo>
                    <a:pt x="920" y="545"/>
                  </a:lnTo>
                  <a:lnTo>
                    <a:pt x="920" y="545"/>
                  </a:lnTo>
                  <a:lnTo>
                    <a:pt x="923" y="547"/>
                  </a:lnTo>
                  <a:lnTo>
                    <a:pt x="923" y="547"/>
                  </a:lnTo>
                  <a:lnTo>
                    <a:pt x="923" y="547"/>
                  </a:lnTo>
                  <a:lnTo>
                    <a:pt x="920" y="550"/>
                  </a:lnTo>
                  <a:lnTo>
                    <a:pt x="920" y="550"/>
                  </a:lnTo>
                  <a:lnTo>
                    <a:pt x="920" y="550"/>
                  </a:lnTo>
                  <a:lnTo>
                    <a:pt x="923" y="550"/>
                  </a:lnTo>
                  <a:lnTo>
                    <a:pt x="920" y="552"/>
                  </a:lnTo>
                  <a:lnTo>
                    <a:pt x="920" y="550"/>
                  </a:lnTo>
                  <a:lnTo>
                    <a:pt x="920" y="552"/>
                  </a:lnTo>
                  <a:lnTo>
                    <a:pt x="918" y="552"/>
                  </a:lnTo>
                  <a:lnTo>
                    <a:pt x="918" y="552"/>
                  </a:lnTo>
                  <a:lnTo>
                    <a:pt x="918" y="555"/>
                  </a:lnTo>
                  <a:lnTo>
                    <a:pt x="918" y="557"/>
                  </a:lnTo>
                  <a:lnTo>
                    <a:pt x="915" y="560"/>
                  </a:lnTo>
                  <a:lnTo>
                    <a:pt x="912" y="565"/>
                  </a:lnTo>
                  <a:lnTo>
                    <a:pt x="912" y="568"/>
                  </a:lnTo>
                  <a:lnTo>
                    <a:pt x="912" y="570"/>
                  </a:lnTo>
                  <a:lnTo>
                    <a:pt x="912" y="570"/>
                  </a:lnTo>
                  <a:lnTo>
                    <a:pt x="912" y="573"/>
                  </a:lnTo>
                  <a:lnTo>
                    <a:pt x="912" y="573"/>
                  </a:lnTo>
                  <a:lnTo>
                    <a:pt x="912" y="575"/>
                  </a:lnTo>
                  <a:lnTo>
                    <a:pt x="910" y="578"/>
                  </a:lnTo>
                  <a:lnTo>
                    <a:pt x="910" y="578"/>
                  </a:lnTo>
                  <a:lnTo>
                    <a:pt x="912" y="580"/>
                  </a:lnTo>
                  <a:lnTo>
                    <a:pt x="912" y="580"/>
                  </a:lnTo>
                  <a:lnTo>
                    <a:pt x="910" y="583"/>
                  </a:lnTo>
                  <a:lnTo>
                    <a:pt x="910" y="583"/>
                  </a:lnTo>
                  <a:lnTo>
                    <a:pt x="910" y="585"/>
                  </a:lnTo>
                  <a:lnTo>
                    <a:pt x="910" y="585"/>
                  </a:lnTo>
                  <a:lnTo>
                    <a:pt x="910" y="585"/>
                  </a:lnTo>
                  <a:lnTo>
                    <a:pt x="910" y="585"/>
                  </a:lnTo>
                  <a:lnTo>
                    <a:pt x="907" y="588"/>
                  </a:lnTo>
                  <a:lnTo>
                    <a:pt x="905" y="590"/>
                  </a:lnTo>
                  <a:lnTo>
                    <a:pt x="900" y="590"/>
                  </a:lnTo>
                  <a:lnTo>
                    <a:pt x="900" y="593"/>
                  </a:lnTo>
                  <a:lnTo>
                    <a:pt x="897" y="593"/>
                  </a:lnTo>
                  <a:lnTo>
                    <a:pt x="897" y="596"/>
                  </a:lnTo>
                  <a:lnTo>
                    <a:pt x="897" y="596"/>
                  </a:lnTo>
                  <a:lnTo>
                    <a:pt x="895" y="596"/>
                  </a:lnTo>
                  <a:lnTo>
                    <a:pt x="897" y="601"/>
                  </a:lnTo>
                  <a:lnTo>
                    <a:pt x="897" y="601"/>
                  </a:lnTo>
                  <a:lnTo>
                    <a:pt x="897" y="601"/>
                  </a:lnTo>
                  <a:lnTo>
                    <a:pt x="895" y="603"/>
                  </a:lnTo>
                  <a:lnTo>
                    <a:pt x="895" y="603"/>
                  </a:lnTo>
                  <a:lnTo>
                    <a:pt x="892" y="606"/>
                  </a:lnTo>
                  <a:lnTo>
                    <a:pt x="889" y="608"/>
                  </a:lnTo>
                  <a:lnTo>
                    <a:pt x="892" y="606"/>
                  </a:lnTo>
                  <a:lnTo>
                    <a:pt x="892" y="603"/>
                  </a:lnTo>
                  <a:lnTo>
                    <a:pt x="892" y="603"/>
                  </a:lnTo>
                  <a:lnTo>
                    <a:pt x="892" y="603"/>
                  </a:lnTo>
                  <a:lnTo>
                    <a:pt x="892" y="601"/>
                  </a:lnTo>
                  <a:lnTo>
                    <a:pt x="889" y="601"/>
                  </a:lnTo>
                  <a:lnTo>
                    <a:pt x="889" y="601"/>
                  </a:lnTo>
                  <a:lnTo>
                    <a:pt x="889" y="601"/>
                  </a:lnTo>
                  <a:lnTo>
                    <a:pt x="889" y="598"/>
                  </a:lnTo>
                  <a:lnTo>
                    <a:pt x="887" y="598"/>
                  </a:lnTo>
                  <a:lnTo>
                    <a:pt x="884" y="601"/>
                  </a:lnTo>
                  <a:lnTo>
                    <a:pt x="884" y="601"/>
                  </a:lnTo>
                  <a:lnTo>
                    <a:pt x="882" y="601"/>
                  </a:lnTo>
                  <a:lnTo>
                    <a:pt x="882" y="603"/>
                  </a:lnTo>
                  <a:lnTo>
                    <a:pt x="879" y="603"/>
                  </a:lnTo>
                  <a:lnTo>
                    <a:pt x="879" y="606"/>
                  </a:lnTo>
                  <a:lnTo>
                    <a:pt x="877" y="608"/>
                  </a:lnTo>
                  <a:lnTo>
                    <a:pt x="877" y="608"/>
                  </a:lnTo>
                  <a:lnTo>
                    <a:pt x="877" y="608"/>
                  </a:lnTo>
                  <a:lnTo>
                    <a:pt x="877" y="611"/>
                  </a:lnTo>
                  <a:lnTo>
                    <a:pt x="877" y="611"/>
                  </a:lnTo>
                  <a:lnTo>
                    <a:pt x="877" y="613"/>
                  </a:lnTo>
                  <a:lnTo>
                    <a:pt x="879" y="616"/>
                  </a:lnTo>
                  <a:lnTo>
                    <a:pt x="877" y="618"/>
                  </a:lnTo>
                  <a:lnTo>
                    <a:pt x="877" y="616"/>
                  </a:lnTo>
                  <a:lnTo>
                    <a:pt x="877" y="613"/>
                  </a:lnTo>
                  <a:lnTo>
                    <a:pt x="874" y="608"/>
                  </a:lnTo>
                  <a:lnTo>
                    <a:pt x="872" y="608"/>
                  </a:lnTo>
                  <a:lnTo>
                    <a:pt x="872" y="606"/>
                  </a:lnTo>
                  <a:lnTo>
                    <a:pt x="869" y="606"/>
                  </a:lnTo>
                  <a:lnTo>
                    <a:pt x="867" y="606"/>
                  </a:lnTo>
                  <a:lnTo>
                    <a:pt x="864" y="606"/>
                  </a:lnTo>
                  <a:lnTo>
                    <a:pt x="859" y="608"/>
                  </a:lnTo>
                  <a:lnTo>
                    <a:pt x="856" y="611"/>
                  </a:lnTo>
                  <a:lnTo>
                    <a:pt x="856" y="611"/>
                  </a:lnTo>
                  <a:lnTo>
                    <a:pt x="861" y="606"/>
                  </a:lnTo>
                  <a:lnTo>
                    <a:pt x="864" y="606"/>
                  </a:lnTo>
                  <a:lnTo>
                    <a:pt x="867" y="603"/>
                  </a:lnTo>
                  <a:lnTo>
                    <a:pt x="867" y="603"/>
                  </a:lnTo>
                  <a:lnTo>
                    <a:pt x="867" y="601"/>
                  </a:lnTo>
                  <a:lnTo>
                    <a:pt x="867" y="598"/>
                  </a:lnTo>
                  <a:lnTo>
                    <a:pt x="867" y="596"/>
                  </a:lnTo>
                  <a:lnTo>
                    <a:pt x="867" y="596"/>
                  </a:lnTo>
                  <a:lnTo>
                    <a:pt x="864" y="590"/>
                  </a:lnTo>
                  <a:lnTo>
                    <a:pt x="861" y="590"/>
                  </a:lnTo>
                  <a:lnTo>
                    <a:pt x="859" y="588"/>
                  </a:lnTo>
                  <a:lnTo>
                    <a:pt x="859" y="588"/>
                  </a:lnTo>
                  <a:lnTo>
                    <a:pt x="859" y="585"/>
                  </a:lnTo>
                  <a:lnTo>
                    <a:pt x="856" y="585"/>
                  </a:lnTo>
                  <a:lnTo>
                    <a:pt x="856" y="585"/>
                  </a:lnTo>
                  <a:lnTo>
                    <a:pt x="854" y="585"/>
                  </a:lnTo>
                  <a:lnTo>
                    <a:pt x="851" y="585"/>
                  </a:lnTo>
                  <a:lnTo>
                    <a:pt x="854" y="585"/>
                  </a:lnTo>
                  <a:lnTo>
                    <a:pt x="856" y="585"/>
                  </a:lnTo>
                  <a:lnTo>
                    <a:pt x="856" y="583"/>
                  </a:lnTo>
                  <a:lnTo>
                    <a:pt x="859" y="583"/>
                  </a:lnTo>
                  <a:lnTo>
                    <a:pt x="859" y="580"/>
                  </a:lnTo>
                  <a:lnTo>
                    <a:pt x="859" y="578"/>
                  </a:lnTo>
                  <a:lnTo>
                    <a:pt x="856" y="578"/>
                  </a:lnTo>
                  <a:lnTo>
                    <a:pt x="856" y="573"/>
                  </a:lnTo>
                  <a:lnTo>
                    <a:pt x="856" y="573"/>
                  </a:lnTo>
                  <a:lnTo>
                    <a:pt x="854" y="570"/>
                  </a:lnTo>
                  <a:lnTo>
                    <a:pt x="854" y="570"/>
                  </a:lnTo>
                  <a:lnTo>
                    <a:pt x="854" y="568"/>
                  </a:lnTo>
                  <a:lnTo>
                    <a:pt x="854" y="568"/>
                  </a:lnTo>
                  <a:lnTo>
                    <a:pt x="856" y="565"/>
                  </a:lnTo>
                  <a:lnTo>
                    <a:pt x="859" y="565"/>
                  </a:lnTo>
                  <a:lnTo>
                    <a:pt x="859" y="562"/>
                  </a:lnTo>
                  <a:lnTo>
                    <a:pt x="861" y="560"/>
                  </a:lnTo>
                  <a:lnTo>
                    <a:pt x="861" y="557"/>
                  </a:lnTo>
                  <a:lnTo>
                    <a:pt x="864" y="555"/>
                  </a:lnTo>
                  <a:lnTo>
                    <a:pt x="867" y="552"/>
                  </a:lnTo>
                  <a:lnTo>
                    <a:pt x="867" y="552"/>
                  </a:lnTo>
                  <a:lnTo>
                    <a:pt x="867" y="550"/>
                  </a:lnTo>
                  <a:lnTo>
                    <a:pt x="869" y="547"/>
                  </a:lnTo>
                  <a:lnTo>
                    <a:pt x="869" y="545"/>
                  </a:lnTo>
                  <a:lnTo>
                    <a:pt x="867" y="545"/>
                  </a:lnTo>
                  <a:lnTo>
                    <a:pt x="867" y="542"/>
                  </a:lnTo>
                  <a:lnTo>
                    <a:pt x="869" y="540"/>
                  </a:lnTo>
                  <a:lnTo>
                    <a:pt x="872" y="537"/>
                  </a:lnTo>
                  <a:lnTo>
                    <a:pt x="879" y="529"/>
                  </a:lnTo>
                  <a:lnTo>
                    <a:pt x="879" y="529"/>
                  </a:lnTo>
                  <a:lnTo>
                    <a:pt x="879" y="527"/>
                  </a:lnTo>
                  <a:lnTo>
                    <a:pt x="879" y="524"/>
                  </a:lnTo>
                  <a:lnTo>
                    <a:pt x="877" y="522"/>
                  </a:lnTo>
                  <a:lnTo>
                    <a:pt x="874" y="522"/>
                  </a:lnTo>
                  <a:lnTo>
                    <a:pt x="874" y="522"/>
                  </a:lnTo>
                  <a:lnTo>
                    <a:pt x="872" y="522"/>
                  </a:lnTo>
                  <a:lnTo>
                    <a:pt x="872" y="522"/>
                  </a:lnTo>
                  <a:lnTo>
                    <a:pt x="872" y="522"/>
                  </a:lnTo>
                  <a:lnTo>
                    <a:pt x="867" y="522"/>
                  </a:lnTo>
                  <a:lnTo>
                    <a:pt x="861" y="519"/>
                  </a:lnTo>
                  <a:lnTo>
                    <a:pt x="859" y="519"/>
                  </a:lnTo>
                  <a:lnTo>
                    <a:pt x="856" y="519"/>
                  </a:lnTo>
                  <a:lnTo>
                    <a:pt x="856" y="519"/>
                  </a:lnTo>
                  <a:lnTo>
                    <a:pt x="854" y="519"/>
                  </a:lnTo>
                  <a:lnTo>
                    <a:pt x="854" y="519"/>
                  </a:lnTo>
                  <a:lnTo>
                    <a:pt x="851" y="519"/>
                  </a:lnTo>
                  <a:lnTo>
                    <a:pt x="849" y="519"/>
                  </a:lnTo>
                  <a:lnTo>
                    <a:pt x="846" y="519"/>
                  </a:lnTo>
                  <a:lnTo>
                    <a:pt x="844" y="519"/>
                  </a:lnTo>
                  <a:lnTo>
                    <a:pt x="839" y="519"/>
                  </a:lnTo>
                  <a:lnTo>
                    <a:pt x="836" y="519"/>
                  </a:lnTo>
                  <a:lnTo>
                    <a:pt x="836" y="519"/>
                  </a:lnTo>
                  <a:lnTo>
                    <a:pt x="833" y="522"/>
                  </a:lnTo>
                  <a:lnTo>
                    <a:pt x="828" y="524"/>
                  </a:lnTo>
                  <a:lnTo>
                    <a:pt x="828" y="524"/>
                  </a:lnTo>
                  <a:lnTo>
                    <a:pt x="836" y="519"/>
                  </a:lnTo>
                  <a:lnTo>
                    <a:pt x="836" y="519"/>
                  </a:lnTo>
                  <a:lnTo>
                    <a:pt x="836" y="517"/>
                  </a:lnTo>
                  <a:lnTo>
                    <a:pt x="833" y="517"/>
                  </a:lnTo>
                  <a:lnTo>
                    <a:pt x="833" y="517"/>
                  </a:lnTo>
                  <a:lnTo>
                    <a:pt x="833" y="514"/>
                  </a:lnTo>
                  <a:lnTo>
                    <a:pt x="831" y="514"/>
                  </a:lnTo>
                  <a:lnTo>
                    <a:pt x="828" y="512"/>
                  </a:lnTo>
                  <a:lnTo>
                    <a:pt x="828" y="512"/>
                  </a:lnTo>
                  <a:lnTo>
                    <a:pt x="826" y="512"/>
                  </a:lnTo>
                  <a:lnTo>
                    <a:pt x="821" y="509"/>
                  </a:lnTo>
                  <a:lnTo>
                    <a:pt x="816" y="506"/>
                  </a:lnTo>
                  <a:lnTo>
                    <a:pt x="810" y="504"/>
                  </a:lnTo>
                  <a:lnTo>
                    <a:pt x="808" y="504"/>
                  </a:lnTo>
                  <a:lnTo>
                    <a:pt x="805" y="504"/>
                  </a:lnTo>
                  <a:lnTo>
                    <a:pt x="805" y="496"/>
                  </a:lnTo>
                  <a:lnTo>
                    <a:pt x="803" y="494"/>
                  </a:lnTo>
                  <a:lnTo>
                    <a:pt x="800" y="494"/>
                  </a:lnTo>
                  <a:lnTo>
                    <a:pt x="800" y="491"/>
                  </a:lnTo>
                  <a:lnTo>
                    <a:pt x="798" y="489"/>
                  </a:lnTo>
                  <a:lnTo>
                    <a:pt x="795" y="486"/>
                  </a:lnTo>
                  <a:lnTo>
                    <a:pt x="795" y="486"/>
                  </a:lnTo>
                  <a:lnTo>
                    <a:pt x="790" y="486"/>
                  </a:lnTo>
                  <a:lnTo>
                    <a:pt x="790" y="486"/>
                  </a:lnTo>
                  <a:lnTo>
                    <a:pt x="782" y="484"/>
                  </a:lnTo>
                  <a:lnTo>
                    <a:pt x="780" y="481"/>
                  </a:lnTo>
                  <a:lnTo>
                    <a:pt x="775" y="481"/>
                  </a:lnTo>
                  <a:lnTo>
                    <a:pt x="772" y="478"/>
                  </a:lnTo>
                  <a:lnTo>
                    <a:pt x="767" y="478"/>
                  </a:lnTo>
                  <a:lnTo>
                    <a:pt x="765" y="478"/>
                  </a:lnTo>
                  <a:lnTo>
                    <a:pt x="747" y="481"/>
                  </a:lnTo>
                  <a:lnTo>
                    <a:pt x="742" y="484"/>
                  </a:lnTo>
                  <a:lnTo>
                    <a:pt x="739" y="484"/>
                  </a:lnTo>
                  <a:lnTo>
                    <a:pt x="739" y="484"/>
                  </a:lnTo>
                  <a:lnTo>
                    <a:pt x="742" y="484"/>
                  </a:lnTo>
                  <a:lnTo>
                    <a:pt x="742" y="481"/>
                  </a:lnTo>
                  <a:lnTo>
                    <a:pt x="739" y="484"/>
                  </a:lnTo>
                  <a:lnTo>
                    <a:pt x="739" y="484"/>
                  </a:lnTo>
                  <a:lnTo>
                    <a:pt x="734" y="484"/>
                  </a:lnTo>
                  <a:lnTo>
                    <a:pt x="734" y="484"/>
                  </a:lnTo>
                  <a:lnTo>
                    <a:pt x="731" y="486"/>
                  </a:lnTo>
                  <a:lnTo>
                    <a:pt x="731" y="484"/>
                  </a:lnTo>
                  <a:lnTo>
                    <a:pt x="734" y="484"/>
                  </a:lnTo>
                  <a:lnTo>
                    <a:pt x="734" y="484"/>
                  </a:lnTo>
                  <a:lnTo>
                    <a:pt x="737" y="484"/>
                  </a:lnTo>
                  <a:lnTo>
                    <a:pt x="739" y="481"/>
                  </a:lnTo>
                  <a:lnTo>
                    <a:pt x="742" y="478"/>
                  </a:lnTo>
                  <a:lnTo>
                    <a:pt x="744" y="478"/>
                  </a:lnTo>
                  <a:lnTo>
                    <a:pt x="744" y="476"/>
                  </a:lnTo>
                  <a:lnTo>
                    <a:pt x="744" y="476"/>
                  </a:lnTo>
                  <a:lnTo>
                    <a:pt x="744" y="473"/>
                  </a:lnTo>
                  <a:lnTo>
                    <a:pt x="747" y="466"/>
                  </a:lnTo>
                  <a:lnTo>
                    <a:pt x="747" y="466"/>
                  </a:lnTo>
                  <a:lnTo>
                    <a:pt x="749" y="461"/>
                  </a:lnTo>
                  <a:lnTo>
                    <a:pt x="749" y="458"/>
                  </a:lnTo>
                  <a:lnTo>
                    <a:pt x="752" y="453"/>
                  </a:lnTo>
                  <a:lnTo>
                    <a:pt x="752" y="450"/>
                  </a:lnTo>
                  <a:lnTo>
                    <a:pt x="754" y="448"/>
                  </a:lnTo>
                  <a:lnTo>
                    <a:pt x="754" y="448"/>
                  </a:lnTo>
                  <a:lnTo>
                    <a:pt x="752" y="445"/>
                  </a:lnTo>
                  <a:lnTo>
                    <a:pt x="749" y="445"/>
                  </a:lnTo>
                  <a:lnTo>
                    <a:pt x="749" y="445"/>
                  </a:lnTo>
                  <a:lnTo>
                    <a:pt x="744" y="445"/>
                  </a:lnTo>
                  <a:lnTo>
                    <a:pt x="739" y="445"/>
                  </a:lnTo>
                  <a:lnTo>
                    <a:pt x="739" y="445"/>
                  </a:lnTo>
                  <a:lnTo>
                    <a:pt x="734" y="448"/>
                  </a:lnTo>
                  <a:lnTo>
                    <a:pt x="729" y="453"/>
                  </a:lnTo>
                  <a:lnTo>
                    <a:pt x="729" y="456"/>
                  </a:lnTo>
                  <a:lnTo>
                    <a:pt x="729" y="456"/>
                  </a:lnTo>
                  <a:lnTo>
                    <a:pt x="734" y="448"/>
                  </a:lnTo>
                  <a:lnTo>
                    <a:pt x="734" y="448"/>
                  </a:lnTo>
                  <a:lnTo>
                    <a:pt x="734" y="445"/>
                  </a:lnTo>
                  <a:lnTo>
                    <a:pt x="734" y="445"/>
                  </a:lnTo>
                  <a:lnTo>
                    <a:pt x="731" y="443"/>
                  </a:lnTo>
                  <a:lnTo>
                    <a:pt x="731" y="443"/>
                  </a:lnTo>
                  <a:lnTo>
                    <a:pt x="731" y="443"/>
                  </a:lnTo>
                  <a:lnTo>
                    <a:pt x="731" y="443"/>
                  </a:lnTo>
                  <a:lnTo>
                    <a:pt x="731" y="443"/>
                  </a:lnTo>
                  <a:lnTo>
                    <a:pt x="731" y="440"/>
                  </a:lnTo>
                  <a:lnTo>
                    <a:pt x="731" y="440"/>
                  </a:lnTo>
                  <a:lnTo>
                    <a:pt x="729" y="440"/>
                  </a:lnTo>
                  <a:lnTo>
                    <a:pt x="731" y="440"/>
                  </a:lnTo>
                  <a:lnTo>
                    <a:pt x="734" y="438"/>
                  </a:lnTo>
                  <a:lnTo>
                    <a:pt x="737" y="435"/>
                  </a:lnTo>
                  <a:lnTo>
                    <a:pt x="739" y="430"/>
                  </a:lnTo>
                  <a:lnTo>
                    <a:pt x="747" y="420"/>
                  </a:lnTo>
                  <a:lnTo>
                    <a:pt x="749" y="417"/>
                  </a:lnTo>
                  <a:lnTo>
                    <a:pt x="754" y="415"/>
                  </a:lnTo>
                  <a:lnTo>
                    <a:pt x="757" y="412"/>
                  </a:lnTo>
                  <a:lnTo>
                    <a:pt x="757" y="410"/>
                  </a:lnTo>
                  <a:lnTo>
                    <a:pt x="757" y="410"/>
                  </a:lnTo>
                  <a:lnTo>
                    <a:pt x="757" y="410"/>
                  </a:lnTo>
                  <a:lnTo>
                    <a:pt x="757" y="410"/>
                  </a:lnTo>
                  <a:lnTo>
                    <a:pt x="760" y="410"/>
                  </a:lnTo>
                  <a:lnTo>
                    <a:pt x="762" y="407"/>
                  </a:lnTo>
                  <a:lnTo>
                    <a:pt x="765" y="405"/>
                  </a:lnTo>
                  <a:lnTo>
                    <a:pt x="770" y="402"/>
                  </a:lnTo>
                  <a:lnTo>
                    <a:pt x="775" y="400"/>
                  </a:lnTo>
                  <a:lnTo>
                    <a:pt x="777" y="397"/>
                  </a:lnTo>
                  <a:lnTo>
                    <a:pt x="780" y="394"/>
                  </a:lnTo>
                  <a:lnTo>
                    <a:pt x="780" y="394"/>
                  </a:lnTo>
                  <a:lnTo>
                    <a:pt x="780" y="392"/>
                  </a:lnTo>
                  <a:lnTo>
                    <a:pt x="780" y="392"/>
                  </a:lnTo>
                  <a:lnTo>
                    <a:pt x="782" y="392"/>
                  </a:lnTo>
                  <a:lnTo>
                    <a:pt x="782" y="392"/>
                  </a:lnTo>
                  <a:lnTo>
                    <a:pt x="785" y="392"/>
                  </a:lnTo>
                  <a:lnTo>
                    <a:pt x="785" y="389"/>
                  </a:lnTo>
                  <a:lnTo>
                    <a:pt x="785" y="389"/>
                  </a:lnTo>
                  <a:lnTo>
                    <a:pt x="790" y="387"/>
                  </a:lnTo>
                  <a:lnTo>
                    <a:pt x="798" y="384"/>
                  </a:lnTo>
                  <a:lnTo>
                    <a:pt x="798" y="384"/>
                  </a:lnTo>
                  <a:lnTo>
                    <a:pt x="800" y="384"/>
                  </a:lnTo>
                  <a:lnTo>
                    <a:pt x="800" y="384"/>
                  </a:lnTo>
                  <a:lnTo>
                    <a:pt x="798" y="382"/>
                  </a:lnTo>
                  <a:lnTo>
                    <a:pt x="798" y="382"/>
                  </a:lnTo>
                  <a:lnTo>
                    <a:pt x="798" y="382"/>
                  </a:lnTo>
                  <a:lnTo>
                    <a:pt x="798" y="379"/>
                  </a:lnTo>
                  <a:lnTo>
                    <a:pt x="800" y="379"/>
                  </a:lnTo>
                  <a:lnTo>
                    <a:pt x="803" y="379"/>
                  </a:lnTo>
                  <a:lnTo>
                    <a:pt x="803" y="379"/>
                  </a:lnTo>
                  <a:lnTo>
                    <a:pt x="803" y="379"/>
                  </a:lnTo>
                  <a:lnTo>
                    <a:pt x="803" y="379"/>
                  </a:lnTo>
                  <a:lnTo>
                    <a:pt x="803" y="379"/>
                  </a:lnTo>
                  <a:lnTo>
                    <a:pt x="805" y="379"/>
                  </a:lnTo>
                  <a:lnTo>
                    <a:pt x="808" y="377"/>
                  </a:lnTo>
                  <a:lnTo>
                    <a:pt x="810" y="377"/>
                  </a:lnTo>
                  <a:lnTo>
                    <a:pt x="810" y="377"/>
                  </a:lnTo>
                  <a:lnTo>
                    <a:pt x="808" y="377"/>
                  </a:lnTo>
                  <a:lnTo>
                    <a:pt x="810" y="377"/>
                  </a:lnTo>
                  <a:lnTo>
                    <a:pt x="813" y="374"/>
                  </a:lnTo>
                  <a:lnTo>
                    <a:pt x="813" y="374"/>
                  </a:lnTo>
                  <a:lnTo>
                    <a:pt x="813" y="374"/>
                  </a:lnTo>
                  <a:lnTo>
                    <a:pt x="810" y="372"/>
                  </a:lnTo>
                  <a:lnTo>
                    <a:pt x="810" y="372"/>
                  </a:lnTo>
                  <a:lnTo>
                    <a:pt x="810" y="372"/>
                  </a:lnTo>
                  <a:lnTo>
                    <a:pt x="816" y="372"/>
                  </a:lnTo>
                  <a:lnTo>
                    <a:pt x="816" y="374"/>
                  </a:lnTo>
                  <a:lnTo>
                    <a:pt x="818" y="374"/>
                  </a:lnTo>
                  <a:lnTo>
                    <a:pt x="818" y="374"/>
                  </a:lnTo>
                  <a:lnTo>
                    <a:pt x="818" y="377"/>
                  </a:lnTo>
                  <a:lnTo>
                    <a:pt x="818" y="374"/>
                  </a:lnTo>
                  <a:lnTo>
                    <a:pt x="818" y="374"/>
                  </a:lnTo>
                  <a:lnTo>
                    <a:pt x="818" y="372"/>
                  </a:lnTo>
                  <a:lnTo>
                    <a:pt x="818" y="372"/>
                  </a:lnTo>
                  <a:lnTo>
                    <a:pt x="818" y="372"/>
                  </a:lnTo>
                  <a:lnTo>
                    <a:pt x="821" y="372"/>
                  </a:lnTo>
                  <a:lnTo>
                    <a:pt x="823" y="369"/>
                  </a:lnTo>
                  <a:lnTo>
                    <a:pt x="823" y="369"/>
                  </a:lnTo>
                  <a:lnTo>
                    <a:pt x="823" y="366"/>
                  </a:lnTo>
                  <a:lnTo>
                    <a:pt x="826" y="366"/>
                  </a:lnTo>
                  <a:lnTo>
                    <a:pt x="826" y="366"/>
                  </a:lnTo>
                  <a:lnTo>
                    <a:pt x="828" y="366"/>
                  </a:lnTo>
                  <a:lnTo>
                    <a:pt x="828" y="366"/>
                  </a:lnTo>
                  <a:lnTo>
                    <a:pt x="831" y="366"/>
                  </a:lnTo>
                  <a:lnTo>
                    <a:pt x="831" y="366"/>
                  </a:lnTo>
                  <a:lnTo>
                    <a:pt x="833" y="369"/>
                  </a:lnTo>
                  <a:lnTo>
                    <a:pt x="833" y="366"/>
                  </a:lnTo>
                  <a:lnTo>
                    <a:pt x="833" y="366"/>
                  </a:lnTo>
                  <a:lnTo>
                    <a:pt x="836" y="366"/>
                  </a:lnTo>
                  <a:lnTo>
                    <a:pt x="833" y="366"/>
                  </a:lnTo>
                  <a:lnTo>
                    <a:pt x="831" y="364"/>
                  </a:lnTo>
                  <a:lnTo>
                    <a:pt x="831" y="364"/>
                  </a:lnTo>
                  <a:lnTo>
                    <a:pt x="831" y="364"/>
                  </a:lnTo>
                  <a:lnTo>
                    <a:pt x="831" y="364"/>
                  </a:lnTo>
                  <a:lnTo>
                    <a:pt x="831" y="361"/>
                  </a:lnTo>
                  <a:lnTo>
                    <a:pt x="831" y="361"/>
                  </a:lnTo>
                  <a:lnTo>
                    <a:pt x="833" y="361"/>
                  </a:lnTo>
                  <a:lnTo>
                    <a:pt x="836" y="361"/>
                  </a:lnTo>
                  <a:lnTo>
                    <a:pt x="836" y="361"/>
                  </a:lnTo>
                  <a:lnTo>
                    <a:pt x="836" y="361"/>
                  </a:lnTo>
                  <a:lnTo>
                    <a:pt x="839" y="361"/>
                  </a:lnTo>
                  <a:lnTo>
                    <a:pt x="846" y="361"/>
                  </a:lnTo>
                  <a:lnTo>
                    <a:pt x="846" y="361"/>
                  </a:lnTo>
                  <a:lnTo>
                    <a:pt x="851" y="359"/>
                  </a:lnTo>
                  <a:lnTo>
                    <a:pt x="854" y="359"/>
                  </a:lnTo>
                  <a:lnTo>
                    <a:pt x="856" y="359"/>
                  </a:lnTo>
                  <a:lnTo>
                    <a:pt x="859" y="359"/>
                  </a:lnTo>
                  <a:lnTo>
                    <a:pt x="859" y="359"/>
                  </a:lnTo>
                  <a:lnTo>
                    <a:pt x="861" y="356"/>
                  </a:lnTo>
                  <a:lnTo>
                    <a:pt x="861" y="356"/>
                  </a:lnTo>
                  <a:lnTo>
                    <a:pt x="864" y="351"/>
                  </a:lnTo>
                  <a:lnTo>
                    <a:pt x="864" y="351"/>
                  </a:lnTo>
                  <a:lnTo>
                    <a:pt x="864" y="349"/>
                  </a:lnTo>
                  <a:lnTo>
                    <a:pt x="861" y="349"/>
                  </a:lnTo>
                  <a:lnTo>
                    <a:pt x="859" y="349"/>
                  </a:lnTo>
                  <a:lnTo>
                    <a:pt x="856" y="346"/>
                  </a:lnTo>
                  <a:lnTo>
                    <a:pt x="856" y="346"/>
                  </a:lnTo>
                  <a:lnTo>
                    <a:pt x="854" y="344"/>
                  </a:lnTo>
                  <a:lnTo>
                    <a:pt x="851" y="344"/>
                  </a:lnTo>
                  <a:lnTo>
                    <a:pt x="849" y="346"/>
                  </a:lnTo>
                  <a:lnTo>
                    <a:pt x="844" y="346"/>
                  </a:lnTo>
                  <a:lnTo>
                    <a:pt x="841" y="346"/>
                  </a:lnTo>
                  <a:lnTo>
                    <a:pt x="841" y="346"/>
                  </a:lnTo>
                  <a:lnTo>
                    <a:pt x="849" y="346"/>
                  </a:lnTo>
                  <a:lnTo>
                    <a:pt x="849" y="344"/>
                  </a:lnTo>
                  <a:lnTo>
                    <a:pt x="849" y="344"/>
                  </a:lnTo>
                  <a:lnTo>
                    <a:pt x="846" y="344"/>
                  </a:lnTo>
                  <a:lnTo>
                    <a:pt x="844" y="344"/>
                  </a:lnTo>
                  <a:lnTo>
                    <a:pt x="836" y="341"/>
                  </a:lnTo>
                  <a:lnTo>
                    <a:pt x="836" y="339"/>
                  </a:lnTo>
                  <a:lnTo>
                    <a:pt x="833" y="339"/>
                  </a:lnTo>
                  <a:lnTo>
                    <a:pt x="833" y="339"/>
                  </a:lnTo>
                  <a:lnTo>
                    <a:pt x="833" y="341"/>
                  </a:lnTo>
                  <a:lnTo>
                    <a:pt x="833" y="341"/>
                  </a:lnTo>
                  <a:lnTo>
                    <a:pt x="833" y="341"/>
                  </a:lnTo>
                  <a:lnTo>
                    <a:pt x="833" y="341"/>
                  </a:lnTo>
                  <a:lnTo>
                    <a:pt x="831" y="341"/>
                  </a:lnTo>
                  <a:lnTo>
                    <a:pt x="831" y="341"/>
                  </a:lnTo>
                  <a:lnTo>
                    <a:pt x="828" y="339"/>
                  </a:lnTo>
                  <a:lnTo>
                    <a:pt x="831" y="339"/>
                  </a:lnTo>
                  <a:lnTo>
                    <a:pt x="831" y="339"/>
                  </a:lnTo>
                  <a:lnTo>
                    <a:pt x="833" y="339"/>
                  </a:lnTo>
                  <a:lnTo>
                    <a:pt x="833" y="336"/>
                  </a:lnTo>
                  <a:lnTo>
                    <a:pt x="833" y="339"/>
                  </a:lnTo>
                  <a:lnTo>
                    <a:pt x="841" y="339"/>
                  </a:lnTo>
                  <a:lnTo>
                    <a:pt x="846" y="341"/>
                  </a:lnTo>
                  <a:lnTo>
                    <a:pt x="849" y="344"/>
                  </a:lnTo>
                  <a:lnTo>
                    <a:pt x="849" y="344"/>
                  </a:lnTo>
                  <a:lnTo>
                    <a:pt x="851" y="344"/>
                  </a:lnTo>
                  <a:lnTo>
                    <a:pt x="854" y="341"/>
                  </a:lnTo>
                  <a:lnTo>
                    <a:pt x="854" y="341"/>
                  </a:lnTo>
                  <a:lnTo>
                    <a:pt x="854" y="341"/>
                  </a:lnTo>
                  <a:lnTo>
                    <a:pt x="854" y="341"/>
                  </a:lnTo>
                  <a:lnTo>
                    <a:pt x="854" y="344"/>
                  </a:lnTo>
                  <a:lnTo>
                    <a:pt x="854" y="344"/>
                  </a:lnTo>
                  <a:lnTo>
                    <a:pt x="854" y="344"/>
                  </a:lnTo>
                  <a:lnTo>
                    <a:pt x="856" y="344"/>
                  </a:lnTo>
                  <a:lnTo>
                    <a:pt x="859" y="344"/>
                  </a:lnTo>
                  <a:lnTo>
                    <a:pt x="864" y="346"/>
                  </a:lnTo>
                  <a:lnTo>
                    <a:pt x="867" y="346"/>
                  </a:lnTo>
                  <a:lnTo>
                    <a:pt x="867" y="346"/>
                  </a:lnTo>
                  <a:lnTo>
                    <a:pt x="869" y="346"/>
                  </a:lnTo>
                  <a:lnTo>
                    <a:pt x="872" y="346"/>
                  </a:lnTo>
                  <a:lnTo>
                    <a:pt x="872" y="346"/>
                  </a:lnTo>
                  <a:lnTo>
                    <a:pt x="874" y="346"/>
                  </a:lnTo>
                  <a:lnTo>
                    <a:pt x="874" y="346"/>
                  </a:lnTo>
                  <a:lnTo>
                    <a:pt x="874" y="346"/>
                  </a:lnTo>
                  <a:lnTo>
                    <a:pt x="877" y="346"/>
                  </a:lnTo>
                  <a:lnTo>
                    <a:pt x="879" y="344"/>
                  </a:lnTo>
                  <a:lnTo>
                    <a:pt x="884" y="341"/>
                  </a:lnTo>
                  <a:lnTo>
                    <a:pt x="884" y="341"/>
                  </a:lnTo>
                  <a:lnTo>
                    <a:pt x="884" y="341"/>
                  </a:lnTo>
                  <a:lnTo>
                    <a:pt x="884" y="339"/>
                  </a:lnTo>
                  <a:lnTo>
                    <a:pt x="884" y="339"/>
                  </a:lnTo>
                  <a:lnTo>
                    <a:pt x="887" y="339"/>
                  </a:lnTo>
                  <a:lnTo>
                    <a:pt x="889" y="339"/>
                  </a:lnTo>
                  <a:lnTo>
                    <a:pt x="889" y="339"/>
                  </a:lnTo>
                  <a:lnTo>
                    <a:pt x="889" y="336"/>
                  </a:lnTo>
                  <a:lnTo>
                    <a:pt x="889" y="336"/>
                  </a:lnTo>
                  <a:lnTo>
                    <a:pt x="887" y="336"/>
                  </a:lnTo>
                  <a:lnTo>
                    <a:pt x="889" y="336"/>
                  </a:lnTo>
                  <a:lnTo>
                    <a:pt x="892" y="333"/>
                  </a:lnTo>
                  <a:lnTo>
                    <a:pt x="892" y="336"/>
                  </a:lnTo>
                  <a:lnTo>
                    <a:pt x="892" y="336"/>
                  </a:lnTo>
                  <a:lnTo>
                    <a:pt x="892" y="336"/>
                  </a:lnTo>
                  <a:lnTo>
                    <a:pt x="895" y="339"/>
                  </a:lnTo>
                  <a:lnTo>
                    <a:pt x="895" y="339"/>
                  </a:lnTo>
                  <a:lnTo>
                    <a:pt x="895" y="339"/>
                  </a:lnTo>
                  <a:lnTo>
                    <a:pt x="895" y="339"/>
                  </a:lnTo>
                  <a:lnTo>
                    <a:pt x="897" y="339"/>
                  </a:lnTo>
                  <a:lnTo>
                    <a:pt x="900" y="339"/>
                  </a:lnTo>
                  <a:lnTo>
                    <a:pt x="900" y="339"/>
                  </a:lnTo>
                  <a:lnTo>
                    <a:pt x="900" y="339"/>
                  </a:lnTo>
                  <a:lnTo>
                    <a:pt x="902" y="336"/>
                  </a:lnTo>
                  <a:lnTo>
                    <a:pt x="902" y="336"/>
                  </a:lnTo>
                  <a:lnTo>
                    <a:pt x="902" y="339"/>
                  </a:lnTo>
                  <a:lnTo>
                    <a:pt x="902" y="339"/>
                  </a:lnTo>
                  <a:lnTo>
                    <a:pt x="905" y="339"/>
                  </a:lnTo>
                  <a:lnTo>
                    <a:pt x="907" y="339"/>
                  </a:lnTo>
                  <a:lnTo>
                    <a:pt x="912" y="336"/>
                  </a:lnTo>
                  <a:lnTo>
                    <a:pt x="920" y="333"/>
                  </a:lnTo>
                  <a:lnTo>
                    <a:pt x="923" y="333"/>
                  </a:lnTo>
                  <a:lnTo>
                    <a:pt x="923" y="331"/>
                  </a:lnTo>
                  <a:lnTo>
                    <a:pt x="925" y="331"/>
                  </a:lnTo>
                  <a:lnTo>
                    <a:pt x="943" y="321"/>
                  </a:lnTo>
                  <a:lnTo>
                    <a:pt x="946" y="321"/>
                  </a:lnTo>
                  <a:lnTo>
                    <a:pt x="951" y="316"/>
                  </a:lnTo>
                  <a:lnTo>
                    <a:pt x="951" y="316"/>
                  </a:lnTo>
                  <a:lnTo>
                    <a:pt x="951" y="313"/>
                  </a:lnTo>
                  <a:lnTo>
                    <a:pt x="951" y="313"/>
                  </a:lnTo>
                  <a:lnTo>
                    <a:pt x="948" y="313"/>
                  </a:lnTo>
                  <a:lnTo>
                    <a:pt x="940" y="313"/>
                  </a:lnTo>
                  <a:lnTo>
                    <a:pt x="935" y="313"/>
                  </a:lnTo>
                  <a:lnTo>
                    <a:pt x="925" y="311"/>
                  </a:lnTo>
                  <a:lnTo>
                    <a:pt x="923" y="311"/>
                  </a:lnTo>
                  <a:lnTo>
                    <a:pt x="923" y="308"/>
                  </a:lnTo>
                  <a:lnTo>
                    <a:pt x="920" y="305"/>
                  </a:lnTo>
                  <a:lnTo>
                    <a:pt x="918" y="303"/>
                  </a:lnTo>
                  <a:lnTo>
                    <a:pt x="918" y="303"/>
                  </a:lnTo>
                  <a:lnTo>
                    <a:pt x="915" y="303"/>
                  </a:lnTo>
                  <a:lnTo>
                    <a:pt x="915" y="303"/>
                  </a:lnTo>
                  <a:lnTo>
                    <a:pt x="910" y="300"/>
                  </a:lnTo>
                  <a:lnTo>
                    <a:pt x="902" y="300"/>
                  </a:lnTo>
                  <a:lnTo>
                    <a:pt x="902" y="300"/>
                  </a:lnTo>
                  <a:lnTo>
                    <a:pt x="902" y="300"/>
                  </a:lnTo>
                  <a:lnTo>
                    <a:pt x="902" y="300"/>
                  </a:lnTo>
                  <a:lnTo>
                    <a:pt x="897" y="300"/>
                  </a:lnTo>
                  <a:lnTo>
                    <a:pt x="897" y="300"/>
                  </a:lnTo>
                  <a:lnTo>
                    <a:pt x="897" y="298"/>
                  </a:lnTo>
                  <a:lnTo>
                    <a:pt x="900" y="298"/>
                  </a:lnTo>
                  <a:lnTo>
                    <a:pt x="905" y="298"/>
                  </a:lnTo>
                  <a:lnTo>
                    <a:pt x="907" y="300"/>
                  </a:lnTo>
                  <a:lnTo>
                    <a:pt x="907" y="300"/>
                  </a:lnTo>
                  <a:lnTo>
                    <a:pt x="910" y="300"/>
                  </a:lnTo>
                  <a:lnTo>
                    <a:pt x="912" y="300"/>
                  </a:lnTo>
                  <a:lnTo>
                    <a:pt x="915" y="300"/>
                  </a:lnTo>
                  <a:lnTo>
                    <a:pt x="918" y="300"/>
                  </a:lnTo>
                  <a:lnTo>
                    <a:pt x="920" y="300"/>
                  </a:lnTo>
                  <a:lnTo>
                    <a:pt x="920" y="300"/>
                  </a:lnTo>
                  <a:lnTo>
                    <a:pt x="920" y="300"/>
                  </a:lnTo>
                  <a:lnTo>
                    <a:pt x="920" y="300"/>
                  </a:lnTo>
                  <a:lnTo>
                    <a:pt x="923" y="300"/>
                  </a:lnTo>
                  <a:lnTo>
                    <a:pt x="925" y="300"/>
                  </a:lnTo>
                  <a:lnTo>
                    <a:pt x="925" y="300"/>
                  </a:lnTo>
                  <a:lnTo>
                    <a:pt x="930" y="303"/>
                  </a:lnTo>
                  <a:lnTo>
                    <a:pt x="930" y="303"/>
                  </a:lnTo>
                  <a:lnTo>
                    <a:pt x="933" y="305"/>
                  </a:lnTo>
                  <a:lnTo>
                    <a:pt x="933" y="305"/>
                  </a:lnTo>
                  <a:lnTo>
                    <a:pt x="933" y="305"/>
                  </a:lnTo>
                  <a:lnTo>
                    <a:pt x="935" y="305"/>
                  </a:lnTo>
                  <a:lnTo>
                    <a:pt x="935" y="308"/>
                  </a:lnTo>
                  <a:lnTo>
                    <a:pt x="938" y="311"/>
                  </a:lnTo>
                  <a:lnTo>
                    <a:pt x="940" y="311"/>
                  </a:lnTo>
                  <a:lnTo>
                    <a:pt x="943" y="311"/>
                  </a:lnTo>
                  <a:lnTo>
                    <a:pt x="948" y="311"/>
                  </a:lnTo>
                  <a:lnTo>
                    <a:pt x="951" y="311"/>
                  </a:lnTo>
                  <a:lnTo>
                    <a:pt x="953" y="311"/>
                  </a:lnTo>
                  <a:lnTo>
                    <a:pt x="956" y="311"/>
                  </a:lnTo>
                  <a:lnTo>
                    <a:pt x="958" y="308"/>
                  </a:lnTo>
                  <a:lnTo>
                    <a:pt x="963" y="305"/>
                  </a:lnTo>
                  <a:lnTo>
                    <a:pt x="979" y="298"/>
                  </a:lnTo>
                  <a:lnTo>
                    <a:pt x="981" y="298"/>
                  </a:lnTo>
                  <a:lnTo>
                    <a:pt x="981" y="295"/>
                  </a:lnTo>
                  <a:lnTo>
                    <a:pt x="984" y="295"/>
                  </a:lnTo>
                  <a:lnTo>
                    <a:pt x="984" y="295"/>
                  </a:lnTo>
                  <a:lnTo>
                    <a:pt x="981" y="293"/>
                  </a:lnTo>
                  <a:lnTo>
                    <a:pt x="979" y="293"/>
                  </a:lnTo>
                  <a:lnTo>
                    <a:pt x="976" y="293"/>
                  </a:lnTo>
                  <a:lnTo>
                    <a:pt x="976" y="290"/>
                  </a:lnTo>
                  <a:lnTo>
                    <a:pt x="976" y="290"/>
                  </a:lnTo>
                  <a:lnTo>
                    <a:pt x="976" y="290"/>
                  </a:lnTo>
                  <a:lnTo>
                    <a:pt x="976" y="290"/>
                  </a:lnTo>
                  <a:lnTo>
                    <a:pt x="976" y="290"/>
                  </a:lnTo>
                  <a:lnTo>
                    <a:pt x="976" y="288"/>
                  </a:lnTo>
                  <a:lnTo>
                    <a:pt x="979" y="288"/>
                  </a:lnTo>
                  <a:lnTo>
                    <a:pt x="979" y="288"/>
                  </a:lnTo>
                  <a:lnTo>
                    <a:pt x="986" y="288"/>
                  </a:lnTo>
                  <a:lnTo>
                    <a:pt x="991" y="288"/>
                  </a:lnTo>
                  <a:lnTo>
                    <a:pt x="994" y="288"/>
                  </a:lnTo>
                  <a:lnTo>
                    <a:pt x="997" y="288"/>
                  </a:lnTo>
                  <a:lnTo>
                    <a:pt x="997" y="290"/>
                  </a:lnTo>
                  <a:lnTo>
                    <a:pt x="999" y="290"/>
                  </a:lnTo>
                  <a:lnTo>
                    <a:pt x="999" y="293"/>
                  </a:lnTo>
                  <a:lnTo>
                    <a:pt x="1002" y="293"/>
                  </a:lnTo>
                  <a:lnTo>
                    <a:pt x="1004" y="295"/>
                  </a:lnTo>
                  <a:lnTo>
                    <a:pt x="1007" y="295"/>
                  </a:lnTo>
                  <a:lnTo>
                    <a:pt x="1007" y="295"/>
                  </a:lnTo>
                  <a:lnTo>
                    <a:pt x="1009" y="293"/>
                  </a:lnTo>
                  <a:lnTo>
                    <a:pt x="1009" y="293"/>
                  </a:lnTo>
                  <a:lnTo>
                    <a:pt x="1009" y="293"/>
                  </a:lnTo>
                  <a:lnTo>
                    <a:pt x="1014" y="293"/>
                  </a:lnTo>
                  <a:lnTo>
                    <a:pt x="1014" y="295"/>
                  </a:lnTo>
                  <a:lnTo>
                    <a:pt x="1014" y="295"/>
                  </a:lnTo>
                  <a:lnTo>
                    <a:pt x="1017" y="293"/>
                  </a:lnTo>
                  <a:lnTo>
                    <a:pt x="1017" y="293"/>
                  </a:lnTo>
                  <a:lnTo>
                    <a:pt x="1017" y="290"/>
                  </a:lnTo>
                  <a:lnTo>
                    <a:pt x="1017" y="288"/>
                  </a:lnTo>
                  <a:lnTo>
                    <a:pt x="1017" y="288"/>
                  </a:lnTo>
                  <a:lnTo>
                    <a:pt x="1017" y="285"/>
                  </a:lnTo>
                  <a:lnTo>
                    <a:pt x="1017" y="285"/>
                  </a:lnTo>
                  <a:lnTo>
                    <a:pt x="1017" y="285"/>
                  </a:lnTo>
                  <a:lnTo>
                    <a:pt x="1014" y="283"/>
                  </a:lnTo>
                  <a:lnTo>
                    <a:pt x="1014" y="280"/>
                  </a:lnTo>
                  <a:lnTo>
                    <a:pt x="1014" y="280"/>
                  </a:lnTo>
                  <a:lnTo>
                    <a:pt x="1014" y="280"/>
                  </a:lnTo>
                  <a:lnTo>
                    <a:pt x="1012" y="280"/>
                  </a:lnTo>
                  <a:lnTo>
                    <a:pt x="1012" y="280"/>
                  </a:lnTo>
                  <a:lnTo>
                    <a:pt x="1009" y="280"/>
                  </a:lnTo>
                  <a:lnTo>
                    <a:pt x="1009" y="280"/>
                  </a:lnTo>
                  <a:lnTo>
                    <a:pt x="1007" y="280"/>
                  </a:lnTo>
                  <a:lnTo>
                    <a:pt x="1007" y="280"/>
                  </a:lnTo>
                  <a:lnTo>
                    <a:pt x="1009" y="280"/>
                  </a:lnTo>
                  <a:lnTo>
                    <a:pt x="1014" y="277"/>
                  </a:lnTo>
                  <a:lnTo>
                    <a:pt x="1014" y="277"/>
                  </a:lnTo>
                  <a:lnTo>
                    <a:pt x="1017" y="280"/>
                  </a:lnTo>
                  <a:lnTo>
                    <a:pt x="1017" y="280"/>
                  </a:lnTo>
                  <a:lnTo>
                    <a:pt x="1017" y="280"/>
                  </a:lnTo>
                  <a:lnTo>
                    <a:pt x="1019" y="280"/>
                  </a:lnTo>
                  <a:lnTo>
                    <a:pt x="1019" y="283"/>
                  </a:lnTo>
                  <a:lnTo>
                    <a:pt x="1017" y="283"/>
                  </a:lnTo>
                  <a:lnTo>
                    <a:pt x="1017" y="283"/>
                  </a:lnTo>
                  <a:lnTo>
                    <a:pt x="1017" y="283"/>
                  </a:lnTo>
                  <a:lnTo>
                    <a:pt x="1019" y="283"/>
                  </a:lnTo>
                  <a:lnTo>
                    <a:pt x="1019" y="283"/>
                  </a:lnTo>
                  <a:lnTo>
                    <a:pt x="1022" y="283"/>
                  </a:lnTo>
                  <a:lnTo>
                    <a:pt x="1022" y="285"/>
                  </a:lnTo>
                  <a:lnTo>
                    <a:pt x="1022" y="285"/>
                  </a:lnTo>
                  <a:lnTo>
                    <a:pt x="1022" y="288"/>
                  </a:lnTo>
                  <a:lnTo>
                    <a:pt x="1022" y="288"/>
                  </a:lnTo>
                  <a:lnTo>
                    <a:pt x="1022" y="290"/>
                  </a:lnTo>
                  <a:lnTo>
                    <a:pt x="1022" y="290"/>
                  </a:lnTo>
                  <a:lnTo>
                    <a:pt x="1022" y="290"/>
                  </a:lnTo>
                  <a:lnTo>
                    <a:pt x="1025" y="290"/>
                  </a:lnTo>
                  <a:lnTo>
                    <a:pt x="1027" y="290"/>
                  </a:lnTo>
                  <a:lnTo>
                    <a:pt x="1030" y="290"/>
                  </a:lnTo>
                  <a:lnTo>
                    <a:pt x="1035" y="288"/>
                  </a:lnTo>
                  <a:lnTo>
                    <a:pt x="1040" y="288"/>
                  </a:lnTo>
                  <a:lnTo>
                    <a:pt x="1042" y="285"/>
                  </a:lnTo>
                  <a:lnTo>
                    <a:pt x="1045" y="285"/>
                  </a:lnTo>
                  <a:lnTo>
                    <a:pt x="1048" y="283"/>
                  </a:lnTo>
                  <a:lnTo>
                    <a:pt x="1050" y="283"/>
                  </a:lnTo>
                  <a:lnTo>
                    <a:pt x="1050" y="283"/>
                  </a:lnTo>
                  <a:lnTo>
                    <a:pt x="1055" y="280"/>
                  </a:lnTo>
                  <a:lnTo>
                    <a:pt x="1055" y="280"/>
                  </a:lnTo>
                  <a:lnTo>
                    <a:pt x="1058" y="280"/>
                  </a:lnTo>
                  <a:lnTo>
                    <a:pt x="1060" y="280"/>
                  </a:lnTo>
                  <a:lnTo>
                    <a:pt x="1060" y="277"/>
                  </a:lnTo>
                  <a:lnTo>
                    <a:pt x="1065" y="277"/>
                  </a:lnTo>
                  <a:lnTo>
                    <a:pt x="1065" y="277"/>
                  </a:lnTo>
                  <a:lnTo>
                    <a:pt x="1068" y="275"/>
                  </a:lnTo>
                  <a:lnTo>
                    <a:pt x="1070" y="272"/>
                  </a:lnTo>
                  <a:lnTo>
                    <a:pt x="1073" y="270"/>
                  </a:lnTo>
                  <a:lnTo>
                    <a:pt x="1073" y="270"/>
                  </a:lnTo>
                  <a:lnTo>
                    <a:pt x="1073" y="267"/>
                  </a:lnTo>
                  <a:lnTo>
                    <a:pt x="1073" y="267"/>
                  </a:lnTo>
                  <a:lnTo>
                    <a:pt x="1070" y="265"/>
                  </a:lnTo>
                  <a:lnTo>
                    <a:pt x="1070" y="262"/>
                  </a:lnTo>
                  <a:lnTo>
                    <a:pt x="1070" y="262"/>
                  </a:lnTo>
                  <a:lnTo>
                    <a:pt x="1068" y="260"/>
                  </a:lnTo>
                  <a:lnTo>
                    <a:pt x="1070" y="260"/>
                  </a:lnTo>
                  <a:lnTo>
                    <a:pt x="1070" y="260"/>
                  </a:lnTo>
                  <a:lnTo>
                    <a:pt x="1070" y="257"/>
                  </a:lnTo>
                  <a:lnTo>
                    <a:pt x="1073" y="255"/>
                  </a:lnTo>
                  <a:lnTo>
                    <a:pt x="1073" y="255"/>
                  </a:lnTo>
                  <a:lnTo>
                    <a:pt x="1073" y="255"/>
                  </a:lnTo>
                  <a:lnTo>
                    <a:pt x="1073" y="255"/>
                  </a:lnTo>
                  <a:lnTo>
                    <a:pt x="1070" y="257"/>
                  </a:lnTo>
                  <a:lnTo>
                    <a:pt x="1070" y="257"/>
                  </a:lnTo>
                  <a:lnTo>
                    <a:pt x="1070" y="257"/>
                  </a:lnTo>
                  <a:lnTo>
                    <a:pt x="1070" y="255"/>
                  </a:lnTo>
                  <a:lnTo>
                    <a:pt x="1070" y="255"/>
                  </a:lnTo>
                  <a:lnTo>
                    <a:pt x="1070" y="252"/>
                  </a:lnTo>
                  <a:lnTo>
                    <a:pt x="1070" y="252"/>
                  </a:lnTo>
                  <a:lnTo>
                    <a:pt x="1070" y="252"/>
                  </a:lnTo>
                  <a:lnTo>
                    <a:pt x="1070" y="252"/>
                  </a:lnTo>
                  <a:lnTo>
                    <a:pt x="1070" y="249"/>
                  </a:lnTo>
                  <a:lnTo>
                    <a:pt x="1070" y="249"/>
                  </a:lnTo>
                  <a:lnTo>
                    <a:pt x="1070" y="249"/>
                  </a:lnTo>
                  <a:lnTo>
                    <a:pt x="1073" y="249"/>
                  </a:lnTo>
                  <a:lnTo>
                    <a:pt x="1076" y="249"/>
                  </a:lnTo>
                  <a:lnTo>
                    <a:pt x="1078" y="249"/>
                  </a:lnTo>
                  <a:lnTo>
                    <a:pt x="1078" y="249"/>
                  </a:lnTo>
                  <a:lnTo>
                    <a:pt x="1078" y="249"/>
                  </a:lnTo>
                  <a:lnTo>
                    <a:pt x="1081" y="249"/>
                  </a:lnTo>
                  <a:lnTo>
                    <a:pt x="1083" y="249"/>
                  </a:lnTo>
                  <a:lnTo>
                    <a:pt x="1086" y="249"/>
                  </a:lnTo>
                  <a:lnTo>
                    <a:pt x="1091" y="247"/>
                  </a:lnTo>
                  <a:lnTo>
                    <a:pt x="1093" y="247"/>
                  </a:lnTo>
                  <a:lnTo>
                    <a:pt x="1093" y="244"/>
                  </a:lnTo>
                  <a:lnTo>
                    <a:pt x="1093" y="244"/>
                  </a:lnTo>
                  <a:lnTo>
                    <a:pt x="1093" y="242"/>
                  </a:lnTo>
                  <a:lnTo>
                    <a:pt x="1093" y="242"/>
                  </a:lnTo>
                  <a:lnTo>
                    <a:pt x="1091" y="242"/>
                  </a:lnTo>
                  <a:lnTo>
                    <a:pt x="1088" y="242"/>
                  </a:lnTo>
                  <a:lnTo>
                    <a:pt x="1086" y="242"/>
                  </a:lnTo>
                  <a:lnTo>
                    <a:pt x="1086" y="242"/>
                  </a:lnTo>
                  <a:lnTo>
                    <a:pt x="1088" y="242"/>
                  </a:lnTo>
                  <a:lnTo>
                    <a:pt x="1093" y="239"/>
                  </a:lnTo>
                  <a:lnTo>
                    <a:pt x="1098" y="237"/>
                  </a:lnTo>
                  <a:lnTo>
                    <a:pt x="1098" y="237"/>
                  </a:lnTo>
                  <a:lnTo>
                    <a:pt x="1098" y="237"/>
                  </a:lnTo>
                  <a:lnTo>
                    <a:pt x="1098" y="237"/>
                  </a:lnTo>
                  <a:lnTo>
                    <a:pt x="1093" y="234"/>
                  </a:lnTo>
                  <a:lnTo>
                    <a:pt x="1091" y="234"/>
                  </a:lnTo>
                  <a:lnTo>
                    <a:pt x="1088" y="234"/>
                  </a:lnTo>
                  <a:lnTo>
                    <a:pt x="1088" y="234"/>
                  </a:lnTo>
                  <a:lnTo>
                    <a:pt x="1088" y="234"/>
                  </a:lnTo>
                  <a:lnTo>
                    <a:pt x="1088" y="234"/>
                  </a:lnTo>
                  <a:lnTo>
                    <a:pt x="1088" y="234"/>
                  </a:lnTo>
                  <a:lnTo>
                    <a:pt x="1088" y="232"/>
                  </a:lnTo>
                  <a:lnTo>
                    <a:pt x="1083" y="232"/>
                  </a:lnTo>
                  <a:lnTo>
                    <a:pt x="1083" y="229"/>
                  </a:lnTo>
                  <a:lnTo>
                    <a:pt x="1086" y="229"/>
                  </a:lnTo>
                  <a:lnTo>
                    <a:pt x="1088" y="229"/>
                  </a:lnTo>
                  <a:lnTo>
                    <a:pt x="1091" y="229"/>
                  </a:lnTo>
                  <a:lnTo>
                    <a:pt x="1091" y="227"/>
                  </a:lnTo>
                  <a:lnTo>
                    <a:pt x="1088" y="227"/>
                  </a:lnTo>
                  <a:lnTo>
                    <a:pt x="1086" y="227"/>
                  </a:lnTo>
                  <a:lnTo>
                    <a:pt x="1083" y="227"/>
                  </a:lnTo>
                  <a:lnTo>
                    <a:pt x="1076" y="227"/>
                  </a:lnTo>
                  <a:lnTo>
                    <a:pt x="1073" y="227"/>
                  </a:lnTo>
                  <a:lnTo>
                    <a:pt x="1070" y="227"/>
                  </a:lnTo>
                  <a:lnTo>
                    <a:pt x="1068" y="224"/>
                  </a:lnTo>
                  <a:lnTo>
                    <a:pt x="1065" y="224"/>
                  </a:lnTo>
                  <a:lnTo>
                    <a:pt x="1063" y="224"/>
                  </a:lnTo>
                  <a:lnTo>
                    <a:pt x="1058" y="224"/>
                  </a:lnTo>
                  <a:lnTo>
                    <a:pt x="1055" y="224"/>
                  </a:lnTo>
                  <a:lnTo>
                    <a:pt x="1053" y="224"/>
                  </a:lnTo>
                  <a:lnTo>
                    <a:pt x="1053" y="224"/>
                  </a:lnTo>
                  <a:lnTo>
                    <a:pt x="1050" y="224"/>
                  </a:lnTo>
                  <a:lnTo>
                    <a:pt x="1050" y="224"/>
                  </a:lnTo>
                  <a:lnTo>
                    <a:pt x="1048" y="224"/>
                  </a:lnTo>
                  <a:lnTo>
                    <a:pt x="1050" y="224"/>
                  </a:lnTo>
                  <a:lnTo>
                    <a:pt x="1050" y="224"/>
                  </a:lnTo>
                  <a:lnTo>
                    <a:pt x="1048" y="227"/>
                  </a:lnTo>
                  <a:lnTo>
                    <a:pt x="1045" y="227"/>
                  </a:lnTo>
                  <a:lnTo>
                    <a:pt x="1045" y="229"/>
                  </a:lnTo>
                  <a:lnTo>
                    <a:pt x="1045" y="229"/>
                  </a:lnTo>
                  <a:lnTo>
                    <a:pt x="1045" y="229"/>
                  </a:lnTo>
                  <a:lnTo>
                    <a:pt x="1045" y="229"/>
                  </a:lnTo>
                  <a:lnTo>
                    <a:pt x="1045" y="232"/>
                  </a:lnTo>
                  <a:lnTo>
                    <a:pt x="1045" y="232"/>
                  </a:lnTo>
                  <a:lnTo>
                    <a:pt x="1045" y="232"/>
                  </a:lnTo>
                  <a:lnTo>
                    <a:pt x="1042" y="232"/>
                  </a:lnTo>
                  <a:lnTo>
                    <a:pt x="1042" y="234"/>
                  </a:lnTo>
                  <a:lnTo>
                    <a:pt x="1042" y="234"/>
                  </a:lnTo>
                  <a:lnTo>
                    <a:pt x="1040" y="234"/>
                  </a:lnTo>
                  <a:lnTo>
                    <a:pt x="1042" y="237"/>
                  </a:lnTo>
                  <a:lnTo>
                    <a:pt x="1042" y="237"/>
                  </a:lnTo>
                  <a:lnTo>
                    <a:pt x="1045" y="237"/>
                  </a:lnTo>
                  <a:lnTo>
                    <a:pt x="1045" y="237"/>
                  </a:lnTo>
                  <a:lnTo>
                    <a:pt x="1045" y="239"/>
                  </a:lnTo>
                  <a:lnTo>
                    <a:pt x="1045" y="239"/>
                  </a:lnTo>
                  <a:lnTo>
                    <a:pt x="1045" y="239"/>
                  </a:lnTo>
                  <a:lnTo>
                    <a:pt x="1042" y="239"/>
                  </a:lnTo>
                  <a:lnTo>
                    <a:pt x="1042" y="242"/>
                  </a:lnTo>
                  <a:lnTo>
                    <a:pt x="1040" y="242"/>
                  </a:lnTo>
                  <a:lnTo>
                    <a:pt x="1040" y="242"/>
                  </a:lnTo>
                  <a:lnTo>
                    <a:pt x="1037" y="242"/>
                  </a:lnTo>
                  <a:lnTo>
                    <a:pt x="1042" y="244"/>
                  </a:lnTo>
                  <a:lnTo>
                    <a:pt x="1040" y="244"/>
                  </a:lnTo>
                  <a:lnTo>
                    <a:pt x="1035" y="244"/>
                  </a:lnTo>
                  <a:lnTo>
                    <a:pt x="1035" y="244"/>
                  </a:lnTo>
                  <a:lnTo>
                    <a:pt x="1032" y="244"/>
                  </a:lnTo>
                  <a:lnTo>
                    <a:pt x="1032" y="244"/>
                  </a:lnTo>
                  <a:lnTo>
                    <a:pt x="1032" y="244"/>
                  </a:lnTo>
                  <a:lnTo>
                    <a:pt x="1030" y="244"/>
                  </a:lnTo>
                  <a:lnTo>
                    <a:pt x="1027" y="244"/>
                  </a:lnTo>
                  <a:lnTo>
                    <a:pt x="1027" y="247"/>
                  </a:lnTo>
                  <a:lnTo>
                    <a:pt x="1027" y="247"/>
                  </a:lnTo>
                  <a:lnTo>
                    <a:pt x="1025" y="247"/>
                  </a:lnTo>
                  <a:lnTo>
                    <a:pt x="1025" y="249"/>
                  </a:lnTo>
                  <a:lnTo>
                    <a:pt x="1022" y="249"/>
                  </a:lnTo>
                  <a:lnTo>
                    <a:pt x="1019" y="252"/>
                  </a:lnTo>
                  <a:lnTo>
                    <a:pt x="1014" y="257"/>
                  </a:lnTo>
                  <a:lnTo>
                    <a:pt x="1012" y="257"/>
                  </a:lnTo>
                  <a:lnTo>
                    <a:pt x="1004" y="262"/>
                  </a:lnTo>
                  <a:lnTo>
                    <a:pt x="1002" y="262"/>
                  </a:lnTo>
                  <a:lnTo>
                    <a:pt x="999" y="265"/>
                  </a:lnTo>
                  <a:lnTo>
                    <a:pt x="999" y="265"/>
                  </a:lnTo>
                  <a:lnTo>
                    <a:pt x="997" y="267"/>
                  </a:lnTo>
                  <a:lnTo>
                    <a:pt x="994" y="270"/>
                  </a:lnTo>
                  <a:lnTo>
                    <a:pt x="994" y="270"/>
                  </a:lnTo>
                  <a:lnTo>
                    <a:pt x="991" y="270"/>
                  </a:lnTo>
                  <a:lnTo>
                    <a:pt x="991" y="270"/>
                  </a:lnTo>
                  <a:lnTo>
                    <a:pt x="989" y="270"/>
                  </a:lnTo>
                  <a:lnTo>
                    <a:pt x="989" y="272"/>
                  </a:lnTo>
                  <a:lnTo>
                    <a:pt x="984" y="272"/>
                  </a:lnTo>
                  <a:lnTo>
                    <a:pt x="979" y="275"/>
                  </a:lnTo>
                  <a:lnTo>
                    <a:pt x="979" y="275"/>
                  </a:lnTo>
                  <a:lnTo>
                    <a:pt x="979" y="275"/>
                  </a:lnTo>
                  <a:lnTo>
                    <a:pt x="979" y="275"/>
                  </a:lnTo>
                  <a:lnTo>
                    <a:pt x="979" y="275"/>
                  </a:lnTo>
                  <a:lnTo>
                    <a:pt x="979" y="272"/>
                  </a:lnTo>
                  <a:lnTo>
                    <a:pt x="979" y="272"/>
                  </a:lnTo>
                  <a:lnTo>
                    <a:pt x="976" y="267"/>
                  </a:lnTo>
                  <a:lnTo>
                    <a:pt x="976" y="265"/>
                  </a:lnTo>
                  <a:lnTo>
                    <a:pt x="976" y="260"/>
                  </a:lnTo>
                  <a:lnTo>
                    <a:pt x="976" y="260"/>
                  </a:lnTo>
                  <a:lnTo>
                    <a:pt x="981" y="257"/>
                  </a:lnTo>
                  <a:lnTo>
                    <a:pt x="981" y="255"/>
                  </a:lnTo>
                  <a:lnTo>
                    <a:pt x="981" y="255"/>
                  </a:lnTo>
                  <a:lnTo>
                    <a:pt x="984" y="252"/>
                  </a:lnTo>
                  <a:lnTo>
                    <a:pt x="984" y="252"/>
                  </a:lnTo>
                  <a:lnTo>
                    <a:pt x="984" y="255"/>
                  </a:lnTo>
                  <a:lnTo>
                    <a:pt x="984" y="255"/>
                  </a:lnTo>
                  <a:lnTo>
                    <a:pt x="986" y="255"/>
                  </a:lnTo>
                  <a:lnTo>
                    <a:pt x="989" y="255"/>
                  </a:lnTo>
                  <a:lnTo>
                    <a:pt x="989" y="255"/>
                  </a:lnTo>
                  <a:lnTo>
                    <a:pt x="989" y="252"/>
                  </a:lnTo>
                  <a:lnTo>
                    <a:pt x="991" y="252"/>
                  </a:lnTo>
                  <a:lnTo>
                    <a:pt x="991" y="252"/>
                  </a:lnTo>
                  <a:lnTo>
                    <a:pt x="991" y="249"/>
                  </a:lnTo>
                  <a:lnTo>
                    <a:pt x="991" y="249"/>
                  </a:lnTo>
                  <a:lnTo>
                    <a:pt x="994" y="247"/>
                  </a:lnTo>
                  <a:lnTo>
                    <a:pt x="994" y="244"/>
                  </a:lnTo>
                  <a:lnTo>
                    <a:pt x="994" y="244"/>
                  </a:lnTo>
                  <a:lnTo>
                    <a:pt x="994" y="242"/>
                  </a:lnTo>
                  <a:lnTo>
                    <a:pt x="994" y="242"/>
                  </a:lnTo>
                  <a:lnTo>
                    <a:pt x="991" y="239"/>
                  </a:lnTo>
                  <a:lnTo>
                    <a:pt x="989" y="237"/>
                  </a:lnTo>
                  <a:lnTo>
                    <a:pt x="989" y="237"/>
                  </a:lnTo>
                  <a:lnTo>
                    <a:pt x="989" y="234"/>
                  </a:lnTo>
                  <a:lnTo>
                    <a:pt x="986" y="234"/>
                  </a:lnTo>
                  <a:lnTo>
                    <a:pt x="984" y="234"/>
                  </a:lnTo>
                  <a:lnTo>
                    <a:pt x="984" y="234"/>
                  </a:lnTo>
                  <a:lnTo>
                    <a:pt x="979" y="239"/>
                  </a:lnTo>
                  <a:lnTo>
                    <a:pt x="974" y="239"/>
                  </a:lnTo>
                  <a:lnTo>
                    <a:pt x="974" y="242"/>
                  </a:lnTo>
                  <a:lnTo>
                    <a:pt x="971" y="244"/>
                  </a:lnTo>
                  <a:lnTo>
                    <a:pt x="968" y="244"/>
                  </a:lnTo>
                  <a:lnTo>
                    <a:pt x="966" y="247"/>
                  </a:lnTo>
                  <a:lnTo>
                    <a:pt x="963" y="247"/>
                  </a:lnTo>
                  <a:lnTo>
                    <a:pt x="963" y="249"/>
                  </a:lnTo>
                  <a:lnTo>
                    <a:pt x="963" y="249"/>
                  </a:lnTo>
                  <a:lnTo>
                    <a:pt x="958" y="252"/>
                  </a:lnTo>
                  <a:lnTo>
                    <a:pt x="956" y="252"/>
                  </a:lnTo>
                  <a:lnTo>
                    <a:pt x="956" y="252"/>
                  </a:lnTo>
                  <a:lnTo>
                    <a:pt x="956" y="255"/>
                  </a:lnTo>
                  <a:lnTo>
                    <a:pt x="953" y="255"/>
                  </a:lnTo>
                  <a:lnTo>
                    <a:pt x="953" y="255"/>
                  </a:lnTo>
                  <a:lnTo>
                    <a:pt x="953" y="255"/>
                  </a:lnTo>
                  <a:lnTo>
                    <a:pt x="953" y="252"/>
                  </a:lnTo>
                  <a:lnTo>
                    <a:pt x="953" y="252"/>
                  </a:lnTo>
                  <a:lnTo>
                    <a:pt x="953" y="252"/>
                  </a:lnTo>
                  <a:lnTo>
                    <a:pt x="953" y="249"/>
                  </a:lnTo>
                  <a:lnTo>
                    <a:pt x="953" y="249"/>
                  </a:lnTo>
                  <a:lnTo>
                    <a:pt x="956" y="247"/>
                  </a:lnTo>
                  <a:lnTo>
                    <a:pt x="956" y="247"/>
                  </a:lnTo>
                  <a:lnTo>
                    <a:pt x="958" y="244"/>
                  </a:lnTo>
                  <a:lnTo>
                    <a:pt x="958" y="244"/>
                  </a:lnTo>
                  <a:lnTo>
                    <a:pt x="961" y="242"/>
                  </a:lnTo>
                  <a:lnTo>
                    <a:pt x="961" y="242"/>
                  </a:lnTo>
                  <a:lnTo>
                    <a:pt x="961" y="242"/>
                  </a:lnTo>
                  <a:lnTo>
                    <a:pt x="961" y="237"/>
                  </a:lnTo>
                  <a:lnTo>
                    <a:pt x="956" y="234"/>
                  </a:lnTo>
                  <a:lnTo>
                    <a:pt x="956" y="234"/>
                  </a:lnTo>
                  <a:lnTo>
                    <a:pt x="958" y="234"/>
                  </a:lnTo>
                  <a:lnTo>
                    <a:pt x="961" y="234"/>
                  </a:lnTo>
                  <a:lnTo>
                    <a:pt x="961" y="234"/>
                  </a:lnTo>
                  <a:lnTo>
                    <a:pt x="958" y="234"/>
                  </a:lnTo>
                  <a:lnTo>
                    <a:pt x="961" y="234"/>
                  </a:lnTo>
                  <a:lnTo>
                    <a:pt x="961" y="234"/>
                  </a:lnTo>
                  <a:lnTo>
                    <a:pt x="963" y="234"/>
                  </a:lnTo>
                  <a:lnTo>
                    <a:pt x="963" y="234"/>
                  </a:lnTo>
                  <a:lnTo>
                    <a:pt x="966" y="232"/>
                  </a:lnTo>
                  <a:lnTo>
                    <a:pt x="966" y="232"/>
                  </a:lnTo>
                  <a:lnTo>
                    <a:pt x="968" y="232"/>
                  </a:lnTo>
                  <a:lnTo>
                    <a:pt x="968" y="232"/>
                  </a:lnTo>
                  <a:lnTo>
                    <a:pt x="971" y="232"/>
                  </a:lnTo>
                  <a:lnTo>
                    <a:pt x="971" y="232"/>
                  </a:lnTo>
                  <a:lnTo>
                    <a:pt x="971" y="229"/>
                  </a:lnTo>
                  <a:lnTo>
                    <a:pt x="968" y="229"/>
                  </a:lnTo>
                  <a:lnTo>
                    <a:pt x="966" y="229"/>
                  </a:lnTo>
                  <a:lnTo>
                    <a:pt x="963" y="229"/>
                  </a:lnTo>
                  <a:lnTo>
                    <a:pt x="961" y="229"/>
                  </a:lnTo>
                  <a:lnTo>
                    <a:pt x="958" y="229"/>
                  </a:lnTo>
                  <a:lnTo>
                    <a:pt x="958" y="229"/>
                  </a:lnTo>
                  <a:lnTo>
                    <a:pt x="961" y="229"/>
                  </a:lnTo>
                  <a:lnTo>
                    <a:pt x="963" y="229"/>
                  </a:lnTo>
                  <a:lnTo>
                    <a:pt x="963" y="227"/>
                  </a:lnTo>
                  <a:lnTo>
                    <a:pt x="963" y="227"/>
                  </a:lnTo>
                  <a:lnTo>
                    <a:pt x="961" y="227"/>
                  </a:lnTo>
                  <a:lnTo>
                    <a:pt x="958" y="229"/>
                  </a:lnTo>
                  <a:lnTo>
                    <a:pt x="953" y="229"/>
                  </a:lnTo>
                  <a:lnTo>
                    <a:pt x="951" y="229"/>
                  </a:lnTo>
                  <a:lnTo>
                    <a:pt x="948" y="229"/>
                  </a:lnTo>
                  <a:lnTo>
                    <a:pt x="948" y="227"/>
                  </a:lnTo>
                  <a:lnTo>
                    <a:pt x="948" y="227"/>
                  </a:lnTo>
                  <a:lnTo>
                    <a:pt x="948" y="227"/>
                  </a:lnTo>
                  <a:lnTo>
                    <a:pt x="946" y="227"/>
                  </a:lnTo>
                  <a:lnTo>
                    <a:pt x="943" y="227"/>
                  </a:lnTo>
                  <a:lnTo>
                    <a:pt x="940" y="227"/>
                  </a:lnTo>
                  <a:lnTo>
                    <a:pt x="940" y="227"/>
                  </a:lnTo>
                  <a:lnTo>
                    <a:pt x="938" y="227"/>
                  </a:lnTo>
                  <a:lnTo>
                    <a:pt x="943" y="227"/>
                  </a:lnTo>
                  <a:lnTo>
                    <a:pt x="951" y="221"/>
                  </a:lnTo>
                  <a:lnTo>
                    <a:pt x="956" y="221"/>
                  </a:lnTo>
                  <a:lnTo>
                    <a:pt x="958" y="219"/>
                  </a:lnTo>
                  <a:lnTo>
                    <a:pt x="958" y="219"/>
                  </a:lnTo>
                  <a:lnTo>
                    <a:pt x="958" y="219"/>
                  </a:lnTo>
                  <a:lnTo>
                    <a:pt x="953" y="219"/>
                  </a:lnTo>
                  <a:lnTo>
                    <a:pt x="953" y="219"/>
                  </a:lnTo>
                  <a:lnTo>
                    <a:pt x="953" y="219"/>
                  </a:lnTo>
                  <a:lnTo>
                    <a:pt x="956" y="216"/>
                  </a:lnTo>
                  <a:lnTo>
                    <a:pt x="958" y="216"/>
                  </a:lnTo>
                  <a:lnTo>
                    <a:pt x="958" y="216"/>
                  </a:lnTo>
                  <a:lnTo>
                    <a:pt x="958" y="216"/>
                  </a:lnTo>
                  <a:lnTo>
                    <a:pt x="958" y="216"/>
                  </a:lnTo>
                  <a:lnTo>
                    <a:pt x="961" y="219"/>
                  </a:lnTo>
                  <a:lnTo>
                    <a:pt x="963" y="219"/>
                  </a:lnTo>
                  <a:lnTo>
                    <a:pt x="966" y="219"/>
                  </a:lnTo>
                  <a:lnTo>
                    <a:pt x="966" y="216"/>
                  </a:lnTo>
                  <a:lnTo>
                    <a:pt x="968" y="216"/>
                  </a:lnTo>
                  <a:lnTo>
                    <a:pt x="966" y="216"/>
                  </a:lnTo>
                  <a:lnTo>
                    <a:pt x="966" y="214"/>
                  </a:lnTo>
                  <a:lnTo>
                    <a:pt x="966" y="214"/>
                  </a:lnTo>
                  <a:lnTo>
                    <a:pt x="966" y="214"/>
                  </a:lnTo>
                  <a:lnTo>
                    <a:pt x="966" y="214"/>
                  </a:lnTo>
                  <a:lnTo>
                    <a:pt x="963" y="214"/>
                  </a:lnTo>
                  <a:lnTo>
                    <a:pt x="963" y="216"/>
                  </a:lnTo>
                  <a:lnTo>
                    <a:pt x="963" y="214"/>
                  </a:lnTo>
                  <a:lnTo>
                    <a:pt x="963" y="214"/>
                  </a:lnTo>
                  <a:lnTo>
                    <a:pt x="963" y="214"/>
                  </a:lnTo>
                  <a:lnTo>
                    <a:pt x="963" y="214"/>
                  </a:lnTo>
                  <a:lnTo>
                    <a:pt x="963" y="211"/>
                  </a:lnTo>
                  <a:lnTo>
                    <a:pt x="963" y="209"/>
                  </a:lnTo>
                  <a:lnTo>
                    <a:pt x="963" y="209"/>
                  </a:lnTo>
                  <a:lnTo>
                    <a:pt x="963" y="209"/>
                  </a:lnTo>
                  <a:lnTo>
                    <a:pt x="961" y="209"/>
                  </a:lnTo>
                  <a:lnTo>
                    <a:pt x="961" y="206"/>
                  </a:lnTo>
                  <a:lnTo>
                    <a:pt x="961" y="206"/>
                  </a:lnTo>
                  <a:lnTo>
                    <a:pt x="958" y="204"/>
                  </a:lnTo>
                  <a:lnTo>
                    <a:pt x="958" y="204"/>
                  </a:lnTo>
                  <a:lnTo>
                    <a:pt x="961" y="204"/>
                  </a:lnTo>
                  <a:lnTo>
                    <a:pt x="961" y="204"/>
                  </a:lnTo>
                  <a:lnTo>
                    <a:pt x="963" y="201"/>
                  </a:lnTo>
                  <a:lnTo>
                    <a:pt x="966" y="199"/>
                  </a:lnTo>
                  <a:lnTo>
                    <a:pt x="966" y="196"/>
                  </a:lnTo>
                  <a:lnTo>
                    <a:pt x="966" y="196"/>
                  </a:lnTo>
                  <a:lnTo>
                    <a:pt x="966" y="196"/>
                  </a:lnTo>
                  <a:lnTo>
                    <a:pt x="966" y="193"/>
                  </a:lnTo>
                  <a:lnTo>
                    <a:pt x="966" y="191"/>
                  </a:lnTo>
                  <a:lnTo>
                    <a:pt x="963" y="191"/>
                  </a:lnTo>
                  <a:lnTo>
                    <a:pt x="963" y="191"/>
                  </a:lnTo>
                  <a:lnTo>
                    <a:pt x="963" y="188"/>
                  </a:lnTo>
                  <a:lnTo>
                    <a:pt x="963" y="188"/>
                  </a:lnTo>
                  <a:lnTo>
                    <a:pt x="963" y="188"/>
                  </a:lnTo>
                  <a:lnTo>
                    <a:pt x="963" y="188"/>
                  </a:lnTo>
                  <a:lnTo>
                    <a:pt x="961" y="188"/>
                  </a:lnTo>
                  <a:lnTo>
                    <a:pt x="958" y="188"/>
                  </a:lnTo>
                  <a:lnTo>
                    <a:pt x="956" y="188"/>
                  </a:lnTo>
                  <a:lnTo>
                    <a:pt x="956" y="186"/>
                  </a:lnTo>
                  <a:lnTo>
                    <a:pt x="958" y="186"/>
                  </a:lnTo>
                  <a:lnTo>
                    <a:pt x="958" y="183"/>
                  </a:lnTo>
                  <a:lnTo>
                    <a:pt x="956" y="183"/>
                  </a:lnTo>
                  <a:lnTo>
                    <a:pt x="956" y="183"/>
                  </a:lnTo>
                  <a:lnTo>
                    <a:pt x="953" y="183"/>
                  </a:lnTo>
                  <a:lnTo>
                    <a:pt x="948" y="186"/>
                  </a:lnTo>
                  <a:lnTo>
                    <a:pt x="940" y="188"/>
                  </a:lnTo>
                  <a:lnTo>
                    <a:pt x="938" y="188"/>
                  </a:lnTo>
                  <a:lnTo>
                    <a:pt x="933" y="191"/>
                  </a:lnTo>
                  <a:lnTo>
                    <a:pt x="930" y="191"/>
                  </a:lnTo>
                  <a:lnTo>
                    <a:pt x="930" y="191"/>
                  </a:lnTo>
                  <a:lnTo>
                    <a:pt x="930" y="193"/>
                  </a:lnTo>
                  <a:lnTo>
                    <a:pt x="933" y="193"/>
                  </a:lnTo>
                  <a:lnTo>
                    <a:pt x="935" y="193"/>
                  </a:lnTo>
                  <a:lnTo>
                    <a:pt x="935" y="193"/>
                  </a:lnTo>
                  <a:lnTo>
                    <a:pt x="935" y="193"/>
                  </a:lnTo>
                  <a:lnTo>
                    <a:pt x="930" y="196"/>
                  </a:lnTo>
                  <a:lnTo>
                    <a:pt x="930" y="196"/>
                  </a:lnTo>
                  <a:lnTo>
                    <a:pt x="928" y="196"/>
                  </a:lnTo>
                  <a:lnTo>
                    <a:pt x="928" y="196"/>
                  </a:lnTo>
                  <a:lnTo>
                    <a:pt x="928" y="193"/>
                  </a:lnTo>
                  <a:lnTo>
                    <a:pt x="925" y="193"/>
                  </a:lnTo>
                  <a:lnTo>
                    <a:pt x="925" y="193"/>
                  </a:lnTo>
                  <a:lnTo>
                    <a:pt x="925" y="193"/>
                  </a:lnTo>
                  <a:lnTo>
                    <a:pt x="920" y="196"/>
                  </a:lnTo>
                  <a:lnTo>
                    <a:pt x="918" y="196"/>
                  </a:lnTo>
                  <a:lnTo>
                    <a:pt x="918" y="199"/>
                  </a:lnTo>
                  <a:lnTo>
                    <a:pt x="915" y="199"/>
                  </a:lnTo>
                  <a:lnTo>
                    <a:pt x="915" y="199"/>
                  </a:lnTo>
                  <a:lnTo>
                    <a:pt x="915" y="199"/>
                  </a:lnTo>
                  <a:lnTo>
                    <a:pt x="912" y="199"/>
                  </a:lnTo>
                  <a:lnTo>
                    <a:pt x="912" y="201"/>
                  </a:lnTo>
                  <a:lnTo>
                    <a:pt x="912" y="201"/>
                  </a:lnTo>
                  <a:lnTo>
                    <a:pt x="907" y="204"/>
                  </a:lnTo>
                  <a:lnTo>
                    <a:pt x="907" y="206"/>
                  </a:lnTo>
                  <a:lnTo>
                    <a:pt x="907" y="209"/>
                  </a:lnTo>
                  <a:lnTo>
                    <a:pt x="907" y="209"/>
                  </a:lnTo>
                  <a:lnTo>
                    <a:pt x="910" y="209"/>
                  </a:lnTo>
                  <a:lnTo>
                    <a:pt x="915" y="209"/>
                  </a:lnTo>
                  <a:lnTo>
                    <a:pt x="915" y="209"/>
                  </a:lnTo>
                  <a:lnTo>
                    <a:pt x="912" y="209"/>
                  </a:lnTo>
                  <a:lnTo>
                    <a:pt x="912" y="209"/>
                  </a:lnTo>
                  <a:lnTo>
                    <a:pt x="912" y="211"/>
                  </a:lnTo>
                  <a:lnTo>
                    <a:pt x="910" y="209"/>
                  </a:lnTo>
                  <a:lnTo>
                    <a:pt x="907" y="211"/>
                  </a:lnTo>
                  <a:lnTo>
                    <a:pt x="907" y="211"/>
                  </a:lnTo>
                  <a:lnTo>
                    <a:pt x="905" y="211"/>
                  </a:lnTo>
                  <a:lnTo>
                    <a:pt x="905" y="211"/>
                  </a:lnTo>
                  <a:lnTo>
                    <a:pt x="897" y="214"/>
                  </a:lnTo>
                  <a:lnTo>
                    <a:pt x="897" y="216"/>
                  </a:lnTo>
                  <a:lnTo>
                    <a:pt x="897" y="216"/>
                  </a:lnTo>
                  <a:lnTo>
                    <a:pt x="895" y="219"/>
                  </a:lnTo>
                  <a:lnTo>
                    <a:pt x="897" y="221"/>
                  </a:lnTo>
                  <a:lnTo>
                    <a:pt x="897" y="221"/>
                  </a:lnTo>
                  <a:lnTo>
                    <a:pt x="897" y="224"/>
                  </a:lnTo>
                  <a:lnTo>
                    <a:pt x="897" y="224"/>
                  </a:lnTo>
                  <a:lnTo>
                    <a:pt x="897" y="224"/>
                  </a:lnTo>
                  <a:lnTo>
                    <a:pt x="897" y="224"/>
                  </a:lnTo>
                  <a:lnTo>
                    <a:pt x="900" y="224"/>
                  </a:lnTo>
                  <a:lnTo>
                    <a:pt x="902" y="227"/>
                  </a:lnTo>
                  <a:lnTo>
                    <a:pt x="902" y="227"/>
                  </a:lnTo>
                  <a:lnTo>
                    <a:pt x="905" y="227"/>
                  </a:lnTo>
                  <a:lnTo>
                    <a:pt x="910" y="229"/>
                  </a:lnTo>
                  <a:lnTo>
                    <a:pt x="910" y="229"/>
                  </a:lnTo>
                  <a:lnTo>
                    <a:pt x="912" y="227"/>
                  </a:lnTo>
                  <a:lnTo>
                    <a:pt x="912" y="227"/>
                  </a:lnTo>
                  <a:lnTo>
                    <a:pt x="912" y="227"/>
                  </a:lnTo>
                  <a:lnTo>
                    <a:pt x="915" y="229"/>
                  </a:lnTo>
                  <a:lnTo>
                    <a:pt x="915" y="229"/>
                  </a:lnTo>
                  <a:lnTo>
                    <a:pt x="915" y="232"/>
                  </a:lnTo>
                  <a:lnTo>
                    <a:pt x="915" y="232"/>
                  </a:lnTo>
                  <a:lnTo>
                    <a:pt x="918" y="232"/>
                  </a:lnTo>
                  <a:lnTo>
                    <a:pt x="920" y="232"/>
                  </a:lnTo>
                  <a:lnTo>
                    <a:pt x="920" y="232"/>
                  </a:lnTo>
                  <a:lnTo>
                    <a:pt x="923" y="229"/>
                  </a:lnTo>
                  <a:lnTo>
                    <a:pt x="925" y="229"/>
                  </a:lnTo>
                  <a:lnTo>
                    <a:pt x="925" y="232"/>
                  </a:lnTo>
                  <a:lnTo>
                    <a:pt x="925" y="232"/>
                  </a:lnTo>
                  <a:lnTo>
                    <a:pt x="925" y="232"/>
                  </a:lnTo>
                  <a:lnTo>
                    <a:pt x="925" y="232"/>
                  </a:lnTo>
                  <a:lnTo>
                    <a:pt x="925" y="232"/>
                  </a:lnTo>
                  <a:lnTo>
                    <a:pt x="925" y="234"/>
                  </a:lnTo>
                  <a:lnTo>
                    <a:pt x="923" y="234"/>
                  </a:lnTo>
                  <a:lnTo>
                    <a:pt x="918" y="234"/>
                  </a:lnTo>
                  <a:lnTo>
                    <a:pt x="918" y="234"/>
                  </a:lnTo>
                  <a:lnTo>
                    <a:pt x="920" y="234"/>
                  </a:lnTo>
                  <a:lnTo>
                    <a:pt x="923" y="232"/>
                  </a:lnTo>
                  <a:lnTo>
                    <a:pt x="925" y="232"/>
                  </a:lnTo>
                  <a:lnTo>
                    <a:pt x="920" y="232"/>
                  </a:lnTo>
                  <a:lnTo>
                    <a:pt x="915" y="234"/>
                  </a:lnTo>
                  <a:lnTo>
                    <a:pt x="912" y="234"/>
                  </a:lnTo>
                  <a:lnTo>
                    <a:pt x="912" y="234"/>
                  </a:lnTo>
                  <a:lnTo>
                    <a:pt x="912" y="234"/>
                  </a:lnTo>
                  <a:lnTo>
                    <a:pt x="910" y="237"/>
                  </a:lnTo>
                  <a:lnTo>
                    <a:pt x="910" y="237"/>
                  </a:lnTo>
                  <a:lnTo>
                    <a:pt x="912" y="237"/>
                  </a:lnTo>
                  <a:lnTo>
                    <a:pt x="912" y="237"/>
                  </a:lnTo>
                  <a:lnTo>
                    <a:pt x="907" y="239"/>
                  </a:lnTo>
                  <a:lnTo>
                    <a:pt x="902" y="239"/>
                  </a:lnTo>
                  <a:lnTo>
                    <a:pt x="902" y="242"/>
                  </a:lnTo>
                  <a:lnTo>
                    <a:pt x="900" y="244"/>
                  </a:lnTo>
                  <a:lnTo>
                    <a:pt x="900" y="244"/>
                  </a:lnTo>
                  <a:lnTo>
                    <a:pt x="900" y="244"/>
                  </a:lnTo>
                  <a:lnTo>
                    <a:pt x="905" y="244"/>
                  </a:lnTo>
                  <a:lnTo>
                    <a:pt x="907" y="244"/>
                  </a:lnTo>
                  <a:lnTo>
                    <a:pt x="907" y="244"/>
                  </a:lnTo>
                  <a:lnTo>
                    <a:pt x="910" y="242"/>
                  </a:lnTo>
                  <a:lnTo>
                    <a:pt x="912" y="239"/>
                  </a:lnTo>
                  <a:lnTo>
                    <a:pt x="912" y="239"/>
                  </a:lnTo>
                  <a:lnTo>
                    <a:pt x="912" y="239"/>
                  </a:lnTo>
                  <a:lnTo>
                    <a:pt x="915" y="239"/>
                  </a:lnTo>
                  <a:lnTo>
                    <a:pt x="915" y="239"/>
                  </a:lnTo>
                  <a:lnTo>
                    <a:pt x="915" y="242"/>
                  </a:lnTo>
                  <a:lnTo>
                    <a:pt x="915" y="242"/>
                  </a:lnTo>
                  <a:lnTo>
                    <a:pt x="912" y="242"/>
                  </a:lnTo>
                  <a:lnTo>
                    <a:pt x="912" y="244"/>
                  </a:lnTo>
                  <a:lnTo>
                    <a:pt x="910" y="247"/>
                  </a:lnTo>
                  <a:lnTo>
                    <a:pt x="910" y="247"/>
                  </a:lnTo>
                  <a:lnTo>
                    <a:pt x="910" y="247"/>
                  </a:lnTo>
                  <a:lnTo>
                    <a:pt x="912" y="247"/>
                  </a:lnTo>
                  <a:lnTo>
                    <a:pt x="912" y="247"/>
                  </a:lnTo>
                  <a:lnTo>
                    <a:pt x="907" y="249"/>
                  </a:lnTo>
                  <a:lnTo>
                    <a:pt x="902" y="249"/>
                  </a:lnTo>
                  <a:lnTo>
                    <a:pt x="900" y="252"/>
                  </a:lnTo>
                  <a:lnTo>
                    <a:pt x="895" y="255"/>
                  </a:lnTo>
                  <a:lnTo>
                    <a:pt x="892" y="255"/>
                  </a:lnTo>
                  <a:lnTo>
                    <a:pt x="889" y="255"/>
                  </a:lnTo>
                  <a:lnTo>
                    <a:pt x="884" y="257"/>
                  </a:lnTo>
                  <a:lnTo>
                    <a:pt x="882" y="257"/>
                  </a:lnTo>
                  <a:lnTo>
                    <a:pt x="879" y="257"/>
                  </a:lnTo>
                  <a:lnTo>
                    <a:pt x="879" y="257"/>
                  </a:lnTo>
                  <a:lnTo>
                    <a:pt x="877" y="257"/>
                  </a:lnTo>
                  <a:lnTo>
                    <a:pt x="874" y="257"/>
                  </a:lnTo>
                  <a:lnTo>
                    <a:pt x="874" y="257"/>
                  </a:lnTo>
                  <a:lnTo>
                    <a:pt x="872" y="260"/>
                  </a:lnTo>
                  <a:lnTo>
                    <a:pt x="864" y="265"/>
                  </a:lnTo>
                  <a:lnTo>
                    <a:pt x="864" y="265"/>
                  </a:lnTo>
                  <a:lnTo>
                    <a:pt x="864" y="267"/>
                  </a:lnTo>
                  <a:lnTo>
                    <a:pt x="864" y="267"/>
                  </a:lnTo>
                  <a:lnTo>
                    <a:pt x="864" y="272"/>
                  </a:lnTo>
                  <a:lnTo>
                    <a:pt x="861" y="272"/>
                  </a:lnTo>
                  <a:lnTo>
                    <a:pt x="859" y="275"/>
                  </a:lnTo>
                  <a:lnTo>
                    <a:pt x="856" y="280"/>
                  </a:lnTo>
                  <a:lnTo>
                    <a:pt x="854" y="280"/>
                  </a:lnTo>
                  <a:lnTo>
                    <a:pt x="854" y="280"/>
                  </a:lnTo>
                  <a:lnTo>
                    <a:pt x="851" y="280"/>
                  </a:lnTo>
                  <a:lnTo>
                    <a:pt x="846" y="280"/>
                  </a:lnTo>
                  <a:lnTo>
                    <a:pt x="844" y="280"/>
                  </a:lnTo>
                  <a:lnTo>
                    <a:pt x="844" y="280"/>
                  </a:lnTo>
                  <a:lnTo>
                    <a:pt x="844" y="280"/>
                  </a:lnTo>
                  <a:lnTo>
                    <a:pt x="846" y="285"/>
                  </a:lnTo>
                  <a:lnTo>
                    <a:pt x="844" y="285"/>
                  </a:lnTo>
                  <a:lnTo>
                    <a:pt x="844" y="285"/>
                  </a:lnTo>
                  <a:lnTo>
                    <a:pt x="844" y="285"/>
                  </a:lnTo>
                  <a:lnTo>
                    <a:pt x="844" y="285"/>
                  </a:lnTo>
                  <a:lnTo>
                    <a:pt x="844" y="283"/>
                  </a:lnTo>
                  <a:lnTo>
                    <a:pt x="841" y="280"/>
                  </a:lnTo>
                  <a:lnTo>
                    <a:pt x="841" y="277"/>
                  </a:lnTo>
                  <a:lnTo>
                    <a:pt x="841" y="277"/>
                  </a:lnTo>
                  <a:lnTo>
                    <a:pt x="841" y="277"/>
                  </a:lnTo>
                  <a:lnTo>
                    <a:pt x="841" y="277"/>
                  </a:lnTo>
                  <a:lnTo>
                    <a:pt x="844" y="277"/>
                  </a:lnTo>
                  <a:lnTo>
                    <a:pt x="844" y="277"/>
                  </a:lnTo>
                  <a:lnTo>
                    <a:pt x="846" y="277"/>
                  </a:lnTo>
                  <a:lnTo>
                    <a:pt x="846" y="277"/>
                  </a:lnTo>
                  <a:lnTo>
                    <a:pt x="849" y="280"/>
                  </a:lnTo>
                  <a:lnTo>
                    <a:pt x="849" y="280"/>
                  </a:lnTo>
                  <a:lnTo>
                    <a:pt x="851" y="280"/>
                  </a:lnTo>
                  <a:lnTo>
                    <a:pt x="851" y="280"/>
                  </a:lnTo>
                  <a:lnTo>
                    <a:pt x="854" y="280"/>
                  </a:lnTo>
                  <a:lnTo>
                    <a:pt x="854" y="280"/>
                  </a:lnTo>
                  <a:lnTo>
                    <a:pt x="856" y="277"/>
                  </a:lnTo>
                  <a:lnTo>
                    <a:pt x="856" y="277"/>
                  </a:lnTo>
                  <a:lnTo>
                    <a:pt x="856" y="277"/>
                  </a:lnTo>
                  <a:lnTo>
                    <a:pt x="859" y="275"/>
                  </a:lnTo>
                  <a:lnTo>
                    <a:pt x="856" y="275"/>
                  </a:lnTo>
                  <a:lnTo>
                    <a:pt x="856" y="275"/>
                  </a:lnTo>
                  <a:lnTo>
                    <a:pt x="856" y="275"/>
                  </a:lnTo>
                  <a:lnTo>
                    <a:pt x="854" y="275"/>
                  </a:lnTo>
                  <a:lnTo>
                    <a:pt x="854" y="275"/>
                  </a:lnTo>
                  <a:lnTo>
                    <a:pt x="856" y="272"/>
                  </a:lnTo>
                  <a:lnTo>
                    <a:pt x="856" y="272"/>
                  </a:lnTo>
                  <a:lnTo>
                    <a:pt x="854" y="272"/>
                  </a:lnTo>
                  <a:lnTo>
                    <a:pt x="851" y="272"/>
                  </a:lnTo>
                  <a:lnTo>
                    <a:pt x="849" y="272"/>
                  </a:lnTo>
                  <a:lnTo>
                    <a:pt x="849" y="272"/>
                  </a:lnTo>
                  <a:lnTo>
                    <a:pt x="851" y="272"/>
                  </a:lnTo>
                  <a:lnTo>
                    <a:pt x="851" y="270"/>
                  </a:lnTo>
                  <a:lnTo>
                    <a:pt x="849" y="270"/>
                  </a:lnTo>
                  <a:lnTo>
                    <a:pt x="851" y="267"/>
                  </a:lnTo>
                  <a:lnTo>
                    <a:pt x="854" y="265"/>
                  </a:lnTo>
                  <a:lnTo>
                    <a:pt x="856" y="265"/>
                  </a:lnTo>
                  <a:lnTo>
                    <a:pt x="859" y="262"/>
                  </a:lnTo>
                  <a:lnTo>
                    <a:pt x="867" y="257"/>
                  </a:lnTo>
                  <a:lnTo>
                    <a:pt x="869" y="255"/>
                  </a:lnTo>
                  <a:lnTo>
                    <a:pt x="867" y="255"/>
                  </a:lnTo>
                  <a:lnTo>
                    <a:pt x="859" y="257"/>
                  </a:lnTo>
                  <a:lnTo>
                    <a:pt x="859" y="257"/>
                  </a:lnTo>
                  <a:lnTo>
                    <a:pt x="859" y="257"/>
                  </a:lnTo>
                  <a:lnTo>
                    <a:pt x="856" y="257"/>
                  </a:lnTo>
                  <a:lnTo>
                    <a:pt x="856" y="257"/>
                  </a:lnTo>
                  <a:lnTo>
                    <a:pt x="854" y="257"/>
                  </a:lnTo>
                  <a:lnTo>
                    <a:pt x="854" y="257"/>
                  </a:lnTo>
                  <a:lnTo>
                    <a:pt x="861" y="255"/>
                  </a:lnTo>
                  <a:lnTo>
                    <a:pt x="861" y="255"/>
                  </a:lnTo>
                  <a:lnTo>
                    <a:pt x="864" y="252"/>
                  </a:lnTo>
                  <a:lnTo>
                    <a:pt x="859" y="255"/>
                  </a:lnTo>
                  <a:lnTo>
                    <a:pt x="854" y="255"/>
                  </a:lnTo>
                  <a:lnTo>
                    <a:pt x="854" y="255"/>
                  </a:lnTo>
                  <a:lnTo>
                    <a:pt x="854" y="252"/>
                  </a:lnTo>
                  <a:lnTo>
                    <a:pt x="854" y="252"/>
                  </a:lnTo>
                  <a:lnTo>
                    <a:pt x="854" y="249"/>
                  </a:lnTo>
                  <a:lnTo>
                    <a:pt x="854" y="249"/>
                  </a:lnTo>
                  <a:lnTo>
                    <a:pt x="851" y="249"/>
                  </a:lnTo>
                  <a:lnTo>
                    <a:pt x="851" y="249"/>
                  </a:lnTo>
                  <a:lnTo>
                    <a:pt x="849" y="249"/>
                  </a:lnTo>
                  <a:lnTo>
                    <a:pt x="849" y="249"/>
                  </a:lnTo>
                  <a:lnTo>
                    <a:pt x="846" y="249"/>
                  </a:lnTo>
                  <a:lnTo>
                    <a:pt x="846" y="249"/>
                  </a:lnTo>
                  <a:lnTo>
                    <a:pt x="844" y="249"/>
                  </a:lnTo>
                  <a:lnTo>
                    <a:pt x="844" y="249"/>
                  </a:lnTo>
                  <a:lnTo>
                    <a:pt x="844" y="252"/>
                  </a:lnTo>
                  <a:lnTo>
                    <a:pt x="839" y="252"/>
                  </a:lnTo>
                  <a:lnTo>
                    <a:pt x="836" y="252"/>
                  </a:lnTo>
                  <a:lnTo>
                    <a:pt x="833" y="252"/>
                  </a:lnTo>
                  <a:lnTo>
                    <a:pt x="833" y="252"/>
                  </a:lnTo>
                  <a:lnTo>
                    <a:pt x="833" y="252"/>
                  </a:lnTo>
                  <a:lnTo>
                    <a:pt x="831" y="252"/>
                  </a:lnTo>
                  <a:lnTo>
                    <a:pt x="831" y="252"/>
                  </a:lnTo>
                  <a:lnTo>
                    <a:pt x="831" y="255"/>
                  </a:lnTo>
                  <a:lnTo>
                    <a:pt x="831" y="255"/>
                  </a:lnTo>
                  <a:lnTo>
                    <a:pt x="831" y="257"/>
                  </a:lnTo>
                  <a:lnTo>
                    <a:pt x="831" y="257"/>
                  </a:lnTo>
                  <a:lnTo>
                    <a:pt x="828" y="257"/>
                  </a:lnTo>
                  <a:lnTo>
                    <a:pt x="828" y="257"/>
                  </a:lnTo>
                  <a:lnTo>
                    <a:pt x="828" y="257"/>
                  </a:lnTo>
                  <a:lnTo>
                    <a:pt x="831" y="260"/>
                  </a:lnTo>
                  <a:lnTo>
                    <a:pt x="831" y="262"/>
                  </a:lnTo>
                  <a:lnTo>
                    <a:pt x="836" y="260"/>
                  </a:lnTo>
                  <a:lnTo>
                    <a:pt x="839" y="260"/>
                  </a:lnTo>
                  <a:lnTo>
                    <a:pt x="841" y="260"/>
                  </a:lnTo>
                  <a:lnTo>
                    <a:pt x="844" y="262"/>
                  </a:lnTo>
                  <a:lnTo>
                    <a:pt x="844" y="262"/>
                  </a:lnTo>
                  <a:lnTo>
                    <a:pt x="844" y="262"/>
                  </a:lnTo>
                  <a:lnTo>
                    <a:pt x="844" y="262"/>
                  </a:lnTo>
                  <a:lnTo>
                    <a:pt x="844" y="265"/>
                  </a:lnTo>
                  <a:lnTo>
                    <a:pt x="841" y="265"/>
                  </a:lnTo>
                  <a:lnTo>
                    <a:pt x="841" y="265"/>
                  </a:lnTo>
                  <a:lnTo>
                    <a:pt x="839" y="265"/>
                  </a:lnTo>
                  <a:lnTo>
                    <a:pt x="836" y="267"/>
                  </a:lnTo>
                  <a:lnTo>
                    <a:pt x="833" y="267"/>
                  </a:lnTo>
                  <a:lnTo>
                    <a:pt x="831" y="265"/>
                  </a:lnTo>
                  <a:lnTo>
                    <a:pt x="831" y="265"/>
                  </a:lnTo>
                  <a:lnTo>
                    <a:pt x="828" y="265"/>
                  </a:lnTo>
                  <a:lnTo>
                    <a:pt x="828" y="260"/>
                  </a:lnTo>
                  <a:lnTo>
                    <a:pt x="828" y="257"/>
                  </a:lnTo>
                  <a:lnTo>
                    <a:pt x="826" y="257"/>
                  </a:lnTo>
                  <a:lnTo>
                    <a:pt x="826" y="257"/>
                  </a:lnTo>
                  <a:lnTo>
                    <a:pt x="826" y="257"/>
                  </a:lnTo>
                  <a:lnTo>
                    <a:pt x="823" y="260"/>
                  </a:lnTo>
                  <a:lnTo>
                    <a:pt x="823" y="260"/>
                  </a:lnTo>
                  <a:lnTo>
                    <a:pt x="823" y="260"/>
                  </a:lnTo>
                  <a:lnTo>
                    <a:pt x="826" y="262"/>
                  </a:lnTo>
                  <a:lnTo>
                    <a:pt x="826" y="262"/>
                  </a:lnTo>
                  <a:lnTo>
                    <a:pt x="826" y="262"/>
                  </a:lnTo>
                  <a:lnTo>
                    <a:pt x="823" y="262"/>
                  </a:lnTo>
                  <a:lnTo>
                    <a:pt x="821" y="262"/>
                  </a:lnTo>
                  <a:lnTo>
                    <a:pt x="818" y="265"/>
                  </a:lnTo>
                  <a:lnTo>
                    <a:pt x="816" y="265"/>
                  </a:lnTo>
                  <a:lnTo>
                    <a:pt x="813" y="265"/>
                  </a:lnTo>
                  <a:lnTo>
                    <a:pt x="813" y="265"/>
                  </a:lnTo>
                  <a:lnTo>
                    <a:pt x="810" y="265"/>
                  </a:lnTo>
                  <a:lnTo>
                    <a:pt x="808" y="262"/>
                  </a:lnTo>
                  <a:lnTo>
                    <a:pt x="805" y="262"/>
                  </a:lnTo>
                  <a:lnTo>
                    <a:pt x="798" y="262"/>
                  </a:lnTo>
                  <a:lnTo>
                    <a:pt x="795" y="262"/>
                  </a:lnTo>
                  <a:lnTo>
                    <a:pt x="793" y="262"/>
                  </a:lnTo>
                  <a:lnTo>
                    <a:pt x="793" y="262"/>
                  </a:lnTo>
                  <a:lnTo>
                    <a:pt x="790" y="262"/>
                  </a:lnTo>
                  <a:lnTo>
                    <a:pt x="788" y="262"/>
                  </a:lnTo>
                  <a:lnTo>
                    <a:pt x="785" y="265"/>
                  </a:lnTo>
                  <a:lnTo>
                    <a:pt x="785" y="265"/>
                  </a:lnTo>
                  <a:lnTo>
                    <a:pt x="777" y="265"/>
                  </a:lnTo>
                  <a:lnTo>
                    <a:pt x="775" y="265"/>
                  </a:lnTo>
                  <a:lnTo>
                    <a:pt x="772" y="265"/>
                  </a:lnTo>
                  <a:lnTo>
                    <a:pt x="770" y="265"/>
                  </a:lnTo>
                  <a:lnTo>
                    <a:pt x="767" y="265"/>
                  </a:lnTo>
                  <a:lnTo>
                    <a:pt x="765" y="265"/>
                  </a:lnTo>
                  <a:lnTo>
                    <a:pt x="765" y="265"/>
                  </a:lnTo>
                  <a:lnTo>
                    <a:pt x="762" y="262"/>
                  </a:lnTo>
                  <a:lnTo>
                    <a:pt x="760" y="262"/>
                  </a:lnTo>
                  <a:lnTo>
                    <a:pt x="760" y="260"/>
                  </a:lnTo>
                  <a:lnTo>
                    <a:pt x="757" y="257"/>
                  </a:lnTo>
                  <a:lnTo>
                    <a:pt x="754" y="257"/>
                  </a:lnTo>
                  <a:lnTo>
                    <a:pt x="752" y="257"/>
                  </a:lnTo>
                  <a:lnTo>
                    <a:pt x="747" y="257"/>
                  </a:lnTo>
                  <a:lnTo>
                    <a:pt x="744" y="260"/>
                  </a:lnTo>
                  <a:lnTo>
                    <a:pt x="742" y="257"/>
                  </a:lnTo>
                  <a:lnTo>
                    <a:pt x="739" y="257"/>
                  </a:lnTo>
                  <a:lnTo>
                    <a:pt x="739" y="257"/>
                  </a:lnTo>
                  <a:lnTo>
                    <a:pt x="739" y="257"/>
                  </a:lnTo>
                  <a:lnTo>
                    <a:pt x="739" y="255"/>
                  </a:lnTo>
                  <a:lnTo>
                    <a:pt x="742" y="255"/>
                  </a:lnTo>
                  <a:lnTo>
                    <a:pt x="739" y="255"/>
                  </a:lnTo>
                  <a:lnTo>
                    <a:pt x="737" y="255"/>
                  </a:lnTo>
                  <a:lnTo>
                    <a:pt x="737" y="255"/>
                  </a:lnTo>
                  <a:lnTo>
                    <a:pt x="737" y="252"/>
                  </a:lnTo>
                  <a:lnTo>
                    <a:pt x="737" y="252"/>
                  </a:lnTo>
                  <a:lnTo>
                    <a:pt x="737" y="252"/>
                  </a:lnTo>
                  <a:lnTo>
                    <a:pt x="737" y="255"/>
                  </a:lnTo>
                  <a:lnTo>
                    <a:pt x="734" y="252"/>
                  </a:lnTo>
                  <a:lnTo>
                    <a:pt x="734" y="252"/>
                  </a:lnTo>
                  <a:lnTo>
                    <a:pt x="734" y="252"/>
                  </a:lnTo>
                  <a:lnTo>
                    <a:pt x="734" y="249"/>
                  </a:lnTo>
                  <a:lnTo>
                    <a:pt x="737" y="247"/>
                  </a:lnTo>
                  <a:lnTo>
                    <a:pt x="737" y="244"/>
                  </a:lnTo>
                  <a:lnTo>
                    <a:pt x="737" y="244"/>
                  </a:lnTo>
                  <a:lnTo>
                    <a:pt x="737" y="242"/>
                  </a:lnTo>
                  <a:lnTo>
                    <a:pt x="737" y="242"/>
                  </a:lnTo>
                  <a:lnTo>
                    <a:pt x="734" y="242"/>
                  </a:lnTo>
                  <a:lnTo>
                    <a:pt x="731" y="242"/>
                  </a:lnTo>
                  <a:lnTo>
                    <a:pt x="729" y="242"/>
                  </a:lnTo>
                  <a:lnTo>
                    <a:pt x="721" y="244"/>
                  </a:lnTo>
                  <a:lnTo>
                    <a:pt x="719" y="244"/>
                  </a:lnTo>
                  <a:lnTo>
                    <a:pt x="709" y="247"/>
                  </a:lnTo>
                  <a:lnTo>
                    <a:pt x="703" y="247"/>
                  </a:lnTo>
                  <a:lnTo>
                    <a:pt x="693" y="247"/>
                  </a:lnTo>
                  <a:lnTo>
                    <a:pt x="693" y="247"/>
                  </a:lnTo>
                  <a:lnTo>
                    <a:pt x="686" y="252"/>
                  </a:lnTo>
                  <a:lnTo>
                    <a:pt x="683" y="252"/>
                  </a:lnTo>
                  <a:lnTo>
                    <a:pt x="683" y="255"/>
                  </a:lnTo>
                  <a:lnTo>
                    <a:pt x="686" y="255"/>
                  </a:lnTo>
                  <a:lnTo>
                    <a:pt x="686" y="257"/>
                  </a:lnTo>
                  <a:lnTo>
                    <a:pt x="686" y="257"/>
                  </a:lnTo>
                  <a:lnTo>
                    <a:pt x="688" y="255"/>
                  </a:lnTo>
                  <a:lnTo>
                    <a:pt x="688" y="257"/>
                  </a:lnTo>
                  <a:lnTo>
                    <a:pt x="693" y="255"/>
                  </a:lnTo>
                  <a:lnTo>
                    <a:pt x="696" y="255"/>
                  </a:lnTo>
                  <a:lnTo>
                    <a:pt x="696" y="255"/>
                  </a:lnTo>
                  <a:lnTo>
                    <a:pt x="696" y="255"/>
                  </a:lnTo>
                  <a:lnTo>
                    <a:pt x="698" y="252"/>
                  </a:lnTo>
                  <a:lnTo>
                    <a:pt x="701" y="252"/>
                  </a:lnTo>
                  <a:lnTo>
                    <a:pt x="703" y="255"/>
                  </a:lnTo>
                  <a:lnTo>
                    <a:pt x="706" y="252"/>
                  </a:lnTo>
                  <a:lnTo>
                    <a:pt x="709" y="252"/>
                  </a:lnTo>
                  <a:lnTo>
                    <a:pt x="709" y="252"/>
                  </a:lnTo>
                  <a:lnTo>
                    <a:pt x="711" y="252"/>
                  </a:lnTo>
                  <a:lnTo>
                    <a:pt x="711" y="252"/>
                  </a:lnTo>
                  <a:lnTo>
                    <a:pt x="714" y="252"/>
                  </a:lnTo>
                  <a:lnTo>
                    <a:pt x="716" y="252"/>
                  </a:lnTo>
                  <a:lnTo>
                    <a:pt x="716" y="249"/>
                  </a:lnTo>
                  <a:lnTo>
                    <a:pt x="719" y="249"/>
                  </a:lnTo>
                  <a:lnTo>
                    <a:pt x="724" y="247"/>
                  </a:lnTo>
                  <a:lnTo>
                    <a:pt x="729" y="247"/>
                  </a:lnTo>
                  <a:lnTo>
                    <a:pt x="729" y="247"/>
                  </a:lnTo>
                  <a:lnTo>
                    <a:pt x="731" y="247"/>
                  </a:lnTo>
                  <a:lnTo>
                    <a:pt x="731" y="247"/>
                  </a:lnTo>
                  <a:lnTo>
                    <a:pt x="729" y="249"/>
                  </a:lnTo>
                  <a:lnTo>
                    <a:pt x="726" y="249"/>
                  </a:lnTo>
                  <a:lnTo>
                    <a:pt x="726" y="249"/>
                  </a:lnTo>
                  <a:lnTo>
                    <a:pt x="724" y="252"/>
                  </a:lnTo>
                  <a:lnTo>
                    <a:pt x="721" y="252"/>
                  </a:lnTo>
                  <a:lnTo>
                    <a:pt x="719" y="252"/>
                  </a:lnTo>
                  <a:lnTo>
                    <a:pt x="716" y="252"/>
                  </a:lnTo>
                  <a:lnTo>
                    <a:pt x="716" y="255"/>
                  </a:lnTo>
                  <a:lnTo>
                    <a:pt x="714" y="255"/>
                  </a:lnTo>
                  <a:lnTo>
                    <a:pt x="714" y="255"/>
                  </a:lnTo>
                  <a:lnTo>
                    <a:pt x="711" y="255"/>
                  </a:lnTo>
                  <a:lnTo>
                    <a:pt x="711" y="255"/>
                  </a:lnTo>
                  <a:lnTo>
                    <a:pt x="709" y="255"/>
                  </a:lnTo>
                  <a:lnTo>
                    <a:pt x="706" y="257"/>
                  </a:lnTo>
                  <a:lnTo>
                    <a:pt x="706" y="257"/>
                  </a:lnTo>
                  <a:lnTo>
                    <a:pt x="703" y="257"/>
                  </a:lnTo>
                  <a:lnTo>
                    <a:pt x="703" y="257"/>
                  </a:lnTo>
                  <a:lnTo>
                    <a:pt x="701" y="257"/>
                  </a:lnTo>
                  <a:lnTo>
                    <a:pt x="701" y="257"/>
                  </a:lnTo>
                  <a:lnTo>
                    <a:pt x="698" y="257"/>
                  </a:lnTo>
                  <a:lnTo>
                    <a:pt x="696" y="257"/>
                  </a:lnTo>
                  <a:lnTo>
                    <a:pt x="696" y="257"/>
                  </a:lnTo>
                  <a:lnTo>
                    <a:pt x="691" y="260"/>
                  </a:lnTo>
                  <a:lnTo>
                    <a:pt x="691" y="257"/>
                  </a:lnTo>
                  <a:lnTo>
                    <a:pt x="691" y="260"/>
                  </a:lnTo>
                  <a:lnTo>
                    <a:pt x="691" y="260"/>
                  </a:lnTo>
                  <a:lnTo>
                    <a:pt x="688" y="260"/>
                  </a:lnTo>
                  <a:lnTo>
                    <a:pt x="686" y="262"/>
                  </a:lnTo>
                  <a:lnTo>
                    <a:pt x="683" y="262"/>
                  </a:lnTo>
                  <a:lnTo>
                    <a:pt x="681" y="265"/>
                  </a:lnTo>
                  <a:lnTo>
                    <a:pt x="681" y="265"/>
                  </a:lnTo>
                  <a:lnTo>
                    <a:pt x="681" y="267"/>
                  </a:lnTo>
                  <a:lnTo>
                    <a:pt x="683" y="267"/>
                  </a:lnTo>
                  <a:lnTo>
                    <a:pt x="683" y="267"/>
                  </a:lnTo>
                  <a:lnTo>
                    <a:pt x="681" y="270"/>
                  </a:lnTo>
                  <a:lnTo>
                    <a:pt x="681" y="270"/>
                  </a:lnTo>
                  <a:lnTo>
                    <a:pt x="681" y="270"/>
                  </a:lnTo>
                  <a:lnTo>
                    <a:pt x="678" y="272"/>
                  </a:lnTo>
                  <a:lnTo>
                    <a:pt x="678" y="275"/>
                  </a:lnTo>
                  <a:lnTo>
                    <a:pt x="681" y="275"/>
                  </a:lnTo>
                  <a:lnTo>
                    <a:pt x="681" y="277"/>
                  </a:lnTo>
                  <a:lnTo>
                    <a:pt x="678" y="277"/>
                  </a:lnTo>
                  <a:lnTo>
                    <a:pt x="678" y="277"/>
                  </a:lnTo>
                  <a:lnTo>
                    <a:pt x="678" y="280"/>
                  </a:lnTo>
                  <a:lnTo>
                    <a:pt x="678" y="280"/>
                  </a:lnTo>
                  <a:lnTo>
                    <a:pt x="675" y="280"/>
                  </a:lnTo>
                  <a:lnTo>
                    <a:pt x="675" y="280"/>
                  </a:lnTo>
                  <a:lnTo>
                    <a:pt x="675" y="280"/>
                  </a:lnTo>
                  <a:lnTo>
                    <a:pt x="675" y="280"/>
                  </a:lnTo>
                  <a:lnTo>
                    <a:pt x="673" y="280"/>
                  </a:lnTo>
                  <a:lnTo>
                    <a:pt x="673" y="280"/>
                  </a:lnTo>
                  <a:lnTo>
                    <a:pt x="673" y="277"/>
                  </a:lnTo>
                  <a:lnTo>
                    <a:pt x="670" y="280"/>
                  </a:lnTo>
                  <a:lnTo>
                    <a:pt x="670" y="280"/>
                  </a:lnTo>
                  <a:lnTo>
                    <a:pt x="668" y="283"/>
                  </a:lnTo>
                  <a:lnTo>
                    <a:pt x="665" y="283"/>
                  </a:lnTo>
                  <a:lnTo>
                    <a:pt x="665" y="283"/>
                  </a:lnTo>
                  <a:lnTo>
                    <a:pt x="665" y="285"/>
                  </a:lnTo>
                  <a:lnTo>
                    <a:pt x="668" y="290"/>
                  </a:lnTo>
                  <a:lnTo>
                    <a:pt x="665" y="290"/>
                  </a:lnTo>
                  <a:lnTo>
                    <a:pt x="665" y="290"/>
                  </a:lnTo>
                  <a:lnTo>
                    <a:pt x="665" y="290"/>
                  </a:lnTo>
                  <a:lnTo>
                    <a:pt x="665" y="288"/>
                  </a:lnTo>
                  <a:lnTo>
                    <a:pt x="665" y="285"/>
                  </a:lnTo>
                  <a:lnTo>
                    <a:pt x="665" y="285"/>
                  </a:lnTo>
                  <a:lnTo>
                    <a:pt x="663" y="283"/>
                  </a:lnTo>
                  <a:lnTo>
                    <a:pt x="663" y="283"/>
                  </a:lnTo>
                  <a:lnTo>
                    <a:pt x="663" y="283"/>
                  </a:lnTo>
                  <a:lnTo>
                    <a:pt x="663" y="283"/>
                  </a:lnTo>
                  <a:lnTo>
                    <a:pt x="663" y="280"/>
                  </a:lnTo>
                  <a:lnTo>
                    <a:pt x="663" y="280"/>
                  </a:lnTo>
                  <a:lnTo>
                    <a:pt x="660" y="277"/>
                  </a:lnTo>
                  <a:lnTo>
                    <a:pt x="660" y="277"/>
                  </a:lnTo>
                  <a:lnTo>
                    <a:pt x="663" y="277"/>
                  </a:lnTo>
                  <a:lnTo>
                    <a:pt x="663" y="277"/>
                  </a:lnTo>
                  <a:lnTo>
                    <a:pt x="665" y="277"/>
                  </a:lnTo>
                  <a:lnTo>
                    <a:pt x="668" y="277"/>
                  </a:lnTo>
                  <a:lnTo>
                    <a:pt x="668" y="277"/>
                  </a:lnTo>
                  <a:lnTo>
                    <a:pt x="670" y="275"/>
                  </a:lnTo>
                  <a:lnTo>
                    <a:pt x="670" y="275"/>
                  </a:lnTo>
                  <a:lnTo>
                    <a:pt x="673" y="275"/>
                  </a:lnTo>
                  <a:lnTo>
                    <a:pt x="673" y="272"/>
                  </a:lnTo>
                  <a:lnTo>
                    <a:pt x="670" y="270"/>
                  </a:lnTo>
                  <a:lnTo>
                    <a:pt x="670" y="270"/>
                  </a:lnTo>
                  <a:lnTo>
                    <a:pt x="670" y="267"/>
                  </a:lnTo>
                  <a:lnTo>
                    <a:pt x="670" y="267"/>
                  </a:lnTo>
                  <a:lnTo>
                    <a:pt x="668" y="267"/>
                  </a:lnTo>
                  <a:lnTo>
                    <a:pt x="668" y="267"/>
                  </a:lnTo>
                  <a:lnTo>
                    <a:pt x="663" y="270"/>
                  </a:lnTo>
                  <a:lnTo>
                    <a:pt x="663" y="270"/>
                  </a:lnTo>
                  <a:lnTo>
                    <a:pt x="663" y="270"/>
                  </a:lnTo>
                  <a:lnTo>
                    <a:pt x="663" y="270"/>
                  </a:lnTo>
                  <a:lnTo>
                    <a:pt x="663" y="267"/>
                  </a:lnTo>
                  <a:lnTo>
                    <a:pt x="665" y="267"/>
                  </a:lnTo>
                  <a:lnTo>
                    <a:pt x="665" y="265"/>
                  </a:lnTo>
                  <a:lnTo>
                    <a:pt x="665" y="265"/>
                  </a:lnTo>
                  <a:lnTo>
                    <a:pt x="663" y="265"/>
                  </a:lnTo>
                  <a:lnTo>
                    <a:pt x="658" y="265"/>
                  </a:lnTo>
                  <a:lnTo>
                    <a:pt x="658" y="265"/>
                  </a:lnTo>
                  <a:lnTo>
                    <a:pt x="658" y="262"/>
                  </a:lnTo>
                  <a:lnTo>
                    <a:pt x="658" y="262"/>
                  </a:lnTo>
                  <a:lnTo>
                    <a:pt x="655" y="262"/>
                  </a:lnTo>
                  <a:lnTo>
                    <a:pt x="655" y="262"/>
                  </a:lnTo>
                  <a:lnTo>
                    <a:pt x="655" y="260"/>
                  </a:lnTo>
                  <a:lnTo>
                    <a:pt x="655" y="260"/>
                  </a:lnTo>
                  <a:lnTo>
                    <a:pt x="655" y="260"/>
                  </a:lnTo>
                  <a:lnTo>
                    <a:pt x="652" y="260"/>
                  </a:lnTo>
                  <a:lnTo>
                    <a:pt x="650" y="260"/>
                  </a:lnTo>
                  <a:lnTo>
                    <a:pt x="642" y="262"/>
                  </a:lnTo>
                  <a:lnTo>
                    <a:pt x="637" y="262"/>
                  </a:lnTo>
                  <a:lnTo>
                    <a:pt x="637" y="262"/>
                  </a:lnTo>
                  <a:lnTo>
                    <a:pt x="635" y="262"/>
                  </a:lnTo>
                  <a:lnTo>
                    <a:pt x="635" y="262"/>
                  </a:lnTo>
                  <a:lnTo>
                    <a:pt x="635" y="262"/>
                  </a:lnTo>
                  <a:lnTo>
                    <a:pt x="632" y="262"/>
                  </a:lnTo>
                  <a:lnTo>
                    <a:pt x="630" y="265"/>
                  </a:lnTo>
                  <a:lnTo>
                    <a:pt x="627" y="265"/>
                  </a:lnTo>
                  <a:lnTo>
                    <a:pt x="619" y="265"/>
                  </a:lnTo>
                  <a:lnTo>
                    <a:pt x="619" y="265"/>
                  </a:lnTo>
                  <a:lnTo>
                    <a:pt x="617" y="265"/>
                  </a:lnTo>
                  <a:lnTo>
                    <a:pt x="614" y="265"/>
                  </a:lnTo>
                  <a:lnTo>
                    <a:pt x="614" y="265"/>
                  </a:lnTo>
                  <a:lnTo>
                    <a:pt x="607" y="265"/>
                  </a:lnTo>
                  <a:lnTo>
                    <a:pt x="604" y="265"/>
                  </a:lnTo>
                  <a:lnTo>
                    <a:pt x="604" y="265"/>
                  </a:lnTo>
                  <a:lnTo>
                    <a:pt x="596" y="265"/>
                  </a:lnTo>
                  <a:lnTo>
                    <a:pt x="594" y="265"/>
                  </a:lnTo>
                  <a:lnTo>
                    <a:pt x="591" y="265"/>
                  </a:lnTo>
                  <a:lnTo>
                    <a:pt x="589" y="265"/>
                  </a:lnTo>
                  <a:lnTo>
                    <a:pt x="589" y="265"/>
                  </a:lnTo>
                  <a:lnTo>
                    <a:pt x="586" y="265"/>
                  </a:lnTo>
                  <a:lnTo>
                    <a:pt x="584" y="262"/>
                  </a:lnTo>
                  <a:lnTo>
                    <a:pt x="581" y="262"/>
                  </a:lnTo>
                  <a:lnTo>
                    <a:pt x="579" y="262"/>
                  </a:lnTo>
                  <a:lnTo>
                    <a:pt x="579" y="262"/>
                  </a:lnTo>
                  <a:lnTo>
                    <a:pt x="576" y="262"/>
                  </a:lnTo>
                  <a:lnTo>
                    <a:pt x="573" y="262"/>
                  </a:lnTo>
                  <a:lnTo>
                    <a:pt x="576" y="260"/>
                  </a:lnTo>
                  <a:lnTo>
                    <a:pt x="581" y="260"/>
                  </a:lnTo>
                  <a:lnTo>
                    <a:pt x="581" y="260"/>
                  </a:lnTo>
                  <a:lnTo>
                    <a:pt x="581" y="257"/>
                  </a:lnTo>
                  <a:lnTo>
                    <a:pt x="584" y="257"/>
                  </a:lnTo>
                  <a:lnTo>
                    <a:pt x="584" y="257"/>
                  </a:lnTo>
                  <a:lnTo>
                    <a:pt x="589" y="255"/>
                  </a:lnTo>
                  <a:lnTo>
                    <a:pt x="591" y="255"/>
                  </a:lnTo>
                  <a:lnTo>
                    <a:pt x="599" y="255"/>
                  </a:lnTo>
                  <a:lnTo>
                    <a:pt x="602" y="255"/>
                  </a:lnTo>
                  <a:lnTo>
                    <a:pt x="604" y="255"/>
                  </a:lnTo>
                  <a:lnTo>
                    <a:pt x="604" y="252"/>
                  </a:lnTo>
                  <a:lnTo>
                    <a:pt x="607" y="252"/>
                  </a:lnTo>
                  <a:lnTo>
                    <a:pt x="607" y="252"/>
                  </a:lnTo>
                  <a:lnTo>
                    <a:pt x="607" y="252"/>
                  </a:lnTo>
                  <a:lnTo>
                    <a:pt x="607" y="249"/>
                  </a:lnTo>
                  <a:lnTo>
                    <a:pt x="607" y="249"/>
                  </a:lnTo>
                  <a:lnTo>
                    <a:pt x="607" y="249"/>
                  </a:lnTo>
                  <a:lnTo>
                    <a:pt x="607" y="247"/>
                  </a:lnTo>
                  <a:lnTo>
                    <a:pt x="604" y="244"/>
                  </a:lnTo>
                  <a:lnTo>
                    <a:pt x="602" y="242"/>
                  </a:lnTo>
                  <a:lnTo>
                    <a:pt x="599" y="242"/>
                  </a:lnTo>
                  <a:lnTo>
                    <a:pt x="596" y="242"/>
                  </a:lnTo>
                  <a:lnTo>
                    <a:pt x="594" y="239"/>
                  </a:lnTo>
                  <a:lnTo>
                    <a:pt x="591" y="239"/>
                  </a:lnTo>
                  <a:lnTo>
                    <a:pt x="591" y="239"/>
                  </a:lnTo>
                  <a:lnTo>
                    <a:pt x="589" y="239"/>
                  </a:lnTo>
                  <a:lnTo>
                    <a:pt x="586" y="239"/>
                  </a:lnTo>
                  <a:lnTo>
                    <a:pt x="586" y="239"/>
                  </a:lnTo>
                  <a:lnTo>
                    <a:pt x="584" y="239"/>
                  </a:lnTo>
                  <a:lnTo>
                    <a:pt x="586" y="242"/>
                  </a:lnTo>
                  <a:lnTo>
                    <a:pt x="586" y="242"/>
                  </a:lnTo>
                  <a:lnTo>
                    <a:pt x="584" y="242"/>
                  </a:lnTo>
                  <a:lnTo>
                    <a:pt x="581" y="242"/>
                  </a:lnTo>
                  <a:lnTo>
                    <a:pt x="581" y="242"/>
                  </a:lnTo>
                  <a:lnTo>
                    <a:pt x="579" y="242"/>
                  </a:lnTo>
                  <a:lnTo>
                    <a:pt x="573" y="242"/>
                  </a:lnTo>
                  <a:lnTo>
                    <a:pt x="571" y="242"/>
                  </a:lnTo>
                  <a:lnTo>
                    <a:pt x="571" y="242"/>
                  </a:lnTo>
                  <a:lnTo>
                    <a:pt x="568" y="242"/>
                  </a:lnTo>
                  <a:lnTo>
                    <a:pt x="563" y="239"/>
                  </a:lnTo>
                  <a:lnTo>
                    <a:pt x="561" y="239"/>
                  </a:lnTo>
                  <a:lnTo>
                    <a:pt x="558" y="237"/>
                  </a:lnTo>
                  <a:lnTo>
                    <a:pt x="556" y="237"/>
                  </a:lnTo>
                  <a:lnTo>
                    <a:pt x="556" y="234"/>
                  </a:lnTo>
                  <a:lnTo>
                    <a:pt x="553" y="234"/>
                  </a:lnTo>
                  <a:lnTo>
                    <a:pt x="540" y="234"/>
                  </a:lnTo>
                  <a:lnTo>
                    <a:pt x="538" y="232"/>
                  </a:lnTo>
                  <a:lnTo>
                    <a:pt x="535" y="232"/>
                  </a:lnTo>
                  <a:lnTo>
                    <a:pt x="533" y="229"/>
                  </a:lnTo>
                  <a:lnTo>
                    <a:pt x="533" y="227"/>
                  </a:lnTo>
                  <a:lnTo>
                    <a:pt x="528" y="227"/>
                  </a:lnTo>
                  <a:lnTo>
                    <a:pt x="525" y="224"/>
                  </a:lnTo>
                  <a:lnTo>
                    <a:pt x="523" y="224"/>
                  </a:lnTo>
                  <a:lnTo>
                    <a:pt x="520" y="224"/>
                  </a:lnTo>
                  <a:lnTo>
                    <a:pt x="515" y="224"/>
                  </a:lnTo>
                  <a:lnTo>
                    <a:pt x="510" y="224"/>
                  </a:lnTo>
                  <a:lnTo>
                    <a:pt x="510" y="224"/>
                  </a:lnTo>
                  <a:lnTo>
                    <a:pt x="507" y="224"/>
                  </a:lnTo>
                  <a:lnTo>
                    <a:pt x="505" y="224"/>
                  </a:lnTo>
                  <a:lnTo>
                    <a:pt x="505" y="224"/>
                  </a:lnTo>
                  <a:lnTo>
                    <a:pt x="502" y="227"/>
                  </a:lnTo>
                  <a:lnTo>
                    <a:pt x="500" y="227"/>
                  </a:lnTo>
                  <a:lnTo>
                    <a:pt x="497" y="229"/>
                  </a:lnTo>
                  <a:lnTo>
                    <a:pt x="494" y="229"/>
                  </a:lnTo>
                  <a:lnTo>
                    <a:pt x="492" y="229"/>
                  </a:lnTo>
                  <a:lnTo>
                    <a:pt x="489" y="232"/>
                  </a:lnTo>
                  <a:lnTo>
                    <a:pt x="489" y="232"/>
                  </a:lnTo>
                  <a:lnTo>
                    <a:pt x="487" y="232"/>
                  </a:lnTo>
                  <a:lnTo>
                    <a:pt x="479" y="232"/>
                  </a:lnTo>
                  <a:lnTo>
                    <a:pt x="479" y="232"/>
                  </a:lnTo>
                  <a:lnTo>
                    <a:pt x="477" y="232"/>
                  </a:lnTo>
                  <a:lnTo>
                    <a:pt x="474" y="232"/>
                  </a:lnTo>
                  <a:lnTo>
                    <a:pt x="474" y="232"/>
                  </a:lnTo>
                  <a:lnTo>
                    <a:pt x="474" y="232"/>
                  </a:lnTo>
                  <a:lnTo>
                    <a:pt x="477" y="232"/>
                  </a:lnTo>
                  <a:lnTo>
                    <a:pt x="479" y="229"/>
                  </a:lnTo>
                  <a:lnTo>
                    <a:pt x="484" y="227"/>
                  </a:lnTo>
                  <a:lnTo>
                    <a:pt x="487" y="227"/>
                  </a:lnTo>
                  <a:lnTo>
                    <a:pt x="484" y="227"/>
                  </a:lnTo>
                  <a:lnTo>
                    <a:pt x="484" y="224"/>
                  </a:lnTo>
                  <a:lnTo>
                    <a:pt x="487" y="221"/>
                  </a:lnTo>
                  <a:lnTo>
                    <a:pt x="489" y="221"/>
                  </a:lnTo>
                  <a:lnTo>
                    <a:pt x="489" y="219"/>
                  </a:lnTo>
                  <a:lnTo>
                    <a:pt x="492" y="219"/>
                  </a:lnTo>
                  <a:lnTo>
                    <a:pt x="492" y="219"/>
                  </a:lnTo>
                  <a:lnTo>
                    <a:pt x="492" y="219"/>
                  </a:lnTo>
                  <a:lnTo>
                    <a:pt x="489" y="219"/>
                  </a:lnTo>
                  <a:lnTo>
                    <a:pt x="487" y="219"/>
                  </a:lnTo>
                  <a:lnTo>
                    <a:pt x="487" y="219"/>
                  </a:lnTo>
                  <a:lnTo>
                    <a:pt x="482" y="219"/>
                  </a:lnTo>
                  <a:lnTo>
                    <a:pt x="482" y="219"/>
                  </a:lnTo>
                  <a:lnTo>
                    <a:pt x="482" y="221"/>
                  </a:lnTo>
                  <a:lnTo>
                    <a:pt x="482" y="221"/>
                  </a:lnTo>
                  <a:lnTo>
                    <a:pt x="484" y="221"/>
                  </a:lnTo>
                  <a:lnTo>
                    <a:pt x="484" y="221"/>
                  </a:lnTo>
                  <a:lnTo>
                    <a:pt x="484" y="221"/>
                  </a:lnTo>
                  <a:lnTo>
                    <a:pt x="482" y="221"/>
                  </a:lnTo>
                  <a:lnTo>
                    <a:pt x="479" y="221"/>
                  </a:lnTo>
                  <a:lnTo>
                    <a:pt x="477" y="224"/>
                  </a:lnTo>
                  <a:lnTo>
                    <a:pt x="477" y="224"/>
                  </a:lnTo>
                  <a:lnTo>
                    <a:pt x="474" y="224"/>
                  </a:lnTo>
                  <a:lnTo>
                    <a:pt x="474" y="224"/>
                  </a:lnTo>
                  <a:lnTo>
                    <a:pt x="472" y="227"/>
                  </a:lnTo>
                  <a:lnTo>
                    <a:pt x="472" y="227"/>
                  </a:lnTo>
                  <a:lnTo>
                    <a:pt x="469" y="227"/>
                  </a:lnTo>
                  <a:lnTo>
                    <a:pt x="466" y="227"/>
                  </a:lnTo>
                  <a:lnTo>
                    <a:pt x="466" y="229"/>
                  </a:lnTo>
                  <a:lnTo>
                    <a:pt x="466" y="232"/>
                  </a:lnTo>
                  <a:lnTo>
                    <a:pt x="466" y="232"/>
                  </a:lnTo>
                  <a:lnTo>
                    <a:pt x="461" y="234"/>
                  </a:lnTo>
                  <a:lnTo>
                    <a:pt x="459" y="234"/>
                  </a:lnTo>
                  <a:lnTo>
                    <a:pt x="456" y="232"/>
                  </a:lnTo>
                  <a:lnTo>
                    <a:pt x="454" y="232"/>
                  </a:lnTo>
                  <a:lnTo>
                    <a:pt x="454" y="232"/>
                  </a:lnTo>
                  <a:lnTo>
                    <a:pt x="451" y="229"/>
                  </a:lnTo>
                  <a:lnTo>
                    <a:pt x="451" y="227"/>
                  </a:lnTo>
                  <a:lnTo>
                    <a:pt x="451" y="224"/>
                  </a:lnTo>
                  <a:lnTo>
                    <a:pt x="451" y="224"/>
                  </a:lnTo>
                  <a:lnTo>
                    <a:pt x="454" y="221"/>
                  </a:lnTo>
                  <a:lnTo>
                    <a:pt x="454" y="219"/>
                  </a:lnTo>
                  <a:lnTo>
                    <a:pt x="456" y="216"/>
                  </a:lnTo>
                  <a:lnTo>
                    <a:pt x="456" y="214"/>
                  </a:lnTo>
                  <a:lnTo>
                    <a:pt x="456" y="214"/>
                  </a:lnTo>
                  <a:lnTo>
                    <a:pt x="454" y="211"/>
                  </a:lnTo>
                  <a:lnTo>
                    <a:pt x="454" y="211"/>
                  </a:lnTo>
                  <a:lnTo>
                    <a:pt x="451" y="209"/>
                  </a:lnTo>
                  <a:lnTo>
                    <a:pt x="451" y="209"/>
                  </a:lnTo>
                  <a:lnTo>
                    <a:pt x="449" y="211"/>
                  </a:lnTo>
                  <a:lnTo>
                    <a:pt x="446" y="211"/>
                  </a:lnTo>
                  <a:lnTo>
                    <a:pt x="446" y="214"/>
                  </a:lnTo>
                  <a:lnTo>
                    <a:pt x="446" y="214"/>
                  </a:lnTo>
                  <a:lnTo>
                    <a:pt x="446" y="214"/>
                  </a:lnTo>
                  <a:lnTo>
                    <a:pt x="446" y="214"/>
                  </a:lnTo>
                  <a:lnTo>
                    <a:pt x="443" y="214"/>
                  </a:lnTo>
                  <a:lnTo>
                    <a:pt x="446" y="216"/>
                  </a:lnTo>
                  <a:lnTo>
                    <a:pt x="449" y="216"/>
                  </a:lnTo>
                  <a:lnTo>
                    <a:pt x="446" y="216"/>
                  </a:lnTo>
                  <a:lnTo>
                    <a:pt x="441" y="216"/>
                  </a:lnTo>
                  <a:lnTo>
                    <a:pt x="436" y="219"/>
                  </a:lnTo>
                  <a:lnTo>
                    <a:pt x="433" y="221"/>
                  </a:lnTo>
                  <a:lnTo>
                    <a:pt x="431" y="221"/>
                  </a:lnTo>
                  <a:lnTo>
                    <a:pt x="423" y="224"/>
                  </a:lnTo>
                  <a:lnTo>
                    <a:pt x="421" y="227"/>
                  </a:lnTo>
                  <a:lnTo>
                    <a:pt x="418" y="227"/>
                  </a:lnTo>
                  <a:lnTo>
                    <a:pt x="415" y="227"/>
                  </a:lnTo>
                  <a:lnTo>
                    <a:pt x="415" y="227"/>
                  </a:lnTo>
                  <a:lnTo>
                    <a:pt x="415" y="227"/>
                  </a:lnTo>
                  <a:lnTo>
                    <a:pt x="415" y="224"/>
                  </a:lnTo>
                  <a:lnTo>
                    <a:pt x="418" y="224"/>
                  </a:lnTo>
                  <a:lnTo>
                    <a:pt x="421" y="224"/>
                  </a:lnTo>
                  <a:lnTo>
                    <a:pt x="423" y="221"/>
                  </a:lnTo>
                  <a:lnTo>
                    <a:pt x="423" y="221"/>
                  </a:lnTo>
                  <a:lnTo>
                    <a:pt x="423" y="221"/>
                  </a:lnTo>
                  <a:lnTo>
                    <a:pt x="423" y="221"/>
                  </a:lnTo>
                  <a:lnTo>
                    <a:pt x="421" y="221"/>
                  </a:lnTo>
                  <a:lnTo>
                    <a:pt x="418" y="224"/>
                  </a:lnTo>
                  <a:lnTo>
                    <a:pt x="415" y="224"/>
                  </a:lnTo>
                  <a:lnTo>
                    <a:pt x="410" y="224"/>
                  </a:lnTo>
                  <a:lnTo>
                    <a:pt x="400" y="227"/>
                  </a:lnTo>
                  <a:lnTo>
                    <a:pt x="395" y="227"/>
                  </a:lnTo>
                  <a:lnTo>
                    <a:pt x="390" y="229"/>
                  </a:lnTo>
                  <a:lnTo>
                    <a:pt x="387" y="232"/>
                  </a:lnTo>
                  <a:lnTo>
                    <a:pt x="380" y="234"/>
                  </a:lnTo>
                  <a:lnTo>
                    <a:pt x="377" y="234"/>
                  </a:lnTo>
                  <a:lnTo>
                    <a:pt x="375" y="237"/>
                  </a:lnTo>
                  <a:lnTo>
                    <a:pt x="377" y="234"/>
                  </a:lnTo>
                  <a:lnTo>
                    <a:pt x="380" y="232"/>
                  </a:lnTo>
                  <a:lnTo>
                    <a:pt x="380" y="232"/>
                  </a:lnTo>
                  <a:lnTo>
                    <a:pt x="380" y="232"/>
                  </a:lnTo>
                  <a:lnTo>
                    <a:pt x="380" y="232"/>
                  </a:lnTo>
                  <a:lnTo>
                    <a:pt x="380" y="232"/>
                  </a:lnTo>
                  <a:lnTo>
                    <a:pt x="377" y="232"/>
                  </a:lnTo>
                  <a:lnTo>
                    <a:pt x="375" y="232"/>
                  </a:lnTo>
                  <a:lnTo>
                    <a:pt x="375" y="232"/>
                  </a:lnTo>
                  <a:lnTo>
                    <a:pt x="375" y="232"/>
                  </a:lnTo>
                  <a:lnTo>
                    <a:pt x="375" y="232"/>
                  </a:lnTo>
                  <a:lnTo>
                    <a:pt x="372" y="232"/>
                  </a:lnTo>
                  <a:lnTo>
                    <a:pt x="372" y="232"/>
                  </a:lnTo>
                  <a:lnTo>
                    <a:pt x="370" y="232"/>
                  </a:lnTo>
                  <a:lnTo>
                    <a:pt x="367" y="232"/>
                  </a:lnTo>
                  <a:lnTo>
                    <a:pt x="367" y="232"/>
                  </a:lnTo>
                  <a:lnTo>
                    <a:pt x="367" y="232"/>
                  </a:lnTo>
                  <a:lnTo>
                    <a:pt x="367" y="234"/>
                  </a:lnTo>
                  <a:lnTo>
                    <a:pt x="364" y="234"/>
                  </a:lnTo>
                  <a:lnTo>
                    <a:pt x="359" y="234"/>
                  </a:lnTo>
                  <a:lnTo>
                    <a:pt x="357" y="237"/>
                  </a:lnTo>
                  <a:lnTo>
                    <a:pt x="354" y="237"/>
                  </a:lnTo>
                  <a:lnTo>
                    <a:pt x="352" y="237"/>
                  </a:lnTo>
                  <a:lnTo>
                    <a:pt x="347" y="239"/>
                  </a:lnTo>
                  <a:lnTo>
                    <a:pt x="347" y="239"/>
                  </a:lnTo>
                  <a:lnTo>
                    <a:pt x="344" y="239"/>
                  </a:lnTo>
                  <a:lnTo>
                    <a:pt x="344" y="239"/>
                  </a:lnTo>
                  <a:lnTo>
                    <a:pt x="344" y="242"/>
                  </a:lnTo>
                  <a:lnTo>
                    <a:pt x="342" y="242"/>
                  </a:lnTo>
                  <a:lnTo>
                    <a:pt x="344" y="242"/>
                  </a:lnTo>
                  <a:lnTo>
                    <a:pt x="344" y="242"/>
                  </a:lnTo>
                  <a:lnTo>
                    <a:pt x="344" y="242"/>
                  </a:lnTo>
                  <a:lnTo>
                    <a:pt x="342" y="244"/>
                  </a:lnTo>
                  <a:lnTo>
                    <a:pt x="334" y="242"/>
                  </a:lnTo>
                  <a:lnTo>
                    <a:pt x="331" y="242"/>
                  </a:lnTo>
                  <a:lnTo>
                    <a:pt x="331" y="244"/>
                  </a:lnTo>
                  <a:lnTo>
                    <a:pt x="334" y="244"/>
                  </a:lnTo>
                  <a:lnTo>
                    <a:pt x="334" y="244"/>
                  </a:lnTo>
                  <a:lnTo>
                    <a:pt x="331" y="244"/>
                  </a:lnTo>
                  <a:lnTo>
                    <a:pt x="331" y="244"/>
                  </a:lnTo>
                  <a:lnTo>
                    <a:pt x="331" y="244"/>
                  </a:lnTo>
                  <a:lnTo>
                    <a:pt x="331" y="242"/>
                  </a:lnTo>
                  <a:lnTo>
                    <a:pt x="334" y="242"/>
                  </a:lnTo>
                  <a:lnTo>
                    <a:pt x="336" y="239"/>
                  </a:lnTo>
                  <a:lnTo>
                    <a:pt x="342" y="239"/>
                  </a:lnTo>
                  <a:lnTo>
                    <a:pt x="344" y="237"/>
                  </a:lnTo>
                  <a:lnTo>
                    <a:pt x="349" y="237"/>
                  </a:lnTo>
                  <a:lnTo>
                    <a:pt x="352" y="234"/>
                  </a:lnTo>
                  <a:lnTo>
                    <a:pt x="354" y="234"/>
                  </a:lnTo>
                  <a:lnTo>
                    <a:pt x="359" y="234"/>
                  </a:lnTo>
                  <a:lnTo>
                    <a:pt x="362" y="232"/>
                  </a:lnTo>
                  <a:lnTo>
                    <a:pt x="364" y="232"/>
                  </a:lnTo>
                  <a:lnTo>
                    <a:pt x="370" y="229"/>
                  </a:lnTo>
                  <a:lnTo>
                    <a:pt x="370" y="229"/>
                  </a:lnTo>
                  <a:lnTo>
                    <a:pt x="372" y="229"/>
                  </a:lnTo>
                  <a:lnTo>
                    <a:pt x="377" y="229"/>
                  </a:lnTo>
                  <a:lnTo>
                    <a:pt x="380" y="229"/>
                  </a:lnTo>
                  <a:lnTo>
                    <a:pt x="382" y="229"/>
                  </a:lnTo>
                  <a:lnTo>
                    <a:pt x="385" y="227"/>
                  </a:lnTo>
                  <a:lnTo>
                    <a:pt x="387" y="227"/>
                  </a:lnTo>
                  <a:lnTo>
                    <a:pt x="390" y="227"/>
                  </a:lnTo>
                  <a:lnTo>
                    <a:pt x="398" y="224"/>
                  </a:lnTo>
                  <a:lnTo>
                    <a:pt x="413" y="221"/>
                  </a:lnTo>
                  <a:lnTo>
                    <a:pt x="418" y="219"/>
                  </a:lnTo>
                  <a:lnTo>
                    <a:pt x="418" y="219"/>
                  </a:lnTo>
                  <a:lnTo>
                    <a:pt x="418" y="216"/>
                  </a:lnTo>
                  <a:lnTo>
                    <a:pt x="418" y="216"/>
                  </a:lnTo>
                  <a:lnTo>
                    <a:pt x="418" y="216"/>
                  </a:lnTo>
                  <a:lnTo>
                    <a:pt x="413" y="219"/>
                  </a:lnTo>
                  <a:lnTo>
                    <a:pt x="413" y="219"/>
                  </a:lnTo>
                  <a:lnTo>
                    <a:pt x="410" y="219"/>
                  </a:lnTo>
                  <a:lnTo>
                    <a:pt x="408" y="219"/>
                  </a:lnTo>
                  <a:lnTo>
                    <a:pt x="408" y="219"/>
                  </a:lnTo>
                  <a:lnTo>
                    <a:pt x="405" y="219"/>
                  </a:lnTo>
                  <a:lnTo>
                    <a:pt x="405" y="219"/>
                  </a:lnTo>
                  <a:lnTo>
                    <a:pt x="403" y="219"/>
                  </a:lnTo>
                  <a:lnTo>
                    <a:pt x="398" y="219"/>
                  </a:lnTo>
                  <a:lnTo>
                    <a:pt x="395" y="221"/>
                  </a:lnTo>
                  <a:lnTo>
                    <a:pt x="393" y="221"/>
                  </a:lnTo>
                  <a:lnTo>
                    <a:pt x="390" y="221"/>
                  </a:lnTo>
                  <a:lnTo>
                    <a:pt x="390" y="221"/>
                  </a:lnTo>
                  <a:lnTo>
                    <a:pt x="387" y="221"/>
                  </a:lnTo>
                  <a:lnTo>
                    <a:pt x="385" y="221"/>
                  </a:lnTo>
                  <a:lnTo>
                    <a:pt x="382" y="224"/>
                  </a:lnTo>
                  <a:lnTo>
                    <a:pt x="375" y="227"/>
                  </a:lnTo>
                  <a:lnTo>
                    <a:pt x="370" y="227"/>
                  </a:lnTo>
                  <a:lnTo>
                    <a:pt x="370" y="227"/>
                  </a:lnTo>
                  <a:lnTo>
                    <a:pt x="370" y="227"/>
                  </a:lnTo>
                  <a:lnTo>
                    <a:pt x="367" y="227"/>
                  </a:lnTo>
                  <a:lnTo>
                    <a:pt x="364" y="227"/>
                  </a:lnTo>
                  <a:lnTo>
                    <a:pt x="364" y="227"/>
                  </a:lnTo>
                  <a:lnTo>
                    <a:pt x="364" y="227"/>
                  </a:lnTo>
                  <a:lnTo>
                    <a:pt x="364" y="227"/>
                  </a:lnTo>
                  <a:lnTo>
                    <a:pt x="367" y="227"/>
                  </a:lnTo>
                  <a:lnTo>
                    <a:pt x="364" y="227"/>
                  </a:lnTo>
                  <a:lnTo>
                    <a:pt x="364" y="227"/>
                  </a:lnTo>
                  <a:lnTo>
                    <a:pt x="364" y="227"/>
                  </a:lnTo>
                  <a:lnTo>
                    <a:pt x="359" y="227"/>
                  </a:lnTo>
                  <a:lnTo>
                    <a:pt x="357" y="227"/>
                  </a:lnTo>
                  <a:lnTo>
                    <a:pt x="352" y="229"/>
                  </a:lnTo>
                  <a:lnTo>
                    <a:pt x="352" y="232"/>
                  </a:lnTo>
                  <a:lnTo>
                    <a:pt x="349" y="232"/>
                  </a:lnTo>
                  <a:lnTo>
                    <a:pt x="347" y="232"/>
                  </a:lnTo>
                  <a:lnTo>
                    <a:pt x="344" y="232"/>
                  </a:lnTo>
                  <a:lnTo>
                    <a:pt x="339" y="232"/>
                  </a:lnTo>
                  <a:lnTo>
                    <a:pt x="334" y="234"/>
                  </a:lnTo>
                  <a:lnTo>
                    <a:pt x="329" y="234"/>
                  </a:lnTo>
                  <a:lnTo>
                    <a:pt x="331" y="234"/>
                  </a:lnTo>
                  <a:lnTo>
                    <a:pt x="336" y="232"/>
                  </a:lnTo>
                  <a:lnTo>
                    <a:pt x="336" y="232"/>
                  </a:lnTo>
                  <a:lnTo>
                    <a:pt x="342" y="229"/>
                  </a:lnTo>
                  <a:lnTo>
                    <a:pt x="342" y="229"/>
                  </a:lnTo>
                  <a:lnTo>
                    <a:pt x="339" y="229"/>
                  </a:lnTo>
                  <a:lnTo>
                    <a:pt x="339" y="229"/>
                  </a:lnTo>
                  <a:lnTo>
                    <a:pt x="339" y="227"/>
                  </a:lnTo>
                  <a:lnTo>
                    <a:pt x="339" y="227"/>
                  </a:lnTo>
                  <a:lnTo>
                    <a:pt x="336" y="227"/>
                  </a:lnTo>
                  <a:lnTo>
                    <a:pt x="336" y="227"/>
                  </a:lnTo>
                  <a:lnTo>
                    <a:pt x="334" y="227"/>
                  </a:lnTo>
                  <a:lnTo>
                    <a:pt x="334" y="229"/>
                  </a:lnTo>
                  <a:lnTo>
                    <a:pt x="334" y="229"/>
                  </a:lnTo>
                  <a:lnTo>
                    <a:pt x="331" y="232"/>
                  </a:lnTo>
                  <a:lnTo>
                    <a:pt x="331" y="232"/>
                  </a:lnTo>
                  <a:lnTo>
                    <a:pt x="326" y="232"/>
                  </a:lnTo>
                  <a:lnTo>
                    <a:pt x="321" y="232"/>
                  </a:lnTo>
                  <a:lnTo>
                    <a:pt x="321" y="232"/>
                  </a:lnTo>
                  <a:lnTo>
                    <a:pt x="319" y="232"/>
                  </a:lnTo>
                  <a:lnTo>
                    <a:pt x="316" y="234"/>
                  </a:lnTo>
                  <a:lnTo>
                    <a:pt x="316" y="234"/>
                  </a:lnTo>
                  <a:lnTo>
                    <a:pt x="314" y="234"/>
                  </a:lnTo>
                  <a:lnTo>
                    <a:pt x="311" y="234"/>
                  </a:lnTo>
                  <a:lnTo>
                    <a:pt x="308" y="234"/>
                  </a:lnTo>
                  <a:lnTo>
                    <a:pt x="301" y="237"/>
                  </a:lnTo>
                  <a:lnTo>
                    <a:pt x="301" y="239"/>
                  </a:lnTo>
                  <a:lnTo>
                    <a:pt x="303" y="239"/>
                  </a:lnTo>
                  <a:lnTo>
                    <a:pt x="303" y="239"/>
                  </a:lnTo>
                  <a:lnTo>
                    <a:pt x="303" y="239"/>
                  </a:lnTo>
                  <a:lnTo>
                    <a:pt x="303" y="239"/>
                  </a:lnTo>
                  <a:lnTo>
                    <a:pt x="301" y="239"/>
                  </a:lnTo>
                  <a:lnTo>
                    <a:pt x="298" y="239"/>
                  </a:lnTo>
                  <a:lnTo>
                    <a:pt x="298" y="239"/>
                  </a:lnTo>
                  <a:lnTo>
                    <a:pt x="298" y="239"/>
                  </a:lnTo>
                  <a:lnTo>
                    <a:pt x="296" y="242"/>
                  </a:lnTo>
                  <a:lnTo>
                    <a:pt x="296" y="242"/>
                  </a:lnTo>
                  <a:lnTo>
                    <a:pt x="301" y="242"/>
                  </a:lnTo>
                  <a:lnTo>
                    <a:pt x="301" y="242"/>
                  </a:lnTo>
                  <a:lnTo>
                    <a:pt x="301" y="242"/>
                  </a:lnTo>
                  <a:lnTo>
                    <a:pt x="301" y="244"/>
                  </a:lnTo>
                  <a:lnTo>
                    <a:pt x="301" y="247"/>
                  </a:lnTo>
                  <a:lnTo>
                    <a:pt x="298" y="244"/>
                  </a:lnTo>
                  <a:lnTo>
                    <a:pt x="296" y="242"/>
                  </a:lnTo>
                  <a:lnTo>
                    <a:pt x="293" y="242"/>
                  </a:lnTo>
                  <a:lnTo>
                    <a:pt x="288" y="242"/>
                  </a:lnTo>
                  <a:lnTo>
                    <a:pt x="283" y="242"/>
                  </a:lnTo>
                  <a:lnTo>
                    <a:pt x="280" y="242"/>
                  </a:lnTo>
                  <a:lnTo>
                    <a:pt x="278" y="239"/>
                  </a:lnTo>
                  <a:lnTo>
                    <a:pt x="273" y="237"/>
                  </a:lnTo>
                  <a:lnTo>
                    <a:pt x="270" y="237"/>
                  </a:lnTo>
                  <a:lnTo>
                    <a:pt x="270" y="237"/>
                  </a:lnTo>
                  <a:lnTo>
                    <a:pt x="265" y="234"/>
                  </a:lnTo>
                  <a:lnTo>
                    <a:pt x="263" y="229"/>
                  </a:lnTo>
                  <a:lnTo>
                    <a:pt x="255" y="229"/>
                  </a:lnTo>
                  <a:lnTo>
                    <a:pt x="247" y="229"/>
                  </a:lnTo>
                  <a:lnTo>
                    <a:pt x="242" y="227"/>
                  </a:lnTo>
                  <a:lnTo>
                    <a:pt x="240" y="227"/>
                  </a:lnTo>
                  <a:lnTo>
                    <a:pt x="235" y="232"/>
                  </a:lnTo>
                  <a:lnTo>
                    <a:pt x="227" y="239"/>
                  </a:lnTo>
                  <a:lnTo>
                    <a:pt x="219" y="244"/>
                  </a:lnTo>
                  <a:lnTo>
                    <a:pt x="212" y="249"/>
                  </a:lnTo>
                  <a:lnTo>
                    <a:pt x="204" y="255"/>
                  </a:lnTo>
                  <a:lnTo>
                    <a:pt x="196" y="262"/>
                  </a:lnTo>
                  <a:lnTo>
                    <a:pt x="189" y="267"/>
                  </a:lnTo>
                  <a:lnTo>
                    <a:pt x="181" y="272"/>
                  </a:lnTo>
                  <a:lnTo>
                    <a:pt x="173" y="277"/>
                  </a:lnTo>
                  <a:lnTo>
                    <a:pt x="166" y="285"/>
                  </a:lnTo>
                  <a:lnTo>
                    <a:pt x="161" y="290"/>
                  </a:lnTo>
                  <a:lnTo>
                    <a:pt x="153" y="295"/>
                  </a:lnTo>
                  <a:lnTo>
                    <a:pt x="145" y="300"/>
                  </a:lnTo>
                  <a:lnTo>
                    <a:pt x="138" y="308"/>
                  </a:lnTo>
                  <a:lnTo>
                    <a:pt x="130" y="313"/>
                  </a:lnTo>
                  <a:lnTo>
                    <a:pt x="122" y="318"/>
                  </a:lnTo>
                  <a:lnTo>
                    <a:pt x="117" y="323"/>
                  </a:lnTo>
                  <a:lnTo>
                    <a:pt x="110" y="331"/>
                  </a:lnTo>
                  <a:lnTo>
                    <a:pt x="102" y="336"/>
                  </a:lnTo>
                  <a:lnTo>
                    <a:pt x="94" y="341"/>
                  </a:lnTo>
                  <a:lnTo>
                    <a:pt x="89" y="349"/>
                  </a:lnTo>
                  <a:lnTo>
                    <a:pt x="82" y="354"/>
                  </a:lnTo>
                  <a:lnTo>
                    <a:pt x="74" y="359"/>
                  </a:lnTo>
                  <a:lnTo>
                    <a:pt x="66" y="366"/>
                  </a:lnTo>
                  <a:lnTo>
                    <a:pt x="61" y="372"/>
                  </a:lnTo>
                  <a:lnTo>
                    <a:pt x="54" y="377"/>
                  </a:lnTo>
                  <a:lnTo>
                    <a:pt x="46" y="384"/>
                  </a:lnTo>
                  <a:lnTo>
                    <a:pt x="41" y="389"/>
                  </a:lnTo>
                  <a:lnTo>
                    <a:pt x="33" y="397"/>
                  </a:lnTo>
                  <a:lnTo>
                    <a:pt x="26" y="402"/>
                  </a:lnTo>
                  <a:lnTo>
                    <a:pt x="18" y="407"/>
                  </a:lnTo>
                  <a:lnTo>
                    <a:pt x="13" y="415"/>
                  </a:lnTo>
                  <a:lnTo>
                    <a:pt x="15" y="415"/>
                  </a:lnTo>
                  <a:lnTo>
                    <a:pt x="18" y="415"/>
                  </a:lnTo>
                  <a:lnTo>
                    <a:pt x="20" y="415"/>
                  </a:lnTo>
                  <a:lnTo>
                    <a:pt x="23" y="415"/>
                  </a:lnTo>
                  <a:lnTo>
                    <a:pt x="26" y="417"/>
                  </a:lnTo>
                  <a:lnTo>
                    <a:pt x="31" y="415"/>
                  </a:lnTo>
                  <a:lnTo>
                    <a:pt x="33" y="412"/>
                  </a:lnTo>
                  <a:lnTo>
                    <a:pt x="38" y="412"/>
                  </a:lnTo>
                  <a:lnTo>
                    <a:pt x="41" y="412"/>
                  </a:lnTo>
                  <a:lnTo>
                    <a:pt x="43" y="412"/>
                  </a:lnTo>
                  <a:lnTo>
                    <a:pt x="43" y="415"/>
                  </a:lnTo>
                  <a:lnTo>
                    <a:pt x="38" y="417"/>
                  </a:lnTo>
                  <a:lnTo>
                    <a:pt x="36" y="417"/>
                  </a:lnTo>
                  <a:lnTo>
                    <a:pt x="36" y="420"/>
                  </a:lnTo>
                  <a:lnTo>
                    <a:pt x="38" y="422"/>
                  </a:lnTo>
                  <a:lnTo>
                    <a:pt x="41" y="422"/>
                  </a:lnTo>
                  <a:lnTo>
                    <a:pt x="38" y="425"/>
                  </a:lnTo>
                  <a:lnTo>
                    <a:pt x="38" y="428"/>
                  </a:lnTo>
                  <a:lnTo>
                    <a:pt x="41" y="428"/>
                  </a:lnTo>
                  <a:lnTo>
                    <a:pt x="41" y="430"/>
                  </a:lnTo>
                  <a:lnTo>
                    <a:pt x="41" y="433"/>
                  </a:lnTo>
                  <a:lnTo>
                    <a:pt x="41" y="433"/>
                  </a:lnTo>
                  <a:lnTo>
                    <a:pt x="43" y="435"/>
                  </a:lnTo>
                  <a:lnTo>
                    <a:pt x="43" y="435"/>
                  </a:lnTo>
                  <a:lnTo>
                    <a:pt x="41" y="438"/>
                  </a:lnTo>
                  <a:lnTo>
                    <a:pt x="38" y="440"/>
                  </a:lnTo>
                  <a:lnTo>
                    <a:pt x="36" y="443"/>
                  </a:lnTo>
                  <a:lnTo>
                    <a:pt x="38" y="443"/>
                  </a:lnTo>
                  <a:lnTo>
                    <a:pt x="43" y="440"/>
                  </a:lnTo>
                  <a:lnTo>
                    <a:pt x="46" y="440"/>
                  </a:lnTo>
                  <a:lnTo>
                    <a:pt x="51" y="438"/>
                  </a:lnTo>
                  <a:lnTo>
                    <a:pt x="54" y="438"/>
                  </a:lnTo>
                  <a:lnTo>
                    <a:pt x="59" y="438"/>
                  </a:lnTo>
                  <a:lnTo>
                    <a:pt x="61" y="435"/>
                  </a:lnTo>
                  <a:lnTo>
                    <a:pt x="66" y="433"/>
                  </a:lnTo>
                  <a:lnTo>
                    <a:pt x="69" y="433"/>
                  </a:lnTo>
                  <a:lnTo>
                    <a:pt x="69" y="430"/>
                  </a:lnTo>
                  <a:lnTo>
                    <a:pt x="71" y="430"/>
                  </a:lnTo>
                  <a:lnTo>
                    <a:pt x="71" y="428"/>
                  </a:lnTo>
                  <a:lnTo>
                    <a:pt x="77" y="428"/>
                  </a:lnTo>
                  <a:lnTo>
                    <a:pt x="79" y="428"/>
                  </a:lnTo>
                  <a:lnTo>
                    <a:pt x="84" y="425"/>
                  </a:lnTo>
                  <a:lnTo>
                    <a:pt x="89" y="425"/>
                  </a:lnTo>
                  <a:lnTo>
                    <a:pt x="89" y="425"/>
                  </a:lnTo>
                  <a:lnTo>
                    <a:pt x="92" y="428"/>
                  </a:lnTo>
                  <a:lnTo>
                    <a:pt x="92" y="430"/>
                  </a:lnTo>
                  <a:lnTo>
                    <a:pt x="92" y="430"/>
                  </a:lnTo>
                  <a:lnTo>
                    <a:pt x="89" y="430"/>
                  </a:lnTo>
                  <a:lnTo>
                    <a:pt x="89" y="433"/>
                  </a:lnTo>
                  <a:lnTo>
                    <a:pt x="87" y="435"/>
                  </a:lnTo>
                  <a:lnTo>
                    <a:pt x="87" y="435"/>
                  </a:lnTo>
                  <a:lnTo>
                    <a:pt x="89" y="435"/>
                  </a:lnTo>
                  <a:lnTo>
                    <a:pt x="89" y="438"/>
                  </a:lnTo>
                  <a:lnTo>
                    <a:pt x="89" y="438"/>
                  </a:lnTo>
                  <a:lnTo>
                    <a:pt x="92" y="440"/>
                  </a:lnTo>
                  <a:lnTo>
                    <a:pt x="89" y="440"/>
                  </a:lnTo>
                  <a:lnTo>
                    <a:pt x="89" y="440"/>
                  </a:lnTo>
                  <a:lnTo>
                    <a:pt x="89" y="443"/>
                  </a:lnTo>
                  <a:lnTo>
                    <a:pt x="89" y="443"/>
                  </a:lnTo>
                  <a:lnTo>
                    <a:pt x="89" y="443"/>
                  </a:lnTo>
                  <a:lnTo>
                    <a:pt x="89" y="445"/>
                  </a:lnTo>
                  <a:lnTo>
                    <a:pt x="89" y="445"/>
                  </a:lnTo>
                  <a:lnTo>
                    <a:pt x="92" y="445"/>
                  </a:lnTo>
                  <a:lnTo>
                    <a:pt x="92" y="448"/>
                  </a:lnTo>
                  <a:lnTo>
                    <a:pt x="92" y="450"/>
                  </a:lnTo>
                  <a:lnTo>
                    <a:pt x="92" y="450"/>
                  </a:lnTo>
                  <a:lnTo>
                    <a:pt x="92" y="453"/>
                  </a:lnTo>
                  <a:lnTo>
                    <a:pt x="92" y="456"/>
                  </a:lnTo>
                  <a:lnTo>
                    <a:pt x="92" y="458"/>
                  </a:lnTo>
                  <a:lnTo>
                    <a:pt x="89" y="461"/>
                  </a:lnTo>
                  <a:lnTo>
                    <a:pt x="89" y="463"/>
                  </a:lnTo>
                  <a:lnTo>
                    <a:pt x="89" y="466"/>
                  </a:lnTo>
                  <a:lnTo>
                    <a:pt x="89" y="466"/>
                  </a:lnTo>
                  <a:lnTo>
                    <a:pt x="89" y="471"/>
                  </a:lnTo>
                  <a:lnTo>
                    <a:pt x="87" y="473"/>
                  </a:lnTo>
                  <a:lnTo>
                    <a:pt x="87" y="473"/>
                  </a:lnTo>
                  <a:lnTo>
                    <a:pt x="87" y="478"/>
                  </a:lnTo>
                  <a:lnTo>
                    <a:pt x="87" y="478"/>
                  </a:lnTo>
                  <a:lnTo>
                    <a:pt x="84" y="481"/>
                  </a:lnTo>
                  <a:lnTo>
                    <a:pt x="82" y="481"/>
                  </a:lnTo>
                  <a:lnTo>
                    <a:pt x="84" y="481"/>
                  </a:lnTo>
                  <a:lnTo>
                    <a:pt x="87" y="484"/>
                  </a:lnTo>
                  <a:lnTo>
                    <a:pt x="84" y="484"/>
                  </a:lnTo>
                  <a:lnTo>
                    <a:pt x="82" y="486"/>
                  </a:lnTo>
                  <a:lnTo>
                    <a:pt x="84" y="486"/>
                  </a:lnTo>
                  <a:lnTo>
                    <a:pt x="84" y="489"/>
                  </a:lnTo>
                  <a:lnTo>
                    <a:pt x="82" y="489"/>
                  </a:lnTo>
                  <a:lnTo>
                    <a:pt x="82" y="491"/>
                  </a:lnTo>
                  <a:lnTo>
                    <a:pt x="82" y="491"/>
                  </a:lnTo>
                  <a:lnTo>
                    <a:pt x="84" y="491"/>
                  </a:lnTo>
                  <a:lnTo>
                    <a:pt x="84" y="491"/>
                  </a:lnTo>
                  <a:lnTo>
                    <a:pt x="87" y="494"/>
                  </a:lnTo>
                  <a:lnTo>
                    <a:pt x="87" y="494"/>
                  </a:lnTo>
                  <a:lnTo>
                    <a:pt x="89" y="494"/>
                  </a:lnTo>
                  <a:lnTo>
                    <a:pt x="89" y="496"/>
                  </a:lnTo>
                  <a:lnTo>
                    <a:pt x="92" y="496"/>
                  </a:lnTo>
                  <a:lnTo>
                    <a:pt x="94" y="496"/>
                  </a:lnTo>
                  <a:lnTo>
                    <a:pt x="94" y="499"/>
                  </a:lnTo>
                  <a:lnTo>
                    <a:pt x="94" y="499"/>
                  </a:lnTo>
                  <a:lnTo>
                    <a:pt x="94" y="501"/>
                  </a:lnTo>
                  <a:lnTo>
                    <a:pt x="97" y="504"/>
                  </a:lnTo>
                  <a:lnTo>
                    <a:pt x="99" y="501"/>
                  </a:lnTo>
                  <a:lnTo>
                    <a:pt x="99" y="504"/>
                  </a:lnTo>
                  <a:lnTo>
                    <a:pt x="99" y="504"/>
                  </a:lnTo>
                  <a:lnTo>
                    <a:pt x="97" y="506"/>
                  </a:lnTo>
                  <a:lnTo>
                    <a:pt x="97" y="506"/>
                  </a:lnTo>
                  <a:lnTo>
                    <a:pt x="97" y="506"/>
                  </a:lnTo>
                  <a:lnTo>
                    <a:pt x="94" y="509"/>
                  </a:lnTo>
                  <a:lnTo>
                    <a:pt x="92" y="509"/>
                  </a:lnTo>
                  <a:lnTo>
                    <a:pt x="92" y="512"/>
                  </a:lnTo>
                  <a:lnTo>
                    <a:pt x="89" y="512"/>
                  </a:lnTo>
                  <a:lnTo>
                    <a:pt x="89" y="514"/>
                  </a:lnTo>
                  <a:lnTo>
                    <a:pt x="87" y="517"/>
                  </a:lnTo>
                  <a:lnTo>
                    <a:pt x="87" y="519"/>
                  </a:lnTo>
                  <a:lnTo>
                    <a:pt x="84" y="519"/>
                  </a:lnTo>
                  <a:lnTo>
                    <a:pt x="82" y="522"/>
                  </a:lnTo>
                  <a:lnTo>
                    <a:pt x="79" y="524"/>
                  </a:lnTo>
                  <a:lnTo>
                    <a:pt x="79" y="524"/>
                  </a:lnTo>
                  <a:lnTo>
                    <a:pt x="82" y="524"/>
                  </a:lnTo>
                  <a:lnTo>
                    <a:pt x="87" y="522"/>
                  </a:lnTo>
                  <a:lnTo>
                    <a:pt x="87" y="519"/>
                  </a:lnTo>
                  <a:lnTo>
                    <a:pt x="89" y="517"/>
                  </a:lnTo>
                  <a:lnTo>
                    <a:pt x="92" y="514"/>
                  </a:lnTo>
                  <a:lnTo>
                    <a:pt x="94" y="514"/>
                  </a:lnTo>
                  <a:lnTo>
                    <a:pt x="92" y="514"/>
                  </a:lnTo>
                  <a:lnTo>
                    <a:pt x="92" y="517"/>
                  </a:lnTo>
                  <a:lnTo>
                    <a:pt x="92" y="517"/>
                  </a:lnTo>
                  <a:lnTo>
                    <a:pt x="94" y="517"/>
                  </a:lnTo>
                  <a:lnTo>
                    <a:pt x="94" y="517"/>
                  </a:lnTo>
                  <a:lnTo>
                    <a:pt x="94" y="517"/>
                  </a:lnTo>
                  <a:lnTo>
                    <a:pt x="89" y="519"/>
                  </a:lnTo>
                  <a:lnTo>
                    <a:pt x="84" y="522"/>
                  </a:lnTo>
                  <a:lnTo>
                    <a:pt x="82" y="524"/>
                  </a:lnTo>
                  <a:lnTo>
                    <a:pt x="74" y="529"/>
                  </a:lnTo>
                  <a:lnTo>
                    <a:pt x="74" y="529"/>
                  </a:lnTo>
                  <a:lnTo>
                    <a:pt x="69" y="532"/>
                  </a:lnTo>
                  <a:lnTo>
                    <a:pt x="69" y="532"/>
                  </a:lnTo>
                  <a:lnTo>
                    <a:pt x="66" y="534"/>
                  </a:lnTo>
                  <a:lnTo>
                    <a:pt x="66" y="534"/>
                  </a:lnTo>
                  <a:lnTo>
                    <a:pt x="64" y="537"/>
                  </a:lnTo>
                  <a:lnTo>
                    <a:pt x="61" y="537"/>
                  </a:lnTo>
                  <a:lnTo>
                    <a:pt x="61" y="540"/>
                  </a:lnTo>
                  <a:lnTo>
                    <a:pt x="59" y="540"/>
                  </a:lnTo>
                  <a:lnTo>
                    <a:pt x="59" y="542"/>
                  </a:lnTo>
                  <a:lnTo>
                    <a:pt x="61" y="545"/>
                  </a:lnTo>
                  <a:lnTo>
                    <a:pt x="66" y="542"/>
                  </a:lnTo>
                  <a:lnTo>
                    <a:pt x="66" y="542"/>
                  </a:lnTo>
                  <a:lnTo>
                    <a:pt x="69" y="542"/>
                  </a:lnTo>
                  <a:lnTo>
                    <a:pt x="66" y="545"/>
                  </a:lnTo>
                  <a:lnTo>
                    <a:pt x="61" y="545"/>
                  </a:lnTo>
                  <a:lnTo>
                    <a:pt x="61" y="545"/>
                  </a:lnTo>
                  <a:lnTo>
                    <a:pt x="56" y="547"/>
                  </a:lnTo>
                  <a:lnTo>
                    <a:pt x="54" y="550"/>
                  </a:lnTo>
                  <a:lnTo>
                    <a:pt x="48" y="552"/>
                  </a:lnTo>
                  <a:lnTo>
                    <a:pt x="48" y="555"/>
                  </a:lnTo>
                  <a:lnTo>
                    <a:pt x="51" y="557"/>
                  </a:lnTo>
                  <a:lnTo>
                    <a:pt x="51" y="557"/>
                  </a:lnTo>
                  <a:lnTo>
                    <a:pt x="51" y="560"/>
                  </a:lnTo>
                  <a:lnTo>
                    <a:pt x="51" y="562"/>
                  </a:lnTo>
                  <a:lnTo>
                    <a:pt x="51" y="562"/>
                  </a:lnTo>
                  <a:lnTo>
                    <a:pt x="56" y="562"/>
                  </a:lnTo>
                  <a:lnTo>
                    <a:pt x="59" y="560"/>
                  </a:lnTo>
                  <a:lnTo>
                    <a:pt x="61" y="560"/>
                  </a:lnTo>
                  <a:lnTo>
                    <a:pt x="61" y="560"/>
                  </a:lnTo>
                  <a:lnTo>
                    <a:pt x="64" y="557"/>
                  </a:lnTo>
                  <a:lnTo>
                    <a:pt x="66" y="555"/>
                  </a:lnTo>
                  <a:lnTo>
                    <a:pt x="71" y="552"/>
                  </a:lnTo>
                  <a:lnTo>
                    <a:pt x="71" y="552"/>
                  </a:lnTo>
                  <a:lnTo>
                    <a:pt x="74" y="550"/>
                  </a:lnTo>
                  <a:lnTo>
                    <a:pt x="74" y="550"/>
                  </a:lnTo>
                  <a:lnTo>
                    <a:pt x="74" y="552"/>
                  </a:lnTo>
                  <a:lnTo>
                    <a:pt x="74" y="552"/>
                  </a:lnTo>
                  <a:lnTo>
                    <a:pt x="79" y="550"/>
                  </a:lnTo>
                  <a:lnTo>
                    <a:pt x="82" y="550"/>
                  </a:lnTo>
                  <a:lnTo>
                    <a:pt x="82" y="550"/>
                  </a:lnTo>
                  <a:lnTo>
                    <a:pt x="82" y="550"/>
                  </a:lnTo>
                  <a:lnTo>
                    <a:pt x="79" y="552"/>
                  </a:lnTo>
                  <a:lnTo>
                    <a:pt x="77" y="552"/>
                  </a:lnTo>
                  <a:lnTo>
                    <a:pt x="77" y="552"/>
                  </a:lnTo>
                  <a:lnTo>
                    <a:pt x="77" y="552"/>
                  </a:lnTo>
                  <a:lnTo>
                    <a:pt x="74" y="555"/>
                  </a:lnTo>
                  <a:lnTo>
                    <a:pt x="74" y="555"/>
                  </a:lnTo>
                  <a:lnTo>
                    <a:pt x="74" y="557"/>
                  </a:lnTo>
                  <a:lnTo>
                    <a:pt x="74" y="557"/>
                  </a:lnTo>
                  <a:lnTo>
                    <a:pt x="74" y="560"/>
                  </a:lnTo>
                  <a:lnTo>
                    <a:pt x="74" y="560"/>
                  </a:lnTo>
                  <a:lnTo>
                    <a:pt x="77" y="557"/>
                  </a:lnTo>
                  <a:lnTo>
                    <a:pt x="79" y="557"/>
                  </a:lnTo>
                  <a:lnTo>
                    <a:pt x="82" y="560"/>
                  </a:lnTo>
                  <a:lnTo>
                    <a:pt x="82" y="562"/>
                  </a:lnTo>
                  <a:lnTo>
                    <a:pt x="82" y="562"/>
                  </a:lnTo>
                  <a:lnTo>
                    <a:pt x="79" y="560"/>
                  </a:lnTo>
                  <a:lnTo>
                    <a:pt x="79" y="560"/>
                  </a:lnTo>
                  <a:lnTo>
                    <a:pt x="79" y="560"/>
                  </a:lnTo>
                  <a:lnTo>
                    <a:pt x="77" y="560"/>
                  </a:lnTo>
                  <a:lnTo>
                    <a:pt x="74" y="560"/>
                  </a:lnTo>
                  <a:lnTo>
                    <a:pt x="74" y="560"/>
                  </a:lnTo>
                  <a:lnTo>
                    <a:pt x="71" y="557"/>
                  </a:lnTo>
                  <a:lnTo>
                    <a:pt x="69" y="557"/>
                  </a:lnTo>
                  <a:lnTo>
                    <a:pt x="71" y="555"/>
                  </a:lnTo>
                  <a:lnTo>
                    <a:pt x="74" y="555"/>
                  </a:lnTo>
                  <a:lnTo>
                    <a:pt x="71" y="555"/>
                  </a:lnTo>
                  <a:lnTo>
                    <a:pt x="69" y="555"/>
                  </a:lnTo>
                  <a:lnTo>
                    <a:pt x="66" y="555"/>
                  </a:lnTo>
                  <a:lnTo>
                    <a:pt x="64" y="557"/>
                  </a:lnTo>
                  <a:lnTo>
                    <a:pt x="64" y="560"/>
                  </a:lnTo>
                  <a:lnTo>
                    <a:pt x="64" y="560"/>
                  </a:lnTo>
                  <a:lnTo>
                    <a:pt x="66" y="562"/>
                  </a:lnTo>
                  <a:lnTo>
                    <a:pt x="69" y="565"/>
                  </a:lnTo>
                  <a:lnTo>
                    <a:pt x="69" y="565"/>
                  </a:lnTo>
                  <a:lnTo>
                    <a:pt x="64" y="573"/>
                  </a:lnTo>
                  <a:lnTo>
                    <a:pt x="64" y="573"/>
                  </a:lnTo>
                  <a:lnTo>
                    <a:pt x="71" y="570"/>
                  </a:lnTo>
                  <a:lnTo>
                    <a:pt x="71" y="570"/>
                  </a:lnTo>
                  <a:lnTo>
                    <a:pt x="69" y="573"/>
                  </a:lnTo>
                  <a:lnTo>
                    <a:pt x="69" y="573"/>
                  </a:lnTo>
                  <a:lnTo>
                    <a:pt x="64" y="578"/>
                  </a:lnTo>
                  <a:lnTo>
                    <a:pt x="59" y="580"/>
                  </a:lnTo>
                  <a:lnTo>
                    <a:pt x="59" y="583"/>
                  </a:lnTo>
                  <a:lnTo>
                    <a:pt x="59" y="583"/>
                  </a:lnTo>
                  <a:lnTo>
                    <a:pt x="61" y="583"/>
                  </a:lnTo>
                  <a:lnTo>
                    <a:pt x="64" y="580"/>
                  </a:lnTo>
                  <a:lnTo>
                    <a:pt x="66" y="578"/>
                  </a:lnTo>
                  <a:lnTo>
                    <a:pt x="66" y="578"/>
                  </a:lnTo>
                  <a:lnTo>
                    <a:pt x="64" y="580"/>
                  </a:lnTo>
                  <a:lnTo>
                    <a:pt x="64" y="580"/>
                  </a:lnTo>
                  <a:lnTo>
                    <a:pt x="64" y="580"/>
                  </a:lnTo>
                  <a:lnTo>
                    <a:pt x="61" y="583"/>
                  </a:lnTo>
                  <a:lnTo>
                    <a:pt x="61" y="583"/>
                  </a:lnTo>
                  <a:lnTo>
                    <a:pt x="54" y="588"/>
                  </a:lnTo>
                  <a:lnTo>
                    <a:pt x="54" y="590"/>
                  </a:lnTo>
                  <a:lnTo>
                    <a:pt x="51" y="596"/>
                  </a:lnTo>
                  <a:lnTo>
                    <a:pt x="56" y="593"/>
                  </a:lnTo>
                  <a:lnTo>
                    <a:pt x="61" y="588"/>
                  </a:lnTo>
                  <a:lnTo>
                    <a:pt x="64" y="585"/>
                  </a:lnTo>
                  <a:lnTo>
                    <a:pt x="64" y="585"/>
                  </a:lnTo>
                  <a:lnTo>
                    <a:pt x="66" y="583"/>
                  </a:lnTo>
                  <a:lnTo>
                    <a:pt x="69" y="583"/>
                  </a:lnTo>
                  <a:lnTo>
                    <a:pt x="71" y="583"/>
                  </a:lnTo>
                  <a:lnTo>
                    <a:pt x="82" y="578"/>
                  </a:lnTo>
                  <a:lnTo>
                    <a:pt x="84" y="578"/>
                  </a:lnTo>
                  <a:lnTo>
                    <a:pt x="84" y="575"/>
                  </a:lnTo>
                  <a:lnTo>
                    <a:pt x="87" y="575"/>
                  </a:lnTo>
                  <a:lnTo>
                    <a:pt x="87" y="575"/>
                  </a:lnTo>
                  <a:lnTo>
                    <a:pt x="89" y="573"/>
                  </a:lnTo>
                  <a:lnTo>
                    <a:pt x="89" y="573"/>
                  </a:lnTo>
                  <a:lnTo>
                    <a:pt x="87" y="573"/>
                  </a:lnTo>
                  <a:lnTo>
                    <a:pt x="87" y="575"/>
                  </a:lnTo>
                  <a:lnTo>
                    <a:pt x="87" y="575"/>
                  </a:lnTo>
                  <a:lnTo>
                    <a:pt x="84" y="575"/>
                  </a:lnTo>
                  <a:lnTo>
                    <a:pt x="79" y="580"/>
                  </a:lnTo>
                  <a:lnTo>
                    <a:pt x="79" y="580"/>
                  </a:lnTo>
                  <a:lnTo>
                    <a:pt x="79" y="580"/>
                  </a:lnTo>
                  <a:lnTo>
                    <a:pt x="77" y="583"/>
                  </a:lnTo>
                  <a:lnTo>
                    <a:pt x="77" y="583"/>
                  </a:lnTo>
                  <a:lnTo>
                    <a:pt x="79" y="583"/>
                  </a:lnTo>
                  <a:lnTo>
                    <a:pt x="79" y="585"/>
                  </a:lnTo>
                  <a:lnTo>
                    <a:pt x="79" y="585"/>
                  </a:lnTo>
                  <a:lnTo>
                    <a:pt x="79" y="588"/>
                  </a:lnTo>
                  <a:lnTo>
                    <a:pt x="79" y="590"/>
                  </a:lnTo>
                  <a:lnTo>
                    <a:pt x="79" y="590"/>
                  </a:lnTo>
                  <a:lnTo>
                    <a:pt x="79" y="588"/>
                  </a:lnTo>
                  <a:lnTo>
                    <a:pt x="79" y="588"/>
                  </a:lnTo>
                  <a:lnTo>
                    <a:pt x="79" y="585"/>
                  </a:lnTo>
                  <a:lnTo>
                    <a:pt x="79" y="585"/>
                  </a:lnTo>
                  <a:lnTo>
                    <a:pt x="77" y="583"/>
                  </a:lnTo>
                  <a:lnTo>
                    <a:pt x="77" y="583"/>
                  </a:lnTo>
                  <a:lnTo>
                    <a:pt x="71" y="583"/>
                  </a:lnTo>
                  <a:lnTo>
                    <a:pt x="69" y="585"/>
                  </a:lnTo>
                  <a:lnTo>
                    <a:pt x="66" y="585"/>
                  </a:lnTo>
                  <a:lnTo>
                    <a:pt x="64" y="585"/>
                  </a:lnTo>
                  <a:lnTo>
                    <a:pt x="61" y="588"/>
                  </a:lnTo>
                  <a:lnTo>
                    <a:pt x="59" y="590"/>
                  </a:lnTo>
                  <a:lnTo>
                    <a:pt x="61" y="590"/>
                  </a:lnTo>
                  <a:lnTo>
                    <a:pt x="56" y="593"/>
                  </a:lnTo>
                  <a:lnTo>
                    <a:pt x="54" y="596"/>
                  </a:lnTo>
                  <a:lnTo>
                    <a:pt x="54" y="596"/>
                  </a:lnTo>
                  <a:lnTo>
                    <a:pt x="54" y="598"/>
                  </a:lnTo>
                  <a:lnTo>
                    <a:pt x="51" y="601"/>
                  </a:lnTo>
                  <a:lnTo>
                    <a:pt x="51" y="601"/>
                  </a:lnTo>
                  <a:lnTo>
                    <a:pt x="51" y="601"/>
                  </a:lnTo>
                  <a:lnTo>
                    <a:pt x="51" y="601"/>
                  </a:lnTo>
                  <a:lnTo>
                    <a:pt x="51" y="603"/>
                  </a:lnTo>
                  <a:lnTo>
                    <a:pt x="54" y="603"/>
                  </a:lnTo>
                  <a:lnTo>
                    <a:pt x="54" y="601"/>
                  </a:lnTo>
                  <a:lnTo>
                    <a:pt x="56" y="601"/>
                  </a:lnTo>
                  <a:lnTo>
                    <a:pt x="59" y="598"/>
                  </a:lnTo>
                  <a:lnTo>
                    <a:pt x="61" y="598"/>
                  </a:lnTo>
                  <a:lnTo>
                    <a:pt x="66" y="598"/>
                  </a:lnTo>
                  <a:lnTo>
                    <a:pt x="74" y="598"/>
                  </a:lnTo>
                  <a:lnTo>
                    <a:pt x="71" y="598"/>
                  </a:lnTo>
                  <a:lnTo>
                    <a:pt x="66" y="598"/>
                  </a:lnTo>
                  <a:lnTo>
                    <a:pt x="61" y="598"/>
                  </a:lnTo>
                  <a:lnTo>
                    <a:pt x="61" y="598"/>
                  </a:lnTo>
                  <a:lnTo>
                    <a:pt x="59" y="598"/>
                  </a:lnTo>
                  <a:lnTo>
                    <a:pt x="51" y="603"/>
                  </a:lnTo>
                  <a:lnTo>
                    <a:pt x="48" y="606"/>
                  </a:lnTo>
                  <a:lnTo>
                    <a:pt x="48" y="606"/>
                  </a:lnTo>
                  <a:lnTo>
                    <a:pt x="46" y="608"/>
                  </a:lnTo>
                  <a:lnTo>
                    <a:pt x="46" y="611"/>
                  </a:lnTo>
                  <a:lnTo>
                    <a:pt x="48" y="613"/>
                  </a:lnTo>
                  <a:lnTo>
                    <a:pt x="48" y="613"/>
                  </a:lnTo>
                  <a:lnTo>
                    <a:pt x="48" y="613"/>
                  </a:lnTo>
                  <a:lnTo>
                    <a:pt x="51" y="616"/>
                  </a:lnTo>
                  <a:lnTo>
                    <a:pt x="54" y="616"/>
                  </a:lnTo>
                  <a:lnTo>
                    <a:pt x="54" y="616"/>
                  </a:lnTo>
                  <a:lnTo>
                    <a:pt x="61" y="613"/>
                  </a:lnTo>
                  <a:lnTo>
                    <a:pt x="61" y="613"/>
                  </a:lnTo>
                  <a:lnTo>
                    <a:pt x="64" y="611"/>
                  </a:lnTo>
                  <a:lnTo>
                    <a:pt x="64" y="613"/>
                  </a:lnTo>
                  <a:lnTo>
                    <a:pt x="61" y="616"/>
                  </a:lnTo>
                  <a:lnTo>
                    <a:pt x="61" y="616"/>
                  </a:lnTo>
                  <a:lnTo>
                    <a:pt x="64" y="616"/>
                  </a:lnTo>
                  <a:lnTo>
                    <a:pt x="64" y="616"/>
                  </a:lnTo>
                  <a:lnTo>
                    <a:pt x="61" y="616"/>
                  </a:lnTo>
                  <a:lnTo>
                    <a:pt x="61" y="618"/>
                  </a:lnTo>
                  <a:lnTo>
                    <a:pt x="59" y="618"/>
                  </a:lnTo>
                  <a:lnTo>
                    <a:pt x="59" y="618"/>
                  </a:lnTo>
                  <a:lnTo>
                    <a:pt x="59" y="621"/>
                  </a:lnTo>
                  <a:lnTo>
                    <a:pt x="61" y="621"/>
                  </a:lnTo>
                  <a:lnTo>
                    <a:pt x="69" y="618"/>
                  </a:lnTo>
                  <a:lnTo>
                    <a:pt x="69" y="618"/>
                  </a:lnTo>
                  <a:lnTo>
                    <a:pt x="69" y="618"/>
                  </a:lnTo>
                  <a:lnTo>
                    <a:pt x="66" y="621"/>
                  </a:lnTo>
                  <a:lnTo>
                    <a:pt x="61" y="621"/>
                  </a:lnTo>
                  <a:lnTo>
                    <a:pt x="59" y="621"/>
                  </a:lnTo>
                  <a:lnTo>
                    <a:pt x="59" y="621"/>
                  </a:lnTo>
                  <a:lnTo>
                    <a:pt x="56" y="623"/>
                  </a:lnTo>
                  <a:lnTo>
                    <a:pt x="56" y="623"/>
                  </a:lnTo>
                  <a:lnTo>
                    <a:pt x="61" y="623"/>
                  </a:lnTo>
                  <a:lnTo>
                    <a:pt x="61" y="623"/>
                  </a:lnTo>
                  <a:lnTo>
                    <a:pt x="64" y="623"/>
                  </a:lnTo>
                  <a:lnTo>
                    <a:pt x="64" y="623"/>
                  </a:lnTo>
                  <a:lnTo>
                    <a:pt x="66" y="623"/>
                  </a:lnTo>
                  <a:lnTo>
                    <a:pt x="69" y="623"/>
                  </a:lnTo>
                  <a:lnTo>
                    <a:pt x="69" y="623"/>
                  </a:lnTo>
                  <a:lnTo>
                    <a:pt x="69" y="623"/>
                  </a:lnTo>
                  <a:lnTo>
                    <a:pt x="69" y="623"/>
                  </a:lnTo>
                  <a:lnTo>
                    <a:pt x="71" y="623"/>
                  </a:lnTo>
                  <a:lnTo>
                    <a:pt x="71" y="621"/>
                  </a:lnTo>
                  <a:lnTo>
                    <a:pt x="74" y="621"/>
                  </a:lnTo>
                  <a:lnTo>
                    <a:pt x="74" y="621"/>
                  </a:lnTo>
                  <a:lnTo>
                    <a:pt x="71" y="623"/>
                  </a:lnTo>
                  <a:lnTo>
                    <a:pt x="71" y="623"/>
                  </a:lnTo>
                  <a:lnTo>
                    <a:pt x="74" y="623"/>
                  </a:lnTo>
                  <a:lnTo>
                    <a:pt x="77" y="623"/>
                  </a:lnTo>
                  <a:lnTo>
                    <a:pt x="82" y="623"/>
                  </a:lnTo>
                  <a:lnTo>
                    <a:pt x="84" y="621"/>
                  </a:lnTo>
                  <a:lnTo>
                    <a:pt x="84" y="621"/>
                  </a:lnTo>
                  <a:lnTo>
                    <a:pt x="87" y="618"/>
                  </a:lnTo>
                  <a:lnTo>
                    <a:pt x="87" y="618"/>
                  </a:lnTo>
                  <a:lnTo>
                    <a:pt x="87" y="616"/>
                  </a:lnTo>
                  <a:lnTo>
                    <a:pt x="89" y="616"/>
                  </a:lnTo>
                  <a:lnTo>
                    <a:pt x="89" y="616"/>
                  </a:lnTo>
                  <a:lnTo>
                    <a:pt x="87" y="618"/>
                  </a:lnTo>
                  <a:lnTo>
                    <a:pt x="87" y="621"/>
                  </a:lnTo>
                  <a:lnTo>
                    <a:pt x="87" y="621"/>
                  </a:lnTo>
                  <a:lnTo>
                    <a:pt x="84" y="623"/>
                  </a:lnTo>
                  <a:lnTo>
                    <a:pt x="79" y="626"/>
                  </a:lnTo>
                  <a:lnTo>
                    <a:pt x="79" y="626"/>
                  </a:lnTo>
                  <a:lnTo>
                    <a:pt x="79" y="626"/>
                  </a:lnTo>
                  <a:lnTo>
                    <a:pt x="79" y="629"/>
                  </a:lnTo>
                  <a:lnTo>
                    <a:pt x="79" y="629"/>
                  </a:lnTo>
                  <a:lnTo>
                    <a:pt x="79" y="634"/>
                  </a:lnTo>
                  <a:lnTo>
                    <a:pt x="77" y="634"/>
                  </a:lnTo>
                  <a:lnTo>
                    <a:pt x="77" y="636"/>
                  </a:lnTo>
                  <a:lnTo>
                    <a:pt x="79" y="639"/>
                  </a:lnTo>
                  <a:lnTo>
                    <a:pt x="79" y="639"/>
                  </a:lnTo>
                  <a:lnTo>
                    <a:pt x="82" y="639"/>
                  </a:lnTo>
                  <a:lnTo>
                    <a:pt x="84" y="639"/>
                  </a:lnTo>
                  <a:lnTo>
                    <a:pt x="87" y="639"/>
                  </a:lnTo>
                  <a:lnTo>
                    <a:pt x="89" y="636"/>
                  </a:lnTo>
                  <a:lnTo>
                    <a:pt x="89" y="636"/>
                  </a:lnTo>
                  <a:lnTo>
                    <a:pt x="89" y="636"/>
                  </a:lnTo>
                  <a:lnTo>
                    <a:pt x="92" y="634"/>
                  </a:lnTo>
                  <a:lnTo>
                    <a:pt x="94" y="634"/>
                  </a:lnTo>
                  <a:lnTo>
                    <a:pt x="94" y="631"/>
                  </a:lnTo>
                  <a:lnTo>
                    <a:pt x="94" y="631"/>
                  </a:lnTo>
                  <a:lnTo>
                    <a:pt x="94" y="631"/>
                  </a:lnTo>
                  <a:lnTo>
                    <a:pt x="94" y="631"/>
                  </a:lnTo>
                  <a:lnTo>
                    <a:pt x="97" y="631"/>
                  </a:lnTo>
                  <a:lnTo>
                    <a:pt x="97" y="631"/>
                  </a:lnTo>
                  <a:lnTo>
                    <a:pt x="94" y="634"/>
                  </a:lnTo>
                  <a:lnTo>
                    <a:pt x="94" y="634"/>
                  </a:lnTo>
                  <a:lnTo>
                    <a:pt x="92" y="634"/>
                  </a:lnTo>
                  <a:lnTo>
                    <a:pt x="92" y="636"/>
                  </a:lnTo>
                  <a:lnTo>
                    <a:pt x="89" y="639"/>
                  </a:lnTo>
                  <a:lnTo>
                    <a:pt x="89" y="641"/>
                  </a:lnTo>
                  <a:lnTo>
                    <a:pt x="89" y="641"/>
                  </a:lnTo>
                  <a:lnTo>
                    <a:pt x="89" y="641"/>
                  </a:lnTo>
                  <a:lnTo>
                    <a:pt x="89" y="641"/>
                  </a:lnTo>
                  <a:lnTo>
                    <a:pt x="92" y="641"/>
                  </a:lnTo>
                  <a:lnTo>
                    <a:pt x="92" y="641"/>
                  </a:lnTo>
                  <a:lnTo>
                    <a:pt x="89" y="644"/>
                  </a:lnTo>
                  <a:lnTo>
                    <a:pt x="87" y="644"/>
                  </a:lnTo>
                  <a:lnTo>
                    <a:pt x="87" y="641"/>
                  </a:lnTo>
                  <a:lnTo>
                    <a:pt x="87" y="641"/>
                  </a:lnTo>
                  <a:lnTo>
                    <a:pt x="87" y="641"/>
                  </a:lnTo>
                  <a:lnTo>
                    <a:pt x="87" y="641"/>
                  </a:lnTo>
                  <a:lnTo>
                    <a:pt x="84" y="641"/>
                  </a:lnTo>
                  <a:lnTo>
                    <a:pt x="84" y="641"/>
                  </a:lnTo>
                  <a:lnTo>
                    <a:pt x="84" y="644"/>
                  </a:lnTo>
                  <a:lnTo>
                    <a:pt x="84" y="644"/>
                  </a:lnTo>
                  <a:lnTo>
                    <a:pt x="84" y="646"/>
                  </a:lnTo>
                  <a:lnTo>
                    <a:pt x="84" y="646"/>
                  </a:lnTo>
                  <a:lnTo>
                    <a:pt x="89" y="649"/>
                  </a:lnTo>
                  <a:lnTo>
                    <a:pt x="89" y="649"/>
                  </a:lnTo>
                  <a:lnTo>
                    <a:pt x="92" y="646"/>
                  </a:lnTo>
                  <a:lnTo>
                    <a:pt x="92" y="646"/>
                  </a:lnTo>
                  <a:lnTo>
                    <a:pt x="92" y="646"/>
                  </a:lnTo>
                  <a:lnTo>
                    <a:pt x="94" y="646"/>
                  </a:lnTo>
                  <a:lnTo>
                    <a:pt x="94" y="644"/>
                  </a:lnTo>
                  <a:lnTo>
                    <a:pt x="94" y="644"/>
                  </a:lnTo>
                  <a:lnTo>
                    <a:pt x="99" y="641"/>
                  </a:lnTo>
                  <a:lnTo>
                    <a:pt x="99" y="641"/>
                  </a:lnTo>
                  <a:lnTo>
                    <a:pt x="99" y="641"/>
                  </a:lnTo>
                  <a:lnTo>
                    <a:pt x="97" y="644"/>
                  </a:lnTo>
                  <a:lnTo>
                    <a:pt x="94" y="646"/>
                  </a:lnTo>
                  <a:lnTo>
                    <a:pt x="94" y="649"/>
                  </a:lnTo>
                  <a:lnTo>
                    <a:pt x="92" y="649"/>
                  </a:lnTo>
                  <a:lnTo>
                    <a:pt x="92" y="649"/>
                  </a:lnTo>
                  <a:lnTo>
                    <a:pt x="92" y="649"/>
                  </a:lnTo>
                  <a:lnTo>
                    <a:pt x="94" y="649"/>
                  </a:lnTo>
                  <a:lnTo>
                    <a:pt x="97" y="649"/>
                  </a:lnTo>
                  <a:lnTo>
                    <a:pt x="97" y="649"/>
                  </a:lnTo>
                  <a:lnTo>
                    <a:pt x="99" y="649"/>
                  </a:lnTo>
                  <a:lnTo>
                    <a:pt x="99" y="649"/>
                  </a:lnTo>
                  <a:lnTo>
                    <a:pt x="97" y="649"/>
                  </a:lnTo>
                  <a:lnTo>
                    <a:pt x="94" y="649"/>
                  </a:lnTo>
                  <a:lnTo>
                    <a:pt x="92" y="651"/>
                  </a:lnTo>
                  <a:lnTo>
                    <a:pt x="92" y="651"/>
                  </a:lnTo>
                  <a:lnTo>
                    <a:pt x="92" y="651"/>
                  </a:lnTo>
                  <a:lnTo>
                    <a:pt x="89" y="654"/>
                  </a:lnTo>
                  <a:lnTo>
                    <a:pt x="89" y="654"/>
                  </a:lnTo>
                  <a:lnTo>
                    <a:pt x="92" y="654"/>
                  </a:lnTo>
                  <a:lnTo>
                    <a:pt x="92" y="654"/>
                  </a:lnTo>
                  <a:lnTo>
                    <a:pt x="92" y="654"/>
                  </a:lnTo>
                  <a:lnTo>
                    <a:pt x="92" y="654"/>
                  </a:lnTo>
                  <a:lnTo>
                    <a:pt x="89" y="657"/>
                  </a:lnTo>
                  <a:lnTo>
                    <a:pt x="89" y="657"/>
                  </a:lnTo>
                  <a:lnTo>
                    <a:pt x="89" y="657"/>
                  </a:lnTo>
                  <a:lnTo>
                    <a:pt x="89" y="657"/>
                  </a:lnTo>
                  <a:lnTo>
                    <a:pt x="92" y="657"/>
                  </a:lnTo>
                  <a:lnTo>
                    <a:pt x="92" y="657"/>
                  </a:lnTo>
                  <a:lnTo>
                    <a:pt x="92" y="657"/>
                  </a:lnTo>
                  <a:lnTo>
                    <a:pt x="94" y="654"/>
                  </a:lnTo>
                  <a:lnTo>
                    <a:pt x="94" y="654"/>
                  </a:lnTo>
                  <a:lnTo>
                    <a:pt x="94" y="657"/>
                  </a:lnTo>
                  <a:lnTo>
                    <a:pt x="94" y="657"/>
                  </a:lnTo>
                  <a:lnTo>
                    <a:pt x="150" y="657"/>
                  </a:lnTo>
                  <a:lnTo>
                    <a:pt x="158" y="657"/>
                  </a:lnTo>
                  <a:lnTo>
                    <a:pt x="329" y="657"/>
                  </a:lnTo>
                  <a:lnTo>
                    <a:pt x="336" y="657"/>
                  </a:lnTo>
                  <a:lnTo>
                    <a:pt x="510" y="657"/>
                  </a:lnTo>
                  <a:lnTo>
                    <a:pt x="517" y="657"/>
                  </a:lnTo>
                  <a:lnTo>
                    <a:pt x="576" y="657"/>
                  </a:lnTo>
                  <a:lnTo>
                    <a:pt x="581" y="657"/>
                  </a:lnTo>
                  <a:lnTo>
                    <a:pt x="584" y="651"/>
                  </a:lnTo>
                  <a:lnTo>
                    <a:pt x="586" y="649"/>
                  </a:lnTo>
                  <a:lnTo>
                    <a:pt x="589" y="649"/>
                  </a:lnTo>
                  <a:lnTo>
                    <a:pt x="589" y="649"/>
                  </a:lnTo>
                  <a:lnTo>
                    <a:pt x="589" y="649"/>
                  </a:lnTo>
                  <a:lnTo>
                    <a:pt x="589" y="651"/>
                  </a:lnTo>
                  <a:lnTo>
                    <a:pt x="589" y="654"/>
                  </a:lnTo>
                  <a:lnTo>
                    <a:pt x="586" y="657"/>
                  </a:lnTo>
                  <a:lnTo>
                    <a:pt x="586" y="659"/>
                  </a:lnTo>
                  <a:lnTo>
                    <a:pt x="586" y="659"/>
                  </a:lnTo>
                  <a:lnTo>
                    <a:pt x="586" y="662"/>
                  </a:lnTo>
                  <a:lnTo>
                    <a:pt x="586" y="662"/>
                  </a:lnTo>
                  <a:lnTo>
                    <a:pt x="586" y="662"/>
                  </a:lnTo>
                  <a:lnTo>
                    <a:pt x="591" y="664"/>
                  </a:lnTo>
                  <a:lnTo>
                    <a:pt x="596" y="664"/>
                  </a:lnTo>
                  <a:lnTo>
                    <a:pt x="599" y="664"/>
                  </a:lnTo>
                  <a:lnTo>
                    <a:pt x="599" y="667"/>
                  </a:lnTo>
                  <a:lnTo>
                    <a:pt x="602" y="667"/>
                  </a:lnTo>
                  <a:lnTo>
                    <a:pt x="604" y="667"/>
                  </a:lnTo>
                  <a:lnTo>
                    <a:pt x="604" y="667"/>
                  </a:lnTo>
                  <a:lnTo>
                    <a:pt x="607" y="664"/>
                  </a:lnTo>
                  <a:lnTo>
                    <a:pt x="609" y="664"/>
                  </a:lnTo>
                  <a:lnTo>
                    <a:pt x="612" y="664"/>
                  </a:lnTo>
                  <a:lnTo>
                    <a:pt x="614" y="664"/>
                  </a:lnTo>
                  <a:lnTo>
                    <a:pt x="614" y="664"/>
                  </a:lnTo>
                  <a:lnTo>
                    <a:pt x="617" y="667"/>
                  </a:lnTo>
                  <a:lnTo>
                    <a:pt x="617" y="667"/>
                  </a:lnTo>
                  <a:lnTo>
                    <a:pt x="619" y="669"/>
                  </a:lnTo>
                  <a:lnTo>
                    <a:pt x="619" y="669"/>
                  </a:lnTo>
                  <a:lnTo>
                    <a:pt x="619" y="672"/>
                  </a:lnTo>
                  <a:lnTo>
                    <a:pt x="619" y="672"/>
                  </a:lnTo>
                  <a:lnTo>
                    <a:pt x="622" y="672"/>
                  </a:lnTo>
                  <a:lnTo>
                    <a:pt x="622" y="672"/>
                  </a:lnTo>
                  <a:lnTo>
                    <a:pt x="624" y="672"/>
                  </a:lnTo>
                  <a:lnTo>
                    <a:pt x="627" y="672"/>
                  </a:lnTo>
                  <a:lnTo>
                    <a:pt x="630" y="674"/>
                  </a:lnTo>
                  <a:lnTo>
                    <a:pt x="632" y="677"/>
                  </a:lnTo>
                  <a:lnTo>
                    <a:pt x="635" y="677"/>
                  </a:lnTo>
                  <a:lnTo>
                    <a:pt x="635" y="677"/>
                  </a:lnTo>
                  <a:lnTo>
                    <a:pt x="640" y="677"/>
                  </a:lnTo>
                  <a:lnTo>
                    <a:pt x="642" y="674"/>
                  </a:lnTo>
                  <a:lnTo>
                    <a:pt x="645" y="674"/>
                  </a:lnTo>
                  <a:lnTo>
                    <a:pt x="647" y="674"/>
                  </a:lnTo>
                  <a:lnTo>
                    <a:pt x="647" y="677"/>
                  </a:lnTo>
                  <a:lnTo>
                    <a:pt x="647" y="677"/>
                  </a:lnTo>
                  <a:lnTo>
                    <a:pt x="650" y="677"/>
                  </a:lnTo>
                  <a:lnTo>
                    <a:pt x="655" y="677"/>
                  </a:lnTo>
                  <a:lnTo>
                    <a:pt x="660" y="677"/>
                  </a:lnTo>
                  <a:lnTo>
                    <a:pt x="660" y="677"/>
                  </a:lnTo>
                  <a:lnTo>
                    <a:pt x="660" y="679"/>
                  </a:lnTo>
                  <a:lnTo>
                    <a:pt x="660" y="679"/>
                  </a:lnTo>
                  <a:lnTo>
                    <a:pt x="663" y="679"/>
                  </a:lnTo>
                  <a:lnTo>
                    <a:pt x="668" y="679"/>
                  </a:lnTo>
                  <a:lnTo>
                    <a:pt x="668" y="679"/>
                  </a:lnTo>
                  <a:lnTo>
                    <a:pt x="670" y="677"/>
                  </a:lnTo>
                  <a:lnTo>
                    <a:pt x="670" y="677"/>
                  </a:lnTo>
                  <a:lnTo>
                    <a:pt x="673" y="677"/>
                  </a:lnTo>
                  <a:lnTo>
                    <a:pt x="673" y="674"/>
                  </a:lnTo>
                  <a:lnTo>
                    <a:pt x="675" y="674"/>
                  </a:lnTo>
                  <a:lnTo>
                    <a:pt x="675" y="672"/>
                  </a:lnTo>
                  <a:lnTo>
                    <a:pt x="678" y="672"/>
                  </a:lnTo>
                  <a:lnTo>
                    <a:pt x="678" y="672"/>
                  </a:lnTo>
                  <a:lnTo>
                    <a:pt x="678" y="669"/>
                  </a:lnTo>
                  <a:lnTo>
                    <a:pt x="678" y="669"/>
                  </a:lnTo>
                  <a:lnTo>
                    <a:pt x="678" y="669"/>
                  </a:lnTo>
                  <a:lnTo>
                    <a:pt x="681" y="667"/>
                  </a:lnTo>
                  <a:lnTo>
                    <a:pt x="688" y="667"/>
                  </a:lnTo>
                  <a:lnTo>
                    <a:pt x="688" y="667"/>
                  </a:lnTo>
                  <a:lnTo>
                    <a:pt x="686" y="667"/>
                  </a:lnTo>
                  <a:lnTo>
                    <a:pt x="683" y="669"/>
                  </a:lnTo>
                  <a:lnTo>
                    <a:pt x="683" y="669"/>
                  </a:lnTo>
                  <a:lnTo>
                    <a:pt x="683" y="672"/>
                  </a:lnTo>
                  <a:lnTo>
                    <a:pt x="683" y="672"/>
                  </a:lnTo>
                  <a:lnTo>
                    <a:pt x="683" y="672"/>
                  </a:lnTo>
                  <a:lnTo>
                    <a:pt x="686" y="672"/>
                  </a:lnTo>
                  <a:lnTo>
                    <a:pt x="686" y="669"/>
                  </a:lnTo>
                  <a:lnTo>
                    <a:pt x="688" y="669"/>
                  </a:lnTo>
                  <a:lnTo>
                    <a:pt x="688" y="669"/>
                  </a:lnTo>
                  <a:lnTo>
                    <a:pt x="688" y="667"/>
                  </a:lnTo>
                  <a:lnTo>
                    <a:pt x="688" y="667"/>
                  </a:lnTo>
                  <a:lnTo>
                    <a:pt x="691" y="667"/>
                  </a:lnTo>
                  <a:lnTo>
                    <a:pt x="691" y="667"/>
                  </a:lnTo>
                  <a:lnTo>
                    <a:pt x="691" y="664"/>
                  </a:lnTo>
                  <a:lnTo>
                    <a:pt x="693" y="664"/>
                  </a:lnTo>
                  <a:lnTo>
                    <a:pt x="693" y="664"/>
                  </a:lnTo>
                  <a:lnTo>
                    <a:pt x="693" y="664"/>
                  </a:lnTo>
                  <a:lnTo>
                    <a:pt x="693" y="662"/>
                  </a:lnTo>
                  <a:lnTo>
                    <a:pt x="696" y="662"/>
                  </a:lnTo>
                  <a:lnTo>
                    <a:pt x="696" y="659"/>
                  </a:lnTo>
                  <a:lnTo>
                    <a:pt x="696" y="659"/>
                  </a:lnTo>
                  <a:lnTo>
                    <a:pt x="698" y="659"/>
                  </a:lnTo>
                  <a:lnTo>
                    <a:pt x="698" y="662"/>
                  </a:lnTo>
                  <a:lnTo>
                    <a:pt x="698" y="662"/>
                  </a:lnTo>
                  <a:lnTo>
                    <a:pt x="698" y="662"/>
                  </a:lnTo>
                  <a:lnTo>
                    <a:pt x="698" y="664"/>
                  </a:lnTo>
                  <a:lnTo>
                    <a:pt x="696" y="664"/>
                  </a:lnTo>
                  <a:lnTo>
                    <a:pt x="691" y="667"/>
                  </a:lnTo>
                  <a:lnTo>
                    <a:pt x="691" y="667"/>
                  </a:lnTo>
                  <a:lnTo>
                    <a:pt x="691" y="669"/>
                  </a:lnTo>
                  <a:lnTo>
                    <a:pt x="691" y="669"/>
                  </a:lnTo>
                  <a:lnTo>
                    <a:pt x="691" y="669"/>
                  </a:lnTo>
                  <a:lnTo>
                    <a:pt x="691" y="669"/>
                  </a:lnTo>
                  <a:lnTo>
                    <a:pt x="693" y="667"/>
                  </a:lnTo>
                  <a:lnTo>
                    <a:pt x="693" y="667"/>
                  </a:lnTo>
                  <a:lnTo>
                    <a:pt x="693" y="667"/>
                  </a:lnTo>
                  <a:lnTo>
                    <a:pt x="693" y="667"/>
                  </a:lnTo>
                  <a:lnTo>
                    <a:pt x="693" y="667"/>
                  </a:lnTo>
                  <a:lnTo>
                    <a:pt x="693" y="667"/>
                  </a:lnTo>
                  <a:lnTo>
                    <a:pt x="696" y="667"/>
                  </a:lnTo>
                  <a:lnTo>
                    <a:pt x="696" y="667"/>
                  </a:lnTo>
                  <a:lnTo>
                    <a:pt x="698" y="667"/>
                  </a:lnTo>
                  <a:lnTo>
                    <a:pt x="698" y="667"/>
                  </a:lnTo>
                  <a:lnTo>
                    <a:pt x="701" y="664"/>
                  </a:lnTo>
                  <a:lnTo>
                    <a:pt x="701" y="662"/>
                  </a:lnTo>
                  <a:lnTo>
                    <a:pt x="701" y="662"/>
                  </a:lnTo>
                  <a:lnTo>
                    <a:pt x="701" y="662"/>
                  </a:lnTo>
                  <a:lnTo>
                    <a:pt x="701" y="659"/>
                  </a:lnTo>
                  <a:lnTo>
                    <a:pt x="701" y="659"/>
                  </a:lnTo>
                  <a:lnTo>
                    <a:pt x="701" y="659"/>
                  </a:lnTo>
                  <a:lnTo>
                    <a:pt x="701" y="657"/>
                  </a:lnTo>
                  <a:lnTo>
                    <a:pt x="701" y="657"/>
                  </a:lnTo>
                  <a:lnTo>
                    <a:pt x="703" y="657"/>
                  </a:lnTo>
                  <a:lnTo>
                    <a:pt x="703" y="657"/>
                  </a:lnTo>
                  <a:lnTo>
                    <a:pt x="703" y="657"/>
                  </a:lnTo>
                  <a:lnTo>
                    <a:pt x="706" y="657"/>
                  </a:lnTo>
                  <a:lnTo>
                    <a:pt x="706" y="657"/>
                  </a:lnTo>
                  <a:lnTo>
                    <a:pt x="706" y="657"/>
                  </a:lnTo>
                  <a:lnTo>
                    <a:pt x="709" y="659"/>
                  </a:lnTo>
                  <a:lnTo>
                    <a:pt x="711" y="659"/>
                  </a:lnTo>
                  <a:lnTo>
                    <a:pt x="711" y="659"/>
                  </a:lnTo>
                  <a:lnTo>
                    <a:pt x="714" y="659"/>
                  </a:lnTo>
                  <a:lnTo>
                    <a:pt x="714" y="659"/>
                  </a:lnTo>
                  <a:lnTo>
                    <a:pt x="714" y="659"/>
                  </a:lnTo>
                  <a:lnTo>
                    <a:pt x="714" y="659"/>
                  </a:lnTo>
                  <a:lnTo>
                    <a:pt x="716" y="659"/>
                  </a:lnTo>
                  <a:lnTo>
                    <a:pt x="716" y="662"/>
                  </a:lnTo>
                  <a:lnTo>
                    <a:pt x="719" y="662"/>
                  </a:lnTo>
                  <a:lnTo>
                    <a:pt x="721" y="662"/>
                  </a:lnTo>
                  <a:lnTo>
                    <a:pt x="721" y="662"/>
                  </a:lnTo>
                  <a:lnTo>
                    <a:pt x="724" y="662"/>
                  </a:lnTo>
                  <a:lnTo>
                    <a:pt x="724" y="662"/>
                  </a:lnTo>
                  <a:lnTo>
                    <a:pt x="726" y="662"/>
                  </a:lnTo>
                  <a:lnTo>
                    <a:pt x="726" y="662"/>
                  </a:lnTo>
                  <a:lnTo>
                    <a:pt x="729" y="662"/>
                  </a:lnTo>
                  <a:lnTo>
                    <a:pt x="729" y="662"/>
                  </a:lnTo>
                  <a:lnTo>
                    <a:pt x="729" y="662"/>
                  </a:lnTo>
                  <a:lnTo>
                    <a:pt x="731" y="662"/>
                  </a:lnTo>
                  <a:lnTo>
                    <a:pt x="731" y="662"/>
                  </a:lnTo>
                  <a:lnTo>
                    <a:pt x="731" y="662"/>
                  </a:lnTo>
                  <a:lnTo>
                    <a:pt x="731" y="664"/>
                  </a:lnTo>
                  <a:lnTo>
                    <a:pt x="731" y="664"/>
                  </a:lnTo>
                  <a:lnTo>
                    <a:pt x="731" y="664"/>
                  </a:lnTo>
                  <a:lnTo>
                    <a:pt x="731" y="664"/>
                  </a:lnTo>
                  <a:lnTo>
                    <a:pt x="731" y="667"/>
                  </a:lnTo>
                  <a:lnTo>
                    <a:pt x="731" y="667"/>
                  </a:lnTo>
                  <a:lnTo>
                    <a:pt x="731" y="669"/>
                  </a:lnTo>
                  <a:lnTo>
                    <a:pt x="731" y="669"/>
                  </a:lnTo>
                  <a:lnTo>
                    <a:pt x="731" y="669"/>
                  </a:lnTo>
                  <a:lnTo>
                    <a:pt x="731" y="669"/>
                  </a:lnTo>
                  <a:lnTo>
                    <a:pt x="731" y="672"/>
                  </a:lnTo>
                  <a:lnTo>
                    <a:pt x="731" y="674"/>
                  </a:lnTo>
                  <a:lnTo>
                    <a:pt x="731" y="677"/>
                  </a:lnTo>
                  <a:lnTo>
                    <a:pt x="731" y="677"/>
                  </a:lnTo>
                  <a:lnTo>
                    <a:pt x="734" y="679"/>
                  </a:lnTo>
                  <a:lnTo>
                    <a:pt x="737" y="679"/>
                  </a:lnTo>
                  <a:lnTo>
                    <a:pt x="739" y="679"/>
                  </a:lnTo>
                  <a:lnTo>
                    <a:pt x="742" y="679"/>
                  </a:lnTo>
                  <a:lnTo>
                    <a:pt x="744" y="679"/>
                  </a:lnTo>
                  <a:lnTo>
                    <a:pt x="749" y="679"/>
                  </a:lnTo>
                  <a:lnTo>
                    <a:pt x="749" y="679"/>
                  </a:lnTo>
                  <a:lnTo>
                    <a:pt x="749" y="679"/>
                  </a:lnTo>
                  <a:lnTo>
                    <a:pt x="749" y="682"/>
                  </a:lnTo>
                  <a:lnTo>
                    <a:pt x="747" y="682"/>
                  </a:lnTo>
                  <a:lnTo>
                    <a:pt x="747" y="682"/>
                  </a:lnTo>
                  <a:lnTo>
                    <a:pt x="747" y="685"/>
                  </a:lnTo>
                  <a:lnTo>
                    <a:pt x="747" y="685"/>
                  </a:lnTo>
                  <a:lnTo>
                    <a:pt x="744" y="685"/>
                  </a:lnTo>
                  <a:lnTo>
                    <a:pt x="744" y="685"/>
                  </a:lnTo>
                  <a:lnTo>
                    <a:pt x="744" y="687"/>
                  </a:lnTo>
                  <a:lnTo>
                    <a:pt x="744" y="687"/>
                  </a:lnTo>
                  <a:lnTo>
                    <a:pt x="744" y="687"/>
                  </a:lnTo>
                  <a:lnTo>
                    <a:pt x="744" y="690"/>
                  </a:lnTo>
                  <a:lnTo>
                    <a:pt x="744" y="690"/>
                  </a:lnTo>
                  <a:lnTo>
                    <a:pt x="747" y="690"/>
                  </a:lnTo>
                  <a:lnTo>
                    <a:pt x="747" y="692"/>
                  </a:lnTo>
                  <a:lnTo>
                    <a:pt x="747" y="692"/>
                  </a:lnTo>
                  <a:lnTo>
                    <a:pt x="747" y="692"/>
                  </a:lnTo>
                  <a:lnTo>
                    <a:pt x="747" y="692"/>
                  </a:lnTo>
                  <a:lnTo>
                    <a:pt x="747" y="692"/>
                  </a:lnTo>
                  <a:lnTo>
                    <a:pt x="747" y="695"/>
                  </a:lnTo>
                  <a:lnTo>
                    <a:pt x="747" y="695"/>
                  </a:lnTo>
                  <a:lnTo>
                    <a:pt x="744" y="697"/>
                  </a:lnTo>
                  <a:lnTo>
                    <a:pt x="744" y="697"/>
                  </a:lnTo>
                  <a:lnTo>
                    <a:pt x="744" y="697"/>
                  </a:lnTo>
                  <a:lnTo>
                    <a:pt x="742" y="700"/>
                  </a:lnTo>
                  <a:lnTo>
                    <a:pt x="742" y="700"/>
                  </a:lnTo>
                  <a:lnTo>
                    <a:pt x="742" y="702"/>
                  </a:lnTo>
                  <a:lnTo>
                    <a:pt x="742" y="702"/>
                  </a:lnTo>
                  <a:lnTo>
                    <a:pt x="744" y="702"/>
                  </a:lnTo>
                  <a:lnTo>
                    <a:pt x="744" y="702"/>
                  </a:lnTo>
                  <a:lnTo>
                    <a:pt x="744" y="702"/>
                  </a:lnTo>
                  <a:lnTo>
                    <a:pt x="744" y="702"/>
                  </a:lnTo>
                  <a:lnTo>
                    <a:pt x="747" y="702"/>
                  </a:lnTo>
                  <a:lnTo>
                    <a:pt x="747" y="702"/>
                  </a:lnTo>
                  <a:lnTo>
                    <a:pt x="747" y="702"/>
                  </a:lnTo>
                  <a:lnTo>
                    <a:pt x="747" y="705"/>
                  </a:lnTo>
                  <a:lnTo>
                    <a:pt x="747" y="705"/>
                  </a:lnTo>
                  <a:lnTo>
                    <a:pt x="747" y="705"/>
                  </a:lnTo>
                  <a:lnTo>
                    <a:pt x="744" y="705"/>
                  </a:lnTo>
                  <a:lnTo>
                    <a:pt x="744" y="705"/>
                  </a:lnTo>
                  <a:lnTo>
                    <a:pt x="744" y="705"/>
                  </a:lnTo>
                  <a:lnTo>
                    <a:pt x="742" y="707"/>
                  </a:lnTo>
                  <a:lnTo>
                    <a:pt x="742" y="707"/>
                  </a:lnTo>
                  <a:lnTo>
                    <a:pt x="742" y="707"/>
                  </a:lnTo>
                  <a:lnTo>
                    <a:pt x="742" y="707"/>
                  </a:lnTo>
                  <a:lnTo>
                    <a:pt x="744" y="707"/>
                  </a:lnTo>
                  <a:lnTo>
                    <a:pt x="744" y="707"/>
                  </a:lnTo>
                  <a:lnTo>
                    <a:pt x="744" y="707"/>
                  </a:lnTo>
                  <a:lnTo>
                    <a:pt x="744" y="707"/>
                  </a:lnTo>
                  <a:lnTo>
                    <a:pt x="742" y="710"/>
                  </a:lnTo>
                  <a:lnTo>
                    <a:pt x="739" y="710"/>
                  </a:lnTo>
                  <a:lnTo>
                    <a:pt x="739" y="710"/>
                  </a:lnTo>
                  <a:lnTo>
                    <a:pt x="742" y="713"/>
                  </a:lnTo>
                  <a:lnTo>
                    <a:pt x="742" y="713"/>
                  </a:lnTo>
                  <a:lnTo>
                    <a:pt x="742" y="713"/>
                  </a:lnTo>
                  <a:lnTo>
                    <a:pt x="742" y="713"/>
                  </a:lnTo>
                  <a:lnTo>
                    <a:pt x="744" y="713"/>
                  </a:lnTo>
                  <a:lnTo>
                    <a:pt x="747" y="710"/>
                  </a:lnTo>
                  <a:lnTo>
                    <a:pt x="747" y="710"/>
                  </a:lnTo>
                  <a:lnTo>
                    <a:pt x="747" y="713"/>
                  </a:lnTo>
                  <a:lnTo>
                    <a:pt x="749" y="713"/>
                  </a:lnTo>
                  <a:lnTo>
                    <a:pt x="747" y="713"/>
                  </a:lnTo>
                  <a:lnTo>
                    <a:pt x="747" y="713"/>
                  </a:lnTo>
                  <a:lnTo>
                    <a:pt x="747" y="715"/>
                  </a:lnTo>
                  <a:lnTo>
                    <a:pt x="747" y="715"/>
                  </a:lnTo>
                  <a:lnTo>
                    <a:pt x="747" y="715"/>
                  </a:lnTo>
                  <a:lnTo>
                    <a:pt x="749" y="715"/>
                  </a:lnTo>
                  <a:lnTo>
                    <a:pt x="749" y="715"/>
                  </a:lnTo>
                  <a:lnTo>
                    <a:pt x="749" y="718"/>
                  </a:lnTo>
                  <a:lnTo>
                    <a:pt x="749" y="718"/>
                  </a:lnTo>
                  <a:lnTo>
                    <a:pt x="754" y="718"/>
                  </a:lnTo>
                  <a:lnTo>
                    <a:pt x="754" y="718"/>
                  </a:lnTo>
                  <a:lnTo>
                    <a:pt x="754" y="718"/>
                  </a:lnTo>
                  <a:lnTo>
                    <a:pt x="757" y="718"/>
                  </a:lnTo>
                  <a:lnTo>
                    <a:pt x="765" y="720"/>
                  </a:lnTo>
                  <a:lnTo>
                    <a:pt x="767" y="720"/>
                  </a:lnTo>
                  <a:lnTo>
                    <a:pt x="770" y="718"/>
                  </a:lnTo>
                  <a:lnTo>
                    <a:pt x="770" y="720"/>
                  </a:lnTo>
                  <a:lnTo>
                    <a:pt x="770" y="720"/>
                  </a:lnTo>
                  <a:lnTo>
                    <a:pt x="772" y="720"/>
                  </a:lnTo>
                  <a:lnTo>
                    <a:pt x="775" y="720"/>
                  </a:lnTo>
                  <a:lnTo>
                    <a:pt x="777" y="720"/>
                  </a:lnTo>
                  <a:lnTo>
                    <a:pt x="777" y="720"/>
                  </a:lnTo>
                  <a:lnTo>
                    <a:pt x="780" y="720"/>
                  </a:lnTo>
                  <a:lnTo>
                    <a:pt x="782" y="720"/>
                  </a:lnTo>
                  <a:lnTo>
                    <a:pt x="785" y="720"/>
                  </a:lnTo>
                  <a:lnTo>
                    <a:pt x="785" y="720"/>
                  </a:lnTo>
                  <a:lnTo>
                    <a:pt x="785" y="723"/>
                  </a:lnTo>
                  <a:lnTo>
                    <a:pt x="785" y="723"/>
                  </a:lnTo>
                  <a:lnTo>
                    <a:pt x="785" y="723"/>
                  </a:lnTo>
                  <a:lnTo>
                    <a:pt x="785" y="723"/>
                  </a:lnTo>
                  <a:lnTo>
                    <a:pt x="788" y="723"/>
                  </a:lnTo>
                  <a:lnTo>
                    <a:pt x="788" y="720"/>
                  </a:lnTo>
                  <a:lnTo>
                    <a:pt x="788" y="720"/>
                  </a:lnTo>
                  <a:lnTo>
                    <a:pt x="788" y="720"/>
                  </a:lnTo>
                  <a:lnTo>
                    <a:pt x="790" y="720"/>
                  </a:lnTo>
                  <a:lnTo>
                    <a:pt x="790" y="723"/>
                  </a:lnTo>
                  <a:lnTo>
                    <a:pt x="788" y="723"/>
                  </a:lnTo>
                  <a:lnTo>
                    <a:pt x="788" y="723"/>
                  </a:lnTo>
                  <a:lnTo>
                    <a:pt x="788" y="723"/>
                  </a:lnTo>
                  <a:lnTo>
                    <a:pt x="788" y="723"/>
                  </a:lnTo>
                  <a:lnTo>
                    <a:pt x="788" y="723"/>
                  </a:lnTo>
                  <a:lnTo>
                    <a:pt x="788" y="723"/>
                  </a:lnTo>
                  <a:lnTo>
                    <a:pt x="788" y="725"/>
                  </a:lnTo>
                  <a:lnTo>
                    <a:pt x="790" y="723"/>
                  </a:lnTo>
                  <a:lnTo>
                    <a:pt x="790" y="723"/>
                  </a:lnTo>
                  <a:lnTo>
                    <a:pt x="793" y="723"/>
                  </a:lnTo>
                  <a:lnTo>
                    <a:pt x="793" y="723"/>
                  </a:lnTo>
                  <a:lnTo>
                    <a:pt x="795" y="723"/>
                  </a:lnTo>
                  <a:lnTo>
                    <a:pt x="795" y="723"/>
                  </a:lnTo>
                  <a:lnTo>
                    <a:pt x="795" y="723"/>
                  </a:lnTo>
                  <a:lnTo>
                    <a:pt x="795" y="723"/>
                  </a:lnTo>
                  <a:lnTo>
                    <a:pt x="795" y="723"/>
                  </a:lnTo>
                  <a:lnTo>
                    <a:pt x="795" y="725"/>
                  </a:lnTo>
                  <a:lnTo>
                    <a:pt x="795" y="725"/>
                  </a:lnTo>
                  <a:lnTo>
                    <a:pt x="798" y="725"/>
                  </a:lnTo>
                  <a:lnTo>
                    <a:pt x="800" y="725"/>
                  </a:lnTo>
                  <a:lnTo>
                    <a:pt x="800" y="725"/>
                  </a:lnTo>
                  <a:lnTo>
                    <a:pt x="800" y="725"/>
                  </a:lnTo>
                  <a:lnTo>
                    <a:pt x="800" y="725"/>
                  </a:lnTo>
                  <a:lnTo>
                    <a:pt x="803" y="725"/>
                  </a:lnTo>
                  <a:lnTo>
                    <a:pt x="803" y="725"/>
                  </a:lnTo>
                  <a:lnTo>
                    <a:pt x="803" y="728"/>
                  </a:lnTo>
                  <a:lnTo>
                    <a:pt x="803" y="728"/>
                  </a:lnTo>
                  <a:lnTo>
                    <a:pt x="803" y="728"/>
                  </a:lnTo>
                  <a:lnTo>
                    <a:pt x="803" y="728"/>
                  </a:lnTo>
                  <a:lnTo>
                    <a:pt x="803" y="730"/>
                  </a:lnTo>
                  <a:lnTo>
                    <a:pt x="803" y="730"/>
                  </a:lnTo>
                  <a:lnTo>
                    <a:pt x="803" y="730"/>
                  </a:lnTo>
                  <a:lnTo>
                    <a:pt x="803" y="733"/>
                  </a:lnTo>
                  <a:lnTo>
                    <a:pt x="803" y="733"/>
                  </a:lnTo>
                  <a:lnTo>
                    <a:pt x="803" y="733"/>
                  </a:lnTo>
                  <a:lnTo>
                    <a:pt x="803" y="733"/>
                  </a:lnTo>
                  <a:lnTo>
                    <a:pt x="805" y="733"/>
                  </a:lnTo>
                  <a:lnTo>
                    <a:pt x="805" y="730"/>
                  </a:lnTo>
                  <a:lnTo>
                    <a:pt x="805" y="733"/>
                  </a:lnTo>
                  <a:lnTo>
                    <a:pt x="805" y="733"/>
                  </a:lnTo>
                  <a:lnTo>
                    <a:pt x="805" y="735"/>
                  </a:lnTo>
                  <a:lnTo>
                    <a:pt x="803" y="735"/>
                  </a:lnTo>
                  <a:lnTo>
                    <a:pt x="803" y="735"/>
                  </a:lnTo>
                  <a:lnTo>
                    <a:pt x="805" y="738"/>
                  </a:lnTo>
                  <a:lnTo>
                    <a:pt x="805" y="738"/>
                  </a:lnTo>
                  <a:lnTo>
                    <a:pt x="805" y="738"/>
                  </a:lnTo>
                  <a:lnTo>
                    <a:pt x="808" y="738"/>
                  </a:lnTo>
                  <a:lnTo>
                    <a:pt x="808" y="738"/>
                  </a:lnTo>
                  <a:lnTo>
                    <a:pt x="808" y="735"/>
                  </a:lnTo>
                  <a:lnTo>
                    <a:pt x="808" y="735"/>
                  </a:lnTo>
                  <a:lnTo>
                    <a:pt x="808" y="735"/>
                  </a:lnTo>
                  <a:lnTo>
                    <a:pt x="808" y="738"/>
                  </a:lnTo>
                  <a:lnTo>
                    <a:pt x="808" y="738"/>
                  </a:lnTo>
                  <a:lnTo>
                    <a:pt x="808" y="738"/>
                  </a:lnTo>
                  <a:lnTo>
                    <a:pt x="808" y="741"/>
                  </a:lnTo>
                  <a:lnTo>
                    <a:pt x="805" y="741"/>
                  </a:lnTo>
                  <a:lnTo>
                    <a:pt x="805" y="741"/>
                  </a:lnTo>
                  <a:lnTo>
                    <a:pt x="805" y="741"/>
                  </a:lnTo>
                  <a:lnTo>
                    <a:pt x="808" y="741"/>
                  </a:lnTo>
                  <a:lnTo>
                    <a:pt x="808" y="741"/>
                  </a:lnTo>
                  <a:lnTo>
                    <a:pt x="808" y="741"/>
                  </a:lnTo>
                  <a:lnTo>
                    <a:pt x="808" y="743"/>
                  </a:lnTo>
                  <a:lnTo>
                    <a:pt x="808" y="743"/>
                  </a:lnTo>
                  <a:lnTo>
                    <a:pt x="805" y="743"/>
                  </a:lnTo>
                  <a:lnTo>
                    <a:pt x="805" y="743"/>
                  </a:lnTo>
                  <a:lnTo>
                    <a:pt x="805" y="743"/>
                  </a:lnTo>
                  <a:lnTo>
                    <a:pt x="808" y="746"/>
                  </a:lnTo>
                  <a:lnTo>
                    <a:pt x="808" y="746"/>
                  </a:lnTo>
                  <a:lnTo>
                    <a:pt x="808" y="746"/>
                  </a:lnTo>
                  <a:lnTo>
                    <a:pt x="808" y="748"/>
                  </a:lnTo>
                  <a:lnTo>
                    <a:pt x="808" y="748"/>
                  </a:lnTo>
                  <a:lnTo>
                    <a:pt x="808" y="748"/>
                  </a:lnTo>
                  <a:lnTo>
                    <a:pt x="808" y="751"/>
                  </a:lnTo>
                  <a:lnTo>
                    <a:pt x="808" y="751"/>
                  </a:lnTo>
                  <a:lnTo>
                    <a:pt x="808" y="751"/>
                  </a:lnTo>
                  <a:lnTo>
                    <a:pt x="808" y="751"/>
                  </a:lnTo>
                  <a:lnTo>
                    <a:pt x="810" y="751"/>
                  </a:lnTo>
                  <a:lnTo>
                    <a:pt x="810" y="751"/>
                  </a:lnTo>
                  <a:lnTo>
                    <a:pt x="810" y="751"/>
                  </a:lnTo>
                  <a:lnTo>
                    <a:pt x="810" y="751"/>
                  </a:lnTo>
                  <a:lnTo>
                    <a:pt x="810" y="751"/>
                  </a:lnTo>
                  <a:lnTo>
                    <a:pt x="810" y="751"/>
                  </a:lnTo>
                  <a:lnTo>
                    <a:pt x="810" y="753"/>
                  </a:lnTo>
                  <a:lnTo>
                    <a:pt x="808" y="753"/>
                  </a:lnTo>
                  <a:lnTo>
                    <a:pt x="808" y="753"/>
                  </a:lnTo>
                  <a:lnTo>
                    <a:pt x="805" y="751"/>
                  </a:lnTo>
                  <a:lnTo>
                    <a:pt x="805" y="751"/>
                  </a:lnTo>
                  <a:lnTo>
                    <a:pt x="805" y="751"/>
                  </a:lnTo>
                  <a:lnTo>
                    <a:pt x="805" y="751"/>
                  </a:lnTo>
                  <a:lnTo>
                    <a:pt x="805" y="751"/>
                  </a:lnTo>
                  <a:lnTo>
                    <a:pt x="805" y="751"/>
                  </a:lnTo>
                  <a:lnTo>
                    <a:pt x="805" y="751"/>
                  </a:lnTo>
                  <a:lnTo>
                    <a:pt x="803" y="751"/>
                  </a:lnTo>
                  <a:lnTo>
                    <a:pt x="803" y="751"/>
                  </a:lnTo>
                  <a:lnTo>
                    <a:pt x="803" y="753"/>
                  </a:lnTo>
                  <a:lnTo>
                    <a:pt x="803" y="753"/>
                  </a:lnTo>
                  <a:lnTo>
                    <a:pt x="803" y="753"/>
                  </a:lnTo>
                  <a:lnTo>
                    <a:pt x="803" y="756"/>
                  </a:lnTo>
                  <a:lnTo>
                    <a:pt x="803" y="756"/>
                  </a:lnTo>
                  <a:lnTo>
                    <a:pt x="800" y="758"/>
                  </a:lnTo>
                  <a:lnTo>
                    <a:pt x="800" y="758"/>
                  </a:lnTo>
                  <a:lnTo>
                    <a:pt x="798" y="758"/>
                  </a:lnTo>
                  <a:lnTo>
                    <a:pt x="793" y="756"/>
                  </a:lnTo>
                  <a:lnTo>
                    <a:pt x="793" y="756"/>
                  </a:lnTo>
                  <a:lnTo>
                    <a:pt x="793" y="753"/>
                  </a:lnTo>
                  <a:lnTo>
                    <a:pt x="793" y="753"/>
                  </a:lnTo>
                  <a:lnTo>
                    <a:pt x="790" y="753"/>
                  </a:lnTo>
                  <a:lnTo>
                    <a:pt x="788" y="756"/>
                  </a:lnTo>
                  <a:lnTo>
                    <a:pt x="785" y="756"/>
                  </a:lnTo>
                  <a:lnTo>
                    <a:pt x="785" y="756"/>
                  </a:lnTo>
                  <a:lnTo>
                    <a:pt x="788" y="753"/>
                  </a:lnTo>
                  <a:lnTo>
                    <a:pt x="788" y="753"/>
                  </a:lnTo>
                  <a:lnTo>
                    <a:pt x="788" y="753"/>
                  </a:lnTo>
                  <a:lnTo>
                    <a:pt x="788" y="751"/>
                  </a:lnTo>
                  <a:lnTo>
                    <a:pt x="788" y="751"/>
                  </a:lnTo>
                  <a:lnTo>
                    <a:pt x="785" y="751"/>
                  </a:lnTo>
                  <a:lnTo>
                    <a:pt x="785" y="753"/>
                  </a:lnTo>
                  <a:lnTo>
                    <a:pt x="782" y="753"/>
                  </a:lnTo>
                  <a:lnTo>
                    <a:pt x="785" y="753"/>
                  </a:lnTo>
                  <a:lnTo>
                    <a:pt x="785" y="751"/>
                  </a:lnTo>
                  <a:lnTo>
                    <a:pt x="788" y="751"/>
                  </a:lnTo>
                  <a:lnTo>
                    <a:pt x="788" y="748"/>
                  </a:lnTo>
                  <a:lnTo>
                    <a:pt x="788" y="748"/>
                  </a:lnTo>
                  <a:lnTo>
                    <a:pt x="788" y="748"/>
                  </a:lnTo>
                  <a:lnTo>
                    <a:pt x="788" y="748"/>
                  </a:lnTo>
                  <a:lnTo>
                    <a:pt x="788" y="748"/>
                  </a:lnTo>
                  <a:lnTo>
                    <a:pt x="788" y="748"/>
                  </a:lnTo>
                  <a:lnTo>
                    <a:pt x="785" y="748"/>
                  </a:lnTo>
                  <a:lnTo>
                    <a:pt x="785" y="748"/>
                  </a:lnTo>
                  <a:lnTo>
                    <a:pt x="785" y="748"/>
                  </a:lnTo>
                  <a:lnTo>
                    <a:pt x="785" y="748"/>
                  </a:lnTo>
                  <a:lnTo>
                    <a:pt x="785" y="748"/>
                  </a:lnTo>
                  <a:lnTo>
                    <a:pt x="785" y="748"/>
                  </a:lnTo>
                  <a:lnTo>
                    <a:pt x="785" y="746"/>
                  </a:lnTo>
                  <a:lnTo>
                    <a:pt x="785" y="746"/>
                  </a:lnTo>
                  <a:lnTo>
                    <a:pt x="785" y="746"/>
                  </a:lnTo>
                  <a:lnTo>
                    <a:pt x="785" y="743"/>
                  </a:lnTo>
                  <a:lnTo>
                    <a:pt x="785" y="743"/>
                  </a:lnTo>
                  <a:lnTo>
                    <a:pt x="785" y="743"/>
                  </a:lnTo>
                  <a:lnTo>
                    <a:pt x="785" y="741"/>
                  </a:lnTo>
                  <a:lnTo>
                    <a:pt x="785" y="741"/>
                  </a:lnTo>
                  <a:lnTo>
                    <a:pt x="785" y="741"/>
                  </a:lnTo>
                  <a:lnTo>
                    <a:pt x="782" y="741"/>
                  </a:lnTo>
                  <a:lnTo>
                    <a:pt x="780" y="741"/>
                  </a:lnTo>
                  <a:lnTo>
                    <a:pt x="777" y="741"/>
                  </a:lnTo>
                  <a:lnTo>
                    <a:pt x="777" y="741"/>
                  </a:lnTo>
                  <a:lnTo>
                    <a:pt x="777" y="741"/>
                  </a:lnTo>
                  <a:lnTo>
                    <a:pt x="780" y="741"/>
                  </a:lnTo>
                  <a:lnTo>
                    <a:pt x="780" y="741"/>
                  </a:lnTo>
                  <a:lnTo>
                    <a:pt x="780" y="743"/>
                  </a:lnTo>
                  <a:lnTo>
                    <a:pt x="780" y="743"/>
                  </a:lnTo>
                  <a:lnTo>
                    <a:pt x="780" y="743"/>
                  </a:lnTo>
                  <a:lnTo>
                    <a:pt x="780" y="746"/>
                  </a:lnTo>
                  <a:lnTo>
                    <a:pt x="780" y="748"/>
                  </a:lnTo>
                  <a:lnTo>
                    <a:pt x="782" y="748"/>
                  </a:lnTo>
                  <a:lnTo>
                    <a:pt x="782" y="748"/>
                  </a:lnTo>
                  <a:lnTo>
                    <a:pt x="780" y="748"/>
                  </a:lnTo>
                  <a:lnTo>
                    <a:pt x="780" y="751"/>
                  </a:lnTo>
                  <a:lnTo>
                    <a:pt x="780" y="751"/>
                  </a:lnTo>
                  <a:lnTo>
                    <a:pt x="780" y="751"/>
                  </a:lnTo>
                  <a:lnTo>
                    <a:pt x="780" y="753"/>
                  </a:lnTo>
                  <a:lnTo>
                    <a:pt x="780" y="756"/>
                  </a:lnTo>
                  <a:lnTo>
                    <a:pt x="780" y="756"/>
                  </a:lnTo>
                  <a:lnTo>
                    <a:pt x="777" y="758"/>
                  </a:lnTo>
                  <a:lnTo>
                    <a:pt x="777" y="758"/>
                  </a:lnTo>
                  <a:lnTo>
                    <a:pt x="775" y="758"/>
                  </a:lnTo>
                  <a:lnTo>
                    <a:pt x="775" y="758"/>
                  </a:lnTo>
                  <a:lnTo>
                    <a:pt x="775" y="761"/>
                  </a:lnTo>
                  <a:lnTo>
                    <a:pt x="772" y="761"/>
                  </a:lnTo>
                  <a:lnTo>
                    <a:pt x="772" y="761"/>
                  </a:lnTo>
                  <a:lnTo>
                    <a:pt x="770" y="763"/>
                  </a:lnTo>
                  <a:lnTo>
                    <a:pt x="770" y="763"/>
                  </a:lnTo>
                  <a:lnTo>
                    <a:pt x="770" y="766"/>
                  </a:lnTo>
                  <a:lnTo>
                    <a:pt x="767" y="766"/>
                  </a:lnTo>
                  <a:lnTo>
                    <a:pt x="765" y="769"/>
                  </a:lnTo>
                  <a:lnTo>
                    <a:pt x="765" y="769"/>
                  </a:lnTo>
                  <a:lnTo>
                    <a:pt x="762" y="776"/>
                  </a:lnTo>
                  <a:lnTo>
                    <a:pt x="762" y="779"/>
                  </a:lnTo>
                  <a:lnTo>
                    <a:pt x="760" y="781"/>
                  </a:lnTo>
                  <a:lnTo>
                    <a:pt x="760" y="784"/>
                  </a:lnTo>
                  <a:lnTo>
                    <a:pt x="757" y="784"/>
                  </a:lnTo>
                  <a:lnTo>
                    <a:pt x="757" y="784"/>
                  </a:lnTo>
                  <a:lnTo>
                    <a:pt x="754" y="786"/>
                  </a:lnTo>
                  <a:lnTo>
                    <a:pt x="752" y="786"/>
                  </a:lnTo>
                  <a:lnTo>
                    <a:pt x="752" y="786"/>
                  </a:lnTo>
                  <a:lnTo>
                    <a:pt x="749" y="789"/>
                  </a:lnTo>
                  <a:lnTo>
                    <a:pt x="747" y="789"/>
                  </a:lnTo>
                  <a:lnTo>
                    <a:pt x="744" y="791"/>
                  </a:lnTo>
                  <a:lnTo>
                    <a:pt x="744" y="791"/>
                  </a:lnTo>
                  <a:lnTo>
                    <a:pt x="739" y="797"/>
                  </a:lnTo>
                  <a:lnTo>
                    <a:pt x="737" y="799"/>
                  </a:lnTo>
                  <a:lnTo>
                    <a:pt x="734" y="802"/>
                  </a:lnTo>
                  <a:lnTo>
                    <a:pt x="734" y="802"/>
                  </a:lnTo>
                  <a:lnTo>
                    <a:pt x="734" y="802"/>
                  </a:lnTo>
                  <a:lnTo>
                    <a:pt x="737" y="802"/>
                  </a:lnTo>
                  <a:lnTo>
                    <a:pt x="737" y="802"/>
                  </a:lnTo>
                  <a:lnTo>
                    <a:pt x="737" y="802"/>
                  </a:lnTo>
                  <a:lnTo>
                    <a:pt x="737" y="802"/>
                  </a:lnTo>
                  <a:lnTo>
                    <a:pt x="737" y="804"/>
                  </a:lnTo>
                  <a:lnTo>
                    <a:pt x="737" y="804"/>
                  </a:lnTo>
                  <a:lnTo>
                    <a:pt x="737" y="807"/>
                  </a:lnTo>
                  <a:lnTo>
                    <a:pt x="734" y="807"/>
                  </a:lnTo>
                  <a:lnTo>
                    <a:pt x="734" y="807"/>
                  </a:lnTo>
                  <a:lnTo>
                    <a:pt x="729" y="807"/>
                  </a:lnTo>
                  <a:lnTo>
                    <a:pt x="726" y="807"/>
                  </a:lnTo>
                  <a:lnTo>
                    <a:pt x="726" y="807"/>
                  </a:lnTo>
                  <a:lnTo>
                    <a:pt x="724" y="807"/>
                  </a:lnTo>
                  <a:lnTo>
                    <a:pt x="724" y="807"/>
                  </a:lnTo>
                  <a:lnTo>
                    <a:pt x="724" y="809"/>
                  </a:lnTo>
                  <a:lnTo>
                    <a:pt x="721" y="809"/>
                  </a:lnTo>
                  <a:lnTo>
                    <a:pt x="721" y="812"/>
                  </a:lnTo>
                  <a:lnTo>
                    <a:pt x="721" y="812"/>
                  </a:lnTo>
                  <a:lnTo>
                    <a:pt x="724" y="812"/>
                  </a:lnTo>
                  <a:lnTo>
                    <a:pt x="726" y="814"/>
                  </a:lnTo>
                  <a:lnTo>
                    <a:pt x="729" y="812"/>
                  </a:lnTo>
                  <a:lnTo>
                    <a:pt x="729" y="812"/>
                  </a:lnTo>
                  <a:lnTo>
                    <a:pt x="729" y="812"/>
                  </a:lnTo>
                  <a:lnTo>
                    <a:pt x="731" y="814"/>
                  </a:lnTo>
                  <a:lnTo>
                    <a:pt x="731" y="814"/>
                  </a:lnTo>
                  <a:lnTo>
                    <a:pt x="731" y="814"/>
                  </a:lnTo>
                  <a:lnTo>
                    <a:pt x="731" y="812"/>
                  </a:lnTo>
                  <a:lnTo>
                    <a:pt x="734" y="812"/>
                  </a:lnTo>
                  <a:lnTo>
                    <a:pt x="734" y="812"/>
                  </a:lnTo>
                  <a:lnTo>
                    <a:pt x="737" y="809"/>
                  </a:lnTo>
                  <a:lnTo>
                    <a:pt x="739" y="809"/>
                  </a:lnTo>
                  <a:lnTo>
                    <a:pt x="742" y="807"/>
                  </a:lnTo>
                  <a:lnTo>
                    <a:pt x="744" y="807"/>
                  </a:lnTo>
                  <a:lnTo>
                    <a:pt x="744" y="807"/>
                  </a:lnTo>
                  <a:lnTo>
                    <a:pt x="747" y="807"/>
                  </a:lnTo>
                  <a:lnTo>
                    <a:pt x="747" y="807"/>
                  </a:lnTo>
                  <a:lnTo>
                    <a:pt x="747" y="807"/>
                  </a:lnTo>
                  <a:lnTo>
                    <a:pt x="744" y="807"/>
                  </a:lnTo>
                  <a:lnTo>
                    <a:pt x="747" y="807"/>
                  </a:lnTo>
                  <a:lnTo>
                    <a:pt x="747" y="807"/>
                  </a:lnTo>
                  <a:lnTo>
                    <a:pt x="747" y="804"/>
                  </a:lnTo>
                  <a:lnTo>
                    <a:pt x="749" y="804"/>
                  </a:lnTo>
                  <a:lnTo>
                    <a:pt x="757" y="799"/>
                  </a:lnTo>
                  <a:lnTo>
                    <a:pt x="757" y="799"/>
                  </a:lnTo>
                  <a:lnTo>
                    <a:pt x="762" y="799"/>
                  </a:lnTo>
                  <a:lnTo>
                    <a:pt x="765" y="799"/>
                  </a:lnTo>
                  <a:lnTo>
                    <a:pt x="770" y="799"/>
                  </a:lnTo>
                  <a:lnTo>
                    <a:pt x="772" y="799"/>
                  </a:lnTo>
                  <a:lnTo>
                    <a:pt x="775" y="802"/>
                  </a:lnTo>
                  <a:lnTo>
                    <a:pt x="775" y="802"/>
                  </a:lnTo>
                  <a:lnTo>
                    <a:pt x="780" y="802"/>
                  </a:lnTo>
                  <a:lnTo>
                    <a:pt x="782" y="802"/>
                  </a:lnTo>
                  <a:lnTo>
                    <a:pt x="780" y="802"/>
                  </a:lnTo>
                  <a:lnTo>
                    <a:pt x="777" y="799"/>
                  </a:lnTo>
                  <a:lnTo>
                    <a:pt x="777" y="799"/>
                  </a:lnTo>
                  <a:lnTo>
                    <a:pt x="775" y="799"/>
                  </a:lnTo>
                  <a:lnTo>
                    <a:pt x="775" y="799"/>
                  </a:lnTo>
                  <a:lnTo>
                    <a:pt x="777" y="799"/>
                  </a:lnTo>
                  <a:lnTo>
                    <a:pt x="777" y="799"/>
                  </a:lnTo>
                  <a:lnTo>
                    <a:pt x="777" y="797"/>
                  </a:lnTo>
                  <a:lnTo>
                    <a:pt x="780" y="797"/>
                  </a:lnTo>
                  <a:lnTo>
                    <a:pt x="780" y="797"/>
                  </a:lnTo>
                  <a:lnTo>
                    <a:pt x="782" y="797"/>
                  </a:lnTo>
                  <a:lnTo>
                    <a:pt x="788" y="794"/>
                  </a:lnTo>
                  <a:lnTo>
                    <a:pt x="790" y="794"/>
                  </a:lnTo>
                  <a:lnTo>
                    <a:pt x="790" y="794"/>
                  </a:lnTo>
                  <a:lnTo>
                    <a:pt x="793" y="794"/>
                  </a:lnTo>
                  <a:lnTo>
                    <a:pt x="793" y="794"/>
                  </a:lnTo>
                  <a:lnTo>
                    <a:pt x="798" y="794"/>
                  </a:lnTo>
                  <a:lnTo>
                    <a:pt x="800" y="794"/>
                  </a:lnTo>
                  <a:lnTo>
                    <a:pt x="800" y="794"/>
                  </a:lnTo>
                  <a:lnTo>
                    <a:pt x="803" y="794"/>
                  </a:lnTo>
                  <a:lnTo>
                    <a:pt x="803" y="794"/>
                  </a:lnTo>
                  <a:lnTo>
                    <a:pt x="805" y="794"/>
                  </a:lnTo>
                  <a:lnTo>
                    <a:pt x="805" y="794"/>
                  </a:lnTo>
                  <a:lnTo>
                    <a:pt x="805" y="791"/>
                  </a:lnTo>
                  <a:lnTo>
                    <a:pt x="805" y="791"/>
                  </a:lnTo>
                  <a:lnTo>
                    <a:pt x="805" y="791"/>
                  </a:lnTo>
                  <a:lnTo>
                    <a:pt x="805" y="791"/>
                  </a:lnTo>
                  <a:lnTo>
                    <a:pt x="805" y="789"/>
                  </a:lnTo>
                  <a:lnTo>
                    <a:pt x="805" y="789"/>
                  </a:lnTo>
                  <a:lnTo>
                    <a:pt x="805" y="789"/>
                  </a:lnTo>
                  <a:lnTo>
                    <a:pt x="808" y="784"/>
                  </a:lnTo>
                  <a:lnTo>
                    <a:pt x="808" y="784"/>
                  </a:lnTo>
                  <a:lnTo>
                    <a:pt x="803" y="786"/>
                  </a:lnTo>
                  <a:lnTo>
                    <a:pt x="803" y="786"/>
                  </a:lnTo>
                  <a:lnTo>
                    <a:pt x="800" y="786"/>
                  </a:lnTo>
                  <a:lnTo>
                    <a:pt x="800" y="786"/>
                  </a:lnTo>
                  <a:lnTo>
                    <a:pt x="798" y="786"/>
                  </a:lnTo>
                  <a:lnTo>
                    <a:pt x="795" y="786"/>
                  </a:lnTo>
                  <a:lnTo>
                    <a:pt x="795" y="786"/>
                  </a:lnTo>
                  <a:lnTo>
                    <a:pt x="795" y="784"/>
                  </a:lnTo>
                  <a:lnTo>
                    <a:pt x="795" y="784"/>
                  </a:lnTo>
                  <a:lnTo>
                    <a:pt x="798" y="781"/>
                  </a:lnTo>
                  <a:lnTo>
                    <a:pt x="798" y="779"/>
                  </a:lnTo>
                  <a:lnTo>
                    <a:pt x="800" y="779"/>
                  </a:lnTo>
                  <a:lnTo>
                    <a:pt x="800" y="779"/>
                  </a:lnTo>
                  <a:lnTo>
                    <a:pt x="803" y="779"/>
                  </a:lnTo>
                  <a:lnTo>
                    <a:pt x="803" y="776"/>
                  </a:lnTo>
                  <a:lnTo>
                    <a:pt x="803" y="776"/>
                  </a:lnTo>
                  <a:lnTo>
                    <a:pt x="803" y="776"/>
                  </a:lnTo>
                  <a:lnTo>
                    <a:pt x="805" y="776"/>
                  </a:lnTo>
                  <a:lnTo>
                    <a:pt x="810" y="774"/>
                  </a:lnTo>
                  <a:lnTo>
                    <a:pt x="813" y="774"/>
                  </a:lnTo>
                  <a:lnTo>
                    <a:pt x="813" y="774"/>
                  </a:lnTo>
                  <a:lnTo>
                    <a:pt x="818" y="771"/>
                  </a:lnTo>
                  <a:lnTo>
                    <a:pt x="821" y="771"/>
                  </a:lnTo>
                  <a:lnTo>
                    <a:pt x="821" y="771"/>
                  </a:lnTo>
                  <a:lnTo>
                    <a:pt x="823" y="771"/>
                  </a:lnTo>
                  <a:lnTo>
                    <a:pt x="823" y="771"/>
                  </a:lnTo>
                  <a:lnTo>
                    <a:pt x="826" y="771"/>
                  </a:lnTo>
                  <a:lnTo>
                    <a:pt x="828" y="771"/>
                  </a:lnTo>
                  <a:lnTo>
                    <a:pt x="833" y="769"/>
                  </a:lnTo>
                  <a:lnTo>
                    <a:pt x="836" y="769"/>
                  </a:lnTo>
                  <a:lnTo>
                    <a:pt x="836" y="769"/>
                  </a:lnTo>
                  <a:lnTo>
                    <a:pt x="839" y="769"/>
                  </a:lnTo>
                  <a:lnTo>
                    <a:pt x="839" y="769"/>
                  </a:lnTo>
                  <a:lnTo>
                    <a:pt x="839" y="769"/>
                  </a:lnTo>
                  <a:lnTo>
                    <a:pt x="841" y="769"/>
                  </a:lnTo>
                  <a:lnTo>
                    <a:pt x="841" y="769"/>
                  </a:lnTo>
                  <a:lnTo>
                    <a:pt x="841" y="769"/>
                  </a:lnTo>
                  <a:lnTo>
                    <a:pt x="841" y="769"/>
                  </a:lnTo>
                  <a:lnTo>
                    <a:pt x="841" y="769"/>
                  </a:lnTo>
                  <a:lnTo>
                    <a:pt x="841" y="771"/>
                  </a:lnTo>
                  <a:lnTo>
                    <a:pt x="844" y="771"/>
                  </a:lnTo>
                  <a:lnTo>
                    <a:pt x="844" y="771"/>
                  </a:lnTo>
                  <a:lnTo>
                    <a:pt x="846" y="771"/>
                  </a:lnTo>
                  <a:lnTo>
                    <a:pt x="846" y="771"/>
                  </a:lnTo>
                  <a:lnTo>
                    <a:pt x="844" y="771"/>
                  </a:lnTo>
                  <a:lnTo>
                    <a:pt x="844" y="771"/>
                  </a:lnTo>
                  <a:lnTo>
                    <a:pt x="846" y="771"/>
                  </a:lnTo>
                  <a:lnTo>
                    <a:pt x="846" y="771"/>
                  </a:lnTo>
                  <a:lnTo>
                    <a:pt x="846" y="771"/>
                  </a:lnTo>
                  <a:lnTo>
                    <a:pt x="846" y="771"/>
                  </a:lnTo>
                  <a:lnTo>
                    <a:pt x="846" y="771"/>
                  </a:lnTo>
                  <a:lnTo>
                    <a:pt x="846" y="771"/>
                  </a:lnTo>
                  <a:lnTo>
                    <a:pt x="846" y="771"/>
                  </a:lnTo>
                  <a:lnTo>
                    <a:pt x="849" y="771"/>
                  </a:lnTo>
                  <a:lnTo>
                    <a:pt x="851" y="771"/>
                  </a:lnTo>
                  <a:lnTo>
                    <a:pt x="854" y="771"/>
                  </a:lnTo>
                  <a:lnTo>
                    <a:pt x="854" y="771"/>
                  </a:lnTo>
                  <a:lnTo>
                    <a:pt x="851" y="771"/>
                  </a:lnTo>
                  <a:lnTo>
                    <a:pt x="851" y="771"/>
                  </a:lnTo>
                  <a:lnTo>
                    <a:pt x="849" y="771"/>
                  </a:lnTo>
                  <a:lnTo>
                    <a:pt x="849" y="771"/>
                  </a:lnTo>
                  <a:lnTo>
                    <a:pt x="851" y="769"/>
                  </a:lnTo>
                  <a:lnTo>
                    <a:pt x="851" y="769"/>
                  </a:lnTo>
                  <a:lnTo>
                    <a:pt x="854" y="769"/>
                  </a:lnTo>
                  <a:lnTo>
                    <a:pt x="854" y="766"/>
                  </a:lnTo>
                  <a:lnTo>
                    <a:pt x="854" y="766"/>
                  </a:lnTo>
                  <a:lnTo>
                    <a:pt x="851" y="769"/>
                  </a:lnTo>
                  <a:lnTo>
                    <a:pt x="851" y="769"/>
                  </a:lnTo>
                  <a:lnTo>
                    <a:pt x="849" y="769"/>
                  </a:lnTo>
                  <a:lnTo>
                    <a:pt x="849" y="769"/>
                  </a:lnTo>
                  <a:lnTo>
                    <a:pt x="851" y="766"/>
                  </a:lnTo>
                  <a:lnTo>
                    <a:pt x="851" y="766"/>
                  </a:lnTo>
                  <a:lnTo>
                    <a:pt x="846" y="766"/>
                  </a:lnTo>
                  <a:lnTo>
                    <a:pt x="846" y="766"/>
                  </a:lnTo>
                  <a:lnTo>
                    <a:pt x="846" y="766"/>
                  </a:lnTo>
                  <a:lnTo>
                    <a:pt x="846" y="766"/>
                  </a:lnTo>
                  <a:lnTo>
                    <a:pt x="846" y="766"/>
                  </a:lnTo>
                  <a:lnTo>
                    <a:pt x="846" y="766"/>
                  </a:lnTo>
                  <a:lnTo>
                    <a:pt x="846" y="766"/>
                  </a:lnTo>
                  <a:lnTo>
                    <a:pt x="846" y="766"/>
                  </a:lnTo>
                  <a:lnTo>
                    <a:pt x="846" y="766"/>
                  </a:lnTo>
                  <a:lnTo>
                    <a:pt x="846" y="766"/>
                  </a:lnTo>
                  <a:lnTo>
                    <a:pt x="846" y="766"/>
                  </a:lnTo>
                  <a:lnTo>
                    <a:pt x="844" y="766"/>
                  </a:lnTo>
                  <a:lnTo>
                    <a:pt x="841" y="769"/>
                  </a:lnTo>
                  <a:lnTo>
                    <a:pt x="841" y="766"/>
                  </a:lnTo>
                  <a:lnTo>
                    <a:pt x="841" y="766"/>
                  </a:lnTo>
                  <a:lnTo>
                    <a:pt x="846" y="766"/>
                  </a:lnTo>
                  <a:lnTo>
                    <a:pt x="846" y="766"/>
                  </a:lnTo>
                  <a:lnTo>
                    <a:pt x="849" y="766"/>
                  </a:lnTo>
                  <a:lnTo>
                    <a:pt x="849" y="766"/>
                  </a:lnTo>
                  <a:lnTo>
                    <a:pt x="849" y="766"/>
                  </a:lnTo>
                  <a:lnTo>
                    <a:pt x="849" y="766"/>
                  </a:lnTo>
                  <a:lnTo>
                    <a:pt x="849" y="766"/>
                  </a:lnTo>
                  <a:lnTo>
                    <a:pt x="851" y="763"/>
                  </a:lnTo>
                  <a:lnTo>
                    <a:pt x="851" y="766"/>
                  </a:lnTo>
                  <a:lnTo>
                    <a:pt x="851" y="766"/>
                  </a:lnTo>
                  <a:lnTo>
                    <a:pt x="851" y="766"/>
                  </a:lnTo>
                  <a:lnTo>
                    <a:pt x="854" y="766"/>
                  </a:lnTo>
                  <a:lnTo>
                    <a:pt x="854" y="766"/>
                  </a:lnTo>
                  <a:lnTo>
                    <a:pt x="854" y="766"/>
                  </a:lnTo>
                  <a:lnTo>
                    <a:pt x="851" y="766"/>
                  </a:lnTo>
                  <a:lnTo>
                    <a:pt x="851" y="766"/>
                  </a:lnTo>
                  <a:lnTo>
                    <a:pt x="851" y="766"/>
                  </a:lnTo>
                  <a:lnTo>
                    <a:pt x="851" y="769"/>
                  </a:lnTo>
                  <a:lnTo>
                    <a:pt x="851" y="769"/>
                  </a:lnTo>
                  <a:lnTo>
                    <a:pt x="856" y="766"/>
                  </a:lnTo>
                  <a:lnTo>
                    <a:pt x="859" y="763"/>
                  </a:lnTo>
                  <a:lnTo>
                    <a:pt x="861" y="763"/>
                  </a:lnTo>
                  <a:lnTo>
                    <a:pt x="861" y="763"/>
                  </a:lnTo>
                  <a:lnTo>
                    <a:pt x="864" y="763"/>
                  </a:lnTo>
                  <a:lnTo>
                    <a:pt x="867" y="763"/>
                  </a:lnTo>
                  <a:lnTo>
                    <a:pt x="872" y="761"/>
                  </a:lnTo>
                  <a:lnTo>
                    <a:pt x="874" y="761"/>
                  </a:lnTo>
                  <a:lnTo>
                    <a:pt x="877" y="758"/>
                  </a:lnTo>
                  <a:lnTo>
                    <a:pt x="877" y="758"/>
                  </a:lnTo>
                  <a:lnTo>
                    <a:pt x="877" y="758"/>
                  </a:lnTo>
                  <a:lnTo>
                    <a:pt x="877" y="758"/>
                  </a:lnTo>
                  <a:lnTo>
                    <a:pt x="887" y="753"/>
                  </a:lnTo>
                  <a:lnTo>
                    <a:pt x="892" y="748"/>
                  </a:lnTo>
                  <a:lnTo>
                    <a:pt x="897" y="748"/>
                  </a:lnTo>
                  <a:lnTo>
                    <a:pt x="900" y="746"/>
                  </a:lnTo>
                  <a:lnTo>
                    <a:pt x="900" y="748"/>
                  </a:lnTo>
                  <a:lnTo>
                    <a:pt x="902" y="746"/>
                  </a:lnTo>
                  <a:lnTo>
                    <a:pt x="910" y="741"/>
                  </a:lnTo>
                  <a:lnTo>
                    <a:pt x="915" y="738"/>
                  </a:lnTo>
                  <a:lnTo>
                    <a:pt x="918" y="738"/>
                  </a:lnTo>
                  <a:lnTo>
                    <a:pt x="918" y="735"/>
                  </a:lnTo>
                  <a:lnTo>
                    <a:pt x="915" y="735"/>
                  </a:lnTo>
                  <a:lnTo>
                    <a:pt x="912" y="733"/>
                  </a:lnTo>
                  <a:lnTo>
                    <a:pt x="918" y="735"/>
                  </a:lnTo>
                  <a:lnTo>
                    <a:pt x="923" y="733"/>
                  </a:lnTo>
                  <a:lnTo>
                    <a:pt x="925" y="730"/>
                  </a:lnTo>
                  <a:lnTo>
                    <a:pt x="925" y="730"/>
                  </a:lnTo>
                  <a:lnTo>
                    <a:pt x="930" y="728"/>
                  </a:lnTo>
                  <a:lnTo>
                    <a:pt x="935" y="725"/>
                  </a:lnTo>
                  <a:lnTo>
                    <a:pt x="938" y="723"/>
                  </a:lnTo>
                  <a:lnTo>
                    <a:pt x="940" y="723"/>
                  </a:lnTo>
                  <a:lnTo>
                    <a:pt x="943" y="720"/>
                  </a:lnTo>
                  <a:lnTo>
                    <a:pt x="943" y="718"/>
                  </a:lnTo>
                  <a:lnTo>
                    <a:pt x="946" y="718"/>
                  </a:lnTo>
                  <a:lnTo>
                    <a:pt x="951" y="718"/>
                  </a:lnTo>
                  <a:lnTo>
                    <a:pt x="958" y="713"/>
                  </a:lnTo>
                  <a:lnTo>
                    <a:pt x="961" y="710"/>
                  </a:lnTo>
                  <a:lnTo>
                    <a:pt x="963" y="710"/>
                  </a:lnTo>
                  <a:lnTo>
                    <a:pt x="968" y="707"/>
                  </a:lnTo>
                  <a:lnTo>
                    <a:pt x="971" y="707"/>
                  </a:lnTo>
                  <a:lnTo>
                    <a:pt x="974" y="707"/>
                  </a:lnTo>
                  <a:lnTo>
                    <a:pt x="979" y="705"/>
                  </a:lnTo>
                  <a:lnTo>
                    <a:pt x="984" y="702"/>
                  </a:lnTo>
                  <a:lnTo>
                    <a:pt x="986" y="700"/>
                  </a:lnTo>
                  <a:lnTo>
                    <a:pt x="994" y="697"/>
                  </a:lnTo>
                  <a:lnTo>
                    <a:pt x="999" y="692"/>
                  </a:lnTo>
                  <a:lnTo>
                    <a:pt x="1004" y="690"/>
                  </a:lnTo>
                  <a:lnTo>
                    <a:pt x="1012" y="685"/>
                  </a:lnTo>
                  <a:lnTo>
                    <a:pt x="1014" y="682"/>
                  </a:lnTo>
                  <a:lnTo>
                    <a:pt x="1017" y="679"/>
                  </a:lnTo>
                  <a:lnTo>
                    <a:pt x="1019" y="677"/>
                  </a:lnTo>
                  <a:lnTo>
                    <a:pt x="1017" y="674"/>
                  </a:lnTo>
                  <a:lnTo>
                    <a:pt x="1017" y="674"/>
                  </a:lnTo>
                  <a:lnTo>
                    <a:pt x="1012" y="674"/>
                  </a:lnTo>
                  <a:lnTo>
                    <a:pt x="1007" y="672"/>
                  </a:lnTo>
                  <a:lnTo>
                    <a:pt x="1004" y="672"/>
                  </a:lnTo>
                  <a:lnTo>
                    <a:pt x="1002" y="672"/>
                  </a:lnTo>
                  <a:lnTo>
                    <a:pt x="1002" y="669"/>
                  </a:lnTo>
                  <a:lnTo>
                    <a:pt x="999" y="669"/>
                  </a:lnTo>
                  <a:lnTo>
                    <a:pt x="1009" y="672"/>
                  </a:lnTo>
                  <a:lnTo>
                    <a:pt x="1014" y="672"/>
                  </a:lnTo>
                  <a:lnTo>
                    <a:pt x="1017" y="672"/>
                  </a:lnTo>
                  <a:lnTo>
                    <a:pt x="1017" y="674"/>
                  </a:lnTo>
                  <a:lnTo>
                    <a:pt x="1019" y="674"/>
                  </a:lnTo>
                  <a:lnTo>
                    <a:pt x="1022" y="674"/>
                  </a:lnTo>
                  <a:lnTo>
                    <a:pt x="1025" y="674"/>
                  </a:lnTo>
                  <a:lnTo>
                    <a:pt x="1027" y="669"/>
                  </a:lnTo>
                  <a:lnTo>
                    <a:pt x="1032" y="667"/>
                  </a:lnTo>
                  <a:lnTo>
                    <a:pt x="1040" y="662"/>
                  </a:lnTo>
                  <a:lnTo>
                    <a:pt x="1045" y="659"/>
                  </a:lnTo>
                  <a:lnTo>
                    <a:pt x="1048" y="657"/>
                  </a:lnTo>
                  <a:lnTo>
                    <a:pt x="1050" y="657"/>
                  </a:lnTo>
                  <a:lnTo>
                    <a:pt x="1053" y="654"/>
                  </a:lnTo>
                  <a:lnTo>
                    <a:pt x="1053" y="654"/>
                  </a:lnTo>
                  <a:lnTo>
                    <a:pt x="1055" y="654"/>
                  </a:lnTo>
                  <a:lnTo>
                    <a:pt x="1055" y="651"/>
                  </a:lnTo>
                  <a:lnTo>
                    <a:pt x="1060" y="651"/>
                  </a:lnTo>
                  <a:lnTo>
                    <a:pt x="1068" y="649"/>
                  </a:lnTo>
                  <a:lnTo>
                    <a:pt x="1070" y="649"/>
                  </a:lnTo>
                  <a:lnTo>
                    <a:pt x="1073" y="649"/>
                  </a:lnTo>
                  <a:lnTo>
                    <a:pt x="1076" y="646"/>
                  </a:lnTo>
                  <a:lnTo>
                    <a:pt x="1078" y="644"/>
                  </a:lnTo>
                  <a:lnTo>
                    <a:pt x="1086" y="634"/>
                  </a:lnTo>
                  <a:lnTo>
                    <a:pt x="1091" y="634"/>
                  </a:lnTo>
                  <a:lnTo>
                    <a:pt x="1093" y="631"/>
                  </a:lnTo>
                  <a:lnTo>
                    <a:pt x="1093" y="631"/>
                  </a:lnTo>
                  <a:lnTo>
                    <a:pt x="1096" y="631"/>
                  </a:lnTo>
                  <a:lnTo>
                    <a:pt x="1098" y="629"/>
                  </a:lnTo>
                  <a:lnTo>
                    <a:pt x="1098" y="631"/>
                  </a:lnTo>
                  <a:lnTo>
                    <a:pt x="1101" y="629"/>
                  </a:lnTo>
                  <a:lnTo>
                    <a:pt x="1101" y="631"/>
                  </a:lnTo>
                  <a:lnTo>
                    <a:pt x="1106" y="629"/>
                  </a:lnTo>
                  <a:lnTo>
                    <a:pt x="1109" y="629"/>
                  </a:lnTo>
                  <a:lnTo>
                    <a:pt x="1119" y="629"/>
                  </a:lnTo>
                  <a:lnTo>
                    <a:pt x="1119" y="629"/>
                  </a:lnTo>
                  <a:lnTo>
                    <a:pt x="1124" y="629"/>
                  </a:lnTo>
                  <a:lnTo>
                    <a:pt x="1132" y="629"/>
                  </a:lnTo>
                  <a:lnTo>
                    <a:pt x="1137" y="629"/>
                  </a:lnTo>
                  <a:lnTo>
                    <a:pt x="1139" y="629"/>
                  </a:lnTo>
                  <a:lnTo>
                    <a:pt x="1142" y="629"/>
                  </a:lnTo>
                  <a:lnTo>
                    <a:pt x="1144" y="629"/>
                  </a:lnTo>
                  <a:lnTo>
                    <a:pt x="1147" y="629"/>
                  </a:lnTo>
                  <a:lnTo>
                    <a:pt x="1152" y="629"/>
                  </a:lnTo>
                  <a:lnTo>
                    <a:pt x="1155" y="629"/>
                  </a:lnTo>
                  <a:lnTo>
                    <a:pt x="1157" y="629"/>
                  </a:lnTo>
                  <a:lnTo>
                    <a:pt x="1160" y="629"/>
                  </a:lnTo>
                  <a:lnTo>
                    <a:pt x="1162" y="629"/>
                  </a:lnTo>
                  <a:lnTo>
                    <a:pt x="1165" y="629"/>
                  </a:lnTo>
                  <a:lnTo>
                    <a:pt x="1167" y="629"/>
                  </a:lnTo>
                  <a:lnTo>
                    <a:pt x="1172" y="629"/>
                  </a:lnTo>
                  <a:lnTo>
                    <a:pt x="1175" y="629"/>
                  </a:lnTo>
                  <a:lnTo>
                    <a:pt x="1177" y="631"/>
                  </a:lnTo>
                  <a:lnTo>
                    <a:pt x="1177" y="631"/>
                  </a:lnTo>
                  <a:lnTo>
                    <a:pt x="1185" y="631"/>
                  </a:lnTo>
                  <a:lnTo>
                    <a:pt x="1188" y="631"/>
                  </a:lnTo>
                  <a:lnTo>
                    <a:pt x="1193" y="631"/>
                  </a:lnTo>
                  <a:lnTo>
                    <a:pt x="1195" y="629"/>
                  </a:lnTo>
                  <a:lnTo>
                    <a:pt x="1198" y="629"/>
                  </a:lnTo>
                  <a:lnTo>
                    <a:pt x="1200" y="629"/>
                  </a:lnTo>
                  <a:lnTo>
                    <a:pt x="1208" y="629"/>
                  </a:lnTo>
                  <a:close/>
                  <a:moveTo>
                    <a:pt x="734" y="685"/>
                  </a:moveTo>
                  <a:lnTo>
                    <a:pt x="734" y="685"/>
                  </a:lnTo>
                  <a:lnTo>
                    <a:pt x="734" y="685"/>
                  </a:lnTo>
                  <a:lnTo>
                    <a:pt x="734" y="685"/>
                  </a:lnTo>
                  <a:lnTo>
                    <a:pt x="731" y="682"/>
                  </a:lnTo>
                  <a:lnTo>
                    <a:pt x="731" y="682"/>
                  </a:lnTo>
                  <a:lnTo>
                    <a:pt x="729" y="685"/>
                  </a:lnTo>
                  <a:lnTo>
                    <a:pt x="729" y="685"/>
                  </a:lnTo>
                  <a:lnTo>
                    <a:pt x="729" y="685"/>
                  </a:lnTo>
                  <a:lnTo>
                    <a:pt x="729" y="685"/>
                  </a:lnTo>
                  <a:lnTo>
                    <a:pt x="729" y="685"/>
                  </a:lnTo>
                  <a:lnTo>
                    <a:pt x="734" y="685"/>
                  </a:lnTo>
                  <a:close/>
                  <a:moveTo>
                    <a:pt x="747" y="720"/>
                  </a:moveTo>
                  <a:lnTo>
                    <a:pt x="747" y="720"/>
                  </a:lnTo>
                  <a:lnTo>
                    <a:pt x="747" y="720"/>
                  </a:lnTo>
                  <a:lnTo>
                    <a:pt x="749" y="720"/>
                  </a:lnTo>
                  <a:lnTo>
                    <a:pt x="749" y="720"/>
                  </a:lnTo>
                  <a:lnTo>
                    <a:pt x="749" y="720"/>
                  </a:lnTo>
                  <a:lnTo>
                    <a:pt x="749" y="720"/>
                  </a:lnTo>
                  <a:lnTo>
                    <a:pt x="749" y="718"/>
                  </a:lnTo>
                  <a:lnTo>
                    <a:pt x="749" y="718"/>
                  </a:lnTo>
                  <a:lnTo>
                    <a:pt x="749" y="718"/>
                  </a:lnTo>
                  <a:lnTo>
                    <a:pt x="749" y="718"/>
                  </a:lnTo>
                  <a:lnTo>
                    <a:pt x="747" y="718"/>
                  </a:lnTo>
                  <a:lnTo>
                    <a:pt x="747" y="718"/>
                  </a:lnTo>
                  <a:lnTo>
                    <a:pt x="747" y="718"/>
                  </a:lnTo>
                  <a:lnTo>
                    <a:pt x="747" y="720"/>
                  </a:lnTo>
                  <a:lnTo>
                    <a:pt x="747" y="720"/>
                  </a:lnTo>
                  <a:lnTo>
                    <a:pt x="747" y="720"/>
                  </a:lnTo>
                  <a:close/>
                  <a:moveTo>
                    <a:pt x="1050" y="761"/>
                  </a:moveTo>
                  <a:lnTo>
                    <a:pt x="1050" y="761"/>
                  </a:lnTo>
                  <a:lnTo>
                    <a:pt x="1048" y="763"/>
                  </a:lnTo>
                  <a:lnTo>
                    <a:pt x="1048" y="763"/>
                  </a:lnTo>
                  <a:lnTo>
                    <a:pt x="1048" y="763"/>
                  </a:lnTo>
                  <a:lnTo>
                    <a:pt x="1050" y="761"/>
                  </a:lnTo>
                  <a:close/>
                  <a:moveTo>
                    <a:pt x="765" y="723"/>
                  </a:moveTo>
                  <a:lnTo>
                    <a:pt x="765" y="723"/>
                  </a:lnTo>
                  <a:lnTo>
                    <a:pt x="765" y="723"/>
                  </a:lnTo>
                  <a:lnTo>
                    <a:pt x="762" y="725"/>
                  </a:lnTo>
                  <a:lnTo>
                    <a:pt x="762" y="725"/>
                  </a:lnTo>
                  <a:lnTo>
                    <a:pt x="762" y="725"/>
                  </a:lnTo>
                  <a:lnTo>
                    <a:pt x="762" y="725"/>
                  </a:lnTo>
                  <a:lnTo>
                    <a:pt x="760" y="725"/>
                  </a:lnTo>
                  <a:lnTo>
                    <a:pt x="760" y="725"/>
                  </a:lnTo>
                  <a:lnTo>
                    <a:pt x="760" y="725"/>
                  </a:lnTo>
                  <a:lnTo>
                    <a:pt x="760" y="725"/>
                  </a:lnTo>
                  <a:lnTo>
                    <a:pt x="760" y="723"/>
                  </a:lnTo>
                  <a:lnTo>
                    <a:pt x="760" y="725"/>
                  </a:lnTo>
                  <a:lnTo>
                    <a:pt x="757" y="725"/>
                  </a:lnTo>
                  <a:lnTo>
                    <a:pt x="757" y="725"/>
                  </a:lnTo>
                  <a:lnTo>
                    <a:pt x="760" y="725"/>
                  </a:lnTo>
                  <a:lnTo>
                    <a:pt x="762" y="728"/>
                  </a:lnTo>
                  <a:lnTo>
                    <a:pt x="762" y="728"/>
                  </a:lnTo>
                  <a:lnTo>
                    <a:pt x="765" y="728"/>
                  </a:lnTo>
                  <a:lnTo>
                    <a:pt x="767" y="728"/>
                  </a:lnTo>
                  <a:lnTo>
                    <a:pt x="767" y="730"/>
                  </a:lnTo>
                  <a:lnTo>
                    <a:pt x="770" y="730"/>
                  </a:lnTo>
                  <a:lnTo>
                    <a:pt x="772" y="730"/>
                  </a:lnTo>
                  <a:lnTo>
                    <a:pt x="772" y="730"/>
                  </a:lnTo>
                  <a:lnTo>
                    <a:pt x="772" y="730"/>
                  </a:lnTo>
                  <a:lnTo>
                    <a:pt x="775" y="733"/>
                  </a:lnTo>
                  <a:lnTo>
                    <a:pt x="775" y="733"/>
                  </a:lnTo>
                  <a:lnTo>
                    <a:pt x="775" y="733"/>
                  </a:lnTo>
                  <a:lnTo>
                    <a:pt x="775" y="733"/>
                  </a:lnTo>
                  <a:lnTo>
                    <a:pt x="780" y="730"/>
                  </a:lnTo>
                  <a:lnTo>
                    <a:pt x="782" y="730"/>
                  </a:lnTo>
                  <a:lnTo>
                    <a:pt x="782" y="730"/>
                  </a:lnTo>
                  <a:lnTo>
                    <a:pt x="780" y="733"/>
                  </a:lnTo>
                  <a:lnTo>
                    <a:pt x="777" y="733"/>
                  </a:lnTo>
                  <a:lnTo>
                    <a:pt x="777" y="733"/>
                  </a:lnTo>
                  <a:lnTo>
                    <a:pt x="777" y="733"/>
                  </a:lnTo>
                  <a:lnTo>
                    <a:pt x="777" y="733"/>
                  </a:lnTo>
                  <a:lnTo>
                    <a:pt x="777" y="733"/>
                  </a:lnTo>
                  <a:lnTo>
                    <a:pt x="777" y="733"/>
                  </a:lnTo>
                  <a:lnTo>
                    <a:pt x="777" y="733"/>
                  </a:lnTo>
                  <a:lnTo>
                    <a:pt x="780" y="733"/>
                  </a:lnTo>
                  <a:lnTo>
                    <a:pt x="780" y="733"/>
                  </a:lnTo>
                  <a:lnTo>
                    <a:pt x="782" y="730"/>
                  </a:lnTo>
                  <a:lnTo>
                    <a:pt x="785" y="728"/>
                  </a:lnTo>
                  <a:lnTo>
                    <a:pt x="785" y="728"/>
                  </a:lnTo>
                  <a:lnTo>
                    <a:pt x="785" y="728"/>
                  </a:lnTo>
                  <a:lnTo>
                    <a:pt x="785" y="728"/>
                  </a:lnTo>
                  <a:lnTo>
                    <a:pt x="785" y="728"/>
                  </a:lnTo>
                  <a:lnTo>
                    <a:pt x="785" y="725"/>
                  </a:lnTo>
                  <a:lnTo>
                    <a:pt x="785" y="725"/>
                  </a:lnTo>
                  <a:lnTo>
                    <a:pt x="785" y="725"/>
                  </a:lnTo>
                  <a:lnTo>
                    <a:pt x="782" y="725"/>
                  </a:lnTo>
                  <a:lnTo>
                    <a:pt x="782" y="728"/>
                  </a:lnTo>
                  <a:lnTo>
                    <a:pt x="782" y="728"/>
                  </a:lnTo>
                  <a:lnTo>
                    <a:pt x="782" y="728"/>
                  </a:lnTo>
                  <a:lnTo>
                    <a:pt x="780" y="728"/>
                  </a:lnTo>
                  <a:lnTo>
                    <a:pt x="782" y="728"/>
                  </a:lnTo>
                  <a:lnTo>
                    <a:pt x="782" y="725"/>
                  </a:lnTo>
                  <a:lnTo>
                    <a:pt x="782" y="725"/>
                  </a:lnTo>
                  <a:lnTo>
                    <a:pt x="782" y="725"/>
                  </a:lnTo>
                  <a:lnTo>
                    <a:pt x="782" y="725"/>
                  </a:lnTo>
                  <a:lnTo>
                    <a:pt x="782" y="725"/>
                  </a:lnTo>
                  <a:lnTo>
                    <a:pt x="782" y="725"/>
                  </a:lnTo>
                  <a:lnTo>
                    <a:pt x="782" y="723"/>
                  </a:lnTo>
                  <a:lnTo>
                    <a:pt x="780" y="723"/>
                  </a:lnTo>
                  <a:lnTo>
                    <a:pt x="780" y="725"/>
                  </a:lnTo>
                  <a:lnTo>
                    <a:pt x="777" y="725"/>
                  </a:lnTo>
                  <a:lnTo>
                    <a:pt x="777" y="725"/>
                  </a:lnTo>
                  <a:lnTo>
                    <a:pt x="775" y="725"/>
                  </a:lnTo>
                  <a:lnTo>
                    <a:pt x="775" y="725"/>
                  </a:lnTo>
                  <a:lnTo>
                    <a:pt x="775" y="725"/>
                  </a:lnTo>
                  <a:lnTo>
                    <a:pt x="775" y="725"/>
                  </a:lnTo>
                  <a:lnTo>
                    <a:pt x="775" y="725"/>
                  </a:lnTo>
                  <a:lnTo>
                    <a:pt x="775" y="723"/>
                  </a:lnTo>
                  <a:lnTo>
                    <a:pt x="775" y="723"/>
                  </a:lnTo>
                  <a:lnTo>
                    <a:pt x="772" y="723"/>
                  </a:lnTo>
                  <a:lnTo>
                    <a:pt x="772" y="725"/>
                  </a:lnTo>
                  <a:lnTo>
                    <a:pt x="772" y="725"/>
                  </a:lnTo>
                  <a:lnTo>
                    <a:pt x="772" y="725"/>
                  </a:lnTo>
                  <a:lnTo>
                    <a:pt x="770" y="725"/>
                  </a:lnTo>
                  <a:lnTo>
                    <a:pt x="770" y="725"/>
                  </a:lnTo>
                  <a:lnTo>
                    <a:pt x="770" y="725"/>
                  </a:lnTo>
                  <a:lnTo>
                    <a:pt x="770" y="725"/>
                  </a:lnTo>
                  <a:lnTo>
                    <a:pt x="770" y="725"/>
                  </a:lnTo>
                  <a:lnTo>
                    <a:pt x="770" y="725"/>
                  </a:lnTo>
                  <a:lnTo>
                    <a:pt x="770" y="728"/>
                  </a:lnTo>
                  <a:lnTo>
                    <a:pt x="770" y="728"/>
                  </a:lnTo>
                  <a:lnTo>
                    <a:pt x="770" y="728"/>
                  </a:lnTo>
                  <a:lnTo>
                    <a:pt x="767" y="728"/>
                  </a:lnTo>
                  <a:lnTo>
                    <a:pt x="767" y="728"/>
                  </a:lnTo>
                  <a:lnTo>
                    <a:pt x="767" y="728"/>
                  </a:lnTo>
                  <a:lnTo>
                    <a:pt x="767" y="728"/>
                  </a:lnTo>
                  <a:lnTo>
                    <a:pt x="767" y="728"/>
                  </a:lnTo>
                  <a:lnTo>
                    <a:pt x="767" y="725"/>
                  </a:lnTo>
                  <a:lnTo>
                    <a:pt x="767" y="725"/>
                  </a:lnTo>
                  <a:lnTo>
                    <a:pt x="765" y="728"/>
                  </a:lnTo>
                  <a:lnTo>
                    <a:pt x="765" y="725"/>
                  </a:lnTo>
                  <a:lnTo>
                    <a:pt x="765" y="725"/>
                  </a:lnTo>
                  <a:lnTo>
                    <a:pt x="765" y="725"/>
                  </a:lnTo>
                  <a:lnTo>
                    <a:pt x="765" y="725"/>
                  </a:lnTo>
                  <a:lnTo>
                    <a:pt x="765" y="725"/>
                  </a:lnTo>
                  <a:lnTo>
                    <a:pt x="765" y="723"/>
                  </a:lnTo>
                  <a:close/>
                  <a:moveTo>
                    <a:pt x="907" y="746"/>
                  </a:moveTo>
                  <a:lnTo>
                    <a:pt x="923" y="746"/>
                  </a:lnTo>
                  <a:lnTo>
                    <a:pt x="930" y="746"/>
                  </a:lnTo>
                  <a:lnTo>
                    <a:pt x="938" y="746"/>
                  </a:lnTo>
                  <a:lnTo>
                    <a:pt x="943" y="746"/>
                  </a:lnTo>
                  <a:lnTo>
                    <a:pt x="951" y="746"/>
                  </a:lnTo>
                  <a:lnTo>
                    <a:pt x="958" y="746"/>
                  </a:lnTo>
                  <a:lnTo>
                    <a:pt x="963" y="741"/>
                  </a:lnTo>
                  <a:lnTo>
                    <a:pt x="966" y="738"/>
                  </a:lnTo>
                  <a:lnTo>
                    <a:pt x="966" y="741"/>
                  </a:lnTo>
                  <a:lnTo>
                    <a:pt x="968" y="741"/>
                  </a:lnTo>
                  <a:lnTo>
                    <a:pt x="971" y="738"/>
                  </a:lnTo>
                  <a:lnTo>
                    <a:pt x="971" y="738"/>
                  </a:lnTo>
                  <a:lnTo>
                    <a:pt x="971" y="738"/>
                  </a:lnTo>
                  <a:lnTo>
                    <a:pt x="974" y="738"/>
                  </a:lnTo>
                  <a:lnTo>
                    <a:pt x="974" y="741"/>
                  </a:lnTo>
                  <a:lnTo>
                    <a:pt x="974" y="741"/>
                  </a:lnTo>
                  <a:lnTo>
                    <a:pt x="974" y="738"/>
                  </a:lnTo>
                  <a:lnTo>
                    <a:pt x="974" y="738"/>
                  </a:lnTo>
                  <a:lnTo>
                    <a:pt x="976" y="735"/>
                  </a:lnTo>
                  <a:lnTo>
                    <a:pt x="976" y="735"/>
                  </a:lnTo>
                  <a:lnTo>
                    <a:pt x="976" y="735"/>
                  </a:lnTo>
                  <a:lnTo>
                    <a:pt x="979" y="735"/>
                  </a:lnTo>
                  <a:lnTo>
                    <a:pt x="979" y="735"/>
                  </a:lnTo>
                  <a:lnTo>
                    <a:pt x="979" y="735"/>
                  </a:lnTo>
                  <a:lnTo>
                    <a:pt x="979" y="733"/>
                  </a:lnTo>
                  <a:lnTo>
                    <a:pt x="981" y="730"/>
                  </a:lnTo>
                  <a:lnTo>
                    <a:pt x="984" y="730"/>
                  </a:lnTo>
                  <a:lnTo>
                    <a:pt x="986" y="728"/>
                  </a:lnTo>
                  <a:lnTo>
                    <a:pt x="986" y="728"/>
                  </a:lnTo>
                  <a:lnTo>
                    <a:pt x="989" y="725"/>
                  </a:lnTo>
                  <a:lnTo>
                    <a:pt x="989" y="725"/>
                  </a:lnTo>
                  <a:lnTo>
                    <a:pt x="989" y="725"/>
                  </a:lnTo>
                  <a:lnTo>
                    <a:pt x="989" y="723"/>
                  </a:lnTo>
                  <a:lnTo>
                    <a:pt x="991" y="723"/>
                  </a:lnTo>
                  <a:lnTo>
                    <a:pt x="991" y="720"/>
                  </a:lnTo>
                  <a:lnTo>
                    <a:pt x="994" y="718"/>
                  </a:lnTo>
                  <a:lnTo>
                    <a:pt x="994" y="715"/>
                  </a:lnTo>
                  <a:lnTo>
                    <a:pt x="999" y="713"/>
                  </a:lnTo>
                  <a:lnTo>
                    <a:pt x="999" y="710"/>
                  </a:lnTo>
                  <a:lnTo>
                    <a:pt x="1002" y="707"/>
                  </a:lnTo>
                  <a:lnTo>
                    <a:pt x="1004" y="705"/>
                  </a:lnTo>
                  <a:lnTo>
                    <a:pt x="1009" y="702"/>
                  </a:lnTo>
                  <a:lnTo>
                    <a:pt x="1012" y="700"/>
                  </a:lnTo>
                  <a:lnTo>
                    <a:pt x="1017" y="695"/>
                  </a:lnTo>
                  <a:lnTo>
                    <a:pt x="1019" y="692"/>
                  </a:lnTo>
                  <a:lnTo>
                    <a:pt x="1019" y="692"/>
                  </a:lnTo>
                  <a:lnTo>
                    <a:pt x="1022" y="690"/>
                  </a:lnTo>
                  <a:lnTo>
                    <a:pt x="1025" y="692"/>
                  </a:lnTo>
                  <a:lnTo>
                    <a:pt x="1025" y="692"/>
                  </a:lnTo>
                  <a:lnTo>
                    <a:pt x="1025" y="695"/>
                  </a:lnTo>
                  <a:lnTo>
                    <a:pt x="1025" y="695"/>
                  </a:lnTo>
                  <a:lnTo>
                    <a:pt x="1025" y="695"/>
                  </a:lnTo>
                  <a:lnTo>
                    <a:pt x="1025" y="697"/>
                  </a:lnTo>
                  <a:lnTo>
                    <a:pt x="1025" y="697"/>
                  </a:lnTo>
                  <a:lnTo>
                    <a:pt x="1027" y="697"/>
                  </a:lnTo>
                  <a:lnTo>
                    <a:pt x="1030" y="695"/>
                  </a:lnTo>
                  <a:lnTo>
                    <a:pt x="1035" y="695"/>
                  </a:lnTo>
                  <a:lnTo>
                    <a:pt x="1035" y="695"/>
                  </a:lnTo>
                  <a:lnTo>
                    <a:pt x="1037" y="692"/>
                  </a:lnTo>
                  <a:lnTo>
                    <a:pt x="1037" y="692"/>
                  </a:lnTo>
                  <a:lnTo>
                    <a:pt x="1040" y="692"/>
                  </a:lnTo>
                  <a:lnTo>
                    <a:pt x="1040" y="695"/>
                  </a:lnTo>
                  <a:lnTo>
                    <a:pt x="1042" y="697"/>
                  </a:lnTo>
                  <a:lnTo>
                    <a:pt x="1045" y="700"/>
                  </a:lnTo>
                  <a:lnTo>
                    <a:pt x="1042" y="702"/>
                  </a:lnTo>
                  <a:lnTo>
                    <a:pt x="1042" y="705"/>
                  </a:lnTo>
                  <a:lnTo>
                    <a:pt x="1040" y="710"/>
                  </a:lnTo>
                  <a:lnTo>
                    <a:pt x="1040" y="713"/>
                  </a:lnTo>
                  <a:lnTo>
                    <a:pt x="1037" y="715"/>
                  </a:lnTo>
                  <a:lnTo>
                    <a:pt x="1037" y="718"/>
                  </a:lnTo>
                  <a:lnTo>
                    <a:pt x="1035" y="723"/>
                  </a:lnTo>
                  <a:lnTo>
                    <a:pt x="1035" y="725"/>
                  </a:lnTo>
                  <a:lnTo>
                    <a:pt x="1035" y="725"/>
                  </a:lnTo>
                  <a:lnTo>
                    <a:pt x="1035" y="725"/>
                  </a:lnTo>
                  <a:lnTo>
                    <a:pt x="1035" y="725"/>
                  </a:lnTo>
                  <a:lnTo>
                    <a:pt x="1035" y="725"/>
                  </a:lnTo>
                  <a:lnTo>
                    <a:pt x="1035" y="728"/>
                  </a:lnTo>
                  <a:lnTo>
                    <a:pt x="1035" y="728"/>
                  </a:lnTo>
                  <a:lnTo>
                    <a:pt x="1032" y="728"/>
                  </a:lnTo>
                  <a:lnTo>
                    <a:pt x="1032" y="728"/>
                  </a:lnTo>
                  <a:lnTo>
                    <a:pt x="1032" y="730"/>
                  </a:lnTo>
                  <a:lnTo>
                    <a:pt x="1032" y="730"/>
                  </a:lnTo>
                  <a:lnTo>
                    <a:pt x="1032" y="730"/>
                  </a:lnTo>
                  <a:lnTo>
                    <a:pt x="1032" y="730"/>
                  </a:lnTo>
                  <a:lnTo>
                    <a:pt x="1035" y="730"/>
                  </a:lnTo>
                  <a:lnTo>
                    <a:pt x="1035" y="730"/>
                  </a:lnTo>
                  <a:lnTo>
                    <a:pt x="1035" y="733"/>
                  </a:lnTo>
                  <a:lnTo>
                    <a:pt x="1037" y="733"/>
                  </a:lnTo>
                  <a:lnTo>
                    <a:pt x="1037" y="733"/>
                  </a:lnTo>
                  <a:lnTo>
                    <a:pt x="1037" y="733"/>
                  </a:lnTo>
                  <a:lnTo>
                    <a:pt x="1037" y="733"/>
                  </a:lnTo>
                  <a:lnTo>
                    <a:pt x="1037" y="733"/>
                  </a:lnTo>
                  <a:lnTo>
                    <a:pt x="1037" y="733"/>
                  </a:lnTo>
                  <a:lnTo>
                    <a:pt x="1035" y="735"/>
                  </a:lnTo>
                  <a:lnTo>
                    <a:pt x="1035" y="735"/>
                  </a:lnTo>
                  <a:lnTo>
                    <a:pt x="1035" y="735"/>
                  </a:lnTo>
                  <a:lnTo>
                    <a:pt x="1035" y="735"/>
                  </a:lnTo>
                  <a:lnTo>
                    <a:pt x="1035" y="738"/>
                  </a:lnTo>
                  <a:lnTo>
                    <a:pt x="1035" y="738"/>
                  </a:lnTo>
                  <a:lnTo>
                    <a:pt x="1035" y="738"/>
                  </a:lnTo>
                  <a:lnTo>
                    <a:pt x="1035" y="741"/>
                  </a:lnTo>
                  <a:lnTo>
                    <a:pt x="1035" y="741"/>
                  </a:lnTo>
                  <a:lnTo>
                    <a:pt x="1035" y="741"/>
                  </a:lnTo>
                  <a:lnTo>
                    <a:pt x="1035" y="741"/>
                  </a:lnTo>
                  <a:lnTo>
                    <a:pt x="1037" y="743"/>
                  </a:lnTo>
                  <a:lnTo>
                    <a:pt x="1037" y="741"/>
                  </a:lnTo>
                  <a:lnTo>
                    <a:pt x="1037" y="741"/>
                  </a:lnTo>
                  <a:lnTo>
                    <a:pt x="1037" y="741"/>
                  </a:lnTo>
                  <a:lnTo>
                    <a:pt x="1037" y="741"/>
                  </a:lnTo>
                  <a:lnTo>
                    <a:pt x="1040" y="741"/>
                  </a:lnTo>
                  <a:lnTo>
                    <a:pt x="1040" y="741"/>
                  </a:lnTo>
                  <a:lnTo>
                    <a:pt x="1040" y="743"/>
                  </a:lnTo>
                  <a:lnTo>
                    <a:pt x="1042" y="743"/>
                  </a:lnTo>
                  <a:lnTo>
                    <a:pt x="1042" y="743"/>
                  </a:lnTo>
                  <a:lnTo>
                    <a:pt x="1042" y="743"/>
                  </a:lnTo>
                  <a:lnTo>
                    <a:pt x="1042" y="743"/>
                  </a:lnTo>
                  <a:lnTo>
                    <a:pt x="1048" y="743"/>
                  </a:lnTo>
                  <a:lnTo>
                    <a:pt x="1050" y="743"/>
                  </a:lnTo>
                  <a:lnTo>
                    <a:pt x="1053" y="743"/>
                  </a:lnTo>
                  <a:lnTo>
                    <a:pt x="1053" y="743"/>
                  </a:lnTo>
                  <a:lnTo>
                    <a:pt x="1055" y="741"/>
                  </a:lnTo>
                  <a:lnTo>
                    <a:pt x="1058" y="741"/>
                  </a:lnTo>
                  <a:lnTo>
                    <a:pt x="1058" y="741"/>
                  </a:lnTo>
                  <a:lnTo>
                    <a:pt x="1058" y="738"/>
                  </a:lnTo>
                  <a:lnTo>
                    <a:pt x="1060" y="738"/>
                  </a:lnTo>
                  <a:lnTo>
                    <a:pt x="1060" y="735"/>
                  </a:lnTo>
                  <a:lnTo>
                    <a:pt x="1060" y="735"/>
                  </a:lnTo>
                  <a:lnTo>
                    <a:pt x="1060" y="738"/>
                  </a:lnTo>
                  <a:lnTo>
                    <a:pt x="1060" y="738"/>
                  </a:lnTo>
                  <a:lnTo>
                    <a:pt x="1060" y="741"/>
                  </a:lnTo>
                  <a:lnTo>
                    <a:pt x="1063" y="741"/>
                  </a:lnTo>
                  <a:lnTo>
                    <a:pt x="1070" y="738"/>
                  </a:lnTo>
                  <a:lnTo>
                    <a:pt x="1076" y="735"/>
                  </a:lnTo>
                  <a:lnTo>
                    <a:pt x="1081" y="733"/>
                  </a:lnTo>
                  <a:lnTo>
                    <a:pt x="1083" y="730"/>
                  </a:lnTo>
                  <a:lnTo>
                    <a:pt x="1086" y="730"/>
                  </a:lnTo>
                  <a:lnTo>
                    <a:pt x="1091" y="728"/>
                  </a:lnTo>
                  <a:lnTo>
                    <a:pt x="1091" y="725"/>
                  </a:lnTo>
                  <a:lnTo>
                    <a:pt x="1091" y="725"/>
                  </a:lnTo>
                  <a:lnTo>
                    <a:pt x="1091" y="725"/>
                  </a:lnTo>
                  <a:lnTo>
                    <a:pt x="1093" y="728"/>
                  </a:lnTo>
                  <a:lnTo>
                    <a:pt x="1093" y="728"/>
                  </a:lnTo>
                  <a:lnTo>
                    <a:pt x="1096" y="728"/>
                  </a:lnTo>
                  <a:lnTo>
                    <a:pt x="1093" y="728"/>
                  </a:lnTo>
                  <a:lnTo>
                    <a:pt x="1093" y="728"/>
                  </a:lnTo>
                  <a:lnTo>
                    <a:pt x="1091" y="730"/>
                  </a:lnTo>
                  <a:lnTo>
                    <a:pt x="1083" y="735"/>
                  </a:lnTo>
                  <a:lnTo>
                    <a:pt x="1081" y="738"/>
                  </a:lnTo>
                  <a:lnTo>
                    <a:pt x="1081" y="738"/>
                  </a:lnTo>
                  <a:lnTo>
                    <a:pt x="1083" y="738"/>
                  </a:lnTo>
                  <a:lnTo>
                    <a:pt x="1083" y="738"/>
                  </a:lnTo>
                  <a:lnTo>
                    <a:pt x="1086" y="738"/>
                  </a:lnTo>
                  <a:lnTo>
                    <a:pt x="1088" y="735"/>
                  </a:lnTo>
                  <a:lnTo>
                    <a:pt x="1091" y="738"/>
                  </a:lnTo>
                  <a:lnTo>
                    <a:pt x="1096" y="735"/>
                  </a:lnTo>
                  <a:lnTo>
                    <a:pt x="1098" y="738"/>
                  </a:lnTo>
                  <a:lnTo>
                    <a:pt x="1104" y="735"/>
                  </a:lnTo>
                  <a:lnTo>
                    <a:pt x="1109" y="738"/>
                  </a:lnTo>
                  <a:lnTo>
                    <a:pt x="1106" y="738"/>
                  </a:lnTo>
                  <a:lnTo>
                    <a:pt x="1101" y="738"/>
                  </a:lnTo>
                  <a:lnTo>
                    <a:pt x="1093" y="741"/>
                  </a:lnTo>
                  <a:lnTo>
                    <a:pt x="1093" y="743"/>
                  </a:lnTo>
                  <a:lnTo>
                    <a:pt x="1093" y="746"/>
                  </a:lnTo>
                  <a:lnTo>
                    <a:pt x="1091" y="743"/>
                  </a:lnTo>
                  <a:lnTo>
                    <a:pt x="1088" y="743"/>
                  </a:lnTo>
                  <a:lnTo>
                    <a:pt x="1088" y="741"/>
                  </a:lnTo>
                  <a:lnTo>
                    <a:pt x="1091" y="741"/>
                  </a:lnTo>
                  <a:lnTo>
                    <a:pt x="1091" y="741"/>
                  </a:lnTo>
                  <a:lnTo>
                    <a:pt x="1091" y="738"/>
                  </a:lnTo>
                  <a:lnTo>
                    <a:pt x="1088" y="738"/>
                  </a:lnTo>
                  <a:lnTo>
                    <a:pt x="1091" y="738"/>
                  </a:lnTo>
                  <a:lnTo>
                    <a:pt x="1088" y="741"/>
                  </a:lnTo>
                  <a:lnTo>
                    <a:pt x="1083" y="741"/>
                  </a:lnTo>
                  <a:lnTo>
                    <a:pt x="1078" y="743"/>
                  </a:lnTo>
                  <a:lnTo>
                    <a:pt x="1063" y="753"/>
                  </a:lnTo>
                  <a:lnTo>
                    <a:pt x="1063" y="753"/>
                  </a:lnTo>
                  <a:lnTo>
                    <a:pt x="1060" y="753"/>
                  </a:lnTo>
                  <a:lnTo>
                    <a:pt x="1063" y="753"/>
                  </a:lnTo>
                  <a:lnTo>
                    <a:pt x="1065" y="753"/>
                  </a:lnTo>
                  <a:lnTo>
                    <a:pt x="1065" y="753"/>
                  </a:lnTo>
                  <a:lnTo>
                    <a:pt x="1063" y="753"/>
                  </a:lnTo>
                  <a:lnTo>
                    <a:pt x="1060" y="756"/>
                  </a:lnTo>
                  <a:lnTo>
                    <a:pt x="1060" y="756"/>
                  </a:lnTo>
                  <a:lnTo>
                    <a:pt x="1058" y="756"/>
                  </a:lnTo>
                  <a:lnTo>
                    <a:pt x="1055" y="756"/>
                  </a:lnTo>
                  <a:lnTo>
                    <a:pt x="1053" y="758"/>
                  </a:lnTo>
                  <a:lnTo>
                    <a:pt x="1053" y="758"/>
                  </a:lnTo>
                  <a:lnTo>
                    <a:pt x="1050" y="761"/>
                  </a:lnTo>
                  <a:lnTo>
                    <a:pt x="1055" y="756"/>
                  </a:lnTo>
                  <a:lnTo>
                    <a:pt x="1058" y="756"/>
                  </a:lnTo>
                  <a:lnTo>
                    <a:pt x="1053" y="761"/>
                  </a:lnTo>
                  <a:lnTo>
                    <a:pt x="1048" y="766"/>
                  </a:lnTo>
                  <a:lnTo>
                    <a:pt x="1048" y="769"/>
                  </a:lnTo>
                  <a:lnTo>
                    <a:pt x="1048" y="774"/>
                  </a:lnTo>
                  <a:lnTo>
                    <a:pt x="1048" y="774"/>
                  </a:lnTo>
                  <a:lnTo>
                    <a:pt x="1048" y="774"/>
                  </a:lnTo>
                  <a:lnTo>
                    <a:pt x="1050" y="774"/>
                  </a:lnTo>
                  <a:lnTo>
                    <a:pt x="1050" y="774"/>
                  </a:lnTo>
                  <a:lnTo>
                    <a:pt x="1050" y="776"/>
                  </a:lnTo>
                  <a:lnTo>
                    <a:pt x="1053" y="779"/>
                  </a:lnTo>
                  <a:lnTo>
                    <a:pt x="1053" y="779"/>
                  </a:lnTo>
                  <a:lnTo>
                    <a:pt x="1055" y="779"/>
                  </a:lnTo>
                  <a:lnTo>
                    <a:pt x="1055" y="779"/>
                  </a:lnTo>
                  <a:lnTo>
                    <a:pt x="1055" y="779"/>
                  </a:lnTo>
                  <a:lnTo>
                    <a:pt x="1058" y="779"/>
                  </a:lnTo>
                  <a:lnTo>
                    <a:pt x="1058" y="779"/>
                  </a:lnTo>
                  <a:lnTo>
                    <a:pt x="1058" y="779"/>
                  </a:lnTo>
                  <a:lnTo>
                    <a:pt x="1060" y="776"/>
                  </a:lnTo>
                  <a:lnTo>
                    <a:pt x="1063" y="776"/>
                  </a:lnTo>
                  <a:lnTo>
                    <a:pt x="1063" y="776"/>
                  </a:lnTo>
                  <a:lnTo>
                    <a:pt x="1065" y="776"/>
                  </a:lnTo>
                  <a:lnTo>
                    <a:pt x="1070" y="771"/>
                  </a:lnTo>
                  <a:lnTo>
                    <a:pt x="1070" y="771"/>
                  </a:lnTo>
                  <a:lnTo>
                    <a:pt x="1073" y="769"/>
                  </a:lnTo>
                  <a:lnTo>
                    <a:pt x="1078" y="766"/>
                  </a:lnTo>
                  <a:lnTo>
                    <a:pt x="1081" y="766"/>
                  </a:lnTo>
                  <a:lnTo>
                    <a:pt x="1083" y="763"/>
                  </a:lnTo>
                  <a:lnTo>
                    <a:pt x="1083" y="763"/>
                  </a:lnTo>
                  <a:lnTo>
                    <a:pt x="1083" y="761"/>
                  </a:lnTo>
                  <a:lnTo>
                    <a:pt x="1083" y="761"/>
                  </a:lnTo>
                  <a:lnTo>
                    <a:pt x="1083" y="758"/>
                  </a:lnTo>
                  <a:lnTo>
                    <a:pt x="1086" y="758"/>
                  </a:lnTo>
                  <a:lnTo>
                    <a:pt x="1088" y="756"/>
                  </a:lnTo>
                  <a:lnTo>
                    <a:pt x="1088" y="758"/>
                  </a:lnTo>
                  <a:lnTo>
                    <a:pt x="1091" y="758"/>
                  </a:lnTo>
                  <a:lnTo>
                    <a:pt x="1091" y="756"/>
                  </a:lnTo>
                  <a:lnTo>
                    <a:pt x="1091" y="756"/>
                  </a:lnTo>
                  <a:lnTo>
                    <a:pt x="1093" y="756"/>
                  </a:lnTo>
                  <a:lnTo>
                    <a:pt x="1093" y="758"/>
                  </a:lnTo>
                  <a:lnTo>
                    <a:pt x="1093" y="758"/>
                  </a:lnTo>
                  <a:lnTo>
                    <a:pt x="1096" y="758"/>
                  </a:lnTo>
                  <a:lnTo>
                    <a:pt x="1098" y="758"/>
                  </a:lnTo>
                  <a:lnTo>
                    <a:pt x="1098" y="758"/>
                  </a:lnTo>
                  <a:lnTo>
                    <a:pt x="1098" y="758"/>
                  </a:lnTo>
                  <a:lnTo>
                    <a:pt x="1098" y="756"/>
                  </a:lnTo>
                  <a:lnTo>
                    <a:pt x="1098" y="753"/>
                  </a:lnTo>
                  <a:lnTo>
                    <a:pt x="1101" y="756"/>
                  </a:lnTo>
                  <a:lnTo>
                    <a:pt x="1101" y="756"/>
                  </a:lnTo>
                  <a:lnTo>
                    <a:pt x="1104" y="756"/>
                  </a:lnTo>
                  <a:lnTo>
                    <a:pt x="1104" y="756"/>
                  </a:lnTo>
                  <a:lnTo>
                    <a:pt x="1109" y="753"/>
                  </a:lnTo>
                  <a:lnTo>
                    <a:pt x="1109" y="753"/>
                  </a:lnTo>
                  <a:lnTo>
                    <a:pt x="1109" y="753"/>
                  </a:lnTo>
                  <a:lnTo>
                    <a:pt x="1116" y="751"/>
                  </a:lnTo>
                  <a:lnTo>
                    <a:pt x="1119" y="751"/>
                  </a:lnTo>
                  <a:lnTo>
                    <a:pt x="1127" y="748"/>
                  </a:lnTo>
                  <a:lnTo>
                    <a:pt x="1129" y="748"/>
                  </a:lnTo>
                  <a:lnTo>
                    <a:pt x="1134" y="743"/>
                  </a:lnTo>
                  <a:lnTo>
                    <a:pt x="1137" y="743"/>
                  </a:lnTo>
                  <a:lnTo>
                    <a:pt x="1137" y="743"/>
                  </a:lnTo>
                  <a:lnTo>
                    <a:pt x="1139" y="743"/>
                  </a:lnTo>
                  <a:lnTo>
                    <a:pt x="1142" y="743"/>
                  </a:lnTo>
                  <a:lnTo>
                    <a:pt x="1144" y="741"/>
                  </a:lnTo>
                  <a:lnTo>
                    <a:pt x="1144" y="741"/>
                  </a:lnTo>
                  <a:lnTo>
                    <a:pt x="1147" y="741"/>
                  </a:lnTo>
                  <a:lnTo>
                    <a:pt x="1149" y="741"/>
                  </a:lnTo>
                  <a:lnTo>
                    <a:pt x="1149" y="741"/>
                  </a:lnTo>
                  <a:lnTo>
                    <a:pt x="1149" y="738"/>
                  </a:lnTo>
                  <a:lnTo>
                    <a:pt x="1149" y="738"/>
                  </a:lnTo>
                  <a:lnTo>
                    <a:pt x="1149" y="738"/>
                  </a:lnTo>
                  <a:lnTo>
                    <a:pt x="1144" y="738"/>
                  </a:lnTo>
                  <a:lnTo>
                    <a:pt x="1144" y="735"/>
                  </a:lnTo>
                  <a:lnTo>
                    <a:pt x="1147" y="735"/>
                  </a:lnTo>
                  <a:lnTo>
                    <a:pt x="1147" y="735"/>
                  </a:lnTo>
                  <a:lnTo>
                    <a:pt x="1147" y="733"/>
                  </a:lnTo>
                  <a:lnTo>
                    <a:pt x="1147" y="730"/>
                  </a:lnTo>
                  <a:lnTo>
                    <a:pt x="1144" y="730"/>
                  </a:lnTo>
                  <a:lnTo>
                    <a:pt x="1142" y="730"/>
                  </a:lnTo>
                  <a:lnTo>
                    <a:pt x="1139" y="730"/>
                  </a:lnTo>
                  <a:lnTo>
                    <a:pt x="1139" y="730"/>
                  </a:lnTo>
                  <a:lnTo>
                    <a:pt x="1139" y="728"/>
                  </a:lnTo>
                  <a:lnTo>
                    <a:pt x="1139" y="728"/>
                  </a:lnTo>
                  <a:lnTo>
                    <a:pt x="1139" y="725"/>
                  </a:lnTo>
                  <a:lnTo>
                    <a:pt x="1132" y="730"/>
                  </a:lnTo>
                  <a:lnTo>
                    <a:pt x="1129" y="730"/>
                  </a:lnTo>
                  <a:lnTo>
                    <a:pt x="1127" y="730"/>
                  </a:lnTo>
                  <a:lnTo>
                    <a:pt x="1127" y="733"/>
                  </a:lnTo>
                  <a:lnTo>
                    <a:pt x="1127" y="730"/>
                  </a:lnTo>
                  <a:lnTo>
                    <a:pt x="1121" y="730"/>
                  </a:lnTo>
                  <a:lnTo>
                    <a:pt x="1124" y="730"/>
                  </a:lnTo>
                  <a:lnTo>
                    <a:pt x="1124" y="728"/>
                  </a:lnTo>
                  <a:lnTo>
                    <a:pt x="1121" y="728"/>
                  </a:lnTo>
                  <a:lnTo>
                    <a:pt x="1116" y="728"/>
                  </a:lnTo>
                  <a:lnTo>
                    <a:pt x="1114" y="728"/>
                  </a:lnTo>
                  <a:lnTo>
                    <a:pt x="1114" y="728"/>
                  </a:lnTo>
                  <a:lnTo>
                    <a:pt x="1114" y="728"/>
                  </a:lnTo>
                  <a:lnTo>
                    <a:pt x="1114" y="728"/>
                  </a:lnTo>
                  <a:lnTo>
                    <a:pt x="1111" y="725"/>
                  </a:lnTo>
                  <a:lnTo>
                    <a:pt x="1109" y="725"/>
                  </a:lnTo>
                  <a:lnTo>
                    <a:pt x="1106" y="725"/>
                  </a:lnTo>
                  <a:lnTo>
                    <a:pt x="1104" y="725"/>
                  </a:lnTo>
                  <a:lnTo>
                    <a:pt x="1101" y="723"/>
                  </a:lnTo>
                  <a:lnTo>
                    <a:pt x="1106" y="720"/>
                  </a:lnTo>
                  <a:lnTo>
                    <a:pt x="1106" y="720"/>
                  </a:lnTo>
                  <a:lnTo>
                    <a:pt x="1106" y="720"/>
                  </a:lnTo>
                  <a:lnTo>
                    <a:pt x="1101" y="720"/>
                  </a:lnTo>
                  <a:lnTo>
                    <a:pt x="1101" y="718"/>
                  </a:lnTo>
                  <a:lnTo>
                    <a:pt x="1096" y="718"/>
                  </a:lnTo>
                  <a:lnTo>
                    <a:pt x="1096" y="718"/>
                  </a:lnTo>
                  <a:lnTo>
                    <a:pt x="1093" y="715"/>
                  </a:lnTo>
                  <a:lnTo>
                    <a:pt x="1096" y="715"/>
                  </a:lnTo>
                  <a:lnTo>
                    <a:pt x="1093" y="713"/>
                  </a:lnTo>
                  <a:lnTo>
                    <a:pt x="1096" y="707"/>
                  </a:lnTo>
                  <a:lnTo>
                    <a:pt x="1093" y="707"/>
                  </a:lnTo>
                  <a:lnTo>
                    <a:pt x="1093" y="705"/>
                  </a:lnTo>
                  <a:lnTo>
                    <a:pt x="1093" y="702"/>
                  </a:lnTo>
                  <a:lnTo>
                    <a:pt x="1096" y="702"/>
                  </a:lnTo>
                  <a:lnTo>
                    <a:pt x="1096" y="700"/>
                  </a:lnTo>
                  <a:lnTo>
                    <a:pt x="1096" y="700"/>
                  </a:lnTo>
                  <a:lnTo>
                    <a:pt x="1093" y="700"/>
                  </a:lnTo>
                  <a:lnTo>
                    <a:pt x="1091" y="700"/>
                  </a:lnTo>
                  <a:lnTo>
                    <a:pt x="1088" y="700"/>
                  </a:lnTo>
                  <a:lnTo>
                    <a:pt x="1088" y="700"/>
                  </a:lnTo>
                  <a:lnTo>
                    <a:pt x="1093" y="695"/>
                  </a:lnTo>
                  <a:lnTo>
                    <a:pt x="1098" y="692"/>
                  </a:lnTo>
                  <a:lnTo>
                    <a:pt x="1101" y="690"/>
                  </a:lnTo>
                  <a:lnTo>
                    <a:pt x="1104" y="687"/>
                  </a:lnTo>
                  <a:lnTo>
                    <a:pt x="1104" y="685"/>
                  </a:lnTo>
                  <a:lnTo>
                    <a:pt x="1101" y="685"/>
                  </a:lnTo>
                  <a:lnTo>
                    <a:pt x="1098" y="685"/>
                  </a:lnTo>
                  <a:lnTo>
                    <a:pt x="1101" y="682"/>
                  </a:lnTo>
                  <a:lnTo>
                    <a:pt x="1096" y="682"/>
                  </a:lnTo>
                  <a:lnTo>
                    <a:pt x="1093" y="685"/>
                  </a:lnTo>
                  <a:lnTo>
                    <a:pt x="1091" y="685"/>
                  </a:lnTo>
                  <a:lnTo>
                    <a:pt x="1088" y="687"/>
                  </a:lnTo>
                  <a:lnTo>
                    <a:pt x="1088" y="685"/>
                  </a:lnTo>
                  <a:lnTo>
                    <a:pt x="1088" y="682"/>
                  </a:lnTo>
                  <a:lnTo>
                    <a:pt x="1086" y="682"/>
                  </a:lnTo>
                  <a:lnTo>
                    <a:pt x="1081" y="679"/>
                  </a:lnTo>
                  <a:lnTo>
                    <a:pt x="1078" y="677"/>
                  </a:lnTo>
                  <a:lnTo>
                    <a:pt x="1078" y="677"/>
                  </a:lnTo>
                  <a:lnTo>
                    <a:pt x="1073" y="679"/>
                  </a:lnTo>
                  <a:lnTo>
                    <a:pt x="1073" y="679"/>
                  </a:lnTo>
                  <a:lnTo>
                    <a:pt x="1078" y="677"/>
                  </a:lnTo>
                  <a:lnTo>
                    <a:pt x="1078" y="677"/>
                  </a:lnTo>
                  <a:lnTo>
                    <a:pt x="1081" y="677"/>
                  </a:lnTo>
                  <a:lnTo>
                    <a:pt x="1083" y="677"/>
                  </a:lnTo>
                  <a:lnTo>
                    <a:pt x="1086" y="674"/>
                  </a:lnTo>
                  <a:lnTo>
                    <a:pt x="1088" y="674"/>
                  </a:lnTo>
                  <a:lnTo>
                    <a:pt x="1088" y="677"/>
                  </a:lnTo>
                  <a:lnTo>
                    <a:pt x="1093" y="677"/>
                  </a:lnTo>
                  <a:lnTo>
                    <a:pt x="1096" y="679"/>
                  </a:lnTo>
                  <a:lnTo>
                    <a:pt x="1098" y="679"/>
                  </a:lnTo>
                  <a:lnTo>
                    <a:pt x="1101" y="677"/>
                  </a:lnTo>
                  <a:lnTo>
                    <a:pt x="1104" y="674"/>
                  </a:lnTo>
                  <a:lnTo>
                    <a:pt x="1106" y="674"/>
                  </a:lnTo>
                  <a:lnTo>
                    <a:pt x="1109" y="674"/>
                  </a:lnTo>
                  <a:lnTo>
                    <a:pt x="1109" y="672"/>
                  </a:lnTo>
                  <a:lnTo>
                    <a:pt x="1111" y="672"/>
                  </a:lnTo>
                  <a:lnTo>
                    <a:pt x="1116" y="669"/>
                  </a:lnTo>
                  <a:lnTo>
                    <a:pt x="1119" y="667"/>
                  </a:lnTo>
                  <a:lnTo>
                    <a:pt x="1121" y="664"/>
                  </a:lnTo>
                  <a:lnTo>
                    <a:pt x="1119" y="662"/>
                  </a:lnTo>
                  <a:lnTo>
                    <a:pt x="1119" y="659"/>
                  </a:lnTo>
                  <a:lnTo>
                    <a:pt x="1121" y="659"/>
                  </a:lnTo>
                  <a:lnTo>
                    <a:pt x="1124" y="662"/>
                  </a:lnTo>
                  <a:lnTo>
                    <a:pt x="1124" y="659"/>
                  </a:lnTo>
                  <a:lnTo>
                    <a:pt x="1124" y="659"/>
                  </a:lnTo>
                  <a:lnTo>
                    <a:pt x="1119" y="654"/>
                  </a:lnTo>
                  <a:lnTo>
                    <a:pt x="1116" y="651"/>
                  </a:lnTo>
                  <a:lnTo>
                    <a:pt x="1106" y="651"/>
                  </a:lnTo>
                  <a:lnTo>
                    <a:pt x="1104" y="651"/>
                  </a:lnTo>
                  <a:lnTo>
                    <a:pt x="1096" y="651"/>
                  </a:lnTo>
                  <a:lnTo>
                    <a:pt x="1091" y="651"/>
                  </a:lnTo>
                  <a:lnTo>
                    <a:pt x="1083" y="654"/>
                  </a:lnTo>
                  <a:lnTo>
                    <a:pt x="1073" y="657"/>
                  </a:lnTo>
                  <a:lnTo>
                    <a:pt x="1065" y="659"/>
                  </a:lnTo>
                  <a:lnTo>
                    <a:pt x="1058" y="662"/>
                  </a:lnTo>
                  <a:lnTo>
                    <a:pt x="1050" y="664"/>
                  </a:lnTo>
                  <a:lnTo>
                    <a:pt x="1045" y="667"/>
                  </a:lnTo>
                  <a:lnTo>
                    <a:pt x="1042" y="669"/>
                  </a:lnTo>
                  <a:lnTo>
                    <a:pt x="1040" y="669"/>
                  </a:lnTo>
                  <a:lnTo>
                    <a:pt x="1037" y="672"/>
                  </a:lnTo>
                  <a:lnTo>
                    <a:pt x="1035" y="672"/>
                  </a:lnTo>
                  <a:lnTo>
                    <a:pt x="1027" y="677"/>
                  </a:lnTo>
                  <a:lnTo>
                    <a:pt x="1022" y="679"/>
                  </a:lnTo>
                  <a:lnTo>
                    <a:pt x="1019" y="682"/>
                  </a:lnTo>
                  <a:lnTo>
                    <a:pt x="1014" y="687"/>
                  </a:lnTo>
                  <a:lnTo>
                    <a:pt x="1009" y="690"/>
                  </a:lnTo>
                  <a:lnTo>
                    <a:pt x="1007" y="692"/>
                  </a:lnTo>
                  <a:lnTo>
                    <a:pt x="1004" y="695"/>
                  </a:lnTo>
                  <a:lnTo>
                    <a:pt x="999" y="697"/>
                  </a:lnTo>
                  <a:lnTo>
                    <a:pt x="994" y="700"/>
                  </a:lnTo>
                  <a:lnTo>
                    <a:pt x="986" y="705"/>
                  </a:lnTo>
                  <a:lnTo>
                    <a:pt x="981" y="705"/>
                  </a:lnTo>
                  <a:lnTo>
                    <a:pt x="979" y="707"/>
                  </a:lnTo>
                  <a:lnTo>
                    <a:pt x="976" y="707"/>
                  </a:lnTo>
                  <a:lnTo>
                    <a:pt x="971" y="710"/>
                  </a:lnTo>
                  <a:lnTo>
                    <a:pt x="966" y="710"/>
                  </a:lnTo>
                  <a:lnTo>
                    <a:pt x="963" y="710"/>
                  </a:lnTo>
                  <a:lnTo>
                    <a:pt x="961" y="713"/>
                  </a:lnTo>
                  <a:lnTo>
                    <a:pt x="958" y="713"/>
                  </a:lnTo>
                  <a:lnTo>
                    <a:pt x="956" y="715"/>
                  </a:lnTo>
                  <a:lnTo>
                    <a:pt x="953" y="715"/>
                  </a:lnTo>
                  <a:lnTo>
                    <a:pt x="948" y="720"/>
                  </a:lnTo>
                  <a:lnTo>
                    <a:pt x="943" y="720"/>
                  </a:lnTo>
                  <a:lnTo>
                    <a:pt x="938" y="723"/>
                  </a:lnTo>
                  <a:lnTo>
                    <a:pt x="935" y="725"/>
                  </a:lnTo>
                  <a:lnTo>
                    <a:pt x="933" y="728"/>
                  </a:lnTo>
                  <a:lnTo>
                    <a:pt x="930" y="730"/>
                  </a:lnTo>
                  <a:lnTo>
                    <a:pt x="930" y="733"/>
                  </a:lnTo>
                  <a:lnTo>
                    <a:pt x="928" y="735"/>
                  </a:lnTo>
                  <a:lnTo>
                    <a:pt x="925" y="735"/>
                  </a:lnTo>
                  <a:lnTo>
                    <a:pt x="923" y="735"/>
                  </a:lnTo>
                  <a:lnTo>
                    <a:pt x="915" y="741"/>
                  </a:lnTo>
                  <a:lnTo>
                    <a:pt x="912" y="741"/>
                  </a:lnTo>
                  <a:lnTo>
                    <a:pt x="905" y="746"/>
                  </a:lnTo>
                  <a:lnTo>
                    <a:pt x="902" y="746"/>
                  </a:lnTo>
                  <a:lnTo>
                    <a:pt x="902" y="746"/>
                  </a:lnTo>
                  <a:lnTo>
                    <a:pt x="907" y="746"/>
                  </a:lnTo>
                  <a:close/>
                  <a:moveTo>
                    <a:pt x="754" y="725"/>
                  </a:moveTo>
                  <a:lnTo>
                    <a:pt x="757" y="725"/>
                  </a:lnTo>
                  <a:lnTo>
                    <a:pt x="757" y="725"/>
                  </a:lnTo>
                  <a:lnTo>
                    <a:pt x="757" y="723"/>
                  </a:lnTo>
                  <a:lnTo>
                    <a:pt x="757" y="723"/>
                  </a:lnTo>
                  <a:lnTo>
                    <a:pt x="754" y="723"/>
                  </a:lnTo>
                  <a:lnTo>
                    <a:pt x="754" y="725"/>
                  </a:lnTo>
                  <a:lnTo>
                    <a:pt x="754" y="725"/>
                  </a:lnTo>
                  <a:lnTo>
                    <a:pt x="752" y="725"/>
                  </a:lnTo>
                  <a:lnTo>
                    <a:pt x="752" y="725"/>
                  </a:lnTo>
                  <a:lnTo>
                    <a:pt x="754" y="725"/>
                  </a:lnTo>
                  <a:lnTo>
                    <a:pt x="754" y="725"/>
                  </a:lnTo>
                  <a:close/>
                  <a:moveTo>
                    <a:pt x="1160" y="771"/>
                  </a:moveTo>
                  <a:lnTo>
                    <a:pt x="1157" y="771"/>
                  </a:lnTo>
                  <a:lnTo>
                    <a:pt x="1157" y="771"/>
                  </a:lnTo>
                  <a:lnTo>
                    <a:pt x="1157" y="771"/>
                  </a:lnTo>
                  <a:lnTo>
                    <a:pt x="1160" y="771"/>
                  </a:lnTo>
                  <a:lnTo>
                    <a:pt x="1162" y="771"/>
                  </a:lnTo>
                  <a:lnTo>
                    <a:pt x="1165" y="769"/>
                  </a:lnTo>
                  <a:lnTo>
                    <a:pt x="1162" y="771"/>
                  </a:lnTo>
                  <a:lnTo>
                    <a:pt x="1160" y="771"/>
                  </a:lnTo>
                  <a:close/>
                  <a:moveTo>
                    <a:pt x="1177" y="720"/>
                  </a:moveTo>
                  <a:lnTo>
                    <a:pt x="1175" y="718"/>
                  </a:lnTo>
                  <a:lnTo>
                    <a:pt x="1172" y="720"/>
                  </a:lnTo>
                  <a:lnTo>
                    <a:pt x="1172" y="718"/>
                  </a:lnTo>
                  <a:lnTo>
                    <a:pt x="1172" y="718"/>
                  </a:lnTo>
                  <a:lnTo>
                    <a:pt x="1170" y="718"/>
                  </a:lnTo>
                  <a:lnTo>
                    <a:pt x="1170" y="718"/>
                  </a:lnTo>
                  <a:lnTo>
                    <a:pt x="1167" y="718"/>
                  </a:lnTo>
                  <a:lnTo>
                    <a:pt x="1165" y="720"/>
                  </a:lnTo>
                  <a:lnTo>
                    <a:pt x="1165" y="723"/>
                  </a:lnTo>
                  <a:lnTo>
                    <a:pt x="1160" y="725"/>
                  </a:lnTo>
                  <a:lnTo>
                    <a:pt x="1162" y="725"/>
                  </a:lnTo>
                  <a:lnTo>
                    <a:pt x="1165" y="723"/>
                  </a:lnTo>
                  <a:lnTo>
                    <a:pt x="1165" y="725"/>
                  </a:lnTo>
                  <a:lnTo>
                    <a:pt x="1160" y="728"/>
                  </a:lnTo>
                  <a:lnTo>
                    <a:pt x="1160" y="728"/>
                  </a:lnTo>
                  <a:lnTo>
                    <a:pt x="1157" y="728"/>
                  </a:lnTo>
                  <a:lnTo>
                    <a:pt x="1157" y="728"/>
                  </a:lnTo>
                  <a:lnTo>
                    <a:pt x="1155" y="728"/>
                  </a:lnTo>
                  <a:lnTo>
                    <a:pt x="1152" y="730"/>
                  </a:lnTo>
                  <a:lnTo>
                    <a:pt x="1152" y="728"/>
                  </a:lnTo>
                  <a:lnTo>
                    <a:pt x="1155" y="728"/>
                  </a:lnTo>
                  <a:lnTo>
                    <a:pt x="1155" y="728"/>
                  </a:lnTo>
                  <a:lnTo>
                    <a:pt x="1157" y="725"/>
                  </a:lnTo>
                  <a:lnTo>
                    <a:pt x="1155" y="725"/>
                  </a:lnTo>
                  <a:lnTo>
                    <a:pt x="1157" y="725"/>
                  </a:lnTo>
                  <a:lnTo>
                    <a:pt x="1160" y="725"/>
                  </a:lnTo>
                  <a:lnTo>
                    <a:pt x="1160" y="723"/>
                  </a:lnTo>
                  <a:lnTo>
                    <a:pt x="1157" y="723"/>
                  </a:lnTo>
                  <a:lnTo>
                    <a:pt x="1155" y="725"/>
                  </a:lnTo>
                  <a:lnTo>
                    <a:pt x="1155" y="725"/>
                  </a:lnTo>
                  <a:lnTo>
                    <a:pt x="1157" y="723"/>
                  </a:lnTo>
                  <a:lnTo>
                    <a:pt x="1160" y="723"/>
                  </a:lnTo>
                  <a:lnTo>
                    <a:pt x="1162" y="720"/>
                  </a:lnTo>
                  <a:lnTo>
                    <a:pt x="1165" y="720"/>
                  </a:lnTo>
                  <a:lnTo>
                    <a:pt x="1167" y="718"/>
                  </a:lnTo>
                  <a:lnTo>
                    <a:pt x="1167" y="718"/>
                  </a:lnTo>
                  <a:lnTo>
                    <a:pt x="1167" y="718"/>
                  </a:lnTo>
                  <a:lnTo>
                    <a:pt x="1170" y="715"/>
                  </a:lnTo>
                  <a:lnTo>
                    <a:pt x="1172" y="710"/>
                  </a:lnTo>
                  <a:lnTo>
                    <a:pt x="1175" y="707"/>
                  </a:lnTo>
                  <a:lnTo>
                    <a:pt x="1175" y="707"/>
                  </a:lnTo>
                  <a:lnTo>
                    <a:pt x="1175" y="702"/>
                  </a:lnTo>
                  <a:lnTo>
                    <a:pt x="1175" y="702"/>
                  </a:lnTo>
                  <a:lnTo>
                    <a:pt x="1175" y="700"/>
                  </a:lnTo>
                  <a:lnTo>
                    <a:pt x="1172" y="700"/>
                  </a:lnTo>
                  <a:lnTo>
                    <a:pt x="1172" y="702"/>
                  </a:lnTo>
                  <a:lnTo>
                    <a:pt x="1170" y="702"/>
                  </a:lnTo>
                  <a:lnTo>
                    <a:pt x="1167" y="705"/>
                  </a:lnTo>
                  <a:lnTo>
                    <a:pt x="1165" y="705"/>
                  </a:lnTo>
                  <a:lnTo>
                    <a:pt x="1162" y="707"/>
                  </a:lnTo>
                  <a:lnTo>
                    <a:pt x="1162" y="710"/>
                  </a:lnTo>
                  <a:lnTo>
                    <a:pt x="1155" y="718"/>
                  </a:lnTo>
                  <a:lnTo>
                    <a:pt x="1152" y="718"/>
                  </a:lnTo>
                  <a:lnTo>
                    <a:pt x="1149" y="720"/>
                  </a:lnTo>
                  <a:lnTo>
                    <a:pt x="1149" y="723"/>
                  </a:lnTo>
                  <a:lnTo>
                    <a:pt x="1147" y="725"/>
                  </a:lnTo>
                  <a:lnTo>
                    <a:pt x="1147" y="730"/>
                  </a:lnTo>
                  <a:lnTo>
                    <a:pt x="1147" y="730"/>
                  </a:lnTo>
                  <a:lnTo>
                    <a:pt x="1147" y="733"/>
                  </a:lnTo>
                  <a:lnTo>
                    <a:pt x="1147" y="733"/>
                  </a:lnTo>
                  <a:lnTo>
                    <a:pt x="1149" y="733"/>
                  </a:lnTo>
                  <a:lnTo>
                    <a:pt x="1149" y="733"/>
                  </a:lnTo>
                  <a:lnTo>
                    <a:pt x="1152" y="733"/>
                  </a:lnTo>
                  <a:lnTo>
                    <a:pt x="1155" y="733"/>
                  </a:lnTo>
                  <a:lnTo>
                    <a:pt x="1155" y="733"/>
                  </a:lnTo>
                  <a:lnTo>
                    <a:pt x="1157" y="733"/>
                  </a:lnTo>
                  <a:lnTo>
                    <a:pt x="1160" y="733"/>
                  </a:lnTo>
                  <a:lnTo>
                    <a:pt x="1165" y="730"/>
                  </a:lnTo>
                  <a:lnTo>
                    <a:pt x="1170" y="728"/>
                  </a:lnTo>
                  <a:lnTo>
                    <a:pt x="1170" y="728"/>
                  </a:lnTo>
                  <a:lnTo>
                    <a:pt x="1172" y="725"/>
                  </a:lnTo>
                  <a:lnTo>
                    <a:pt x="1177" y="725"/>
                  </a:lnTo>
                  <a:lnTo>
                    <a:pt x="1177" y="725"/>
                  </a:lnTo>
                  <a:lnTo>
                    <a:pt x="1175" y="723"/>
                  </a:lnTo>
                  <a:lnTo>
                    <a:pt x="1177" y="723"/>
                  </a:lnTo>
                  <a:lnTo>
                    <a:pt x="1177" y="720"/>
                  </a:lnTo>
                  <a:lnTo>
                    <a:pt x="1177" y="720"/>
                  </a:lnTo>
                  <a:lnTo>
                    <a:pt x="1177" y="720"/>
                  </a:lnTo>
                  <a:lnTo>
                    <a:pt x="1177" y="720"/>
                  </a:lnTo>
                  <a:close/>
                  <a:moveTo>
                    <a:pt x="1129" y="720"/>
                  </a:moveTo>
                  <a:lnTo>
                    <a:pt x="1132" y="718"/>
                  </a:lnTo>
                  <a:lnTo>
                    <a:pt x="1134" y="718"/>
                  </a:lnTo>
                  <a:lnTo>
                    <a:pt x="1139" y="715"/>
                  </a:lnTo>
                  <a:lnTo>
                    <a:pt x="1142" y="715"/>
                  </a:lnTo>
                  <a:lnTo>
                    <a:pt x="1142" y="713"/>
                  </a:lnTo>
                  <a:lnTo>
                    <a:pt x="1142" y="713"/>
                  </a:lnTo>
                  <a:lnTo>
                    <a:pt x="1139" y="713"/>
                  </a:lnTo>
                  <a:lnTo>
                    <a:pt x="1134" y="713"/>
                  </a:lnTo>
                  <a:lnTo>
                    <a:pt x="1129" y="713"/>
                  </a:lnTo>
                  <a:lnTo>
                    <a:pt x="1129" y="713"/>
                  </a:lnTo>
                  <a:lnTo>
                    <a:pt x="1124" y="713"/>
                  </a:lnTo>
                  <a:lnTo>
                    <a:pt x="1121" y="715"/>
                  </a:lnTo>
                  <a:lnTo>
                    <a:pt x="1119" y="713"/>
                  </a:lnTo>
                  <a:lnTo>
                    <a:pt x="1119" y="713"/>
                  </a:lnTo>
                  <a:lnTo>
                    <a:pt x="1116" y="713"/>
                  </a:lnTo>
                  <a:lnTo>
                    <a:pt x="1116" y="713"/>
                  </a:lnTo>
                  <a:lnTo>
                    <a:pt x="1116" y="713"/>
                  </a:lnTo>
                  <a:lnTo>
                    <a:pt x="1114" y="710"/>
                  </a:lnTo>
                  <a:lnTo>
                    <a:pt x="1111" y="713"/>
                  </a:lnTo>
                  <a:lnTo>
                    <a:pt x="1111" y="713"/>
                  </a:lnTo>
                  <a:lnTo>
                    <a:pt x="1109" y="713"/>
                  </a:lnTo>
                  <a:lnTo>
                    <a:pt x="1109" y="713"/>
                  </a:lnTo>
                  <a:lnTo>
                    <a:pt x="1109" y="713"/>
                  </a:lnTo>
                  <a:lnTo>
                    <a:pt x="1109" y="713"/>
                  </a:lnTo>
                  <a:lnTo>
                    <a:pt x="1109" y="710"/>
                  </a:lnTo>
                  <a:lnTo>
                    <a:pt x="1109" y="710"/>
                  </a:lnTo>
                  <a:lnTo>
                    <a:pt x="1109" y="710"/>
                  </a:lnTo>
                  <a:lnTo>
                    <a:pt x="1109" y="705"/>
                  </a:lnTo>
                  <a:lnTo>
                    <a:pt x="1111" y="702"/>
                  </a:lnTo>
                  <a:lnTo>
                    <a:pt x="1111" y="702"/>
                  </a:lnTo>
                  <a:lnTo>
                    <a:pt x="1111" y="700"/>
                  </a:lnTo>
                  <a:lnTo>
                    <a:pt x="1109" y="702"/>
                  </a:lnTo>
                  <a:lnTo>
                    <a:pt x="1106" y="702"/>
                  </a:lnTo>
                  <a:lnTo>
                    <a:pt x="1104" y="705"/>
                  </a:lnTo>
                  <a:lnTo>
                    <a:pt x="1104" y="707"/>
                  </a:lnTo>
                  <a:lnTo>
                    <a:pt x="1101" y="707"/>
                  </a:lnTo>
                  <a:lnTo>
                    <a:pt x="1101" y="710"/>
                  </a:lnTo>
                  <a:lnTo>
                    <a:pt x="1104" y="710"/>
                  </a:lnTo>
                  <a:lnTo>
                    <a:pt x="1106" y="710"/>
                  </a:lnTo>
                  <a:lnTo>
                    <a:pt x="1106" y="710"/>
                  </a:lnTo>
                  <a:lnTo>
                    <a:pt x="1104" y="715"/>
                  </a:lnTo>
                  <a:lnTo>
                    <a:pt x="1106" y="715"/>
                  </a:lnTo>
                  <a:lnTo>
                    <a:pt x="1109" y="715"/>
                  </a:lnTo>
                  <a:lnTo>
                    <a:pt x="1111" y="715"/>
                  </a:lnTo>
                  <a:lnTo>
                    <a:pt x="1111" y="715"/>
                  </a:lnTo>
                  <a:lnTo>
                    <a:pt x="1111" y="715"/>
                  </a:lnTo>
                  <a:lnTo>
                    <a:pt x="1109" y="715"/>
                  </a:lnTo>
                  <a:lnTo>
                    <a:pt x="1109" y="718"/>
                  </a:lnTo>
                  <a:lnTo>
                    <a:pt x="1111" y="718"/>
                  </a:lnTo>
                  <a:lnTo>
                    <a:pt x="1111" y="718"/>
                  </a:lnTo>
                  <a:lnTo>
                    <a:pt x="1116" y="720"/>
                  </a:lnTo>
                  <a:lnTo>
                    <a:pt x="1119" y="720"/>
                  </a:lnTo>
                  <a:lnTo>
                    <a:pt x="1119" y="720"/>
                  </a:lnTo>
                  <a:lnTo>
                    <a:pt x="1116" y="718"/>
                  </a:lnTo>
                  <a:lnTo>
                    <a:pt x="1119" y="718"/>
                  </a:lnTo>
                  <a:lnTo>
                    <a:pt x="1121" y="718"/>
                  </a:lnTo>
                  <a:lnTo>
                    <a:pt x="1121" y="718"/>
                  </a:lnTo>
                  <a:lnTo>
                    <a:pt x="1124" y="715"/>
                  </a:lnTo>
                  <a:lnTo>
                    <a:pt x="1124" y="718"/>
                  </a:lnTo>
                  <a:lnTo>
                    <a:pt x="1121" y="718"/>
                  </a:lnTo>
                  <a:lnTo>
                    <a:pt x="1121" y="718"/>
                  </a:lnTo>
                  <a:lnTo>
                    <a:pt x="1121" y="720"/>
                  </a:lnTo>
                  <a:lnTo>
                    <a:pt x="1124" y="720"/>
                  </a:lnTo>
                  <a:lnTo>
                    <a:pt x="1124" y="720"/>
                  </a:lnTo>
                  <a:lnTo>
                    <a:pt x="1121" y="723"/>
                  </a:lnTo>
                  <a:lnTo>
                    <a:pt x="1121" y="723"/>
                  </a:lnTo>
                  <a:lnTo>
                    <a:pt x="1124" y="723"/>
                  </a:lnTo>
                  <a:lnTo>
                    <a:pt x="1124" y="723"/>
                  </a:lnTo>
                  <a:lnTo>
                    <a:pt x="1124" y="723"/>
                  </a:lnTo>
                  <a:lnTo>
                    <a:pt x="1124" y="725"/>
                  </a:lnTo>
                  <a:lnTo>
                    <a:pt x="1129" y="723"/>
                  </a:lnTo>
                  <a:lnTo>
                    <a:pt x="1129" y="723"/>
                  </a:lnTo>
                  <a:lnTo>
                    <a:pt x="1129" y="723"/>
                  </a:lnTo>
                  <a:lnTo>
                    <a:pt x="1129" y="723"/>
                  </a:lnTo>
                  <a:lnTo>
                    <a:pt x="1129" y="720"/>
                  </a:lnTo>
                  <a:lnTo>
                    <a:pt x="1129" y="720"/>
                  </a:lnTo>
                  <a:close/>
                  <a:moveTo>
                    <a:pt x="1152" y="692"/>
                  </a:moveTo>
                  <a:lnTo>
                    <a:pt x="1155" y="692"/>
                  </a:lnTo>
                  <a:lnTo>
                    <a:pt x="1157" y="690"/>
                  </a:lnTo>
                  <a:lnTo>
                    <a:pt x="1160" y="690"/>
                  </a:lnTo>
                  <a:lnTo>
                    <a:pt x="1160" y="690"/>
                  </a:lnTo>
                  <a:lnTo>
                    <a:pt x="1162" y="687"/>
                  </a:lnTo>
                  <a:lnTo>
                    <a:pt x="1162" y="687"/>
                  </a:lnTo>
                  <a:lnTo>
                    <a:pt x="1160" y="687"/>
                  </a:lnTo>
                  <a:lnTo>
                    <a:pt x="1157" y="687"/>
                  </a:lnTo>
                  <a:lnTo>
                    <a:pt x="1155" y="690"/>
                  </a:lnTo>
                  <a:lnTo>
                    <a:pt x="1152" y="692"/>
                  </a:lnTo>
                  <a:lnTo>
                    <a:pt x="1149" y="695"/>
                  </a:lnTo>
                  <a:lnTo>
                    <a:pt x="1149" y="697"/>
                  </a:lnTo>
                  <a:lnTo>
                    <a:pt x="1152" y="697"/>
                  </a:lnTo>
                  <a:lnTo>
                    <a:pt x="1152" y="695"/>
                  </a:lnTo>
                  <a:lnTo>
                    <a:pt x="1152" y="695"/>
                  </a:lnTo>
                  <a:lnTo>
                    <a:pt x="1152" y="695"/>
                  </a:lnTo>
                  <a:lnTo>
                    <a:pt x="1149" y="695"/>
                  </a:lnTo>
                  <a:lnTo>
                    <a:pt x="1152" y="692"/>
                  </a:lnTo>
                  <a:lnTo>
                    <a:pt x="1152" y="692"/>
                  </a:lnTo>
                  <a:close/>
                  <a:moveTo>
                    <a:pt x="1152" y="733"/>
                  </a:moveTo>
                  <a:lnTo>
                    <a:pt x="1152" y="733"/>
                  </a:lnTo>
                  <a:lnTo>
                    <a:pt x="1152" y="735"/>
                  </a:lnTo>
                  <a:lnTo>
                    <a:pt x="1152" y="735"/>
                  </a:lnTo>
                  <a:lnTo>
                    <a:pt x="1152" y="735"/>
                  </a:lnTo>
                  <a:lnTo>
                    <a:pt x="1155" y="733"/>
                  </a:lnTo>
                  <a:lnTo>
                    <a:pt x="1155" y="733"/>
                  </a:lnTo>
                  <a:lnTo>
                    <a:pt x="1152" y="733"/>
                  </a:lnTo>
                  <a:lnTo>
                    <a:pt x="1152" y="733"/>
                  </a:lnTo>
                  <a:close/>
                  <a:moveTo>
                    <a:pt x="1106" y="682"/>
                  </a:moveTo>
                  <a:lnTo>
                    <a:pt x="1106" y="685"/>
                  </a:lnTo>
                  <a:lnTo>
                    <a:pt x="1106" y="685"/>
                  </a:lnTo>
                  <a:lnTo>
                    <a:pt x="1106" y="685"/>
                  </a:lnTo>
                  <a:lnTo>
                    <a:pt x="1106" y="685"/>
                  </a:lnTo>
                  <a:lnTo>
                    <a:pt x="1109" y="682"/>
                  </a:lnTo>
                  <a:lnTo>
                    <a:pt x="1109" y="682"/>
                  </a:lnTo>
                  <a:lnTo>
                    <a:pt x="1109" y="682"/>
                  </a:lnTo>
                  <a:lnTo>
                    <a:pt x="1109" y="682"/>
                  </a:lnTo>
                  <a:lnTo>
                    <a:pt x="1106" y="682"/>
                  </a:lnTo>
                  <a:close/>
                  <a:moveTo>
                    <a:pt x="1152" y="654"/>
                  </a:moveTo>
                  <a:lnTo>
                    <a:pt x="1155" y="654"/>
                  </a:lnTo>
                  <a:lnTo>
                    <a:pt x="1160" y="654"/>
                  </a:lnTo>
                  <a:lnTo>
                    <a:pt x="1167" y="654"/>
                  </a:lnTo>
                  <a:lnTo>
                    <a:pt x="1170" y="654"/>
                  </a:lnTo>
                  <a:lnTo>
                    <a:pt x="1170" y="654"/>
                  </a:lnTo>
                  <a:lnTo>
                    <a:pt x="1170" y="651"/>
                  </a:lnTo>
                  <a:lnTo>
                    <a:pt x="1170" y="651"/>
                  </a:lnTo>
                  <a:lnTo>
                    <a:pt x="1165" y="649"/>
                  </a:lnTo>
                  <a:lnTo>
                    <a:pt x="1165" y="646"/>
                  </a:lnTo>
                  <a:lnTo>
                    <a:pt x="1157" y="644"/>
                  </a:lnTo>
                  <a:lnTo>
                    <a:pt x="1155" y="641"/>
                  </a:lnTo>
                  <a:lnTo>
                    <a:pt x="1152" y="639"/>
                  </a:lnTo>
                  <a:lnTo>
                    <a:pt x="1147" y="639"/>
                  </a:lnTo>
                  <a:lnTo>
                    <a:pt x="1139" y="636"/>
                  </a:lnTo>
                  <a:lnTo>
                    <a:pt x="1134" y="636"/>
                  </a:lnTo>
                  <a:lnTo>
                    <a:pt x="1132" y="636"/>
                  </a:lnTo>
                  <a:lnTo>
                    <a:pt x="1129" y="636"/>
                  </a:lnTo>
                  <a:lnTo>
                    <a:pt x="1127" y="636"/>
                  </a:lnTo>
                  <a:lnTo>
                    <a:pt x="1129" y="639"/>
                  </a:lnTo>
                  <a:lnTo>
                    <a:pt x="1137" y="641"/>
                  </a:lnTo>
                  <a:lnTo>
                    <a:pt x="1137" y="644"/>
                  </a:lnTo>
                  <a:lnTo>
                    <a:pt x="1139" y="644"/>
                  </a:lnTo>
                  <a:lnTo>
                    <a:pt x="1139" y="646"/>
                  </a:lnTo>
                  <a:lnTo>
                    <a:pt x="1139" y="649"/>
                  </a:lnTo>
                  <a:lnTo>
                    <a:pt x="1147" y="651"/>
                  </a:lnTo>
                  <a:lnTo>
                    <a:pt x="1152" y="654"/>
                  </a:lnTo>
                  <a:close/>
                  <a:moveTo>
                    <a:pt x="1111" y="679"/>
                  </a:moveTo>
                  <a:lnTo>
                    <a:pt x="1111" y="679"/>
                  </a:lnTo>
                  <a:lnTo>
                    <a:pt x="1111" y="679"/>
                  </a:lnTo>
                  <a:lnTo>
                    <a:pt x="1109" y="679"/>
                  </a:lnTo>
                  <a:lnTo>
                    <a:pt x="1109" y="682"/>
                  </a:lnTo>
                  <a:lnTo>
                    <a:pt x="1111" y="679"/>
                  </a:lnTo>
                  <a:lnTo>
                    <a:pt x="1111" y="679"/>
                  </a:lnTo>
                  <a:close/>
                  <a:moveTo>
                    <a:pt x="928" y="730"/>
                  </a:moveTo>
                  <a:lnTo>
                    <a:pt x="925" y="730"/>
                  </a:lnTo>
                  <a:lnTo>
                    <a:pt x="923" y="733"/>
                  </a:lnTo>
                  <a:lnTo>
                    <a:pt x="923" y="733"/>
                  </a:lnTo>
                  <a:lnTo>
                    <a:pt x="925" y="733"/>
                  </a:lnTo>
                  <a:lnTo>
                    <a:pt x="928" y="730"/>
                  </a:lnTo>
                  <a:close/>
                  <a:moveTo>
                    <a:pt x="981" y="422"/>
                  </a:moveTo>
                  <a:lnTo>
                    <a:pt x="981" y="425"/>
                  </a:lnTo>
                  <a:lnTo>
                    <a:pt x="979" y="425"/>
                  </a:lnTo>
                  <a:lnTo>
                    <a:pt x="981" y="425"/>
                  </a:lnTo>
                  <a:lnTo>
                    <a:pt x="984" y="425"/>
                  </a:lnTo>
                  <a:lnTo>
                    <a:pt x="984" y="422"/>
                  </a:lnTo>
                  <a:lnTo>
                    <a:pt x="984" y="422"/>
                  </a:lnTo>
                  <a:lnTo>
                    <a:pt x="981" y="422"/>
                  </a:lnTo>
                  <a:lnTo>
                    <a:pt x="981" y="422"/>
                  </a:lnTo>
                  <a:close/>
                  <a:moveTo>
                    <a:pt x="991" y="364"/>
                  </a:moveTo>
                  <a:lnTo>
                    <a:pt x="994" y="364"/>
                  </a:lnTo>
                  <a:lnTo>
                    <a:pt x="994" y="361"/>
                  </a:lnTo>
                  <a:lnTo>
                    <a:pt x="994" y="361"/>
                  </a:lnTo>
                  <a:lnTo>
                    <a:pt x="997" y="359"/>
                  </a:lnTo>
                  <a:lnTo>
                    <a:pt x="994" y="359"/>
                  </a:lnTo>
                  <a:lnTo>
                    <a:pt x="994" y="359"/>
                  </a:lnTo>
                  <a:lnTo>
                    <a:pt x="994" y="359"/>
                  </a:lnTo>
                  <a:lnTo>
                    <a:pt x="991" y="359"/>
                  </a:lnTo>
                  <a:lnTo>
                    <a:pt x="989" y="359"/>
                  </a:lnTo>
                  <a:lnTo>
                    <a:pt x="984" y="359"/>
                  </a:lnTo>
                  <a:lnTo>
                    <a:pt x="979" y="361"/>
                  </a:lnTo>
                  <a:lnTo>
                    <a:pt x="979" y="361"/>
                  </a:lnTo>
                  <a:lnTo>
                    <a:pt x="976" y="361"/>
                  </a:lnTo>
                  <a:lnTo>
                    <a:pt x="974" y="359"/>
                  </a:lnTo>
                  <a:lnTo>
                    <a:pt x="974" y="361"/>
                  </a:lnTo>
                  <a:lnTo>
                    <a:pt x="963" y="366"/>
                  </a:lnTo>
                  <a:lnTo>
                    <a:pt x="958" y="369"/>
                  </a:lnTo>
                  <a:lnTo>
                    <a:pt x="958" y="369"/>
                  </a:lnTo>
                  <a:lnTo>
                    <a:pt x="958" y="369"/>
                  </a:lnTo>
                  <a:lnTo>
                    <a:pt x="958" y="372"/>
                  </a:lnTo>
                  <a:lnTo>
                    <a:pt x="958" y="372"/>
                  </a:lnTo>
                  <a:lnTo>
                    <a:pt x="958" y="374"/>
                  </a:lnTo>
                  <a:lnTo>
                    <a:pt x="956" y="374"/>
                  </a:lnTo>
                  <a:lnTo>
                    <a:pt x="956" y="377"/>
                  </a:lnTo>
                  <a:lnTo>
                    <a:pt x="963" y="374"/>
                  </a:lnTo>
                  <a:lnTo>
                    <a:pt x="966" y="374"/>
                  </a:lnTo>
                  <a:lnTo>
                    <a:pt x="966" y="374"/>
                  </a:lnTo>
                  <a:lnTo>
                    <a:pt x="968" y="374"/>
                  </a:lnTo>
                  <a:lnTo>
                    <a:pt x="968" y="374"/>
                  </a:lnTo>
                  <a:lnTo>
                    <a:pt x="979" y="372"/>
                  </a:lnTo>
                  <a:lnTo>
                    <a:pt x="981" y="369"/>
                  </a:lnTo>
                  <a:lnTo>
                    <a:pt x="984" y="369"/>
                  </a:lnTo>
                  <a:lnTo>
                    <a:pt x="989" y="366"/>
                  </a:lnTo>
                  <a:lnTo>
                    <a:pt x="991" y="364"/>
                  </a:lnTo>
                  <a:close/>
                  <a:moveTo>
                    <a:pt x="1032" y="344"/>
                  </a:moveTo>
                  <a:lnTo>
                    <a:pt x="1035" y="341"/>
                  </a:lnTo>
                  <a:lnTo>
                    <a:pt x="1032" y="341"/>
                  </a:lnTo>
                  <a:lnTo>
                    <a:pt x="1030" y="341"/>
                  </a:lnTo>
                  <a:lnTo>
                    <a:pt x="1032" y="341"/>
                  </a:lnTo>
                  <a:lnTo>
                    <a:pt x="1032" y="339"/>
                  </a:lnTo>
                  <a:lnTo>
                    <a:pt x="1032" y="339"/>
                  </a:lnTo>
                  <a:lnTo>
                    <a:pt x="1032" y="339"/>
                  </a:lnTo>
                  <a:lnTo>
                    <a:pt x="1030" y="336"/>
                  </a:lnTo>
                  <a:lnTo>
                    <a:pt x="1030" y="336"/>
                  </a:lnTo>
                  <a:lnTo>
                    <a:pt x="1027" y="339"/>
                  </a:lnTo>
                  <a:lnTo>
                    <a:pt x="1027" y="339"/>
                  </a:lnTo>
                  <a:lnTo>
                    <a:pt x="1025" y="339"/>
                  </a:lnTo>
                  <a:lnTo>
                    <a:pt x="1022" y="336"/>
                  </a:lnTo>
                  <a:lnTo>
                    <a:pt x="1014" y="339"/>
                  </a:lnTo>
                  <a:lnTo>
                    <a:pt x="1012" y="339"/>
                  </a:lnTo>
                  <a:lnTo>
                    <a:pt x="1012" y="339"/>
                  </a:lnTo>
                  <a:lnTo>
                    <a:pt x="1017" y="336"/>
                  </a:lnTo>
                  <a:lnTo>
                    <a:pt x="1017" y="336"/>
                  </a:lnTo>
                  <a:lnTo>
                    <a:pt x="1019" y="336"/>
                  </a:lnTo>
                  <a:lnTo>
                    <a:pt x="1019" y="333"/>
                  </a:lnTo>
                  <a:lnTo>
                    <a:pt x="1019" y="331"/>
                  </a:lnTo>
                  <a:lnTo>
                    <a:pt x="1019" y="326"/>
                  </a:lnTo>
                  <a:lnTo>
                    <a:pt x="1019" y="326"/>
                  </a:lnTo>
                  <a:lnTo>
                    <a:pt x="1019" y="323"/>
                  </a:lnTo>
                  <a:lnTo>
                    <a:pt x="1017" y="323"/>
                  </a:lnTo>
                  <a:lnTo>
                    <a:pt x="1012" y="323"/>
                  </a:lnTo>
                  <a:lnTo>
                    <a:pt x="1012" y="323"/>
                  </a:lnTo>
                  <a:lnTo>
                    <a:pt x="1009" y="321"/>
                  </a:lnTo>
                  <a:lnTo>
                    <a:pt x="1007" y="318"/>
                  </a:lnTo>
                  <a:lnTo>
                    <a:pt x="1007" y="318"/>
                  </a:lnTo>
                  <a:lnTo>
                    <a:pt x="1007" y="316"/>
                  </a:lnTo>
                  <a:lnTo>
                    <a:pt x="1004" y="316"/>
                  </a:lnTo>
                  <a:lnTo>
                    <a:pt x="1002" y="316"/>
                  </a:lnTo>
                  <a:lnTo>
                    <a:pt x="999" y="316"/>
                  </a:lnTo>
                  <a:lnTo>
                    <a:pt x="997" y="313"/>
                  </a:lnTo>
                  <a:lnTo>
                    <a:pt x="997" y="313"/>
                  </a:lnTo>
                  <a:lnTo>
                    <a:pt x="997" y="313"/>
                  </a:lnTo>
                  <a:lnTo>
                    <a:pt x="997" y="311"/>
                  </a:lnTo>
                  <a:lnTo>
                    <a:pt x="994" y="308"/>
                  </a:lnTo>
                  <a:lnTo>
                    <a:pt x="994" y="308"/>
                  </a:lnTo>
                  <a:lnTo>
                    <a:pt x="991" y="308"/>
                  </a:lnTo>
                  <a:lnTo>
                    <a:pt x="989" y="313"/>
                  </a:lnTo>
                  <a:lnTo>
                    <a:pt x="986" y="313"/>
                  </a:lnTo>
                  <a:lnTo>
                    <a:pt x="986" y="313"/>
                  </a:lnTo>
                  <a:lnTo>
                    <a:pt x="984" y="313"/>
                  </a:lnTo>
                  <a:lnTo>
                    <a:pt x="986" y="311"/>
                  </a:lnTo>
                  <a:lnTo>
                    <a:pt x="984" y="308"/>
                  </a:lnTo>
                  <a:lnTo>
                    <a:pt x="984" y="308"/>
                  </a:lnTo>
                  <a:lnTo>
                    <a:pt x="984" y="308"/>
                  </a:lnTo>
                  <a:lnTo>
                    <a:pt x="986" y="305"/>
                  </a:lnTo>
                  <a:lnTo>
                    <a:pt x="989" y="305"/>
                  </a:lnTo>
                  <a:lnTo>
                    <a:pt x="989" y="305"/>
                  </a:lnTo>
                  <a:lnTo>
                    <a:pt x="989" y="303"/>
                  </a:lnTo>
                  <a:lnTo>
                    <a:pt x="989" y="303"/>
                  </a:lnTo>
                  <a:lnTo>
                    <a:pt x="986" y="300"/>
                  </a:lnTo>
                  <a:lnTo>
                    <a:pt x="986" y="300"/>
                  </a:lnTo>
                  <a:lnTo>
                    <a:pt x="986" y="300"/>
                  </a:lnTo>
                  <a:lnTo>
                    <a:pt x="986" y="300"/>
                  </a:lnTo>
                  <a:lnTo>
                    <a:pt x="984" y="300"/>
                  </a:lnTo>
                  <a:lnTo>
                    <a:pt x="981" y="300"/>
                  </a:lnTo>
                  <a:lnTo>
                    <a:pt x="976" y="303"/>
                  </a:lnTo>
                  <a:lnTo>
                    <a:pt x="974" y="305"/>
                  </a:lnTo>
                  <a:lnTo>
                    <a:pt x="971" y="308"/>
                  </a:lnTo>
                  <a:lnTo>
                    <a:pt x="968" y="311"/>
                  </a:lnTo>
                  <a:lnTo>
                    <a:pt x="961" y="318"/>
                  </a:lnTo>
                  <a:lnTo>
                    <a:pt x="958" y="321"/>
                  </a:lnTo>
                  <a:lnTo>
                    <a:pt x="953" y="326"/>
                  </a:lnTo>
                  <a:lnTo>
                    <a:pt x="951" y="326"/>
                  </a:lnTo>
                  <a:lnTo>
                    <a:pt x="951" y="328"/>
                  </a:lnTo>
                  <a:lnTo>
                    <a:pt x="948" y="331"/>
                  </a:lnTo>
                  <a:lnTo>
                    <a:pt x="948" y="333"/>
                  </a:lnTo>
                  <a:lnTo>
                    <a:pt x="948" y="333"/>
                  </a:lnTo>
                  <a:lnTo>
                    <a:pt x="948" y="336"/>
                  </a:lnTo>
                  <a:lnTo>
                    <a:pt x="946" y="336"/>
                  </a:lnTo>
                  <a:lnTo>
                    <a:pt x="943" y="336"/>
                  </a:lnTo>
                  <a:lnTo>
                    <a:pt x="933" y="339"/>
                  </a:lnTo>
                  <a:lnTo>
                    <a:pt x="933" y="341"/>
                  </a:lnTo>
                  <a:lnTo>
                    <a:pt x="930" y="341"/>
                  </a:lnTo>
                  <a:lnTo>
                    <a:pt x="928" y="344"/>
                  </a:lnTo>
                  <a:lnTo>
                    <a:pt x="925" y="344"/>
                  </a:lnTo>
                  <a:lnTo>
                    <a:pt x="925" y="346"/>
                  </a:lnTo>
                  <a:lnTo>
                    <a:pt x="925" y="346"/>
                  </a:lnTo>
                  <a:lnTo>
                    <a:pt x="925" y="346"/>
                  </a:lnTo>
                  <a:lnTo>
                    <a:pt x="925" y="346"/>
                  </a:lnTo>
                  <a:lnTo>
                    <a:pt x="928" y="346"/>
                  </a:lnTo>
                  <a:lnTo>
                    <a:pt x="930" y="346"/>
                  </a:lnTo>
                  <a:lnTo>
                    <a:pt x="935" y="346"/>
                  </a:lnTo>
                  <a:lnTo>
                    <a:pt x="938" y="346"/>
                  </a:lnTo>
                  <a:lnTo>
                    <a:pt x="948" y="344"/>
                  </a:lnTo>
                  <a:lnTo>
                    <a:pt x="948" y="344"/>
                  </a:lnTo>
                  <a:lnTo>
                    <a:pt x="948" y="344"/>
                  </a:lnTo>
                  <a:lnTo>
                    <a:pt x="948" y="346"/>
                  </a:lnTo>
                  <a:lnTo>
                    <a:pt x="946" y="354"/>
                  </a:lnTo>
                  <a:lnTo>
                    <a:pt x="943" y="356"/>
                  </a:lnTo>
                  <a:lnTo>
                    <a:pt x="946" y="356"/>
                  </a:lnTo>
                  <a:lnTo>
                    <a:pt x="948" y="356"/>
                  </a:lnTo>
                  <a:lnTo>
                    <a:pt x="953" y="354"/>
                  </a:lnTo>
                  <a:lnTo>
                    <a:pt x="956" y="354"/>
                  </a:lnTo>
                  <a:lnTo>
                    <a:pt x="958" y="351"/>
                  </a:lnTo>
                  <a:lnTo>
                    <a:pt x="961" y="351"/>
                  </a:lnTo>
                  <a:lnTo>
                    <a:pt x="963" y="351"/>
                  </a:lnTo>
                  <a:lnTo>
                    <a:pt x="966" y="349"/>
                  </a:lnTo>
                  <a:lnTo>
                    <a:pt x="968" y="346"/>
                  </a:lnTo>
                  <a:lnTo>
                    <a:pt x="968" y="346"/>
                  </a:lnTo>
                  <a:lnTo>
                    <a:pt x="971" y="346"/>
                  </a:lnTo>
                  <a:lnTo>
                    <a:pt x="974" y="346"/>
                  </a:lnTo>
                  <a:lnTo>
                    <a:pt x="981" y="341"/>
                  </a:lnTo>
                  <a:lnTo>
                    <a:pt x="984" y="341"/>
                  </a:lnTo>
                  <a:lnTo>
                    <a:pt x="984" y="341"/>
                  </a:lnTo>
                  <a:lnTo>
                    <a:pt x="986" y="339"/>
                  </a:lnTo>
                  <a:lnTo>
                    <a:pt x="986" y="336"/>
                  </a:lnTo>
                  <a:lnTo>
                    <a:pt x="989" y="336"/>
                  </a:lnTo>
                  <a:lnTo>
                    <a:pt x="991" y="336"/>
                  </a:lnTo>
                  <a:lnTo>
                    <a:pt x="994" y="336"/>
                  </a:lnTo>
                  <a:lnTo>
                    <a:pt x="997" y="336"/>
                  </a:lnTo>
                  <a:lnTo>
                    <a:pt x="997" y="336"/>
                  </a:lnTo>
                  <a:lnTo>
                    <a:pt x="997" y="336"/>
                  </a:lnTo>
                  <a:lnTo>
                    <a:pt x="994" y="339"/>
                  </a:lnTo>
                  <a:lnTo>
                    <a:pt x="997" y="339"/>
                  </a:lnTo>
                  <a:lnTo>
                    <a:pt x="1002" y="339"/>
                  </a:lnTo>
                  <a:lnTo>
                    <a:pt x="1002" y="339"/>
                  </a:lnTo>
                  <a:lnTo>
                    <a:pt x="999" y="344"/>
                  </a:lnTo>
                  <a:lnTo>
                    <a:pt x="1002" y="344"/>
                  </a:lnTo>
                  <a:lnTo>
                    <a:pt x="1004" y="344"/>
                  </a:lnTo>
                  <a:lnTo>
                    <a:pt x="1007" y="346"/>
                  </a:lnTo>
                  <a:lnTo>
                    <a:pt x="1014" y="349"/>
                  </a:lnTo>
                  <a:lnTo>
                    <a:pt x="1017" y="349"/>
                  </a:lnTo>
                  <a:lnTo>
                    <a:pt x="1017" y="349"/>
                  </a:lnTo>
                  <a:lnTo>
                    <a:pt x="1017" y="349"/>
                  </a:lnTo>
                  <a:lnTo>
                    <a:pt x="1019" y="349"/>
                  </a:lnTo>
                  <a:lnTo>
                    <a:pt x="1025" y="346"/>
                  </a:lnTo>
                  <a:lnTo>
                    <a:pt x="1030" y="344"/>
                  </a:lnTo>
                  <a:lnTo>
                    <a:pt x="1032" y="344"/>
                  </a:lnTo>
                  <a:close/>
                  <a:moveTo>
                    <a:pt x="1017" y="405"/>
                  </a:moveTo>
                  <a:lnTo>
                    <a:pt x="1017" y="405"/>
                  </a:lnTo>
                  <a:lnTo>
                    <a:pt x="1017" y="405"/>
                  </a:lnTo>
                  <a:lnTo>
                    <a:pt x="1019" y="405"/>
                  </a:lnTo>
                  <a:lnTo>
                    <a:pt x="1022" y="405"/>
                  </a:lnTo>
                  <a:lnTo>
                    <a:pt x="1022" y="405"/>
                  </a:lnTo>
                  <a:lnTo>
                    <a:pt x="1025" y="402"/>
                  </a:lnTo>
                  <a:lnTo>
                    <a:pt x="1022" y="405"/>
                  </a:lnTo>
                  <a:lnTo>
                    <a:pt x="1017" y="405"/>
                  </a:lnTo>
                  <a:close/>
                  <a:moveTo>
                    <a:pt x="946" y="486"/>
                  </a:moveTo>
                  <a:lnTo>
                    <a:pt x="946" y="486"/>
                  </a:lnTo>
                  <a:lnTo>
                    <a:pt x="946" y="486"/>
                  </a:lnTo>
                  <a:lnTo>
                    <a:pt x="943" y="486"/>
                  </a:lnTo>
                  <a:lnTo>
                    <a:pt x="943" y="486"/>
                  </a:lnTo>
                  <a:lnTo>
                    <a:pt x="943" y="489"/>
                  </a:lnTo>
                  <a:lnTo>
                    <a:pt x="943" y="489"/>
                  </a:lnTo>
                  <a:lnTo>
                    <a:pt x="943" y="489"/>
                  </a:lnTo>
                  <a:lnTo>
                    <a:pt x="946" y="486"/>
                  </a:lnTo>
                  <a:close/>
                  <a:moveTo>
                    <a:pt x="940" y="496"/>
                  </a:moveTo>
                  <a:lnTo>
                    <a:pt x="938" y="496"/>
                  </a:lnTo>
                  <a:lnTo>
                    <a:pt x="938" y="496"/>
                  </a:lnTo>
                  <a:lnTo>
                    <a:pt x="938" y="496"/>
                  </a:lnTo>
                  <a:lnTo>
                    <a:pt x="935" y="499"/>
                  </a:lnTo>
                  <a:lnTo>
                    <a:pt x="933" y="499"/>
                  </a:lnTo>
                  <a:lnTo>
                    <a:pt x="933" y="499"/>
                  </a:lnTo>
                  <a:lnTo>
                    <a:pt x="933" y="501"/>
                  </a:lnTo>
                  <a:lnTo>
                    <a:pt x="935" y="501"/>
                  </a:lnTo>
                  <a:lnTo>
                    <a:pt x="940" y="499"/>
                  </a:lnTo>
                  <a:lnTo>
                    <a:pt x="943" y="496"/>
                  </a:lnTo>
                  <a:lnTo>
                    <a:pt x="943" y="494"/>
                  </a:lnTo>
                  <a:lnTo>
                    <a:pt x="943" y="494"/>
                  </a:lnTo>
                  <a:lnTo>
                    <a:pt x="940" y="496"/>
                  </a:lnTo>
                  <a:lnTo>
                    <a:pt x="940" y="496"/>
                  </a:lnTo>
                  <a:close/>
                  <a:moveTo>
                    <a:pt x="1027" y="374"/>
                  </a:moveTo>
                  <a:lnTo>
                    <a:pt x="1027" y="374"/>
                  </a:lnTo>
                  <a:lnTo>
                    <a:pt x="1027" y="374"/>
                  </a:lnTo>
                  <a:lnTo>
                    <a:pt x="1027" y="372"/>
                  </a:lnTo>
                  <a:lnTo>
                    <a:pt x="1025" y="372"/>
                  </a:lnTo>
                  <a:lnTo>
                    <a:pt x="1025" y="372"/>
                  </a:lnTo>
                  <a:lnTo>
                    <a:pt x="1025" y="372"/>
                  </a:lnTo>
                  <a:lnTo>
                    <a:pt x="1022" y="372"/>
                  </a:lnTo>
                  <a:lnTo>
                    <a:pt x="1019" y="372"/>
                  </a:lnTo>
                  <a:lnTo>
                    <a:pt x="1019" y="372"/>
                  </a:lnTo>
                  <a:lnTo>
                    <a:pt x="1017" y="372"/>
                  </a:lnTo>
                  <a:lnTo>
                    <a:pt x="1012" y="374"/>
                  </a:lnTo>
                  <a:lnTo>
                    <a:pt x="1012" y="377"/>
                  </a:lnTo>
                  <a:lnTo>
                    <a:pt x="1009" y="377"/>
                  </a:lnTo>
                  <a:lnTo>
                    <a:pt x="1009" y="377"/>
                  </a:lnTo>
                  <a:lnTo>
                    <a:pt x="1009" y="379"/>
                  </a:lnTo>
                  <a:lnTo>
                    <a:pt x="1007" y="382"/>
                  </a:lnTo>
                  <a:lnTo>
                    <a:pt x="1007" y="382"/>
                  </a:lnTo>
                  <a:lnTo>
                    <a:pt x="1007" y="384"/>
                  </a:lnTo>
                  <a:lnTo>
                    <a:pt x="1007" y="384"/>
                  </a:lnTo>
                  <a:lnTo>
                    <a:pt x="1009" y="384"/>
                  </a:lnTo>
                  <a:lnTo>
                    <a:pt x="1009" y="387"/>
                  </a:lnTo>
                  <a:lnTo>
                    <a:pt x="1009" y="387"/>
                  </a:lnTo>
                  <a:lnTo>
                    <a:pt x="1012" y="387"/>
                  </a:lnTo>
                  <a:lnTo>
                    <a:pt x="1012" y="387"/>
                  </a:lnTo>
                  <a:lnTo>
                    <a:pt x="1012" y="387"/>
                  </a:lnTo>
                  <a:lnTo>
                    <a:pt x="1014" y="384"/>
                  </a:lnTo>
                  <a:lnTo>
                    <a:pt x="1017" y="382"/>
                  </a:lnTo>
                  <a:lnTo>
                    <a:pt x="1019" y="382"/>
                  </a:lnTo>
                  <a:lnTo>
                    <a:pt x="1022" y="379"/>
                  </a:lnTo>
                  <a:lnTo>
                    <a:pt x="1025" y="379"/>
                  </a:lnTo>
                  <a:lnTo>
                    <a:pt x="1025" y="377"/>
                  </a:lnTo>
                  <a:lnTo>
                    <a:pt x="1027" y="374"/>
                  </a:lnTo>
                  <a:close/>
                  <a:moveTo>
                    <a:pt x="948" y="501"/>
                  </a:moveTo>
                  <a:lnTo>
                    <a:pt x="943" y="506"/>
                  </a:lnTo>
                  <a:lnTo>
                    <a:pt x="943" y="506"/>
                  </a:lnTo>
                  <a:lnTo>
                    <a:pt x="943" y="506"/>
                  </a:lnTo>
                  <a:lnTo>
                    <a:pt x="948" y="504"/>
                  </a:lnTo>
                  <a:lnTo>
                    <a:pt x="951" y="501"/>
                  </a:lnTo>
                  <a:lnTo>
                    <a:pt x="953" y="499"/>
                  </a:lnTo>
                  <a:lnTo>
                    <a:pt x="953" y="499"/>
                  </a:lnTo>
                  <a:lnTo>
                    <a:pt x="953" y="496"/>
                  </a:lnTo>
                  <a:lnTo>
                    <a:pt x="953" y="496"/>
                  </a:lnTo>
                  <a:lnTo>
                    <a:pt x="953" y="496"/>
                  </a:lnTo>
                  <a:lnTo>
                    <a:pt x="953" y="496"/>
                  </a:lnTo>
                  <a:lnTo>
                    <a:pt x="953" y="496"/>
                  </a:lnTo>
                  <a:lnTo>
                    <a:pt x="953" y="494"/>
                  </a:lnTo>
                  <a:lnTo>
                    <a:pt x="953" y="494"/>
                  </a:lnTo>
                  <a:lnTo>
                    <a:pt x="953" y="494"/>
                  </a:lnTo>
                  <a:lnTo>
                    <a:pt x="953" y="494"/>
                  </a:lnTo>
                  <a:lnTo>
                    <a:pt x="951" y="494"/>
                  </a:lnTo>
                  <a:lnTo>
                    <a:pt x="951" y="491"/>
                  </a:lnTo>
                  <a:lnTo>
                    <a:pt x="951" y="491"/>
                  </a:lnTo>
                  <a:lnTo>
                    <a:pt x="951" y="491"/>
                  </a:lnTo>
                  <a:lnTo>
                    <a:pt x="948" y="494"/>
                  </a:lnTo>
                  <a:lnTo>
                    <a:pt x="948" y="496"/>
                  </a:lnTo>
                  <a:lnTo>
                    <a:pt x="946" y="499"/>
                  </a:lnTo>
                  <a:lnTo>
                    <a:pt x="943" y="499"/>
                  </a:lnTo>
                  <a:lnTo>
                    <a:pt x="940" y="501"/>
                  </a:lnTo>
                  <a:lnTo>
                    <a:pt x="940" y="501"/>
                  </a:lnTo>
                  <a:lnTo>
                    <a:pt x="943" y="499"/>
                  </a:lnTo>
                  <a:lnTo>
                    <a:pt x="943" y="499"/>
                  </a:lnTo>
                  <a:lnTo>
                    <a:pt x="946" y="494"/>
                  </a:lnTo>
                  <a:lnTo>
                    <a:pt x="948" y="494"/>
                  </a:lnTo>
                  <a:lnTo>
                    <a:pt x="948" y="494"/>
                  </a:lnTo>
                  <a:lnTo>
                    <a:pt x="948" y="494"/>
                  </a:lnTo>
                  <a:lnTo>
                    <a:pt x="946" y="494"/>
                  </a:lnTo>
                  <a:lnTo>
                    <a:pt x="946" y="494"/>
                  </a:lnTo>
                  <a:lnTo>
                    <a:pt x="946" y="496"/>
                  </a:lnTo>
                  <a:lnTo>
                    <a:pt x="943" y="499"/>
                  </a:lnTo>
                  <a:lnTo>
                    <a:pt x="940" y="499"/>
                  </a:lnTo>
                  <a:lnTo>
                    <a:pt x="935" y="501"/>
                  </a:lnTo>
                  <a:lnTo>
                    <a:pt x="930" y="506"/>
                  </a:lnTo>
                  <a:lnTo>
                    <a:pt x="930" y="506"/>
                  </a:lnTo>
                  <a:lnTo>
                    <a:pt x="930" y="506"/>
                  </a:lnTo>
                  <a:lnTo>
                    <a:pt x="930" y="506"/>
                  </a:lnTo>
                  <a:lnTo>
                    <a:pt x="933" y="506"/>
                  </a:lnTo>
                  <a:lnTo>
                    <a:pt x="940" y="501"/>
                  </a:lnTo>
                  <a:lnTo>
                    <a:pt x="940" y="501"/>
                  </a:lnTo>
                  <a:lnTo>
                    <a:pt x="940" y="501"/>
                  </a:lnTo>
                  <a:lnTo>
                    <a:pt x="940" y="501"/>
                  </a:lnTo>
                  <a:lnTo>
                    <a:pt x="933" y="509"/>
                  </a:lnTo>
                  <a:lnTo>
                    <a:pt x="935" y="506"/>
                  </a:lnTo>
                  <a:lnTo>
                    <a:pt x="938" y="506"/>
                  </a:lnTo>
                  <a:lnTo>
                    <a:pt x="938" y="506"/>
                  </a:lnTo>
                  <a:lnTo>
                    <a:pt x="938" y="506"/>
                  </a:lnTo>
                  <a:lnTo>
                    <a:pt x="940" y="506"/>
                  </a:lnTo>
                  <a:lnTo>
                    <a:pt x="946" y="501"/>
                  </a:lnTo>
                  <a:lnTo>
                    <a:pt x="948" y="499"/>
                  </a:lnTo>
                  <a:lnTo>
                    <a:pt x="948" y="501"/>
                  </a:lnTo>
                  <a:lnTo>
                    <a:pt x="948" y="501"/>
                  </a:lnTo>
                  <a:lnTo>
                    <a:pt x="948" y="501"/>
                  </a:lnTo>
                  <a:close/>
                  <a:moveTo>
                    <a:pt x="976" y="428"/>
                  </a:moveTo>
                  <a:lnTo>
                    <a:pt x="974" y="428"/>
                  </a:lnTo>
                  <a:lnTo>
                    <a:pt x="974" y="428"/>
                  </a:lnTo>
                  <a:lnTo>
                    <a:pt x="976" y="428"/>
                  </a:lnTo>
                  <a:lnTo>
                    <a:pt x="976" y="428"/>
                  </a:lnTo>
                  <a:lnTo>
                    <a:pt x="979" y="428"/>
                  </a:lnTo>
                  <a:lnTo>
                    <a:pt x="979" y="425"/>
                  </a:lnTo>
                  <a:lnTo>
                    <a:pt x="979" y="425"/>
                  </a:lnTo>
                  <a:lnTo>
                    <a:pt x="976" y="428"/>
                  </a:lnTo>
                  <a:lnTo>
                    <a:pt x="976" y="428"/>
                  </a:lnTo>
                  <a:close/>
                  <a:moveTo>
                    <a:pt x="1068" y="349"/>
                  </a:moveTo>
                  <a:lnTo>
                    <a:pt x="1068" y="349"/>
                  </a:lnTo>
                  <a:lnTo>
                    <a:pt x="1065" y="349"/>
                  </a:lnTo>
                  <a:lnTo>
                    <a:pt x="1060" y="349"/>
                  </a:lnTo>
                  <a:lnTo>
                    <a:pt x="1058" y="349"/>
                  </a:lnTo>
                  <a:lnTo>
                    <a:pt x="1058" y="349"/>
                  </a:lnTo>
                  <a:lnTo>
                    <a:pt x="1055" y="349"/>
                  </a:lnTo>
                  <a:lnTo>
                    <a:pt x="1055" y="351"/>
                  </a:lnTo>
                  <a:lnTo>
                    <a:pt x="1058" y="354"/>
                  </a:lnTo>
                  <a:lnTo>
                    <a:pt x="1060" y="356"/>
                  </a:lnTo>
                  <a:lnTo>
                    <a:pt x="1060" y="356"/>
                  </a:lnTo>
                  <a:lnTo>
                    <a:pt x="1063" y="356"/>
                  </a:lnTo>
                  <a:lnTo>
                    <a:pt x="1065" y="356"/>
                  </a:lnTo>
                  <a:lnTo>
                    <a:pt x="1068" y="354"/>
                  </a:lnTo>
                  <a:lnTo>
                    <a:pt x="1068" y="354"/>
                  </a:lnTo>
                  <a:lnTo>
                    <a:pt x="1070" y="354"/>
                  </a:lnTo>
                  <a:lnTo>
                    <a:pt x="1070" y="354"/>
                  </a:lnTo>
                  <a:lnTo>
                    <a:pt x="1070" y="351"/>
                  </a:lnTo>
                  <a:lnTo>
                    <a:pt x="1068" y="349"/>
                  </a:lnTo>
                  <a:lnTo>
                    <a:pt x="1068" y="349"/>
                  </a:lnTo>
                  <a:close/>
                  <a:moveTo>
                    <a:pt x="74" y="527"/>
                  </a:moveTo>
                  <a:lnTo>
                    <a:pt x="77" y="524"/>
                  </a:lnTo>
                  <a:lnTo>
                    <a:pt x="71" y="527"/>
                  </a:lnTo>
                  <a:lnTo>
                    <a:pt x="66" y="529"/>
                  </a:lnTo>
                  <a:lnTo>
                    <a:pt x="64" y="532"/>
                  </a:lnTo>
                  <a:lnTo>
                    <a:pt x="64" y="532"/>
                  </a:lnTo>
                  <a:lnTo>
                    <a:pt x="69" y="529"/>
                  </a:lnTo>
                  <a:lnTo>
                    <a:pt x="74" y="527"/>
                  </a:lnTo>
                  <a:close/>
                  <a:moveTo>
                    <a:pt x="665" y="280"/>
                  </a:moveTo>
                  <a:lnTo>
                    <a:pt x="668" y="280"/>
                  </a:lnTo>
                  <a:lnTo>
                    <a:pt x="670" y="277"/>
                  </a:lnTo>
                  <a:lnTo>
                    <a:pt x="668" y="277"/>
                  </a:lnTo>
                  <a:lnTo>
                    <a:pt x="665" y="277"/>
                  </a:lnTo>
                  <a:lnTo>
                    <a:pt x="665" y="280"/>
                  </a:lnTo>
                  <a:lnTo>
                    <a:pt x="665" y="280"/>
                  </a:lnTo>
                  <a:lnTo>
                    <a:pt x="665" y="283"/>
                  </a:lnTo>
                  <a:lnTo>
                    <a:pt x="665" y="280"/>
                  </a:lnTo>
                  <a:close/>
                  <a:moveTo>
                    <a:pt x="800" y="751"/>
                  </a:moveTo>
                  <a:lnTo>
                    <a:pt x="803" y="751"/>
                  </a:lnTo>
                  <a:lnTo>
                    <a:pt x="803" y="751"/>
                  </a:lnTo>
                  <a:lnTo>
                    <a:pt x="800" y="751"/>
                  </a:lnTo>
                  <a:lnTo>
                    <a:pt x="800" y="751"/>
                  </a:lnTo>
                  <a:lnTo>
                    <a:pt x="800" y="751"/>
                  </a:lnTo>
                  <a:lnTo>
                    <a:pt x="800" y="751"/>
                  </a:lnTo>
                  <a:lnTo>
                    <a:pt x="800" y="751"/>
                  </a:lnTo>
                  <a:lnTo>
                    <a:pt x="800" y="751"/>
                  </a:lnTo>
                  <a:close/>
                  <a:moveTo>
                    <a:pt x="966" y="234"/>
                  </a:moveTo>
                  <a:lnTo>
                    <a:pt x="966" y="237"/>
                  </a:lnTo>
                  <a:lnTo>
                    <a:pt x="966" y="237"/>
                  </a:lnTo>
                  <a:lnTo>
                    <a:pt x="966" y="234"/>
                  </a:lnTo>
                  <a:lnTo>
                    <a:pt x="966" y="234"/>
                  </a:lnTo>
                  <a:lnTo>
                    <a:pt x="968" y="234"/>
                  </a:lnTo>
                  <a:lnTo>
                    <a:pt x="966" y="232"/>
                  </a:lnTo>
                  <a:lnTo>
                    <a:pt x="966" y="232"/>
                  </a:lnTo>
                  <a:lnTo>
                    <a:pt x="966" y="232"/>
                  </a:lnTo>
                  <a:lnTo>
                    <a:pt x="963" y="234"/>
                  </a:lnTo>
                  <a:lnTo>
                    <a:pt x="963" y="234"/>
                  </a:lnTo>
                  <a:lnTo>
                    <a:pt x="963" y="234"/>
                  </a:lnTo>
                  <a:lnTo>
                    <a:pt x="963" y="234"/>
                  </a:lnTo>
                  <a:lnTo>
                    <a:pt x="966" y="234"/>
                  </a:lnTo>
                  <a:close/>
                  <a:moveTo>
                    <a:pt x="1078" y="339"/>
                  </a:moveTo>
                  <a:lnTo>
                    <a:pt x="1073" y="339"/>
                  </a:lnTo>
                  <a:lnTo>
                    <a:pt x="1073" y="339"/>
                  </a:lnTo>
                  <a:lnTo>
                    <a:pt x="1073" y="339"/>
                  </a:lnTo>
                  <a:lnTo>
                    <a:pt x="1073" y="339"/>
                  </a:lnTo>
                  <a:lnTo>
                    <a:pt x="1076" y="339"/>
                  </a:lnTo>
                  <a:lnTo>
                    <a:pt x="1078" y="339"/>
                  </a:lnTo>
                  <a:lnTo>
                    <a:pt x="1081" y="339"/>
                  </a:lnTo>
                  <a:lnTo>
                    <a:pt x="1081" y="339"/>
                  </a:lnTo>
                  <a:lnTo>
                    <a:pt x="1078" y="339"/>
                  </a:lnTo>
                  <a:lnTo>
                    <a:pt x="1078" y="339"/>
                  </a:lnTo>
                  <a:close/>
                  <a:moveTo>
                    <a:pt x="1030" y="221"/>
                  </a:moveTo>
                  <a:lnTo>
                    <a:pt x="1030" y="221"/>
                  </a:lnTo>
                  <a:lnTo>
                    <a:pt x="1032" y="221"/>
                  </a:lnTo>
                  <a:lnTo>
                    <a:pt x="1035" y="221"/>
                  </a:lnTo>
                  <a:lnTo>
                    <a:pt x="1037" y="221"/>
                  </a:lnTo>
                  <a:lnTo>
                    <a:pt x="1037" y="221"/>
                  </a:lnTo>
                  <a:lnTo>
                    <a:pt x="1037" y="219"/>
                  </a:lnTo>
                  <a:lnTo>
                    <a:pt x="1037" y="219"/>
                  </a:lnTo>
                  <a:lnTo>
                    <a:pt x="1037" y="219"/>
                  </a:lnTo>
                  <a:lnTo>
                    <a:pt x="1037" y="219"/>
                  </a:lnTo>
                  <a:lnTo>
                    <a:pt x="1035" y="219"/>
                  </a:lnTo>
                  <a:lnTo>
                    <a:pt x="1032" y="219"/>
                  </a:lnTo>
                  <a:lnTo>
                    <a:pt x="1032" y="219"/>
                  </a:lnTo>
                  <a:lnTo>
                    <a:pt x="1030" y="219"/>
                  </a:lnTo>
                  <a:lnTo>
                    <a:pt x="1027" y="219"/>
                  </a:lnTo>
                  <a:lnTo>
                    <a:pt x="1027" y="219"/>
                  </a:lnTo>
                  <a:lnTo>
                    <a:pt x="1027" y="219"/>
                  </a:lnTo>
                  <a:lnTo>
                    <a:pt x="1027" y="221"/>
                  </a:lnTo>
                  <a:lnTo>
                    <a:pt x="1030" y="221"/>
                  </a:lnTo>
                  <a:close/>
                  <a:moveTo>
                    <a:pt x="1078" y="349"/>
                  </a:moveTo>
                  <a:lnTo>
                    <a:pt x="1081" y="351"/>
                  </a:lnTo>
                  <a:lnTo>
                    <a:pt x="1083" y="351"/>
                  </a:lnTo>
                  <a:lnTo>
                    <a:pt x="1083" y="351"/>
                  </a:lnTo>
                  <a:lnTo>
                    <a:pt x="1086" y="349"/>
                  </a:lnTo>
                  <a:lnTo>
                    <a:pt x="1086" y="346"/>
                  </a:lnTo>
                  <a:lnTo>
                    <a:pt x="1081" y="344"/>
                  </a:lnTo>
                  <a:lnTo>
                    <a:pt x="1076" y="346"/>
                  </a:lnTo>
                  <a:lnTo>
                    <a:pt x="1078" y="349"/>
                  </a:lnTo>
                  <a:close/>
                  <a:moveTo>
                    <a:pt x="777" y="735"/>
                  </a:moveTo>
                  <a:lnTo>
                    <a:pt x="777" y="735"/>
                  </a:lnTo>
                  <a:lnTo>
                    <a:pt x="777" y="735"/>
                  </a:lnTo>
                  <a:lnTo>
                    <a:pt x="777" y="735"/>
                  </a:lnTo>
                  <a:lnTo>
                    <a:pt x="780" y="735"/>
                  </a:lnTo>
                  <a:lnTo>
                    <a:pt x="780" y="735"/>
                  </a:lnTo>
                  <a:lnTo>
                    <a:pt x="780" y="733"/>
                  </a:lnTo>
                  <a:lnTo>
                    <a:pt x="780" y="733"/>
                  </a:lnTo>
                  <a:lnTo>
                    <a:pt x="777" y="735"/>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350" name="Freeform 1969">
              <a:extLst>
                <a:ext uri="{FF2B5EF4-FFF2-40B4-BE49-F238E27FC236}">
                  <a16:creationId xmlns:a16="http://schemas.microsoft.com/office/drawing/2014/main" id="{1B6712EB-88AC-6348-A568-3DD01D4761AD}"/>
                </a:ext>
              </a:extLst>
            </p:cNvPr>
            <p:cNvSpPr>
              <a:spLocks/>
            </p:cNvSpPr>
            <p:nvPr/>
          </p:nvSpPr>
          <p:spPr bwMode="auto">
            <a:xfrm>
              <a:off x="5888311" y="3313680"/>
              <a:ext cx="253540" cy="425291"/>
            </a:xfrm>
            <a:custGeom>
              <a:avLst/>
              <a:gdLst>
                <a:gd name="T0" fmla="*/ 153 w 155"/>
                <a:gd name="T1" fmla="*/ 237 h 260"/>
                <a:gd name="T2" fmla="*/ 150 w 155"/>
                <a:gd name="T3" fmla="*/ 229 h 260"/>
                <a:gd name="T4" fmla="*/ 140 w 155"/>
                <a:gd name="T5" fmla="*/ 219 h 260"/>
                <a:gd name="T6" fmla="*/ 132 w 155"/>
                <a:gd name="T7" fmla="*/ 206 h 260"/>
                <a:gd name="T8" fmla="*/ 130 w 155"/>
                <a:gd name="T9" fmla="*/ 199 h 260"/>
                <a:gd name="T10" fmla="*/ 122 w 155"/>
                <a:gd name="T11" fmla="*/ 181 h 260"/>
                <a:gd name="T12" fmla="*/ 122 w 155"/>
                <a:gd name="T13" fmla="*/ 173 h 260"/>
                <a:gd name="T14" fmla="*/ 119 w 155"/>
                <a:gd name="T15" fmla="*/ 163 h 260"/>
                <a:gd name="T16" fmla="*/ 122 w 155"/>
                <a:gd name="T17" fmla="*/ 158 h 260"/>
                <a:gd name="T18" fmla="*/ 130 w 155"/>
                <a:gd name="T19" fmla="*/ 145 h 260"/>
                <a:gd name="T20" fmla="*/ 135 w 155"/>
                <a:gd name="T21" fmla="*/ 133 h 260"/>
                <a:gd name="T22" fmla="*/ 142 w 155"/>
                <a:gd name="T23" fmla="*/ 120 h 260"/>
                <a:gd name="T24" fmla="*/ 130 w 155"/>
                <a:gd name="T25" fmla="*/ 100 h 260"/>
                <a:gd name="T26" fmla="*/ 117 w 155"/>
                <a:gd name="T27" fmla="*/ 89 h 260"/>
                <a:gd name="T28" fmla="*/ 112 w 155"/>
                <a:gd name="T29" fmla="*/ 77 h 260"/>
                <a:gd name="T30" fmla="*/ 132 w 155"/>
                <a:gd name="T31" fmla="*/ 72 h 260"/>
                <a:gd name="T32" fmla="*/ 140 w 155"/>
                <a:gd name="T33" fmla="*/ 69 h 260"/>
                <a:gd name="T34" fmla="*/ 130 w 155"/>
                <a:gd name="T35" fmla="*/ 46 h 260"/>
                <a:gd name="T36" fmla="*/ 132 w 155"/>
                <a:gd name="T37" fmla="*/ 28 h 260"/>
                <a:gd name="T38" fmla="*/ 125 w 155"/>
                <a:gd name="T39" fmla="*/ 10 h 260"/>
                <a:gd name="T40" fmla="*/ 112 w 155"/>
                <a:gd name="T41" fmla="*/ 0 h 260"/>
                <a:gd name="T42" fmla="*/ 114 w 155"/>
                <a:gd name="T43" fmla="*/ 18 h 260"/>
                <a:gd name="T44" fmla="*/ 122 w 155"/>
                <a:gd name="T45" fmla="*/ 23 h 260"/>
                <a:gd name="T46" fmla="*/ 122 w 155"/>
                <a:gd name="T47" fmla="*/ 36 h 260"/>
                <a:gd name="T48" fmla="*/ 109 w 155"/>
                <a:gd name="T49" fmla="*/ 44 h 260"/>
                <a:gd name="T50" fmla="*/ 97 w 155"/>
                <a:gd name="T51" fmla="*/ 69 h 260"/>
                <a:gd name="T52" fmla="*/ 94 w 155"/>
                <a:gd name="T53" fmla="*/ 82 h 260"/>
                <a:gd name="T54" fmla="*/ 86 w 155"/>
                <a:gd name="T55" fmla="*/ 97 h 260"/>
                <a:gd name="T56" fmla="*/ 76 w 155"/>
                <a:gd name="T57" fmla="*/ 107 h 260"/>
                <a:gd name="T58" fmla="*/ 71 w 155"/>
                <a:gd name="T59" fmla="*/ 125 h 260"/>
                <a:gd name="T60" fmla="*/ 66 w 155"/>
                <a:gd name="T61" fmla="*/ 135 h 260"/>
                <a:gd name="T62" fmla="*/ 61 w 155"/>
                <a:gd name="T63" fmla="*/ 148 h 260"/>
                <a:gd name="T64" fmla="*/ 53 w 155"/>
                <a:gd name="T65" fmla="*/ 150 h 260"/>
                <a:gd name="T66" fmla="*/ 46 w 155"/>
                <a:gd name="T67" fmla="*/ 140 h 260"/>
                <a:gd name="T68" fmla="*/ 38 w 155"/>
                <a:gd name="T69" fmla="*/ 143 h 260"/>
                <a:gd name="T70" fmla="*/ 30 w 155"/>
                <a:gd name="T71" fmla="*/ 140 h 260"/>
                <a:gd name="T72" fmla="*/ 20 w 155"/>
                <a:gd name="T73" fmla="*/ 150 h 260"/>
                <a:gd name="T74" fmla="*/ 10 w 155"/>
                <a:gd name="T75" fmla="*/ 163 h 260"/>
                <a:gd name="T76" fmla="*/ 2 w 155"/>
                <a:gd name="T77" fmla="*/ 186 h 260"/>
                <a:gd name="T78" fmla="*/ 2 w 155"/>
                <a:gd name="T79" fmla="*/ 196 h 260"/>
                <a:gd name="T80" fmla="*/ 5 w 155"/>
                <a:gd name="T81" fmla="*/ 194 h 260"/>
                <a:gd name="T82" fmla="*/ 7 w 155"/>
                <a:gd name="T83" fmla="*/ 201 h 260"/>
                <a:gd name="T84" fmla="*/ 15 w 155"/>
                <a:gd name="T85" fmla="*/ 209 h 260"/>
                <a:gd name="T86" fmla="*/ 20 w 155"/>
                <a:gd name="T87" fmla="*/ 206 h 260"/>
                <a:gd name="T88" fmla="*/ 23 w 155"/>
                <a:gd name="T89" fmla="*/ 209 h 260"/>
                <a:gd name="T90" fmla="*/ 23 w 155"/>
                <a:gd name="T91" fmla="*/ 214 h 260"/>
                <a:gd name="T92" fmla="*/ 28 w 155"/>
                <a:gd name="T93" fmla="*/ 229 h 260"/>
                <a:gd name="T94" fmla="*/ 25 w 155"/>
                <a:gd name="T95" fmla="*/ 247 h 260"/>
                <a:gd name="T96" fmla="*/ 46 w 155"/>
                <a:gd name="T97" fmla="*/ 250 h 260"/>
                <a:gd name="T98" fmla="*/ 61 w 155"/>
                <a:gd name="T99" fmla="*/ 245 h 260"/>
                <a:gd name="T100" fmla="*/ 81 w 155"/>
                <a:gd name="T101" fmla="*/ 247 h 260"/>
                <a:gd name="T102" fmla="*/ 97 w 155"/>
                <a:gd name="T103" fmla="*/ 250 h 260"/>
                <a:gd name="T104" fmla="*/ 122 w 155"/>
                <a:gd name="T105" fmla="*/ 247 h 260"/>
                <a:gd name="T106" fmla="*/ 127 w 155"/>
                <a:gd name="T107" fmla="*/ 252 h 260"/>
                <a:gd name="T108" fmla="*/ 135 w 155"/>
                <a:gd name="T109" fmla="*/ 252 h 260"/>
                <a:gd name="T110" fmla="*/ 147 w 155"/>
                <a:gd name="T111" fmla="*/ 257 h 260"/>
                <a:gd name="T112" fmla="*/ 153 w 155"/>
                <a:gd name="T113" fmla="*/ 257 h 260"/>
                <a:gd name="T114" fmla="*/ 155 w 155"/>
                <a:gd name="T115" fmla="*/ 247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5" h="260">
                  <a:moveTo>
                    <a:pt x="153" y="245"/>
                  </a:moveTo>
                  <a:lnTo>
                    <a:pt x="153" y="242"/>
                  </a:lnTo>
                  <a:lnTo>
                    <a:pt x="153" y="239"/>
                  </a:lnTo>
                  <a:lnTo>
                    <a:pt x="153" y="239"/>
                  </a:lnTo>
                  <a:lnTo>
                    <a:pt x="153" y="237"/>
                  </a:lnTo>
                  <a:lnTo>
                    <a:pt x="153" y="237"/>
                  </a:lnTo>
                  <a:lnTo>
                    <a:pt x="153" y="234"/>
                  </a:lnTo>
                  <a:lnTo>
                    <a:pt x="153" y="234"/>
                  </a:lnTo>
                  <a:lnTo>
                    <a:pt x="153" y="232"/>
                  </a:lnTo>
                  <a:lnTo>
                    <a:pt x="150" y="229"/>
                  </a:lnTo>
                  <a:lnTo>
                    <a:pt x="150" y="229"/>
                  </a:lnTo>
                  <a:lnTo>
                    <a:pt x="150" y="229"/>
                  </a:lnTo>
                  <a:lnTo>
                    <a:pt x="147" y="227"/>
                  </a:lnTo>
                  <a:lnTo>
                    <a:pt x="147" y="227"/>
                  </a:lnTo>
                  <a:lnTo>
                    <a:pt x="145" y="227"/>
                  </a:lnTo>
                  <a:lnTo>
                    <a:pt x="145" y="224"/>
                  </a:lnTo>
                  <a:lnTo>
                    <a:pt x="142" y="222"/>
                  </a:lnTo>
                  <a:lnTo>
                    <a:pt x="140" y="219"/>
                  </a:lnTo>
                  <a:lnTo>
                    <a:pt x="137" y="217"/>
                  </a:lnTo>
                  <a:lnTo>
                    <a:pt x="135" y="214"/>
                  </a:lnTo>
                  <a:lnTo>
                    <a:pt x="132" y="211"/>
                  </a:lnTo>
                  <a:lnTo>
                    <a:pt x="132" y="209"/>
                  </a:lnTo>
                  <a:lnTo>
                    <a:pt x="132" y="206"/>
                  </a:lnTo>
                  <a:lnTo>
                    <a:pt x="132" y="206"/>
                  </a:lnTo>
                  <a:lnTo>
                    <a:pt x="132" y="206"/>
                  </a:lnTo>
                  <a:lnTo>
                    <a:pt x="132" y="206"/>
                  </a:lnTo>
                  <a:lnTo>
                    <a:pt x="132" y="206"/>
                  </a:lnTo>
                  <a:lnTo>
                    <a:pt x="132" y="204"/>
                  </a:lnTo>
                  <a:lnTo>
                    <a:pt x="132" y="201"/>
                  </a:lnTo>
                  <a:lnTo>
                    <a:pt x="130" y="199"/>
                  </a:lnTo>
                  <a:lnTo>
                    <a:pt x="127" y="196"/>
                  </a:lnTo>
                  <a:lnTo>
                    <a:pt x="125" y="194"/>
                  </a:lnTo>
                  <a:lnTo>
                    <a:pt x="125" y="194"/>
                  </a:lnTo>
                  <a:lnTo>
                    <a:pt x="125" y="191"/>
                  </a:lnTo>
                  <a:lnTo>
                    <a:pt x="125" y="183"/>
                  </a:lnTo>
                  <a:lnTo>
                    <a:pt x="122" y="181"/>
                  </a:lnTo>
                  <a:lnTo>
                    <a:pt x="122" y="178"/>
                  </a:lnTo>
                  <a:lnTo>
                    <a:pt x="122" y="178"/>
                  </a:lnTo>
                  <a:lnTo>
                    <a:pt x="122" y="178"/>
                  </a:lnTo>
                  <a:lnTo>
                    <a:pt x="122" y="176"/>
                  </a:lnTo>
                  <a:lnTo>
                    <a:pt x="122" y="176"/>
                  </a:lnTo>
                  <a:lnTo>
                    <a:pt x="122" y="173"/>
                  </a:lnTo>
                  <a:lnTo>
                    <a:pt x="122" y="173"/>
                  </a:lnTo>
                  <a:lnTo>
                    <a:pt x="122" y="166"/>
                  </a:lnTo>
                  <a:lnTo>
                    <a:pt x="122" y="163"/>
                  </a:lnTo>
                  <a:lnTo>
                    <a:pt x="122" y="163"/>
                  </a:lnTo>
                  <a:lnTo>
                    <a:pt x="122" y="163"/>
                  </a:lnTo>
                  <a:lnTo>
                    <a:pt x="119" y="163"/>
                  </a:lnTo>
                  <a:lnTo>
                    <a:pt x="119" y="163"/>
                  </a:lnTo>
                  <a:lnTo>
                    <a:pt x="119" y="161"/>
                  </a:lnTo>
                  <a:lnTo>
                    <a:pt x="119" y="161"/>
                  </a:lnTo>
                  <a:lnTo>
                    <a:pt x="119" y="158"/>
                  </a:lnTo>
                  <a:lnTo>
                    <a:pt x="119" y="158"/>
                  </a:lnTo>
                  <a:lnTo>
                    <a:pt x="122" y="158"/>
                  </a:lnTo>
                  <a:lnTo>
                    <a:pt x="125" y="156"/>
                  </a:lnTo>
                  <a:lnTo>
                    <a:pt x="125" y="156"/>
                  </a:lnTo>
                  <a:lnTo>
                    <a:pt x="125" y="156"/>
                  </a:lnTo>
                  <a:lnTo>
                    <a:pt x="125" y="153"/>
                  </a:lnTo>
                  <a:lnTo>
                    <a:pt x="127" y="148"/>
                  </a:lnTo>
                  <a:lnTo>
                    <a:pt x="130" y="145"/>
                  </a:lnTo>
                  <a:lnTo>
                    <a:pt x="130" y="143"/>
                  </a:lnTo>
                  <a:lnTo>
                    <a:pt x="132" y="140"/>
                  </a:lnTo>
                  <a:lnTo>
                    <a:pt x="132" y="138"/>
                  </a:lnTo>
                  <a:lnTo>
                    <a:pt x="135" y="135"/>
                  </a:lnTo>
                  <a:lnTo>
                    <a:pt x="135" y="135"/>
                  </a:lnTo>
                  <a:lnTo>
                    <a:pt x="135" y="133"/>
                  </a:lnTo>
                  <a:lnTo>
                    <a:pt x="137" y="130"/>
                  </a:lnTo>
                  <a:lnTo>
                    <a:pt x="140" y="128"/>
                  </a:lnTo>
                  <a:lnTo>
                    <a:pt x="140" y="125"/>
                  </a:lnTo>
                  <a:lnTo>
                    <a:pt x="142" y="125"/>
                  </a:lnTo>
                  <a:lnTo>
                    <a:pt x="142" y="122"/>
                  </a:lnTo>
                  <a:lnTo>
                    <a:pt x="142" y="120"/>
                  </a:lnTo>
                  <a:lnTo>
                    <a:pt x="140" y="120"/>
                  </a:lnTo>
                  <a:lnTo>
                    <a:pt x="140" y="120"/>
                  </a:lnTo>
                  <a:lnTo>
                    <a:pt x="137" y="115"/>
                  </a:lnTo>
                  <a:lnTo>
                    <a:pt x="135" y="110"/>
                  </a:lnTo>
                  <a:lnTo>
                    <a:pt x="132" y="105"/>
                  </a:lnTo>
                  <a:lnTo>
                    <a:pt x="130" y="100"/>
                  </a:lnTo>
                  <a:lnTo>
                    <a:pt x="127" y="97"/>
                  </a:lnTo>
                  <a:lnTo>
                    <a:pt x="127" y="97"/>
                  </a:lnTo>
                  <a:lnTo>
                    <a:pt x="125" y="97"/>
                  </a:lnTo>
                  <a:lnTo>
                    <a:pt x="125" y="97"/>
                  </a:lnTo>
                  <a:lnTo>
                    <a:pt x="122" y="92"/>
                  </a:lnTo>
                  <a:lnTo>
                    <a:pt x="117" y="89"/>
                  </a:lnTo>
                  <a:lnTo>
                    <a:pt x="114" y="87"/>
                  </a:lnTo>
                  <a:lnTo>
                    <a:pt x="114" y="84"/>
                  </a:lnTo>
                  <a:lnTo>
                    <a:pt x="112" y="82"/>
                  </a:lnTo>
                  <a:lnTo>
                    <a:pt x="109" y="79"/>
                  </a:lnTo>
                  <a:lnTo>
                    <a:pt x="109" y="79"/>
                  </a:lnTo>
                  <a:lnTo>
                    <a:pt x="112" y="77"/>
                  </a:lnTo>
                  <a:lnTo>
                    <a:pt x="112" y="74"/>
                  </a:lnTo>
                  <a:lnTo>
                    <a:pt x="114" y="72"/>
                  </a:lnTo>
                  <a:lnTo>
                    <a:pt x="117" y="72"/>
                  </a:lnTo>
                  <a:lnTo>
                    <a:pt x="122" y="72"/>
                  </a:lnTo>
                  <a:lnTo>
                    <a:pt x="127" y="72"/>
                  </a:lnTo>
                  <a:lnTo>
                    <a:pt x="132" y="72"/>
                  </a:lnTo>
                  <a:lnTo>
                    <a:pt x="132" y="72"/>
                  </a:lnTo>
                  <a:lnTo>
                    <a:pt x="135" y="72"/>
                  </a:lnTo>
                  <a:lnTo>
                    <a:pt x="137" y="72"/>
                  </a:lnTo>
                  <a:lnTo>
                    <a:pt x="140" y="72"/>
                  </a:lnTo>
                  <a:lnTo>
                    <a:pt x="142" y="72"/>
                  </a:lnTo>
                  <a:lnTo>
                    <a:pt x="140" y="69"/>
                  </a:lnTo>
                  <a:lnTo>
                    <a:pt x="137" y="66"/>
                  </a:lnTo>
                  <a:lnTo>
                    <a:pt x="135" y="64"/>
                  </a:lnTo>
                  <a:lnTo>
                    <a:pt x="135" y="59"/>
                  </a:lnTo>
                  <a:lnTo>
                    <a:pt x="132" y="56"/>
                  </a:lnTo>
                  <a:lnTo>
                    <a:pt x="132" y="51"/>
                  </a:lnTo>
                  <a:lnTo>
                    <a:pt x="130" y="46"/>
                  </a:lnTo>
                  <a:lnTo>
                    <a:pt x="130" y="41"/>
                  </a:lnTo>
                  <a:lnTo>
                    <a:pt x="132" y="41"/>
                  </a:lnTo>
                  <a:lnTo>
                    <a:pt x="132" y="36"/>
                  </a:lnTo>
                  <a:lnTo>
                    <a:pt x="132" y="33"/>
                  </a:lnTo>
                  <a:lnTo>
                    <a:pt x="132" y="31"/>
                  </a:lnTo>
                  <a:lnTo>
                    <a:pt x="132" y="28"/>
                  </a:lnTo>
                  <a:lnTo>
                    <a:pt x="132" y="28"/>
                  </a:lnTo>
                  <a:lnTo>
                    <a:pt x="130" y="23"/>
                  </a:lnTo>
                  <a:lnTo>
                    <a:pt x="130" y="23"/>
                  </a:lnTo>
                  <a:lnTo>
                    <a:pt x="127" y="18"/>
                  </a:lnTo>
                  <a:lnTo>
                    <a:pt x="127" y="13"/>
                  </a:lnTo>
                  <a:lnTo>
                    <a:pt x="125" y="10"/>
                  </a:lnTo>
                  <a:lnTo>
                    <a:pt x="122" y="8"/>
                  </a:lnTo>
                  <a:lnTo>
                    <a:pt x="119" y="8"/>
                  </a:lnTo>
                  <a:lnTo>
                    <a:pt x="119" y="3"/>
                  </a:lnTo>
                  <a:lnTo>
                    <a:pt x="119" y="3"/>
                  </a:lnTo>
                  <a:lnTo>
                    <a:pt x="114" y="0"/>
                  </a:lnTo>
                  <a:lnTo>
                    <a:pt x="112" y="0"/>
                  </a:lnTo>
                  <a:lnTo>
                    <a:pt x="112" y="10"/>
                  </a:lnTo>
                  <a:lnTo>
                    <a:pt x="114" y="13"/>
                  </a:lnTo>
                  <a:lnTo>
                    <a:pt x="114" y="16"/>
                  </a:lnTo>
                  <a:lnTo>
                    <a:pt x="114" y="16"/>
                  </a:lnTo>
                  <a:lnTo>
                    <a:pt x="114" y="16"/>
                  </a:lnTo>
                  <a:lnTo>
                    <a:pt x="114" y="18"/>
                  </a:lnTo>
                  <a:lnTo>
                    <a:pt x="117" y="18"/>
                  </a:lnTo>
                  <a:lnTo>
                    <a:pt x="119" y="18"/>
                  </a:lnTo>
                  <a:lnTo>
                    <a:pt x="122" y="21"/>
                  </a:lnTo>
                  <a:lnTo>
                    <a:pt x="122" y="21"/>
                  </a:lnTo>
                  <a:lnTo>
                    <a:pt x="122" y="23"/>
                  </a:lnTo>
                  <a:lnTo>
                    <a:pt x="122" y="23"/>
                  </a:lnTo>
                  <a:lnTo>
                    <a:pt x="122" y="26"/>
                  </a:lnTo>
                  <a:lnTo>
                    <a:pt x="122" y="28"/>
                  </a:lnTo>
                  <a:lnTo>
                    <a:pt x="122" y="31"/>
                  </a:lnTo>
                  <a:lnTo>
                    <a:pt x="122" y="36"/>
                  </a:lnTo>
                  <a:lnTo>
                    <a:pt x="122" y="36"/>
                  </a:lnTo>
                  <a:lnTo>
                    <a:pt x="122" y="36"/>
                  </a:lnTo>
                  <a:lnTo>
                    <a:pt x="119" y="38"/>
                  </a:lnTo>
                  <a:lnTo>
                    <a:pt x="117" y="38"/>
                  </a:lnTo>
                  <a:lnTo>
                    <a:pt x="114" y="41"/>
                  </a:lnTo>
                  <a:lnTo>
                    <a:pt x="112" y="44"/>
                  </a:lnTo>
                  <a:lnTo>
                    <a:pt x="112" y="44"/>
                  </a:lnTo>
                  <a:lnTo>
                    <a:pt x="109" y="44"/>
                  </a:lnTo>
                  <a:lnTo>
                    <a:pt x="107" y="46"/>
                  </a:lnTo>
                  <a:lnTo>
                    <a:pt x="104" y="51"/>
                  </a:lnTo>
                  <a:lnTo>
                    <a:pt x="102" y="56"/>
                  </a:lnTo>
                  <a:lnTo>
                    <a:pt x="99" y="61"/>
                  </a:lnTo>
                  <a:lnTo>
                    <a:pt x="99" y="66"/>
                  </a:lnTo>
                  <a:lnTo>
                    <a:pt x="97" y="69"/>
                  </a:lnTo>
                  <a:lnTo>
                    <a:pt x="94" y="72"/>
                  </a:lnTo>
                  <a:lnTo>
                    <a:pt x="94" y="72"/>
                  </a:lnTo>
                  <a:lnTo>
                    <a:pt x="94" y="74"/>
                  </a:lnTo>
                  <a:lnTo>
                    <a:pt x="94" y="79"/>
                  </a:lnTo>
                  <a:lnTo>
                    <a:pt x="94" y="82"/>
                  </a:lnTo>
                  <a:lnTo>
                    <a:pt x="94" y="82"/>
                  </a:lnTo>
                  <a:lnTo>
                    <a:pt x="91" y="82"/>
                  </a:lnTo>
                  <a:lnTo>
                    <a:pt x="89" y="84"/>
                  </a:lnTo>
                  <a:lnTo>
                    <a:pt x="86" y="87"/>
                  </a:lnTo>
                  <a:lnTo>
                    <a:pt x="86" y="89"/>
                  </a:lnTo>
                  <a:lnTo>
                    <a:pt x="86" y="94"/>
                  </a:lnTo>
                  <a:lnTo>
                    <a:pt x="86" y="97"/>
                  </a:lnTo>
                  <a:lnTo>
                    <a:pt x="86" y="97"/>
                  </a:lnTo>
                  <a:lnTo>
                    <a:pt x="84" y="100"/>
                  </a:lnTo>
                  <a:lnTo>
                    <a:pt x="84" y="102"/>
                  </a:lnTo>
                  <a:lnTo>
                    <a:pt x="81" y="102"/>
                  </a:lnTo>
                  <a:lnTo>
                    <a:pt x="79" y="102"/>
                  </a:lnTo>
                  <a:lnTo>
                    <a:pt x="76" y="107"/>
                  </a:lnTo>
                  <a:lnTo>
                    <a:pt x="74" y="110"/>
                  </a:lnTo>
                  <a:lnTo>
                    <a:pt x="74" y="112"/>
                  </a:lnTo>
                  <a:lnTo>
                    <a:pt x="74" y="117"/>
                  </a:lnTo>
                  <a:lnTo>
                    <a:pt x="71" y="122"/>
                  </a:lnTo>
                  <a:lnTo>
                    <a:pt x="71" y="125"/>
                  </a:lnTo>
                  <a:lnTo>
                    <a:pt x="71" y="125"/>
                  </a:lnTo>
                  <a:lnTo>
                    <a:pt x="66" y="130"/>
                  </a:lnTo>
                  <a:lnTo>
                    <a:pt x="66" y="130"/>
                  </a:lnTo>
                  <a:lnTo>
                    <a:pt x="66" y="133"/>
                  </a:lnTo>
                  <a:lnTo>
                    <a:pt x="66" y="135"/>
                  </a:lnTo>
                  <a:lnTo>
                    <a:pt x="66" y="135"/>
                  </a:lnTo>
                  <a:lnTo>
                    <a:pt x="66" y="135"/>
                  </a:lnTo>
                  <a:lnTo>
                    <a:pt x="66" y="138"/>
                  </a:lnTo>
                  <a:lnTo>
                    <a:pt x="63" y="140"/>
                  </a:lnTo>
                  <a:lnTo>
                    <a:pt x="61" y="143"/>
                  </a:lnTo>
                  <a:lnTo>
                    <a:pt x="61" y="143"/>
                  </a:lnTo>
                  <a:lnTo>
                    <a:pt x="61" y="145"/>
                  </a:lnTo>
                  <a:lnTo>
                    <a:pt x="61" y="148"/>
                  </a:lnTo>
                  <a:lnTo>
                    <a:pt x="58" y="148"/>
                  </a:lnTo>
                  <a:lnTo>
                    <a:pt x="58" y="150"/>
                  </a:lnTo>
                  <a:lnTo>
                    <a:pt x="56" y="150"/>
                  </a:lnTo>
                  <a:lnTo>
                    <a:pt x="56" y="150"/>
                  </a:lnTo>
                  <a:lnTo>
                    <a:pt x="53" y="153"/>
                  </a:lnTo>
                  <a:lnTo>
                    <a:pt x="53" y="150"/>
                  </a:lnTo>
                  <a:lnTo>
                    <a:pt x="51" y="150"/>
                  </a:lnTo>
                  <a:lnTo>
                    <a:pt x="51" y="145"/>
                  </a:lnTo>
                  <a:lnTo>
                    <a:pt x="51" y="145"/>
                  </a:lnTo>
                  <a:lnTo>
                    <a:pt x="48" y="145"/>
                  </a:lnTo>
                  <a:lnTo>
                    <a:pt x="48" y="143"/>
                  </a:lnTo>
                  <a:lnTo>
                    <a:pt x="46" y="140"/>
                  </a:lnTo>
                  <a:lnTo>
                    <a:pt x="43" y="138"/>
                  </a:lnTo>
                  <a:lnTo>
                    <a:pt x="40" y="138"/>
                  </a:lnTo>
                  <a:lnTo>
                    <a:pt x="40" y="138"/>
                  </a:lnTo>
                  <a:lnTo>
                    <a:pt x="40" y="140"/>
                  </a:lnTo>
                  <a:lnTo>
                    <a:pt x="40" y="143"/>
                  </a:lnTo>
                  <a:lnTo>
                    <a:pt x="38" y="143"/>
                  </a:lnTo>
                  <a:lnTo>
                    <a:pt x="35" y="143"/>
                  </a:lnTo>
                  <a:lnTo>
                    <a:pt x="33" y="140"/>
                  </a:lnTo>
                  <a:lnTo>
                    <a:pt x="33" y="140"/>
                  </a:lnTo>
                  <a:lnTo>
                    <a:pt x="33" y="140"/>
                  </a:lnTo>
                  <a:lnTo>
                    <a:pt x="33" y="140"/>
                  </a:lnTo>
                  <a:lnTo>
                    <a:pt x="30" y="140"/>
                  </a:lnTo>
                  <a:lnTo>
                    <a:pt x="28" y="143"/>
                  </a:lnTo>
                  <a:lnTo>
                    <a:pt x="25" y="143"/>
                  </a:lnTo>
                  <a:lnTo>
                    <a:pt x="25" y="145"/>
                  </a:lnTo>
                  <a:lnTo>
                    <a:pt x="25" y="148"/>
                  </a:lnTo>
                  <a:lnTo>
                    <a:pt x="23" y="150"/>
                  </a:lnTo>
                  <a:lnTo>
                    <a:pt x="20" y="150"/>
                  </a:lnTo>
                  <a:lnTo>
                    <a:pt x="20" y="153"/>
                  </a:lnTo>
                  <a:lnTo>
                    <a:pt x="18" y="153"/>
                  </a:lnTo>
                  <a:lnTo>
                    <a:pt x="18" y="156"/>
                  </a:lnTo>
                  <a:lnTo>
                    <a:pt x="15" y="158"/>
                  </a:lnTo>
                  <a:lnTo>
                    <a:pt x="10" y="161"/>
                  </a:lnTo>
                  <a:lnTo>
                    <a:pt x="10" y="163"/>
                  </a:lnTo>
                  <a:lnTo>
                    <a:pt x="7" y="166"/>
                  </a:lnTo>
                  <a:lnTo>
                    <a:pt x="7" y="171"/>
                  </a:lnTo>
                  <a:lnTo>
                    <a:pt x="7" y="173"/>
                  </a:lnTo>
                  <a:lnTo>
                    <a:pt x="5" y="181"/>
                  </a:lnTo>
                  <a:lnTo>
                    <a:pt x="5" y="183"/>
                  </a:lnTo>
                  <a:lnTo>
                    <a:pt x="2" y="186"/>
                  </a:lnTo>
                  <a:lnTo>
                    <a:pt x="2" y="189"/>
                  </a:lnTo>
                  <a:lnTo>
                    <a:pt x="0" y="191"/>
                  </a:lnTo>
                  <a:lnTo>
                    <a:pt x="2" y="191"/>
                  </a:lnTo>
                  <a:lnTo>
                    <a:pt x="0" y="194"/>
                  </a:lnTo>
                  <a:lnTo>
                    <a:pt x="0" y="194"/>
                  </a:lnTo>
                  <a:lnTo>
                    <a:pt x="2" y="196"/>
                  </a:lnTo>
                  <a:lnTo>
                    <a:pt x="2" y="196"/>
                  </a:lnTo>
                  <a:lnTo>
                    <a:pt x="5" y="194"/>
                  </a:lnTo>
                  <a:lnTo>
                    <a:pt x="2" y="191"/>
                  </a:lnTo>
                  <a:lnTo>
                    <a:pt x="5" y="194"/>
                  </a:lnTo>
                  <a:lnTo>
                    <a:pt x="5" y="194"/>
                  </a:lnTo>
                  <a:lnTo>
                    <a:pt x="5" y="194"/>
                  </a:lnTo>
                  <a:lnTo>
                    <a:pt x="7" y="194"/>
                  </a:lnTo>
                  <a:lnTo>
                    <a:pt x="7" y="194"/>
                  </a:lnTo>
                  <a:lnTo>
                    <a:pt x="7" y="194"/>
                  </a:lnTo>
                  <a:lnTo>
                    <a:pt x="7" y="196"/>
                  </a:lnTo>
                  <a:lnTo>
                    <a:pt x="7" y="199"/>
                  </a:lnTo>
                  <a:lnTo>
                    <a:pt x="7" y="201"/>
                  </a:lnTo>
                  <a:lnTo>
                    <a:pt x="10" y="201"/>
                  </a:lnTo>
                  <a:lnTo>
                    <a:pt x="10" y="204"/>
                  </a:lnTo>
                  <a:lnTo>
                    <a:pt x="12" y="206"/>
                  </a:lnTo>
                  <a:lnTo>
                    <a:pt x="15" y="206"/>
                  </a:lnTo>
                  <a:lnTo>
                    <a:pt x="15" y="209"/>
                  </a:lnTo>
                  <a:lnTo>
                    <a:pt x="15" y="209"/>
                  </a:lnTo>
                  <a:lnTo>
                    <a:pt x="18" y="209"/>
                  </a:lnTo>
                  <a:lnTo>
                    <a:pt x="18" y="209"/>
                  </a:lnTo>
                  <a:lnTo>
                    <a:pt x="20" y="209"/>
                  </a:lnTo>
                  <a:lnTo>
                    <a:pt x="20" y="206"/>
                  </a:lnTo>
                  <a:lnTo>
                    <a:pt x="20" y="206"/>
                  </a:lnTo>
                  <a:lnTo>
                    <a:pt x="20" y="206"/>
                  </a:lnTo>
                  <a:lnTo>
                    <a:pt x="20" y="206"/>
                  </a:lnTo>
                  <a:lnTo>
                    <a:pt x="23" y="206"/>
                  </a:lnTo>
                  <a:lnTo>
                    <a:pt x="23" y="206"/>
                  </a:lnTo>
                  <a:lnTo>
                    <a:pt x="23" y="206"/>
                  </a:lnTo>
                  <a:lnTo>
                    <a:pt x="23" y="206"/>
                  </a:lnTo>
                  <a:lnTo>
                    <a:pt x="23" y="209"/>
                  </a:lnTo>
                  <a:lnTo>
                    <a:pt x="25" y="209"/>
                  </a:lnTo>
                  <a:lnTo>
                    <a:pt x="25" y="211"/>
                  </a:lnTo>
                  <a:lnTo>
                    <a:pt x="23" y="209"/>
                  </a:lnTo>
                  <a:lnTo>
                    <a:pt x="23" y="211"/>
                  </a:lnTo>
                  <a:lnTo>
                    <a:pt x="20" y="211"/>
                  </a:lnTo>
                  <a:lnTo>
                    <a:pt x="23" y="214"/>
                  </a:lnTo>
                  <a:lnTo>
                    <a:pt x="23" y="217"/>
                  </a:lnTo>
                  <a:lnTo>
                    <a:pt x="25" y="217"/>
                  </a:lnTo>
                  <a:lnTo>
                    <a:pt x="23" y="217"/>
                  </a:lnTo>
                  <a:lnTo>
                    <a:pt x="28" y="222"/>
                  </a:lnTo>
                  <a:lnTo>
                    <a:pt x="28" y="224"/>
                  </a:lnTo>
                  <a:lnTo>
                    <a:pt x="28" y="229"/>
                  </a:lnTo>
                  <a:lnTo>
                    <a:pt x="28" y="232"/>
                  </a:lnTo>
                  <a:lnTo>
                    <a:pt x="28" y="237"/>
                  </a:lnTo>
                  <a:lnTo>
                    <a:pt x="25" y="239"/>
                  </a:lnTo>
                  <a:lnTo>
                    <a:pt x="25" y="245"/>
                  </a:lnTo>
                  <a:lnTo>
                    <a:pt x="25" y="247"/>
                  </a:lnTo>
                  <a:lnTo>
                    <a:pt x="25" y="247"/>
                  </a:lnTo>
                  <a:lnTo>
                    <a:pt x="28" y="247"/>
                  </a:lnTo>
                  <a:lnTo>
                    <a:pt x="28" y="247"/>
                  </a:lnTo>
                  <a:lnTo>
                    <a:pt x="30" y="250"/>
                  </a:lnTo>
                  <a:lnTo>
                    <a:pt x="35" y="250"/>
                  </a:lnTo>
                  <a:lnTo>
                    <a:pt x="40" y="250"/>
                  </a:lnTo>
                  <a:lnTo>
                    <a:pt x="46" y="250"/>
                  </a:lnTo>
                  <a:lnTo>
                    <a:pt x="51" y="250"/>
                  </a:lnTo>
                  <a:lnTo>
                    <a:pt x="56" y="250"/>
                  </a:lnTo>
                  <a:lnTo>
                    <a:pt x="56" y="247"/>
                  </a:lnTo>
                  <a:lnTo>
                    <a:pt x="58" y="247"/>
                  </a:lnTo>
                  <a:lnTo>
                    <a:pt x="56" y="245"/>
                  </a:lnTo>
                  <a:lnTo>
                    <a:pt x="61" y="245"/>
                  </a:lnTo>
                  <a:lnTo>
                    <a:pt x="68" y="247"/>
                  </a:lnTo>
                  <a:lnTo>
                    <a:pt x="71" y="247"/>
                  </a:lnTo>
                  <a:lnTo>
                    <a:pt x="74" y="247"/>
                  </a:lnTo>
                  <a:lnTo>
                    <a:pt x="76" y="247"/>
                  </a:lnTo>
                  <a:lnTo>
                    <a:pt x="81" y="247"/>
                  </a:lnTo>
                  <a:lnTo>
                    <a:pt x="81" y="247"/>
                  </a:lnTo>
                  <a:lnTo>
                    <a:pt x="84" y="247"/>
                  </a:lnTo>
                  <a:lnTo>
                    <a:pt x="86" y="247"/>
                  </a:lnTo>
                  <a:lnTo>
                    <a:pt x="94" y="247"/>
                  </a:lnTo>
                  <a:lnTo>
                    <a:pt x="94" y="247"/>
                  </a:lnTo>
                  <a:lnTo>
                    <a:pt x="97" y="247"/>
                  </a:lnTo>
                  <a:lnTo>
                    <a:pt x="97" y="250"/>
                  </a:lnTo>
                  <a:lnTo>
                    <a:pt x="102" y="250"/>
                  </a:lnTo>
                  <a:lnTo>
                    <a:pt x="107" y="250"/>
                  </a:lnTo>
                  <a:lnTo>
                    <a:pt x="112" y="250"/>
                  </a:lnTo>
                  <a:lnTo>
                    <a:pt x="117" y="250"/>
                  </a:lnTo>
                  <a:lnTo>
                    <a:pt x="119" y="250"/>
                  </a:lnTo>
                  <a:lnTo>
                    <a:pt x="122" y="247"/>
                  </a:lnTo>
                  <a:lnTo>
                    <a:pt x="125" y="250"/>
                  </a:lnTo>
                  <a:lnTo>
                    <a:pt x="125" y="250"/>
                  </a:lnTo>
                  <a:lnTo>
                    <a:pt x="125" y="250"/>
                  </a:lnTo>
                  <a:lnTo>
                    <a:pt x="125" y="252"/>
                  </a:lnTo>
                  <a:lnTo>
                    <a:pt x="127" y="250"/>
                  </a:lnTo>
                  <a:lnTo>
                    <a:pt x="127" y="252"/>
                  </a:lnTo>
                  <a:lnTo>
                    <a:pt x="127" y="252"/>
                  </a:lnTo>
                  <a:lnTo>
                    <a:pt x="130" y="252"/>
                  </a:lnTo>
                  <a:lnTo>
                    <a:pt x="132" y="252"/>
                  </a:lnTo>
                  <a:lnTo>
                    <a:pt x="132" y="252"/>
                  </a:lnTo>
                  <a:lnTo>
                    <a:pt x="135" y="252"/>
                  </a:lnTo>
                  <a:lnTo>
                    <a:pt x="135" y="252"/>
                  </a:lnTo>
                  <a:lnTo>
                    <a:pt x="135" y="252"/>
                  </a:lnTo>
                  <a:lnTo>
                    <a:pt x="137" y="255"/>
                  </a:lnTo>
                  <a:lnTo>
                    <a:pt x="140" y="255"/>
                  </a:lnTo>
                  <a:lnTo>
                    <a:pt x="142" y="255"/>
                  </a:lnTo>
                  <a:lnTo>
                    <a:pt x="145" y="255"/>
                  </a:lnTo>
                  <a:lnTo>
                    <a:pt x="147" y="257"/>
                  </a:lnTo>
                  <a:lnTo>
                    <a:pt x="150" y="257"/>
                  </a:lnTo>
                  <a:lnTo>
                    <a:pt x="153" y="260"/>
                  </a:lnTo>
                  <a:lnTo>
                    <a:pt x="153" y="260"/>
                  </a:lnTo>
                  <a:lnTo>
                    <a:pt x="153" y="260"/>
                  </a:lnTo>
                  <a:lnTo>
                    <a:pt x="153" y="260"/>
                  </a:lnTo>
                  <a:lnTo>
                    <a:pt x="153" y="257"/>
                  </a:lnTo>
                  <a:lnTo>
                    <a:pt x="153" y="255"/>
                  </a:lnTo>
                  <a:lnTo>
                    <a:pt x="153" y="252"/>
                  </a:lnTo>
                  <a:lnTo>
                    <a:pt x="153" y="250"/>
                  </a:lnTo>
                  <a:lnTo>
                    <a:pt x="153" y="250"/>
                  </a:lnTo>
                  <a:lnTo>
                    <a:pt x="155" y="247"/>
                  </a:lnTo>
                  <a:lnTo>
                    <a:pt x="155" y="247"/>
                  </a:lnTo>
                  <a:lnTo>
                    <a:pt x="155" y="247"/>
                  </a:lnTo>
                  <a:lnTo>
                    <a:pt x="153" y="245"/>
                  </a:lnTo>
                  <a:close/>
                </a:path>
              </a:pathLst>
            </a:custGeom>
            <a:solidFill>
              <a:srgbClr val="FFC000"/>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351" name="Freeform 1970">
              <a:extLst>
                <a:ext uri="{FF2B5EF4-FFF2-40B4-BE49-F238E27FC236}">
                  <a16:creationId xmlns:a16="http://schemas.microsoft.com/office/drawing/2014/main" id="{5A622CE2-D011-064B-A555-942B2B957DF5}"/>
                </a:ext>
              </a:extLst>
            </p:cNvPr>
            <p:cNvSpPr>
              <a:spLocks noEditPoints="1"/>
            </p:cNvSpPr>
            <p:nvPr/>
          </p:nvSpPr>
          <p:spPr bwMode="auto">
            <a:xfrm>
              <a:off x="8947138" y="3256429"/>
              <a:ext cx="175024" cy="157031"/>
            </a:xfrm>
            <a:custGeom>
              <a:avLst/>
              <a:gdLst>
                <a:gd name="T0" fmla="*/ 23 w 107"/>
                <a:gd name="T1" fmla="*/ 89 h 96"/>
                <a:gd name="T2" fmla="*/ 18 w 107"/>
                <a:gd name="T3" fmla="*/ 76 h 96"/>
                <a:gd name="T4" fmla="*/ 21 w 107"/>
                <a:gd name="T5" fmla="*/ 73 h 96"/>
                <a:gd name="T6" fmla="*/ 105 w 107"/>
                <a:gd name="T7" fmla="*/ 40 h 96"/>
                <a:gd name="T8" fmla="*/ 107 w 107"/>
                <a:gd name="T9" fmla="*/ 25 h 96"/>
                <a:gd name="T10" fmla="*/ 100 w 107"/>
                <a:gd name="T11" fmla="*/ 15 h 96"/>
                <a:gd name="T12" fmla="*/ 100 w 107"/>
                <a:gd name="T13" fmla="*/ 7 h 96"/>
                <a:gd name="T14" fmla="*/ 102 w 107"/>
                <a:gd name="T15" fmla="*/ 0 h 96"/>
                <a:gd name="T16" fmla="*/ 97 w 107"/>
                <a:gd name="T17" fmla="*/ 2 h 96"/>
                <a:gd name="T18" fmla="*/ 95 w 107"/>
                <a:gd name="T19" fmla="*/ 5 h 96"/>
                <a:gd name="T20" fmla="*/ 90 w 107"/>
                <a:gd name="T21" fmla="*/ 7 h 96"/>
                <a:gd name="T22" fmla="*/ 84 w 107"/>
                <a:gd name="T23" fmla="*/ 5 h 96"/>
                <a:gd name="T24" fmla="*/ 82 w 107"/>
                <a:gd name="T25" fmla="*/ 2 h 96"/>
                <a:gd name="T26" fmla="*/ 77 w 107"/>
                <a:gd name="T27" fmla="*/ 5 h 96"/>
                <a:gd name="T28" fmla="*/ 72 w 107"/>
                <a:gd name="T29" fmla="*/ 7 h 96"/>
                <a:gd name="T30" fmla="*/ 74 w 107"/>
                <a:gd name="T31" fmla="*/ 17 h 96"/>
                <a:gd name="T32" fmla="*/ 69 w 107"/>
                <a:gd name="T33" fmla="*/ 12 h 96"/>
                <a:gd name="T34" fmla="*/ 59 w 107"/>
                <a:gd name="T35" fmla="*/ 12 h 96"/>
                <a:gd name="T36" fmla="*/ 56 w 107"/>
                <a:gd name="T37" fmla="*/ 7 h 96"/>
                <a:gd name="T38" fmla="*/ 54 w 107"/>
                <a:gd name="T39" fmla="*/ 10 h 96"/>
                <a:gd name="T40" fmla="*/ 51 w 107"/>
                <a:gd name="T41" fmla="*/ 5 h 96"/>
                <a:gd name="T42" fmla="*/ 36 w 107"/>
                <a:gd name="T43" fmla="*/ 7 h 96"/>
                <a:gd name="T44" fmla="*/ 28 w 107"/>
                <a:gd name="T45" fmla="*/ 7 h 96"/>
                <a:gd name="T46" fmla="*/ 21 w 107"/>
                <a:gd name="T47" fmla="*/ 7 h 96"/>
                <a:gd name="T48" fmla="*/ 11 w 107"/>
                <a:gd name="T49" fmla="*/ 12 h 96"/>
                <a:gd name="T50" fmla="*/ 5 w 107"/>
                <a:gd name="T51" fmla="*/ 23 h 96"/>
                <a:gd name="T52" fmla="*/ 3 w 107"/>
                <a:gd name="T53" fmla="*/ 25 h 96"/>
                <a:gd name="T54" fmla="*/ 3 w 107"/>
                <a:gd name="T55" fmla="*/ 33 h 96"/>
                <a:gd name="T56" fmla="*/ 5 w 107"/>
                <a:gd name="T57" fmla="*/ 45 h 96"/>
                <a:gd name="T58" fmla="*/ 11 w 107"/>
                <a:gd name="T59" fmla="*/ 51 h 96"/>
                <a:gd name="T60" fmla="*/ 18 w 107"/>
                <a:gd name="T61" fmla="*/ 68 h 96"/>
                <a:gd name="T62" fmla="*/ 18 w 107"/>
                <a:gd name="T63" fmla="*/ 71 h 96"/>
                <a:gd name="T64" fmla="*/ 21 w 107"/>
                <a:gd name="T65" fmla="*/ 81 h 96"/>
                <a:gd name="T66" fmla="*/ 28 w 107"/>
                <a:gd name="T67" fmla="*/ 84 h 96"/>
                <a:gd name="T68" fmla="*/ 33 w 107"/>
                <a:gd name="T69" fmla="*/ 81 h 96"/>
                <a:gd name="T70" fmla="*/ 31 w 107"/>
                <a:gd name="T71" fmla="*/ 91 h 96"/>
                <a:gd name="T72" fmla="*/ 36 w 107"/>
                <a:gd name="T73" fmla="*/ 94 h 96"/>
                <a:gd name="T74" fmla="*/ 46 w 107"/>
                <a:gd name="T75" fmla="*/ 94 h 96"/>
                <a:gd name="T76" fmla="*/ 51 w 107"/>
                <a:gd name="T77" fmla="*/ 94 h 96"/>
                <a:gd name="T78" fmla="*/ 59 w 107"/>
                <a:gd name="T79" fmla="*/ 91 h 96"/>
                <a:gd name="T80" fmla="*/ 61 w 107"/>
                <a:gd name="T81" fmla="*/ 89 h 96"/>
                <a:gd name="T82" fmla="*/ 67 w 107"/>
                <a:gd name="T83" fmla="*/ 86 h 96"/>
                <a:gd name="T84" fmla="*/ 69 w 107"/>
                <a:gd name="T85" fmla="*/ 84 h 96"/>
                <a:gd name="T86" fmla="*/ 77 w 107"/>
                <a:gd name="T87" fmla="*/ 84 h 96"/>
                <a:gd name="T88" fmla="*/ 79 w 107"/>
                <a:gd name="T89" fmla="*/ 86 h 96"/>
                <a:gd name="T90" fmla="*/ 82 w 107"/>
                <a:gd name="T91" fmla="*/ 84 h 96"/>
                <a:gd name="T92" fmla="*/ 77 w 107"/>
                <a:gd name="T93" fmla="*/ 76 h 96"/>
                <a:gd name="T94" fmla="*/ 74 w 107"/>
                <a:gd name="T95" fmla="*/ 68 h 96"/>
                <a:gd name="T96" fmla="*/ 77 w 107"/>
                <a:gd name="T97" fmla="*/ 68 h 96"/>
                <a:gd name="T98" fmla="*/ 84 w 107"/>
                <a:gd name="T99" fmla="*/ 68 h 96"/>
                <a:gd name="T100" fmla="*/ 87 w 107"/>
                <a:gd name="T101" fmla="*/ 63 h 96"/>
                <a:gd name="T102" fmla="*/ 92 w 107"/>
                <a:gd name="T103" fmla="*/ 61 h 96"/>
                <a:gd name="T104" fmla="*/ 100 w 107"/>
                <a:gd name="T105" fmla="*/ 53 h 96"/>
                <a:gd name="T106" fmla="*/ 105 w 107"/>
                <a:gd name="T107" fmla="*/ 56 h 96"/>
                <a:gd name="T108" fmla="*/ 107 w 107"/>
                <a:gd name="T109" fmla="*/ 4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7" h="96">
                  <a:moveTo>
                    <a:pt x="23" y="89"/>
                  </a:moveTo>
                  <a:lnTo>
                    <a:pt x="26" y="91"/>
                  </a:lnTo>
                  <a:lnTo>
                    <a:pt x="26" y="89"/>
                  </a:lnTo>
                  <a:lnTo>
                    <a:pt x="23" y="89"/>
                  </a:lnTo>
                  <a:lnTo>
                    <a:pt x="23" y="89"/>
                  </a:lnTo>
                  <a:close/>
                  <a:moveTo>
                    <a:pt x="18" y="73"/>
                  </a:moveTo>
                  <a:lnTo>
                    <a:pt x="18" y="76"/>
                  </a:lnTo>
                  <a:lnTo>
                    <a:pt x="18" y="76"/>
                  </a:lnTo>
                  <a:lnTo>
                    <a:pt x="18" y="76"/>
                  </a:lnTo>
                  <a:lnTo>
                    <a:pt x="21" y="76"/>
                  </a:lnTo>
                  <a:lnTo>
                    <a:pt x="21" y="76"/>
                  </a:lnTo>
                  <a:lnTo>
                    <a:pt x="21" y="73"/>
                  </a:lnTo>
                  <a:lnTo>
                    <a:pt x="18" y="73"/>
                  </a:lnTo>
                  <a:close/>
                  <a:moveTo>
                    <a:pt x="107" y="45"/>
                  </a:moveTo>
                  <a:lnTo>
                    <a:pt x="107" y="40"/>
                  </a:lnTo>
                  <a:lnTo>
                    <a:pt x="105" y="40"/>
                  </a:lnTo>
                  <a:lnTo>
                    <a:pt x="105" y="38"/>
                  </a:lnTo>
                  <a:lnTo>
                    <a:pt x="105" y="33"/>
                  </a:lnTo>
                  <a:lnTo>
                    <a:pt x="107" y="28"/>
                  </a:lnTo>
                  <a:lnTo>
                    <a:pt x="107" y="25"/>
                  </a:lnTo>
                  <a:lnTo>
                    <a:pt x="105" y="23"/>
                  </a:lnTo>
                  <a:lnTo>
                    <a:pt x="102" y="20"/>
                  </a:lnTo>
                  <a:lnTo>
                    <a:pt x="102" y="15"/>
                  </a:lnTo>
                  <a:lnTo>
                    <a:pt x="100" y="15"/>
                  </a:lnTo>
                  <a:lnTo>
                    <a:pt x="100" y="12"/>
                  </a:lnTo>
                  <a:lnTo>
                    <a:pt x="100" y="12"/>
                  </a:lnTo>
                  <a:lnTo>
                    <a:pt x="100" y="7"/>
                  </a:lnTo>
                  <a:lnTo>
                    <a:pt x="100" y="7"/>
                  </a:lnTo>
                  <a:lnTo>
                    <a:pt x="102" y="5"/>
                  </a:lnTo>
                  <a:lnTo>
                    <a:pt x="102" y="2"/>
                  </a:lnTo>
                  <a:lnTo>
                    <a:pt x="102" y="0"/>
                  </a:lnTo>
                  <a:lnTo>
                    <a:pt x="102" y="0"/>
                  </a:lnTo>
                  <a:lnTo>
                    <a:pt x="100" y="0"/>
                  </a:lnTo>
                  <a:lnTo>
                    <a:pt x="100" y="2"/>
                  </a:lnTo>
                  <a:lnTo>
                    <a:pt x="100" y="2"/>
                  </a:lnTo>
                  <a:lnTo>
                    <a:pt x="97" y="2"/>
                  </a:lnTo>
                  <a:lnTo>
                    <a:pt x="97" y="2"/>
                  </a:lnTo>
                  <a:lnTo>
                    <a:pt x="97" y="5"/>
                  </a:lnTo>
                  <a:lnTo>
                    <a:pt x="95" y="5"/>
                  </a:lnTo>
                  <a:lnTo>
                    <a:pt x="95" y="5"/>
                  </a:lnTo>
                  <a:lnTo>
                    <a:pt x="92" y="5"/>
                  </a:lnTo>
                  <a:lnTo>
                    <a:pt x="92" y="7"/>
                  </a:lnTo>
                  <a:lnTo>
                    <a:pt x="92" y="7"/>
                  </a:lnTo>
                  <a:lnTo>
                    <a:pt x="90" y="7"/>
                  </a:lnTo>
                  <a:lnTo>
                    <a:pt x="90" y="7"/>
                  </a:lnTo>
                  <a:lnTo>
                    <a:pt x="87" y="7"/>
                  </a:lnTo>
                  <a:lnTo>
                    <a:pt x="87" y="7"/>
                  </a:lnTo>
                  <a:lnTo>
                    <a:pt x="84" y="5"/>
                  </a:lnTo>
                  <a:lnTo>
                    <a:pt x="84" y="5"/>
                  </a:lnTo>
                  <a:lnTo>
                    <a:pt x="84" y="5"/>
                  </a:lnTo>
                  <a:lnTo>
                    <a:pt x="82" y="2"/>
                  </a:lnTo>
                  <a:lnTo>
                    <a:pt x="82" y="2"/>
                  </a:lnTo>
                  <a:lnTo>
                    <a:pt x="82" y="2"/>
                  </a:lnTo>
                  <a:lnTo>
                    <a:pt x="79" y="5"/>
                  </a:lnTo>
                  <a:lnTo>
                    <a:pt x="77" y="5"/>
                  </a:lnTo>
                  <a:lnTo>
                    <a:pt x="77" y="5"/>
                  </a:lnTo>
                  <a:lnTo>
                    <a:pt x="77" y="7"/>
                  </a:lnTo>
                  <a:lnTo>
                    <a:pt x="77" y="7"/>
                  </a:lnTo>
                  <a:lnTo>
                    <a:pt x="72" y="7"/>
                  </a:lnTo>
                  <a:lnTo>
                    <a:pt x="72" y="7"/>
                  </a:lnTo>
                  <a:lnTo>
                    <a:pt x="72" y="10"/>
                  </a:lnTo>
                  <a:lnTo>
                    <a:pt x="74" y="12"/>
                  </a:lnTo>
                  <a:lnTo>
                    <a:pt x="77" y="15"/>
                  </a:lnTo>
                  <a:lnTo>
                    <a:pt x="74" y="17"/>
                  </a:lnTo>
                  <a:lnTo>
                    <a:pt x="72" y="17"/>
                  </a:lnTo>
                  <a:lnTo>
                    <a:pt x="69" y="15"/>
                  </a:lnTo>
                  <a:lnTo>
                    <a:pt x="69" y="15"/>
                  </a:lnTo>
                  <a:lnTo>
                    <a:pt x="69" y="12"/>
                  </a:lnTo>
                  <a:lnTo>
                    <a:pt x="64" y="12"/>
                  </a:lnTo>
                  <a:lnTo>
                    <a:pt x="61" y="12"/>
                  </a:lnTo>
                  <a:lnTo>
                    <a:pt x="59" y="12"/>
                  </a:lnTo>
                  <a:lnTo>
                    <a:pt x="59" y="12"/>
                  </a:lnTo>
                  <a:lnTo>
                    <a:pt x="59" y="10"/>
                  </a:lnTo>
                  <a:lnTo>
                    <a:pt x="56" y="10"/>
                  </a:lnTo>
                  <a:lnTo>
                    <a:pt x="56" y="7"/>
                  </a:lnTo>
                  <a:lnTo>
                    <a:pt x="56" y="7"/>
                  </a:lnTo>
                  <a:lnTo>
                    <a:pt x="56" y="7"/>
                  </a:lnTo>
                  <a:lnTo>
                    <a:pt x="56" y="10"/>
                  </a:lnTo>
                  <a:lnTo>
                    <a:pt x="54" y="10"/>
                  </a:lnTo>
                  <a:lnTo>
                    <a:pt x="54" y="10"/>
                  </a:lnTo>
                  <a:lnTo>
                    <a:pt x="54" y="10"/>
                  </a:lnTo>
                  <a:lnTo>
                    <a:pt x="51" y="7"/>
                  </a:lnTo>
                  <a:lnTo>
                    <a:pt x="51" y="7"/>
                  </a:lnTo>
                  <a:lnTo>
                    <a:pt x="51" y="5"/>
                  </a:lnTo>
                  <a:lnTo>
                    <a:pt x="49" y="5"/>
                  </a:lnTo>
                  <a:lnTo>
                    <a:pt x="44" y="7"/>
                  </a:lnTo>
                  <a:lnTo>
                    <a:pt x="41" y="7"/>
                  </a:lnTo>
                  <a:lnTo>
                    <a:pt x="36" y="7"/>
                  </a:lnTo>
                  <a:lnTo>
                    <a:pt x="33" y="7"/>
                  </a:lnTo>
                  <a:lnTo>
                    <a:pt x="33" y="7"/>
                  </a:lnTo>
                  <a:lnTo>
                    <a:pt x="31" y="7"/>
                  </a:lnTo>
                  <a:lnTo>
                    <a:pt x="28" y="7"/>
                  </a:lnTo>
                  <a:lnTo>
                    <a:pt x="28" y="7"/>
                  </a:lnTo>
                  <a:lnTo>
                    <a:pt x="23" y="5"/>
                  </a:lnTo>
                  <a:lnTo>
                    <a:pt x="23" y="5"/>
                  </a:lnTo>
                  <a:lnTo>
                    <a:pt x="21" y="7"/>
                  </a:lnTo>
                  <a:lnTo>
                    <a:pt x="18" y="7"/>
                  </a:lnTo>
                  <a:lnTo>
                    <a:pt x="16" y="7"/>
                  </a:lnTo>
                  <a:lnTo>
                    <a:pt x="13" y="10"/>
                  </a:lnTo>
                  <a:lnTo>
                    <a:pt x="11" y="12"/>
                  </a:lnTo>
                  <a:lnTo>
                    <a:pt x="11" y="15"/>
                  </a:lnTo>
                  <a:lnTo>
                    <a:pt x="11" y="15"/>
                  </a:lnTo>
                  <a:lnTo>
                    <a:pt x="8" y="17"/>
                  </a:lnTo>
                  <a:lnTo>
                    <a:pt x="5" y="23"/>
                  </a:lnTo>
                  <a:lnTo>
                    <a:pt x="5" y="23"/>
                  </a:lnTo>
                  <a:lnTo>
                    <a:pt x="5" y="23"/>
                  </a:lnTo>
                  <a:lnTo>
                    <a:pt x="5" y="25"/>
                  </a:lnTo>
                  <a:lnTo>
                    <a:pt x="3" y="25"/>
                  </a:lnTo>
                  <a:lnTo>
                    <a:pt x="0" y="25"/>
                  </a:lnTo>
                  <a:lnTo>
                    <a:pt x="0" y="25"/>
                  </a:lnTo>
                  <a:lnTo>
                    <a:pt x="3" y="30"/>
                  </a:lnTo>
                  <a:lnTo>
                    <a:pt x="3" y="33"/>
                  </a:lnTo>
                  <a:lnTo>
                    <a:pt x="3" y="35"/>
                  </a:lnTo>
                  <a:lnTo>
                    <a:pt x="5" y="38"/>
                  </a:lnTo>
                  <a:lnTo>
                    <a:pt x="5" y="40"/>
                  </a:lnTo>
                  <a:lnTo>
                    <a:pt x="5" y="45"/>
                  </a:lnTo>
                  <a:lnTo>
                    <a:pt x="8" y="48"/>
                  </a:lnTo>
                  <a:lnTo>
                    <a:pt x="11" y="48"/>
                  </a:lnTo>
                  <a:lnTo>
                    <a:pt x="13" y="51"/>
                  </a:lnTo>
                  <a:lnTo>
                    <a:pt x="11" y="51"/>
                  </a:lnTo>
                  <a:lnTo>
                    <a:pt x="11" y="56"/>
                  </a:lnTo>
                  <a:lnTo>
                    <a:pt x="13" y="58"/>
                  </a:lnTo>
                  <a:lnTo>
                    <a:pt x="16" y="66"/>
                  </a:lnTo>
                  <a:lnTo>
                    <a:pt x="18" y="68"/>
                  </a:lnTo>
                  <a:lnTo>
                    <a:pt x="16" y="66"/>
                  </a:lnTo>
                  <a:lnTo>
                    <a:pt x="18" y="66"/>
                  </a:lnTo>
                  <a:lnTo>
                    <a:pt x="18" y="66"/>
                  </a:lnTo>
                  <a:lnTo>
                    <a:pt x="18" y="71"/>
                  </a:lnTo>
                  <a:lnTo>
                    <a:pt x="21" y="73"/>
                  </a:lnTo>
                  <a:lnTo>
                    <a:pt x="21" y="76"/>
                  </a:lnTo>
                  <a:lnTo>
                    <a:pt x="21" y="79"/>
                  </a:lnTo>
                  <a:lnTo>
                    <a:pt x="21" y="81"/>
                  </a:lnTo>
                  <a:lnTo>
                    <a:pt x="23" y="86"/>
                  </a:lnTo>
                  <a:lnTo>
                    <a:pt x="26" y="86"/>
                  </a:lnTo>
                  <a:lnTo>
                    <a:pt x="26" y="86"/>
                  </a:lnTo>
                  <a:lnTo>
                    <a:pt x="28" y="84"/>
                  </a:lnTo>
                  <a:lnTo>
                    <a:pt x="28" y="81"/>
                  </a:lnTo>
                  <a:lnTo>
                    <a:pt x="31" y="81"/>
                  </a:lnTo>
                  <a:lnTo>
                    <a:pt x="31" y="81"/>
                  </a:lnTo>
                  <a:lnTo>
                    <a:pt x="33" y="81"/>
                  </a:lnTo>
                  <a:lnTo>
                    <a:pt x="33" y="86"/>
                  </a:lnTo>
                  <a:lnTo>
                    <a:pt x="33" y="89"/>
                  </a:lnTo>
                  <a:lnTo>
                    <a:pt x="31" y="89"/>
                  </a:lnTo>
                  <a:lnTo>
                    <a:pt x="31" y="91"/>
                  </a:lnTo>
                  <a:lnTo>
                    <a:pt x="31" y="91"/>
                  </a:lnTo>
                  <a:lnTo>
                    <a:pt x="31" y="94"/>
                  </a:lnTo>
                  <a:lnTo>
                    <a:pt x="33" y="94"/>
                  </a:lnTo>
                  <a:lnTo>
                    <a:pt x="36" y="94"/>
                  </a:lnTo>
                  <a:lnTo>
                    <a:pt x="39" y="91"/>
                  </a:lnTo>
                  <a:lnTo>
                    <a:pt x="39" y="91"/>
                  </a:lnTo>
                  <a:lnTo>
                    <a:pt x="39" y="94"/>
                  </a:lnTo>
                  <a:lnTo>
                    <a:pt x="46" y="94"/>
                  </a:lnTo>
                  <a:lnTo>
                    <a:pt x="49" y="96"/>
                  </a:lnTo>
                  <a:lnTo>
                    <a:pt x="49" y="96"/>
                  </a:lnTo>
                  <a:lnTo>
                    <a:pt x="51" y="96"/>
                  </a:lnTo>
                  <a:lnTo>
                    <a:pt x="51" y="94"/>
                  </a:lnTo>
                  <a:lnTo>
                    <a:pt x="54" y="94"/>
                  </a:lnTo>
                  <a:lnTo>
                    <a:pt x="56" y="94"/>
                  </a:lnTo>
                  <a:lnTo>
                    <a:pt x="56" y="94"/>
                  </a:lnTo>
                  <a:lnTo>
                    <a:pt x="59" y="91"/>
                  </a:lnTo>
                  <a:lnTo>
                    <a:pt x="59" y="91"/>
                  </a:lnTo>
                  <a:lnTo>
                    <a:pt x="61" y="89"/>
                  </a:lnTo>
                  <a:lnTo>
                    <a:pt x="61" y="89"/>
                  </a:lnTo>
                  <a:lnTo>
                    <a:pt x="61" y="89"/>
                  </a:lnTo>
                  <a:lnTo>
                    <a:pt x="59" y="86"/>
                  </a:lnTo>
                  <a:lnTo>
                    <a:pt x="61" y="86"/>
                  </a:lnTo>
                  <a:lnTo>
                    <a:pt x="64" y="86"/>
                  </a:lnTo>
                  <a:lnTo>
                    <a:pt x="67" y="86"/>
                  </a:lnTo>
                  <a:lnTo>
                    <a:pt x="67" y="86"/>
                  </a:lnTo>
                  <a:lnTo>
                    <a:pt x="67" y="84"/>
                  </a:lnTo>
                  <a:lnTo>
                    <a:pt x="67" y="84"/>
                  </a:lnTo>
                  <a:lnTo>
                    <a:pt x="69" y="84"/>
                  </a:lnTo>
                  <a:lnTo>
                    <a:pt x="72" y="84"/>
                  </a:lnTo>
                  <a:lnTo>
                    <a:pt x="74" y="84"/>
                  </a:lnTo>
                  <a:lnTo>
                    <a:pt x="74" y="84"/>
                  </a:lnTo>
                  <a:lnTo>
                    <a:pt x="77" y="84"/>
                  </a:lnTo>
                  <a:lnTo>
                    <a:pt x="77" y="86"/>
                  </a:lnTo>
                  <a:lnTo>
                    <a:pt x="77" y="86"/>
                  </a:lnTo>
                  <a:lnTo>
                    <a:pt x="79" y="86"/>
                  </a:lnTo>
                  <a:lnTo>
                    <a:pt x="79" y="86"/>
                  </a:lnTo>
                  <a:lnTo>
                    <a:pt x="82" y="89"/>
                  </a:lnTo>
                  <a:lnTo>
                    <a:pt x="82" y="89"/>
                  </a:lnTo>
                  <a:lnTo>
                    <a:pt x="82" y="86"/>
                  </a:lnTo>
                  <a:lnTo>
                    <a:pt x="82" y="84"/>
                  </a:lnTo>
                  <a:lnTo>
                    <a:pt x="82" y="81"/>
                  </a:lnTo>
                  <a:lnTo>
                    <a:pt x="82" y="81"/>
                  </a:lnTo>
                  <a:lnTo>
                    <a:pt x="77" y="79"/>
                  </a:lnTo>
                  <a:lnTo>
                    <a:pt x="77" y="76"/>
                  </a:lnTo>
                  <a:lnTo>
                    <a:pt x="77" y="73"/>
                  </a:lnTo>
                  <a:lnTo>
                    <a:pt x="77" y="71"/>
                  </a:lnTo>
                  <a:lnTo>
                    <a:pt x="74" y="71"/>
                  </a:lnTo>
                  <a:lnTo>
                    <a:pt x="74" y="68"/>
                  </a:lnTo>
                  <a:lnTo>
                    <a:pt x="74" y="68"/>
                  </a:lnTo>
                  <a:lnTo>
                    <a:pt x="77" y="68"/>
                  </a:lnTo>
                  <a:lnTo>
                    <a:pt x="77" y="68"/>
                  </a:lnTo>
                  <a:lnTo>
                    <a:pt x="77" y="68"/>
                  </a:lnTo>
                  <a:lnTo>
                    <a:pt x="79" y="66"/>
                  </a:lnTo>
                  <a:lnTo>
                    <a:pt x="79" y="66"/>
                  </a:lnTo>
                  <a:lnTo>
                    <a:pt x="82" y="66"/>
                  </a:lnTo>
                  <a:lnTo>
                    <a:pt x="84" y="68"/>
                  </a:lnTo>
                  <a:lnTo>
                    <a:pt x="87" y="68"/>
                  </a:lnTo>
                  <a:lnTo>
                    <a:pt x="87" y="68"/>
                  </a:lnTo>
                  <a:lnTo>
                    <a:pt x="87" y="66"/>
                  </a:lnTo>
                  <a:lnTo>
                    <a:pt x="87" y="63"/>
                  </a:lnTo>
                  <a:lnTo>
                    <a:pt x="87" y="61"/>
                  </a:lnTo>
                  <a:lnTo>
                    <a:pt x="87" y="61"/>
                  </a:lnTo>
                  <a:lnTo>
                    <a:pt x="90" y="61"/>
                  </a:lnTo>
                  <a:lnTo>
                    <a:pt x="92" y="61"/>
                  </a:lnTo>
                  <a:lnTo>
                    <a:pt x="92" y="58"/>
                  </a:lnTo>
                  <a:lnTo>
                    <a:pt x="97" y="58"/>
                  </a:lnTo>
                  <a:lnTo>
                    <a:pt x="97" y="56"/>
                  </a:lnTo>
                  <a:lnTo>
                    <a:pt x="100" y="53"/>
                  </a:lnTo>
                  <a:lnTo>
                    <a:pt x="102" y="53"/>
                  </a:lnTo>
                  <a:lnTo>
                    <a:pt x="102" y="53"/>
                  </a:lnTo>
                  <a:lnTo>
                    <a:pt x="105" y="53"/>
                  </a:lnTo>
                  <a:lnTo>
                    <a:pt x="105" y="56"/>
                  </a:lnTo>
                  <a:lnTo>
                    <a:pt x="105" y="53"/>
                  </a:lnTo>
                  <a:lnTo>
                    <a:pt x="107" y="53"/>
                  </a:lnTo>
                  <a:lnTo>
                    <a:pt x="107" y="51"/>
                  </a:lnTo>
                  <a:lnTo>
                    <a:pt x="107" y="48"/>
                  </a:lnTo>
                  <a:lnTo>
                    <a:pt x="107" y="45"/>
                  </a:lnTo>
                  <a:close/>
                </a:path>
              </a:pathLst>
            </a:custGeom>
            <a:solidFill>
              <a:srgbClr val="FFC000"/>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352" name="Freeform 1971">
              <a:extLst>
                <a:ext uri="{FF2B5EF4-FFF2-40B4-BE49-F238E27FC236}">
                  <a16:creationId xmlns:a16="http://schemas.microsoft.com/office/drawing/2014/main" id="{36859807-7895-E547-8C96-E6D9244C42FE}"/>
                </a:ext>
              </a:extLst>
            </p:cNvPr>
            <p:cNvSpPr>
              <a:spLocks/>
            </p:cNvSpPr>
            <p:nvPr/>
          </p:nvSpPr>
          <p:spPr bwMode="auto">
            <a:xfrm>
              <a:off x="6563869" y="3887823"/>
              <a:ext cx="57251" cy="80152"/>
            </a:xfrm>
            <a:custGeom>
              <a:avLst/>
              <a:gdLst>
                <a:gd name="T0" fmla="*/ 35 w 35"/>
                <a:gd name="T1" fmla="*/ 16 h 49"/>
                <a:gd name="T2" fmla="*/ 33 w 35"/>
                <a:gd name="T3" fmla="*/ 16 h 49"/>
                <a:gd name="T4" fmla="*/ 30 w 35"/>
                <a:gd name="T5" fmla="*/ 13 h 49"/>
                <a:gd name="T6" fmla="*/ 28 w 35"/>
                <a:gd name="T7" fmla="*/ 13 h 49"/>
                <a:gd name="T8" fmla="*/ 28 w 35"/>
                <a:gd name="T9" fmla="*/ 11 h 49"/>
                <a:gd name="T10" fmla="*/ 28 w 35"/>
                <a:gd name="T11" fmla="*/ 8 h 49"/>
                <a:gd name="T12" fmla="*/ 28 w 35"/>
                <a:gd name="T13" fmla="*/ 8 h 49"/>
                <a:gd name="T14" fmla="*/ 30 w 35"/>
                <a:gd name="T15" fmla="*/ 3 h 49"/>
                <a:gd name="T16" fmla="*/ 30 w 35"/>
                <a:gd name="T17" fmla="*/ 0 h 49"/>
                <a:gd name="T18" fmla="*/ 28 w 35"/>
                <a:gd name="T19" fmla="*/ 0 h 49"/>
                <a:gd name="T20" fmla="*/ 22 w 35"/>
                <a:gd name="T21" fmla="*/ 0 h 49"/>
                <a:gd name="T22" fmla="*/ 22 w 35"/>
                <a:gd name="T23" fmla="*/ 3 h 49"/>
                <a:gd name="T24" fmla="*/ 20 w 35"/>
                <a:gd name="T25" fmla="*/ 3 h 49"/>
                <a:gd name="T26" fmla="*/ 17 w 35"/>
                <a:gd name="T27" fmla="*/ 0 h 49"/>
                <a:gd name="T28" fmla="*/ 17 w 35"/>
                <a:gd name="T29" fmla="*/ 8 h 49"/>
                <a:gd name="T30" fmla="*/ 15 w 35"/>
                <a:gd name="T31" fmla="*/ 11 h 49"/>
                <a:gd name="T32" fmla="*/ 12 w 35"/>
                <a:gd name="T33" fmla="*/ 11 h 49"/>
                <a:gd name="T34" fmla="*/ 7 w 35"/>
                <a:gd name="T35" fmla="*/ 11 h 49"/>
                <a:gd name="T36" fmla="*/ 5 w 35"/>
                <a:gd name="T37" fmla="*/ 8 h 49"/>
                <a:gd name="T38" fmla="*/ 0 w 35"/>
                <a:gd name="T39" fmla="*/ 6 h 49"/>
                <a:gd name="T40" fmla="*/ 0 w 35"/>
                <a:gd name="T41" fmla="*/ 8 h 49"/>
                <a:gd name="T42" fmla="*/ 0 w 35"/>
                <a:gd name="T43" fmla="*/ 11 h 49"/>
                <a:gd name="T44" fmla="*/ 0 w 35"/>
                <a:gd name="T45" fmla="*/ 11 h 49"/>
                <a:gd name="T46" fmla="*/ 2 w 35"/>
                <a:gd name="T47" fmla="*/ 16 h 49"/>
                <a:gd name="T48" fmla="*/ 2 w 35"/>
                <a:gd name="T49" fmla="*/ 21 h 49"/>
                <a:gd name="T50" fmla="*/ 2 w 35"/>
                <a:gd name="T51" fmla="*/ 26 h 49"/>
                <a:gd name="T52" fmla="*/ 2 w 35"/>
                <a:gd name="T53" fmla="*/ 34 h 49"/>
                <a:gd name="T54" fmla="*/ 5 w 35"/>
                <a:gd name="T55" fmla="*/ 41 h 49"/>
                <a:gd name="T56" fmla="*/ 7 w 35"/>
                <a:gd name="T57" fmla="*/ 49 h 49"/>
                <a:gd name="T58" fmla="*/ 15 w 35"/>
                <a:gd name="T59" fmla="*/ 46 h 49"/>
                <a:gd name="T60" fmla="*/ 22 w 35"/>
                <a:gd name="T61" fmla="*/ 41 h 49"/>
                <a:gd name="T62" fmla="*/ 25 w 35"/>
                <a:gd name="T63" fmla="*/ 34 h 49"/>
                <a:gd name="T64" fmla="*/ 25 w 35"/>
                <a:gd name="T65" fmla="*/ 31 h 49"/>
                <a:gd name="T66" fmla="*/ 28 w 35"/>
                <a:gd name="T67" fmla="*/ 28 h 49"/>
                <a:gd name="T68" fmla="*/ 30 w 35"/>
                <a:gd name="T69" fmla="*/ 26 h 49"/>
                <a:gd name="T70" fmla="*/ 30 w 35"/>
                <a:gd name="T71" fmla="*/ 23 h 49"/>
                <a:gd name="T72" fmla="*/ 33 w 35"/>
                <a:gd name="T73" fmla="*/ 23 h 49"/>
                <a:gd name="T74" fmla="*/ 35 w 35"/>
                <a:gd name="T75" fmla="*/ 21 h 49"/>
                <a:gd name="T76" fmla="*/ 35 w 35"/>
                <a:gd name="T77" fmla="*/ 16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5" h="49">
                  <a:moveTo>
                    <a:pt x="35" y="16"/>
                  </a:moveTo>
                  <a:lnTo>
                    <a:pt x="35" y="16"/>
                  </a:lnTo>
                  <a:lnTo>
                    <a:pt x="35" y="16"/>
                  </a:lnTo>
                  <a:lnTo>
                    <a:pt x="33" y="16"/>
                  </a:lnTo>
                  <a:lnTo>
                    <a:pt x="30" y="13"/>
                  </a:lnTo>
                  <a:lnTo>
                    <a:pt x="30" y="13"/>
                  </a:lnTo>
                  <a:lnTo>
                    <a:pt x="28" y="13"/>
                  </a:lnTo>
                  <a:lnTo>
                    <a:pt x="28" y="13"/>
                  </a:lnTo>
                  <a:lnTo>
                    <a:pt x="28" y="11"/>
                  </a:lnTo>
                  <a:lnTo>
                    <a:pt x="28" y="11"/>
                  </a:lnTo>
                  <a:lnTo>
                    <a:pt x="28" y="11"/>
                  </a:lnTo>
                  <a:lnTo>
                    <a:pt x="28" y="8"/>
                  </a:lnTo>
                  <a:lnTo>
                    <a:pt x="28" y="8"/>
                  </a:lnTo>
                  <a:lnTo>
                    <a:pt x="28" y="8"/>
                  </a:lnTo>
                  <a:lnTo>
                    <a:pt x="28" y="6"/>
                  </a:lnTo>
                  <a:lnTo>
                    <a:pt x="30" y="3"/>
                  </a:lnTo>
                  <a:lnTo>
                    <a:pt x="30" y="0"/>
                  </a:lnTo>
                  <a:lnTo>
                    <a:pt x="30" y="0"/>
                  </a:lnTo>
                  <a:lnTo>
                    <a:pt x="28" y="0"/>
                  </a:lnTo>
                  <a:lnTo>
                    <a:pt x="28" y="0"/>
                  </a:lnTo>
                  <a:lnTo>
                    <a:pt x="25" y="0"/>
                  </a:lnTo>
                  <a:lnTo>
                    <a:pt x="22" y="0"/>
                  </a:lnTo>
                  <a:lnTo>
                    <a:pt x="22" y="0"/>
                  </a:lnTo>
                  <a:lnTo>
                    <a:pt x="22" y="3"/>
                  </a:lnTo>
                  <a:lnTo>
                    <a:pt x="20" y="3"/>
                  </a:lnTo>
                  <a:lnTo>
                    <a:pt x="20" y="3"/>
                  </a:lnTo>
                  <a:lnTo>
                    <a:pt x="17" y="0"/>
                  </a:lnTo>
                  <a:lnTo>
                    <a:pt x="17" y="0"/>
                  </a:lnTo>
                  <a:lnTo>
                    <a:pt x="17" y="6"/>
                  </a:lnTo>
                  <a:lnTo>
                    <a:pt x="17" y="8"/>
                  </a:lnTo>
                  <a:lnTo>
                    <a:pt x="17" y="8"/>
                  </a:lnTo>
                  <a:lnTo>
                    <a:pt x="15" y="11"/>
                  </a:lnTo>
                  <a:lnTo>
                    <a:pt x="12" y="11"/>
                  </a:lnTo>
                  <a:lnTo>
                    <a:pt x="12" y="11"/>
                  </a:lnTo>
                  <a:lnTo>
                    <a:pt x="7" y="11"/>
                  </a:lnTo>
                  <a:lnTo>
                    <a:pt x="7" y="11"/>
                  </a:lnTo>
                  <a:lnTo>
                    <a:pt x="5" y="11"/>
                  </a:lnTo>
                  <a:lnTo>
                    <a:pt x="5" y="8"/>
                  </a:lnTo>
                  <a:lnTo>
                    <a:pt x="2" y="6"/>
                  </a:lnTo>
                  <a:lnTo>
                    <a:pt x="0" y="6"/>
                  </a:lnTo>
                  <a:lnTo>
                    <a:pt x="0" y="6"/>
                  </a:lnTo>
                  <a:lnTo>
                    <a:pt x="0" y="8"/>
                  </a:lnTo>
                  <a:lnTo>
                    <a:pt x="0" y="8"/>
                  </a:lnTo>
                  <a:lnTo>
                    <a:pt x="0" y="11"/>
                  </a:lnTo>
                  <a:lnTo>
                    <a:pt x="0" y="11"/>
                  </a:lnTo>
                  <a:lnTo>
                    <a:pt x="0" y="11"/>
                  </a:lnTo>
                  <a:lnTo>
                    <a:pt x="2" y="13"/>
                  </a:lnTo>
                  <a:lnTo>
                    <a:pt x="2" y="16"/>
                  </a:lnTo>
                  <a:lnTo>
                    <a:pt x="2" y="18"/>
                  </a:lnTo>
                  <a:lnTo>
                    <a:pt x="2" y="21"/>
                  </a:lnTo>
                  <a:lnTo>
                    <a:pt x="2" y="23"/>
                  </a:lnTo>
                  <a:lnTo>
                    <a:pt x="2" y="26"/>
                  </a:lnTo>
                  <a:lnTo>
                    <a:pt x="2" y="31"/>
                  </a:lnTo>
                  <a:lnTo>
                    <a:pt x="2" y="34"/>
                  </a:lnTo>
                  <a:lnTo>
                    <a:pt x="2" y="36"/>
                  </a:lnTo>
                  <a:lnTo>
                    <a:pt x="5" y="41"/>
                  </a:lnTo>
                  <a:lnTo>
                    <a:pt x="7" y="44"/>
                  </a:lnTo>
                  <a:lnTo>
                    <a:pt x="7" y="49"/>
                  </a:lnTo>
                  <a:lnTo>
                    <a:pt x="12" y="49"/>
                  </a:lnTo>
                  <a:lnTo>
                    <a:pt x="15" y="46"/>
                  </a:lnTo>
                  <a:lnTo>
                    <a:pt x="17" y="44"/>
                  </a:lnTo>
                  <a:lnTo>
                    <a:pt x="22" y="41"/>
                  </a:lnTo>
                  <a:lnTo>
                    <a:pt x="22" y="39"/>
                  </a:lnTo>
                  <a:lnTo>
                    <a:pt x="25" y="34"/>
                  </a:lnTo>
                  <a:lnTo>
                    <a:pt x="25" y="34"/>
                  </a:lnTo>
                  <a:lnTo>
                    <a:pt x="25" y="31"/>
                  </a:lnTo>
                  <a:lnTo>
                    <a:pt x="28" y="31"/>
                  </a:lnTo>
                  <a:lnTo>
                    <a:pt x="28" y="28"/>
                  </a:lnTo>
                  <a:lnTo>
                    <a:pt x="30" y="26"/>
                  </a:lnTo>
                  <a:lnTo>
                    <a:pt x="30" y="26"/>
                  </a:lnTo>
                  <a:lnTo>
                    <a:pt x="30" y="23"/>
                  </a:lnTo>
                  <a:lnTo>
                    <a:pt x="30" y="23"/>
                  </a:lnTo>
                  <a:lnTo>
                    <a:pt x="30" y="23"/>
                  </a:lnTo>
                  <a:lnTo>
                    <a:pt x="33" y="23"/>
                  </a:lnTo>
                  <a:lnTo>
                    <a:pt x="35" y="21"/>
                  </a:lnTo>
                  <a:lnTo>
                    <a:pt x="35" y="21"/>
                  </a:lnTo>
                  <a:lnTo>
                    <a:pt x="35" y="18"/>
                  </a:lnTo>
                  <a:lnTo>
                    <a:pt x="35" y="16"/>
                  </a:lnTo>
                  <a:close/>
                </a:path>
              </a:pathLst>
            </a:custGeom>
            <a:solidFill>
              <a:srgbClr val="FFC000"/>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353" name="Freeform 1972">
              <a:extLst>
                <a:ext uri="{FF2B5EF4-FFF2-40B4-BE49-F238E27FC236}">
                  <a16:creationId xmlns:a16="http://schemas.microsoft.com/office/drawing/2014/main" id="{B889DE46-98C2-294B-93F9-2F52C3F14B3A}"/>
                </a:ext>
              </a:extLst>
            </p:cNvPr>
            <p:cNvSpPr>
              <a:spLocks/>
            </p:cNvSpPr>
            <p:nvPr/>
          </p:nvSpPr>
          <p:spPr bwMode="auto">
            <a:xfrm>
              <a:off x="5428668" y="3238436"/>
              <a:ext cx="258446" cy="212646"/>
            </a:xfrm>
            <a:custGeom>
              <a:avLst/>
              <a:gdLst>
                <a:gd name="T0" fmla="*/ 153 w 158"/>
                <a:gd name="T1" fmla="*/ 64 h 130"/>
                <a:gd name="T2" fmla="*/ 156 w 158"/>
                <a:gd name="T3" fmla="*/ 62 h 130"/>
                <a:gd name="T4" fmla="*/ 153 w 158"/>
                <a:gd name="T5" fmla="*/ 56 h 130"/>
                <a:gd name="T6" fmla="*/ 151 w 158"/>
                <a:gd name="T7" fmla="*/ 56 h 130"/>
                <a:gd name="T8" fmla="*/ 143 w 158"/>
                <a:gd name="T9" fmla="*/ 56 h 130"/>
                <a:gd name="T10" fmla="*/ 130 w 158"/>
                <a:gd name="T11" fmla="*/ 49 h 130"/>
                <a:gd name="T12" fmla="*/ 130 w 158"/>
                <a:gd name="T13" fmla="*/ 41 h 130"/>
                <a:gd name="T14" fmla="*/ 133 w 158"/>
                <a:gd name="T15" fmla="*/ 39 h 130"/>
                <a:gd name="T16" fmla="*/ 130 w 158"/>
                <a:gd name="T17" fmla="*/ 36 h 130"/>
                <a:gd name="T18" fmla="*/ 125 w 158"/>
                <a:gd name="T19" fmla="*/ 34 h 130"/>
                <a:gd name="T20" fmla="*/ 120 w 158"/>
                <a:gd name="T21" fmla="*/ 23 h 130"/>
                <a:gd name="T22" fmla="*/ 118 w 158"/>
                <a:gd name="T23" fmla="*/ 16 h 130"/>
                <a:gd name="T24" fmla="*/ 115 w 158"/>
                <a:gd name="T25" fmla="*/ 6 h 130"/>
                <a:gd name="T26" fmla="*/ 105 w 158"/>
                <a:gd name="T27" fmla="*/ 3 h 130"/>
                <a:gd name="T28" fmla="*/ 100 w 158"/>
                <a:gd name="T29" fmla="*/ 0 h 130"/>
                <a:gd name="T30" fmla="*/ 92 w 158"/>
                <a:gd name="T31" fmla="*/ 8 h 130"/>
                <a:gd name="T32" fmla="*/ 79 w 158"/>
                <a:gd name="T33" fmla="*/ 13 h 130"/>
                <a:gd name="T34" fmla="*/ 72 w 158"/>
                <a:gd name="T35" fmla="*/ 21 h 130"/>
                <a:gd name="T36" fmla="*/ 59 w 158"/>
                <a:gd name="T37" fmla="*/ 21 h 130"/>
                <a:gd name="T38" fmla="*/ 54 w 158"/>
                <a:gd name="T39" fmla="*/ 31 h 130"/>
                <a:gd name="T40" fmla="*/ 51 w 158"/>
                <a:gd name="T41" fmla="*/ 34 h 130"/>
                <a:gd name="T42" fmla="*/ 46 w 158"/>
                <a:gd name="T43" fmla="*/ 39 h 130"/>
                <a:gd name="T44" fmla="*/ 41 w 158"/>
                <a:gd name="T45" fmla="*/ 44 h 130"/>
                <a:gd name="T46" fmla="*/ 31 w 158"/>
                <a:gd name="T47" fmla="*/ 41 h 130"/>
                <a:gd name="T48" fmla="*/ 26 w 158"/>
                <a:gd name="T49" fmla="*/ 46 h 130"/>
                <a:gd name="T50" fmla="*/ 26 w 158"/>
                <a:gd name="T51" fmla="*/ 54 h 130"/>
                <a:gd name="T52" fmla="*/ 23 w 158"/>
                <a:gd name="T53" fmla="*/ 59 h 130"/>
                <a:gd name="T54" fmla="*/ 21 w 158"/>
                <a:gd name="T55" fmla="*/ 69 h 130"/>
                <a:gd name="T56" fmla="*/ 13 w 158"/>
                <a:gd name="T57" fmla="*/ 72 h 130"/>
                <a:gd name="T58" fmla="*/ 5 w 158"/>
                <a:gd name="T59" fmla="*/ 74 h 130"/>
                <a:gd name="T60" fmla="*/ 5 w 158"/>
                <a:gd name="T61" fmla="*/ 82 h 130"/>
                <a:gd name="T62" fmla="*/ 3 w 158"/>
                <a:gd name="T63" fmla="*/ 92 h 130"/>
                <a:gd name="T64" fmla="*/ 3 w 158"/>
                <a:gd name="T65" fmla="*/ 100 h 130"/>
                <a:gd name="T66" fmla="*/ 0 w 158"/>
                <a:gd name="T67" fmla="*/ 107 h 130"/>
                <a:gd name="T68" fmla="*/ 8 w 158"/>
                <a:gd name="T69" fmla="*/ 110 h 130"/>
                <a:gd name="T70" fmla="*/ 11 w 158"/>
                <a:gd name="T71" fmla="*/ 118 h 130"/>
                <a:gd name="T72" fmla="*/ 18 w 158"/>
                <a:gd name="T73" fmla="*/ 123 h 130"/>
                <a:gd name="T74" fmla="*/ 23 w 158"/>
                <a:gd name="T75" fmla="*/ 125 h 130"/>
                <a:gd name="T76" fmla="*/ 33 w 158"/>
                <a:gd name="T77" fmla="*/ 120 h 130"/>
                <a:gd name="T78" fmla="*/ 44 w 158"/>
                <a:gd name="T79" fmla="*/ 120 h 130"/>
                <a:gd name="T80" fmla="*/ 49 w 158"/>
                <a:gd name="T81" fmla="*/ 123 h 130"/>
                <a:gd name="T82" fmla="*/ 54 w 158"/>
                <a:gd name="T83" fmla="*/ 128 h 130"/>
                <a:gd name="T84" fmla="*/ 56 w 158"/>
                <a:gd name="T85" fmla="*/ 128 h 130"/>
                <a:gd name="T86" fmla="*/ 56 w 158"/>
                <a:gd name="T87" fmla="*/ 123 h 130"/>
                <a:gd name="T88" fmla="*/ 56 w 158"/>
                <a:gd name="T89" fmla="*/ 112 h 130"/>
                <a:gd name="T90" fmla="*/ 54 w 158"/>
                <a:gd name="T91" fmla="*/ 107 h 130"/>
                <a:gd name="T92" fmla="*/ 54 w 158"/>
                <a:gd name="T93" fmla="*/ 102 h 130"/>
                <a:gd name="T94" fmla="*/ 56 w 158"/>
                <a:gd name="T95" fmla="*/ 95 h 130"/>
                <a:gd name="T96" fmla="*/ 74 w 158"/>
                <a:gd name="T97" fmla="*/ 95 h 130"/>
                <a:gd name="T98" fmla="*/ 87 w 158"/>
                <a:gd name="T99" fmla="*/ 95 h 130"/>
                <a:gd name="T100" fmla="*/ 95 w 158"/>
                <a:gd name="T101" fmla="*/ 95 h 130"/>
                <a:gd name="T102" fmla="*/ 100 w 158"/>
                <a:gd name="T103" fmla="*/ 95 h 130"/>
                <a:gd name="T104" fmla="*/ 102 w 158"/>
                <a:gd name="T105" fmla="*/ 92 h 130"/>
                <a:gd name="T106" fmla="*/ 105 w 158"/>
                <a:gd name="T107" fmla="*/ 90 h 130"/>
                <a:gd name="T108" fmla="*/ 120 w 158"/>
                <a:gd name="T109" fmla="*/ 95 h 130"/>
                <a:gd name="T110" fmla="*/ 128 w 158"/>
                <a:gd name="T111" fmla="*/ 95 h 130"/>
                <a:gd name="T112" fmla="*/ 130 w 158"/>
                <a:gd name="T113" fmla="*/ 92 h 130"/>
                <a:gd name="T114" fmla="*/ 133 w 158"/>
                <a:gd name="T115" fmla="*/ 90 h 130"/>
                <a:gd name="T116" fmla="*/ 135 w 158"/>
                <a:gd name="T117" fmla="*/ 87 h 130"/>
                <a:gd name="T118" fmla="*/ 138 w 158"/>
                <a:gd name="T119" fmla="*/ 84 h 130"/>
                <a:gd name="T120" fmla="*/ 141 w 158"/>
                <a:gd name="T121" fmla="*/ 84 h 130"/>
                <a:gd name="T122" fmla="*/ 151 w 158"/>
                <a:gd name="T123" fmla="*/ 84 h 130"/>
                <a:gd name="T124" fmla="*/ 158 w 158"/>
                <a:gd name="T125" fmla="*/ 74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8" h="130">
                  <a:moveTo>
                    <a:pt x="158" y="72"/>
                  </a:moveTo>
                  <a:lnTo>
                    <a:pt x="156" y="69"/>
                  </a:lnTo>
                  <a:lnTo>
                    <a:pt x="153" y="64"/>
                  </a:lnTo>
                  <a:lnTo>
                    <a:pt x="153" y="64"/>
                  </a:lnTo>
                  <a:lnTo>
                    <a:pt x="153" y="64"/>
                  </a:lnTo>
                  <a:lnTo>
                    <a:pt x="153" y="64"/>
                  </a:lnTo>
                  <a:lnTo>
                    <a:pt x="153" y="62"/>
                  </a:lnTo>
                  <a:lnTo>
                    <a:pt x="156" y="62"/>
                  </a:lnTo>
                  <a:lnTo>
                    <a:pt x="156" y="62"/>
                  </a:lnTo>
                  <a:lnTo>
                    <a:pt x="156" y="62"/>
                  </a:lnTo>
                  <a:lnTo>
                    <a:pt x="156" y="59"/>
                  </a:lnTo>
                  <a:lnTo>
                    <a:pt x="153" y="56"/>
                  </a:lnTo>
                  <a:lnTo>
                    <a:pt x="153" y="56"/>
                  </a:lnTo>
                  <a:lnTo>
                    <a:pt x="153" y="56"/>
                  </a:lnTo>
                  <a:lnTo>
                    <a:pt x="151" y="54"/>
                  </a:lnTo>
                  <a:lnTo>
                    <a:pt x="151" y="56"/>
                  </a:lnTo>
                  <a:lnTo>
                    <a:pt x="148" y="56"/>
                  </a:lnTo>
                  <a:lnTo>
                    <a:pt x="148" y="56"/>
                  </a:lnTo>
                  <a:lnTo>
                    <a:pt x="146" y="56"/>
                  </a:lnTo>
                  <a:lnTo>
                    <a:pt x="143" y="56"/>
                  </a:lnTo>
                  <a:lnTo>
                    <a:pt x="141" y="56"/>
                  </a:lnTo>
                  <a:lnTo>
                    <a:pt x="138" y="51"/>
                  </a:lnTo>
                  <a:lnTo>
                    <a:pt x="133" y="49"/>
                  </a:lnTo>
                  <a:lnTo>
                    <a:pt x="130" y="49"/>
                  </a:lnTo>
                  <a:lnTo>
                    <a:pt x="130" y="49"/>
                  </a:lnTo>
                  <a:lnTo>
                    <a:pt x="130" y="44"/>
                  </a:lnTo>
                  <a:lnTo>
                    <a:pt x="130" y="41"/>
                  </a:lnTo>
                  <a:lnTo>
                    <a:pt x="130" y="41"/>
                  </a:lnTo>
                  <a:lnTo>
                    <a:pt x="133" y="41"/>
                  </a:lnTo>
                  <a:lnTo>
                    <a:pt x="135" y="41"/>
                  </a:lnTo>
                  <a:lnTo>
                    <a:pt x="135" y="41"/>
                  </a:lnTo>
                  <a:lnTo>
                    <a:pt x="133" y="39"/>
                  </a:lnTo>
                  <a:lnTo>
                    <a:pt x="133" y="39"/>
                  </a:lnTo>
                  <a:lnTo>
                    <a:pt x="130" y="36"/>
                  </a:lnTo>
                  <a:lnTo>
                    <a:pt x="130" y="36"/>
                  </a:lnTo>
                  <a:lnTo>
                    <a:pt x="130" y="36"/>
                  </a:lnTo>
                  <a:lnTo>
                    <a:pt x="128" y="34"/>
                  </a:lnTo>
                  <a:lnTo>
                    <a:pt x="128" y="34"/>
                  </a:lnTo>
                  <a:lnTo>
                    <a:pt x="128" y="34"/>
                  </a:lnTo>
                  <a:lnTo>
                    <a:pt x="125" y="34"/>
                  </a:lnTo>
                  <a:lnTo>
                    <a:pt x="125" y="34"/>
                  </a:lnTo>
                  <a:lnTo>
                    <a:pt x="123" y="28"/>
                  </a:lnTo>
                  <a:lnTo>
                    <a:pt x="120" y="26"/>
                  </a:lnTo>
                  <a:lnTo>
                    <a:pt x="120" y="23"/>
                  </a:lnTo>
                  <a:lnTo>
                    <a:pt x="118" y="23"/>
                  </a:lnTo>
                  <a:lnTo>
                    <a:pt x="120" y="21"/>
                  </a:lnTo>
                  <a:lnTo>
                    <a:pt x="118" y="18"/>
                  </a:lnTo>
                  <a:lnTo>
                    <a:pt x="118" y="16"/>
                  </a:lnTo>
                  <a:lnTo>
                    <a:pt x="115" y="16"/>
                  </a:lnTo>
                  <a:lnTo>
                    <a:pt x="115" y="11"/>
                  </a:lnTo>
                  <a:lnTo>
                    <a:pt x="115" y="8"/>
                  </a:lnTo>
                  <a:lnTo>
                    <a:pt x="115" y="6"/>
                  </a:lnTo>
                  <a:lnTo>
                    <a:pt x="115" y="6"/>
                  </a:lnTo>
                  <a:lnTo>
                    <a:pt x="112" y="3"/>
                  </a:lnTo>
                  <a:lnTo>
                    <a:pt x="107" y="3"/>
                  </a:lnTo>
                  <a:lnTo>
                    <a:pt x="105" y="3"/>
                  </a:lnTo>
                  <a:lnTo>
                    <a:pt x="102" y="3"/>
                  </a:lnTo>
                  <a:lnTo>
                    <a:pt x="102" y="3"/>
                  </a:lnTo>
                  <a:lnTo>
                    <a:pt x="102" y="0"/>
                  </a:lnTo>
                  <a:lnTo>
                    <a:pt x="100" y="0"/>
                  </a:lnTo>
                  <a:lnTo>
                    <a:pt x="97" y="3"/>
                  </a:lnTo>
                  <a:lnTo>
                    <a:pt x="95" y="6"/>
                  </a:lnTo>
                  <a:lnTo>
                    <a:pt x="92" y="8"/>
                  </a:lnTo>
                  <a:lnTo>
                    <a:pt x="92" y="8"/>
                  </a:lnTo>
                  <a:lnTo>
                    <a:pt x="87" y="8"/>
                  </a:lnTo>
                  <a:lnTo>
                    <a:pt x="82" y="11"/>
                  </a:lnTo>
                  <a:lnTo>
                    <a:pt x="79" y="13"/>
                  </a:lnTo>
                  <a:lnTo>
                    <a:pt x="79" y="13"/>
                  </a:lnTo>
                  <a:lnTo>
                    <a:pt x="77" y="16"/>
                  </a:lnTo>
                  <a:lnTo>
                    <a:pt x="74" y="16"/>
                  </a:lnTo>
                  <a:lnTo>
                    <a:pt x="72" y="16"/>
                  </a:lnTo>
                  <a:lnTo>
                    <a:pt x="72" y="21"/>
                  </a:lnTo>
                  <a:lnTo>
                    <a:pt x="69" y="23"/>
                  </a:lnTo>
                  <a:lnTo>
                    <a:pt x="64" y="21"/>
                  </a:lnTo>
                  <a:lnTo>
                    <a:pt x="62" y="21"/>
                  </a:lnTo>
                  <a:lnTo>
                    <a:pt x="59" y="21"/>
                  </a:lnTo>
                  <a:lnTo>
                    <a:pt x="56" y="23"/>
                  </a:lnTo>
                  <a:lnTo>
                    <a:pt x="54" y="26"/>
                  </a:lnTo>
                  <a:lnTo>
                    <a:pt x="54" y="31"/>
                  </a:lnTo>
                  <a:lnTo>
                    <a:pt x="54" y="31"/>
                  </a:lnTo>
                  <a:lnTo>
                    <a:pt x="54" y="34"/>
                  </a:lnTo>
                  <a:lnTo>
                    <a:pt x="54" y="34"/>
                  </a:lnTo>
                  <a:lnTo>
                    <a:pt x="51" y="34"/>
                  </a:lnTo>
                  <a:lnTo>
                    <a:pt x="51" y="34"/>
                  </a:lnTo>
                  <a:lnTo>
                    <a:pt x="49" y="34"/>
                  </a:lnTo>
                  <a:lnTo>
                    <a:pt x="46" y="34"/>
                  </a:lnTo>
                  <a:lnTo>
                    <a:pt x="46" y="36"/>
                  </a:lnTo>
                  <a:lnTo>
                    <a:pt x="46" y="39"/>
                  </a:lnTo>
                  <a:lnTo>
                    <a:pt x="46" y="41"/>
                  </a:lnTo>
                  <a:lnTo>
                    <a:pt x="44" y="44"/>
                  </a:lnTo>
                  <a:lnTo>
                    <a:pt x="41" y="44"/>
                  </a:lnTo>
                  <a:lnTo>
                    <a:pt x="41" y="44"/>
                  </a:lnTo>
                  <a:lnTo>
                    <a:pt x="41" y="44"/>
                  </a:lnTo>
                  <a:lnTo>
                    <a:pt x="33" y="41"/>
                  </a:lnTo>
                  <a:lnTo>
                    <a:pt x="33" y="39"/>
                  </a:lnTo>
                  <a:lnTo>
                    <a:pt x="31" y="41"/>
                  </a:lnTo>
                  <a:lnTo>
                    <a:pt x="28" y="41"/>
                  </a:lnTo>
                  <a:lnTo>
                    <a:pt x="28" y="44"/>
                  </a:lnTo>
                  <a:lnTo>
                    <a:pt x="26" y="44"/>
                  </a:lnTo>
                  <a:lnTo>
                    <a:pt x="26" y="46"/>
                  </a:lnTo>
                  <a:lnTo>
                    <a:pt x="26" y="46"/>
                  </a:lnTo>
                  <a:lnTo>
                    <a:pt x="26" y="49"/>
                  </a:lnTo>
                  <a:lnTo>
                    <a:pt x="26" y="51"/>
                  </a:lnTo>
                  <a:lnTo>
                    <a:pt x="26" y="54"/>
                  </a:lnTo>
                  <a:lnTo>
                    <a:pt x="21" y="56"/>
                  </a:lnTo>
                  <a:lnTo>
                    <a:pt x="23" y="56"/>
                  </a:lnTo>
                  <a:lnTo>
                    <a:pt x="23" y="59"/>
                  </a:lnTo>
                  <a:lnTo>
                    <a:pt x="23" y="59"/>
                  </a:lnTo>
                  <a:lnTo>
                    <a:pt x="23" y="64"/>
                  </a:lnTo>
                  <a:lnTo>
                    <a:pt x="21" y="64"/>
                  </a:lnTo>
                  <a:lnTo>
                    <a:pt x="21" y="67"/>
                  </a:lnTo>
                  <a:lnTo>
                    <a:pt x="21" y="69"/>
                  </a:lnTo>
                  <a:lnTo>
                    <a:pt x="18" y="69"/>
                  </a:lnTo>
                  <a:lnTo>
                    <a:pt x="18" y="69"/>
                  </a:lnTo>
                  <a:lnTo>
                    <a:pt x="16" y="72"/>
                  </a:lnTo>
                  <a:lnTo>
                    <a:pt x="13" y="72"/>
                  </a:lnTo>
                  <a:lnTo>
                    <a:pt x="8" y="72"/>
                  </a:lnTo>
                  <a:lnTo>
                    <a:pt x="8" y="72"/>
                  </a:lnTo>
                  <a:lnTo>
                    <a:pt x="5" y="74"/>
                  </a:lnTo>
                  <a:lnTo>
                    <a:pt x="5" y="74"/>
                  </a:lnTo>
                  <a:lnTo>
                    <a:pt x="5" y="77"/>
                  </a:lnTo>
                  <a:lnTo>
                    <a:pt x="5" y="79"/>
                  </a:lnTo>
                  <a:lnTo>
                    <a:pt x="5" y="79"/>
                  </a:lnTo>
                  <a:lnTo>
                    <a:pt x="5" y="82"/>
                  </a:lnTo>
                  <a:lnTo>
                    <a:pt x="5" y="82"/>
                  </a:lnTo>
                  <a:lnTo>
                    <a:pt x="5" y="84"/>
                  </a:lnTo>
                  <a:lnTo>
                    <a:pt x="5" y="90"/>
                  </a:lnTo>
                  <a:lnTo>
                    <a:pt x="3" y="92"/>
                  </a:lnTo>
                  <a:lnTo>
                    <a:pt x="3" y="92"/>
                  </a:lnTo>
                  <a:lnTo>
                    <a:pt x="0" y="92"/>
                  </a:lnTo>
                  <a:lnTo>
                    <a:pt x="3" y="95"/>
                  </a:lnTo>
                  <a:lnTo>
                    <a:pt x="3" y="100"/>
                  </a:lnTo>
                  <a:lnTo>
                    <a:pt x="0" y="102"/>
                  </a:lnTo>
                  <a:lnTo>
                    <a:pt x="0" y="105"/>
                  </a:lnTo>
                  <a:lnTo>
                    <a:pt x="0" y="105"/>
                  </a:lnTo>
                  <a:lnTo>
                    <a:pt x="0" y="107"/>
                  </a:lnTo>
                  <a:lnTo>
                    <a:pt x="0" y="110"/>
                  </a:lnTo>
                  <a:lnTo>
                    <a:pt x="3" y="110"/>
                  </a:lnTo>
                  <a:lnTo>
                    <a:pt x="5" y="110"/>
                  </a:lnTo>
                  <a:lnTo>
                    <a:pt x="8" y="110"/>
                  </a:lnTo>
                  <a:lnTo>
                    <a:pt x="8" y="112"/>
                  </a:lnTo>
                  <a:lnTo>
                    <a:pt x="11" y="115"/>
                  </a:lnTo>
                  <a:lnTo>
                    <a:pt x="11" y="115"/>
                  </a:lnTo>
                  <a:lnTo>
                    <a:pt x="11" y="118"/>
                  </a:lnTo>
                  <a:lnTo>
                    <a:pt x="13" y="120"/>
                  </a:lnTo>
                  <a:lnTo>
                    <a:pt x="16" y="120"/>
                  </a:lnTo>
                  <a:lnTo>
                    <a:pt x="16" y="123"/>
                  </a:lnTo>
                  <a:lnTo>
                    <a:pt x="18" y="123"/>
                  </a:lnTo>
                  <a:lnTo>
                    <a:pt x="21" y="123"/>
                  </a:lnTo>
                  <a:lnTo>
                    <a:pt x="21" y="125"/>
                  </a:lnTo>
                  <a:lnTo>
                    <a:pt x="23" y="125"/>
                  </a:lnTo>
                  <a:lnTo>
                    <a:pt x="23" y="125"/>
                  </a:lnTo>
                  <a:lnTo>
                    <a:pt x="26" y="123"/>
                  </a:lnTo>
                  <a:lnTo>
                    <a:pt x="26" y="123"/>
                  </a:lnTo>
                  <a:lnTo>
                    <a:pt x="31" y="120"/>
                  </a:lnTo>
                  <a:lnTo>
                    <a:pt x="33" y="120"/>
                  </a:lnTo>
                  <a:lnTo>
                    <a:pt x="36" y="118"/>
                  </a:lnTo>
                  <a:lnTo>
                    <a:pt x="39" y="118"/>
                  </a:lnTo>
                  <a:lnTo>
                    <a:pt x="44" y="120"/>
                  </a:lnTo>
                  <a:lnTo>
                    <a:pt x="44" y="120"/>
                  </a:lnTo>
                  <a:lnTo>
                    <a:pt x="46" y="120"/>
                  </a:lnTo>
                  <a:lnTo>
                    <a:pt x="49" y="120"/>
                  </a:lnTo>
                  <a:lnTo>
                    <a:pt x="49" y="123"/>
                  </a:lnTo>
                  <a:lnTo>
                    <a:pt x="49" y="123"/>
                  </a:lnTo>
                  <a:lnTo>
                    <a:pt x="51" y="125"/>
                  </a:lnTo>
                  <a:lnTo>
                    <a:pt x="51" y="125"/>
                  </a:lnTo>
                  <a:lnTo>
                    <a:pt x="54" y="128"/>
                  </a:lnTo>
                  <a:lnTo>
                    <a:pt x="54" y="128"/>
                  </a:lnTo>
                  <a:lnTo>
                    <a:pt x="54" y="130"/>
                  </a:lnTo>
                  <a:lnTo>
                    <a:pt x="56" y="130"/>
                  </a:lnTo>
                  <a:lnTo>
                    <a:pt x="56" y="130"/>
                  </a:lnTo>
                  <a:lnTo>
                    <a:pt x="56" y="128"/>
                  </a:lnTo>
                  <a:lnTo>
                    <a:pt x="56" y="128"/>
                  </a:lnTo>
                  <a:lnTo>
                    <a:pt x="56" y="125"/>
                  </a:lnTo>
                  <a:lnTo>
                    <a:pt x="54" y="123"/>
                  </a:lnTo>
                  <a:lnTo>
                    <a:pt x="56" y="123"/>
                  </a:lnTo>
                  <a:lnTo>
                    <a:pt x="56" y="120"/>
                  </a:lnTo>
                  <a:lnTo>
                    <a:pt x="54" y="115"/>
                  </a:lnTo>
                  <a:lnTo>
                    <a:pt x="54" y="112"/>
                  </a:lnTo>
                  <a:lnTo>
                    <a:pt x="56" y="112"/>
                  </a:lnTo>
                  <a:lnTo>
                    <a:pt x="56" y="110"/>
                  </a:lnTo>
                  <a:lnTo>
                    <a:pt x="54" y="110"/>
                  </a:lnTo>
                  <a:lnTo>
                    <a:pt x="54" y="110"/>
                  </a:lnTo>
                  <a:lnTo>
                    <a:pt x="54" y="107"/>
                  </a:lnTo>
                  <a:lnTo>
                    <a:pt x="54" y="107"/>
                  </a:lnTo>
                  <a:lnTo>
                    <a:pt x="54" y="107"/>
                  </a:lnTo>
                  <a:lnTo>
                    <a:pt x="54" y="105"/>
                  </a:lnTo>
                  <a:lnTo>
                    <a:pt x="54" y="102"/>
                  </a:lnTo>
                  <a:lnTo>
                    <a:pt x="54" y="100"/>
                  </a:lnTo>
                  <a:lnTo>
                    <a:pt x="54" y="95"/>
                  </a:lnTo>
                  <a:lnTo>
                    <a:pt x="54" y="95"/>
                  </a:lnTo>
                  <a:lnTo>
                    <a:pt x="56" y="95"/>
                  </a:lnTo>
                  <a:lnTo>
                    <a:pt x="56" y="95"/>
                  </a:lnTo>
                  <a:lnTo>
                    <a:pt x="62" y="95"/>
                  </a:lnTo>
                  <a:lnTo>
                    <a:pt x="67" y="95"/>
                  </a:lnTo>
                  <a:lnTo>
                    <a:pt x="74" y="95"/>
                  </a:lnTo>
                  <a:lnTo>
                    <a:pt x="79" y="95"/>
                  </a:lnTo>
                  <a:lnTo>
                    <a:pt x="79" y="95"/>
                  </a:lnTo>
                  <a:lnTo>
                    <a:pt x="79" y="95"/>
                  </a:lnTo>
                  <a:lnTo>
                    <a:pt x="87" y="95"/>
                  </a:lnTo>
                  <a:lnTo>
                    <a:pt x="90" y="95"/>
                  </a:lnTo>
                  <a:lnTo>
                    <a:pt x="92" y="95"/>
                  </a:lnTo>
                  <a:lnTo>
                    <a:pt x="92" y="95"/>
                  </a:lnTo>
                  <a:lnTo>
                    <a:pt x="95" y="95"/>
                  </a:lnTo>
                  <a:lnTo>
                    <a:pt x="97" y="95"/>
                  </a:lnTo>
                  <a:lnTo>
                    <a:pt x="97" y="95"/>
                  </a:lnTo>
                  <a:lnTo>
                    <a:pt x="97" y="95"/>
                  </a:lnTo>
                  <a:lnTo>
                    <a:pt x="100" y="95"/>
                  </a:lnTo>
                  <a:lnTo>
                    <a:pt x="100" y="95"/>
                  </a:lnTo>
                  <a:lnTo>
                    <a:pt x="102" y="95"/>
                  </a:lnTo>
                  <a:lnTo>
                    <a:pt x="102" y="92"/>
                  </a:lnTo>
                  <a:lnTo>
                    <a:pt x="102" y="92"/>
                  </a:lnTo>
                  <a:lnTo>
                    <a:pt x="102" y="92"/>
                  </a:lnTo>
                  <a:lnTo>
                    <a:pt x="105" y="92"/>
                  </a:lnTo>
                  <a:lnTo>
                    <a:pt x="105" y="92"/>
                  </a:lnTo>
                  <a:lnTo>
                    <a:pt x="105" y="90"/>
                  </a:lnTo>
                  <a:lnTo>
                    <a:pt x="110" y="92"/>
                  </a:lnTo>
                  <a:lnTo>
                    <a:pt x="115" y="92"/>
                  </a:lnTo>
                  <a:lnTo>
                    <a:pt x="120" y="95"/>
                  </a:lnTo>
                  <a:lnTo>
                    <a:pt x="120" y="95"/>
                  </a:lnTo>
                  <a:lnTo>
                    <a:pt x="120" y="95"/>
                  </a:lnTo>
                  <a:lnTo>
                    <a:pt x="123" y="95"/>
                  </a:lnTo>
                  <a:lnTo>
                    <a:pt x="123" y="95"/>
                  </a:lnTo>
                  <a:lnTo>
                    <a:pt x="128" y="95"/>
                  </a:lnTo>
                  <a:lnTo>
                    <a:pt x="130" y="95"/>
                  </a:lnTo>
                  <a:lnTo>
                    <a:pt x="130" y="95"/>
                  </a:lnTo>
                  <a:lnTo>
                    <a:pt x="130" y="92"/>
                  </a:lnTo>
                  <a:lnTo>
                    <a:pt x="130" y="92"/>
                  </a:lnTo>
                  <a:lnTo>
                    <a:pt x="133" y="92"/>
                  </a:lnTo>
                  <a:lnTo>
                    <a:pt x="133" y="92"/>
                  </a:lnTo>
                  <a:lnTo>
                    <a:pt x="133" y="92"/>
                  </a:lnTo>
                  <a:lnTo>
                    <a:pt x="133" y="90"/>
                  </a:lnTo>
                  <a:lnTo>
                    <a:pt x="133" y="90"/>
                  </a:lnTo>
                  <a:lnTo>
                    <a:pt x="133" y="90"/>
                  </a:lnTo>
                  <a:lnTo>
                    <a:pt x="133" y="90"/>
                  </a:lnTo>
                  <a:lnTo>
                    <a:pt x="135" y="87"/>
                  </a:lnTo>
                  <a:lnTo>
                    <a:pt x="135" y="87"/>
                  </a:lnTo>
                  <a:lnTo>
                    <a:pt x="135" y="87"/>
                  </a:lnTo>
                  <a:lnTo>
                    <a:pt x="138" y="87"/>
                  </a:lnTo>
                  <a:lnTo>
                    <a:pt x="138" y="84"/>
                  </a:lnTo>
                  <a:lnTo>
                    <a:pt x="138" y="84"/>
                  </a:lnTo>
                  <a:lnTo>
                    <a:pt x="138" y="84"/>
                  </a:lnTo>
                  <a:lnTo>
                    <a:pt x="141" y="84"/>
                  </a:lnTo>
                  <a:lnTo>
                    <a:pt x="141" y="84"/>
                  </a:lnTo>
                  <a:lnTo>
                    <a:pt x="143" y="84"/>
                  </a:lnTo>
                  <a:lnTo>
                    <a:pt x="143" y="84"/>
                  </a:lnTo>
                  <a:lnTo>
                    <a:pt x="148" y="84"/>
                  </a:lnTo>
                  <a:lnTo>
                    <a:pt x="151" y="84"/>
                  </a:lnTo>
                  <a:lnTo>
                    <a:pt x="156" y="79"/>
                  </a:lnTo>
                  <a:lnTo>
                    <a:pt x="156" y="79"/>
                  </a:lnTo>
                  <a:lnTo>
                    <a:pt x="158" y="74"/>
                  </a:lnTo>
                  <a:lnTo>
                    <a:pt x="158" y="74"/>
                  </a:lnTo>
                  <a:lnTo>
                    <a:pt x="158" y="72"/>
                  </a:lnTo>
                  <a:close/>
                </a:path>
              </a:pathLst>
            </a:custGeom>
            <a:solidFill>
              <a:srgbClr val="FFC000"/>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354" name="Freeform 1973">
              <a:extLst>
                <a:ext uri="{FF2B5EF4-FFF2-40B4-BE49-F238E27FC236}">
                  <a16:creationId xmlns:a16="http://schemas.microsoft.com/office/drawing/2014/main" id="{7944DB50-4DD7-5A45-ACCD-8C0AF4601575}"/>
                </a:ext>
              </a:extLst>
            </p:cNvPr>
            <p:cNvSpPr>
              <a:spLocks/>
            </p:cNvSpPr>
            <p:nvPr/>
          </p:nvSpPr>
          <p:spPr bwMode="auto">
            <a:xfrm>
              <a:off x="6308695" y="2160486"/>
              <a:ext cx="183203" cy="109595"/>
            </a:xfrm>
            <a:custGeom>
              <a:avLst/>
              <a:gdLst>
                <a:gd name="T0" fmla="*/ 107 w 112"/>
                <a:gd name="T1" fmla="*/ 11 h 67"/>
                <a:gd name="T2" fmla="*/ 99 w 112"/>
                <a:gd name="T3" fmla="*/ 8 h 67"/>
                <a:gd name="T4" fmla="*/ 97 w 112"/>
                <a:gd name="T5" fmla="*/ 8 h 67"/>
                <a:gd name="T6" fmla="*/ 92 w 112"/>
                <a:gd name="T7" fmla="*/ 6 h 67"/>
                <a:gd name="T8" fmla="*/ 79 w 112"/>
                <a:gd name="T9" fmla="*/ 3 h 67"/>
                <a:gd name="T10" fmla="*/ 64 w 112"/>
                <a:gd name="T11" fmla="*/ 8 h 67"/>
                <a:gd name="T12" fmla="*/ 56 w 112"/>
                <a:gd name="T13" fmla="*/ 13 h 67"/>
                <a:gd name="T14" fmla="*/ 36 w 112"/>
                <a:gd name="T15" fmla="*/ 11 h 67"/>
                <a:gd name="T16" fmla="*/ 20 w 112"/>
                <a:gd name="T17" fmla="*/ 11 h 67"/>
                <a:gd name="T18" fmla="*/ 8 w 112"/>
                <a:gd name="T19" fmla="*/ 8 h 67"/>
                <a:gd name="T20" fmla="*/ 8 w 112"/>
                <a:gd name="T21" fmla="*/ 6 h 67"/>
                <a:gd name="T22" fmla="*/ 10 w 112"/>
                <a:gd name="T23" fmla="*/ 6 h 67"/>
                <a:gd name="T24" fmla="*/ 5 w 112"/>
                <a:gd name="T25" fmla="*/ 0 h 67"/>
                <a:gd name="T26" fmla="*/ 3 w 112"/>
                <a:gd name="T27" fmla="*/ 3 h 67"/>
                <a:gd name="T28" fmla="*/ 0 w 112"/>
                <a:gd name="T29" fmla="*/ 6 h 67"/>
                <a:gd name="T30" fmla="*/ 0 w 112"/>
                <a:gd name="T31" fmla="*/ 11 h 67"/>
                <a:gd name="T32" fmla="*/ 0 w 112"/>
                <a:gd name="T33" fmla="*/ 13 h 67"/>
                <a:gd name="T34" fmla="*/ 3 w 112"/>
                <a:gd name="T35" fmla="*/ 18 h 67"/>
                <a:gd name="T36" fmla="*/ 8 w 112"/>
                <a:gd name="T37" fmla="*/ 21 h 67"/>
                <a:gd name="T38" fmla="*/ 10 w 112"/>
                <a:gd name="T39" fmla="*/ 26 h 67"/>
                <a:gd name="T40" fmla="*/ 10 w 112"/>
                <a:gd name="T41" fmla="*/ 28 h 67"/>
                <a:gd name="T42" fmla="*/ 3 w 112"/>
                <a:gd name="T43" fmla="*/ 31 h 67"/>
                <a:gd name="T44" fmla="*/ 3 w 112"/>
                <a:gd name="T45" fmla="*/ 34 h 67"/>
                <a:gd name="T46" fmla="*/ 3 w 112"/>
                <a:gd name="T47" fmla="*/ 36 h 67"/>
                <a:gd name="T48" fmla="*/ 3 w 112"/>
                <a:gd name="T49" fmla="*/ 39 h 67"/>
                <a:gd name="T50" fmla="*/ 3 w 112"/>
                <a:gd name="T51" fmla="*/ 44 h 67"/>
                <a:gd name="T52" fmla="*/ 5 w 112"/>
                <a:gd name="T53" fmla="*/ 49 h 67"/>
                <a:gd name="T54" fmla="*/ 10 w 112"/>
                <a:gd name="T55" fmla="*/ 51 h 67"/>
                <a:gd name="T56" fmla="*/ 13 w 112"/>
                <a:gd name="T57" fmla="*/ 56 h 67"/>
                <a:gd name="T58" fmla="*/ 13 w 112"/>
                <a:gd name="T59" fmla="*/ 59 h 67"/>
                <a:gd name="T60" fmla="*/ 15 w 112"/>
                <a:gd name="T61" fmla="*/ 64 h 67"/>
                <a:gd name="T62" fmla="*/ 20 w 112"/>
                <a:gd name="T63" fmla="*/ 64 h 67"/>
                <a:gd name="T64" fmla="*/ 26 w 112"/>
                <a:gd name="T65" fmla="*/ 64 h 67"/>
                <a:gd name="T66" fmla="*/ 31 w 112"/>
                <a:gd name="T67" fmla="*/ 62 h 67"/>
                <a:gd name="T68" fmla="*/ 33 w 112"/>
                <a:gd name="T69" fmla="*/ 62 h 67"/>
                <a:gd name="T70" fmla="*/ 38 w 112"/>
                <a:gd name="T71" fmla="*/ 62 h 67"/>
                <a:gd name="T72" fmla="*/ 43 w 112"/>
                <a:gd name="T73" fmla="*/ 62 h 67"/>
                <a:gd name="T74" fmla="*/ 46 w 112"/>
                <a:gd name="T75" fmla="*/ 64 h 67"/>
                <a:gd name="T76" fmla="*/ 51 w 112"/>
                <a:gd name="T77" fmla="*/ 64 h 67"/>
                <a:gd name="T78" fmla="*/ 59 w 112"/>
                <a:gd name="T79" fmla="*/ 67 h 67"/>
                <a:gd name="T80" fmla="*/ 64 w 112"/>
                <a:gd name="T81" fmla="*/ 64 h 67"/>
                <a:gd name="T82" fmla="*/ 69 w 112"/>
                <a:gd name="T83" fmla="*/ 64 h 67"/>
                <a:gd name="T84" fmla="*/ 71 w 112"/>
                <a:gd name="T85" fmla="*/ 62 h 67"/>
                <a:gd name="T86" fmla="*/ 69 w 112"/>
                <a:gd name="T87" fmla="*/ 56 h 67"/>
                <a:gd name="T88" fmla="*/ 71 w 112"/>
                <a:gd name="T89" fmla="*/ 56 h 67"/>
                <a:gd name="T90" fmla="*/ 74 w 112"/>
                <a:gd name="T91" fmla="*/ 56 h 67"/>
                <a:gd name="T92" fmla="*/ 79 w 112"/>
                <a:gd name="T93" fmla="*/ 54 h 67"/>
                <a:gd name="T94" fmla="*/ 79 w 112"/>
                <a:gd name="T95" fmla="*/ 51 h 67"/>
                <a:gd name="T96" fmla="*/ 84 w 112"/>
                <a:gd name="T97" fmla="*/ 51 h 67"/>
                <a:gd name="T98" fmla="*/ 89 w 112"/>
                <a:gd name="T99" fmla="*/ 49 h 67"/>
                <a:gd name="T100" fmla="*/ 92 w 112"/>
                <a:gd name="T101" fmla="*/ 49 h 67"/>
                <a:gd name="T102" fmla="*/ 97 w 112"/>
                <a:gd name="T103" fmla="*/ 51 h 67"/>
                <a:gd name="T104" fmla="*/ 102 w 112"/>
                <a:gd name="T105" fmla="*/ 51 h 67"/>
                <a:gd name="T106" fmla="*/ 105 w 112"/>
                <a:gd name="T107" fmla="*/ 51 h 67"/>
                <a:gd name="T108" fmla="*/ 99 w 112"/>
                <a:gd name="T109" fmla="*/ 41 h 67"/>
                <a:gd name="T110" fmla="*/ 99 w 112"/>
                <a:gd name="T111" fmla="*/ 34 h 67"/>
                <a:gd name="T112" fmla="*/ 102 w 112"/>
                <a:gd name="T113" fmla="*/ 28 h 67"/>
                <a:gd name="T114" fmla="*/ 102 w 112"/>
                <a:gd name="T115" fmla="*/ 23 h 67"/>
                <a:gd name="T116" fmla="*/ 110 w 112"/>
                <a:gd name="T117" fmla="*/ 21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2" h="67">
                  <a:moveTo>
                    <a:pt x="112" y="11"/>
                  </a:moveTo>
                  <a:lnTo>
                    <a:pt x="110" y="13"/>
                  </a:lnTo>
                  <a:lnTo>
                    <a:pt x="107" y="11"/>
                  </a:lnTo>
                  <a:lnTo>
                    <a:pt x="105" y="11"/>
                  </a:lnTo>
                  <a:lnTo>
                    <a:pt x="102" y="11"/>
                  </a:lnTo>
                  <a:lnTo>
                    <a:pt x="99" y="8"/>
                  </a:lnTo>
                  <a:lnTo>
                    <a:pt x="99" y="6"/>
                  </a:lnTo>
                  <a:lnTo>
                    <a:pt x="97" y="8"/>
                  </a:lnTo>
                  <a:lnTo>
                    <a:pt x="97" y="8"/>
                  </a:lnTo>
                  <a:lnTo>
                    <a:pt x="94" y="6"/>
                  </a:lnTo>
                  <a:lnTo>
                    <a:pt x="92" y="6"/>
                  </a:lnTo>
                  <a:lnTo>
                    <a:pt x="92" y="6"/>
                  </a:lnTo>
                  <a:lnTo>
                    <a:pt x="84" y="3"/>
                  </a:lnTo>
                  <a:lnTo>
                    <a:pt x="84" y="3"/>
                  </a:lnTo>
                  <a:lnTo>
                    <a:pt x="79" y="3"/>
                  </a:lnTo>
                  <a:lnTo>
                    <a:pt x="74" y="6"/>
                  </a:lnTo>
                  <a:lnTo>
                    <a:pt x="69" y="6"/>
                  </a:lnTo>
                  <a:lnTo>
                    <a:pt x="64" y="8"/>
                  </a:lnTo>
                  <a:lnTo>
                    <a:pt x="61" y="11"/>
                  </a:lnTo>
                  <a:lnTo>
                    <a:pt x="59" y="13"/>
                  </a:lnTo>
                  <a:lnTo>
                    <a:pt x="56" y="13"/>
                  </a:lnTo>
                  <a:lnTo>
                    <a:pt x="51" y="13"/>
                  </a:lnTo>
                  <a:lnTo>
                    <a:pt x="43" y="13"/>
                  </a:lnTo>
                  <a:lnTo>
                    <a:pt x="36" y="11"/>
                  </a:lnTo>
                  <a:lnTo>
                    <a:pt x="33" y="11"/>
                  </a:lnTo>
                  <a:lnTo>
                    <a:pt x="28" y="11"/>
                  </a:lnTo>
                  <a:lnTo>
                    <a:pt x="20" y="11"/>
                  </a:lnTo>
                  <a:lnTo>
                    <a:pt x="15" y="8"/>
                  </a:lnTo>
                  <a:lnTo>
                    <a:pt x="10" y="11"/>
                  </a:lnTo>
                  <a:lnTo>
                    <a:pt x="8" y="8"/>
                  </a:lnTo>
                  <a:lnTo>
                    <a:pt x="8" y="8"/>
                  </a:lnTo>
                  <a:lnTo>
                    <a:pt x="8" y="8"/>
                  </a:lnTo>
                  <a:lnTo>
                    <a:pt x="8" y="6"/>
                  </a:lnTo>
                  <a:lnTo>
                    <a:pt x="10" y="6"/>
                  </a:lnTo>
                  <a:lnTo>
                    <a:pt x="10" y="6"/>
                  </a:lnTo>
                  <a:lnTo>
                    <a:pt x="10" y="6"/>
                  </a:lnTo>
                  <a:lnTo>
                    <a:pt x="10" y="3"/>
                  </a:lnTo>
                  <a:lnTo>
                    <a:pt x="5" y="3"/>
                  </a:lnTo>
                  <a:lnTo>
                    <a:pt x="5" y="0"/>
                  </a:lnTo>
                  <a:lnTo>
                    <a:pt x="5" y="0"/>
                  </a:lnTo>
                  <a:lnTo>
                    <a:pt x="3" y="3"/>
                  </a:lnTo>
                  <a:lnTo>
                    <a:pt x="3" y="3"/>
                  </a:lnTo>
                  <a:lnTo>
                    <a:pt x="3" y="6"/>
                  </a:lnTo>
                  <a:lnTo>
                    <a:pt x="0" y="6"/>
                  </a:lnTo>
                  <a:lnTo>
                    <a:pt x="0" y="6"/>
                  </a:lnTo>
                  <a:lnTo>
                    <a:pt x="0" y="8"/>
                  </a:lnTo>
                  <a:lnTo>
                    <a:pt x="0" y="8"/>
                  </a:lnTo>
                  <a:lnTo>
                    <a:pt x="0" y="11"/>
                  </a:lnTo>
                  <a:lnTo>
                    <a:pt x="0" y="13"/>
                  </a:lnTo>
                  <a:lnTo>
                    <a:pt x="0" y="13"/>
                  </a:lnTo>
                  <a:lnTo>
                    <a:pt x="0" y="13"/>
                  </a:lnTo>
                  <a:lnTo>
                    <a:pt x="3" y="16"/>
                  </a:lnTo>
                  <a:lnTo>
                    <a:pt x="3" y="16"/>
                  </a:lnTo>
                  <a:lnTo>
                    <a:pt x="3" y="18"/>
                  </a:lnTo>
                  <a:lnTo>
                    <a:pt x="5" y="21"/>
                  </a:lnTo>
                  <a:lnTo>
                    <a:pt x="8" y="21"/>
                  </a:lnTo>
                  <a:lnTo>
                    <a:pt x="8" y="21"/>
                  </a:lnTo>
                  <a:lnTo>
                    <a:pt x="8" y="23"/>
                  </a:lnTo>
                  <a:lnTo>
                    <a:pt x="10" y="23"/>
                  </a:lnTo>
                  <a:lnTo>
                    <a:pt x="10" y="26"/>
                  </a:lnTo>
                  <a:lnTo>
                    <a:pt x="10" y="26"/>
                  </a:lnTo>
                  <a:lnTo>
                    <a:pt x="10" y="26"/>
                  </a:lnTo>
                  <a:lnTo>
                    <a:pt x="10" y="28"/>
                  </a:lnTo>
                  <a:lnTo>
                    <a:pt x="8" y="28"/>
                  </a:lnTo>
                  <a:lnTo>
                    <a:pt x="8" y="31"/>
                  </a:lnTo>
                  <a:lnTo>
                    <a:pt x="3" y="31"/>
                  </a:lnTo>
                  <a:lnTo>
                    <a:pt x="3" y="31"/>
                  </a:lnTo>
                  <a:lnTo>
                    <a:pt x="3" y="31"/>
                  </a:lnTo>
                  <a:lnTo>
                    <a:pt x="3" y="34"/>
                  </a:lnTo>
                  <a:lnTo>
                    <a:pt x="3" y="34"/>
                  </a:lnTo>
                  <a:lnTo>
                    <a:pt x="3" y="34"/>
                  </a:lnTo>
                  <a:lnTo>
                    <a:pt x="3" y="36"/>
                  </a:lnTo>
                  <a:lnTo>
                    <a:pt x="3" y="39"/>
                  </a:lnTo>
                  <a:lnTo>
                    <a:pt x="3" y="39"/>
                  </a:lnTo>
                  <a:lnTo>
                    <a:pt x="3" y="39"/>
                  </a:lnTo>
                  <a:lnTo>
                    <a:pt x="3" y="41"/>
                  </a:lnTo>
                  <a:lnTo>
                    <a:pt x="3" y="41"/>
                  </a:lnTo>
                  <a:lnTo>
                    <a:pt x="3" y="44"/>
                  </a:lnTo>
                  <a:lnTo>
                    <a:pt x="0" y="44"/>
                  </a:lnTo>
                  <a:lnTo>
                    <a:pt x="3" y="46"/>
                  </a:lnTo>
                  <a:lnTo>
                    <a:pt x="5" y="49"/>
                  </a:lnTo>
                  <a:lnTo>
                    <a:pt x="8" y="49"/>
                  </a:lnTo>
                  <a:lnTo>
                    <a:pt x="10" y="49"/>
                  </a:lnTo>
                  <a:lnTo>
                    <a:pt x="10" y="51"/>
                  </a:lnTo>
                  <a:lnTo>
                    <a:pt x="10" y="54"/>
                  </a:lnTo>
                  <a:lnTo>
                    <a:pt x="13" y="54"/>
                  </a:lnTo>
                  <a:lnTo>
                    <a:pt x="13" y="56"/>
                  </a:lnTo>
                  <a:lnTo>
                    <a:pt x="13" y="56"/>
                  </a:lnTo>
                  <a:lnTo>
                    <a:pt x="13" y="56"/>
                  </a:lnTo>
                  <a:lnTo>
                    <a:pt x="13" y="59"/>
                  </a:lnTo>
                  <a:lnTo>
                    <a:pt x="13" y="64"/>
                  </a:lnTo>
                  <a:lnTo>
                    <a:pt x="13" y="64"/>
                  </a:lnTo>
                  <a:lnTo>
                    <a:pt x="15" y="64"/>
                  </a:lnTo>
                  <a:lnTo>
                    <a:pt x="15" y="64"/>
                  </a:lnTo>
                  <a:lnTo>
                    <a:pt x="18" y="64"/>
                  </a:lnTo>
                  <a:lnTo>
                    <a:pt x="20" y="64"/>
                  </a:lnTo>
                  <a:lnTo>
                    <a:pt x="20" y="64"/>
                  </a:lnTo>
                  <a:lnTo>
                    <a:pt x="23" y="64"/>
                  </a:lnTo>
                  <a:lnTo>
                    <a:pt x="26" y="64"/>
                  </a:lnTo>
                  <a:lnTo>
                    <a:pt x="28" y="64"/>
                  </a:lnTo>
                  <a:lnTo>
                    <a:pt x="31" y="62"/>
                  </a:lnTo>
                  <a:lnTo>
                    <a:pt x="31" y="62"/>
                  </a:lnTo>
                  <a:lnTo>
                    <a:pt x="33" y="62"/>
                  </a:lnTo>
                  <a:lnTo>
                    <a:pt x="33" y="62"/>
                  </a:lnTo>
                  <a:lnTo>
                    <a:pt x="33" y="62"/>
                  </a:lnTo>
                  <a:lnTo>
                    <a:pt x="36" y="62"/>
                  </a:lnTo>
                  <a:lnTo>
                    <a:pt x="38" y="62"/>
                  </a:lnTo>
                  <a:lnTo>
                    <a:pt x="38" y="62"/>
                  </a:lnTo>
                  <a:lnTo>
                    <a:pt x="41" y="59"/>
                  </a:lnTo>
                  <a:lnTo>
                    <a:pt x="41" y="59"/>
                  </a:lnTo>
                  <a:lnTo>
                    <a:pt x="43" y="62"/>
                  </a:lnTo>
                  <a:lnTo>
                    <a:pt x="43" y="62"/>
                  </a:lnTo>
                  <a:lnTo>
                    <a:pt x="43" y="64"/>
                  </a:lnTo>
                  <a:lnTo>
                    <a:pt x="46" y="64"/>
                  </a:lnTo>
                  <a:lnTo>
                    <a:pt x="46" y="64"/>
                  </a:lnTo>
                  <a:lnTo>
                    <a:pt x="49" y="64"/>
                  </a:lnTo>
                  <a:lnTo>
                    <a:pt x="51" y="64"/>
                  </a:lnTo>
                  <a:lnTo>
                    <a:pt x="54" y="64"/>
                  </a:lnTo>
                  <a:lnTo>
                    <a:pt x="56" y="67"/>
                  </a:lnTo>
                  <a:lnTo>
                    <a:pt x="59" y="67"/>
                  </a:lnTo>
                  <a:lnTo>
                    <a:pt x="61" y="67"/>
                  </a:lnTo>
                  <a:lnTo>
                    <a:pt x="61" y="67"/>
                  </a:lnTo>
                  <a:lnTo>
                    <a:pt x="64" y="64"/>
                  </a:lnTo>
                  <a:lnTo>
                    <a:pt x="64" y="64"/>
                  </a:lnTo>
                  <a:lnTo>
                    <a:pt x="66" y="67"/>
                  </a:lnTo>
                  <a:lnTo>
                    <a:pt x="69" y="64"/>
                  </a:lnTo>
                  <a:lnTo>
                    <a:pt x="71" y="64"/>
                  </a:lnTo>
                  <a:lnTo>
                    <a:pt x="71" y="62"/>
                  </a:lnTo>
                  <a:lnTo>
                    <a:pt x="71" y="62"/>
                  </a:lnTo>
                  <a:lnTo>
                    <a:pt x="71" y="59"/>
                  </a:lnTo>
                  <a:lnTo>
                    <a:pt x="69" y="59"/>
                  </a:lnTo>
                  <a:lnTo>
                    <a:pt x="69" y="56"/>
                  </a:lnTo>
                  <a:lnTo>
                    <a:pt x="69" y="56"/>
                  </a:lnTo>
                  <a:lnTo>
                    <a:pt x="71" y="56"/>
                  </a:lnTo>
                  <a:lnTo>
                    <a:pt x="71" y="56"/>
                  </a:lnTo>
                  <a:lnTo>
                    <a:pt x="74" y="56"/>
                  </a:lnTo>
                  <a:lnTo>
                    <a:pt x="74" y="56"/>
                  </a:lnTo>
                  <a:lnTo>
                    <a:pt x="74" y="56"/>
                  </a:lnTo>
                  <a:lnTo>
                    <a:pt x="74" y="54"/>
                  </a:lnTo>
                  <a:lnTo>
                    <a:pt x="77" y="54"/>
                  </a:lnTo>
                  <a:lnTo>
                    <a:pt x="79" y="54"/>
                  </a:lnTo>
                  <a:lnTo>
                    <a:pt x="79" y="51"/>
                  </a:lnTo>
                  <a:lnTo>
                    <a:pt x="79" y="51"/>
                  </a:lnTo>
                  <a:lnTo>
                    <a:pt x="79" y="51"/>
                  </a:lnTo>
                  <a:lnTo>
                    <a:pt x="82" y="51"/>
                  </a:lnTo>
                  <a:lnTo>
                    <a:pt x="82" y="51"/>
                  </a:lnTo>
                  <a:lnTo>
                    <a:pt x="84" y="51"/>
                  </a:lnTo>
                  <a:lnTo>
                    <a:pt x="87" y="49"/>
                  </a:lnTo>
                  <a:lnTo>
                    <a:pt x="87" y="49"/>
                  </a:lnTo>
                  <a:lnTo>
                    <a:pt x="89" y="49"/>
                  </a:lnTo>
                  <a:lnTo>
                    <a:pt x="92" y="49"/>
                  </a:lnTo>
                  <a:lnTo>
                    <a:pt x="92" y="49"/>
                  </a:lnTo>
                  <a:lnTo>
                    <a:pt x="92" y="49"/>
                  </a:lnTo>
                  <a:lnTo>
                    <a:pt x="94" y="51"/>
                  </a:lnTo>
                  <a:lnTo>
                    <a:pt x="97" y="51"/>
                  </a:lnTo>
                  <a:lnTo>
                    <a:pt x="97" y="51"/>
                  </a:lnTo>
                  <a:lnTo>
                    <a:pt x="99" y="51"/>
                  </a:lnTo>
                  <a:lnTo>
                    <a:pt x="99" y="51"/>
                  </a:lnTo>
                  <a:lnTo>
                    <a:pt x="102" y="51"/>
                  </a:lnTo>
                  <a:lnTo>
                    <a:pt x="102" y="51"/>
                  </a:lnTo>
                  <a:lnTo>
                    <a:pt x="102" y="51"/>
                  </a:lnTo>
                  <a:lnTo>
                    <a:pt x="105" y="51"/>
                  </a:lnTo>
                  <a:lnTo>
                    <a:pt x="105" y="49"/>
                  </a:lnTo>
                  <a:lnTo>
                    <a:pt x="102" y="46"/>
                  </a:lnTo>
                  <a:lnTo>
                    <a:pt x="99" y="41"/>
                  </a:lnTo>
                  <a:lnTo>
                    <a:pt x="97" y="41"/>
                  </a:lnTo>
                  <a:lnTo>
                    <a:pt x="94" y="39"/>
                  </a:lnTo>
                  <a:lnTo>
                    <a:pt x="99" y="34"/>
                  </a:lnTo>
                  <a:lnTo>
                    <a:pt x="99" y="34"/>
                  </a:lnTo>
                  <a:lnTo>
                    <a:pt x="102" y="34"/>
                  </a:lnTo>
                  <a:lnTo>
                    <a:pt x="102" y="28"/>
                  </a:lnTo>
                  <a:lnTo>
                    <a:pt x="102" y="23"/>
                  </a:lnTo>
                  <a:lnTo>
                    <a:pt x="102" y="23"/>
                  </a:lnTo>
                  <a:lnTo>
                    <a:pt x="102" y="23"/>
                  </a:lnTo>
                  <a:lnTo>
                    <a:pt x="105" y="18"/>
                  </a:lnTo>
                  <a:lnTo>
                    <a:pt x="107" y="18"/>
                  </a:lnTo>
                  <a:lnTo>
                    <a:pt x="110" y="21"/>
                  </a:lnTo>
                  <a:lnTo>
                    <a:pt x="112" y="18"/>
                  </a:lnTo>
                  <a:lnTo>
                    <a:pt x="112" y="11"/>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355" name="Freeform 1974">
              <a:extLst>
                <a:ext uri="{FF2B5EF4-FFF2-40B4-BE49-F238E27FC236}">
                  <a16:creationId xmlns:a16="http://schemas.microsoft.com/office/drawing/2014/main" id="{46662766-5DEB-944C-987C-B1CB7373039D}"/>
                </a:ext>
              </a:extLst>
            </p:cNvPr>
            <p:cNvSpPr>
              <a:spLocks noEditPoints="1"/>
            </p:cNvSpPr>
            <p:nvPr/>
          </p:nvSpPr>
          <p:spPr bwMode="auto">
            <a:xfrm>
              <a:off x="9356073" y="3613020"/>
              <a:ext cx="42529" cy="37622"/>
            </a:xfrm>
            <a:custGeom>
              <a:avLst/>
              <a:gdLst>
                <a:gd name="T0" fmla="*/ 23 w 26"/>
                <a:gd name="T1" fmla="*/ 13 h 23"/>
                <a:gd name="T2" fmla="*/ 23 w 26"/>
                <a:gd name="T3" fmla="*/ 11 h 23"/>
                <a:gd name="T4" fmla="*/ 23 w 26"/>
                <a:gd name="T5" fmla="*/ 8 h 23"/>
                <a:gd name="T6" fmla="*/ 20 w 26"/>
                <a:gd name="T7" fmla="*/ 6 h 23"/>
                <a:gd name="T8" fmla="*/ 20 w 26"/>
                <a:gd name="T9" fmla="*/ 3 h 23"/>
                <a:gd name="T10" fmla="*/ 18 w 26"/>
                <a:gd name="T11" fmla="*/ 3 h 23"/>
                <a:gd name="T12" fmla="*/ 18 w 26"/>
                <a:gd name="T13" fmla="*/ 6 h 23"/>
                <a:gd name="T14" fmla="*/ 18 w 26"/>
                <a:gd name="T15" fmla="*/ 8 h 23"/>
                <a:gd name="T16" fmla="*/ 20 w 26"/>
                <a:gd name="T17" fmla="*/ 11 h 23"/>
                <a:gd name="T18" fmla="*/ 20 w 26"/>
                <a:gd name="T19" fmla="*/ 16 h 23"/>
                <a:gd name="T20" fmla="*/ 23 w 26"/>
                <a:gd name="T21" fmla="*/ 16 h 23"/>
                <a:gd name="T22" fmla="*/ 23 w 26"/>
                <a:gd name="T23" fmla="*/ 16 h 23"/>
                <a:gd name="T24" fmla="*/ 26 w 26"/>
                <a:gd name="T25" fmla="*/ 16 h 23"/>
                <a:gd name="T26" fmla="*/ 26 w 26"/>
                <a:gd name="T27" fmla="*/ 16 h 23"/>
                <a:gd name="T28" fmla="*/ 26 w 26"/>
                <a:gd name="T29" fmla="*/ 16 h 23"/>
                <a:gd name="T30" fmla="*/ 23 w 26"/>
                <a:gd name="T31" fmla="*/ 13 h 23"/>
                <a:gd name="T32" fmla="*/ 18 w 26"/>
                <a:gd name="T33" fmla="*/ 0 h 23"/>
                <a:gd name="T34" fmla="*/ 18 w 26"/>
                <a:gd name="T35" fmla="*/ 0 h 23"/>
                <a:gd name="T36" fmla="*/ 15 w 26"/>
                <a:gd name="T37" fmla="*/ 3 h 23"/>
                <a:gd name="T38" fmla="*/ 13 w 26"/>
                <a:gd name="T39" fmla="*/ 3 h 23"/>
                <a:gd name="T40" fmla="*/ 10 w 26"/>
                <a:gd name="T41" fmla="*/ 6 h 23"/>
                <a:gd name="T42" fmla="*/ 10 w 26"/>
                <a:gd name="T43" fmla="*/ 8 h 23"/>
                <a:gd name="T44" fmla="*/ 8 w 26"/>
                <a:gd name="T45" fmla="*/ 8 h 23"/>
                <a:gd name="T46" fmla="*/ 5 w 26"/>
                <a:gd name="T47" fmla="*/ 11 h 23"/>
                <a:gd name="T48" fmla="*/ 3 w 26"/>
                <a:gd name="T49" fmla="*/ 11 h 23"/>
                <a:gd name="T50" fmla="*/ 0 w 26"/>
                <a:gd name="T51" fmla="*/ 11 h 23"/>
                <a:gd name="T52" fmla="*/ 0 w 26"/>
                <a:gd name="T53" fmla="*/ 11 h 23"/>
                <a:gd name="T54" fmla="*/ 3 w 26"/>
                <a:gd name="T55" fmla="*/ 13 h 23"/>
                <a:gd name="T56" fmla="*/ 3 w 26"/>
                <a:gd name="T57" fmla="*/ 13 h 23"/>
                <a:gd name="T58" fmla="*/ 3 w 26"/>
                <a:gd name="T59" fmla="*/ 16 h 23"/>
                <a:gd name="T60" fmla="*/ 5 w 26"/>
                <a:gd name="T61" fmla="*/ 16 h 23"/>
                <a:gd name="T62" fmla="*/ 5 w 26"/>
                <a:gd name="T63" fmla="*/ 18 h 23"/>
                <a:gd name="T64" fmla="*/ 5 w 26"/>
                <a:gd name="T65" fmla="*/ 18 h 23"/>
                <a:gd name="T66" fmla="*/ 8 w 26"/>
                <a:gd name="T67" fmla="*/ 18 h 23"/>
                <a:gd name="T68" fmla="*/ 8 w 26"/>
                <a:gd name="T69" fmla="*/ 18 h 23"/>
                <a:gd name="T70" fmla="*/ 10 w 26"/>
                <a:gd name="T71" fmla="*/ 21 h 23"/>
                <a:gd name="T72" fmla="*/ 10 w 26"/>
                <a:gd name="T73" fmla="*/ 23 h 23"/>
                <a:gd name="T74" fmla="*/ 10 w 26"/>
                <a:gd name="T75" fmla="*/ 23 h 23"/>
                <a:gd name="T76" fmla="*/ 13 w 26"/>
                <a:gd name="T77" fmla="*/ 23 h 23"/>
                <a:gd name="T78" fmla="*/ 13 w 26"/>
                <a:gd name="T79" fmla="*/ 21 h 23"/>
                <a:gd name="T80" fmla="*/ 15 w 26"/>
                <a:gd name="T81" fmla="*/ 21 h 23"/>
                <a:gd name="T82" fmla="*/ 15 w 26"/>
                <a:gd name="T83" fmla="*/ 18 h 23"/>
                <a:gd name="T84" fmla="*/ 15 w 26"/>
                <a:gd name="T85" fmla="*/ 18 h 23"/>
                <a:gd name="T86" fmla="*/ 15 w 26"/>
                <a:gd name="T87" fmla="*/ 16 h 23"/>
                <a:gd name="T88" fmla="*/ 15 w 26"/>
                <a:gd name="T89" fmla="*/ 16 h 23"/>
                <a:gd name="T90" fmla="*/ 15 w 26"/>
                <a:gd name="T91" fmla="*/ 13 h 23"/>
                <a:gd name="T92" fmla="*/ 15 w 26"/>
                <a:gd name="T93" fmla="*/ 13 h 23"/>
                <a:gd name="T94" fmla="*/ 13 w 26"/>
                <a:gd name="T95" fmla="*/ 11 h 23"/>
                <a:gd name="T96" fmla="*/ 13 w 26"/>
                <a:gd name="T97" fmla="*/ 8 h 23"/>
                <a:gd name="T98" fmla="*/ 13 w 26"/>
                <a:gd name="T99" fmla="*/ 8 h 23"/>
                <a:gd name="T100" fmla="*/ 13 w 26"/>
                <a:gd name="T101" fmla="*/ 8 h 23"/>
                <a:gd name="T102" fmla="*/ 15 w 26"/>
                <a:gd name="T103" fmla="*/ 6 h 23"/>
                <a:gd name="T104" fmla="*/ 18 w 26"/>
                <a:gd name="T105" fmla="*/ 6 h 23"/>
                <a:gd name="T106" fmla="*/ 18 w 26"/>
                <a:gd name="T107" fmla="*/ 3 h 23"/>
                <a:gd name="T108" fmla="*/ 18 w 26"/>
                <a:gd name="T109" fmla="*/ 3 h 23"/>
                <a:gd name="T110" fmla="*/ 18 w 26"/>
                <a:gd name="T111"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6" h="23">
                  <a:moveTo>
                    <a:pt x="23" y="13"/>
                  </a:moveTo>
                  <a:lnTo>
                    <a:pt x="23" y="11"/>
                  </a:lnTo>
                  <a:lnTo>
                    <a:pt x="23" y="8"/>
                  </a:lnTo>
                  <a:lnTo>
                    <a:pt x="20" y="6"/>
                  </a:lnTo>
                  <a:lnTo>
                    <a:pt x="20" y="3"/>
                  </a:lnTo>
                  <a:lnTo>
                    <a:pt x="18" y="3"/>
                  </a:lnTo>
                  <a:lnTo>
                    <a:pt x="18" y="6"/>
                  </a:lnTo>
                  <a:lnTo>
                    <a:pt x="18" y="8"/>
                  </a:lnTo>
                  <a:lnTo>
                    <a:pt x="20" y="11"/>
                  </a:lnTo>
                  <a:lnTo>
                    <a:pt x="20" y="16"/>
                  </a:lnTo>
                  <a:lnTo>
                    <a:pt x="23" y="16"/>
                  </a:lnTo>
                  <a:lnTo>
                    <a:pt x="23" y="16"/>
                  </a:lnTo>
                  <a:lnTo>
                    <a:pt x="26" y="16"/>
                  </a:lnTo>
                  <a:lnTo>
                    <a:pt x="26" y="16"/>
                  </a:lnTo>
                  <a:lnTo>
                    <a:pt x="26" y="16"/>
                  </a:lnTo>
                  <a:lnTo>
                    <a:pt x="23" y="13"/>
                  </a:lnTo>
                  <a:close/>
                  <a:moveTo>
                    <a:pt x="18" y="0"/>
                  </a:moveTo>
                  <a:lnTo>
                    <a:pt x="18" y="0"/>
                  </a:lnTo>
                  <a:lnTo>
                    <a:pt x="15" y="3"/>
                  </a:lnTo>
                  <a:lnTo>
                    <a:pt x="13" y="3"/>
                  </a:lnTo>
                  <a:lnTo>
                    <a:pt x="10" y="6"/>
                  </a:lnTo>
                  <a:lnTo>
                    <a:pt x="10" y="8"/>
                  </a:lnTo>
                  <a:lnTo>
                    <a:pt x="8" y="8"/>
                  </a:lnTo>
                  <a:lnTo>
                    <a:pt x="5" y="11"/>
                  </a:lnTo>
                  <a:lnTo>
                    <a:pt x="3" y="11"/>
                  </a:lnTo>
                  <a:lnTo>
                    <a:pt x="0" y="11"/>
                  </a:lnTo>
                  <a:lnTo>
                    <a:pt x="0" y="11"/>
                  </a:lnTo>
                  <a:lnTo>
                    <a:pt x="3" y="13"/>
                  </a:lnTo>
                  <a:lnTo>
                    <a:pt x="3" y="13"/>
                  </a:lnTo>
                  <a:lnTo>
                    <a:pt x="3" y="16"/>
                  </a:lnTo>
                  <a:lnTo>
                    <a:pt x="5" y="16"/>
                  </a:lnTo>
                  <a:lnTo>
                    <a:pt x="5" y="18"/>
                  </a:lnTo>
                  <a:lnTo>
                    <a:pt x="5" y="18"/>
                  </a:lnTo>
                  <a:lnTo>
                    <a:pt x="8" y="18"/>
                  </a:lnTo>
                  <a:lnTo>
                    <a:pt x="8" y="18"/>
                  </a:lnTo>
                  <a:lnTo>
                    <a:pt x="10" y="21"/>
                  </a:lnTo>
                  <a:lnTo>
                    <a:pt x="10" y="23"/>
                  </a:lnTo>
                  <a:lnTo>
                    <a:pt x="10" y="23"/>
                  </a:lnTo>
                  <a:lnTo>
                    <a:pt x="13" y="23"/>
                  </a:lnTo>
                  <a:lnTo>
                    <a:pt x="13" y="21"/>
                  </a:lnTo>
                  <a:lnTo>
                    <a:pt x="15" y="21"/>
                  </a:lnTo>
                  <a:lnTo>
                    <a:pt x="15" y="18"/>
                  </a:lnTo>
                  <a:lnTo>
                    <a:pt x="15" y="18"/>
                  </a:lnTo>
                  <a:lnTo>
                    <a:pt x="15" y="16"/>
                  </a:lnTo>
                  <a:lnTo>
                    <a:pt x="15" y="16"/>
                  </a:lnTo>
                  <a:lnTo>
                    <a:pt x="15" y="13"/>
                  </a:lnTo>
                  <a:lnTo>
                    <a:pt x="15" y="13"/>
                  </a:lnTo>
                  <a:lnTo>
                    <a:pt x="13" y="11"/>
                  </a:lnTo>
                  <a:lnTo>
                    <a:pt x="13" y="8"/>
                  </a:lnTo>
                  <a:lnTo>
                    <a:pt x="13" y="8"/>
                  </a:lnTo>
                  <a:lnTo>
                    <a:pt x="13" y="8"/>
                  </a:lnTo>
                  <a:lnTo>
                    <a:pt x="15" y="6"/>
                  </a:lnTo>
                  <a:lnTo>
                    <a:pt x="18" y="6"/>
                  </a:lnTo>
                  <a:lnTo>
                    <a:pt x="18" y="3"/>
                  </a:lnTo>
                  <a:lnTo>
                    <a:pt x="18" y="3"/>
                  </a:lnTo>
                  <a:lnTo>
                    <a:pt x="18"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356" name="Freeform 1975">
              <a:extLst>
                <a:ext uri="{FF2B5EF4-FFF2-40B4-BE49-F238E27FC236}">
                  <a16:creationId xmlns:a16="http://schemas.microsoft.com/office/drawing/2014/main" id="{C58A185A-0A36-CC4A-AD8B-1CB736EAFD61}"/>
                </a:ext>
              </a:extLst>
            </p:cNvPr>
            <p:cNvSpPr>
              <a:spLocks noEditPoints="1"/>
            </p:cNvSpPr>
            <p:nvPr/>
          </p:nvSpPr>
          <p:spPr bwMode="auto">
            <a:xfrm>
              <a:off x="3519764" y="3105941"/>
              <a:ext cx="13086" cy="13086"/>
            </a:xfrm>
            <a:custGeom>
              <a:avLst/>
              <a:gdLst>
                <a:gd name="T0" fmla="*/ 0 w 8"/>
                <a:gd name="T1" fmla="*/ 5 h 8"/>
                <a:gd name="T2" fmla="*/ 0 w 8"/>
                <a:gd name="T3" fmla="*/ 8 h 8"/>
                <a:gd name="T4" fmla="*/ 0 w 8"/>
                <a:gd name="T5" fmla="*/ 8 h 8"/>
                <a:gd name="T6" fmla="*/ 0 w 8"/>
                <a:gd name="T7" fmla="*/ 8 h 8"/>
                <a:gd name="T8" fmla="*/ 3 w 8"/>
                <a:gd name="T9" fmla="*/ 5 h 8"/>
                <a:gd name="T10" fmla="*/ 3 w 8"/>
                <a:gd name="T11" fmla="*/ 5 h 8"/>
                <a:gd name="T12" fmla="*/ 0 w 8"/>
                <a:gd name="T13" fmla="*/ 5 h 8"/>
                <a:gd name="T14" fmla="*/ 5 w 8"/>
                <a:gd name="T15" fmla="*/ 5 h 8"/>
                <a:gd name="T16" fmla="*/ 5 w 8"/>
                <a:gd name="T17" fmla="*/ 5 h 8"/>
                <a:gd name="T18" fmla="*/ 5 w 8"/>
                <a:gd name="T19" fmla="*/ 5 h 8"/>
                <a:gd name="T20" fmla="*/ 5 w 8"/>
                <a:gd name="T21" fmla="*/ 5 h 8"/>
                <a:gd name="T22" fmla="*/ 8 w 8"/>
                <a:gd name="T23" fmla="*/ 5 h 8"/>
                <a:gd name="T24" fmla="*/ 5 w 8"/>
                <a:gd name="T25" fmla="*/ 5 h 8"/>
                <a:gd name="T26" fmla="*/ 5 w 8"/>
                <a:gd name="T27" fmla="*/ 5 h 8"/>
                <a:gd name="T28" fmla="*/ 8 w 8"/>
                <a:gd name="T29" fmla="*/ 0 h 8"/>
                <a:gd name="T30" fmla="*/ 8 w 8"/>
                <a:gd name="T31" fmla="*/ 0 h 8"/>
                <a:gd name="T32" fmla="*/ 5 w 8"/>
                <a:gd name="T33" fmla="*/ 0 h 8"/>
                <a:gd name="T34" fmla="*/ 5 w 8"/>
                <a:gd name="T35" fmla="*/ 0 h 8"/>
                <a:gd name="T36" fmla="*/ 5 w 8"/>
                <a:gd name="T37" fmla="*/ 0 h 8"/>
                <a:gd name="T38" fmla="*/ 8 w 8"/>
                <a:gd name="T39" fmla="*/ 0 h 8"/>
                <a:gd name="T40" fmla="*/ 8 w 8"/>
                <a:gd name="T41" fmla="*/ 0 h 8"/>
                <a:gd name="T42" fmla="*/ 8 w 8"/>
                <a:gd name="T43" fmla="*/ 0 h 8"/>
                <a:gd name="T44" fmla="*/ 8 w 8"/>
                <a:gd name="T45"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 h="8">
                  <a:moveTo>
                    <a:pt x="0" y="5"/>
                  </a:moveTo>
                  <a:lnTo>
                    <a:pt x="0" y="8"/>
                  </a:lnTo>
                  <a:lnTo>
                    <a:pt x="0" y="8"/>
                  </a:lnTo>
                  <a:lnTo>
                    <a:pt x="0" y="8"/>
                  </a:lnTo>
                  <a:lnTo>
                    <a:pt x="3" y="5"/>
                  </a:lnTo>
                  <a:lnTo>
                    <a:pt x="3" y="5"/>
                  </a:lnTo>
                  <a:lnTo>
                    <a:pt x="0" y="5"/>
                  </a:lnTo>
                  <a:close/>
                  <a:moveTo>
                    <a:pt x="5" y="5"/>
                  </a:moveTo>
                  <a:lnTo>
                    <a:pt x="5" y="5"/>
                  </a:lnTo>
                  <a:lnTo>
                    <a:pt x="5" y="5"/>
                  </a:lnTo>
                  <a:lnTo>
                    <a:pt x="5" y="5"/>
                  </a:lnTo>
                  <a:lnTo>
                    <a:pt x="8" y="5"/>
                  </a:lnTo>
                  <a:lnTo>
                    <a:pt x="5" y="5"/>
                  </a:lnTo>
                  <a:lnTo>
                    <a:pt x="5" y="5"/>
                  </a:lnTo>
                  <a:close/>
                  <a:moveTo>
                    <a:pt x="8" y="0"/>
                  </a:moveTo>
                  <a:lnTo>
                    <a:pt x="8" y="0"/>
                  </a:lnTo>
                  <a:lnTo>
                    <a:pt x="5" y="0"/>
                  </a:lnTo>
                  <a:lnTo>
                    <a:pt x="5" y="0"/>
                  </a:lnTo>
                  <a:lnTo>
                    <a:pt x="5" y="0"/>
                  </a:lnTo>
                  <a:lnTo>
                    <a:pt x="8" y="0"/>
                  </a:lnTo>
                  <a:lnTo>
                    <a:pt x="8" y="0"/>
                  </a:lnTo>
                  <a:lnTo>
                    <a:pt x="8" y="0"/>
                  </a:lnTo>
                  <a:lnTo>
                    <a:pt x="8"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357" name="Freeform 1976">
              <a:extLst>
                <a:ext uri="{FF2B5EF4-FFF2-40B4-BE49-F238E27FC236}">
                  <a16:creationId xmlns:a16="http://schemas.microsoft.com/office/drawing/2014/main" id="{E377F564-3572-0541-A6EF-8FA4348A46F0}"/>
                </a:ext>
              </a:extLst>
            </p:cNvPr>
            <p:cNvSpPr>
              <a:spLocks/>
            </p:cNvSpPr>
            <p:nvPr/>
          </p:nvSpPr>
          <p:spPr bwMode="auto">
            <a:xfrm>
              <a:off x="7980417" y="4067754"/>
              <a:ext cx="8179" cy="8179"/>
            </a:xfrm>
            <a:custGeom>
              <a:avLst/>
              <a:gdLst>
                <a:gd name="T0" fmla="*/ 5 w 5"/>
                <a:gd name="T1" fmla="*/ 2 h 5"/>
                <a:gd name="T2" fmla="*/ 3 w 5"/>
                <a:gd name="T3" fmla="*/ 0 h 5"/>
                <a:gd name="T4" fmla="*/ 3 w 5"/>
                <a:gd name="T5" fmla="*/ 2 h 5"/>
                <a:gd name="T6" fmla="*/ 3 w 5"/>
                <a:gd name="T7" fmla="*/ 2 h 5"/>
                <a:gd name="T8" fmla="*/ 3 w 5"/>
                <a:gd name="T9" fmla="*/ 2 h 5"/>
                <a:gd name="T10" fmla="*/ 3 w 5"/>
                <a:gd name="T11" fmla="*/ 5 h 5"/>
                <a:gd name="T12" fmla="*/ 3 w 5"/>
                <a:gd name="T13" fmla="*/ 5 h 5"/>
                <a:gd name="T14" fmla="*/ 3 w 5"/>
                <a:gd name="T15" fmla="*/ 5 h 5"/>
                <a:gd name="T16" fmla="*/ 3 w 5"/>
                <a:gd name="T17" fmla="*/ 2 h 5"/>
                <a:gd name="T18" fmla="*/ 3 w 5"/>
                <a:gd name="T19" fmla="*/ 2 h 5"/>
                <a:gd name="T20" fmla="*/ 0 w 5"/>
                <a:gd name="T21" fmla="*/ 2 h 5"/>
                <a:gd name="T22" fmla="*/ 3 w 5"/>
                <a:gd name="T23" fmla="*/ 5 h 5"/>
                <a:gd name="T24" fmla="*/ 3 w 5"/>
                <a:gd name="T25" fmla="*/ 5 h 5"/>
                <a:gd name="T26" fmla="*/ 3 w 5"/>
                <a:gd name="T27" fmla="*/ 5 h 5"/>
                <a:gd name="T28" fmla="*/ 5 w 5"/>
                <a:gd name="T29" fmla="*/ 5 h 5"/>
                <a:gd name="T30" fmla="*/ 5 w 5"/>
                <a:gd name="T31" fmla="*/ 2 h 5"/>
                <a:gd name="T32" fmla="*/ 5 w 5"/>
                <a:gd name="T33"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 h="5">
                  <a:moveTo>
                    <a:pt x="5" y="2"/>
                  </a:moveTo>
                  <a:lnTo>
                    <a:pt x="3" y="0"/>
                  </a:lnTo>
                  <a:lnTo>
                    <a:pt x="3" y="2"/>
                  </a:lnTo>
                  <a:lnTo>
                    <a:pt x="3" y="2"/>
                  </a:lnTo>
                  <a:lnTo>
                    <a:pt x="3" y="2"/>
                  </a:lnTo>
                  <a:lnTo>
                    <a:pt x="3" y="5"/>
                  </a:lnTo>
                  <a:lnTo>
                    <a:pt x="3" y="5"/>
                  </a:lnTo>
                  <a:lnTo>
                    <a:pt x="3" y="5"/>
                  </a:lnTo>
                  <a:lnTo>
                    <a:pt x="3" y="2"/>
                  </a:lnTo>
                  <a:lnTo>
                    <a:pt x="3" y="2"/>
                  </a:lnTo>
                  <a:lnTo>
                    <a:pt x="0" y="2"/>
                  </a:lnTo>
                  <a:lnTo>
                    <a:pt x="3" y="5"/>
                  </a:lnTo>
                  <a:lnTo>
                    <a:pt x="3" y="5"/>
                  </a:lnTo>
                  <a:lnTo>
                    <a:pt x="3" y="5"/>
                  </a:lnTo>
                  <a:lnTo>
                    <a:pt x="5" y="5"/>
                  </a:lnTo>
                  <a:lnTo>
                    <a:pt x="5" y="2"/>
                  </a:lnTo>
                  <a:lnTo>
                    <a:pt x="5" y="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358" name="Freeform 1977">
              <a:extLst>
                <a:ext uri="{FF2B5EF4-FFF2-40B4-BE49-F238E27FC236}">
                  <a16:creationId xmlns:a16="http://schemas.microsoft.com/office/drawing/2014/main" id="{B8CF95EA-0A6B-DB43-B5ED-FFF444831C29}"/>
                </a:ext>
              </a:extLst>
            </p:cNvPr>
            <p:cNvSpPr>
              <a:spLocks noEditPoints="1"/>
            </p:cNvSpPr>
            <p:nvPr/>
          </p:nvSpPr>
          <p:spPr bwMode="auto">
            <a:xfrm>
              <a:off x="3182802" y="3604841"/>
              <a:ext cx="1284054" cy="1449263"/>
            </a:xfrm>
            <a:custGeom>
              <a:avLst/>
              <a:gdLst>
                <a:gd name="T0" fmla="*/ 619 w 785"/>
                <a:gd name="T1" fmla="*/ 644 h 886"/>
                <a:gd name="T2" fmla="*/ 588 w 785"/>
                <a:gd name="T3" fmla="*/ 184 h 886"/>
                <a:gd name="T4" fmla="*/ 441 w 785"/>
                <a:gd name="T5" fmla="*/ 148 h 886"/>
                <a:gd name="T6" fmla="*/ 476 w 785"/>
                <a:gd name="T7" fmla="*/ 161 h 886"/>
                <a:gd name="T8" fmla="*/ 507 w 785"/>
                <a:gd name="T9" fmla="*/ 138 h 886"/>
                <a:gd name="T10" fmla="*/ 481 w 785"/>
                <a:gd name="T11" fmla="*/ 123 h 886"/>
                <a:gd name="T12" fmla="*/ 469 w 785"/>
                <a:gd name="T13" fmla="*/ 110 h 886"/>
                <a:gd name="T14" fmla="*/ 785 w 785"/>
                <a:gd name="T15" fmla="*/ 280 h 886"/>
                <a:gd name="T16" fmla="*/ 688 w 785"/>
                <a:gd name="T17" fmla="*/ 191 h 886"/>
                <a:gd name="T18" fmla="*/ 596 w 785"/>
                <a:gd name="T19" fmla="*/ 179 h 886"/>
                <a:gd name="T20" fmla="*/ 588 w 785"/>
                <a:gd name="T21" fmla="*/ 163 h 886"/>
                <a:gd name="T22" fmla="*/ 543 w 785"/>
                <a:gd name="T23" fmla="*/ 138 h 886"/>
                <a:gd name="T24" fmla="*/ 509 w 785"/>
                <a:gd name="T25" fmla="*/ 145 h 886"/>
                <a:gd name="T26" fmla="*/ 474 w 785"/>
                <a:gd name="T27" fmla="*/ 163 h 886"/>
                <a:gd name="T28" fmla="*/ 438 w 785"/>
                <a:gd name="T29" fmla="*/ 151 h 886"/>
                <a:gd name="T30" fmla="*/ 471 w 785"/>
                <a:gd name="T31" fmla="*/ 79 h 886"/>
                <a:gd name="T32" fmla="*/ 438 w 785"/>
                <a:gd name="T33" fmla="*/ 36 h 886"/>
                <a:gd name="T34" fmla="*/ 407 w 785"/>
                <a:gd name="T35" fmla="*/ 69 h 886"/>
                <a:gd name="T36" fmla="*/ 377 w 785"/>
                <a:gd name="T37" fmla="*/ 61 h 886"/>
                <a:gd name="T38" fmla="*/ 346 w 785"/>
                <a:gd name="T39" fmla="*/ 77 h 886"/>
                <a:gd name="T40" fmla="*/ 313 w 785"/>
                <a:gd name="T41" fmla="*/ 84 h 886"/>
                <a:gd name="T42" fmla="*/ 283 w 785"/>
                <a:gd name="T43" fmla="*/ 79 h 886"/>
                <a:gd name="T44" fmla="*/ 283 w 785"/>
                <a:gd name="T45" fmla="*/ 26 h 886"/>
                <a:gd name="T46" fmla="*/ 265 w 785"/>
                <a:gd name="T47" fmla="*/ 3 h 886"/>
                <a:gd name="T48" fmla="*/ 221 w 785"/>
                <a:gd name="T49" fmla="*/ 36 h 886"/>
                <a:gd name="T50" fmla="*/ 193 w 785"/>
                <a:gd name="T51" fmla="*/ 39 h 886"/>
                <a:gd name="T52" fmla="*/ 188 w 785"/>
                <a:gd name="T53" fmla="*/ 87 h 886"/>
                <a:gd name="T54" fmla="*/ 142 w 785"/>
                <a:gd name="T55" fmla="*/ 97 h 886"/>
                <a:gd name="T56" fmla="*/ 112 w 785"/>
                <a:gd name="T57" fmla="*/ 82 h 886"/>
                <a:gd name="T58" fmla="*/ 91 w 785"/>
                <a:gd name="T59" fmla="*/ 100 h 886"/>
                <a:gd name="T60" fmla="*/ 74 w 785"/>
                <a:gd name="T61" fmla="*/ 110 h 886"/>
                <a:gd name="T62" fmla="*/ 86 w 785"/>
                <a:gd name="T63" fmla="*/ 158 h 886"/>
                <a:gd name="T64" fmla="*/ 48 w 785"/>
                <a:gd name="T65" fmla="*/ 222 h 886"/>
                <a:gd name="T66" fmla="*/ 15 w 785"/>
                <a:gd name="T67" fmla="*/ 270 h 886"/>
                <a:gd name="T68" fmla="*/ 5 w 785"/>
                <a:gd name="T69" fmla="*/ 301 h 886"/>
                <a:gd name="T70" fmla="*/ 35 w 785"/>
                <a:gd name="T71" fmla="*/ 339 h 886"/>
                <a:gd name="T72" fmla="*/ 71 w 785"/>
                <a:gd name="T73" fmla="*/ 362 h 886"/>
                <a:gd name="T74" fmla="*/ 125 w 785"/>
                <a:gd name="T75" fmla="*/ 362 h 886"/>
                <a:gd name="T76" fmla="*/ 176 w 785"/>
                <a:gd name="T77" fmla="*/ 357 h 886"/>
                <a:gd name="T78" fmla="*/ 193 w 785"/>
                <a:gd name="T79" fmla="*/ 397 h 886"/>
                <a:gd name="T80" fmla="*/ 249 w 785"/>
                <a:gd name="T81" fmla="*/ 425 h 886"/>
                <a:gd name="T82" fmla="*/ 290 w 785"/>
                <a:gd name="T83" fmla="*/ 486 h 886"/>
                <a:gd name="T84" fmla="*/ 346 w 785"/>
                <a:gd name="T85" fmla="*/ 535 h 886"/>
                <a:gd name="T86" fmla="*/ 344 w 785"/>
                <a:gd name="T87" fmla="*/ 588 h 886"/>
                <a:gd name="T88" fmla="*/ 349 w 785"/>
                <a:gd name="T89" fmla="*/ 624 h 886"/>
                <a:gd name="T90" fmla="*/ 390 w 785"/>
                <a:gd name="T91" fmla="*/ 629 h 886"/>
                <a:gd name="T92" fmla="*/ 413 w 785"/>
                <a:gd name="T93" fmla="*/ 665 h 886"/>
                <a:gd name="T94" fmla="*/ 433 w 785"/>
                <a:gd name="T95" fmla="*/ 700 h 886"/>
                <a:gd name="T96" fmla="*/ 425 w 785"/>
                <a:gd name="T97" fmla="*/ 746 h 886"/>
                <a:gd name="T98" fmla="*/ 402 w 785"/>
                <a:gd name="T99" fmla="*/ 771 h 886"/>
                <a:gd name="T100" fmla="*/ 415 w 785"/>
                <a:gd name="T101" fmla="*/ 820 h 886"/>
                <a:gd name="T102" fmla="*/ 458 w 785"/>
                <a:gd name="T103" fmla="*/ 845 h 886"/>
                <a:gd name="T104" fmla="*/ 489 w 785"/>
                <a:gd name="T105" fmla="*/ 866 h 886"/>
                <a:gd name="T106" fmla="*/ 504 w 785"/>
                <a:gd name="T107" fmla="*/ 804 h 886"/>
                <a:gd name="T108" fmla="*/ 494 w 785"/>
                <a:gd name="T109" fmla="*/ 845 h 886"/>
                <a:gd name="T110" fmla="*/ 540 w 785"/>
                <a:gd name="T111" fmla="*/ 726 h 886"/>
                <a:gd name="T112" fmla="*/ 553 w 785"/>
                <a:gd name="T113" fmla="*/ 693 h 886"/>
                <a:gd name="T114" fmla="*/ 622 w 785"/>
                <a:gd name="T115" fmla="*/ 642 h 886"/>
                <a:gd name="T116" fmla="*/ 662 w 785"/>
                <a:gd name="T117" fmla="*/ 637 h 886"/>
                <a:gd name="T118" fmla="*/ 706 w 785"/>
                <a:gd name="T119" fmla="*/ 527 h 886"/>
                <a:gd name="T120" fmla="*/ 711 w 785"/>
                <a:gd name="T121" fmla="*/ 418 h 886"/>
                <a:gd name="T122" fmla="*/ 741 w 785"/>
                <a:gd name="T123" fmla="*/ 372 h 8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85" h="886">
                  <a:moveTo>
                    <a:pt x="548" y="743"/>
                  </a:moveTo>
                  <a:lnTo>
                    <a:pt x="548" y="746"/>
                  </a:lnTo>
                  <a:lnTo>
                    <a:pt x="548" y="746"/>
                  </a:lnTo>
                  <a:lnTo>
                    <a:pt x="548" y="751"/>
                  </a:lnTo>
                  <a:lnTo>
                    <a:pt x="548" y="751"/>
                  </a:lnTo>
                  <a:lnTo>
                    <a:pt x="548" y="749"/>
                  </a:lnTo>
                  <a:lnTo>
                    <a:pt x="550" y="746"/>
                  </a:lnTo>
                  <a:lnTo>
                    <a:pt x="550" y="743"/>
                  </a:lnTo>
                  <a:lnTo>
                    <a:pt x="548" y="743"/>
                  </a:lnTo>
                  <a:lnTo>
                    <a:pt x="548" y="743"/>
                  </a:lnTo>
                  <a:close/>
                  <a:moveTo>
                    <a:pt x="543" y="721"/>
                  </a:moveTo>
                  <a:lnTo>
                    <a:pt x="543" y="721"/>
                  </a:lnTo>
                  <a:lnTo>
                    <a:pt x="543" y="721"/>
                  </a:lnTo>
                  <a:lnTo>
                    <a:pt x="543" y="718"/>
                  </a:lnTo>
                  <a:lnTo>
                    <a:pt x="543" y="715"/>
                  </a:lnTo>
                  <a:lnTo>
                    <a:pt x="543" y="715"/>
                  </a:lnTo>
                  <a:lnTo>
                    <a:pt x="540" y="718"/>
                  </a:lnTo>
                  <a:lnTo>
                    <a:pt x="543" y="721"/>
                  </a:lnTo>
                  <a:close/>
                  <a:moveTo>
                    <a:pt x="601" y="659"/>
                  </a:moveTo>
                  <a:lnTo>
                    <a:pt x="599" y="659"/>
                  </a:lnTo>
                  <a:lnTo>
                    <a:pt x="596" y="662"/>
                  </a:lnTo>
                  <a:lnTo>
                    <a:pt x="599" y="665"/>
                  </a:lnTo>
                  <a:lnTo>
                    <a:pt x="601" y="665"/>
                  </a:lnTo>
                  <a:lnTo>
                    <a:pt x="601" y="665"/>
                  </a:lnTo>
                  <a:lnTo>
                    <a:pt x="601" y="662"/>
                  </a:lnTo>
                  <a:lnTo>
                    <a:pt x="601" y="662"/>
                  </a:lnTo>
                  <a:lnTo>
                    <a:pt x="601" y="662"/>
                  </a:lnTo>
                  <a:lnTo>
                    <a:pt x="601" y="659"/>
                  </a:lnTo>
                  <a:lnTo>
                    <a:pt x="601" y="659"/>
                  </a:lnTo>
                  <a:close/>
                  <a:moveTo>
                    <a:pt x="619" y="644"/>
                  </a:moveTo>
                  <a:lnTo>
                    <a:pt x="619" y="644"/>
                  </a:lnTo>
                  <a:lnTo>
                    <a:pt x="619" y="644"/>
                  </a:lnTo>
                  <a:lnTo>
                    <a:pt x="619" y="644"/>
                  </a:lnTo>
                  <a:lnTo>
                    <a:pt x="616" y="647"/>
                  </a:lnTo>
                  <a:lnTo>
                    <a:pt x="619" y="647"/>
                  </a:lnTo>
                  <a:lnTo>
                    <a:pt x="619" y="647"/>
                  </a:lnTo>
                  <a:lnTo>
                    <a:pt x="622" y="647"/>
                  </a:lnTo>
                  <a:lnTo>
                    <a:pt x="622" y="647"/>
                  </a:lnTo>
                  <a:lnTo>
                    <a:pt x="622" y="647"/>
                  </a:lnTo>
                  <a:lnTo>
                    <a:pt x="619" y="644"/>
                  </a:lnTo>
                  <a:close/>
                  <a:moveTo>
                    <a:pt x="706" y="425"/>
                  </a:moveTo>
                  <a:lnTo>
                    <a:pt x="706" y="425"/>
                  </a:lnTo>
                  <a:lnTo>
                    <a:pt x="708" y="425"/>
                  </a:lnTo>
                  <a:lnTo>
                    <a:pt x="708" y="428"/>
                  </a:lnTo>
                  <a:lnTo>
                    <a:pt x="708" y="428"/>
                  </a:lnTo>
                  <a:lnTo>
                    <a:pt x="708" y="425"/>
                  </a:lnTo>
                  <a:lnTo>
                    <a:pt x="708" y="425"/>
                  </a:lnTo>
                  <a:lnTo>
                    <a:pt x="708" y="425"/>
                  </a:lnTo>
                  <a:lnTo>
                    <a:pt x="706" y="425"/>
                  </a:lnTo>
                  <a:close/>
                  <a:moveTo>
                    <a:pt x="713" y="413"/>
                  </a:moveTo>
                  <a:lnTo>
                    <a:pt x="713" y="415"/>
                  </a:lnTo>
                  <a:lnTo>
                    <a:pt x="711" y="418"/>
                  </a:lnTo>
                  <a:lnTo>
                    <a:pt x="711" y="418"/>
                  </a:lnTo>
                  <a:lnTo>
                    <a:pt x="711" y="418"/>
                  </a:lnTo>
                  <a:lnTo>
                    <a:pt x="713" y="415"/>
                  </a:lnTo>
                  <a:lnTo>
                    <a:pt x="713" y="415"/>
                  </a:lnTo>
                  <a:lnTo>
                    <a:pt x="713" y="413"/>
                  </a:lnTo>
                  <a:lnTo>
                    <a:pt x="713" y="413"/>
                  </a:lnTo>
                  <a:close/>
                  <a:moveTo>
                    <a:pt x="588" y="186"/>
                  </a:moveTo>
                  <a:lnTo>
                    <a:pt x="588" y="184"/>
                  </a:lnTo>
                  <a:lnTo>
                    <a:pt x="588" y="184"/>
                  </a:lnTo>
                  <a:lnTo>
                    <a:pt x="588" y="181"/>
                  </a:lnTo>
                  <a:lnTo>
                    <a:pt x="588" y="181"/>
                  </a:lnTo>
                  <a:lnTo>
                    <a:pt x="588" y="184"/>
                  </a:lnTo>
                  <a:lnTo>
                    <a:pt x="586" y="184"/>
                  </a:lnTo>
                  <a:lnTo>
                    <a:pt x="588" y="186"/>
                  </a:lnTo>
                  <a:lnTo>
                    <a:pt x="586" y="189"/>
                  </a:lnTo>
                  <a:lnTo>
                    <a:pt x="588" y="186"/>
                  </a:lnTo>
                  <a:close/>
                  <a:moveTo>
                    <a:pt x="578" y="151"/>
                  </a:moveTo>
                  <a:lnTo>
                    <a:pt x="581" y="151"/>
                  </a:lnTo>
                  <a:lnTo>
                    <a:pt x="581" y="148"/>
                  </a:lnTo>
                  <a:lnTo>
                    <a:pt x="578" y="148"/>
                  </a:lnTo>
                  <a:lnTo>
                    <a:pt x="578" y="151"/>
                  </a:lnTo>
                  <a:lnTo>
                    <a:pt x="578" y="151"/>
                  </a:lnTo>
                  <a:lnTo>
                    <a:pt x="578" y="151"/>
                  </a:lnTo>
                  <a:lnTo>
                    <a:pt x="578" y="151"/>
                  </a:lnTo>
                  <a:lnTo>
                    <a:pt x="578" y="151"/>
                  </a:lnTo>
                  <a:close/>
                  <a:moveTo>
                    <a:pt x="438" y="153"/>
                  </a:moveTo>
                  <a:lnTo>
                    <a:pt x="441" y="153"/>
                  </a:lnTo>
                  <a:lnTo>
                    <a:pt x="446" y="151"/>
                  </a:lnTo>
                  <a:lnTo>
                    <a:pt x="448" y="148"/>
                  </a:lnTo>
                  <a:lnTo>
                    <a:pt x="451" y="143"/>
                  </a:lnTo>
                  <a:lnTo>
                    <a:pt x="451" y="143"/>
                  </a:lnTo>
                  <a:lnTo>
                    <a:pt x="453" y="135"/>
                  </a:lnTo>
                  <a:lnTo>
                    <a:pt x="453" y="133"/>
                  </a:lnTo>
                  <a:lnTo>
                    <a:pt x="448" y="133"/>
                  </a:lnTo>
                  <a:lnTo>
                    <a:pt x="446" y="135"/>
                  </a:lnTo>
                  <a:lnTo>
                    <a:pt x="443" y="140"/>
                  </a:lnTo>
                  <a:lnTo>
                    <a:pt x="443" y="145"/>
                  </a:lnTo>
                  <a:lnTo>
                    <a:pt x="441" y="148"/>
                  </a:lnTo>
                  <a:lnTo>
                    <a:pt x="438" y="153"/>
                  </a:lnTo>
                  <a:close/>
                  <a:moveTo>
                    <a:pt x="486" y="125"/>
                  </a:moveTo>
                  <a:lnTo>
                    <a:pt x="484" y="125"/>
                  </a:lnTo>
                  <a:lnTo>
                    <a:pt x="474" y="123"/>
                  </a:lnTo>
                  <a:lnTo>
                    <a:pt x="469" y="123"/>
                  </a:lnTo>
                  <a:lnTo>
                    <a:pt x="464" y="125"/>
                  </a:lnTo>
                  <a:lnTo>
                    <a:pt x="464" y="128"/>
                  </a:lnTo>
                  <a:lnTo>
                    <a:pt x="464" y="130"/>
                  </a:lnTo>
                  <a:lnTo>
                    <a:pt x="464" y="133"/>
                  </a:lnTo>
                  <a:lnTo>
                    <a:pt x="464" y="133"/>
                  </a:lnTo>
                  <a:lnTo>
                    <a:pt x="461" y="135"/>
                  </a:lnTo>
                  <a:lnTo>
                    <a:pt x="461" y="135"/>
                  </a:lnTo>
                  <a:lnTo>
                    <a:pt x="461" y="140"/>
                  </a:lnTo>
                  <a:lnTo>
                    <a:pt x="461" y="143"/>
                  </a:lnTo>
                  <a:lnTo>
                    <a:pt x="464" y="145"/>
                  </a:lnTo>
                  <a:lnTo>
                    <a:pt x="466" y="145"/>
                  </a:lnTo>
                  <a:lnTo>
                    <a:pt x="466" y="145"/>
                  </a:lnTo>
                  <a:lnTo>
                    <a:pt x="466" y="145"/>
                  </a:lnTo>
                  <a:lnTo>
                    <a:pt x="466" y="145"/>
                  </a:lnTo>
                  <a:lnTo>
                    <a:pt x="464" y="145"/>
                  </a:lnTo>
                  <a:lnTo>
                    <a:pt x="464" y="145"/>
                  </a:lnTo>
                  <a:lnTo>
                    <a:pt x="464" y="148"/>
                  </a:lnTo>
                  <a:lnTo>
                    <a:pt x="464" y="151"/>
                  </a:lnTo>
                  <a:lnTo>
                    <a:pt x="464" y="156"/>
                  </a:lnTo>
                  <a:lnTo>
                    <a:pt x="466" y="158"/>
                  </a:lnTo>
                  <a:lnTo>
                    <a:pt x="466" y="158"/>
                  </a:lnTo>
                  <a:lnTo>
                    <a:pt x="469" y="161"/>
                  </a:lnTo>
                  <a:lnTo>
                    <a:pt x="469" y="161"/>
                  </a:lnTo>
                  <a:lnTo>
                    <a:pt x="471" y="161"/>
                  </a:lnTo>
                  <a:lnTo>
                    <a:pt x="476" y="161"/>
                  </a:lnTo>
                  <a:lnTo>
                    <a:pt x="476" y="158"/>
                  </a:lnTo>
                  <a:lnTo>
                    <a:pt x="479" y="158"/>
                  </a:lnTo>
                  <a:lnTo>
                    <a:pt x="479" y="161"/>
                  </a:lnTo>
                  <a:lnTo>
                    <a:pt x="481" y="161"/>
                  </a:lnTo>
                  <a:lnTo>
                    <a:pt x="484" y="161"/>
                  </a:lnTo>
                  <a:lnTo>
                    <a:pt x="484" y="161"/>
                  </a:lnTo>
                  <a:lnTo>
                    <a:pt x="486" y="158"/>
                  </a:lnTo>
                  <a:lnTo>
                    <a:pt x="486" y="158"/>
                  </a:lnTo>
                  <a:lnTo>
                    <a:pt x="486" y="156"/>
                  </a:lnTo>
                  <a:lnTo>
                    <a:pt x="489" y="156"/>
                  </a:lnTo>
                  <a:lnTo>
                    <a:pt x="492" y="156"/>
                  </a:lnTo>
                  <a:lnTo>
                    <a:pt x="494" y="156"/>
                  </a:lnTo>
                  <a:lnTo>
                    <a:pt x="494" y="156"/>
                  </a:lnTo>
                  <a:lnTo>
                    <a:pt x="494" y="153"/>
                  </a:lnTo>
                  <a:lnTo>
                    <a:pt x="494" y="153"/>
                  </a:lnTo>
                  <a:lnTo>
                    <a:pt x="497" y="153"/>
                  </a:lnTo>
                  <a:lnTo>
                    <a:pt x="497" y="156"/>
                  </a:lnTo>
                  <a:lnTo>
                    <a:pt x="499" y="153"/>
                  </a:lnTo>
                  <a:lnTo>
                    <a:pt x="499" y="153"/>
                  </a:lnTo>
                  <a:lnTo>
                    <a:pt x="502" y="151"/>
                  </a:lnTo>
                  <a:lnTo>
                    <a:pt x="502" y="151"/>
                  </a:lnTo>
                  <a:lnTo>
                    <a:pt x="502" y="148"/>
                  </a:lnTo>
                  <a:lnTo>
                    <a:pt x="502" y="148"/>
                  </a:lnTo>
                  <a:lnTo>
                    <a:pt x="502" y="148"/>
                  </a:lnTo>
                  <a:lnTo>
                    <a:pt x="504" y="145"/>
                  </a:lnTo>
                  <a:lnTo>
                    <a:pt x="504" y="145"/>
                  </a:lnTo>
                  <a:lnTo>
                    <a:pt x="504" y="143"/>
                  </a:lnTo>
                  <a:lnTo>
                    <a:pt x="507" y="140"/>
                  </a:lnTo>
                  <a:lnTo>
                    <a:pt x="507" y="140"/>
                  </a:lnTo>
                  <a:lnTo>
                    <a:pt x="507" y="138"/>
                  </a:lnTo>
                  <a:lnTo>
                    <a:pt x="507" y="135"/>
                  </a:lnTo>
                  <a:lnTo>
                    <a:pt x="507" y="135"/>
                  </a:lnTo>
                  <a:lnTo>
                    <a:pt x="507" y="135"/>
                  </a:lnTo>
                  <a:lnTo>
                    <a:pt x="509" y="133"/>
                  </a:lnTo>
                  <a:lnTo>
                    <a:pt x="509" y="130"/>
                  </a:lnTo>
                  <a:lnTo>
                    <a:pt x="509" y="128"/>
                  </a:lnTo>
                  <a:lnTo>
                    <a:pt x="509" y="128"/>
                  </a:lnTo>
                  <a:lnTo>
                    <a:pt x="509" y="125"/>
                  </a:lnTo>
                  <a:lnTo>
                    <a:pt x="507" y="125"/>
                  </a:lnTo>
                  <a:lnTo>
                    <a:pt x="507" y="125"/>
                  </a:lnTo>
                  <a:lnTo>
                    <a:pt x="502" y="125"/>
                  </a:lnTo>
                  <a:lnTo>
                    <a:pt x="494" y="123"/>
                  </a:lnTo>
                  <a:lnTo>
                    <a:pt x="494" y="123"/>
                  </a:lnTo>
                  <a:lnTo>
                    <a:pt x="492" y="125"/>
                  </a:lnTo>
                  <a:lnTo>
                    <a:pt x="489" y="125"/>
                  </a:lnTo>
                  <a:lnTo>
                    <a:pt x="486" y="125"/>
                  </a:lnTo>
                  <a:close/>
                  <a:moveTo>
                    <a:pt x="456" y="125"/>
                  </a:moveTo>
                  <a:lnTo>
                    <a:pt x="458" y="128"/>
                  </a:lnTo>
                  <a:lnTo>
                    <a:pt x="464" y="123"/>
                  </a:lnTo>
                  <a:lnTo>
                    <a:pt x="464" y="123"/>
                  </a:lnTo>
                  <a:lnTo>
                    <a:pt x="464" y="123"/>
                  </a:lnTo>
                  <a:lnTo>
                    <a:pt x="461" y="120"/>
                  </a:lnTo>
                  <a:lnTo>
                    <a:pt x="461" y="120"/>
                  </a:lnTo>
                  <a:lnTo>
                    <a:pt x="458" y="123"/>
                  </a:lnTo>
                  <a:lnTo>
                    <a:pt x="456" y="125"/>
                  </a:lnTo>
                  <a:lnTo>
                    <a:pt x="456" y="125"/>
                  </a:lnTo>
                  <a:lnTo>
                    <a:pt x="456" y="125"/>
                  </a:lnTo>
                  <a:lnTo>
                    <a:pt x="456" y="125"/>
                  </a:lnTo>
                  <a:close/>
                  <a:moveTo>
                    <a:pt x="481" y="120"/>
                  </a:moveTo>
                  <a:lnTo>
                    <a:pt x="481" y="123"/>
                  </a:lnTo>
                  <a:lnTo>
                    <a:pt x="484" y="123"/>
                  </a:lnTo>
                  <a:lnTo>
                    <a:pt x="489" y="123"/>
                  </a:lnTo>
                  <a:lnTo>
                    <a:pt x="489" y="123"/>
                  </a:lnTo>
                  <a:lnTo>
                    <a:pt x="489" y="120"/>
                  </a:lnTo>
                  <a:lnTo>
                    <a:pt x="489" y="120"/>
                  </a:lnTo>
                  <a:lnTo>
                    <a:pt x="486" y="117"/>
                  </a:lnTo>
                  <a:lnTo>
                    <a:pt x="486" y="117"/>
                  </a:lnTo>
                  <a:lnTo>
                    <a:pt x="484" y="120"/>
                  </a:lnTo>
                  <a:lnTo>
                    <a:pt x="481" y="120"/>
                  </a:lnTo>
                  <a:close/>
                  <a:moveTo>
                    <a:pt x="474" y="115"/>
                  </a:moveTo>
                  <a:lnTo>
                    <a:pt x="471" y="115"/>
                  </a:lnTo>
                  <a:lnTo>
                    <a:pt x="471" y="117"/>
                  </a:lnTo>
                  <a:lnTo>
                    <a:pt x="471" y="120"/>
                  </a:lnTo>
                  <a:lnTo>
                    <a:pt x="471" y="120"/>
                  </a:lnTo>
                  <a:lnTo>
                    <a:pt x="476" y="120"/>
                  </a:lnTo>
                  <a:lnTo>
                    <a:pt x="476" y="120"/>
                  </a:lnTo>
                  <a:lnTo>
                    <a:pt x="479" y="120"/>
                  </a:lnTo>
                  <a:lnTo>
                    <a:pt x="481" y="120"/>
                  </a:lnTo>
                  <a:lnTo>
                    <a:pt x="484" y="115"/>
                  </a:lnTo>
                  <a:lnTo>
                    <a:pt x="484" y="115"/>
                  </a:lnTo>
                  <a:lnTo>
                    <a:pt x="479" y="112"/>
                  </a:lnTo>
                  <a:lnTo>
                    <a:pt x="474" y="115"/>
                  </a:lnTo>
                  <a:close/>
                  <a:moveTo>
                    <a:pt x="469" y="117"/>
                  </a:moveTo>
                  <a:lnTo>
                    <a:pt x="471" y="115"/>
                  </a:lnTo>
                  <a:lnTo>
                    <a:pt x="471" y="112"/>
                  </a:lnTo>
                  <a:lnTo>
                    <a:pt x="471" y="107"/>
                  </a:lnTo>
                  <a:lnTo>
                    <a:pt x="471" y="107"/>
                  </a:lnTo>
                  <a:lnTo>
                    <a:pt x="469" y="107"/>
                  </a:lnTo>
                  <a:lnTo>
                    <a:pt x="469" y="107"/>
                  </a:lnTo>
                  <a:lnTo>
                    <a:pt x="469" y="110"/>
                  </a:lnTo>
                  <a:lnTo>
                    <a:pt x="469" y="112"/>
                  </a:lnTo>
                  <a:lnTo>
                    <a:pt x="466" y="115"/>
                  </a:lnTo>
                  <a:lnTo>
                    <a:pt x="466" y="115"/>
                  </a:lnTo>
                  <a:lnTo>
                    <a:pt x="466" y="120"/>
                  </a:lnTo>
                  <a:lnTo>
                    <a:pt x="469" y="120"/>
                  </a:lnTo>
                  <a:lnTo>
                    <a:pt x="469" y="117"/>
                  </a:lnTo>
                  <a:close/>
                  <a:moveTo>
                    <a:pt x="474" y="112"/>
                  </a:moveTo>
                  <a:lnTo>
                    <a:pt x="476" y="107"/>
                  </a:lnTo>
                  <a:lnTo>
                    <a:pt x="476" y="107"/>
                  </a:lnTo>
                  <a:lnTo>
                    <a:pt x="476" y="105"/>
                  </a:lnTo>
                  <a:lnTo>
                    <a:pt x="476" y="105"/>
                  </a:lnTo>
                  <a:lnTo>
                    <a:pt x="476" y="107"/>
                  </a:lnTo>
                  <a:lnTo>
                    <a:pt x="474" y="107"/>
                  </a:lnTo>
                  <a:lnTo>
                    <a:pt x="471" y="107"/>
                  </a:lnTo>
                  <a:lnTo>
                    <a:pt x="471" y="112"/>
                  </a:lnTo>
                  <a:lnTo>
                    <a:pt x="471" y="112"/>
                  </a:lnTo>
                  <a:lnTo>
                    <a:pt x="474" y="112"/>
                  </a:lnTo>
                  <a:close/>
                  <a:moveTo>
                    <a:pt x="469" y="77"/>
                  </a:moveTo>
                  <a:lnTo>
                    <a:pt x="471" y="77"/>
                  </a:lnTo>
                  <a:lnTo>
                    <a:pt x="471" y="74"/>
                  </a:lnTo>
                  <a:lnTo>
                    <a:pt x="471" y="72"/>
                  </a:lnTo>
                  <a:lnTo>
                    <a:pt x="471" y="72"/>
                  </a:lnTo>
                  <a:lnTo>
                    <a:pt x="469" y="72"/>
                  </a:lnTo>
                  <a:lnTo>
                    <a:pt x="469" y="72"/>
                  </a:lnTo>
                  <a:lnTo>
                    <a:pt x="469" y="74"/>
                  </a:lnTo>
                  <a:lnTo>
                    <a:pt x="469" y="77"/>
                  </a:lnTo>
                  <a:lnTo>
                    <a:pt x="469" y="77"/>
                  </a:lnTo>
                  <a:close/>
                  <a:moveTo>
                    <a:pt x="785" y="288"/>
                  </a:moveTo>
                  <a:lnTo>
                    <a:pt x="785" y="285"/>
                  </a:lnTo>
                  <a:lnTo>
                    <a:pt x="785" y="280"/>
                  </a:lnTo>
                  <a:lnTo>
                    <a:pt x="785" y="280"/>
                  </a:lnTo>
                  <a:lnTo>
                    <a:pt x="785" y="278"/>
                  </a:lnTo>
                  <a:lnTo>
                    <a:pt x="782" y="275"/>
                  </a:lnTo>
                  <a:lnTo>
                    <a:pt x="782" y="265"/>
                  </a:lnTo>
                  <a:lnTo>
                    <a:pt x="780" y="260"/>
                  </a:lnTo>
                  <a:lnTo>
                    <a:pt x="777" y="255"/>
                  </a:lnTo>
                  <a:lnTo>
                    <a:pt x="777" y="247"/>
                  </a:lnTo>
                  <a:lnTo>
                    <a:pt x="772" y="240"/>
                  </a:lnTo>
                  <a:lnTo>
                    <a:pt x="772" y="237"/>
                  </a:lnTo>
                  <a:lnTo>
                    <a:pt x="769" y="237"/>
                  </a:lnTo>
                  <a:lnTo>
                    <a:pt x="762" y="235"/>
                  </a:lnTo>
                  <a:lnTo>
                    <a:pt x="757" y="237"/>
                  </a:lnTo>
                  <a:lnTo>
                    <a:pt x="751" y="235"/>
                  </a:lnTo>
                  <a:lnTo>
                    <a:pt x="749" y="237"/>
                  </a:lnTo>
                  <a:lnTo>
                    <a:pt x="746" y="235"/>
                  </a:lnTo>
                  <a:lnTo>
                    <a:pt x="744" y="232"/>
                  </a:lnTo>
                  <a:lnTo>
                    <a:pt x="741" y="232"/>
                  </a:lnTo>
                  <a:lnTo>
                    <a:pt x="736" y="232"/>
                  </a:lnTo>
                  <a:lnTo>
                    <a:pt x="734" y="227"/>
                  </a:lnTo>
                  <a:lnTo>
                    <a:pt x="729" y="224"/>
                  </a:lnTo>
                  <a:lnTo>
                    <a:pt x="723" y="219"/>
                  </a:lnTo>
                  <a:lnTo>
                    <a:pt x="718" y="217"/>
                  </a:lnTo>
                  <a:lnTo>
                    <a:pt x="713" y="209"/>
                  </a:lnTo>
                  <a:lnTo>
                    <a:pt x="713" y="209"/>
                  </a:lnTo>
                  <a:lnTo>
                    <a:pt x="711" y="204"/>
                  </a:lnTo>
                  <a:lnTo>
                    <a:pt x="706" y="204"/>
                  </a:lnTo>
                  <a:lnTo>
                    <a:pt x="701" y="199"/>
                  </a:lnTo>
                  <a:lnTo>
                    <a:pt x="698" y="196"/>
                  </a:lnTo>
                  <a:lnTo>
                    <a:pt x="693" y="194"/>
                  </a:lnTo>
                  <a:lnTo>
                    <a:pt x="688" y="191"/>
                  </a:lnTo>
                  <a:lnTo>
                    <a:pt x="688" y="189"/>
                  </a:lnTo>
                  <a:lnTo>
                    <a:pt x="683" y="189"/>
                  </a:lnTo>
                  <a:lnTo>
                    <a:pt x="680" y="186"/>
                  </a:lnTo>
                  <a:lnTo>
                    <a:pt x="675" y="184"/>
                  </a:lnTo>
                  <a:lnTo>
                    <a:pt x="670" y="184"/>
                  </a:lnTo>
                  <a:lnTo>
                    <a:pt x="662" y="186"/>
                  </a:lnTo>
                  <a:lnTo>
                    <a:pt x="655" y="186"/>
                  </a:lnTo>
                  <a:lnTo>
                    <a:pt x="652" y="186"/>
                  </a:lnTo>
                  <a:lnTo>
                    <a:pt x="650" y="186"/>
                  </a:lnTo>
                  <a:lnTo>
                    <a:pt x="647" y="186"/>
                  </a:lnTo>
                  <a:lnTo>
                    <a:pt x="644" y="184"/>
                  </a:lnTo>
                  <a:lnTo>
                    <a:pt x="642" y="184"/>
                  </a:lnTo>
                  <a:lnTo>
                    <a:pt x="639" y="184"/>
                  </a:lnTo>
                  <a:lnTo>
                    <a:pt x="634" y="184"/>
                  </a:lnTo>
                  <a:lnTo>
                    <a:pt x="627" y="181"/>
                  </a:lnTo>
                  <a:lnTo>
                    <a:pt x="624" y="179"/>
                  </a:lnTo>
                  <a:lnTo>
                    <a:pt x="622" y="179"/>
                  </a:lnTo>
                  <a:lnTo>
                    <a:pt x="619" y="176"/>
                  </a:lnTo>
                  <a:lnTo>
                    <a:pt x="614" y="173"/>
                  </a:lnTo>
                  <a:lnTo>
                    <a:pt x="611" y="173"/>
                  </a:lnTo>
                  <a:lnTo>
                    <a:pt x="609" y="176"/>
                  </a:lnTo>
                  <a:lnTo>
                    <a:pt x="609" y="176"/>
                  </a:lnTo>
                  <a:lnTo>
                    <a:pt x="604" y="179"/>
                  </a:lnTo>
                  <a:lnTo>
                    <a:pt x="601" y="179"/>
                  </a:lnTo>
                  <a:lnTo>
                    <a:pt x="601" y="179"/>
                  </a:lnTo>
                  <a:lnTo>
                    <a:pt x="599" y="181"/>
                  </a:lnTo>
                  <a:lnTo>
                    <a:pt x="596" y="184"/>
                  </a:lnTo>
                  <a:lnTo>
                    <a:pt x="593" y="184"/>
                  </a:lnTo>
                  <a:lnTo>
                    <a:pt x="596" y="181"/>
                  </a:lnTo>
                  <a:lnTo>
                    <a:pt x="596" y="179"/>
                  </a:lnTo>
                  <a:lnTo>
                    <a:pt x="596" y="179"/>
                  </a:lnTo>
                  <a:lnTo>
                    <a:pt x="596" y="176"/>
                  </a:lnTo>
                  <a:lnTo>
                    <a:pt x="596" y="176"/>
                  </a:lnTo>
                  <a:lnTo>
                    <a:pt x="593" y="176"/>
                  </a:lnTo>
                  <a:lnTo>
                    <a:pt x="593" y="179"/>
                  </a:lnTo>
                  <a:lnTo>
                    <a:pt x="591" y="181"/>
                  </a:lnTo>
                  <a:lnTo>
                    <a:pt x="591" y="186"/>
                  </a:lnTo>
                  <a:lnTo>
                    <a:pt x="586" y="191"/>
                  </a:lnTo>
                  <a:lnTo>
                    <a:pt x="583" y="194"/>
                  </a:lnTo>
                  <a:lnTo>
                    <a:pt x="583" y="191"/>
                  </a:lnTo>
                  <a:lnTo>
                    <a:pt x="586" y="184"/>
                  </a:lnTo>
                  <a:lnTo>
                    <a:pt x="586" y="181"/>
                  </a:lnTo>
                  <a:lnTo>
                    <a:pt x="586" y="179"/>
                  </a:lnTo>
                  <a:lnTo>
                    <a:pt x="588" y="179"/>
                  </a:lnTo>
                  <a:lnTo>
                    <a:pt x="588" y="176"/>
                  </a:lnTo>
                  <a:lnTo>
                    <a:pt x="588" y="176"/>
                  </a:lnTo>
                  <a:lnTo>
                    <a:pt x="591" y="173"/>
                  </a:lnTo>
                  <a:lnTo>
                    <a:pt x="591" y="171"/>
                  </a:lnTo>
                  <a:lnTo>
                    <a:pt x="591" y="168"/>
                  </a:lnTo>
                  <a:lnTo>
                    <a:pt x="588" y="171"/>
                  </a:lnTo>
                  <a:lnTo>
                    <a:pt x="586" y="171"/>
                  </a:lnTo>
                  <a:lnTo>
                    <a:pt x="586" y="173"/>
                  </a:lnTo>
                  <a:lnTo>
                    <a:pt x="583" y="173"/>
                  </a:lnTo>
                  <a:lnTo>
                    <a:pt x="583" y="171"/>
                  </a:lnTo>
                  <a:lnTo>
                    <a:pt x="583" y="171"/>
                  </a:lnTo>
                  <a:lnTo>
                    <a:pt x="586" y="171"/>
                  </a:lnTo>
                  <a:lnTo>
                    <a:pt x="586" y="168"/>
                  </a:lnTo>
                  <a:lnTo>
                    <a:pt x="586" y="168"/>
                  </a:lnTo>
                  <a:lnTo>
                    <a:pt x="588" y="166"/>
                  </a:lnTo>
                  <a:lnTo>
                    <a:pt x="588" y="163"/>
                  </a:lnTo>
                  <a:lnTo>
                    <a:pt x="586" y="161"/>
                  </a:lnTo>
                  <a:lnTo>
                    <a:pt x="586" y="161"/>
                  </a:lnTo>
                  <a:lnTo>
                    <a:pt x="583" y="161"/>
                  </a:lnTo>
                  <a:lnTo>
                    <a:pt x="583" y="161"/>
                  </a:lnTo>
                  <a:lnTo>
                    <a:pt x="583" y="161"/>
                  </a:lnTo>
                  <a:lnTo>
                    <a:pt x="583" y="158"/>
                  </a:lnTo>
                  <a:lnTo>
                    <a:pt x="581" y="158"/>
                  </a:lnTo>
                  <a:lnTo>
                    <a:pt x="581" y="156"/>
                  </a:lnTo>
                  <a:lnTo>
                    <a:pt x="578" y="156"/>
                  </a:lnTo>
                  <a:lnTo>
                    <a:pt x="576" y="153"/>
                  </a:lnTo>
                  <a:lnTo>
                    <a:pt x="576" y="153"/>
                  </a:lnTo>
                  <a:lnTo>
                    <a:pt x="573" y="158"/>
                  </a:lnTo>
                  <a:lnTo>
                    <a:pt x="573" y="158"/>
                  </a:lnTo>
                  <a:lnTo>
                    <a:pt x="571" y="158"/>
                  </a:lnTo>
                  <a:lnTo>
                    <a:pt x="571" y="156"/>
                  </a:lnTo>
                  <a:lnTo>
                    <a:pt x="568" y="151"/>
                  </a:lnTo>
                  <a:lnTo>
                    <a:pt x="568" y="151"/>
                  </a:lnTo>
                  <a:lnTo>
                    <a:pt x="565" y="151"/>
                  </a:lnTo>
                  <a:lnTo>
                    <a:pt x="563" y="148"/>
                  </a:lnTo>
                  <a:lnTo>
                    <a:pt x="558" y="148"/>
                  </a:lnTo>
                  <a:lnTo>
                    <a:pt x="558" y="145"/>
                  </a:lnTo>
                  <a:lnTo>
                    <a:pt x="555" y="145"/>
                  </a:lnTo>
                  <a:lnTo>
                    <a:pt x="553" y="145"/>
                  </a:lnTo>
                  <a:lnTo>
                    <a:pt x="553" y="143"/>
                  </a:lnTo>
                  <a:lnTo>
                    <a:pt x="553" y="143"/>
                  </a:lnTo>
                  <a:lnTo>
                    <a:pt x="550" y="143"/>
                  </a:lnTo>
                  <a:lnTo>
                    <a:pt x="548" y="143"/>
                  </a:lnTo>
                  <a:lnTo>
                    <a:pt x="545" y="143"/>
                  </a:lnTo>
                  <a:lnTo>
                    <a:pt x="545" y="140"/>
                  </a:lnTo>
                  <a:lnTo>
                    <a:pt x="543" y="138"/>
                  </a:lnTo>
                  <a:lnTo>
                    <a:pt x="543" y="138"/>
                  </a:lnTo>
                  <a:lnTo>
                    <a:pt x="540" y="138"/>
                  </a:lnTo>
                  <a:lnTo>
                    <a:pt x="540" y="138"/>
                  </a:lnTo>
                  <a:lnTo>
                    <a:pt x="537" y="138"/>
                  </a:lnTo>
                  <a:lnTo>
                    <a:pt x="535" y="138"/>
                  </a:lnTo>
                  <a:lnTo>
                    <a:pt x="535" y="135"/>
                  </a:lnTo>
                  <a:lnTo>
                    <a:pt x="532" y="135"/>
                  </a:lnTo>
                  <a:lnTo>
                    <a:pt x="530" y="135"/>
                  </a:lnTo>
                  <a:lnTo>
                    <a:pt x="530" y="135"/>
                  </a:lnTo>
                  <a:lnTo>
                    <a:pt x="530" y="135"/>
                  </a:lnTo>
                  <a:lnTo>
                    <a:pt x="530" y="135"/>
                  </a:lnTo>
                  <a:lnTo>
                    <a:pt x="530" y="138"/>
                  </a:lnTo>
                  <a:lnTo>
                    <a:pt x="527" y="138"/>
                  </a:lnTo>
                  <a:lnTo>
                    <a:pt x="527" y="135"/>
                  </a:lnTo>
                  <a:lnTo>
                    <a:pt x="525" y="135"/>
                  </a:lnTo>
                  <a:lnTo>
                    <a:pt x="525" y="135"/>
                  </a:lnTo>
                  <a:lnTo>
                    <a:pt x="522" y="135"/>
                  </a:lnTo>
                  <a:lnTo>
                    <a:pt x="522" y="135"/>
                  </a:lnTo>
                  <a:lnTo>
                    <a:pt x="522" y="135"/>
                  </a:lnTo>
                  <a:lnTo>
                    <a:pt x="520" y="135"/>
                  </a:lnTo>
                  <a:lnTo>
                    <a:pt x="520" y="138"/>
                  </a:lnTo>
                  <a:lnTo>
                    <a:pt x="517" y="135"/>
                  </a:lnTo>
                  <a:lnTo>
                    <a:pt x="517" y="135"/>
                  </a:lnTo>
                  <a:lnTo>
                    <a:pt x="514" y="138"/>
                  </a:lnTo>
                  <a:lnTo>
                    <a:pt x="514" y="138"/>
                  </a:lnTo>
                  <a:lnTo>
                    <a:pt x="514" y="138"/>
                  </a:lnTo>
                  <a:lnTo>
                    <a:pt x="512" y="140"/>
                  </a:lnTo>
                  <a:lnTo>
                    <a:pt x="512" y="143"/>
                  </a:lnTo>
                  <a:lnTo>
                    <a:pt x="512" y="143"/>
                  </a:lnTo>
                  <a:lnTo>
                    <a:pt x="509" y="145"/>
                  </a:lnTo>
                  <a:lnTo>
                    <a:pt x="509" y="148"/>
                  </a:lnTo>
                  <a:lnTo>
                    <a:pt x="509" y="151"/>
                  </a:lnTo>
                  <a:lnTo>
                    <a:pt x="509" y="151"/>
                  </a:lnTo>
                  <a:lnTo>
                    <a:pt x="509" y="153"/>
                  </a:lnTo>
                  <a:lnTo>
                    <a:pt x="512" y="153"/>
                  </a:lnTo>
                  <a:lnTo>
                    <a:pt x="509" y="156"/>
                  </a:lnTo>
                  <a:lnTo>
                    <a:pt x="509" y="156"/>
                  </a:lnTo>
                  <a:lnTo>
                    <a:pt x="507" y="156"/>
                  </a:lnTo>
                  <a:lnTo>
                    <a:pt x="507" y="153"/>
                  </a:lnTo>
                  <a:lnTo>
                    <a:pt x="504" y="153"/>
                  </a:lnTo>
                  <a:lnTo>
                    <a:pt x="499" y="161"/>
                  </a:lnTo>
                  <a:lnTo>
                    <a:pt x="494" y="163"/>
                  </a:lnTo>
                  <a:lnTo>
                    <a:pt x="494" y="163"/>
                  </a:lnTo>
                  <a:lnTo>
                    <a:pt x="489" y="173"/>
                  </a:lnTo>
                  <a:lnTo>
                    <a:pt x="489" y="176"/>
                  </a:lnTo>
                  <a:lnTo>
                    <a:pt x="486" y="179"/>
                  </a:lnTo>
                  <a:lnTo>
                    <a:pt x="486" y="181"/>
                  </a:lnTo>
                  <a:lnTo>
                    <a:pt x="486" y="181"/>
                  </a:lnTo>
                  <a:lnTo>
                    <a:pt x="486" y="179"/>
                  </a:lnTo>
                  <a:lnTo>
                    <a:pt x="486" y="179"/>
                  </a:lnTo>
                  <a:lnTo>
                    <a:pt x="489" y="171"/>
                  </a:lnTo>
                  <a:lnTo>
                    <a:pt x="489" y="171"/>
                  </a:lnTo>
                  <a:lnTo>
                    <a:pt x="489" y="166"/>
                  </a:lnTo>
                  <a:lnTo>
                    <a:pt x="492" y="158"/>
                  </a:lnTo>
                  <a:lnTo>
                    <a:pt x="486" y="163"/>
                  </a:lnTo>
                  <a:lnTo>
                    <a:pt x="484" y="163"/>
                  </a:lnTo>
                  <a:lnTo>
                    <a:pt x="479" y="163"/>
                  </a:lnTo>
                  <a:lnTo>
                    <a:pt x="479" y="161"/>
                  </a:lnTo>
                  <a:lnTo>
                    <a:pt x="476" y="163"/>
                  </a:lnTo>
                  <a:lnTo>
                    <a:pt x="474" y="163"/>
                  </a:lnTo>
                  <a:lnTo>
                    <a:pt x="474" y="163"/>
                  </a:lnTo>
                  <a:lnTo>
                    <a:pt x="469" y="166"/>
                  </a:lnTo>
                  <a:lnTo>
                    <a:pt x="466" y="163"/>
                  </a:lnTo>
                  <a:lnTo>
                    <a:pt x="466" y="161"/>
                  </a:lnTo>
                  <a:lnTo>
                    <a:pt x="464" y="161"/>
                  </a:lnTo>
                  <a:lnTo>
                    <a:pt x="464" y="158"/>
                  </a:lnTo>
                  <a:lnTo>
                    <a:pt x="464" y="158"/>
                  </a:lnTo>
                  <a:lnTo>
                    <a:pt x="461" y="153"/>
                  </a:lnTo>
                  <a:lnTo>
                    <a:pt x="461" y="151"/>
                  </a:lnTo>
                  <a:lnTo>
                    <a:pt x="461" y="151"/>
                  </a:lnTo>
                  <a:lnTo>
                    <a:pt x="461" y="148"/>
                  </a:lnTo>
                  <a:lnTo>
                    <a:pt x="458" y="145"/>
                  </a:lnTo>
                  <a:lnTo>
                    <a:pt x="458" y="145"/>
                  </a:lnTo>
                  <a:lnTo>
                    <a:pt x="461" y="143"/>
                  </a:lnTo>
                  <a:lnTo>
                    <a:pt x="461" y="143"/>
                  </a:lnTo>
                  <a:lnTo>
                    <a:pt x="458" y="140"/>
                  </a:lnTo>
                  <a:lnTo>
                    <a:pt x="458" y="143"/>
                  </a:lnTo>
                  <a:lnTo>
                    <a:pt x="456" y="143"/>
                  </a:lnTo>
                  <a:lnTo>
                    <a:pt x="453" y="145"/>
                  </a:lnTo>
                  <a:lnTo>
                    <a:pt x="451" y="148"/>
                  </a:lnTo>
                  <a:lnTo>
                    <a:pt x="446" y="151"/>
                  </a:lnTo>
                  <a:lnTo>
                    <a:pt x="446" y="151"/>
                  </a:lnTo>
                  <a:lnTo>
                    <a:pt x="438" y="156"/>
                  </a:lnTo>
                  <a:lnTo>
                    <a:pt x="433" y="158"/>
                  </a:lnTo>
                  <a:lnTo>
                    <a:pt x="430" y="156"/>
                  </a:lnTo>
                  <a:lnTo>
                    <a:pt x="425" y="156"/>
                  </a:lnTo>
                  <a:lnTo>
                    <a:pt x="425" y="156"/>
                  </a:lnTo>
                  <a:lnTo>
                    <a:pt x="433" y="151"/>
                  </a:lnTo>
                  <a:lnTo>
                    <a:pt x="438" y="153"/>
                  </a:lnTo>
                  <a:lnTo>
                    <a:pt x="438" y="151"/>
                  </a:lnTo>
                  <a:lnTo>
                    <a:pt x="438" y="151"/>
                  </a:lnTo>
                  <a:lnTo>
                    <a:pt x="438" y="148"/>
                  </a:lnTo>
                  <a:lnTo>
                    <a:pt x="441" y="145"/>
                  </a:lnTo>
                  <a:lnTo>
                    <a:pt x="443" y="143"/>
                  </a:lnTo>
                  <a:lnTo>
                    <a:pt x="443" y="140"/>
                  </a:lnTo>
                  <a:lnTo>
                    <a:pt x="443" y="138"/>
                  </a:lnTo>
                  <a:lnTo>
                    <a:pt x="446" y="133"/>
                  </a:lnTo>
                  <a:lnTo>
                    <a:pt x="448" y="133"/>
                  </a:lnTo>
                  <a:lnTo>
                    <a:pt x="448" y="130"/>
                  </a:lnTo>
                  <a:lnTo>
                    <a:pt x="451" y="125"/>
                  </a:lnTo>
                  <a:lnTo>
                    <a:pt x="451" y="123"/>
                  </a:lnTo>
                  <a:lnTo>
                    <a:pt x="456" y="120"/>
                  </a:lnTo>
                  <a:lnTo>
                    <a:pt x="458" y="117"/>
                  </a:lnTo>
                  <a:lnTo>
                    <a:pt x="458" y="117"/>
                  </a:lnTo>
                  <a:lnTo>
                    <a:pt x="461" y="115"/>
                  </a:lnTo>
                  <a:lnTo>
                    <a:pt x="464" y="115"/>
                  </a:lnTo>
                  <a:lnTo>
                    <a:pt x="466" y="110"/>
                  </a:lnTo>
                  <a:lnTo>
                    <a:pt x="469" y="105"/>
                  </a:lnTo>
                  <a:lnTo>
                    <a:pt x="471" y="102"/>
                  </a:lnTo>
                  <a:lnTo>
                    <a:pt x="471" y="102"/>
                  </a:lnTo>
                  <a:lnTo>
                    <a:pt x="476" y="97"/>
                  </a:lnTo>
                  <a:lnTo>
                    <a:pt x="476" y="97"/>
                  </a:lnTo>
                  <a:lnTo>
                    <a:pt x="479" y="95"/>
                  </a:lnTo>
                  <a:lnTo>
                    <a:pt x="479" y="95"/>
                  </a:lnTo>
                  <a:lnTo>
                    <a:pt x="479" y="92"/>
                  </a:lnTo>
                  <a:lnTo>
                    <a:pt x="479" y="87"/>
                  </a:lnTo>
                  <a:lnTo>
                    <a:pt x="479" y="82"/>
                  </a:lnTo>
                  <a:lnTo>
                    <a:pt x="476" y="82"/>
                  </a:lnTo>
                  <a:lnTo>
                    <a:pt x="474" y="79"/>
                  </a:lnTo>
                  <a:lnTo>
                    <a:pt x="471" y="79"/>
                  </a:lnTo>
                  <a:lnTo>
                    <a:pt x="469" y="79"/>
                  </a:lnTo>
                  <a:lnTo>
                    <a:pt x="466" y="77"/>
                  </a:lnTo>
                  <a:lnTo>
                    <a:pt x="466" y="74"/>
                  </a:lnTo>
                  <a:lnTo>
                    <a:pt x="466" y="72"/>
                  </a:lnTo>
                  <a:lnTo>
                    <a:pt x="464" y="72"/>
                  </a:lnTo>
                  <a:lnTo>
                    <a:pt x="464" y="72"/>
                  </a:lnTo>
                  <a:lnTo>
                    <a:pt x="464" y="72"/>
                  </a:lnTo>
                  <a:lnTo>
                    <a:pt x="464" y="69"/>
                  </a:lnTo>
                  <a:lnTo>
                    <a:pt x="464" y="67"/>
                  </a:lnTo>
                  <a:lnTo>
                    <a:pt x="461" y="64"/>
                  </a:lnTo>
                  <a:lnTo>
                    <a:pt x="461" y="61"/>
                  </a:lnTo>
                  <a:lnTo>
                    <a:pt x="461" y="59"/>
                  </a:lnTo>
                  <a:lnTo>
                    <a:pt x="458" y="51"/>
                  </a:lnTo>
                  <a:lnTo>
                    <a:pt x="458" y="46"/>
                  </a:lnTo>
                  <a:lnTo>
                    <a:pt x="456" y="36"/>
                  </a:lnTo>
                  <a:lnTo>
                    <a:pt x="453" y="26"/>
                  </a:lnTo>
                  <a:lnTo>
                    <a:pt x="453" y="23"/>
                  </a:lnTo>
                  <a:lnTo>
                    <a:pt x="448" y="23"/>
                  </a:lnTo>
                  <a:lnTo>
                    <a:pt x="448" y="23"/>
                  </a:lnTo>
                  <a:lnTo>
                    <a:pt x="448" y="23"/>
                  </a:lnTo>
                  <a:lnTo>
                    <a:pt x="446" y="28"/>
                  </a:lnTo>
                  <a:lnTo>
                    <a:pt x="446" y="28"/>
                  </a:lnTo>
                  <a:lnTo>
                    <a:pt x="443" y="28"/>
                  </a:lnTo>
                  <a:lnTo>
                    <a:pt x="443" y="31"/>
                  </a:lnTo>
                  <a:lnTo>
                    <a:pt x="443" y="31"/>
                  </a:lnTo>
                  <a:lnTo>
                    <a:pt x="441" y="33"/>
                  </a:lnTo>
                  <a:lnTo>
                    <a:pt x="441" y="33"/>
                  </a:lnTo>
                  <a:lnTo>
                    <a:pt x="441" y="36"/>
                  </a:lnTo>
                  <a:lnTo>
                    <a:pt x="438" y="36"/>
                  </a:lnTo>
                  <a:lnTo>
                    <a:pt x="438" y="36"/>
                  </a:lnTo>
                  <a:lnTo>
                    <a:pt x="435" y="41"/>
                  </a:lnTo>
                  <a:lnTo>
                    <a:pt x="435" y="44"/>
                  </a:lnTo>
                  <a:lnTo>
                    <a:pt x="433" y="46"/>
                  </a:lnTo>
                  <a:lnTo>
                    <a:pt x="433" y="46"/>
                  </a:lnTo>
                  <a:lnTo>
                    <a:pt x="430" y="49"/>
                  </a:lnTo>
                  <a:lnTo>
                    <a:pt x="430" y="49"/>
                  </a:lnTo>
                  <a:lnTo>
                    <a:pt x="430" y="51"/>
                  </a:lnTo>
                  <a:lnTo>
                    <a:pt x="430" y="51"/>
                  </a:lnTo>
                  <a:lnTo>
                    <a:pt x="430" y="54"/>
                  </a:lnTo>
                  <a:lnTo>
                    <a:pt x="428" y="54"/>
                  </a:lnTo>
                  <a:lnTo>
                    <a:pt x="428" y="59"/>
                  </a:lnTo>
                  <a:lnTo>
                    <a:pt x="428" y="61"/>
                  </a:lnTo>
                  <a:lnTo>
                    <a:pt x="425" y="61"/>
                  </a:lnTo>
                  <a:lnTo>
                    <a:pt x="425" y="64"/>
                  </a:lnTo>
                  <a:lnTo>
                    <a:pt x="423" y="67"/>
                  </a:lnTo>
                  <a:lnTo>
                    <a:pt x="423" y="67"/>
                  </a:lnTo>
                  <a:lnTo>
                    <a:pt x="420" y="69"/>
                  </a:lnTo>
                  <a:lnTo>
                    <a:pt x="420" y="69"/>
                  </a:lnTo>
                  <a:lnTo>
                    <a:pt x="418" y="72"/>
                  </a:lnTo>
                  <a:lnTo>
                    <a:pt x="418" y="72"/>
                  </a:lnTo>
                  <a:lnTo>
                    <a:pt x="415" y="69"/>
                  </a:lnTo>
                  <a:lnTo>
                    <a:pt x="415" y="69"/>
                  </a:lnTo>
                  <a:lnTo>
                    <a:pt x="413" y="69"/>
                  </a:lnTo>
                  <a:lnTo>
                    <a:pt x="413" y="69"/>
                  </a:lnTo>
                  <a:lnTo>
                    <a:pt x="413" y="69"/>
                  </a:lnTo>
                  <a:lnTo>
                    <a:pt x="410" y="67"/>
                  </a:lnTo>
                  <a:lnTo>
                    <a:pt x="410" y="67"/>
                  </a:lnTo>
                  <a:lnTo>
                    <a:pt x="410" y="69"/>
                  </a:lnTo>
                  <a:lnTo>
                    <a:pt x="407" y="69"/>
                  </a:lnTo>
                  <a:lnTo>
                    <a:pt x="407" y="69"/>
                  </a:lnTo>
                  <a:lnTo>
                    <a:pt x="405" y="69"/>
                  </a:lnTo>
                  <a:lnTo>
                    <a:pt x="402" y="67"/>
                  </a:lnTo>
                  <a:lnTo>
                    <a:pt x="402" y="67"/>
                  </a:lnTo>
                  <a:lnTo>
                    <a:pt x="402" y="67"/>
                  </a:lnTo>
                  <a:lnTo>
                    <a:pt x="402" y="67"/>
                  </a:lnTo>
                  <a:lnTo>
                    <a:pt x="400" y="67"/>
                  </a:lnTo>
                  <a:lnTo>
                    <a:pt x="400" y="69"/>
                  </a:lnTo>
                  <a:lnTo>
                    <a:pt x="400" y="69"/>
                  </a:lnTo>
                  <a:lnTo>
                    <a:pt x="395" y="72"/>
                  </a:lnTo>
                  <a:lnTo>
                    <a:pt x="395" y="72"/>
                  </a:lnTo>
                  <a:lnTo>
                    <a:pt x="395" y="72"/>
                  </a:lnTo>
                  <a:lnTo>
                    <a:pt x="392" y="72"/>
                  </a:lnTo>
                  <a:lnTo>
                    <a:pt x="392" y="72"/>
                  </a:lnTo>
                  <a:lnTo>
                    <a:pt x="390" y="69"/>
                  </a:lnTo>
                  <a:lnTo>
                    <a:pt x="387" y="69"/>
                  </a:lnTo>
                  <a:lnTo>
                    <a:pt x="387" y="69"/>
                  </a:lnTo>
                  <a:lnTo>
                    <a:pt x="385" y="67"/>
                  </a:lnTo>
                  <a:lnTo>
                    <a:pt x="385" y="67"/>
                  </a:lnTo>
                  <a:lnTo>
                    <a:pt x="385" y="67"/>
                  </a:lnTo>
                  <a:lnTo>
                    <a:pt x="385" y="67"/>
                  </a:lnTo>
                  <a:lnTo>
                    <a:pt x="385" y="67"/>
                  </a:lnTo>
                  <a:lnTo>
                    <a:pt x="382" y="64"/>
                  </a:lnTo>
                  <a:lnTo>
                    <a:pt x="382" y="64"/>
                  </a:lnTo>
                  <a:lnTo>
                    <a:pt x="379" y="64"/>
                  </a:lnTo>
                  <a:lnTo>
                    <a:pt x="379" y="64"/>
                  </a:lnTo>
                  <a:lnTo>
                    <a:pt x="379" y="64"/>
                  </a:lnTo>
                  <a:lnTo>
                    <a:pt x="379" y="61"/>
                  </a:lnTo>
                  <a:lnTo>
                    <a:pt x="377" y="61"/>
                  </a:lnTo>
                  <a:lnTo>
                    <a:pt x="377" y="61"/>
                  </a:lnTo>
                  <a:lnTo>
                    <a:pt x="377" y="61"/>
                  </a:lnTo>
                  <a:lnTo>
                    <a:pt x="374" y="61"/>
                  </a:lnTo>
                  <a:lnTo>
                    <a:pt x="374" y="61"/>
                  </a:lnTo>
                  <a:lnTo>
                    <a:pt x="374" y="61"/>
                  </a:lnTo>
                  <a:lnTo>
                    <a:pt x="372" y="64"/>
                  </a:lnTo>
                  <a:lnTo>
                    <a:pt x="372" y="64"/>
                  </a:lnTo>
                  <a:lnTo>
                    <a:pt x="369" y="64"/>
                  </a:lnTo>
                  <a:lnTo>
                    <a:pt x="364" y="64"/>
                  </a:lnTo>
                  <a:lnTo>
                    <a:pt x="362" y="67"/>
                  </a:lnTo>
                  <a:lnTo>
                    <a:pt x="359" y="64"/>
                  </a:lnTo>
                  <a:lnTo>
                    <a:pt x="359" y="64"/>
                  </a:lnTo>
                  <a:lnTo>
                    <a:pt x="359" y="64"/>
                  </a:lnTo>
                  <a:lnTo>
                    <a:pt x="359" y="64"/>
                  </a:lnTo>
                  <a:lnTo>
                    <a:pt x="356" y="64"/>
                  </a:lnTo>
                  <a:lnTo>
                    <a:pt x="356" y="67"/>
                  </a:lnTo>
                  <a:lnTo>
                    <a:pt x="356" y="67"/>
                  </a:lnTo>
                  <a:lnTo>
                    <a:pt x="356" y="67"/>
                  </a:lnTo>
                  <a:lnTo>
                    <a:pt x="354" y="67"/>
                  </a:lnTo>
                  <a:lnTo>
                    <a:pt x="354" y="69"/>
                  </a:lnTo>
                  <a:lnTo>
                    <a:pt x="356" y="69"/>
                  </a:lnTo>
                  <a:lnTo>
                    <a:pt x="356" y="72"/>
                  </a:lnTo>
                  <a:lnTo>
                    <a:pt x="359" y="72"/>
                  </a:lnTo>
                  <a:lnTo>
                    <a:pt x="359" y="74"/>
                  </a:lnTo>
                  <a:lnTo>
                    <a:pt x="359" y="74"/>
                  </a:lnTo>
                  <a:lnTo>
                    <a:pt x="359" y="77"/>
                  </a:lnTo>
                  <a:lnTo>
                    <a:pt x="359" y="77"/>
                  </a:lnTo>
                  <a:lnTo>
                    <a:pt x="356" y="79"/>
                  </a:lnTo>
                  <a:lnTo>
                    <a:pt x="351" y="77"/>
                  </a:lnTo>
                  <a:lnTo>
                    <a:pt x="349" y="77"/>
                  </a:lnTo>
                  <a:lnTo>
                    <a:pt x="349" y="77"/>
                  </a:lnTo>
                  <a:lnTo>
                    <a:pt x="346" y="77"/>
                  </a:lnTo>
                  <a:lnTo>
                    <a:pt x="346" y="77"/>
                  </a:lnTo>
                  <a:lnTo>
                    <a:pt x="346" y="77"/>
                  </a:lnTo>
                  <a:lnTo>
                    <a:pt x="344" y="77"/>
                  </a:lnTo>
                  <a:lnTo>
                    <a:pt x="344" y="77"/>
                  </a:lnTo>
                  <a:lnTo>
                    <a:pt x="341" y="77"/>
                  </a:lnTo>
                  <a:lnTo>
                    <a:pt x="341" y="77"/>
                  </a:lnTo>
                  <a:lnTo>
                    <a:pt x="339" y="77"/>
                  </a:lnTo>
                  <a:lnTo>
                    <a:pt x="336" y="77"/>
                  </a:lnTo>
                  <a:lnTo>
                    <a:pt x="336" y="77"/>
                  </a:lnTo>
                  <a:lnTo>
                    <a:pt x="336" y="74"/>
                  </a:lnTo>
                  <a:lnTo>
                    <a:pt x="334" y="74"/>
                  </a:lnTo>
                  <a:lnTo>
                    <a:pt x="334" y="74"/>
                  </a:lnTo>
                  <a:lnTo>
                    <a:pt x="331" y="77"/>
                  </a:lnTo>
                  <a:lnTo>
                    <a:pt x="331" y="74"/>
                  </a:lnTo>
                  <a:lnTo>
                    <a:pt x="331" y="77"/>
                  </a:lnTo>
                  <a:lnTo>
                    <a:pt x="328" y="77"/>
                  </a:lnTo>
                  <a:lnTo>
                    <a:pt x="326" y="79"/>
                  </a:lnTo>
                  <a:lnTo>
                    <a:pt x="326" y="82"/>
                  </a:lnTo>
                  <a:lnTo>
                    <a:pt x="326" y="82"/>
                  </a:lnTo>
                  <a:lnTo>
                    <a:pt x="323" y="82"/>
                  </a:lnTo>
                  <a:lnTo>
                    <a:pt x="321" y="82"/>
                  </a:lnTo>
                  <a:lnTo>
                    <a:pt x="318" y="82"/>
                  </a:lnTo>
                  <a:lnTo>
                    <a:pt x="318" y="82"/>
                  </a:lnTo>
                  <a:lnTo>
                    <a:pt x="318" y="82"/>
                  </a:lnTo>
                  <a:lnTo>
                    <a:pt x="318" y="84"/>
                  </a:lnTo>
                  <a:lnTo>
                    <a:pt x="316" y="84"/>
                  </a:lnTo>
                  <a:lnTo>
                    <a:pt x="316" y="84"/>
                  </a:lnTo>
                  <a:lnTo>
                    <a:pt x="316" y="87"/>
                  </a:lnTo>
                  <a:lnTo>
                    <a:pt x="313" y="84"/>
                  </a:lnTo>
                  <a:lnTo>
                    <a:pt x="313" y="84"/>
                  </a:lnTo>
                  <a:lnTo>
                    <a:pt x="313" y="84"/>
                  </a:lnTo>
                  <a:lnTo>
                    <a:pt x="311" y="84"/>
                  </a:lnTo>
                  <a:lnTo>
                    <a:pt x="311" y="84"/>
                  </a:lnTo>
                  <a:lnTo>
                    <a:pt x="311" y="84"/>
                  </a:lnTo>
                  <a:lnTo>
                    <a:pt x="311" y="84"/>
                  </a:lnTo>
                  <a:lnTo>
                    <a:pt x="308" y="84"/>
                  </a:lnTo>
                  <a:lnTo>
                    <a:pt x="308" y="87"/>
                  </a:lnTo>
                  <a:lnTo>
                    <a:pt x="308" y="87"/>
                  </a:lnTo>
                  <a:lnTo>
                    <a:pt x="306" y="87"/>
                  </a:lnTo>
                  <a:lnTo>
                    <a:pt x="308" y="89"/>
                  </a:lnTo>
                  <a:lnTo>
                    <a:pt x="308" y="89"/>
                  </a:lnTo>
                  <a:lnTo>
                    <a:pt x="306" y="92"/>
                  </a:lnTo>
                  <a:lnTo>
                    <a:pt x="306" y="92"/>
                  </a:lnTo>
                  <a:lnTo>
                    <a:pt x="303" y="92"/>
                  </a:lnTo>
                  <a:lnTo>
                    <a:pt x="303" y="92"/>
                  </a:lnTo>
                  <a:lnTo>
                    <a:pt x="300" y="92"/>
                  </a:lnTo>
                  <a:lnTo>
                    <a:pt x="300" y="92"/>
                  </a:lnTo>
                  <a:lnTo>
                    <a:pt x="300" y="92"/>
                  </a:lnTo>
                  <a:lnTo>
                    <a:pt x="298" y="92"/>
                  </a:lnTo>
                  <a:lnTo>
                    <a:pt x="298" y="89"/>
                  </a:lnTo>
                  <a:lnTo>
                    <a:pt x="295" y="89"/>
                  </a:lnTo>
                  <a:lnTo>
                    <a:pt x="293" y="89"/>
                  </a:lnTo>
                  <a:lnTo>
                    <a:pt x="290" y="87"/>
                  </a:lnTo>
                  <a:lnTo>
                    <a:pt x="290" y="87"/>
                  </a:lnTo>
                  <a:lnTo>
                    <a:pt x="290" y="84"/>
                  </a:lnTo>
                  <a:lnTo>
                    <a:pt x="288" y="82"/>
                  </a:lnTo>
                  <a:lnTo>
                    <a:pt x="285" y="82"/>
                  </a:lnTo>
                  <a:lnTo>
                    <a:pt x="285" y="82"/>
                  </a:lnTo>
                  <a:lnTo>
                    <a:pt x="283" y="79"/>
                  </a:lnTo>
                  <a:lnTo>
                    <a:pt x="283" y="79"/>
                  </a:lnTo>
                  <a:lnTo>
                    <a:pt x="283" y="79"/>
                  </a:lnTo>
                  <a:lnTo>
                    <a:pt x="283" y="77"/>
                  </a:lnTo>
                  <a:lnTo>
                    <a:pt x="283" y="77"/>
                  </a:lnTo>
                  <a:lnTo>
                    <a:pt x="283" y="77"/>
                  </a:lnTo>
                  <a:lnTo>
                    <a:pt x="283" y="77"/>
                  </a:lnTo>
                  <a:lnTo>
                    <a:pt x="283" y="72"/>
                  </a:lnTo>
                  <a:lnTo>
                    <a:pt x="283" y="69"/>
                  </a:lnTo>
                  <a:lnTo>
                    <a:pt x="280" y="67"/>
                  </a:lnTo>
                  <a:lnTo>
                    <a:pt x="280" y="67"/>
                  </a:lnTo>
                  <a:lnTo>
                    <a:pt x="277" y="61"/>
                  </a:lnTo>
                  <a:lnTo>
                    <a:pt x="277" y="59"/>
                  </a:lnTo>
                  <a:lnTo>
                    <a:pt x="277" y="56"/>
                  </a:lnTo>
                  <a:lnTo>
                    <a:pt x="277" y="51"/>
                  </a:lnTo>
                  <a:lnTo>
                    <a:pt x="277" y="49"/>
                  </a:lnTo>
                  <a:lnTo>
                    <a:pt x="280" y="46"/>
                  </a:lnTo>
                  <a:lnTo>
                    <a:pt x="280" y="44"/>
                  </a:lnTo>
                  <a:lnTo>
                    <a:pt x="280" y="44"/>
                  </a:lnTo>
                  <a:lnTo>
                    <a:pt x="280" y="41"/>
                  </a:lnTo>
                  <a:lnTo>
                    <a:pt x="280" y="39"/>
                  </a:lnTo>
                  <a:lnTo>
                    <a:pt x="283" y="36"/>
                  </a:lnTo>
                  <a:lnTo>
                    <a:pt x="285" y="36"/>
                  </a:lnTo>
                  <a:lnTo>
                    <a:pt x="285" y="36"/>
                  </a:lnTo>
                  <a:lnTo>
                    <a:pt x="285" y="33"/>
                  </a:lnTo>
                  <a:lnTo>
                    <a:pt x="285" y="31"/>
                  </a:lnTo>
                  <a:lnTo>
                    <a:pt x="288" y="31"/>
                  </a:lnTo>
                  <a:lnTo>
                    <a:pt x="288" y="31"/>
                  </a:lnTo>
                  <a:lnTo>
                    <a:pt x="285" y="31"/>
                  </a:lnTo>
                  <a:lnTo>
                    <a:pt x="285" y="28"/>
                  </a:lnTo>
                  <a:lnTo>
                    <a:pt x="285" y="26"/>
                  </a:lnTo>
                  <a:lnTo>
                    <a:pt x="283" y="26"/>
                  </a:lnTo>
                  <a:lnTo>
                    <a:pt x="283" y="23"/>
                  </a:lnTo>
                  <a:lnTo>
                    <a:pt x="283" y="23"/>
                  </a:lnTo>
                  <a:lnTo>
                    <a:pt x="285" y="21"/>
                  </a:lnTo>
                  <a:lnTo>
                    <a:pt x="285" y="21"/>
                  </a:lnTo>
                  <a:lnTo>
                    <a:pt x="283" y="21"/>
                  </a:lnTo>
                  <a:lnTo>
                    <a:pt x="283" y="18"/>
                  </a:lnTo>
                  <a:lnTo>
                    <a:pt x="280" y="18"/>
                  </a:lnTo>
                  <a:lnTo>
                    <a:pt x="280" y="18"/>
                  </a:lnTo>
                  <a:lnTo>
                    <a:pt x="277" y="18"/>
                  </a:lnTo>
                  <a:lnTo>
                    <a:pt x="275" y="18"/>
                  </a:lnTo>
                  <a:lnTo>
                    <a:pt x="275" y="18"/>
                  </a:lnTo>
                  <a:lnTo>
                    <a:pt x="275" y="16"/>
                  </a:lnTo>
                  <a:lnTo>
                    <a:pt x="275" y="16"/>
                  </a:lnTo>
                  <a:lnTo>
                    <a:pt x="277" y="13"/>
                  </a:lnTo>
                  <a:lnTo>
                    <a:pt x="277" y="13"/>
                  </a:lnTo>
                  <a:lnTo>
                    <a:pt x="277" y="11"/>
                  </a:lnTo>
                  <a:lnTo>
                    <a:pt x="277" y="8"/>
                  </a:lnTo>
                  <a:lnTo>
                    <a:pt x="277" y="5"/>
                  </a:lnTo>
                  <a:lnTo>
                    <a:pt x="277" y="5"/>
                  </a:lnTo>
                  <a:lnTo>
                    <a:pt x="277" y="3"/>
                  </a:lnTo>
                  <a:lnTo>
                    <a:pt x="277" y="3"/>
                  </a:lnTo>
                  <a:lnTo>
                    <a:pt x="275" y="0"/>
                  </a:lnTo>
                  <a:lnTo>
                    <a:pt x="275" y="0"/>
                  </a:lnTo>
                  <a:lnTo>
                    <a:pt x="275" y="0"/>
                  </a:lnTo>
                  <a:lnTo>
                    <a:pt x="272" y="3"/>
                  </a:lnTo>
                  <a:lnTo>
                    <a:pt x="270" y="3"/>
                  </a:lnTo>
                  <a:lnTo>
                    <a:pt x="270" y="3"/>
                  </a:lnTo>
                  <a:lnTo>
                    <a:pt x="267" y="3"/>
                  </a:lnTo>
                  <a:lnTo>
                    <a:pt x="265" y="0"/>
                  </a:lnTo>
                  <a:lnTo>
                    <a:pt x="265" y="3"/>
                  </a:lnTo>
                  <a:lnTo>
                    <a:pt x="265" y="3"/>
                  </a:lnTo>
                  <a:lnTo>
                    <a:pt x="265" y="3"/>
                  </a:lnTo>
                  <a:lnTo>
                    <a:pt x="265" y="5"/>
                  </a:lnTo>
                  <a:lnTo>
                    <a:pt x="267" y="5"/>
                  </a:lnTo>
                  <a:lnTo>
                    <a:pt x="267" y="8"/>
                  </a:lnTo>
                  <a:lnTo>
                    <a:pt x="265" y="8"/>
                  </a:lnTo>
                  <a:lnTo>
                    <a:pt x="265" y="11"/>
                  </a:lnTo>
                  <a:lnTo>
                    <a:pt x="262" y="11"/>
                  </a:lnTo>
                  <a:lnTo>
                    <a:pt x="262" y="13"/>
                  </a:lnTo>
                  <a:lnTo>
                    <a:pt x="260" y="13"/>
                  </a:lnTo>
                  <a:lnTo>
                    <a:pt x="260" y="16"/>
                  </a:lnTo>
                  <a:lnTo>
                    <a:pt x="257" y="18"/>
                  </a:lnTo>
                  <a:lnTo>
                    <a:pt x="257" y="18"/>
                  </a:lnTo>
                  <a:lnTo>
                    <a:pt x="257" y="18"/>
                  </a:lnTo>
                  <a:lnTo>
                    <a:pt x="255" y="18"/>
                  </a:lnTo>
                  <a:lnTo>
                    <a:pt x="252" y="18"/>
                  </a:lnTo>
                  <a:lnTo>
                    <a:pt x="249" y="18"/>
                  </a:lnTo>
                  <a:lnTo>
                    <a:pt x="249" y="21"/>
                  </a:lnTo>
                  <a:lnTo>
                    <a:pt x="247" y="23"/>
                  </a:lnTo>
                  <a:lnTo>
                    <a:pt x="242" y="26"/>
                  </a:lnTo>
                  <a:lnTo>
                    <a:pt x="237" y="26"/>
                  </a:lnTo>
                  <a:lnTo>
                    <a:pt x="234" y="26"/>
                  </a:lnTo>
                  <a:lnTo>
                    <a:pt x="229" y="26"/>
                  </a:lnTo>
                  <a:lnTo>
                    <a:pt x="229" y="26"/>
                  </a:lnTo>
                  <a:lnTo>
                    <a:pt x="226" y="28"/>
                  </a:lnTo>
                  <a:lnTo>
                    <a:pt x="226" y="28"/>
                  </a:lnTo>
                  <a:lnTo>
                    <a:pt x="224" y="28"/>
                  </a:lnTo>
                  <a:lnTo>
                    <a:pt x="224" y="28"/>
                  </a:lnTo>
                  <a:lnTo>
                    <a:pt x="224" y="31"/>
                  </a:lnTo>
                  <a:lnTo>
                    <a:pt x="221" y="36"/>
                  </a:lnTo>
                  <a:lnTo>
                    <a:pt x="221" y="39"/>
                  </a:lnTo>
                  <a:lnTo>
                    <a:pt x="219" y="39"/>
                  </a:lnTo>
                  <a:lnTo>
                    <a:pt x="216" y="36"/>
                  </a:lnTo>
                  <a:lnTo>
                    <a:pt x="214" y="33"/>
                  </a:lnTo>
                  <a:lnTo>
                    <a:pt x="211" y="31"/>
                  </a:lnTo>
                  <a:lnTo>
                    <a:pt x="211" y="31"/>
                  </a:lnTo>
                  <a:lnTo>
                    <a:pt x="209" y="31"/>
                  </a:lnTo>
                  <a:lnTo>
                    <a:pt x="206" y="31"/>
                  </a:lnTo>
                  <a:lnTo>
                    <a:pt x="206" y="31"/>
                  </a:lnTo>
                  <a:lnTo>
                    <a:pt x="204" y="31"/>
                  </a:lnTo>
                  <a:lnTo>
                    <a:pt x="204" y="31"/>
                  </a:lnTo>
                  <a:lnTo>
                    <a:pt x="198" y="31"/>
                  </a:lnTo>
                  <a:lnTo>
                    <a:pt x="196" y="31"/>
                  </a:lnTo>
                  <a:lnTo>
                    <a:pt x="196" y="31"/>
                  </a:lnTo>
                  <a:lnTo>
                    <a:pt x="196" y="28"/>
                  </a:lnTo>
                  <a:lnTo>
                    <a:pt x="193" y="26"/>
                  </a:lnTo>
                  <a:lnTo>
                    <a:pt x="193" y="26"/>
                  </a:lnTo>
                  <a:lnTo>
                    <a:pt x="193" y="26"/>
                  </a:lnTo>
                  <a:lnTo>
                    <a:pt x="186" y="26"/>
                  </a:lnTo>
                  <a:lnTo>
                    <a:pt x="186" y="26"/>
                  </a:lnTo>
                  <a:lnTo>
                    <a:pt x="186" y="26"/>
                  </a:lnTo>
                  <a:lnTo>
                    <a:pt x="183" y="23"/>
                  </a:lnTo>
                  <a:lnTo>
                    <a:pt x="183" y="23"/>
                  </a:lnTo>
                  <a:lnTo>
                    <a:pt x="181" y="23"/>
                  </a:lnTo>
                  <a:lnTo>
                    <a:pt x="181" y="23"/>
                  </a:lnTo>
                  <a:lnTo>
                    <a:pt x="183" y="28"/>
                  </a:lnTo>
                  <a:lnTo>
                    <a:pt x="183" y="28"/>
                  </a:lnTo>
                  <a:lnTo>
                    <a:pt x="186" y="31"/>
                  </a:lnTo>
                  <a:lnTo>
                    <a:pt x="191" y="36"/>
                  </a:lnTo>
                  <a:lnTo>
                    <a:pt x="193" y="39"/>
                  </a:lnTo>
                  <a:lnTo>
                    <a:pt x="193" y="41"/>
                  </a:lnTo>
                  <a:lnTo>
                    <a:pt x="193" y="44"/>
                  </a:lnTo>
                  <a:lnTo>
                    <a:pt x="193" y="46"/>
                  </a:lnTo>
                  <a:lnTo>
                    <a:pt x="193" y="51"/>
                  </a:lnTo>
                  <a:lnTo>
                    <a:pt x="196" y="56"/>
                  </a:lnTo>
                  <a:lnTo>
                    <a:pt x="196" y="59"/>
                  </a:lnTo>
                  <a:lnTo>
                    <a:pt x="196" y="61"/>
                  </a:lnTo>
                  <a:lnTo>
                    <a:pt x="196" y="61"/>
                  </a:lnTo>
                  <a:lnTo>
                    <a:pt x="196" y="64"/>
                  </a:lnTo>
                  <a:lnTo>
                    <a:pt x="196" y="64"/>
                  </a:lnTo>
                  <a:lnTo>
                    <a:pt x="198" y="64"/>
                  </a:lnTo>
                  <a:lnTo>
                    <a:pt x="204" y="64"/>
                  </a:lnTo>
                  <a:lnTo>
                    <a:pt x="206" y="64"/>
                  </a:lnTo>
                  <a:lnTo>
                    <a:pt x="209" y="64"/>
                  </a:lnTo>
                  <a:lnTo>
                    <a:pt x="209" y="67"/>
                  </a:lnTo>
                  <a:lnTo>
                    <a:pt x="209" y="69"/>
                  </a:lnTo>
                  <a:lnTo>
                    <a:pt x="209" y="72"/>
                  </a:lnTo>
                  <a:lnTo>
                    <a:pt x="206" y="72"/>
                  </a:lnTo>
                  <a:lnTo>
                    <a:pt x="206" y="72"/>
                  </a:lnTo>
                  <a:lnTo>
                    <a:pt x="204" y="74"/>
                  </a:lnTo>
                  <a:lnTo>
                    <a:pt x="198" y="74"/>
                  </a:lnTo>
                  <a:lnTo>
                    <a:pt x="198" y="74"/>
                  </a:lnTo>
                  <a:lnTo>
                    <a:pt x="196" y="77"/>
                  </a:lnTo>
                  <a:lnTo>
                    <a:pt x="196" y="77"/>
                  </a:lnTo>
                  <a:lnTo>
                    <a:pt x="196" y="77"/>
                  </a:lnTo>
                  <a:lnTo>
                    <a:pt x="196" y="79"/>
                  </a:lnTo>
                  <a:lnTo>
                    <a:pt x="193" y="84"/>
                  </a:lnTo>
                  <a:lnTo>
                    <a:pt x="193" y="84"/>
                  </a:lnTo>
                  <a:lnTo>
                    <a:pt x="191" y="87"/>
                  </a:lnTo>
                  <a:lnTo>
                    <a:pt x="188" y="87"/>
                  </a:lnTo>
                  <a:lnTo>
                    <a:pt x="186" y="87"/>
                  </a:lnTo>
                  <a:lnTo>
                    <a:pt x="186" y="87"/>
                  </a:lnTo>
                  <a:lnTo>
                    <a:pt x="186" y="89"/>
                  </a:lnTo>
                  <a:lnTo>
                    <a:pt x="183" y="89"/>
                  </a:lnTo>
                  <a:lnTo>
                    <a:pt x="181" y="92"/>
                  </a:lnTo>
                  <a:lnTo>
                    <a:pt x="181" y="92"/>
                  </a:lnTo>
                  <a:lnTo>
                    <a:pt x="178" y="92"/>
                  </a:lnTo>
                  <a:lnTo>
                    <a:pt x="176" y="95"/>
                  </a:lnTo>
                  <a:lnTo>
                    <a:pt x="173" y="95"/>
                  </a:lnTo>
                  <a:lnTo>
                    <a:pt x="173" y="97"/>
                  </a:lnTo>
                  <a:lnTo>
                    <a:pt x="170" y="100"/>
                  </a:lnTo>
                  <a:lnTo>
                    <a:pt x="168" y="100"/>
                  </a:lnTo>
                  <a:lnTo>
                    <a:pt x="168" y="102"/>
                  </a:lnTo>
                  <a:lnTo>
                    <a:pt x="165" y="105"/>
                  </a:lnTo>
                  <a:lnTo>
                    <a:pt x="165" y="105"/>
                  </a:lnTo>
                  <a:lnTo>
                    <a:pt x="165" y="102"/>
                  </a:lnTo>
                  <a:lnTo>
                    <a:pt x="165" y="100"/>
                  </a:lnTo>
                  <a:lnTo>
                    <a:pt x="165" y="100"/>
                  </a:lnTo>
                  <a:lnTo>
                    <a:pt x="163" y="97"/>
                  </a:lnTo>
                  <a:lnTo>
                    <a:pt x="163" y="97"/>
                  </a:lnTo>
                  <a:lnTo>
                    <a:pt x="163" y="97"/>
                  </a:lnTo>
                  <a:lnTo>
                    <a:pt x="160" y="100"/>
                  </a:lnTo>
                  <a:lnTo>
                    <a:pt x="158" y="100"/>
                  </a:lnTo>
                  <a:lnTo>
                    <a:pt x="155" y="102"/>
                  </a:lnTo>
                  <a:lnTo>
                    <a:pt x="155" y="102"/>
                  </a:lnTo>
                  <a:lnTo>
                    <a:pt x="153" y="102"/>
                  </a:lnTo>
                  <a:lnTo>
                    <a:pt x="150" y="102"/>
                  </a:lnTo>
                  <a:lnTo>
                    <a:pt x="150" y="102"/>
                  </a:lnTo>
                  <a:lnTo>
                    <a:pt x="147" y="102"/>
                  </a:lnTo>
                  <a:lnTo>
                    <a:pt x="142" y="97"/>
                  </a:lnTo>
                  <a:lnTo>
                    <a:pt x="137" y="92"/>
                  </a:lnTo>
                  <a:lnTo>
                    <a:pt x="135" y="95"/>
                  </a:lnTo>
                  <a:lnTo>
                    <a:pt x="135" y="92"/>
                  </a:lnTo>
                  <a:lnTo>
                    <a:pt x="135" y="92"/>
                  </a:lnTo>
                  <a:lnTo>
                    <a:pt x="135" y="89"/>
                  </a:lnTo>
                  <a:lnTo>
                    <a:pt x="135" y="84"/>
                  </a:lnTo>
                  <a:lnTo>
                    <a:pt x="135" y="82"/>
                  </a:lnTo>
                  <a:lnTo>
                    <a:pt x="132" y="79"/>
                  </a:lnTo>
                  <a:lnTo>
                    <a:pt x="130" y="74"/>
                  </a:lnTo>
                  <a:lnTo>
                    <a:pt x="130" y="72"/>
                  </a:lnTo>
                  <a:lnTo>
                    <a:pt x="127" y="72"/>
                  </a:lnTo>
                  <a:lnTo>
                    <a:pt x="127" y="72"/>
                  </a:lnTo>
                  <a:lnTo>
                    <a:pt x="127" y="72"/>
                  </a:lnTo>
                  <a:lnTo>
                    <a:pt x="125" y="74"/>
                  </a:lnTo>
                  <a:lnTo>
                    <a:pt x="125" y="74"/>
                  </a:lnTo>
                  <a:lnTo>
                    <a:pt x="122" y="77"/>
                  </a:lnTo>
                  <a:lnTo>
                    <a:pt x="119" y="79"/>
                  </a:lnTo>
                  <a:lnTo>
                    <a:pt x="119" y="79"/>
                  </a:lnTo>
                  <a:lnTo>
                    <a:pt x="117" y="79"/>
                  </a:lnTo>
                  <a:lnTo>
                    <a:pt x="117" y="79"/>
                  </a:lnTo>
                  <a:lnTo>
                    <a:pt x="114" y="79"/>
                  </a:lnTo>
                  <a:lnTo>
                    <a:pt x="114" y="77"/>
                  </a:lnTo>
                  <a:lnTo>
                    <a:pt x="114" y="77"/>
                  </a:lnTo>
                  <a:lnTo>
                    <a:pt x="112" y="74"/>
                  </a:lnTo>
                  <a:lnTo>
                    <a:pt x="112" y="77"/>
                  </a:lnTo>
                  <a:lnTo>
                    <a:pt x="112" y="77"/>
                  </a:lnTo>
                  <a:lnTo>
                    <a:pt x="112" y="79"/>
                  </a:lnTo>
                  <a:lnTo>
                    <a:pt x="112" y="79"/>
                  </a:lnTo>
                  <a:lnTo>
                    <a:pt x="112" y="82"/>
                  </a:lnTo>
                  <a:lnTo>
                    <a:pt x="112" y="82"/>
                  </a:lnTo>
                  <a:lnTo>
                    <a:pt x="107" y="82"/>
                  </a:lnTo>
                  <a:lnTo>
                    <a:pt x="102" y="82"/>
                  </a:lnTo>
                  <a:lnTo>
                    <a:pt x="97" y="82"/>
                  </a:lnTo>
                  <a:lnTo>
                    <a:pt x="94" y="82"/>
                  </a:lnTo>
                  <a:lnTo>
                    <a:pt x="89" y="82"/>
                  </a:lnTo>
                  <a:lnTo>
                    <a:pt x="89" y="82"/>
                  </a:lnTo>
                  <a:lnTo>
                    <a:pt x="86" y="79"/>
                  </a:lnTo>
                  <a:lnTo>
                    <a:pt x="84" y="79"/>
                  </a:lnTo>
                  <a:lnTo>
                    <a:pt x="84" y="79"/>
                  </a:lnTo>
                  <a:lnTo>
                    <a:pt x="84" y="79"/>
                  </a:lnTo>
                  <a:lnTo>
                    <a:pt x="81" y="82"/>
                  </a:lnTo>
                  <a:lnTo>
                    <a:pt x="79" y="82"/>
                  </a:lnTo>
                  <a:lnTo>
                    <a:pt x="79" y="82"/>
                  </a:lnTo>
                  <a:lnTo>
                    <a:pt x="79" y="84"/>
                  </a:lnTo>
                  <a:lnTo>
                    <a:pt x="79" y="89"/>
                  </a:lnTo>
                  <a:lnTo>
                    <a:pt x="79" y="97"/>
                  </a:lnTo>
                  <a:lnTo>
                    <a:pt x="79" y="95"/>
                  </a:lnTo>
                  <a:lnTo>
                    <a:pt x="81" y="95"/>
                  </a:lnTo>
                  <a:lnTo>
                    <a:pt x="81" y="97"/>
                  </a:lnTo>
                  <a:lnTo>
                    <a:pt x="84" y="95"/>
                  </a:lnTo>
                  <a:lnTo>
                    <a:pt x="84" y="97"/>
                  </a:lnTo>
                  <a:lnTo>
                    <a:pt x="86" y="97"/>
                  </a:lnTo>
                  <a:lnTo>
                    <a:pt x="86" y="97"/>
                  </a:lnTo>
                  <a:lnTo>
                    <a:pt x="86" y="97"/>
                  </a:lnTo>
                  <a:lnTo>
                    <a:pt x="86" y="97"/>
                  </a:lnTo>
                  <a:lnTo>
                    <a:pt x="89" y="97"/>
                  </a:lnTo>
                  <a:lnTo>
                    <a:pt x="89" y="97"/>
                  </a:lnTo>
                  <a:lnTo>
                    <a:pt x="91" y="97"/>
                  </a:lnTo>
                  <a:lnTo>
                    <a:pt x="91" y="97"/>
                  </a:lnTo>
                  <a:lnTo>
                    <a:pt x="91" y="100"/>
                  </a:lnTo>
                  <a:lnTo>
                    <a:pt x="91" y="100"/>
                  </a:lnTo>
                  <a:lnTo>
                    <a:pt x="91" y="102"/>
                  </a:lnTo>
                  <a:lnTo>
                    <a:pt x="91" y="102"/>
                  </a:lnTo>
                  <a:lnTo>
                    <a:pt x="91" y="105"/>
                  </a:lnTo>
                  <a:lnTo>
                    <a:pt x="91" y="105"/>
                  </a:lnTo>
                  <a:lnTo>
                    <a:pt x="91" y="105"/>
                  </a:lnTo>
                  <a:lnTo>
                    <a:pt x="91" y="105"/>
                  </a:lnTo>
                  <a:lnTo>
                    <a:pt x="91" y="105"/>
                  </a:lnTo>
                  <a:lnTo>
                    <a:pt x="91" y="105"/>
                  </a:lnTo>
                  <a:lnTo>
                    <a:pt x="91" y="105"/>
                  </a:lnTo>
                  <a:lnTo>
                    <a:pt x="89" y="105"/>
                  </a:lnTo>
                  <a:lnTo>
                    <a:pt x="89" y="105"/>
                  </a:lnTo>
                  <a:lnTo>
                    <a:pt x="89" y="105"/>
                  </a:lnTo>
                  <a:lnTo>
                    <a:pt x="89" y="105"/>
                  </a:lnTo>
                  <a:lnTo>
                    <a:pt x="89" y="105"/>
                  </a:lnTo>
                  <a:lnTo>
                    <a:pt x="86" y="105"/>
                  </a:lnTo>
                  <a:lnTo>
                    <a:pt x="86" y="105"/>
                  </a:lnTo>
                  <a:lnTo>
                    <a:pt x="84" y="105"/>
                  </a:lnTo>
                  <a:lnTo>
                    <a:pt x="84" y="105"/>
                  </a:lnTo>
                  <a:lnTo>
                    <a:pt x="84" y="105"/>
                  </a:lnTo>
                  <a:lnTo>
                    <a:pt x="84" y="105"/>
                  </a:lnTo>
                  <a:lnTo>
                    <a:pt x="81" y="105"/>
                  </a:lnTo>
                  <a:lnTo>
                    <a:pt x="81" y="105"/>
                  </a:lnTo>
                  <a:lnTo>
                    <a:pt x="81" y="105"/>
                  </a:lnTo>
                  <a:lnTo>
                    <a:pt x="79" y="107"/>
                  </a:lnTo>
                  <a:lnTo>
                    <a:pt x="79" y="107"/>
                  </a:lnTo>
                  <a:lnTo>
                    <a:pt x="76" y="107"/>
                  </a:lnTo>
                  <a:lnTo>
                    <a:pt x="76" y="107"/>
                  </a:lnTo>
                  <a:lnTo>
                    <a:pt x="74" y="107"/>
                  </a:lnTo>
                  <a:lnTo>
                    <a:pt x="74" y="110"/>
                  </a:lnTo>
                  <a:lnTo>
                    <a:pt x="74" y="115"/>
                  </a:lnTo>
                  <a:lnTo>
                    <a:pt x="74" y="120"/>
                  </a:lnTo>
                  <a:lnTo>
                    <a:pt x="74" y="123"/>
                  </a:lnTo>
                  <a:lnTo>
                    <a:pt x="74" y="125"/>
                  </a:lnTo>
                  <a:lnTo>
                    <a:pt x="76" y="128"/>
                  </a:lnTo>
                  <a:lnTo>
                    <a:pt x="79" y="128"/>
                  </a:lnTo>
                  <a:lnTo>
                    <a:pt x="81" y="130"/>
                  </a:lnTo>
                  <a:lnTo>
                    <a:pt x="81" y="130"/>
                  </a:lnTo>
                  <a:lnTo>
                    <a:pt x="84" y="133"/>
                  </a:lnTo>
                  <a:lnTo>
                    <a:pt x="84" y="133"/>
                  </a:lnTo>
                  <a:lnTo>
                    <a:pt x="84" y="133"/>
                  </a:lnTo>
                  <a:lnTo>
                    <a:pt x="84" y="135"/>
                  </a:lnTo>
                  <a:lnTo>
                    <a:pt x="84" y="135"/>
                  </a:lnTo>
                  <a:lnTo>
                    <a:pt x="84" y="135"/>
                  </a:lnTo>
                  <a:lnTo>
                    <a:pt x="84" y="138"/>
                  </a:lnTo>
                  <a:lnTo>
                    <a:pt x="84" y="138"/>
                  </a:lnTo>
                  <a:lnTo>
                    <a:pt x="84" y="140"/>
                  </a:lnTo>
                  <a:lnTo>
                    <a:pt x="84" y="140"/>
                  </a:lnTo>
                  <a:lnTo>
                    <a:pt x="84" y="140"/>
                  </a:lnTo>
                  <a:lnTo>
                    <a:pt x="86" y="140"/>
                  </a:lnTo>
                  <a:lnTo>
                    <a:pt x="86" y="143"/>
                  </a:lnTo>
                  <a:lnTo>
                    <a:pt x="86" y="143"/>
                  </a:lnTo>
                  <a:lnTo>
                    <a:pt x="86" y="143"/>
                  </a:lnTo>
                  <a:lnTo>
                    <a:pt x="86" y="145"/>
                  </a:lnTo>
                  <a:lnTo>
                    <a:pt x="86" y="145"/>
                  </a:lnTo>
                  <a:lnTo>
                    <a:pt x="86" y="145"/>
                  </a:lnTo>
                  <a:lnTo>
                    <a:pt x="89" y="148"/>
                  </a:lnTo>
                  <a:lnTo>
                    <a:pt x="86" y="148"/>
                  </a:lnTo>
                  <a:lnTo>
                    <a:pt x="86" y="153"/>
                  </a:lnTo>
                  <a:lnTo>
                    <a:pt x="86" y="158"/>
                  </a:lnTo>
                  <a:lnTo>
                    <a:pt x="86" y="161"/>
                  </a:lnTo>
                  <a:lnTo>
                    <a:pt x="84" y="166"/>
                  </a:lnTo>
                  <a:lnTo>
                    <a:pt x="84" y="173"/>
                  </a:lnTo>
                  <a:lnTo>
                    <a:pt x="84" y="181"/>
                  </a:lnTo>
                  <a:lnTo>
                    <a:pt x="81" y="189"/>
                  </a:lnTo>
                  <a:lnTo>
                    <a:pt x="81" y="196"/>
                  </a:lnTo>
                  <a:lnTo>
                    <a:pt x="79" y="204"/>
                  </a:lnTo>
                  <a:lnTo>
                    <a:pt x="79" y="212"/>
                  </a:lnTo>
                  <a:lnTo>
                    <a:pt x="79" y="217"/>
                  </a:lnTo>
                  <a:lnTo>
                    <a:pt x="79" y="217"/>
                  </a:lnTo>
                  <a:lnTo>
                    <a:pt x="79" y="217"/>
                  </a:lnTo>
                  <a:lnTo>
                    <a:pt x="76" y="219"/>
                  </a:lnTo>
                  <a:lnTo>
                    <a:pt x="76" y="219"/>
                  </a:lnTo>
                  <a:lnTo>
                    <a:pt x="74" y="217"/>
                  </a:lnTo>
                  <a:lnTo>
                    <a:pt x="74" y="217"/>
                  </a:lnTo>
                  <a:lnTo>
                    <a:pt x="74" y="217"/>
                  </a:lnTo>
                  <a:lnTo>
                    <a:pt x="71" y="217"/>
                  </a:lnTo>
                  <a:lnTo>
                    <a:pt x="71" y="214"/>
                  </a:lnTo>
                  <a:lnTo>
                    <a:pt x="68" y="214"/>
                  </a:lnTo>
                  <a:lnTo>
                    <a:pt x="66" y="214"/>
                  </a:lnTo>
                  <a:lnTo>
                    <a:pt x="63" y="214"/>
                  </a:lnTo>
                  <a:lnTo>
                    <a:pt x="63" y="214"/>
                  </a:lnTo>
                  <a:lnTo>
                    <a:pt x="61" y="214"/>
                  </a:lnTo>
                  <a:lnTo>
                    <a:pt x="61" y="217"/>
                  </a:lnTo>
                  <a:lnTo>
                    <a:pt x="58" y="217"/>
                  </a:lnTo>
                  <a:lnTo>
                    <a:pt x="58" y="219"/>
                  </a:lnTo>
                  <a:lnTo>
                    <a:pt x="53" y="219"/>
                  </a:lnTo>
                  <a:lnTo>
                    <a:pt x="53" y="219"/>
                  </a:lnTo>
                  <a:lnTo>
                    <a:pt x="51" y="222"/>
                  </a:lnTo>
                  <a:lnTo>
                    <a:pt x="48" y="222"/>
                  </a:lnTo>
                  <a:lnTo>
                    <a:pt x="46" y="222"/>
                  </a:lnTo>
                  <a:lnTo>
                    <a:pt x="43" y="222"/>
                  </a:lnTo>
                  <a:lnTo>
                    <a:pt x="40" y="222"/>
                  </a:lnTo>
                  <a:lnTo>
                    <a:pt x="38" y="224"/>
                  </a:lnTo>
                  <a:lnTo>
                    <a:pt x="38" y="224"/>
                  </a:lnTo>
                  <a:lnTo>
                    <a:pt x="35" y="224"/>
                  </a:lnTo>
                  <a:lnTo>
                    <a:pt x="33" y="227"/>
                  </a:lnTo>
                  <a:lnTo>
                    <a:pt x="30" y="229"/>
                  </a:lnTo>
                  <a:lnTo>
                    <a:pt x="28" y="232"/>
                  </a:lnTo>
                  <a:lnTo>
                    <a:pt x="25" y="235"/>
                  </a:lnTo>
                  <a:lnTo>
                    <a:pt x="23" y="235"/>
                  </a:lnTo>
                  <a:lnTo>
                    <a:pt x="20" y="237"/>
                  </a:lnTo>
                  <a:lnTo>
                    <a:pt x="20" y="237"/>
                  </a:lnTo>
                  <a:lnTo>
                    <a:pt x="20" y="237"/>
                  </a:lnTo>
                  <a:lnTo>
                    <a:pt x="20" y="237"/>
                  </a:lnTo>
                  <a:lnTo>
                    <a:pt x="20" y="240"/>
                  </a:lnTo>
                  <a:lnTo>
                    <a:pt x="18" y="245"/>
                  </a:lnTo>
                  <a:lnTo>
                    <a:pt x="18" y="247"/>
                  </a:lnTo>
                  <a:lnTo>
                    <a:pt x="18" y="247"/>
                  </a:lnTo>
                  <a:lnTo>
                    <a:pt x="18" y="252"/>
                  </a:lnTo>
                  <a:lnTo>
                    <a:pt x="15" y="255"/>
                  </a:lnTo>
                  <a:lnTo>
                    <a:pt x="15" y="257"/>
                  </a:lnTo>
                  <a:lnTo>
                    <a:pt x="12" y="257"/>
                  </a:lnTo>
                  <a:lnTo>
                    <a:pt x="15" y="260"/>
                  </a:lnTo>
                  <a:lnTo>
                    <a:pt x="15" y="262"/>
                  </a:lnTo>
                  <a:lnTo>
                    <a:pt x="15" y="265"/>
                  </a:lnTo>
                  <a:lnTo>
                    <a:pt x="15" y="265"/>
                  </a:lnTo>
                  <a:lnTo>
                    <a:pt x="15" y="268"/>
                  </a:lnTo>
                  <a:lnTo>
                    <a:pt x="15" y="268"/>
                  </a:lnTo>
                  <a:lnTo>
                    <a:pt x="15" y="270"/>
                  </a:lnTo>
                  <a:lnTo>
                    <a:pt x="12" y="270"/>
                  </a:lnTo>
                  <a:lnTo>
                    <a:pt x="10" y="273"/>
                  </a:lnTo>
                  <a:lnTo>
                    <a:pt x="5" y="275"/>
                  </a:lnTo>
                  <a:lnTo>
                    <a:pt x="5" y="278"/>
                  </a:lnTo>
                  <a:lnTo>
                    <a:pt x="5" y="278"/>
                  </a:lnTo>
                  <a:lnTo>
                    <a:pt x="2" y="280"/>
                  </a:lnTo>
                  <a:lnTo>
                    <a:pt x="2" y="283"/>
                  </a:lnTo>
                  <a:lnTo>
                    <a:pt x="5" y="283"/>
                  </a:lnTo>
                  <a:lnTo>
                    <a:pt x="5" y="285"/>
                  </a:lnTo>
                  <a:lnTo>
                    <a:pt x="5" y="285"/>
                  </a:lnTo>
                  <a:lnTo>
                    <a:pt x="5" y="288"/>
                  </a:lnTo>
                  <a:lnTo>
                    <a:pt x="2" y="288"/>
                  </a:lnTo>
                  <a:lnTo>
                    <a:pt x="2" y="288"/>
                  </a:lnTo>
                  <a:lnTo>
                    <a:pt x="2" y="288"/>
                  </a:lnTo>
                  <a:lnTo>
                    <a:pt x="2" y="288"/>
                  </a:lnTo>
                  <a:lnTo>
                    <a:pt x="0" y="288"/>
                  </a:lnTo>
                  <a:lnTo>
                    <a:pt x="0" y="288"/>
                  </a:lnTo>
                  <a:lnTo>
                    <a:pt x="0" y="290"/>
                  </a:lnTo>
                  <a:lnTo>
                    <a:pt x="0" y="290"/>
                  </a:lnTo>
                  <a:lnTo>
                    <a:pt x="0" y="290"/>
                  </a:lnTo>
                  <a:lnTo>
                    <a:pt x="0" y="290"/>
                  </a:lnTo>
                  <a:lnTo>
                    <a:pt x="0" y="293"/>
                  </a:lnTo>
                  <a:lnTo>
                    <a:pt x="0" y="293"/>
                  </a:lnTo>
                  <a:lnTo>
                    <a:pt x="2" y="293"/>
                  </a:lnTo>
                  <a:lnTo>
                    <a:pt x="5" y="296"/>
                  </a:lnTo>
                  <a:lnTo>
                    <a:pt x="5" y="296"/>
                  </a:lnTo>
                  <a:lnTo>
                    <a:pt x="5" y="298"/>
                  </a:lnTo>
                  <a:lnTo>
                    <a:pt x="5" y="298"/>
                  </a:lnTo>
                  <a:lnTo>
                    <a:pt x="5" y="298"/>
                  </a:lnTo>
                  <a:lnTo>
                    <a:pt x="5" y="301"/>
                  </a:lnTo>
                  <a:lnTo>
                    <a:pt x="5" y="301"/>
                  </a:lnTo>
                  <a:lnTo>
                    <a:pt x="5" y="301"/>
                  </a:lnTo>
                  <a:lnTo>
                    <a:pt x="7" y="303"/>
                  </a:lnTo>
                  <a:lnTo>
                    <a:pt x="7" y="303"/>
                  </a:lnTo>
                  <a:lnTo>
                    <a:pt x="7" y="306"/>
                  </a:lnTo>
                  <a:lnTo>
                    <a:pt x="7" y="306"/>
                  </a:lnTo>
                  <a:lnTo>
                    <a:pt x="10" y="308"/>
                  </a:lnTo>
                  <a:lnTo>
                    <a:pt x="10" y="308"/>
                  </a:lnTo>
                  <a:lnTo>
                    <a:pt x="10" y="311"/>
                  </a:lnTo>
                  <a:lnTo>
                    <a:pt x="10" y="311"/>
                  </a:lnTo>
                  <a:lnTo>
                    <a:pt x="12" y="311"/>
                  </a:lnTo>
                  <a:lnTo>
                    <a:pt x="12" y="313"/>
                  </a:lnTo>
                  <a:lnTo>
                    <a:pt x="12" y="313"/>
                  </a:lnTo>
                  <a:lnTo>
                    <a:pt x="15" y="313"/>
                  </a:lnTo>
                  <a:lnTo>
                    <a:pt x="15" y="316"/>
                  </a:lnTo>
                  <a:lnTo>
                    <a:pt x="15" y="316"/>
                  </a:lnTo>
                  <a:lnTo>
                    <a:pt x="18" y="318"/>
                  </a:lnTo>
                  <a:lnTo>
                    <a:pt x="20" y="321"/>
                  </a:lnTo>
                  <a:lnTo>
                    <a:pt x="20" y="321"/>
                  </a:lnTo>
                  <a:lnTo>
                    <a:pt x="23" y="324"/>
                  </a:lnTo>
                  <a:lnTo>
                    <a:pt x="23" y="326"/>
                  </a:lnTo>
                  <a:lnTo>
                    <a:pt x="20" y="331"/>
                  </a:lnTo>
                  <a:lnTo>
                    <a:pt x="18" y="334"/>
                  </a:lnTo>
                  <a:lnTo>
                    <a:pt x="23" y="334"/>
                  </a:lnTo>
                  <a:lnTo>
                    <a:pt x="25" y="334"/>
                  </a:lnTo>
                  <a:lnTo>
                    <a:pt x="30" y="334"/>
                  </a:lnTo>
                  <a:lnTo>
                    <a:pt x="33" y="336"/>
                  </a:lnTo>
                  <a:lnTo>
                    <a:pt x="35" y="336"/>
                  </a:lnTo>
                  <a:lnTo>
                    <a:pt x="35" y="336"/>
                  </a:lnTo>
                  <a:lnTo>
                    <a:pt x="35" y="339"/>
                  </a:lnTo>
                  <a:lnTo>
                    <a:pt x="38" y="341"/>
                  </a:lnTo>
                  <a:lnTo>
                    <a:pt x="38" y="341"/>
                  </a:lnTo>
                  <a:lnTo>
                    <a:pt x="40" y="344"/>
                  </a:lnTo>
                  <a:lnTo>
                    <a:pt x="38" y="346"/>
                  </a:lnTo>
                  <a:lnTo>
                    <a:pt x="40" y="346"/>
                  </a:lnTo>
                  <a:lnTo>
                    <a:pt x="40" y="346"/>
                  </a:lnTo>
                  <a:lnTo>
                    <a:pt x="46" y="346"/>
                  </a:lnTo>
                  <a:lnTo>
                    <a:pt x="51" y="346"/>
                  </a:lnTo>
                  <a:lnTo>
                    <a:pt x="56" y="346"/>
                  </a:lnTo>
                  <a:lnTo>
                    <a:pt x="58" y="346"/>
                  </a:lnTo>
                  <a:lnTo>
                    <a:pt x="61" y="344"/>
                  </a:lnTo>
                  <a:lnTo>
                    <a:pt x="61" y="344"/>
                  </a:lnTo>
                  <a:lnTo>
                    <a:pt x="63" y="341"/>
                  </a:lnTo>
                  <a:lnTo>
                    <a:pt x="66" y="339"/>
                  </a:lnTo>
                  <a:lnTo>
                    <a:pt x="66" y="339"/>
                  </a:lnTo>
                  <a:lnTo>
                    <a:pt x="66" y="336"/>
                  </a:lnTo>
                  <a:lnTo>
                    <a:pt x="68" y="336"/>
                  </a:lnTo>
                  <a:lnTo>
                    <a:pt x="68" y="336"/>
                  </a:lnTo>
                  <a:lnTo>
                    <a:pt x="71" y="336"/>
                  </a:lnTo>
                  <a:lnTo>
                    <a:pt x="71" y="334"/>
                  </a:lnTo>
                  <a:lnTo>
                    <a:pt x="71" y="336"/>
                  </a:lnTo>
                  <a:lnTo>
                    <a:pt x="71" y="336"/>
                  </a:lnTo>
                  <a:lnTo>
                    <a:pt x="71" y="339"/>
                  </a:lnTo>
                  <a:lnTo>
                    <a:pt x="71" y="341"/>
                  </a:lnTo>
                  <a:lnTo>
                    <a:pt x="71" y="341"/>
                  </a:lnTo>
                  <a:lnTo>
                    <a:pt x="71" y="344"/>
                  </a:lnTo>
                  <a:lnTo>
                    <a:pt x="71" y="346"/>
                  </a:lnTo>
                  <a:lnTo>
                    <a:pt x="71" y="352"/>
                  </a:lnTo>
                  <a:lnTo>
                    <a:pt x="71" y="357"/>
                  </a:lnTo>
                  <a:lnTo>
                    <a:pt x="71" y="362"/>
                  </a:lnTo>
                  <a:lnTo>
                    <a:pt x="71" y="367"/>
                  </a:lnTo>
                  <a:lnTo>
                    <a:pt x="71" y="369"/>
                  </a:lnTo>
                  <a:lnTo>
                    <a:pt x="74" y="369"/>
                  </a:lnTo>
                  <a:lnTo>
                    <a:pt x="74" y="369"/>
                  </a:lnTo>
                  <a:lnTo>
                    <a:pt x="76" y="369"/>
                  </a:lnTo>
                  <a:lnTo>
                    <a:pt x="76" y="372"/>
                  </a:lnTo>
                  <a:lnTo>
                    <a:pt x="79" y="372"/>
                  </a:lnTo>
                  <a:lnTo>
                    <a:pt x="79" y="372"/>
                  </a:lnTo>
                  <a:lnTo>
                    <a:pt x="81" y="372"/>
                  </a:lnTo>
                  <a:lnTo>
                    <a:pt x="84" y="369"/>
                  </a:lnTo>
                  <a:lnTo>
                    <a:pt x="84" y="369"/>
                  </a:lnTo>
                  <a:lnTo>
                    <a:pt x="86" y="369"/>
                  </a:lnTo>
                  <a:lnTo>
                    <a:pt x="91" y="369"/>
                  </a:lnTo>
                  <a:lnTo>
                    <a:pt x="91" y="369"/>
                  </a:lnTo>
                  <a:lnTo>
                    <a:pt x="94" y="369"/>
                  </a:lnTo>
                  <a:lnTo>
                    <a:pt x="99" y="369"/>
                  </a:lnTo>
                  <a:lnTo>
                    <a:pt x="104" y="369"/>
                  </a:lnTo>
                  <a:lnTo>
                    <a:pt x="107" y="369"/>
                  </a:lnTo>
                  <a:lnTo>
                    <a:pt x="109" y="372"/>
                  </a:lnTo>
                  <a:lnTo>
                    <a:pt x="109" y="372"/>
                  </a:lnTo>
                  <a:lnTo>
                    <a:pt x="109" y="372"/>
                  </a:lnTo>
                  <a:lnTo>
                    <a:pt x="112" y="372"/>
                  </a:lnTo>
                  <a:lnTo>
                    <a:pt x="112" y="372"/>
                  </a:lnTo>
                  <a:lnTo>
                    <a:pt x="114" y="372"/>
                  </a:lnTo>
                  <a:lnTo>
                    <a:pt x="117" y="369"/>
                  </a:lnTo>
                  <a:lnTo>
                    <a:pt x="117" y="369"/>
                  </a:lnTo>
                  <a:lnTo>
                    <a:pt x="119" y="369"/>
                  </a:lnTo>
                  <a:lnTo>
                    <a:pt x="122" y="364"/>
                  </a:lnTo>
                  <a:lnTo>
                    <a:pt x="122" y="364"/>
                  </a:lnTo>
                  <a:lnTo>
                    <a:pt x="125" y="362"/>
                  </a:lnTo>
                  <a:lnTo>
                    <a:pt x="127" y="362"/>
                  </a:lnTo>
                  <a:lnTo>
                    <a:pt x="127" y="362"/>
                  </a:lnTo>
                  <a:lnTo>
                    <a:pt x="130" y="362"/>
                  </a:lnTo>
                  <a:lnTo>
                    <a:pt x="130" y="362"/>
                  </a:lnTo>
                  <a:lnTo>
                    <a:pt x="132" y="359"/>
                  </a:lnTo>
                  <a:lnTo>
                    <a:pt x="135" y="357"/>
                  </a:lnTo>
                  <a:lnTo>
                    <a:pt x="137" y="357"/>
                  </a:lnTo>
                  <a:lnTo>
                    <a:pt x="137" y="354"/>
                  </a:lnTo>
                  <a:lnTo>
                    <a:pt x="140" y="354"/>
                  </a:lnTo>
                  <a:lnTo>
                    <a:pt x="140" y="354"/>
                  </a:lnTo>
                  <a:lnTo>
                    <a:pt x="147" y="346"/>
                  </a:lnTo>
                  <a:lnTo>
                    <a:pt x="150" y="344"/>
                  </a:lnTo>
                  <a:lnTo>
                    <a:pt x="153" y="344"/>
                  </a:lnTo>
                  <a:lnTo>
                    <a:pt x="155" y="344"/>
                  </a:lnTo>
                  <a:lnTo>
                    <a:pt x="158" y="344"/>
                  </a:lnTo>
                  <a:lnTo>
                    <a:pt x="165" y="341"/>
                  </a:lnTo>
                  <a:lnTo>
                    <a:pt x="168" y="341"/>
                  </a:lnTo>
                  <a:lnTo>
                    <a:pt x="170" y="344"/>
                  </a:lnTo>
                  <a:lnTo>
                    <a:pt x="170" y="344"/>
                  </a:lnTo>
                  <a:lnTo>
                    <a:pt x="173" y="341"/>
                  </a:lnTo>
                  <a:lnTo>
                    <a:pt x="173" y="341"/>
                  </a:lnTo>
                  <a:lnTo>
                    <a:pt x="176" y="341"/>
                  </a:lnTo>
                  <a:lnTo>
                    <a:pt x="176" y="341"/>
                  </a:lnTo>
                  <a:lnTo>
                    <a:pt x="176" y="344"/>
                  </a:lnTo>
                  <a:lnTo>
                    <a:pt x="176" y="346"/>
                  </a:lnTo>
                  <a:lnTo>
                    <a:pt x="176" y="349"/>
                  </a:lnTo>
                  <a:lnTo>
                    <a:pt x="178" y="352"/>
                  </a:lnTo>
                  <a:lnTo>
                    <a:pt x="178" y="354"/>
                  </a:lnTo>
                  <a:lnTo>
                    <a:pt x="176" y="357"/>
                  </a:lnTo>
                  <a:lnTo>
                    <a:pt x="176" y="357"/>
                  </a:lnTo>
                  <a:lnTo>
                    <a:pt x="176" y="359"/>
                  </a:lnTo>
                  <a:lnTo>
                    <a:pt x="176" y="362"/>
                  </a:lnTo>
                  <a:lnTo>
                    <a:pt x="176" y="364"/>
                  </a:lnTo>
                  <a:lnTo>
                    <a:pt x="178" y="367"/>
                  </a:lnTo>
                  <a:lnTo>
                    <a:pt x="178" y="369"/>
                  </a:lnTo>
                  <a:lnTo>
                    <a:pt x="178" y="372"/>
                  </a:lnTo>
                  <a:lnTo>
                    <a:pt x="176" y="374"/>
                  </a:lnTo>
                  <a:lnTo>
                    <a:pt x="178" y="374"/>
                  </a:lnTo>
                  <a:lnTo>
                    <a:pt x="178" y="377"/>
                  </a:lnTo>
                  <a:lnTo>
                    <a:pt x="178" y="377"/>
                  </a:lnTo>
                  <a:lnTo>
                    <a:pt x="178" y="377"/>
                  </a:lnTo>
                  <a:lnTo>
                    <a:pt x="178" y="380"/>
                  </a:lnTo>
                  <a:lnTo>
                    <a:pt x="181" y="382"/>
                  </a:lnTo>
                  <a:lnTo>
                    <a:pt x="181" y="382"/>
                  </a:lnTo>
                  <a:lnTo>
                    <a:pt x="181" y="385"/>
                  </a:lnTo>
                  <a:lnTo>
                    <a:pt x="181" y="387"/>
                  </a:lnTo>
                  <a:lnTo>
                    <a:pt x="181" y="387"/>
                  </a:lnTo>
                  <a:lnTo>
                    <a:pt x="183" y="387"/>
                  </a:lnTo>
                  <a:lnTo>
                    <a:pt x="183" y="387"/>
                  </a:lnTo>
                  <a:lnTo>
                    <a:pt x="183" y="387"/>
                  </a:lnTo>
                  <a:lnTo>
                    <a:pt x="183" y="387"/>
                  </a:lnTo>
                  <a:lnTo>
                    <a:pt x="186" y="390"/>
                  </a:lnTo>
                  <a:lnTo>
                    <a:pt x="186" y="390"/>
                  </a:lnTo>
                  <a:lnTo>
                    <a:pt x="186" y="390"/>
                  </a:lnTo>
                  <a:lnTo>
                    <a:pt x="186" y="392"/>
                  </a:lnTo>
                  <a:lnTo>
                    <a:pt x="188" y="392"/>
                  </a:lnTo>
                  <a:lnTo>
                    <a:pt x="188" y="392"/>
                  </a:lnTo>
                  <a:lnTo>
                    <a:pt x="191" y="395"/>
                  </a:lnTo>
                  <a:lnTo>
                    <a:pt x="193" y="395"/>
                  </a:lnTo>
                  <a:lnTo>
                    <a:pt x="193" y="397"/>
                  </a:lnTo>
                  <a:lnTo>
                    <a:pt x="196" y="397"/>
                  </a:lnTo>
                  <a:lnTo>
                    <a:pt x="196" y="400"/>
                  </a:lnTo>
                  <a:lnTo>
                    <a:pt x="198" y="402"/>
                  </a:lnTo>
                  <a:lnTo>
                    <a:pt x="201" y="402"/>
                  </a:lnTo>
                  <a:lnTo>
                    <a:pt x="206" y="405"/>
                  </a:lnTo>
                  <a:lnTo>
                    <a:pt x="209" y="405"/>
                  </a:lnTo>
                  <a:lnTo>
                    <a:pt x="211" y="402"/>
                  </a:lnTo>
                  <a:lnTo>
                    <a:pt x="214" y="402"/>
                  </a:lnTo>
                  <a:lnTo>
                    <a:pt x="214" y="405"/>
                  </a:lnTo>
                  <a:lnTo>
                    <a:pt x="216" y="405"/>
                  </a:lnTo>
                  <a:lnTo>
                    <a:pt x="216" y="408"/>
                  </a:lnTo>
                  <a:lnTo>
                    <a:pt x="219" y="408"/>
                  </a:lnTo>
                  <a:lnTo>
                    <a:pt x="221" y="408"/>
                  </a:lnTo>
                  <a:lnTo>
                    <a:pt x="224" y="408"/>
                  </a:lnTo>
                  <a:lnTo>
                    <a:pt x="224" y="408"/>
                  </a:lnTo>
                  <a:lnTo>
                    <a:pt x="226" y="408"/>
                  </a:lnTo>
                  <a:lnTo>
                    <a:pt x="226" y="410"/>
                  </a:lnTo>
                  <a:lnTo>
                    <a:pt x="226" y="410"/>
                  </a:lnTo>
                  <a:lnTo>
                    <a:pt x="229" y="413"/>
                  </a:lnTo>
                  <a:lnTo>
                    <a:pt x="232" y="415"/>
                  </a:lnTo>
                  <a:lnTo>
                    <a:pt x="232" y="415"/>
                  </a:lnTo>
                  <a:lnTo>
                    <a:pt x="234" y="415"/>
                  </a:lnTo>
                  <a:lnTo>
                    <a:pt x="237" y="418"/>
                  </a:lnTo>
                  <a:lnTo>
                    <a:pt x="239" y="418"/>
                  </a:lnTo>
                  <a:lnTo>
                    <a:pt x="242" y="418"/>
                  </a:lnTo>
                  <a:lnTo>
                    <a:pt x="244" y="418"/>
                  </a:lnTo>
                  <a:lnTo>
                    <a:pt x="244" y="420"/>
                  </a:lnTo>
                  <a:lnTo>
                    <a:pt x="247" y="420"/>
                  </a:lnTo>
                  <a:lnTo>
                    <a:pt x="249" y="425"/>
                  </a:lnTo>
                  <a:lnTo>
                    <a:pt x="249" y="425"/>
                  </a:lnTo>
                  <a:lnTo>
                    <a:pt x="252" y="428"/>
                  </a:lnTo>
                  <a:lnTo>
                    <a:pt x="257" y="428"/>
                  </a:lnTo>
                  <a:lnTo>
                    <a:pt x="257" y="428"/>
                  </a:lnTo>
                  <a:lnTo>
                    <a:pt x="260" y="428"/>
                  </a:lnTo>
                  <a:lnTo>
                    <a:pt x="265" y="428"/>
                  </a:lnTo>
                  <a:lnTo>
                    <a:pt x="267" y="425"/>
                  </a:lnTo>
                  <a:lnTo>
                    <a:pt x="270" y="428"/>
                  </a:lnTo>
                  <a:lnTo>
                    <a:pt x="275" y="430"/>
                  </a:lnTo>
                  <a:lnTo>
                    <a:pt x="277" y="433"/>
                  </a:lnTo>
                  <a:lnTo>
                    <a:pt x="277" y="433"/>
                  </a:lnTo>
                  <a:lnTo>
                    <a:pt x="280" y="436"/>
                  </a:lnTo>
                  <a:lnTo>
                    <a:pt x="280" y="436"/>
                  </a:lnTo>
                  <a:lnTo>
                    <a:pt x="280" y="438"/>
                  </a:lnTo>
                  <a:lnTo>
                    <a:pt x="280" y="441"/>
                  </a:lnTo>
                  <a:lnTo>
                    <a:pt x="280" y="441"/>
                  </a:lnTo>
                  <a:lnTo>
                    <a:pt x="280" y="443"/>
                  </a:lnTo>
                  <a:lnTo>
                    <a:pt x="280" y="443"/>
                  </a:lnTo>
                  <a:lnTo>
                    <a:pt x="283" y="446"/>
                  </a:lnTo>
                  <a:lnTo>
                    <a:pt x="283" y="448"/>
                  </a:lnTo>
                  <a:lnTo>
                    <a:pt x="283" y="451"/>
                  </a:lnTo>
                  <a:lnTo>
                    <a:pt x="285" y="453"/>
                  </a:lnTo>
                  <a:lnTo>
                    <a:pt x="285" y="464"/>
                  </a:lnTo>
                  <a:lnTo>
                    <a:pt x="283" y="464"/>
                  </a:lnTo>
                  <a:lnTo>
                    <a:pt x="280" y="464"/>
                  </a:lnTo>
                  <a:lnTo>
                    <a:pt x="280" y="464"/>
                  </a:lnTo>
                  <a:lnTo>
                    <a:pt x="283" y="469"/>
                  </a:lnTo>
                  <a:lnTo>
                    <a:pt x="288" y="471"/>
                  </a:lnTo>
                  <a:lnTo>
                    <a:pt x="288" y="479"/>
                  </a:lnTo>
                  <a:lnTo>
                    <a:pt x="288" y="481"/>
                  </a:lnTo>
                  <a:lnTo>
                    <a:pt x="290" y="486"/>
                  </a:lnTo>
                  <a:lnTo>
                    <a:pt x="290" y="489"/>
                  </a:lnTo>
                  <a:lnTo>
                    <a:pt x="298" y="489"/>
                  </a:lnTo>
                  <a:lnTo>
                    <a:pt x="306" y="492"/>
                  </a:lnTo>
                  <a:lnTo>
                    <a:pt x="313" y="492"/>
                  </a:lnTo>
                  <a:lnTo>
                    <a:pt x="323" y="492"/>
                  </a:lnTo>
                  <a:lnTo>
                    <a:pt x="323" y="492"/>
                  </a:lnTo>
                  <a:lnTo>
                    <a:pt x="326" y="492"/>
                  </a:lnTo>
                  <a:lnTo>
                    <a:pt x="326" y="489"/>
                  </a:lnTo>
                  <a:lnTo>
                    <a:pt x="326" y="489"/>
                  </a:lnTo>
                  <a:lnTo>
                    <a:pt x="326" y="492"/>
                  </a:lnTo>
                  <a:lnTo>
                    <a:pt x="326" y="494"/>
                  </a:lnTo>
                  <a:lnTo>
                    <a:pt x="326" y="494"/>
                  </a:lnTo>
                  <a:lnTo>
                    <a:pt x="323" y="499"/>
                  </a:lnTo>
                  <a:lnTo>
                    <a:pt x="323" y="499"/>
                  </a:lnTo>
                  <a:lnTo>
                    <a:pt x="326" y="504"/>
                  </a:lnTo>
                  <a:lnTo>
                    <a:pt x="326" y="509"/>
                  </a:lnTo>
                  <a:lnTo>
                    <a:pt x="328" y="512"/>
                  </a:lnTo>
                  <a:lnTo>
                    <a:pt x="328" y="512"/>
                  </a:lnTo>
                  <a:lnTo>
                    <a:pt x="331" y="514"/>
                  </a:lnTo>
                  <a:lnTo>
                    <a:pt x="336" y="517"/>
                  </a:lnTo>
                  <a:lnTo>
                    <a:pt x="339" y="519"/>
                  </a:lnTo>
                  <a:lnTo>
                    <a:pt x="339" y="517"/>
                  </a:lnTo>
                  <a:lnTo>
                    <a:pt x="341" y="519"/>
                  </a:lnTo>
                  <a:lnTo>
                    <a:pt x="341" y="522"/>
                  </a:lnTo>
                  <a:lnTo>
                    <a:pt x="344" y="527"/>
                  </a:lnTo>
                  <a:lnTo>
                    <a:pt x="346" y="532"/>
                  </a:lnTo>
                  <a:lnTo>
                    <a:pt x="346" y="532"/>
                  </a:lnTo>
                  <a:lnTo>
                    <a:pt x="346" y="535"/>
                  </a:lnTo>
                  <a:lnTo>
                    <a:pt x="346" y="535"/>
                  </a:lnTo>
                  <a:lnTo>
                    <a:pt x="346" y="535"/>
                  </a:lnTo>
                  <a:lnTo>
                    <a:pt x="346" y="535"/>
                  </a:lnTo>
                  <a:lnTo>
                    <a:pt x="344" y="540"/>
                  </a:lnTo>
                  <a:lnTo>
                    <a:pt x="344" y="545"/>
                  </a:lnTo>
                  <a:lnTo>
                    <a:pt x="344" y="550"/>
                  </a:lnTo>
                  <a:lnTo>
                    <a:pt x="344" y="550"/>
                  </a:lnTo>
                  <a:lnTo>
                    <a:pt x="344" y="550"/>
                  </a:lnTo>
                  <a:lnTo>
                    <a:pt x="344" y="553"/>
                  </a:lnTo>
                  <a:lnTo>
                    <a:pt x="344" y="553"/>
                  </a:lnTo>
                  <a:lnTo>
                    <a:pt x="344" y="553"/>
                  </a:lnTo>
                  <a:lnTo>
                    <a:pt x="341" y="558"/>
                  </a:lnTo>
                  <a:lnTo>
                    <a:pt x="341" y="560"/>
                  </a:lnTo>
                  <a:lnTo>
                    <a:pt x="339" y="565"/>
                  </a:lnTo>
                  <a:lnTo>
                    <a:pt x="339" y="568"/>
                  </a:lnTo>
                  <a:lnTo>
                    <a:pt x="341" y="570"/>
                  </a:lnTo>
                  <a:lnTo>
                    <a:pt x="344" y="573"/>
                  </a:lnTo>
                  <a:lnTo>
                    <a:pt x="344" y="575"/>
                  </a:lnTo>
                  <a:lnTo>
                    <a:pt x="341" y="575"/>
                  </a:lnTo>
                  <a:lnTo>
                    <a:pt x="341" y="575"/>
                  </a:lnTo>
                  <a:lnTo>
                    <a:pt x="341" y="578"/>
                  </a:lnTo>
                  <a:lnTo>
                    <a:pt x="339" y="578"/>
                  </a:lnTo>
                  <a:lnTo>
                    <a:pt x="339" y="578"/>
                  </a:lnTo>
                  <a:lnTo>
                    <a:pt x="339" y="581"/>
                  </a:lnTo>
                  <a:lnTo>
                    <a:pt x="339" y="581"/>
                  </a:lnTo>
                  <a:lnTo>
                    <a:pt x="341" y="583"/>
                  </a:lnTo>
                  <a:lnTo>
                    <a:pt x="341" y="583"/>
                  </a:lnTo>
                  <a:lnTo>
                    <a:pt x="341" y="583"/>
                  </a:lnTo>
                  <a:lnTo>
                    <a:pt x="341" y="586"/>
                  </a:lnTo>
                  <a:lnTo>
                    <a:pt x="341" y="586"/>
                  </a:lnTo>
                  <a:lnTo>
                    <a:pt x="344" y="588"/>
                  </a:lnTo>
                  <a:lnTo>
                    <a:pt x="344" y="588"/>
                  </a:lnTo>
                  <a:lnTo>
                    <a:pt x="344" y="591"/>
                  </a:lnTo>
                  <a:lnTo>
                    <a:pt x="344" y="591"/>
                  </a:lnTo>
                  <a:lnTo>
                    <a:pt x="346" y="591"/>
                  </a:lnTo>
                  <a:lnTo>
                    <a:pt x="344" y="593"/>
                  </a:lnTo>
                  <a:lnTo>
                    <a:pt x="346" y="593"/>
                  </a:lnTo>
                  <a:lnTo>
                    <a:pt x="346" y="593"/>
                  </a:lnTo>
                  <a:lnTo>
                    <a:pt x="346" y="593"/>
                  </a:lnTo>
                  <a:lnTo>
                    <a:pt x="346" y="596"/>
                  </a:lnTo>
                  <a:lnTo>
                    <a:pt x="346" y="596"/>
                  </a:lnTo>
                  <a:lnTo>
                    <a:pt x="346" y="598"/>
                  </a:lnTo>
                  <a:lnTo>
                    <a:pt x="346" y="601"/>
                  </a:lnTo>
                  <a:lnTo>
                    <a:pt x="346" y="601"/>
                  </a:lnTo>
                  <a:lnTo>
                    <a:pt x="346" y="603"/>
                  </a:lnTo>
                  <a:lnTo>
                    <a:pt x="346" y="603"/>
                  </a:lnTo>
                  <a:lnTo>
                    <a:pt x="346" y="606"/>
                  </a:lnTo>
                  <a:lnTo>
                    <a:pt x="346" y="606"/>
                  </a:lnTo>
                  <a:lnTo>
                    <a:pt x="346" y="609"/>
                  </a:lnTo>
                  <a:lnTo>
                    <a:pt x="346" y="609"/>
                  </a:lnTo>
                  <a:lnTo>
                    <a:pt x="346" y="611"/>
                  </a:lnTo>
                  <a:lnTo>
                    <a:pt x="346" y="611"/>
                  </a:lnTo>
                  <a:lnTo>
                    <a:pt x="346" y="614"/>
                  </a:lnTo>
                  <a:lnTo>
                    <a:pt x="346" y="614"/>
                  </a:lnTo>
                  <a:lnTo>
                    <a:pt x="346" y="616"/>
                  </a:lnTo>
                  <a:lnTo>
                    <a:pt x="346" y="616"/>
                  </a:lnTo>
                  <a:lnTo>
                    <a:pt x="346" y="619"/>
                  </a:lnTo>
                  <a:lnTo>
                    <a:pt x="346" y="619"/>
                  </a:lnTo>
                  <a:lnTo>
                    <a:pt x="346" y="621"/>
                  </a:lnTo>
                  <a:lnTo>
                    <a:pt x="346" y="621"/>
                  </a:lnTo>
                  <a:lnTo>
                    <a:pt x="346" y="621"/>
                  </a:lnTo>
                  <a:lnTo>
                    <a:pt x="349" y="624"/>
                  </a:lnTo>
                  <a:lnTo>
                    <a:pt x="349" y="624"/>
                  </a:lnTo>
                  <a:lnTo>
                    <a:pt x="351" y="621"/>
                  </a:lnTo>
                  <a:lnTo>
                    <a:pt x="351" y="621"/>
                  </a:lnTo>
                  <a:lnTo>
                    <a:pt x="354" y="624"/>
                  </a:lnTo>
                  <a:lnTo>
                    <a:pt x="354" y="624"/>
                  </a:lnTo>
                  <a:lnTo>
                    <a:pt x="356" y="624"/>
                  </a:lnTo>
                  <a:lnTo>
                    <a:pt x="359" y="624"/>
                  </a:lnTo>
                  <a:lnTo>
                    <a:pt x="359" y="624"/>
                  </a:lnTo>
                  <a:lnTo>
                    <a:pt x="362" y="624"/>
                  </a:lnTo>
                  <a:lnTo>
                    <a:pt x="364" y="624"/>
                  </a:lnTo>
                  <a:lnTo>
                    <a:pt x="367" y="626"/>
                  </a:lnTo>
                  <a:lnTo>
                    <a:pt x="367" y="626"/>
                  </a:lnTo>
                  <a:lnTo>
                    <a:pt x="369" y="626"/>
                  </a:lnTo>
                  <a:lnTo>
                    <a:pt x="372" y="626"/>
                  </a:lnTo>
                  <a:lnTo>
                    <a:pt x="372" y="626"/>
                  </a:lnTo>
                  <a:lnTo>
                    <a:pt x="374" y="626"/>
                  </a:lnTo>
                  <a:lnTo>
                    <a:pt x="374" y="624"/>
                  </a:lnTo>
                  <a:lnTo>
                    <a:pt x="374" y="624"/>
                  </a:lnTo>
                  <a:lnTo>
                    <a:pt x="374" y="621"/>
                  </a:lnTo>
                  <a:lnTo>
                    <a:pt x="377" y="621"/>
                  </a:lnTo>
                  <a:lnTo>
                    <a:pt x="377" y="621"/>
                  </a:lnTo>
                  <a:lnTo>
                    <a:pt x="379" y="624"/>
                  </a:lnTo>
                  <a:lnTo>
                    <a:pt x="379" y="624"/>
                  </a:lnTo>
                  <a:lnTo>
                    <a:pt x="382" y="626"/>
                  </a:lnTo>
                  <a:lnTo>
                    <a:pt x="382" y="626"/>
                  </a:lnTo>
                  <a:lnTo>
                    <a:pt x="385" y="626"/>
                  </a:lnTo>
                  <a:lnTo>
                    <a:pt x="387" y="626"/>
                  </a:lnTo>
                  <a:lnTo>
                    <a:pt x="387" y="626"/>
                  </a:lnTo>
                  <a:lnTo>
                    <a:pt x="390" y="626"/>
                  </a:lnTo>
                  <a:lnTo>
                    <a:pt x="390" y="629"/>
                  </a:lnTo>
                  <a:lnTo>
                    <a:pt x="392" y="629"/>
                  </a:lnTo>
                  <a:lnTo>
                    <a:pt x="392" y="631"/>
                  </a:lnTo>
                  <a:lnTo>
                    <a:pt x="392" y="634"/>
                  </a:lnTo>
                  <a:lnTo>
                    <a:pt x="395" y="634"/>
                  </a:lnTo>
                  <a:lnTo>
                    <a:pt x="395" y="634"/>
                  </a:lnTo>
                  <a:lnTo>
                    <a:pt x="395" y="637"/>
                  </a:lnTo>
                  <a:lnTo>
                    <a:pt x="395" y="639"/>
                  </a:lnTo>
                  <a:lnTo>
                    <a:pt x="395" y="639"/>
                  </a:lnTo>
                  <a:lnTo>
                    <a:pt x="395" y="642"/>
                  </a:lnTo>
                  <a:lnTo>
                    <a:pt x="395" y="644"/>
                  </a:lnTo>
                  <a:lnTo>
                    <a:pt x="395" y="644"/>
                  </a:lnTo>
                  <a:lnTo>
                    <a:pt x="397" y="647"/>
                  </a:lnTo>
                  <a:lnTo>
                    <a:pt x="397" y="649"/>
                  </a:lnTo>
                  <a:lnTo>
                    <a:pt x="397" y="649"/>
                  </a:lnTo>
                  <a:lnTo>
                    <a:pt x="397" y="652"/>
                  </a:lnTo>
                  <a:lnTo>
                    <a:pt x="397" y="652"/>
                  </a:lnTo>
                  <a:lnTo>
                    <a:pt x="397" y="652"/>
                  </a:lnTo>
                  <a:lnTo>
                    <a:pt x="397" y="654"/>
                  </a:lnTo>
                  <a:lnTo>
                    <a:pt x="397" y="657"/>
                  </a:lnTo>
                  <a:lnTo>
                    <a:pt x="400" y="657"/>
                  </a:lnTo>
                  <a:lnTo>
                    <a:pt x="400" y="659"/>
                  </a:lnTo>
                  <a:lnTo>
                    <a:pt x="400" y="659"/>
                  </a:lnTo>
                  <a:lnTo>
                    <a:pt x="400" y="662"/>
                  </a:lnTo>
                  <a:lnTo>
                    <a:pt x="402" y="665"/>
                  </a:lnTo>
                  <a:lnTo>
                    <a:pt x="402" y="665"/>
                  </a:lnTo>
                  <a:lnTo>
                    <a:pt x="405" y="665"/>
                  </a:lnTo>
                  <a:lnTo>
                    <a:pt x="407" y="665"/>
                  </a:lnTo>
                  <a:lnTo>
                    <a:pt x="407" y="665"/>
                  </a:lnTo>
                  <a:lnTo>
                    <a:pt x="410" y="665"/>
                  </a:lnTo>
                  <a:lnTo>
                    <a:pt x="413" y="665"/>
                  </a:lnTo>
                  <a:lnTo>
                    <a:pt x="413" y="662"/>
                  </a:lnTo>
                  <a:lnTo>
                    <a:pt x="415" y="662"/>
                  </a:lnTo>
                  <a:lnTo>
                    <a:pt x="415" y="662"/>
                  </a:lnTo>
                  <a:lnTo>
                    <a:pt x="418" y="662"/>
                  </a:lnTo>
                  <a:lnTo>
                    <a:pt x="418" y="662"/>
                  </a:lnTo>
                  <a:lnTo>
                    <a:pt x="420" y="662"/>
                  </a:lnTo>
                  <a:lnTo>
                    <a:pt x="423" y="665"/>
                  </a:lnTo>
                  <a:lnTo>
                    <a:pt x="425" y="667"/>
                  </a:lnTo>
                  <a:lnTo>
                    <a:pt x="425" y="667"/>
                  </a:lnTo>
                  <a:lnTo>
                    <a:pt x="423" y="667"/>
                  </a:lnTo>
                  <a:lnTo>
                    <a:pt x="423" y="670"/>
                  </a:lnTo>
                  <a:lnTo>
                    <a:pt x="425" y="672"/>
                  </a:lnTo>
                  <a:lnTo>
                    <a:pt x="425" y="677"/>
                  </a:lnTo>
                  <a:lnTo>
                    <a:pt x="423" y="685"/>
                  </a:lnTo>
                  <a:lnTo>
                    <a:pt x="423" y="690"/>
                  </a:lnTo>
                  <a:lnTo>
                    <a:pt x="425" y="690"/>
                  </a:lnTo>
                  <a:lnTo>
                    <a:pt x="423" y="693"/>
                  </a:lnTo>
                  <a:lnTo>
                    <a:pt x="423" y="698"/>
                  </a:lnTo>
                  <a:lnTo>
                    <a:pt x="423" y="700"/>
                  </a:lnTo>
                  <a:lnTo>
                    <a:pt x="423" y="700"/>
                  </a:lnTo>
                  <a:lnTo>
                    <a:pt x="425" y="703"/>
                  </a:lnTo>
                  <a:lnTo>
                    <a:pt x="425" y="703"/>
                  </a:lnTo>
                  <a:lnTo>
                    <a:pt x="428" y="700"/>
                  </a:lnTo>
                  <a:lnTo>
                    <a:pt x="428" y="700"/>
                  </a:lnTo>
                  <a:lnTo>
                    <a:pt x="430" y="700"/>
                  </a:lnTo>
                  <a:lnTo>
                    <a:pt x="430" y="700"/>
                  </a:lnTo>
                  <a:lnTo>
                    <a:pt x="430" y="700"/>
                  </a:lnTo>
                  <a:lnTo>
                    <a:pt x="430" y="700"/>
                  </a:lnTo>
                  <a:lnTo>
                    <a:pt x="433" y="700"/>
                  </a:lnTo>
                  <a:lnTo>
                    <a:pt x="433" y="700"/>
                  </a:lnTo>
                  <a:lnTo>
                    <a:pt x="435" y="703"/>
                  </a:lnTo>
                  <a:lnTo>
                    <a:pt x="435" y="703"/>
                  </a:lnTo>
                  <a:lnTo>
                    <a:pt x="438" y="705"/>
                  </a:lnTo>
                  <a:lnTo>
                    <a:pt x="438" y="710"/>
                  </a:lnTo>
                  <a:lnTo>
                    <a:pt x="441" y="713"/>
                  </a:lnTo>
                  <a:lnTo>
                    <a:pt x="443" y="715"/>
                  </a:lnTo>
                  <a:lnTo>
                    <a:pt x="443" y="718"/>
                  </a:lnTo>
                  <a:lnTo>
                    <a:pt x="443" y="718"/>
                  </a:lnTo>
                  <a:lnTo>
                    <a:pt x="443" y="721"/>
                  </a:lnTo>
                  <a:lnTo>
                    <a:pt x="443" y="726"/>
                  </a:lnTo>
                  <a:lnTo>
                    <a:pt x="443" y="728"/>
                  </a:lnTo>
                  <a:lnTo>
                    <a:pt x="443" y="728"/>
                  </a:lnTo>
                  <a:lnTo>
                    <a:pt x="443" y="731"/>
                  </a:lnTo>
                  <a:lnTo>
                    <a:pt x="443" y="733"/>
                  </a:lnTo>
                  <a:lnTo>
                    <a:pt x="443" y="736"/>
                  </a:lnTo>
                  <a:lnTo>
                    <a:pt x="441" y="738"/>
                  </a:lnTo>
                  <a:lnTo>
                    <a:pt x="441" y="738"/>
                  </a:lnTo>
                  <a:lnTo>
                    <a:pt x="438" y="738"/>
                  </a:lnTo>
                  <a:lnTo>
                    <a:pt x="438" y="741"/>
                  </a:lnTo>
                  <a:lnTo>
                    <a:pt x="435" y="738"/>
                  </a:lnTo>
                  <a:lnTo>
                    <a:pt x="435" y="741"/>
                  </a:lnTo>
                  <a:lnTo>
                    <a:pt x="435" y="743"/>
                  </a:lnTo>
                  <a:lnTo>
                    <a:pt x="433" y="743"/>
                  </a:lnTo>
                  <a:lnTo>
                    <a:pt x="430" y="743"/>
                  </a:lnTo>
                  <a:lnTo>
                    <a:pt x="430" y="743"/>
                  </a:lnTo>
                  <a:lnTo>
                    <a:pt x="430" y="743"/>
                  </a:lnTo>
                  <a:lnTo>
                    <a:pt x="428" y="743"/>
                  </a:lnTo>
                  <a:lnTo>
                    <a:pt x="428" y="746"/>
                  </a:lnTo>
                  <a:lnTo>
                    <a:pt x="425" y="746"/>
                  </a:lnTo>
                  <a:lnTo>
                    <a:pt x="425" y="746"/>
                  </a:lnTo>
                  <a:lnTo>
                    <a:pt x="425" y="746"/>
                  </a:lnTo>
                  <a:lnTo>
                    <a:pt x="423" y="746"/>
                  </a:lnTo>
                  <a:lnTo>
                    <a:pt x="423" y="749"/>
                  </a:lnTo>
                  <a:lnTo>
                    <a:pt x="423" y="749"/>
                  </a:lnTo>
                  <a:lnTo>
                    <a:pt x="423" y="751"/>
                  </a:lnTo>
                  <a:lnTo>
                    <a:pt x="420" y="751"/>
                  </a:lnTo>
                  <a:lnTo>
                    <a:pt x="420" y="751"/>
                  </a:lnTo>
                  <a:lnTo>
                    <a:pt x="420" y="754"/>
                  </a:lnTo>
                  <a:lnTo>
                    <a:pt x="420" y="754"/>
                  </a:lnTo>
                  <a:lnTo>
                    <a:pt x="418" y="754"/>
                  </a:lnTo>
                  <a:lnTo>
                    <a:pt x="415" y="756"/>
                  </a:lnTo>
                  <a:lnTo>
                    <a:pt x="415" y="756"/>
                  </a:lnTo>
                  <a:lnTo>
                    <a:pt x="413" y="759"/>
                  </a:lnTo>
                  <a:lnTo>
                    <a:pt x="413" y="759"/>
                  </a:lnTo>
                  <a:lnTo>
                    <a:pt x="410" y="761"/>
                  </a:lnTo>
                  <a:lnTo>
                    <a:pt x="410" y="761"/>
                  </a:lnTo>
                  <a:lnTo>
                    <a:pt x="410" y="764"/>
                  </a:lnTo>
                  <a:lnTo>
                    <a:pt x="410" y="764"/>
                  </a:lnTo>
                  <a:lnTo>
                    <a:pt x="410" y="764"/>
                  </a:lnTo>
                  <a:lnTo>
                    <a:pt x="410" y="764"/>
                  </a:lnTo>
                  <a:lnTo>
                    <a:pt x="407" y="764"/>
                  </a:lnTo>
                  <a:lnTo>
                    <a:pt x="407" y="764"/>
                  </a:lnTo>
                  <a:lnTo>
                    <a:pt x="407" y="764"/>
                  </a:lnTo>
                  <a:lnTo>
                    <a:pt x="407" y="766"/>
                  </a:lnTo>
                  <a:lnTo>
                    <a:pt x="407" y="766"/>
                  </a:lnTo>
                  <a:lnTo>
                    <a:pt x="405" y="766"/>
                  </a:lnTo>
                  <a:lnTo>
                    <a:pt x="405" y="766"/>
                  </a:lnTo>
                  <a:lnTo>
                    <a:pt x="405" y="769"/>
                  </a:lnTo>
                  <a:lnTo>
                    <a:pt x="405" y="769"/>
                  </a:lnTo>
                  <a:lnTo>
                    <a:pt x="402" y="771"/>
                  </a:lnTo>
                  <a:lnTo>
                    <a:pt x="402" y="774"/>
                  </a:lnTo>
                  <a:lnTo>
                    <a:pt x="400" y="776"/>
                  </a:lnTo>
                  <a:lnTo>
                    <a:pt x="400" y="779"/>
                  </a:lnTo>
                  <a:lnTo>
                    <a:pt x="397" y="782"/>
                  </a:lnTo>
                  <a:lnTo>
                    <a:pt x="397" y="782"/>
                  </a:lnTo>
                  <a:lnTo>
                    <a:pt x="395" y="784"/>
                  </a:lnTo>
                  <a:lnTo>
                    <a:pt x="395" y="787"/>
                  </a:lnTo>
                  <a:lnTo>
                    <a:pt x="395" y="789"/>
                  </a:lnTo>
                  <a:lnTo>
                    <a:pt x="392" y="792"/>
                  </a:lnTo>
                  <a:lnTo>
                    <a:pt x="390" y="794"/>
                  </a:lnTo>
                  <a:lnTo>
                    <a:pt x="387" y="797"/>
                  </a:lnTo>
                  <a:lnTo>
                    <a:pt x="385" y="799"/>
                  </a:lnTo>
                  <a:lnTo>
                    <a:pt x="385" y="799"/>
                  </a:lnTo>
                  <a:lnTo>
                    <a:pt x="385" y="802"/>
                  </a:lnTo>
                  <a:lnTo>
                    <a:pt x="382" y="804"/>
                  </a:lnTo>
                  <a:lnTo>
                    <a:pt x="379" y="807"/>
                  </a:lnTo>
                  <a:lnTo>
                    <a:pt x="382" y="807"/>
                  </a:lnTo>
                  <a:lnTo>
                    <a:pt x="385" y="807"/>
                  </a:lnTo>
                  <a:lnTo>
                    <a:pt x="390" y="807"/>
                  </a:lnTo>
                  <a:lnTo>
                    <a:pt x="390" y="807"/>
                  </a:lnTo>
                  <a:lnTo>
                    <a:pt x="390" y="804"/>
                  </a:lnTo>
                  <a:lnTo>
                    <a:pt x="392" y="804"/>
                  </a:lnTo>
                  <a:lnTo>
                    <a:pt x="392" y="804"/>
                  </a:lnTo>
                  <a:lnTo>
                    <a:pt x="395" y="804"/>
                  </a:lnTo>
                  <a:lnTo>
                    <a:pt x="397" y="807"/>
                  </a:lnTo>
                  <a:lnTo>
                    <a:pt x="405" y="812"/>
                  </a:lnTo>
                  <a:lnTo>
                    <a:pt x="410" y="815"/>
                  </a:lnTo>
                  <a:lnTo>
                    <a:pt x="413" y="817"/>
                  </a:lnTo>
                  <a:lnTo>
                    <a:pt x="413" y="820"/>
                  </a:lnTo>
                  <a:lnTo>
                    <a:pt x="415" y="820"/>
                  </a:lnTo>
                  <a:lnTo>
                    <a:pt x="415" y="825"/>
                  </a:lnTo>
                  <a:lnTo>
                    <a:pt x="415" y="825"/>
                  </a:lnTo>
                  <a:lnTo>
                    <a:pt x="415" y="825"/>
                  </a:lnTo>
                  <a:lnTo>
                    <a:pt x="415" y="825"/>
                  </a:lnTo>
                  <a:lnTo>
                    <a:pt x="418" y="825"/>
                  </a:lnTo>
                  <a:lnTo>
                    <a:pt x="418" y="825"/>
                  </a:lnTo>
                  <a:lnTo>
                    <a:pt x="420" y="825"/>
                  </a:lnTo>
                  <a:lnTo>
                    <a:pt x="420" y="822"/>
                  </a:lnTo>
                  <a:lnTo>
                    <a:pt x="420" y="822"/>
                  </a:lnTo>
                  <a:lnTo>
                    <a:pt x="420" y="822"/>
                  </a:lnTo>
                  <a:lnTo>
                    <a:pt x="423" y="822"/>
                  </a:lnTo>
                  <a:lnTo>
                    <a:pt x="423" y="820"/>
                  </a:lnTo>
                  <a:lnTo>
                    <a:pt x="423" y="822"/>
                  </a:lnTo>
                  <a:lnTo>
                    <a:pt x="425" y="822"/>
                  </a:lnTo>
                  <a:lnTo>
                    <a:pt x="428" y="825"/>
                  </a:lnTo>
                  <a:lnTo>
                    <a:pt x="428" y="827"/>
                  </a:lnTo>
                  <a:lnTo>
                    <a:pt x="428" y="827"/>
                  </a:lnTo>
                  <a:lnTo>
                    <a:pt x="430" y="827"/>
                  </a:lnTo>
                  <a:lnTo>
                    <a:pt x="430" y="830"/>
                  </a:lnTo>
                  <a:lnTo>
                    <a:pt x="433" y="830"/>
                  </a:lnTo>
                  <a:lnTo>
                    <a:pt x="433" y="832"/>
                  </a:lnTo>
                  <a:lnTo>
                    <a:pt x="435" y="830"/>
                  </a:lnTo>
                  <a:lnTo>
                    <a:pt x="438" y="832"/>
                  </a:lnTo>
                  <a:lnTo>
                    <a:pt x="443" y="835"/>
                  </a:lnTo>
                  <a:lnTo>
                    <a:pt x="446" y="838"/>
                  </a:lnTo>
                  <a:lnTo>
                    <a:pt x="448" y="838"/>
                  </a:lnTo>
                  <a:lnTo>
                    <a:pt x="451" y="840"/>
                  </a:lnTo>
                  <a:lnTo>
                    <a:pt x="453" y="843"/>
                  </a:lnTo>
                  <a:lnTo>
                    <a:pt x="456" y="845"/>
                  </a:lnTo>
                  <a:lnTo>
                    <a:pt x="458" y="845"/>
                  </a:lnTo>
                  <a:lnTo>
                    <a:pt x="458" y="845"/>
                  </a:lnTo>
                  <a:lnTo>
                    <a:pt x="461" y="848"/>
                  </a:lnTo>
                  <a:lnTo>
                    <a:pt x="461" y="848"/>
                  </a:lnTo>
                  <a:lnTo>
                    <a:pt x="464" y="848"/>
                  </a:lnTo>
                  <a:lnTo>
                    <a:pt x="464" y="850"/>
                  </a:lnTo>
                  <a:lnTo>
                    <a:pt x="464" y="850"/>
                  </a:lnTo>
                  <a:lnTo>
                    <a:pt x="466" y="853"/>
                  </a:lnTo>
                  <a:lnTo>
                    <a:pt x="466" y="855"/>
                  </a:lnTo>
                  <a:lnTo>
                    <a:pt x="469" y="858"/>
                  </a:lnTo>
                  <a:lnTo>
                    <a:pt x="474" y="860"/>
                  </a:lnTo>
                  <a:lnTo>
                    <a:pt x="476" y="860"/>
                  </a:lnTo>
                  <a:lnTo>
                    <a:pt x="476" y="863"/>
                  </a:lnTo>
                  <a:lnTo>
                    <a:pt x="479" y="863"/>
                  </a:lnTo>
                  <a:lnTo>
                    <a:pt x="476" y="866"/>
                  </a:lnTo>
                  <a:lnTo>
                    <a:pt x="476" y="868"/>
                  </a:lnTo>
                  <a:lnTo>
                    <a:pt x="474" y="871"/>
                  </a:lnTo>
                  <a:lnTo>
                    <a:pt x="474" y="871"/>
                  </a:lnTo>
                  <a:lnTo>
                    <a:pt x="471" y="873"/>
                  </a:lnTo>
                  <a:lnTo>
                    <a:pt x="471" y="873"/>
                  </a:lnTo>
                  <a:lnTo>
                    <a:pt x="474" y="881"/>
                  </a:lnTo>
                  <a:lnTo>
                    <a:pt x="474" y="883"/>
                  </a:lnTo>
                  <a:lnTo>
                    <a:pt x="474" y="883"/>
                  </a:lnTo>
                  <a:lnTo>
                    <a:pt x="474" y="886"/>
                  </a:lnTo>
                  <a:lnTo>
                    <a:pt x="476" y="886"/>
                  </a:lnTo>
                  <a:lnTo>
                    <a:pt x="476" y="886"/>
                  </a:lnTo>
                  <a:lnTo>
                    <a:pt x="479" y="886"/>
                  </a:lnTo>
                  <a:lnTo>
                    <a:pt x="484" y="878"/>
                  </a:lnTo>
                  <a:lnTo>
                    <a:pt x="486" y="876"/>
                  </a:lnTo>
                  <a:lnTo>
                    <a:pt x="489" y="873"/>
                  </a:lnTo>
                  <a:lnTo>
                    <a:pt x="489" y="866"/>
                  </a:lnTo>
                  <a:lnTo>
                    <a:pt x="492" y="858"/>
                  </a:lnTo>
                  <a:lnTo>
                    <a:pt x="492" y="855"/>
                  </a:lnTo>
                  <a:lnTo>
                    <a:pt x="494" y="853"/>
                  </a:lnTo>
                  <a:lnTo>
                    <a:pt x="494" y="850"/>
                  </a:lnTo>
                  <a:lnTo>
                    <a:pt x="494" y="848"/>
                  </a:lnTo>
                  <a:lnTo>
                    <a:pt x="492" y="845"/>
                  </a:lnTo>
                  <a:lnTo>
                    <a:pt x="492" y="845"/>
                  </a:lnTo>
                  <a:lnTo>
                    <a:pt x="492" y="840"/>
                  </a:lnTo>
                  <a:lnTo>
                    <a:pt x="494" y="838"/>
                  </a:lnTo>
                  <a:lnTo>
                    <a:pt x="494" y="835"/>
                  </a:lnTo>
                  <a:lnTo>
                    <a:pt x="494" y="832"/>
                  </a:lnTo>
                  <a:lnTo>
                    <a:pt x="494" y="832"/>
                  </a:lnTo>
                  <a:lnTo>
                    <a:pt x="499" y="830"/>
                  </a:lnTo>
                  <a:lnTo>
                    <a:pt x="502" y="827"/>
                  </a:lnTo>
                  <a:lnTo>
                    <a:pt x="502" y="825"/>
                  </a:lnTo>
                  <a:lnTo>
                    <a:pt x="502" y="825"/>
                  </a:lnTo>
                  <a:lnTo>
                    <a:pt x="502" y="822"/>
                  </a:lnTo>
                  <a:lnTo>
                    <a:pt x="504" y="820"/>
                  </a:lnTo>
                  <a:lnTo>
                    <a:pt x="502" y="817"/>
                  </a:lnTo>
                  <a:lnTo>
                    <a:pt x="504" y="817"/>
                  </a:lnTo>
                  <a:lnTo>
                    <a:pt x="504" y="820"/>
                  </a:lnTo>
                  <a:lnTo>
                    <a:pt x="504" y="815"/>
                  </a:lnTo>
                  <a:lnTo>
                    <a:pt x="504" y="812"/>
                  </a:lnTo>
                  <a:lnTo>
                    <a:pt x="504" y="812"/>
                  </a:lnTo>
                  <a:lnTo>
                    <a:pt x="507" y="810"/>
                  </a:lnTo>
                  <a:lnTo>
                    <a:pt x="502" y="807"/>
                  </a:lnTo>
                  <a:lnTo>
                    <a:pt x="502" y="804"/>
                  </a:lnTo>
                  <a:lnTo>
                    <a:pt x="502" y="802"/>
                  </a:lnTo>
                  <a:lnTo>
                    <a:pt x="502" y="802"/>
                  </a:lnTo>
                  <a:lnTo>
                    <a:pt x="504" y="804"/>
                  </a:lnTo>
                  <a:lnTo>
                    <a:pt x="504" y="807"/>
                  </a:lnTo>
                  <a:lnTo>
                    <a:pt x="507" y="807"/>
                  </a:lnTo>
                  <a:lnTo>
                    <a:pt x="509" y="810"/>
                  </a:lnTo>
                  <a:lnTo>
                    <a:pt x="509" y="810"/>
                  </a:lnTo>
                  <a:lnTo>
                    <a:pt x="514" y="807"/>
                  </a:lnTo>
                  <a:lnTo>
                    <a:pt x="517" y="807"/>
                  </a:lnTo>
                  <a:lnTo>
                    <a:pt x="517" y="810"/>
                  </a:lnTo>
                  <a:lnTo>
                    <a:pt x="517" y="812"/>
                  </a:lnTo>
                  <a:lnTo>
                    <a:pt x="517" y="812"/>
                  </a:lnTo>
                  <a:lnTo>
                    <a:pt x="514" y="812"/>
                  </a:lnTo>
                  <a:lnTo>
                    <a:pt x="514" y="812"/>
                  </a:lnTo>
                  <a:lnTo>
                    <a:pt x="517" y="817"/>
                  </a:lnTo>
                  <a:lnTo>
                    <a:pt x="514" y="820"/>
                  </a:lnTo>
                  <a:lnTo>
                    <a:pt x="512" y="822"/>
                  </a:lnTo>
                  <a:lnTo>
                    <a:pt x="512" y="825"/>
                  </a:lnTo>
                  <a:lnTo>
                    <a:pt x="512" y="825"/>
                  </a:lnTo>
                  <a:lnTo>
                    <a:pt x="512" y="827"/>
                  </a:lnTo>
                  <a:lnTo>
                    <a:pt x="509" y="825"/>
                  </a:lnTo>
                  <a:lnTo>
                    <a:pt x="509" y="827"/>
                  </a:lnTo>
                  <a:lnTo>
                    <a:pt x="509" y="830"/>
                  </a:lnTo>
                  <a:lnTo>
                    <a:pt x="509" y="832"/>
                  </a:lnTo>
                  <a:lnTo>
                    <a:pt x="507" y="835"/>
                  </a:lnTo>
                  <a:lnTo>
                    <a:pt x="504" y="838"/>
                  </a:lnTo>
                  <a:lnTo>
                    <a:pt x="502" y="843"/>
                  </a:lnTo>
                  <a:lnTo>
                    <a:pt x="499" y="843"/>
                  </a:lnTo>
                  <a:lnTo>
                    <a:pt x="499" y="843"/>
                  </a:lnTo>
                  <a:lnTo>
                    <a:pt x="497" y="843"/>
                  </a:lnTo>
                  <a:lnTo>
                    <a:pt x="497" y="843"/>
                  </a:lnTo>
                  <a:lnTo>
                    <a:pt x="494" y="843"/>
                  </a:lnTo>
                  <a:lnTo>
                    <a:pt x="494" y="845"/>
                  </a:lnTo>
                  <a:lnTo>
                    <a:pt x="494" y="845"/>
                  </a:lnTo>
                  <a:lnTo>
                    <a:pt x="494" y="848"/>
                  </a:lnTo>
                  <a:lnTo>
                    <a:pt x="497" y="850"/>
                  </a:lnTo>
                  <a:lnTo>
                    <a:pt x="497" y="848"/>
                  </a:lnTo>
                  <a:lnTo>
                    <a:pt x="499" y="845"/>
                  </a:lnTo>
                  <a:lnTo>
                    <a:pt x="504" y="840"/>
                  </a:lnTo>
                  <a:lnTo>
                    <a:pt x="509" y="835"/>
                  </a:lnTo>
                  <a:lnTo>
                    <a:pt x="514" y="830"/>
                  </a:lnTo>
                  <a:lnTo>
                    <a:pt x="517" y="825"/>
                  </a:lnTo>
                  <a:lnTo>
                    <a:pt x="517" y="822"/>
                  </a:lnTo>
                  <a:lnTo>
                    <a:pt x="522" y="812"/>
                  </a:lnTo>
                  <a:lnTo>
                    <a:pt x="525" y="797"/>
                  </a:lnTo>
                  <a:lnTo>
                    <a:pt x="530" y="787"/>
                  </a:lnTo>
                  <a:lnTo>
                    <a:pt x="532" y="782"/>
                  </a:lnTo>
                  <a:lnTo>
                    <a:pt x="537" y="776"/>
                  </a:lnTo>
                  <a:lnTo>
                    <a:pt x="540" y="771"/>
                  </a:lnTo>
                  <a:lnTo>
                    <a:pt x="545" y="769"/>
                  </a:lnTo>
                  <a:lnTo>
                    <a:pt x="545" y="766"/>
                  </a:lnTo>
                  <a:lnTo>
                    <a:pt x="545" y="764"/>
                  </a:lnTo>
                  <a:lnTo>
                    <a:pt x="548" y="761"/>
                  </a:lnTo>
                  <a:lnTo>
                    <a:pt x="548" y="759"/>
                  </a:lnTo>
                  <a:lnTo>
                    <a:pt x="545" y="751"/>
                  </a:lnTo>
                  <a:lnTo>
                    <a:pt x="545" y="746"/>
                  </a:lnTo>
                  <a:lnTo>
                    <a:pt x="545" y="741"/>
                  </a:lnTo>
                  <a:lnTo>
                    <a:pt x="545" y="738"/>
                  </a:lnTo>
                  <a:lnTo>
                    <a:pt x="545" y="738"/>
                  </a:lnTo>
                  <a:lnTo>
                    <a:pt x="545" y="736"/>
                  </a:lnTo>
                  <a:lnTo>
                    <a:pt x="545" y="736"/>
                  </a:lnTo>
                  <a:lnTo>
                    <a:pt x="543" y="731"/>
                  </a:lnTo>
                  <a:lnTo>
                    <a:pt x="540" y="726"/>
                  </a:lnTo>
                  <a:lnTo>
                    <a:pt x="540" y="726"/>
                  </a:lnTo>
                  <a:lnTo>
                    <a:pt x="540" y="723"/>
                  </a:lnTo>
                  <a:lnTo>
                    <a:pt x="540" y="721"/>
                  </a:lnTo>
                  <a:lnTo>
                    <a:pt x="540" y="718"/>
                  </a:lnTo>
                  <a:lnTo>
                    <a:pt x="537" y="718"/>
                  </a:lnTo>
                  <a:lnTo>
                    <a:pt x="540" y="715"/>
                  </a:lnTo>
                  <a:lnTo>
                    <a:pt x="540" y="715"/>
                  </a:lnTo>
                  <a:lnTo>
                    <a:pt x="540" y="715"/>
                  </a:lnTo>
                  <a:lnTo>
                    <a:pt x="540" y="710"/>
                  </a:lnTo>
                  <a:lnTo>
                    <a:pt x="540" y="708"/>
                  </a:lnTo>
                  <a:lnTo>
                    <a:pt x="540" y="708"/>
                  </a:lnTo>
                  <a:lnTo>
                    <a:pt x="540" y="708"/>
                  </a:lnTo>
                  <a:lnTo>
                    <a:pt x="543" y="708"/>
                  </a:lnTo>
                  <a:lnTo>
                    <a:pt x="543" y="703"/>
                  </a:lnTo>
                  <a:lnTo>
                    <a:pt x="543" y="700"/>
                  </a:lnTo>
                  <a:lnTo>
                    <a:pt x="540" y="700"/>
                  </a:lnTo>
                  <a:lnTo>
                    <a:pt x="537" y="700"/>
                  </a:lnTo>
                  <a:lnTo>
                    <a:pt x="537" y="698"/>
                  </a:lnTo>
                  <a:lnTo>
                    <a:pt x="537" y="698"/>
                  </a:lnTo>
                  <a:lnTo>
                    <a:pt x="540" y="698"/>
                  </a:lnTo>
                  <a:lnTo>
                    <a:pt x="543" y="698"/>
                  </a:lnTo>
                  <a:lnTo>
                    <a:pt x="543" y="698"/>
                  </a:lnTo>
                  <a:lnTo>
                    <a:pt x="543" y="695"/>
                  </a:lnTo>
                  <a:lnTo>
                    <a:pt x="543" y="695"/>
                  </a:lnTo>
                  <a:lnTo>
                    <a:pt x="545" y="695"/>
                  </a:lnTo>
                  <a:lnTo>
                    <a:pt x="548" y="695"/>
                  </a:lnTo>
                  <a:lnTo>
                    <a:pt x="545" y="698"/>
                  </a:lnTo>
                  <a:lnTo>
                    <a:pt x="548" y="698"/>
                  </a:lnTo>
                  <a:lnTo>
                    <a:pt x="550" y="693"/>
                  </a:lnTo>
                  <a:lnTo>
                    <a:pt x="553" y="693"/>
                  </a:lnTo>
                  <a:lnTo>
                    <a:pt x="553" y="690"/>
                  </a:lnTo>
                  <a:lnTo>
                    <a:pt x="550" y="690"/>
                  </a:lnTo>
                  <a:lnTo>
                    <a:pt x="550" y="690"/>
                  </a:lnTo>
                  <a:lnTo>
                    <a:pt x="550" y="687"/>
                  </a:lnTo>
                  <a:lnTo>
                    <a:pt x="553" y="687"/>
                  </a:lnTo>
                  <a:lnTo>
                    <a:pt x="553" y="687"/>
                  </a:lnTo>
                  <a:lnTo>
                    <a:pt x="558" y="682"/>
                  </a:lnTo>
                  <a:lnTo>
                    <a:pt x="565" y="677"/>
                  </a:lnTo>
                  <a:lnTo>
                    <a:pt x="571" y="670"/>
                  </a:lnTo>
                  <a:lnTo>
                    <a:pt x="576" y="667"/>
                  </a:lnTo>
                  <a:lnTo>
                    <a:pt x="586" y="659"/>
                  </a:lnTo>
                  <a:lnTo>
                    <a:pt x="588" y="659"/>
                  </a:lnTo>
                  <a:lnTo>
                    <a:pt x="593" y="659"/>
                  </a:lnTo>
                  <a:lnTo>
                    <a:pt x="596" y="662"/>
                  </a:lnTo>
                  <a:lnTo>
                    <a:pt x="596" y="662"/>
                  </a:lnTo>
                  <a:lnTo>
                    <a:pt x="596" y="659"/>
                  </a:lnTo>
                  <a:lnTo>
                    <a:pt x="596" y="657"/>
                  </a:lnTo>
                  <a:lnTo>
                    <a:pt x="599" y="657"/>
                  </a:lnTo>
                  <a:lnTo>
                    <a:pt x="601" y="657"/>
                  </a:lnTo>
                  <a:lnTo>
                    <a:pt x="606" y="652"/>
                  </a:lnTo>
                  <a:lnTo>
                    <a:pt x="611" y="649"/>
                  </a:lnTo>
                  <a:lnTo>
                    <a:pt x="611" y="649"/>
                  </a:lnTo>
                  <a:lnTo>
                    <a:pt x="614" y="649"/>
                  </a:lnTo>
                  <a:lnTo>
                    <a:pt x="611" y="647"/>
                  </a:lnTo>
                  <a:lnTo>
                    <a:pt x="611" y="647"/>
                  </a:lnTo>
                  <a:lnTo>
                    <a:pt x="611" y="644"/>
                  </a:lnTo>
                  <a:lnTo>
                    <a:pt x="611" y="644"/>
                  </a:lnTo>
                  <a:lnTo>
                    <a:pt x="616" y="642"/>
                  </a:lnTo>
                  <a:lnTo>
                    <a:pt x="622" y="642"/>
                  </a:lnTo>
                  <a:lnTo>
                    <a:pt x="622" y="642"/>
                  </a:lnTo>
                  <a:lnTo>
                    <a:pt x="627" y="642"/>
                  </a:lnTo>
                  <a:lnTo>
                    <a:pt x="629" y="642"/>
                  </a:lnTo>
                  <a:lnTo>
                    <a:pt x="629" y="642"/>
                  </a:lnTo>
                  <a:lnTo>
                    <a:pt x="627" y="644"/>
                  </a:lnTo>
                  <a:lnTo>
                    <a:pt x="627" y="644"/>
                  </a:lnTo>
                  <a:lnTo>
                    <a:pt x="624" y="644"/>
                  </a:lnTo>
                  <a:lnTo>
                    <a:pt x="627" y="644"/>
                  </a:lnTo>
                  <a:lnTo>
                    <a:pt x="629" y="644"/>
                  </a:lnTo>
                  <a:lnTo>
                    <a:pt x="632" y="644"/>
                  </a:lnTo>
                  <a:lnTo>
                    <a:pt x="637" y="642"/>
                  </a:lnTo>
                  <a:lnTo>
                    <a:pt x="639" y="642"/>
                  </a:lnTo>
                  <a:lnTo>
                    <a:pt x="639" y="642"/>
                  </a:lnTo>
                  <a:lnTo>
                    <a:pt x="639" y="639"/>
                  </a:lnTo>
                  <a:lnTo>
                    <a:pt x="639" y="639"/>
                  </a:lnTo>
                  <a:lnTo>
                    <a:pt x="637" y="639"/>
                  </a:lnTo>
                  <a:lnTo>
                    <a:pt x="639" y="637"/>
                  </a:lnTo>
                  <a:lnTo>
                    <a:pt x="639" y="637"/>
                  </a:lnTo>
                  <a:lnTo>
                    <a:pt x="642" y="637"/>
                  </a:lnTo>
                  <a:lnTo>
                    <a:pt x="642" y="637"/>
                  </a:lnTo>
                  <a:lnTo>
                    <a:pt x="642" y="639"/>
                  </a:lnTo>
                  <a:lnTo>
                    <a:pt x="642" y="642"/>
                  </a:lnTo>
                  <a:lnTo>
                    <a:pt x="642" y="642"/>
                  </a:lnTo>
                  <a:lnTo>
                    <a:pt x="644" y="642"/>
                  </a:lnTo>
                  <a:lnTo>
                    <a:pt x="647" y="642"/>
                  </a:lnTo>
                  <a:lnTo>
                    <a:pt x="652" y="642"/>
                  </a:lnTo>
                  <a:lnTo>
                    <a:pt x="660" y="642"/>
                  </a:lnTo>
                  <a:lnTo>
                    <a:pt x="662" y="642"/>
                  </a:lnTo>
                  <a:lnTo>
                    <a:pt x="662" y="639"/>
                  </a:lnTo>
                  <a:lnTo>
                    <a:pt x="665" y="637"/>
                  </a:lnTo>
                  <a:lnTo>
                    <a:pt x="662" y="637"/>
                  </a:lnTo>
                  <a:lnTo>
                    <a:pt x="662" y="634"/>
                  </a:lnTo>
                  <a:lnTo>
                    <a:pt x="662" y="634"/>
                  </a:lnTo>
                  <a:lnTo>
                    <a:pt x="667" y="626"/>
                  </a:lnTo>
                  <a:lnTo>
                    <a:pt x="670" y="626"/>
                  </a:lnTo>
                  <a:lnTo>
                    <a:pt x="678" y="621"/>
                  </a:lnTo>
                  <a:lnTo>
                    <a:pt x="680" y="619"/>
                  </a:lnTo>
                  <a:lnTo>
                    <a:pt x="680" y="619"/>
                  </a:lnTo>
                  <a:lnTo>
                    <a:pt x="680" y="611"/>
                  </a:lnTo>
                  <a:lnTo>
                    <a:pt x="680" y="611"/>
                  </a:lnTo>
                  <a:lnTo>
                    <a:pt x="678" y="609"/>
                  </a:lnTo>
                  <a:lnTo>
                    <a:pt x="680" y="603"/>
                  </a:lnTo>
                  <a:lnTo>
                    <a:pt x="683" y="598"/>
                  </a:lnTo>
                  <a:lnTo>
                    <a:pt x="683" y="596"/>
                  </a:lnTo>
                  <a:lnTo>
                    <a:pt x="683" y="593"/>
                  </a:lnTo>
                  <a:lnTo>
                    <a:pt x="685" y="593"/>
                  </a:lnTo>
                  <a:lnTo>
                    <a:pt x="690" y="588"/>
                  </a:lnTo>
                  <a:lnTo>
                    <a:pt x="690" y="583"/>
                  </a:lnTo>
                  <a:lnTo>
                    <a:pt x="690" y="581"/>
                  </a:lnTo>
                  <a:lnTo>
                    <a:pt x="693" y="578"/>
                  </a:lnTo>
                  <a:lnTo>
                    <a:pt x="693" y="573"/>
                  </a:lnTo>
                  <a:lnTo>
                    <a:pt x="695" y="568"/>
                  </a:lnTo>
                  <a:lnTo>
                    <a:pt x="701" y="565"/>
                  </a:lnTo>
                  <a:lnTo>
                    <a:pt x="701" y="565"/>
                  </a:lnTo>
                  <a:lnTo>
                    <a:pt x="701" y="563"/>
                  </a:lnTo>
                  <a:lnTo>
                    <a:pt x="701" y="558"/>
                  </a:lnTo>
                  <a:lnTo>
                    <a:pt x="701" y="547"/>
                  </a:lnTo>
                  <a:lnTo>
                    <a:pt x="701" y="542"/>
                  </a:lnTo>
                  <a:lnTo>
                    <a:pt x="701" y="535"/>
                  </a:lnTo>
                  <a:lnTo>
                    <a:pt x="703" y="530"/>
                  </a:lnTo>
                  <a:lnTo>
                    <a:pt x="706" y="527"/>
                  </a:lnTo>
                  <a:lnTo>
                    <a:pt x="708" y="525"/>
                  </a:lnTo>
                  <a:lnTo>
                    <a:pt x="711" y="522"/>
                  </a:lnTo>
                  <a:lnTo>
                    <a:pt x="708" y="522"/>
                  </a:lnTo>
                  <a:lnTo>
                    <a:pt x="708" y="514"/>
                  </a:lnTo>
                  <a:lnTo>
                    <a:pt x="708" y="509"/>
                  </a:lnTo>
                  <a:lnTo>
                    <a:pt x="708" y="507"/>
                  </a:lnTo>
                  <a:lnTo>
                    <a:pt x="708" y="502"/>
                  </a:lnTo>
                  <a:lnTo>
                    <a:pt x="711" y="494"/>
                  </a:lnTo>
                  <a:lnTo>
                    <a:pt x="711" y="489"/>
                  </a:lnTo>
                  <a:lnTo>
                    <a:pt x="713" y="481"/>
                  </a:lnTo>
                  <a:lnTo>
                    <a:pt x="713" y="479"/>
                  </a:lnTo>
                  <a:lnTo>
                    <a:pt x="711" y="474"/>
                  </a:lnTo>
                  <a:lnTo>
                    <a:pt x="708" y="466"/>
                  </a:lnTo>
                  <a:lnTo>
                    <a:pt x="708" y="458"/>
                  </a:lnTo>
                  <a:lnTo>
                    <a:pt x="708" y="453"/>
                  </a:lnTo>
                  <a:lnTo>
                    <a:pt x="708" y="438"/>
                  </a:lnTo>
                  <a:lnTo>
                    <a:pt x="708" y="438"/>
                  </a:lnTo>
                  <a:lnTo>
                    <a:pt x="708" y="441"/>
                  </a:lnTo>
                  <a:lnTo>
                    <a:pt x="706" y="438"/>
                  </a:lnTo>
                  <a:lnTo>
                    <a:pt x="706" y="438"/>
                  </a:lnTo>
                  <a:lnTo>
                    <a:pt x="706" y="433"/>
                  </a:lnTo>
                  <a:lnTo>
                    <a:pt x="708" y="430"/>
                  </a:lnTo>
                  <a:lnTo>
                    <a:pt x="708" y="430"/>
                  </a:lnTo>
                  <a:lnTo>
                    <a:pt x="706" y="428"/>
                  </a:lnTo>
                  <a:lnTo>
                    <a:pt x="706" y="428"/>
                  </a:lnTo>
                  <a:lnTo>
                    <a:pt x="706" y="428"/>
                  </a:lnTo>
                  <a:lnTo>
                    <a:pt x="706" y="425"/>
                  </a:lnTo>
                  <a:lnTo>
                    <a:pt x="706" y="423"/>
                  </a:lnTo>
                  <a:lnTo>
                    <a:pt x="708" y="423"/>
                  </a:lnTo>
                  <a:lnTo>
                    <a:pt x="711" y="418"/>
                  </a:lnTo>
                  <a:lnTo>
                    <a:pt x="711" y="415"/>
                  </a:lnTo>
                  <a:lnTo>
                    <a:pt x="711" y="413"/>
                  </a:lnTo>
                  <a:lnTo>
                    <a:pt x="711" y="413"/>
                  </a:lnTo>
                  <a:lnTo>
                    <a:pt x="708" y="410"/>
                  </a:lnTo>
                  <a:lnTo>
                    <a:pt x="711" y="410"/>
                  </a:lnTo>
                  <a:lnTo>
                    <a:pt x="711" y="410"/>
                  </a:lnTo>
                  <a:lnTo>
                    <a:pt x="711" y="408"/>
                  </a:lnTo>
                  <a:lnTo>
                    <a:pt x="713" y="408"/>
                  </a:lnTo>
                  <a:lnTo>
                    <a:pt x="716" y="410"/>
                  </a:lnTo>
                  <a:lnTo>
                    <a:pt x="716" y="415"/>
                  </a:lnTo>
                  <a:lnTo>
                    <a:pt x="718" y="415"/>
                  </a:lnTo>
                  <a:lnTo>
                    <a:pt x="718" y="415"/>
                  </a:lnTo>
                  <a:lnTo>
                    <a:pt x="721" y="413"/>
                  </a:lnTo>
                  <a:lnTo>
                    <a:pt x="726" y="405"/>
                  </a:lnTo>
                  <a:lnTo>
                    <a:pt x="726" y="402"/>
                  </a:lnTo>
                  <a:lnTo>
                    <a:pt x="731" y="395"/>
                  </a:lnTo>
                  <a:lnTo>
                    <a:pt x="736" y="385"/>
                  </a:lnTo>
                  <a:lnTo>
                    <a:pt x="736" y="382"/>
                  </a:lnTo>
                  <a:lnTo>
                    <a:pt x="736" y="380"/>
                  </a:lnTo>
                  <a:lnTo>
                    <a:pt x="736" y="374"/>
                  </a:lnTo>
                  <a:lnTo>
                    <a:pt x="739" y="374"/>
                  </a:lnTo>
                  <a:lnTo>
                    <a:pt x="739" y="377"/>
                  </a:lnTo>
                  <a:lnTo>
                    <a:pt x="739" y="377"/>
                  </a:lnTo>
                  <a:lnTo>
                    <a:pt x="736" y="377"/>
                  </a:lnTo>
                  <a:lnTo>
                    <a:pt x="736" y="380"/>
                  </a:lnTo>
                  <a:lnTo>
                    <a:pt x="739" y="380"/>
                  </a:lnTo>
                  <a:lnTo>
                    <a:pt x="741" y="374"/>
                  </a:lnTo>
                  <a:lnTo>
                    <a:pt x="741" y="372"/>
                  </a:lnTo>
                  <a:lnTo>
                    <a:pt x="741" y="372"/>
                  </a:lnTo>
                  <a:lnTo>
                    <a:pt x="741" y="372"/>
                  </a:lnTo>
                  <a:lnTo>
                    <a:pt x="746" y="367"/>
                  </a:lnTo>
                  <a:lnTo>
                    <a:pt x="749" y="362"/>
                  </a:lnTo>
                  <a:lnTo>
                    <a:pt x="751" y="362"/>
                  </a:lnTo>
                  <a:lnTo>
                    <a:pt x="757" y="359"/>
                  </a:lnTo>
                  <a:lnTo>
                    <a:pt x="757" y="359"/>
                  </a:lnTo>
                  <a:lnTo>
                    <a:pt x="759" y="352"/>
                  </a:lnTo>
                  <a:lnTo>
                    <a:pt x="762" y="349"/>
                  </a:lnTo>
                  <a:lnTo>
                    <a:pt x="764" y="344"/>
                  </a:lnTo>
                  <a:lnTo>
                    <a:pt x="767" y="341"/>
                  </a:lnTo>
                  <a:lnTo>
                    <a:pt x="764" y="341"/>
                  </a:lnTo>
                  <a:lnTo>
                    <a:pt x="767" y="341"/>
                  </a:lnTo>
                  <a:lnTo>
                    <a:pt x="767" y="341"/>
                  </a:lnTo>
                  <a:lnTo>
                    <a:pt x="772" y="336"/>
                  </a:lnTo>
                  <a:lnTo>
                    <a:pt x="777" y="329"/>
                  </a:lnTo>
                  <a:lnTo>
                    <a:pt x="780" y="324"/>
                  </a:lnTo>
                  <a:lnTo>
                    <a:pt x="782" y="311"/>
                  </a:lnTo>
                  <a:lnTo>
                    <a:pt x="785" y="303"/>
                  </a:lnTo>
                  <a:lnTo>
                    <a:pt x="785" y="301"/>
                  </a:lnTo>
                  <a:lnTo>
                    <a:pt x="785" y="298"/>
                  </a:lnTo>
                  <a:lnTo>
                    <a:pt x="785" y="296"/>
                  </a:lnTo>
                  <a:lnTo>
                    <a:pt x="785" y="296"/>
                  </a:lnTo>
                  <a:lnTo>
                    <a:pt x="785" y="293"/>
                  </a:lnTo>
                  <a:lnTo>
                    <a:pt x="785" y="293"/>
                  </a:lnTo>
                  <a:lnTo>
                    <a:pt x="785" y="290"/>
                  </a:lnTo>
                  <a:lnTo>
                    <a:pt x="785" y="28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359" name="Freeform 1978">
              <a:extLst>
                <a:ext uri="{FF2B5EF4-FFF2-40B4-BE49-F238E27FC236}">
                  <a16:creationId xmlns:a16="http://schemas.microsoft.com/office/drawing/2014/main" id="{A8DBA9B8-84A2-164C-954E-9C1C5311B1D8}"/>
                </a:ext>
              </a:extLst>
            </p:cNvPr>
            <p:cNvSpPr>
              <a:spLocks/>
            </p:cNvSpPr>
            <p:nvPr/>
          </p:nvSpPr>
          <p:spPr bwMode="auto">
            <a:xfrm>
              <a:off x="6259622" y="4463603"/>
              <a:ext cx="299340" cy="336962"/>
            </a:xfrm>
            <a:custGeom>
              <a:avLst/>
              <a:gdLst>
                <a:gd name="T0" fmla="*/ 178 w 183"/>
                <a:gd name="T1" fmla="*/ 96 h 206"/>
                <a:gd name="T2" fmla="*/ 178 w 183"/>
                <a:gd name="T3" fmla="*/ 91 h 206"/>
                <a:gd name="T4" fmla="*/ 173 w 183"/>
                <a:gd name="T5" fmla="*/ 89 h 206"/>
                <a:gd name="T6" fmla="*/ 158 w 183"/>
                <a:gd name="T7" fmla="*/ 84 h 206"/>
                <a:gd name="T8" fmla="*/ 152 w 183"/>
                <a:gd name="T9" fmla="*/ 76 h 206"/>
                <a:gd name="T10" fmla="*/ 152 w 183"/>
                <a:gd name="T11" fmla="*/ 66 h 206"/>
                <a:gd name="T12" fmla="*/ 152 w 183"/>
                <a:gd name="T13" fmla="*/ 61 h 206"/>
                <a:gd name="T14" fmla="*/ 145 w 183"/>
                <a:gd name="T15" fmla="*/ 58 h 206"/>
                <a:gd name="T16" fmla="*/ 140 w 183"/>
                <a:gd name="T17" fmla="*/ 50 h 206"/>
                <a:gd name="T18" fmla="*/ 124 w 183"/>
                <a:gd name="T19" fmla="*/ 40 h 206"/>
                <a:gd name="T20" fmla="*/ 119 w 183"/>
                <a:gd name="T21" fmla="*/ 28 h 206"/>
                <a:gd name="T22" fmla="*/ 114 w 183"/>
                <a:gd name="T23" fmla="*/ 20 h 206"/>
                <a:gd name="T24" fmla="*/ 109 w 183"/>
                <a:gd name="T25" fmla="*/ 7 h 206"/>
                <a:gd name="T26" fmla="*/ 104 w 183"/>
                <a:gd name="T27" fmla="*/ 2 h 206"/>
                <a:gd name="T28" fmla="*/ 99 w 183"/>
                <a:gd name="T29" fmla="*/ 0 h 206"/>
                <a:gd name="T30" fmla="*/ 89 w 183"/>
                <a:gd name="T31" fmla="*/ 5 h 206"/>
                <a:gd name="T32" fmla="*/ 81 w 183"/>
                <a:gd name="T33" fmla="*/ 7 h 206"/>
                <a:gd name="T34" fmla="*/ 73 w 183"/>
                <a:gd name="T35" fmla="*/ 15 h 206"/>
                <a:gd name="T36" fmla="*/ 71 w 183"/>
                <a:gd name="T37" fmla="*/ 10 h 206"/>
                <a:gd name="T38" fmla="*/ 63 w 183"/>
                <a:gd name="T39" fmla="*/ 5 h 206"/>
                <a:gd name="T40" fmla="*/ 33 w 183"/>
                <a:gd name="T41" fmla="*/ 10 h 206"/>
                <a:gd name="T42" fmla="*/ 20 w 183"/>
                <a:gd name="T43" fmla="*/ 25 h 206"/>
                <a:gd name="T44" fmla="*/ 20 w 183"/>
                <a:gd name="T45" fmla="*/ 63 h 206"/>
                <a:gd name="T46" fmla="*/ 20 w 183"/>
                <a:gd name="T47" fmla="*/ 94 h 206"/>
                <a:gd name="T48" fmla="*/ 0 w 183"/>
                <a:gd name="T49" fmla="*/ 106 h 206"/>
                <a:gd name="T50" fmla="*/ 0 w 183"/>
                <a:gd name="T51" fmla="*/ 132 h 206"/>
                <a:gd name="T52" fmla="*/ 0 w 183"/>
                <a:gd name="T53" fmla="*/ 157 h 206"/>
                <a:gd name="T54" fmla="*/ 7 w 183"/>
                <a:gd name="T55" fmla="*/ 168 h 206"/>
                <a:gd name="T56" fmla="*/ 15 w 183"/>
                <a:gd name="T57" fmla="*/ 183 h 206"/>
                <a:gd name="T58" fmla="*/ 15 w 183"/>
                <a:gd name="T59" fmla="*/ 190 h 206"/>
                <a:gd name="T60" fmla="*/ 10 w 183"/>
                <a:gd name="T61" fmla="*/ 198 h 206"/>
                <a:gd name="T62" fmla="*/ 15 w 183"/>
                <a:gd name="T63" fmla="*/ 203 h 206"/>
                <a:gd name="T64" fmla="*/ 28 w 183"/>
                <a:gd name="T65" fmla="*/ 206 h 206"/>
                <a:gd name="T66" fmla="*/ 33 w 183"/>
                <a:gd name="T67" fmla="*/ 203 h 206"/>
                <a:gd name="T68" fmla="*/ 40 w 183"/>
                <a:gd name="T69" fmla="*/ 198 h 206"/>
                <a:gd name="T70" fmla="*/ 50 w 183"/>
                <a:gd name="T71" fmla="*/ 188 h 206"/>
                <a:gd name="T72" fmla="*/ 53 w 183"/>
                <a:gd name="T73" fmla="*/ 178 h 206"/>
                <a:gd name="T74" fmla="*/ 58 w 183"/>
                <a:gd name="T75" fmla="*/ 170 h 206"/>
                <a:gd name="T76" fmla="*/ 68 w 183"/>
                <a:gd name="T77" fmla="*/ 170 h 206"/>
                <a:gd name="T78" fmla="*/ 76 w 183"/>
                <a:gd name="T79" fmla="*/ 178 h 206"/>
                <a:gd name="T80" fmla="*/ 84 w 183"/>
                <a:gd name="T81" fmla="*/ 180 h 206"/>
                <a:gd name="T82" fmla="*/ 96 w 183"/>
                <a:gd name="T83" fmla="*/ 180 h 206"/>
                <a:gd name="T84" fmla="*/ 104 w 183"/>
                <a:gd name="T85" fmla="*/ 180 h 206"/>
                <a:gd name="T86" fmla="*/ 109 w 183"/>
                <a:gd name="T87" fmla="*/ 170 h 206"/>
                <a:gd name="T88" fmla="*/ 114 w 183"/>
                <a:gd name="T89" fmla="*/ 157 h 206"/>
                <a:gd name="T90" fmla="*/ 124 w 183"/>
                <a:gd name="T91" fmla="*/ 155 h 206"/>
                <a:gd name="T92" fmla="*/ 132 w 183"/>
                <a:gd name="T93" fmla="*/ 145 h 206"/>
                <a:gd name="T94" fmla="*/ 140 w 183"/>
                <a:gd name="T95" fmla="*/ 129 h 206"/>
                <a:gd name="T96" fmla="*/ 145 w 183"/>
                <a:gd name="T97" fmla="*/ 127 h 206"/>
                <a:gd name="T98" fmla="*/ 150 w 183"/>
                <a:gd name="T99" fmla="*/ 122 h 206"/>
                <a:gd name="T100" fmla="*/ 152 w 183"/>
                <a:gd name="T101" fmla="*/ 119 h 206"/>
                <a:gd name="T102" fmla="*/ 158 w 183"/>
                <a:gd name="T103" fmla="*/ 114 h 206"/>
                <a:gd name="T104" fmla="*/ 170 w 183"/>
                <a:gd name="T105" fmla="*/ 106 h 206"/>
                <a:gd name="T106" fmla="*/ 180 w 183"/>
                <a:gd name="T107" fmla="*/ 99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3" h="206">
                  <a:moveTo>
                    <a:pt x="183" y="99"/>
                  </a:moveTo>
                  <a:lnTo>
                    <a:pt x="183" y="96"/>
                  </a:lnTo>
                  <a:lnTo>
                    <a:pt x="180" y="96"/>
                  </a:lnTo>
                  <a:lnTo>
                    <a:pt x="178" y="96"/>
                  </a:lnTo>
                  <a:lnTo>
                    <a:pt x="178" y="96"/>
                  </a:lnTo>
                  <a:lnTo>
                    <a:pt x="178" y="94"/>
                  </a:lnTo>
                  <a:lnTo>
                    <a:pt x="178" y="94"/>
                  </a:lnTo>
                  <a:lnTo>
                    <a:pt x="178" y="91"/>
                  </a:lnTo>
                  <a:lnTo>
                    <a:pt x="178" y="91"/>
                  </a:lnTo>
                  <a:lnTo>
                    <a:pt x="178" y="89"/>
                  </a:lnTo>
                  <a:lnTo>
                    <a:pt x="175" y="89"/>
                  </a:lnTo>
                  <a:lnTo>
                    <a:pt x="173" y="89"/>
                  </a:lnTo>
                  <a:lnTo>
                    <a:pt x="168" y="86"/>
                  </a:lnTo>
                  <a:lnTo>
                    <a:pt x="160" y="86"/>
                  </a:lnTo>
                  <a:lnTo>
                    <a:pt x="158" y="86"/>
                  </a:lnTo>
                  <a:lnTo>
                    <a:pt x="158" y="84"/>
                  </a:lnTo>
                  <a:lnTo>
                    <a:pt x="158" y="84"/>
                  </a:lnTo>
                  <a:lnTo>
                    <a:pt x="155" y="81"/>
                  </a:lnTo>
                  <a:lnTo>
                    <a:pt x="155" y="78"/>
                  </a:lnTo>
                  <a:lnTo>
                    <a:pt x="152" y="76"/>
                  </a:lnTo>
                  <a:lnTo>
                    <a:pt x="152" y="73"/>
                  </a:lnTo>
                  <a:lnTo>
                    <a:pt x="152" y="71"/>
                  </a:lnTo>
                  <a:lnTo>
                    <a:pt x="152" y="68"/>
                  </a:lnTo>
                  <a:lnTo>
                    <a:pt x="152" y="66"/>
                  </a:lnTo>
                  <a:lnTo>
                    <a:pt x="152" y="66"/>
                  </a:lnTo>
                  <a:lnTo>
                    <a:pt x="152" y="63"/>
                  </a:lnTo>
                  <a:lnTo>
                    <a:pt x="152" y="61"/>
                  </a:lnTo>
                  <a:lnTo>
                    <a:pt x="152" y="61"/>
                  </a:lnTo>
                  <a:lnTo>
                    <a:pt x="150" y="61"/>
                  </a:lnTo>
                  <a:lnTo>
                    <a:pt x="147" y="61"/>
                  </a:lnTo>
                  <a:lnTo>
                    <a:pt x="145" y="61"/>
                  </a:lnTo>
                  <a:lnTo>
                    <a:pt x="145" y="58"/>
                  </a:lnTo>
                  <a:lnTo>
                    <a:pt x="145" y="56"/>
                  </a:lnTo>
                  <a:lnTo>
                    <a:pt x="142" y="53"/>
                  </a:lnTo>
                  <a:lnTo>
                    <a:pt x="142" y="50"/>
                  </a:lnTo>
                  <a:lnTo>
                    <a:pt x="140" y="50"/>
                  </a:lnTo>
                  <a:lnTo>
                    <a:pt x="137" y="50"/>
                  </a:lnTo>
                  <a:lnTo>
                    <a:pt x="132" y="48"/>
                  </a:lnTo>
                  <a:lnTo>
                    <a:pt x="129" y="43"/>
                  </a:lnTo>
                  <a:lnTo>
                    <a:pt x="124" y="40"/>
                  </a:lnTo>
                  <a:lnTo>
                    <a:pt x="122" y="38"/>
                  </a:lnTo>
                  <a:lnTo>
                    <a:pt x="122" y="35"/>
                  </a:lnTo>
                  <a:lnTo>
                    <a:pt x="119" y="28"/>
                  </a:lnTo>
                  <a:lnTo>
                    <a:pt x="119" y="28"/>
                  </a:lnTo>
                  <a:lnTo>
                    <a:pt x="119" y="25"/>
                  </a:lnTo>
                  <a:lnTo>
                    <a:pt x="117" y="22"/>
                  </a:lnTo>
                  <a:lnTo>
                    <a:pt x="117" y="20"/>
                  </a:lnTo>
                  <a:lnTo>
                    <a:pt x="114" y="20"/>
                  </a:lnTo>
                  <a:lnTo>
                    <a:pt x="112" y="15"/>
                  </a:lnTo>
                  <a:lnTo>
                    <a:pt x="109" y="12"/>
                  </a:lnTo>
                  <a:lnTo>
                    <a:pt x="109" y="10"/>
                  </a:lnTo>
                  <a:lnTo>
                    <a:pt x="109" y="7"/>
                  </a:lnTo>
                  <a:lnTo>
                    <a:pt x="107" y="7"/>
                  </a:lnTo>
                  <a:lnTo>
                    <a:pt x="107" y="5"/>
                  </a:lnTo>
                  <a:lnTo>
                    <a:pt x="104" y="2"/>
                  </a:lnTo>
                  <a:lnTo>
                    <a:pt x="104" y="2"/>
                  </a:lnTo>
                  <a:lnTo>
                    <a:pt x="104" y="0"/>
                  </a:lnTo>
                  <a:lnTo>
                    <a:pt x="107" y="0"/>
                  </a:lnTo>
                  <a:lnTo>
                    <a:pt x="104" y="0"/>
                  </a:lnTo>
                  <a:lnTo>
                    <a:pt x="99" y="0"/>
                  </a:lnTo>
                  <a:lnTo>
                    <a:pt x="96" y="2"/>
                  </a:lnTo>
                  <a:lnTo>
                    <a:pt x="91" y="5"/>
                  </a:lnTo>
                  <a:lnTo>
                    <a:pt x="89" y="5"/>
                  </a:lnTo>
                  <a:lnTo>
                    <a:pt x="89" y="5"/>
                  </a:lnTo>
                  <a:lnTo>
                    <a:pt x="89" y="5"/>
                  </a:lnTo>
                  <a:lnTo>
                    <a:pt x="86" y="5"/>
                  </a:lnTo>
                  <a:lnTo>
                    <a:pt x="84" y="5"/>
                  </a:lnTo>
                  <a:lnTo>
                    <a:pt x="81" y="7"/>
                  </a:lnTo>
                  <a:lnTo>
                    <a:pt x="79" y="10"/>
                  </a:lnTo>
                  <a:lnTo>
                    <a:pt x="79" y="10"/>
                  </a:lnTo>
                  <a:lnTo>
                    <a:pt x="73" y="15"/>
                  </a:lnTo>
                  <a:lnTo>
                    <a:pt x="73" y="15"/>
                  </a:lnTo>
                  <a:lnTo>
                    <a:pt x="73" y="15"/>
                  </a:lnTo>
                  <a:lnTo>
                    <a:pt x="71" y="15"/>
                  </a:lnTo>
                  <a:lnTo>
                    <a:pt x="71" y="12"/>
                  </a:lnTo>
                  <a:lnTo>
                    <a:pt x="71" y="10"/>
                  </a:lnTo>
                  <a:lnTo>
                    <a:pt x="66" y="5"/>
                  </a:lnTo>
                  <a:lnTo>
                    <a:pt x="66" y="5"/>
                  </a:lnTo>
                  <a:lnTo>
                    <a:pt x="66" y="5"/>
                  </a:lnTo>
                  <a:lnTo>
                    <a:pt x="63" y="5"/>
                  </a:lnTo>
                  <a:lnTo>
                    <a:pt x="56" y="5"/>
                  </a:lnTo>
                  <a:lnTo>
                    <a:pt x="50" y="7"/>
                  </a:lnTo>
                  <a:lnTo>
                    <a:pt x="40" y="10"/>
                  </a:lnTo>
                  <a:lnTo>
                    <a:pt x="33" y="10"/>
                  </a:lnTo>
                  <a:lnTo>
                    <a:pt x="25" y="10"/>
                  </a:lnTo>
                  <a:lnTo>
                    <a:pt x="20" y="12"/>
                  </a:lnTo>
                  <a:lnTo>
                    <a:pt x="20" y="15"/>
                  </a:lnTo>
                  <a:lnTo>
                    <a:pt x="20" y="25"/>
                  </a:lnTo>
                  <a:lnTo>
                    <a:pt x="20" y="35"/>
                  </a:lnTo>
                  <a:lnTo>
                    <a:pt x="20" y="43"/>
                  </a:lnTo>
                  <a:lnTo>
                    <a:pt x="20" y="53"/>
                  </a:lnTo>
                  <a:lnTo>
                    <a:pt x="20" y="63"/>
                  </a:lnTo>
                  <a:lnTo>
                    <a:pt x="20" y="71"/>
                  </a:lnTo>
                  <a:lnTo>
                    <a:pt x="20" y="81"/>
                  </a:lnTo>
                  <a:lnTo>
                    <a:pt x="20" y="91"/>
                  </a:lnTo>
                  <a:lnTo>
                    <a:pt x="20" y="94"/>
                  </a:lnTo>
                  <a:lnTo>
                    <a:pt x="20" y="94"/>
                  </a:lnTo>
                  <a:lnTo>
                    <a:pt x="0" y="94"/>
                  </a:lnTo>
                  <a:lnTo>
                    <a:pt x="0" y="101"/>
                  </a:lnTo>
                  <a:lnTo>
                    <a:pt x="0" y="106"/>
                  </a:lnTo>
                  <a:lnTo>
                    <a:pt x="0" y="114"/>
                  </a:lnTo>
                  <a:lnTo>
                    <a:pt x="0" y="119"/>
                  </a:lnTo>
                  <a:lnTo>
                    <a:pt x="0" y="127"/>
                  </a:lnTo>
                  <a:lnTo>
                    <a:pt x="0" y="132"/>
                  </a:lnTo>
                  <a:lnTo>
                    <a:pt x="0" y="140"/>
                  </a:lnTo>
                  <a:lnTo>
                    <a:pt x="0" y="147"/>
                  </a:lnTo>
                  <a:lnTo>
                    <a:pt x="0" y="152"/>
                  </a:lnTo>
                  <a:lnTo>
                    <a:pt x="0" y="157"/>
                  </a:lnTo>
                  <a:lnTo>
                    <a:pt x="0" y="157"/>
                  </a:lnTo>
                  <a:lnTo>
                    <a:pt x="0" y="160"/>
                  </a:lnTo>
                  <a:lnTo>
                    <a:pt x="5" y="165"/>
                  </a:lnTo>
                  <a:lnTo>
                    <a:pt x="7" y="168"/>
                  </a:lnTo>
                  <a:lnTo>
                    <a:pt x="7" y="168"/>
                  </a:lnTo>
                  <a:lnTo>
                    <a:pt x="10" y="175"/>
                  </a:lnTo>
                  <a:lnTo>
                    <a:pt x="12" y="180"/>
                  </a:lnTo>
                  <a:lnTo>
                    <a:pt x="15" y="183"/>
                  </a:lnTo>
                  <a:lnTo>
                    <a:pt x="15" y="185"/>
                  </a:lnTo>
                  <a:lnTo>
                    <a:pt x="15" y="188"/>
                  </a:lnTo>
                  <a:lnTo>
                    <a:pt x="15" y="188"/>
                  </a:lnTo>
                  <a:lnTo>
                    <a:pt x="15" y="190"/>
                  </a:lnTo>
                  <a:lnTo>
                    <a:pt x="12" y="193"/>
                  </a:lnTo>
                  <a:lnTo>
                    <a:pt x="12" y="193"/>
                  </a:lnTo>
                  <a:lnTo>
                    <a:pt x="10" y="196"/>
                  </a:lnTo>
                  <a:lnTo>
                    <a:pt x="10" y="198"/>
                  </a:lnTo>
                  <a:lnTo>
                    <a:pt x="10" y="203"/>
                  </a:lnTo>
                  <a:lnTo>
                    <a:pt x="12" y="206"/>
                  </a:lnTo>
                  <a:lnTo>
                    <a:pt x="12" y="206"/>
                  </a:lnTo>
                  <a:lnTo>
                    <a:pt x="15" y="203"/>
                  </a:lnTo>
                  <a:lnTo>
                    <a:pt x="17" y="206"/>
                  </a:lnTo>
                  <a:lnTo>
                    <a:pt x="20" y="206"/>
                  </a:lnTo>
                  <a:lnTo>
                    <a:pt x="28" y="206"/>
                  </a:lnTo>
                  <a:lnTo>
                    <a:pt x="28" y="206"/>
                  </a:lnTo>
                  <a:lnTo>
                    <a:pt x="30" y="206"/>
                  </a:lnTo>
                  <a:lnTo>
                    <a:pt x="30" y="206"/>
                  </a:lnTo>
                  <a:lnTo>
                    <a:pt x="33" y="203"/>
                  </a:lnTo>
                  <a:lnTo>
                    <a:pt x="33" y="203"/>
                  </a:lnTo>
                  <a:lnTo>
                    <a:pt x="35" y="201"/>
                  </a:lnTo>
                  <a:lnTo>
                    <a:pt x="35" y="201"/>
                  </a:lnTo>
                  <a:lnTo>
                    <a:pt x="38" y="201"/>
                  </a:lnTo>
                  <a:lnTo>
                    <a:pt x="40" y="198"/>
                  </a:lnTo>
                  <a:lnTo>
                    <a:pt x="43" y="196"/>
                  </a:lnTo>
                  <a:lnTo>
                    <a:pt x="48" y="190"/>
                  </a:lnTo>
                  <a:lnTo>
                    <a:pt x="48" y="190"/>
                  </a:lnTo>
                  <a:lnTo>
                    <a:pt x="50" y="188"/>
                  </a:lnTo>
                  <a:lnTo>
                    <a:pt x="50" y="188"/>
                  </a:lnTo>
                  <a:lnTo>
                    <a:pt x="53" y="183"/>
                  </a:lnTo>
                  <a:lnTo>
                    <a:pt x="53" y="178"/>
                  </a:lnTo>
                  <a:lnTo>
                    <a:pt x="53" y="178"/>
                  </a:lnTo>
                  <a:lnTo>
                    <a:pt x="56" y="173"/>
                  </a:lnTo>
                  <a:lnTo>
                    <a:pt x="56" y="173"/>
                  </a:lnTo>
                  <a:lnTo>
                    <a:pt x="58" y="170"/>
                  </a:lnTo>
                  <a:lnTo>
                    <a:pt x="58" y="170"/>
                  </a:lnTo>
                  <a:lnTo>
                    <a:pt x="61" y="170"/>
                  </a:lnTo>
                  <a:lnTo>
                    <a:pt x="63" y="170"/>
                  </a:lnTo>
                  <a:lnTo>
                    <a:pt x="66" y="170"/>
                  </a:lnTo>
                  <a:lnTo>
                    <a:pt x="68" y="170"/>
                  </a:lnTo>
                  <a:lnTo>
                    <a:pt x="71" y="173"/>
                  </a:lnTo>
                  <a:lnTo>
                    <a:pt x="73" y="175"/>
                  </a:lnTo>
                  <a:lnTo>
                    <a:pt x="76" y="178"/>
                  </a:lnTo>
                  <a:lnTo>
                    <a:pt x="76" y="178"/>
                  </a:lnTo>
                  <a:lnTo>
                    <a:pt x="79" y="178"/>
                  </a:lnTo>
                  <a:lnTo>
                    <a:pt x="81" y="178"/>
                  </a:lnTo>
                  <a:lnTo>
                    <a:pt x="84" y="180"/>
                  </a:lnTo>
                  <a:lnTo>
                    <a:pt x="84" y="180"/>
                  </a:lnTo>
                  <a:lnTo>
                    <a:pt x="89" y="180"/>
                  </a:lnTo>
                  <a:lnTo>
                    <a:pt x="91" y="183"/>
                  </a:lnTo>
                  <a:lnTo>
                    <a:pt x="94" y="183"/>
                  </a:lnTo>
                  <a:lnTo>
                    <a:pt x="96" y="180"/>
                  </a:lnTo>
                  <a:lnTo>
                    <a:pt x="99" y="180"/>
                  </a:lnTo>
                  <a:lnTo>
                    <a:pt x="101" y="180"/>
                  </a:lnTo>
                  <a:lnTo>
                    <a:pt x="104" y="180"/>
                  </a:lnTo>
                  <a:lnTo>
                    <a:pt x="104" y="180"/>
                  </a:lnTo>
                  <a:lnTo>
                    <a:pt x="107" y="178"/>
                  </a:lnTo>
                  <a:lnTo>
                    <a:pt x="109" y="178"/>
                  </a:lnTo>
                  <a:lnTo>
                    <a:pt x="109" y="173"/>
                  </a:lnTo>
                  <a:lnTo>
                    <a:pt x="109" y="170"/>
                  </a:lnTo>
                  <a:lnTo>
                    <a:pt x="112" y="168"/>
                  </a:lnTo>
                  <a:lnTo>
                    <a:pt x="114" y="162"/>
                  </a:lnTo>
                  <a:lnTo>
                    <a:pt x="114" y="157"/>
                  </a:lnTo>
                  <a:lnTo>
                    <a:pt x="114" y="157"/>
                  </a:lnTo>
                  <a:lnTo>
                    <a:pt x="117" y="157"/>
                  </a:lnTo>
                  <a:lnTo>
                    <a:pt x="119" y="155"/>
                  </a:lnTo>
                  <a:lnTo>
                    <a:pt x="124" y="155"/>
                  </a:lnTo>
                  <a:lnTo>
                    <a:pt x="124" y="155"/>
                  </a:lnTo>
                  <a:lnTo>
                    <a:pt x="127" y="152"/>
                  </a:lnTo>
                  <a:lnTo>
                    <a:pt x="129" y="150"/>
                  </a:lnTo>
                  <a:lnTo>
                    <a:pt x="132" y="147"/>
                  </a:lnTo>
                  <a:lnTo>
                    <a:pt x="132" y="145"/>
                  </a:lnTo>
                  <a:lnTo>
                    <a:pt x="137" y="134"/>
                  </a:lnTo>
                  <a:lnTo>
                    <a:pt x="137" y="134"/>
                  </a:lnTo>
                  <a:lnTo>
                    <a:pt x="140" y="132"/>
                  </a:lnTo>
                  <a:lnTo>
                    <a:pt x="140" y="129"/>
                  </a:lnTo>
                  <a:lnTo>
                    <a:pt x="140" y="129"/>
                  </a:lnTo>
                  <a:lnTo>
                    <a:pt x="142" y="129"/>
                  </a:lnTo>
                  <a:lnTo>
                    <a:pt x="142" y="127"/>
                  </a:lnTo>
                  <a:lnTo>
                    <a:pt x="145" y="127"/>
                  </a:lnTo>
                  <a:lnTo>
                    <a:pt x="147" y="127"/>
                  </a:lnTo>
                  <a:lnTo>
                    <a:pt x="147" y="124"/>
                  </a:lnTo>
                  <a:lnTo>
                    <a:pt x="150" y="124"/>
                  </a:lnTo>
                  <a:lnTo>
                    <a:pt x="150" y="122"/>
                  </a:lnTo>
                  <a:lnTo>
                    <a:pt x="152" y="122"/>
                  </a:lnTo>
                  <a:lnTo>
                    <a:pt x="152" y="122"/>
                  </a:lnTo>
                  <a:lnTo>
                    <a:pt x="152" y="122"/>
                  </a:lnTo>
                  <a:lnTo>
                    <a:pt x="152" y="119"/>
                  </a:lnTo>
                  <a:lnTo>
                    <a:pt x="155" y="119"/>
                  </a:lnTo>
                  <a:lnTo>
                    <a:pt x="155" y="119"/>
                  </a:lnTo>
                  <a:lnTo>
                    <a:pt x="155" y="117"/>
                  </a:lnTo>
                  <a:lnTo>
                    <a:pt x="158" y="114"/>
                  </a:lnTo>
                  <a:lnTo>
                    <a:pt x="160" y="112"/>
                  </a:lnTo>
                  <a:lnTo>
                    <a:pt x="165" y="109"/>
                  </a:lnTo>
                  <a:lnTo>
                    <a:pt x="168" y="109"/>
                  </a:lnTo>
                  <a:lnTo>
                    <a:pt x="170" y="106"/>
                  </a:lnTo>
                  <a:lnTo>
                    <a:pt x="173" y="106"/>
                  </a:lnTo>
                  <a:lnTo>
                    <a:pt x="175" y="104"/>
                  </a:lnTo>
                  <a:lnTo>
                    <a:pt x="178" y="101"/>
                  </a:lnTo>
                  <a:lnTo>
                    <a:pt x="180" y="99"/>
                  </a:lnTo>
                  <a:lnTo>
                    <a:pt x="183" y="99"/>
                  </a:lnTo>
                  <a:lnTo>
                    <a:pt x="183" y="99"/>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360" name="Freeform 1979">
              <a:extLst>
                <a:ext uri="{FF2B5EF4-FFF2-40B4-BE49-F238E27FC236}">
                  <a16:creationId xmlns:a16="http://schemas.microsoft.com/office/drawing/2014/main" id="{3A6CCC4D-A9DD-AA41-BA2D-404179AB6FCE}"/>
                </a:ext>
              </a:extLst>
            </p:cNvPr>
            <p:cNvSpPr>
              <a:spLocks/>
            </p:cNvSpPr>
            <p:nvPr/>
          </p:nvSpPr>
          <p:spPr bwMode="auto">
            <a:xfrm>
              <a:off x="6109135" y="2124499"/>
              <a:ext cx="116138" cy="99780"/>
            </a:xfrm>
            <a:custGeom>
              <a:avLst/>
              <a:gdLst>
                <a:gd name="T0" fmla="*/ 69 w 71"/>
                <a:gd name="T1" fmla="*/ 28 h 61"/>
                <a:gd name="T2" fmla="*/ 71 w 71"/>
                <a:gd name="T3" fmla="*/ 28 h 61"/>
                <a:gd name="T4" fmla="*/ 66 w 71"/>
                <a:gd name="T5" fmla="*/ 22 h 61"/>
                <a:gd name="T6" fmla="*/ 61 w 71"/>
                <a:gd name="T7" fmla="*/ 20 h 61"/>
                <a:gd name="T8" fmla="*/ 61 w 71"/>
                <a:gd name="T9" fmla="*/ 17 h 61"/>
                <a:gd name="T10" fmla="*/ 63 w 71"/>
                <a:gd name="T11" fmla="*/ 12 h 61"/>
                <a:gd name="T12" fmla="*/ 66 w 71"/>
                <a:gd name="T13" fmla="*/ 10 h 61"/>
                <a:gd name="T14" fmla="*/ 61 w 71"/>
                <a:gd name="T15" fmla="*/ 7 h 61"/>
                <a:gd name="T16" fmla="*/ 58 w 71"/>
                <a:gd name="T17" fmla="*/ 10 h 61"/>
                <a:gd name="T18" fmla="*/ 56 w 71"/>
                <a:gd name="T19" fmla="*/ 7 h 61"/>
                <a:gd name="T20" fmla="*/ 53 w 71"/>
                <a:gd name="T21" fmla="*/ 2 h 61"/>
                <a:gd name="T22" fmla="*/ 48 w 71"/>
                <a:gd name="T23" fmla="*/ 2 h 61"/>
                <a:gd name="T24" fmla="*/ 43 w 71"/>
                <a:gd name="T25" fmla="*/ 2 h 61"/>
                <a:gd name="T26" fmla="*/ 38 w 71"/>
                <a:gd name="T27" fmla="*/ 2 h 61"/>
                <a:gd name="T28" fmla="*/ 35 w 71"/>
                <a:gd name="T29" fmla="*/ 0 h 61"/>
                <a:gd name="T30" fmla="*/ 30 w 71"/>
                <a:gd name="T31" fmla="*/ 2 h 61"/>
                <a:gd name="T32" fmla="*/ 28 w 71"/>
                <a:gd name="T33" fmla="*/ 2 h 61"/>
                <a:gd name="T34" fmla="*/ 20 w 71"/>
                <a:gd name="T35" fmla="*/ 0 h 61"/>
                <a:gd name="T36" fmla="*/ 12 w 71"/>
                <a:gd name="T37" fmla="*/ 2 h 61"/>
                <a:gd name="T38" fmla="*/ 7 w 71"/>
                <a:gd name="T39" fmla="*/ 2 h 61"/>
                <a:gd name="T40" fmla="*/ 2 w 71"/>
                <a:gd name="T41" fmla="*/ 0 h 61"/>
                <a:gd name="T42" fmla="*/ 0 w 71"/>
                <a:gd name="T43" fmla="*/ 5 h 61"/>
                <a:gd name="T44" fmla="*/ 2 w 71"/>
                <a:gd name="T45" fmla="*/ 12 h 61"/>
                <a:gd name="T46" fmla="*/ 7 w 71"/>
                <a:gd name="T47" fmla="*/ 17 h 61"/>
                <a:gd name="T48" fmla="*/ 10 w 71"/>
                <a:gd name="T49" fmla="*/ 25 h 61"/>
                <a:gd name="T50" fmla="*/ 18 w 71"/>
                <a:gd name="T51" fmla="*/ 30 h 61"/>
                <a:gd name="T52" fmla="*/ 23 w 71"/>
                <a:gd name="T53" fmla="*/ 35 h 61"/>
                <a:gd name="T54" fmla="*/ 28 w 71"/>
                <a:gd name="T55" fmla="*/ 40 h 61"/>
                <a:gd name="T56" fmla="*/ 30 w 71"/>
                <a:gd name="T57" fmla="*/ 45 h 61"/>
                <a:gd name="T58" fmla="*/ 35 w 71"/>
                <a:gd name="T59" fmla="*/ 50 h 61"/>
                <a:gd name="T60" fmla="*/ 35 w 71"/>
                <a:gd name="T61" fmla="*/ 53 h 61"/>
                <a:gd name="T62" fmla="*/ 41 w 71"/>
                <a:gd name="T63" fmla="*/ 53 h 61"/>
                <a:gd name="T64" fmla="*/ 46 w 71"/>
                <a:gd name="T65" fmla="*/ 58 h 61"/>
                <a:gd name="T66" fmla="*/ 51 w 71"/>
                <a:gd name="T67" fmla="*/ 61 h 61"/>
                <a:gd name="T68" fmla="*/ 53 w 71"/>
                <a:gd name="T69" fmla="*/ 58 h 61"/>
                <a:gd name="T70" fmla="*/ 51 w 71"/>
                <a:gd name="T71" fmla="*/ 56 h 61"/>
                <a:gd name="T72" fmla="*/ 51 w 71"/>
                <a:gd name="T73" fmla="*/ 50 h 61"/>
                <a:gd name="T74" fmla="*/ 53 w 71"/>
                <a:gd name="T75" fmla="*/ 48 h 61"/>
                <a:gd name="T76" fmla="*/ 56 w 71"/>
                <a:gd name="T77" fmla="*/ 45 h 61"/>
                <a:gd name="T78" fmla="*/ 58 w 71"/>
                <a:gd name="T79" fmla="*/ 43 h 61"/>
                <a:gd name="T80" fmla="*/ 61 w 71"/>
                <a:gd name="T81" fmla="*/ 43 h 61"/>
                <a:gd name="T82" fmla="*/ 58 w 71"/>
                <a:gd name="T83" fmla="*/ 40 h 61"/>
                <a:gd name="T84" fmla="*/ 61 w 71"/>
                <a:gd name="T85" fmla="*/ 38 h 61"/>
                <a:gd name="T86" fmla="*/ 63 w 71"/>
                <a:gd name="T87" fmla="*/ 38 h 61"/>
                <a:gd name="T88" fmla="*/ 66 w 71"/>
                <a:gd name="T89" fmla="*/ 38 h 61"/>
                <a:gd name="T90" fmla="*/ 69 w 71"/>
                <a:gd name="T91" fmla="*/ 38 h 61"/>
                <a:gd name="T92" fmla="*/ 69 w 71"/>
                <a:gd name="T93" fmla="*/ 35 h 61"/>
                <a:gd name="T94" fmla="*/ 63 w 71"/>
                <a:gd name="T95" fmla="*/ 3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1" h="61">
                  <a:moveTo>
                    <a:pt x="66" y="28"/>
                  </a:moveTo>
                  <a:lnTo>
                    <a:pt x="66" y="28"/>
                  </a:lnTo>
                  <a:lnTo>
                    <a:pt x="69" y="28"/>
                  </a:lnTo>
                  <a:lnTo>
                    <a:pt x="71" y="28"/>
                  </a:lnTo>
                  <a:lnTo>
                    <a:pt x="71" y="28"/>
                  </a:lnTo>
                  <a:lnTo>
                    <a:pt x="71" y="28"/>
                  </a:lnTo>
                  <a:lnTo>
                    <a:pt x="69" y="28"/>
                  </a:lnTo>
                  <a:lnTo>
                    <a:pt x="69" y="25"/>
                  </a:lnTo>
                  <a:lnTo>
                    <a:pt x="66" y="22"/>
                  </a:lnTo>
                  <a:lnTo>
                    <a:pt x="63" y="22"/>
                  </a:lnTo>
                  <a:lnTo>
                    <a:pt x="63" y="22"/>
                  </a:lnTo>
                  <a:lnTo>
                    <a:pt x="61" y="20"/>
                  </a:lnTo>
                  <a:lnTo>
                    <a:pt x="61" y="20"/>
                  </a:lnTo>
                  <a:lnTo>
                    <a:pt x="61" y="20"/>
                  </a:lnTo>
                  <a:lnTo>
                    <a:pt x="61" y="17"/>
                  </a:lnTo>
                  <a:lnTo>
                    <a:pt x="63" y="17"/>
                  </a:lnTo>
                  <a:lnTo>
                    <a:pt x="63" y="15"/>
                  </a:lnTo>
                  <a:lnTo>
                    <a:pt x="63" y="12"/>
                  </a:lnTo>
                  <a:lnTo>
                    <a:pt x="66" y="12"/>
                  </a:lnTo>
                  <a:lnTo>
                    <a:pt x="66" y="10"/>
                  </a:lnTo>
                  <a:lnTo>
                    <a:pt x="66" y="10"/>
                  </a:lnTo>
                  <a:lnTo>
                    <a:pt x="66" y="10"/>
                  </a:lnTo>
                  <a:lnTo>
                    <a:pt x="63" y="7"/>
                  </a:lnTo>
                  <a:lnTo>
                    <a:pt x="61" y="7"/>
                  </a:lnTo>
                  <a:lnTo>
                    <a:pt x="61" y="10"/>
                  </a:lnTo>
                  <a:lnTo>
                    <a:pt x="58" y="10"/>
                  </a:lnTo>
                  <a:lnTo>
                    <a:pt x="58" y="10"/>
                  </a:lnTo>
                  <a:lnTo>
                    <a:pt x="56" y="10"/>
                  </a:lnTo>
                  <a:lnTo>
                    <a:pt x="56" y="7"/>
                  </a:lnTo>
                  <a:lnTo>
                    <a:pt x="56" y="7"/>
                  </a:lnTo>
                  <a:lnTo>
                    <a:pt x="56" y="7"/>
                  </a:lnTo>
                  <a:lnTo>
                    <a:pt x="53" y="5"/>
                  </a:lnTo>
                  <a:lnTo>
                    <a:pt x="53" y="2"/>
                  </a:lnTo>
                  <a:lnTo>
                    <a:pt x="51" y="2"/>
                  </a:lnTo>
                  <a:lnTo>
                    <a:pt x="48" y="2"/>
                  </a:lnTo>
                  <a:lnTo>
                    <a:pt x="48" y="2"/>
                  </a:lnTo>
                  <a:lnTo>
                    <a:pt x="46" y="2"/>
                  </a:lnTo>
                  <a:lnTo>
                    <a:pt x="46" y="2"/>
                  </a:lnTo>
                  <a:lnTo>
                    <a:pt x="43" y="2"/>
                  </a:lnTo>
                  <a:lnTo>
                    <a:pt x="41" y="2"/>
                  </a:lnTo>
                  <a:lnTo>
                    <a:pt x="41" y="2"/>
                  </a:lnTo>
                  <a:lnTo>
                    <a:pt x="38" y="2"/>
                  </a:lnTo>
                  <a:lnTo>
                    <a:pt x="38" y="2"/>
                  </a:lnTo>
                  <a:lnTo>
                    <a:pt x="35" y="2"/>
                  </a:lnTo>
                  <a:lnTo>
                    <a:pt x="35" y="0"/>
                  </a:lnTo>
                  <a:lnTo>
                    <a:pt x="33" y="2"/>
                  </a:lnTo>
                  <a:lnTo>
                    <a:pt x="33" y="2"/>
                  </a:lnTo>
                  <a:lnTo>
                    <a:pt x="30" y="2"/>
                  </a:lnTo>
                  <a:lnTo>
                    <a:pt x="28" y="0"/>
                  </a:lnTo>
                  <a:lnTo>
                    <a:pt x="28" y="0"/>
                  </a:lnTo>
                  <a:lnTo>
                    <a:pt x="28" y="2"/>
                  </a:lnTo>
                  <a:lnTo>
                    <a:pt x="25" y="0"/>
                  </a:lnTo>
                  <a:lnTo>
                    <a:pt x="20" y="0"/>
                  </a:lnTo>
                  <a:lnTo>
                    <a:pt x="20" y="0"/>
                  </a:lnTo>
                  <a:lnTo>
                    <a:pt x="15" y="0"/>
                  </a:lnTo>
                  <a:lnTo>
                    <a:pt x="12" y="0"/>
                  </a:lnTo>
                  <a:lnTo>
                    <a:pt x="12" y="2"/>
                  </a:lnTo>
                  <a:lnTo>
                    <a:pt x="10" y="5"/>
                  </a:lnTo>
                  <a:lnTo>
                    <a:pt x="10" y="5"/>
                  </a:lnTo>
                  <a:lnTo>
                    <a:pt x="7" y="2"/>
                  </a:lnTo>
                  <a:lnTo>
                    <a:pt x="5" y="0"/>
                  </a:lnTo>
                  <a:lnTo>
                    <a:pt x="5" y="0"/>
                  </a:lnTo>
                  <a:lnTo>
                    <a:pt x="2" y="0"/>
                  </a:lnTo>
                  <a:lnTo>
                    <a:pt x="2" y="0"/>
                  </a:lnTo>
                  <a:lnTo>
                    <a:pt x="2" y="0"/>
                  </a:lnTo>
                  <a:lnTo>
                    <a:pt x="0" y="5"/>
                  </a:lnTo>
                  <a:lnTo>
                    <a:pt x="0" y="10"/>
                  </a:lnTo>
                  <a:lnTo>
                    <a:pt x="0" y="12"/>
                  </a:lnTo>
                  <a:lnTo>
                    <a:pt x="2" y="12"/>
                  </a:lnTo>
                  <a:lnTo>
                    <a:pt x="7" y="17"/>
                  </a:lnTo>
                  <a:lnTo>
                    <a:pt x="7" y="17"/>
                  </a:lnTo>
                  <a:lnTo>
                    <a:pt x="7" y="17"/>
                  </a:lnTo>
                  <a:lnTo>
                    <a:pt x="7" y="20"/>
                  </a:lnTo>
                  <a:lnTo>
                    <a:pt x="10" y="22"/>
                  </a:lnTo>
                  <a:lnTo>
                    <a:pt x="10" y="25"/>
                  </a:lnTo>
                  <a:lnTo>
                    <a:pt x="12" y="28"/>
                  </a:lnTo>
                  <a:lnTo>
                    <a:pt x="15" y="28"/>
                  </a:lnTo>
                  <a:lnTo>
                    <a:pt x="18" y="30"/>
                  </a:lnTo>
                  <a:lnTo>
                    <a:pt x="18" y="33"/>
                  </a:lnTo>
                  <a:lnTo>
                    <a:pt x="18" y="33"/>
                  </a:lnTo>
                  <a:lnTo>
                    <a:pt x="23" y="35"/>
                  </a:lnTo>
                  <a:lnTo>
                    <a:pt x="25" y="38"/>
                  </a:lnTo>
                  <a:lnTo>
                    <a:pt x="28" y="40"/>
                  </a:lnTo>
                  <a:lnTo>
                    <a:pt x="28" y="40"/>
                  </a:lnTo>
                  <a:lnTo>
                    <a:pt x="30" y="43"/>
                  </a:lnTo>
                  <a:lnTo>
                    <a:pt x="30" y="43"/>
                  </a:lnTo>
                  <a:lnTo>
                    <a:pt x="30" y="45"/>
                  </a:lnTo>
                  <a:lnTo>
                    <a:pt x="35" y="50"/>
                  </a:lnTo>
                  <a:lnTo>
                    <a:pt x="35" y="50"/>
                  </a:lnTo>
                  <a:lnTo>
                    <a:pt x="35" y="50"/>
                  </a:lnTo>
                  <a:lnTo>
                    <a:pt x="35" y="50"/>
                  </a:lnTo>
                  <a:lnTo>
                    <a:pt x="35" y="50"/>
                  </a:lnTo>
                  <a:lnTo>
                    <a:pt x="35" y="53"/>
                  </a:lnTo>
                  <a:lnTo>
                    <a:pt x="38" y="53"/>
                  </a:lnTo>
                  <a:lnTo>
                    <a:pt x="38" y="53"/>
                  </a:lnTo>
                  <a:lnTo>
                    <a:pt x="41" y="53"/>
                  </a:lnTo>
                  <a:lnTo>
                    <a:pt x="41" y="56"/>
                  </a:lnTo>
                  <a:lnTo>
                    <a:pt x="43" y="56"/>
                  </a:lnTo>
                  <a:lnTo>
                    <a:pt x="46" y="58"/>
                  </a:lnTo>
                  <a:lnTo>
                    <a:pt x="48" y="58"/>
                  </a:lnTo>
                  <a:lnTo>
                    <a:pt x="48" y="58"/>
                  </a:lnTo>
                  <a:lnTo>
                    <a:pt x="51" y="61"/>
                  </a:lnTo>
                  <a:lnTo>
                    <a:pt x="51" y="61"/>
                  </a:lnTo>
                  <a:lnTo>
                    <a:pt x="51" y="61"/>
                  </a:lnTo>
                  <a:lnTo>
                    <a:pt x="53" y="58"/>
                  </a:lnTo>
                  <a:lnTo>
                    <a:pt x="53" y="58"/>
                  </a:lnTo>
                  <a:lnTo>
                    <a:pt x="53" y="58"/>
                  </a:lnTo>
                  <a:lnTo>
                    <a:pt x="51" y="56"/>
                  </a:lnTo>
                  <a:lnTo>
                    <a:pt x="51" y="53"/>
                  </a:lnTo>
                  <a:lnTo>
                    <a:pt x="51" y="50"/>
                  </a:lnTo>
                  <a:lnTo>
                    <a:pt x="51" y="50"/>
                  </a:lnTo>
                  <a:lnTo>
                    <a:pt x="51" y="50"/>
                  </a:lnTo>
                  <a:lnTo>
                    <a:pt x="53" y="50"/>
                  </a:lnTo>
                  <a:lnTo>
                    <a:pt x="53" y="48"/>
                  </a:lnTo>
                  <a:lnTo>
                    <a:pt x="53" y="48"/>
                  </a:lnTo>
                  <a:lnTo>
                    <a:pt x="53" y="45"/>
                  </a:lnTo>
                  <a:lnTo>
                    <a:pt x="56" y="45"/>
                  </a:lnTo>
                  <a:lnTo>
                    <a:pt x="56" y="43"/>
                  </a:lnTo>
                  <a:lnTo>
                    <a:pt x="58" y="43"/>
                  </a:lnTo>
                  <a:lnTo>
                    <a:pt x="58" y="43"/>
                  </a:lnTo>
                  <a:lnTo>
                    <a:pt x="58" y="43"/>
                  </a:lnTo>
                  <a:lnTo>
                    <a:pt x="61" y="43"/>
                  </a:lnTo>
                  <a:lnTo>
                    <a:pt x="61" y="43"/>
                  </a:lnTo>
                  <a:lnTo>
                    <a:pt x="61" y="43"/>
                  </a:lnTo>
                  <a:lnTo>
                    <a:pt x="61" y="40"/>
                  </a:lnTo>
                  <a:lnTo>
                    <a:pt x="58" y="40"/>
                  </a:lnTo>
                  <a:lnTo>
                    <a:pt x="58" y="38"/>
                  </a:lnTo>
                  <a:lnTo>
                    <a:pt x="61" y="38"/>
                  </a:lnTo>
                  <a:lnTo>
                    <a:pt x="61" y="38"/>
                  </a:lnTo>
                  <a:lnTo>
                    <a:pt x="61" y="38"/>
                  </a:lnTo>
                  <a:lnTo>
                    <a:pt x="63" y="38"/>
                  </a:lnTo>
                  <a:lnTo>
                    <a:pt x="63" y="38"/>
                  </a:lnTo>
                  <a:lnTo>
                    <a:pt x="63" y="38"/>
                  </a:lnTo>
                  <a:lnTo>
                    <a:pt x="66" y="38"/>
                  </a:lnTo>
                  <a:lnTo>
                    <a:pt x="66" y="38"/>
                  </a:lnTo>
                  <a:lnTo>
                    <a:pt x="66" y="38"/>
                  </a:lnTo>
                  <a:lnTo>
                    <a:pt x="69" y="38"/>
                  </a:lnTo>
                  <a:lnTo>
                    <a:pt x="69" y="38"/>
                  </a:lnTo>
                  <a:lnTo>
                    <a:pt x="69" y="38"/>
                  </a:lnTo>
                  <a:lnTo>
                    <a:pt x="69" y="35"/>
                  </a:lnTo>
                  <a:lnTo>
                    <a:pt x="69" y="35"/>
                  </a:lnTo>
                  <a:lnTo>
                    <a:pt x="66" y="33"/>
                  </a:lnTo>
                  <a:lnTo>
                    <a:pt x="63" y="30"/>
                  </a:lnTo>
                  <a:lnTo>
                    <a:pt x="63" y="30"/>
                  </a:lnTo>
                  <a:lnTo>
                    <a:pt x="66" y="28"/>
                  </a:lnTo>
                  <a:lnTo>
                    <a:pt x="66" y="28"/>
                  </a:lnTo>
                  <a:close/>
                </a:path>
              </a:pathLst>
            </a:custGeom>
            <a:solidFill>
              <a:schemeClr val="bg2">
                <a:lumMod val="60000"/>
                <a:lumOff val="40000"/>
              </a:schemeClr>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361" name="Freeform 1980">
              <a:extLst>
                <a:ext uri="{FF2B5EF4-FFF2-40B4-BE49-F238E27FC236}">
                  <a16:creationId xmlns:a16="http://schemas.microsoft.com/office/drawing/2014/main" id="{26C6E0B5-F24C-A044-8826-56EFABC711D6}"/>
                </a:ext>
              </a:extLst>
            </p:cNvPr>
            <p:cNvSpPr>
              <a:spLocks/>
            </p:cNvSpPr>
            <p:nvPr/>
          </p:nvSpPr>
          <p:spPr bwMode="auto">
            <a:xfrm>
              <a:off x="3377454" y="3343124"/>
              <a:ext cx="4908" cy="13086"/>
            </a:xfrm>
            <a:custGeom>
              <a:avLst/>
              <a:gdLst>
                <a:gd name="T0" fmla="*/ 3 w 3"/>
                <a:gd name="T1" fmla="*/ 3 h 8"/>
                <a:gd name="T2" fmla="*/ 0 w 3"/>
                <a:gd name="T3" fmla="*/ 0 h 8"/>
                <a:gd name="T4" fmla="*/ 0 w 3"/>
                <a:gd name="T5" fmla="*/ 3 h 8"/>
                <a:gd name="T6" fmla="*/ 0 w 3"/>
                <a:gd name="T7" fmla="*/ 3 h 8"/>
                <a:gd name="T8" fmla="*/ 0 w 3"/>
                <a:gd name="T9" fmla="*/ 3 h 8"/>
                <a:gd name="T10" fmla="*/ 0 w 3"/>
                <a:gd name="T11" fmla="*/ 3 h 8"/>
                <a:gd name="T12" fmla="*/ 0 w 3"/>
                <a:gd name="T13" fmla="*/ 5 h 8"/>
                <a:gd name="T14" fmla="*/ 3 w 3"/>
                <a:gd name="T15" fmla="*/ 8 h 8"/>
                <a:gd name="T16" fmla="*/ 3 w 3"/>
                <a:gd name="T17" fmla="*/ 5 h 8"/>
                <a:gd name="T18" fmla="*/ 3 w 3"/>
                <a:gd name="T19"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8">
                  <a:moveTo>
                    <a:pt x="3" y="3"/>
                  </a:moveTo>
                  <a:lnTo>
                    <a:pt x="0" y="0"/>
                  </a:lnTo>
                  <a:lnTo>
                    <a:pt x="0" y="3"/>
                  </a:lnTo>
                  <a:lnTo>
                    <a:pt x="0" y="3"/>
                  </a:lnTo>
                  <a:lnTo>
                    <a:pt x="0" y="3"/>
                  </a:lnTo>
                  <a:lnTo>
                    <a:pt x="0" y="3"/>
                  </a:lnTo>
                  <a:lnTo>
                    <a:pt x="0" y="5"/>
                  </a:lnTo>
                  <a:lnTo>
                    <a:pt x="3" y="8"/>
                  </a:lnTo>
                  <a:lnTo>
                    <a:pt x="3" y="5"/>
                  </a:lnTo>
                  <a:lnTo>
                    <a:pt x="3" y="3"/>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362" name="Freeform 1981">
              <a:extLst>
                <a:ext uri="{FF2B5EF4-FFF2-40B4-BE49-F238E27FC236}">
                  <a16:creationId xmlns:a16="http://schemas.microsoft.com/office/drawing/2014/main" id="{8FE290B1-6469-324C-827A-5C1800330BC2}"/>
                </a:ext>
              </a:extLst>
            </p:cNvPr>
            <p:cNvSpPr>
              <a:spLocks/>
            </p:cNvSpPr>
            <p:nvPr/>
          </p:nvSpPr>
          <p:spPr bwMode="auto">
            <a:xfrm>
              <a:off x="3331654" y="4162627"/>
              <a:ext cx="417113" cy="487449"/>
            </a:xfrm>
            <a:custGeom>
              <a:avLst/>
              <a:gdLst>
                <a:gd name="T0" fmla="*/ 248 w 255"/>
                <a:gd name="T1" fmla="*/ 178 h 298"/>
                <a:gd name="T2" fmla="*/ 232 w 255"/>
                <a:gd name="T3" fmla="*/ 158 h 298"/>
                <a:gd name="T4" fmla="*/ 235 w 255"/>
                <a:gd name="T5" fmla="*/ 151 h 298"/>
                <a:gd name="T6" fmla="*/ 199 w 255"/>
                <a:gd name="T7" fmla="*/ 145 h 298"/>
                <a:gd name="T8" fmla="*/ 192 w 255"/>
                <a:gd name="T9" fmla="*/ 123 h 298"/>
                <a:gd name="T10" fmla="*/ 189 w 255"/>
                <a:gd name="T11" fmla="*/ 102 h 298"/>
                <a:gd name="T12" fmla="*/ 186 w 255"/>
                <a:gd name="T13" fmla="*/ 92 h 298"/>
                <a:gd name="T14" fmla="*/ 166 w 255"/>
                <a:gd name="T15" fmla="*/ 87 h 298"/>
                <a:gd name="T16" fmla="*/ 151 w 255"/>
                <a:gd name="T17" fmla="*/ 77 h 298"/>
                <a:gd name="T18" fmla="*/ 135 w 255"/>
                <a:gd name="T19" fmla="*/ 69 h 298"/>
                <a:gd name="T20" fmla="*/ 125 w 255"/>
                <a:gd name="T21" fmla="*/ 67 h 298"/>
                <a:gd name="T22" fmla="*/ 110 w 255"/>
                <a:gd name="T23" fmla="*/ 61 h 298"/>
                <a:gd name="T24" fmla="*/ 97 w 255"/>
                <a:gd name="T25" fmla="*/ 51 h 298"/>
                <a:gd name="T26" fmla="*/ 92 w 255"/>
                <a:gd name="T27" fmla="*/ 46 h 298"/>
                <a:gd name="T28" fmla="*/ 90 w 255"/>
                <a:gd name="T29" fmla="*/ 41 h 298"/>
                <a:gd name="T30" fmla="*/ 87 w 255"/>
                <a:gd name="T31" fmla="*/ 31 h 298"/>
                <a:gd name="T32" fmla="*/ 85 w 255"/>
                <a:gd name="T33" fmla="*/ 16 h 298"/>
                <a:gd name="T34" fmla="*/ 85 w 255"/>
                <a:gd name="T35" fmla="*/ 0 h 298"/>
                <a:gd name="T36" fmla="*/ 67 w 255"/>
                <a:gd name="T37" fmla="*/ 3 h 298"/>
                <a:gd name="T38" fmla="*/ 46 w 255"/>
                <a:gd name="T39" fmla="*/ 13 h 298"/>
                <a:gd name="T40" fmla="*/ 36 w 255"/>
                <a:gd name="T41" fmla="*/ 21 h 298"/>
                <a:gd name="T42" fmla="*/ 23 w 255"/>
                <a:gd name="T43" fmla="*/ 31 h 298"/>
                <a:gd name="T44" fmla="*/ 13 w 255"/>
                <a:gd name="T45" fmla="*/ 28 h 298"/>
                <a:gd name="T46" fmla="*/ 11 w 255"/>
                <a:gd name="T47" fmla="*/ 44 h 298"/>
                <a:gd name="T48" fmla="*/ 21 w 255"/>
                <a:gd name="T49" fmla="*/ 67 h 298"/>
                <a:gd name="T50" fmla="*/ 18 w 255"/>
                <a:gd name="T51" fmla="*/ 87 h 298"/>
                <a:gd name="T52" fmla="*/ 21 w 255"/>
                <a:gd name="T53" fmla="*/ 100 h 298"/>
                <a:gd name="T54" fmla="*/ 18 w 255"/>
                <a:gd name="T55" fmla="*/ 107 h 298"/>
                <a:gd name="T56" fmla="*/ 13 w 255"/>
                <a:gd name="T57" fmla="*/ 117 h 298"/>
                <a:gd name="T58" fmla="*/ 13 w 255"/>
                <a:gd name="T59" fmla="*/ 133 h 298"/>
                <a:gd name="T60" fmla="*/ 26 w 255"/>
                <a:gd name="T61" fmla="*/ 148 h 298"/>
                <a:gd name="T62" fmla="*/ 23 w 255"/>
                <a:gd name="T63" fmla="*/ 156 h 298"/>
                <a:gd name="T64" fmla="*/ 18 w 255"/>
                <a:gd name="T65" fmla="*/ 166 h 298"/>
                <a:gd name="T66" fmla="*/ 16 w 255"/>
                <a:gd name="T67" fmla="*/ 173 h 298"/>
                <a:gd name="T68" fmla="*/ 23 w 255"/>
                <a:gd name="T69" fmla="*/ 186 h 298"/>
                <a:gd name="T70" fmla="*/ 26 w 255"/>
                <a:gd name="T71" fmla="*/ 196 h 298"/>
                <a:gd name="T72" fmla="*/ 31 w 255"/>
                <a:gd name="T73" fmla="*/ 212 h 298"/>
                <a:gd name="T74" fmla="*/ 41 w 255"/>
                <a:gd name="T75" fmla="*/ 219 h 298"/>
                <a:gd name="T76" fmla="*/ 41 w 255"/>
                <a:gd name="T77" fmla="*/ 232 h 298"/>
                <a:gd name="T78" fmla="*/ 39 w 255"/>
                <a:gd name="T79" fmla="*/ 240 h 298"/>
                <a:gd name="T80" fmla="*/ 44 w 255"/>
                <a:gd name="T81" fmla="*/ 247 h 298"/>
                <a:gd name="T82" fmla="*/ 44 w 255"/>
                <a:gd name="T83" fmla="*/ 255 h 298"/>
                <a:gd name="T84" fmla="*/ 56 w 255"/>
                <a:gd name="T85" fmla="*/ 275 h 298"/>
                <a:gd name="T86" fmla="*/ 62 w 255"/>
                <a:gd name="T87" fmla="*/ 293 h 298"/>
                <a:gd name="T88" fmla="*/ 69 w 255"/>
                <a:gd name="T89" fmla="*/ 298 h 298"/>
                <a:gd name="T90" fmla="*/ 82 w 255"/>
                <a:gd name="T91" fmla="*/ 288 h 298"/>
                <a:gd name="T92" fmla="*/ 92 w 255"/>
                <a:gd name="T93" fmla="*/ 280 h 298"/>
                <a:gd name="T94" fmla="*/ 100 w 255"/>
                <a:gd name="T95" fmla="*/ 280 h 298"/>
                <a:gd name="T96" fmla="*/ 120 w 255"/>
                <a:gd name="T97" fmla="*/ 283 h 298"/>
                <a:gd name="T98" fmla="*/ 133 w 255"/>
                <a:gd name="T99" fmla="*/ 296 h 298"/>
                <a:gd name="T100" fmla="*/ 138 w 255"/>
                <a:gd name="T101" fmla="*/ 280 h 298"/>
                <a:gd name="T102" fmla="*/ 161 w 255"/>
                <a:gd name="T103" fmla="*/ 278 h 298"/>
                <a:gd name="T104" fmla="*/ 166 w 255"/>
                <a:gd name="T105" fmla="*/ 278 h 298"/>
                <a:gd name="T106" fmla="*/ 171 w 255"/>
                <a:gd name="T107" fmla="*/ 237 h 298"/>
                <a:gd name="T108" fmla="*/ 199 w 255"/>
                <a:gd name="T109" fmla="*/ 219 h 298"/>
                <a:gd name="T110" fmla="*/ 248 w 255"/>
                <a:gd name="T111" fmla="*/ 229 h 298"/>
                <a:gd name="T112" fmla="*/ 253 w 255"/>
                <a:gd name="T113" fmla="*/ 234 h 298"/>
                <a:gd name="T114" fmla="*/ 253 w 255"/>
                <a:gd name="T115" fmla="*/ 212 h 298"/>
                <a:gd name="T116" fmla="*/ 253 w 255"/>
                <a:gd name="T117" fmla="*/ 199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55" h="298">
                  <a:moveTo>
                    <a:pt x="255" y="191"/>
                  </a:moveTo>
                  <a:lnTo>
                    <a:pt x="255" y="191"/>
                  </a:lnTo>
                  <a:lnTo>
                    <a:pt x="253" y="186"/>
                  </a:lnTo>
                  <a:lnTo>
                    <a:pt x="250" y="181"/>
                  </a:lnTo>
                  <a:lnTo>
                    <a:pt x="250" y="178"/>
                  </a:lnTo>
                  <a:lnTo>
                    <a:pt x="248" y="176"/>
                  </a:lnTo>
                  <a:lnTo>
                    <a:pt x="248" y="178"/>
                  </a:lnTo>
                  <a:lnTo>
                    <a:pt x="245" y="176"/>
                  </a:lnTo>
                  <a:lnTo>
                    <a:pt x="240" y="173"/>
                  </a:lnTo>
                  <a:lnTo>
                    <a:pt x="237" y="171"/>
                  </a:lnTo>
                  <a:lnTo>
                    <a:pt x="237" y="171"/>
                  </a:lnTo>
                  <a:lnTo>
                    <a:pt x="235" y="168"/>
                  </a:lnTo>
                  <a:lnTo>
                    <a:pt x="235" y="163"/>
                  </a:lnTo>
                  <a:lnTo>
                    <a:pt x="232" y="158"/>
                  </a:lnTo>
                  <a:lnTo>
                    <a:pt x="232" y="158"/>
                  </a:lnTo>
                  <a:lnTo>
                    <a:pt x="235" y="153"/>
                  </a:lnTo>
                  <a:lnTo>
                    <a:pt x="235" y="153"/>
                  </a:lnTo>
                  <a:lnTo>
                    <a:pt x="235" y="151"/>
                  </a:lnTo>
                  <a:lnTo>
                    <a:pt x="235" y="148"/>
                  </a:lnTo>
                  <a:lnTo>
                    <a:pt x="235" y="148"/>
                  </a:lnTo>
                  <a:lnTo>
                    <a:pt x="235" y="151"/>
                  </a:lnTo>
                  <a:lnTo>
                    <a:pt x="232" y="151"/>
                  </a:lnTo>
                  <a:lnTo>
                    <a:pt x="232" y="151"/>
                  </a:lnTo>
                  <a:lnTo>
                    <a:pt x="222" y="151"/>
                  </a:lnTo>
                  <a:lnTo>
                    <a:pt x="215" y="151"/>
                  </a:lnTo>
                  <a:lnTo>
                    <a:pt x="207" y="148"/>
                  </a:lnTo>
                  <a:lnTo>
                    <a:pt x="199" y="148"/>
                  </a:lnTo>
                  <a:lnTo>
                    <a:pt x="199" y="145"/>
                  </a:lnTo>
                  <a:lnTo>
                    <a:pt x="197" y="140"/>
                  </a:lnTo>
                  <a:lnTo>
                    <a:pt x="197" y="138"/>
                  </a:lnTo>
                  <a:lnTo>
                    <a:pt x="197" y="130"/>
                  </a:lnTo>
                  <a:lnTo>
                    <a:pt x="192" y="128"/>
                  </a:lnTo>
                  <a:lnTo>
                    <a:pt x="189" y="123"/>
                  </a:lnTo>
                  <a:lnTo>
                    <a:pt x="189" y="123"/>
                  </a:lnTo>
                  <a:lnTo>
                    <a:pt x="192" y="123"/>
                  </a:lnTo>
                  <a:lnTo>
                    <a:pt x="194" y="123"/>
                  </a:lnTo>
                  <a:lnTo>
                    <a:pt x="194" y="112"/>
                  </a:lnTo>
                  <a:lnTo>
                    <a:pt x="192" y="110"/>
                  </a:lnTo>
                  <a:lnTo>
                    <a:pt x="192" y="107"/>
                  </a:lnTo>
                  <a:lnTo>
                    <a:pt x="192" y="105"/>
                  </a:lnTo>
                  <a:lnTo>
                    <a:pt x="189" y="102"/>
                  </a:lnTo>
                  <a:lnTo>
                    <a:pt x="189" y="102"/>
                  </a:lnTo>
                  <a:lnTo>
                    <a:pt x="189" y="100"/>
                  </a:lnTo>
                  <a:lnTo>
                    <a:pt x="189" y="100"/>
                  </a:lnTo>
                  <a:lnTo>
                    <a:pt x="189" y="97"/>
                  </a:lnTo>
                  <a:lnTo>
                    <a:pt x="189" y="95"/>
                  </a:lnTo>
                  <a:lnTo>
                    <a:pt x="189" y="95"/>
                  </a:lnTo>
                  <a:lnTo>
                    <a:pt x="186" y="92"/>
                  </a:lnTo>
                  <a:lnTo>
                    <a:pt x="186" y="92"/>
                  </a:lnTo>
                  <a:lnTo>
                    <a:pt x="184" y="89"/>
                  </a:lnTo>
                  <a:lnTo>
                    <a:pt x="179" y="87"/>
                  </a:lnTo>
                  <a:lnTo>
                    <a:pt x="176" y="84"/>
                  </a:lnTo>
                  <a:lnTo>
                    <a:pt x="174" y="87"/>
                  </a:lnTo>
                  <a:lnTo>
                    <a:pt x="169" y="87"/>
                  </a:lnTo>
                  <a:lnTo>
                    <a:pt x="166" y="87"/>
                  </a:lnTo>
                  <a:lnTo>
                    <a:pt x="166" y="87"/>
                  </a:lnTo>
                  <a:lnTo>
                    <a:pt x="161" y="87"/>
                  </a:lnTo>
                  <a:lnTo>
                    <a:pt x="158" y="84"/>
                  </a:lnTo>
                  <a:lnTo>
                    <a:pt x="158" y="84"/>
                  </a:lnTo>
                  <a:lnTo>
                    <a:pt x="156" y="79"/>
                  </a:lnTo>
                  <a:lnTo>
                    <a:pt x="153" y="79"/>
                  </a:lnTo>
                  <a:lnTo>
                    <a:pt x="153" y="77"/>
                  </a:lnTo>
                  <a:lnTo>
                    <a:pt x="151" y="77"/>
                  </a:lnTo>
                  <a:lnTo>
                    <a:pt x="148" y="77"/>
                  </a:lnTo>
                  <a:lnTo>
                    <a:pt x="146" y="77"/>
                  </a:lnTo>
                  <a:lnTo>
                    <a:pt x="143" y="74"/>
                  </a:lnTo>
                  <a:lnTo>
                    <a:pt x="141" y="74"/>
                  </a:lnTo>
                  <a:lnTo>
                    <a:pt x="141" y="74"/>
                  </a:lnTo>
                  <a:lnTo>
                    <a:pt x="138" y="72"/>
                  </a:lnTo>
                  <a:lnTo>
                    <a:pt x="135" y="69"/>
                  </a:lnTo>
                  <a:lnTo>
                    <a:pt x="135" y="69"/>
                  </a:lnTo>
                  <a:lnTo>
                    <a:pt x="135" y="67"/>
                  </a:lnTo>
                  <a:lnTo>
                    <a:pt x="133" y="67"/>
                  </a:lnTo>
                  <a:lnTo>
                    <a:pt x="133" y="67"/>
                  </a:lnTo>
                  <a:lnTo>
                    <a:pt x="130" y="67"/>
                  </a:lnTo>
                  <a:lnTo>
                    <a:pt x="128" y="67"/>
                  </a:lnTo>
                  <a:lnTo>
                    <a:pt x="125" y="67"/>
                  </a:lnTo>
                  <a:lnTo>
                    <a:pt x="125" y="64"/>
                  </a:lnTo>
                  <a:lnTo>
                    <a:pt x="123" y="64"/>
                  </a:lnTo>
                  <a:lnTo>
                    <a:pt x="123" y="61"/>
                  </a:lnTo>
                  <a:lnTo>
                    <a:pt x="120" y="61"/>
                  </a:lnTo>
                  <a:lnTo>
                    <a:pt x="118" y="64"/>
                  </a:lnTo>
                  <a:lnTo>
                    <a:pt x="115" y="64"/>
                  </a:lnTo>
                  <a:lnTo>
                    <a:pt x="110" y="61"/>
                  </a:lnTo>
                  <a:lnTo>
                    <a:pt x="107" y="61"/>
                  </a:lnTo>
                  <a:lnTo>
                    <a:pt x="105" y="59"/>
                  </a:lnTo>
                  <a:lnTo>
                    <a:pt x="105" y="56"/>
                  </a:lnTo>
                  <a:lnTo>
                    <a:pt x="102" y="56"/>
                  </a:lnTo>
                  <a:lnTo>
                    <a:pt x="102" y="54"/>
                  </a:lnTo>
                  <a:lnTo>
                    <a:pt x="100" y="54"/>
                  </a:lnTo>
                  <a:lnTo>
                    <a:pt x="97" y="51"/>
                  </a:lnTo>
                  <a:lnTo>
                    <a:pt x="97" y="51"/>
                  </a:lnTo>
                  <a:lnTo>
                    <a:pt x="95" y="51"/>
                  </a:lnTo>
                  <a:lnTo>
                    <a:pt x="95" y="49"/>
                  </a:lnTo>
                  <a:lnTo>
                    <a:pt x="95" y="49"/>
                  </a:lnTo>
                  <a:lnTo>
                    <a:pt x="95" y="49"/>
                  </a:lnTo>
                  <a:lnTo>
                    <a:pt x="92" y="46"/>
                  </a:lnTo>
                  <a:lnTo>
                    <a:pt x="92" y="46"/>
                  </a:lnTo>
                  <a:lnTo>
                    <a:pt x="92" y="46"/>
                  </a:lnTo>
                  <a:lnTo>
                    <a:pt x="92" y="46"/>
                  </a:lnTo>
                  <a:lnTo>
                    <a:pt x="90" y="46"/>
                  </a:lnTo>
                  <a:lnTo>
                    <a:pt x="90" y="46"/>
                  </a:lnTo>
                  <a:lnTo>
                    <a:pt x="90" y="44"/>
                  </a:lnTo>
                  <a:lnTo>
                    <a:pt x="90" y="41"/>
                  </a:lnTo>
                  <a:lnTo>
                    <a:pt x="90" y="41"/>
                  </a:lnTo>
                  <a:lnTo>
                    <a:pt x="87" y="39"/>
                  </a:lnTo>
                  <a:lnTo>
                    <a:pt x="87" y="36"/>
                  </a:lnTo>
                  <a:lnTo>
                    <a:pt x="87" y="36"/>
                  </a:lnTo>
                  <a:lnTo>
                    <a:pt x="87" y="36"/>
                  </a:lnTo>
                  <a:lnTo>
                    <a:pt x="87" y="33"/>
                  </a:lnTo>
                  <a:lnTo>
                    <a:pt x="85" y="33"/>
                  </a:lnTo>
                  <a:lnTo>
                    <a:pt x="87" y="31"/>
                  </a:lnTo>
                  <a:lnTo>
                    <a:pt x="87" y="28"/>
                  </a:lnTo>
                  <a:lnTo>
                    <a:pt x="87" y="26"/>
                  </a:lnTo>
                  <a:lnTo>
                    <a:pt x="85" y="23"/>
                  </a:lnTo>
                  <a:lnTo>
                    <a:pt x="85" y="21"/>
                  </a:lnTo>
                  <a:lnTo>
                    <a:pt x="85" y="18"/>
                  </a:lnTo>
                  <a:lnTo>
                    <a:pt x="85" y="16"/>
                  </a:lnTo>
                  <a:lnTo>
                    <a:pt x="85" y="16"/>
                  </a:lnTo>
                  <a:lnTo>
                    <a:pt x="87" y="13"/>
                  </a:lnTo>
                  <a:lnTo>
                    <a:pt x="87" y="11"/>
                  </a:lnTo>
                  <a:lnTo>
                    <a:pt x="85" y="8"/>
                  </a:lnTo>
                  <a:lnTo>
                    <a:pt x="85" y="5"/>
                  </a:lnTo>
                  <a:lnTo>
                    <a:pt x="85" y="3"/>
                  </a:lnTo>
                  <a:lnTo>
                    <a:pt x="85" y="0"/>
                  </a:lnTo>
                  <a:lnTo>
                    <a:pt x="85" y="0"/>
                  </a:lnTo>
                  <a:lnTo>
                    <a:pt x="82" y="0"/>
                  </a:lnTo>
                  <a:lnTo>
                    <a:pt x="82" y="0"/>
                  </a:lnTo>
                  <a:lnTo>
                    <a:pt x="79" y="3"/>
                  </a:lnTo>
                  <a:lnTo>
                    <a:pt x="79" y="3"/>
                  </a:lnTo>
                  <a:lnTo>
                    <a:pt x="77" y="0"/>
                  </a:lnTo>
                  <a:lnTo>
                    <a:pt x="74" y="0"/>
                  </a:lnTo>
                  <a:lnTo>
                    <a:pt x="67" y="3"/>
                  </a:lnTo>
                  <a:lnTo>
                    <a:pt x="64" y="3"/>
                  </a:lnTo>
                  <a:lnTo>
                    <a:pt x="62" y="3"/>
                  </a:lnTo>
                  <a:lnTo>
                    <a:pt x="59" y="3"/>
                  </a:lnTo>
                  <a:lnTo>
                    <a:pt x="56" y="5"/>
                  </a:lnTo>
                  <a:lnTo>
                    <a:pt x="49" y="13"/>
                  </a:lnTo>
                  <a:lnTo>
                    <a:pt x="49" y="13"/>
                  </a:lnTo>
                  <a:lnTo>
                    <a:pt x="46" y="13"/>
                  </a:lnTo>
                  <a:lnTo>
                    <a:pt x="46" y="16"/>
                  </a:lnTo>
                  <a:lnTo>
                    <a:pt x="44" y="16"/>
                  </a:lnTo>
                  <a:lnTo>
                    <a:pt x="41" y="18"/>
                  </a:lnTo>
                  <a:lnTo>
                    <a:pt x="39" y="21"/>
                  </a:lnTo>
                  <a:lnTo>
                    <a:pt x="39" y="21"/>
                  </a:lnTo>
                  <a:lnTo>
                    <a:pt x="36" y="21"/>
                  </a:lnTo>
                  <a:lnTo>
                    <a:pt x="36" y="21"/>
                  </a:lnTo>
                  <a:lnTo>
                    <a:pt x="34" y="21"/>
                  </a:lnTo>
                  <a:lnTo>
                    <a:pt x="31" y="23"/>
                  </a:lnTo>
                  <a:lnTo>
                    <a:pt x="31" y="23"/>
                  </a:lnTo>
                  <a:lnTo>
                    <a:pt x="28" y="28"/>
                  </a:lnTo>
                  <a:lnTo>
                    <a:pt x="26" y="28"/>
                  </a:lnTo>
                  <a:lnTo>
                    <a:pt x="26" y="28"/>
                  </a:lnTo>
                  <a:lnTo>
                    <a:pt x="23" y="31"/>
                  </a:lnTo>
                  <a:lnTo>
                    <a:pt x="21" y="31"/>
                  </a:lnTo>
                  <a:lnTo>
                    <a:pt x="21" y="31"/>
                  </a:lnTo>
                  <a:lnTo>
                    <a:pt x="18" y="31"/>
                  </a:lnTo>
                  <a:lnTo>
                    <a:pt x="18" y="31"/>
                  </a:lnTo>
                  <a:lnTo>
                    <a:pt x="18" y="31"/>
                  </a:lnTo>
                  <a:lnTo>
                    <a:pt x="16" y="28"/>
                  </a:lnTo>
                  <a:lnTo>
                    <a:pt x="13" y="28"/>
                  </a:lnTo>
                  <a:lnTo>
                    <a:pt x="8" y="28"/>
                  </a:lnTo>
                  <a:lnTo>
                    <a:pt x="3" y="28"/>
                  </a:lnTo>
                  <a:lnTo>
                    <a:pt x="0" y="28"/>
                  </a:lnTo>
                  <a:lnTo>
                    <a:pt x="6" y="33"/>
                  </a:lnTo>
                  <a:lnTo>
                    <a:pt x="6" y="36"/>
                  </a:lnTo>
                  <a:lnTo>
                    <a:pt x="8" y="41"/>
                  </a:lnTo>
                  <a:lnTo>
                    <a:pt x="11" y="44"/>
                  </a:lnTo>
                  <a:lnTo>
                    <a:pt x="13" y="49"/>
                  </a:lnTo>
                  <a:lnTo>
                    <a:pt x="16" y="54"/>
                  </a:lnTo>
                  <a:lnTo>
                    <a:pt x="18" y="59"/>
                  </a:lnTo>
                  <a:lnTo>
                    <a:pt x="21" y="64"/>
                  </a:lnTo>
                  <a:lnTo>
                    <a:pt x="21" y="64"/>
                  </a:lnTo>
                  <a:lnTo>
                    <a:pt x="21" y="67"/>
                  </a:lnTo>
                  <a:lnTo>
                    <a:pt x="21" y="67"/>
                  </a:lnTo>
                  <a:lnTo>
                    <a:pt x="21" y="69"/>
                  </a:lnTo>
                  <a:lnTo>
                    <a:pt x="18" y="69"/>
                  </a:lnTo>
                  <a:lnTo>
                    <a:pt x="18" y="72"/>
                  </a:lnTo>
                  <a:lnTo>
                    <a:pt x="16" y="72"/>
                  </a:lnTo>
                  <a:lnTo>
                    <a:pt x="16" y="74"/>
                  </a:lnTo>
                  <a:lnTo>
                    <a:pt x="18" y="84"/>
                  </a:lnTo>
                  <a:lnTo>
                    <a:pt x="18" y="87"/>
                  </a:lnTo>
                  <a:lnTo>
                    <a:pt x="18" y="87"/>
                  </a:lnTo>
                  <a:lnTo>
                    <a:pt x="16" y="89"/>
                  </a:lnTo>
                  <a:lnTo>
                    <a:pt x="16" y="89"/>
                  </a:lnTo>
                  <a:lnTo>
                    <a:pt x="18" y="92"/>
                  </a:lnTo>
                  <a:lnTo>
                    <a:pt x="18" y="97"/>
                  </a:lnTo>
                  <a:lnTo>
                    <a:pt x="21" y="97"/>
                  </a:lnTo>
                  <a:lnTo>
                    <a:pt x="21" y="100"/>
                  </a:lnTo>
                  <a:lnTo>
                    <a:pt x="21" y="102"/>
                  </a:lnTo>
                  <a:lnTo>
                    <a:pt x="21" y="102"/>
                  </a:lnTo>
                  <a:lnTo>
                    <a:pt x="21" y="102"/>
                  </a:lnTo>
                  <a:lnTo>
                    <a:pt x="18" y="102"/>
                  </a:lnTo>
                  <a:lnTo>
                    <a:pt x="18" y="105"/>
                  </a:lnTo>
                  <a:lnTo>
                    <a:pt x="18" y="107"/>
                  </a:lnTo>
                  <a:lnTo>
                    <a:pt x="18" y="107"/>
                  </a:lnTo>
                  <a:lnTo>
                    <a:pt x="16" y="110"/>
                  </a:lnTo>
                  <a:lnTo>
                    <a:pt x="16" y="110"/>
                  </a:lnTo>
                  <a:lnTo>
                    <a:pt x="16" y="110"/>
                  </a:lnTo>
                  <a:lnTo>
                    <a:pt x="16" y="112"/>
                  </a:lnTo>
                  <a:lnTo>
                    <a:pt x="16" y="115"/>
                  </a:lnTo>
                  <a:lnTo>
                    <a:pt x="13" y="115"/>
                  </a:lnTo>
                  <a:lnTo>
                    <a:pt x="13" y="117"/>
                  </a:lnTo>
                  <a:lnTo>
                    <a:pt x="13" y="120"/>
                  </a:lnTo>
                  <a:lnTo>
                    <a:pt x="13" y="120"/>
                  </a:lnTo>
                  <a:lnTo>
                    <a:pt x="18" y="125"/>
                  </a:lnTo>
                  <a:lnTo>
                    <a:pt x="18" y="125"/>
                  </a:lnTo>
                  <a:lnTo>
                    <a:pt x="16" y="128"/>
                  </a:lnTo>
                  <a:lnTo>
                    <a:pt x="16" y="130"/>
                  </a:lnTo>
                  <a:lnTo>
                    <a:pt x="13" y="133"/>
                  </a:lnTo>
                  <a:lnTo>
                    <a:pt x="13" y="135"/>
                  </a:lnTo>
                  <a:lnTo>
                    <a:pt x="16" y="138"/>
                  </a:lnTo>
                  <a:lnTo>
                    <a:pt x="18" y="145"/>
                  </a:lnTo>
                  <a:lnTo>
                    <a:pt x="21" y="148"/>
                  </a:lnTo>
                  <a:lnTo>
                    <a:pt x="21" y="148"/>
                  </a:lnTo>
                  <a:lnTo>
                    <a:pt x="23" y="148"/>
                  </a:lnTo>
                  <a:lnTo>
                    <a:pt x="26" y="148"/>
                  </a:lnTo>
                  <a:lnTo>
                    <a:pt x="26" y="151"/>
                  </a:lnTo>
                  <a:lnTo>
                    <a:pt x="26" y="151"/>
                  </a:lnTo>
                  <a:lnTo>
                    <a:pt x="26" y="151"/>
                  </a:lnTo>
                  <a:lnTo>
                    <a:pt x="26" y="151"/>
                  </a:lnTo>
                  <a:lnTo>
                    <a:pt x="23" y="153"/>
                  </a:lnTo>
                  <a:lnTo>
                    <a:pt x="23" y="153"/>
                  </a:lnTo>
                  <a:lnTo>
                    <a:pt x="23" y="156"/>
                  </a:lnTo>
                  <a:lnTo>
                    <a:pt x="23" y="158"/>
                  </a:lnTo>
                  <a:lnTo>
                    <a:pt x="23" y="158"/>
                  </a:lnTo>
                  <a:lnTo>
                    <a:pt x="21" y="158"/>
                  </a:lnTo>
                  <a:lnTo>
                    <a:pt x="21" y="161"/>
                  </a:lnTo>
                  <a:lnTo>
                    <a:pt x="21" y="163"/>
                  </a:lnTo>
                  <a:lnTo>
                    <a:pt x="18" y="166"/>
                  </a:lnTo>
                  <a:lnTo>
                    <a:pt x="18" y="166"/>
                  </a:lnTo>
                  <a:lnTo>
                    <a:pt x="16" y="168"/>
                  </a:lnTo>
                  <a:lnTo>
                    <a:pt x="16" y="168"/>
                  </a:lnTo>
                  <a:lnTo>
                    <a:pt x="13" y="171"/>
                  </a:lnTo>
                  <a:lnTo>
                    <a:pt x="13" y="171"/>
                  </a:lnTo>
                  <a:lnTo>
                    <a:pt x="13" y="171"/>
                  </a:lnTo>
                  <a:lnTo>
                    <a:pt x="16" y="173"/>
                  </a:lnTo>
                  <a:lnTo>
                    <a:pt x="16" y="173"/>
                  </a:lnTo>
                  <a:lnTo>
                    <a:pt x="16" y="176"/>
                  </a:lnTo>
                  <a:lnTo>
                    <a:pt x="16" y="176"/>
                  </a:lnTo>
                  <a:lnTo>
                    <a:pt x="16" y="176"/>
                  </a:lnTo>
                  <a:lnTo>
                    <a:pt x="18" y="178"/>
                  </a:lnTo>
                  <a:lnTo>
                    <a:pt x="21" y="184"/>
                  </a:lnTo>
                  <a:lnTo>
                    <a:pt x="21" y="186"/>
                  </a:lnTo>
                  <a:lnTo>
                    <a:pt x="23" y="186"/>
                  </a:lnTo>
                  <a:lnTo>
                    <a:pt x="26" y="189"/>
                  </a:lnTo>
                  <a:lnTo>
                    <a:pt x="26" y="189"/>
                  </a:lnTo>
                  <a:lnTo>
                    <a:pt x="26" y="191"/>
                  </a:lnTo>
                  <a:lnTo>
                    <a:pt x="26" y="191"/>
                  </a:lnTo>
                  <a:lnTo>
                    <a:pt x="26" y="194"/>
                  </a:lnTo>
                  <a:lnTo>
                    <a:pt x="26" y="194"/>
                  </a:lnTo>
                  <a:lnTo>
                    <a:pt x="26" y="196"/>
                  </a:lnTo>
                  <a:lnTo>
                    <a:pt x="28" y="199"/>
                  </a:lnTo>
                  <a:lnTo>
                    <a:pt x="28" y="201"/>
                  </a:lnTo>
                  <a:lnTo>
                    <a:pt x="28" y="204"/>
                  </a:lnTo>
                  <a:lnTo>
                    <a:pt x="31" y="206"/>
                  </a:lnTo>
                  <a:lnTo>
                    <a:pt x="31" y="209"/>
                  </a:lnTo>
                  <a:lnTo>
                    <a:pt x="31" y="209"/>
                  </a:lnTo>
                  <a:lnTo>
                    <a:pt x="31" y="212"/>
                  </a:lnTo>
                  <a:lnTo>
                    <a:pt x="34" y="214"/>
                  </a:lnTo>
                  <a:lnTo>
                    <a:pt x="36" y="214"/>
                  </a:lnTo>
                  <a:lnTo>
                    <a:pt x="39" y="217"/>
                  </a:lnTo>
                  <a:lnTo>
                    <a:pt x="39" y="217"/>
                  </a:lnTo>
                  <a:lnTo>
                    <a:pt x="41" y="219"/>
                  </a:lnTo>
                  <a:lnTo>
                    <a:pt x="41" y="219"/>
                  </a:lnTo>
                  <a:lnTo>
                    <a:pt x="41" y="219"/>
                  </a:lnTo>
                  <a:lnTo>
                    <a:pt x="41" y="222"/>
                  </a:lnTo>
                  <a:lnTo>
                    <a:pt x="41" y="222"/>
                  </a:lnTo>
                  <a:lnTo>
                    <a:pt x="41" y="224"/>
                  </a:lnTo>
                  <a:lnTo>
                    <a:pt x="39" y="227"/>
                  </a:lnTo>
                  <a:lnTo>
                    <a:pt x="39" y="227"/>
                  </a:lnTo>
                  <a:lnTo>
                    <a:pt x="41" y="229"/>
                  </a:lnTo>
                  <a:lnTo>
                    <a:pt x="41" y="232"/>
                  </a:lnTo>
                  <a:lnTo>
                    <a:pt x="41" y="232"/>
                  </a:lnTo>
                  <a:lnTo>
                    <a:pt x="41" y="234"/>
                  </a:lnTo>
                  <a:lnTo>
                    <a:pt x="39" y="234"/>
                  </a:lnTo>
                  <a:lnTo>
                    <a:pt x="39" y="234"/>
                  </a:lnTo>
                  <a:lnTo>
                    <a:pt x="39" y="237"/>
                  </a:lnTo>
                  <a:lnTo>
                    <a:pt x="39" y="237"/>
                  </a:lnTo>
                  <a:lnTo>
                    <a:pt x="39" y="240"/>
                  </a:lnTo>
                  <a:lnTo>
                    <a:pt x="41" y="240"/>
                  </a:lnTo>
                  <a:lnTo>
                    <a:pt x="39" y="242"/>
                  </a:lnTo>
                  <a:lnTo>
                    <a:pt x="39" y="242"/>
                  </a:lnTo>
                  <a:lnTo>
                    <a:pt x="39" y="242"/>
                  </a:lnTo>
                  <a:lnTo>
                    <a:pt x="39" y="245"/>
                  </a:lnTo>
                  <a:lnTo>
                    <a:pt x="41" y="245"/>
                  </a:lnTo>
                  <a:lnTo>
                    <a:pt x="44" y="247"/>
                  </a:lnTo>
                  <a:lnTo>
                    <a:pt x="44" y="247"/>
                  </a:lnTo>
                  <a:lnTo>
                    <a:pt x="44" y="247"/>
                  </a:lnTo>
                  <a:lnTo>
                    <a:pt x="44" y="250"/>
                  </a:lnTo>
                  <a:lnTo>
                    <a:pt x="44" y="250"/>
                  </a:lnTo>
                  <a:lnTo>
                    <a:pt x="44" y="252"/>
                  </a:lnTo>
                  <a:lnTo>
                    <a:pt x="44" y="255"/>
                  </a:lnTo>
                  <a:lnTo>
                    <a:pt x="44" y="255"/>
                  </a:lnTo>
                  <a:lnTo>
                    <a:pt x="46" y="255"/>
                  </a:lnTo>
                  <a:lnTo>
                    <a:pt x="49" y="260"/>
                  </a:lnTo>
                  <a:lnTo>
                    <a:pt x="51" y="262"/>
                  </a:lnTo>
                  <a:lnTo>
                    <a:pt x="54" y="268"/>
                  </a:lnTo>
                  <a:lnTo>
                    <a:pt x="54" y="270"/>
                  </a:lnTo>
                  <a:lnTo>
                    <a:pt x="56" y="273"/>
                  </a:lnTo>
                  <a:lnTo>
                    <a:pt x="56" y="275"/>
                  </a:lnTo>
                  <a:lnTo>
                    <a:pt x="56" y="278"/>
                  </a:lnTo>
                  <a:lnTo>
                    <a:pt x="59" y="280"/>
                  </a:lnTo>
                  <a:lnTo>
                    <a:pt x="59" y="283"/>
                  </a:lnTo>
                  <a:lnTo>
                    <a:pt x="59" y="285"/>
                  </a:lnTo>
                  <a:lnTo>
                    <a:pt x="59" y="285"/>
                  </a:lnTo>
                  <a:lnTo>
                    <a:pt x="62" y="290"/>
                  </a:lnTo>
                  <a:lnTo>
                    <a:pt x="62" y="293"/>
                  </a:lnTo>
                  <a:lnTo>
                    <a:pt x="62" y="296"/>
                  </a:lnTo>
                  <a:lnTo>
                    <a:pt x="62" y="296"/>
                  </a:lnTo>
                  <a:lnTo>
                    <a:pt x="64" y="298"/>
                  </a:lnTo>
                  <a:lnTo>
                    <a:pt x="64" y="298"/>
                  </a:lnTo>
                  <a:lnTo>
                    <a:pt x="64" y="298"/>
                  </a:lnTo>
                  <a:lnTo>
                    <a:pt x="67" y="298"/>
                  </a:lnTo>
                  <a:lnTo>
                    <a:pt x="69" y="298"/>
                  </a:lnTo>
                  <a:lnTo>
                    <a:pt x="74" y="298"/>
                  </a:lnTo>
                  <a:lnTo>
                    <a:pt x="77" y="298"/>
                  </a:lnTo>
                  <a:lnTo>
                    <a:pt x="77" y="296"/>
                  </a:lnTo>
                  <a:lnTo>
                    <a:pt x="79" y="293"/>
                  </a:lnTo>
                  <a:lnTo>
                    <a:pt x="79" y="290"/>
                  </a:lnTo>
                  <a:lnTo>
                    <a:pt x="79" y="290"/>
                  </a:lnTo>
                  <a:lnTo>
                    <a:pt x="82" y="288"/>
                  </a:lnTo>
                  <a:lnTo>
                    <a:pt x="85" y="288"/>
                  </a:lnTo>
                  <a:lnTo>
                    <a:pt x="85" y="285"/>
                  </a:lnTo>
                  <a:lnTo>
                    <a:pt x="85" y="283"/>
                  </a:lnTo>
                  <a:lnTo>
                    <a:pt x="85" y="283"/>
                  </a:lnTo>
                  <a:lnTo>
                    <a:pt x="87" y="283"/>
                  </a:lnTo>
                  <a:lnTo>
                    <a:pt x="90" y="280"/>
                  </a:lnTo>
                  <a:lnTo>
                    <a:pt x="92" y="280"/>
                  </a:lnTo>
                  <a:lnTo>
                    <a:pt x="92" y="278"/>
                  </a:lnTo>
                  <a:lnTo>
                    <a:pt x="92" y="275"/>
                  </a:lnTo>
                  <a:lnTo>
                    <a:pt x="92" y="275"/>
                  </a:lnTo>
                  <a:lnTo>
                    <a:pt x="95" y="275"/>
                  </a:lnTo>
                  <a:lnTo>
                    <a:pt x="95" y="275"/>
                  </a:lnTo>
                  <a:lnTo>
                    <a:pt x="97" y="275"/>
                  </a:lnTo>
                  <a:lnTo>
                    <a:pt x="100" y="280"/>
                  </a:lnTo>
                  <a:lnTo>
                    <a:pt x="102" y="280"/>
                  </a:lnTo>
                  <a:lnTo>
                    <a:pt x="105" y="280"/>
                  </a:lnTo>
                  <a:lnTo>
                    <a:pt x="107" y="280"/>
                  </a:lnTo>
                  <a:lnTo>
                    <a:pt x="107" y="280"/>
                  </a:lnTo>
                  <a:lnTo>
                    <a:pt x="118" y="280"/>
                  </a:lnTo>
                  <a:lnTo>
                    <a:pt x="118" y="280"/>
                  </a:lnTo>
                  <a:lnTo>
                    <a:pt x="120" y="283"/>
                  </a:lnTo>
                  <a:lnTo>
                    <a:pt x="123" y="283"/>
                  </a:lnTo>
                  <a:lnTo>
                    <a:pt x="123" y="283"/>
                  </a:lnTo>
                  <a:lnTo>
                    <a:pt x="125" y="283"/>
                  </a:lnTo>
                  <a:lnTo>
                    <a:pt x="128" y="288"/>
                  </a:lnTo>
                  <a:lnTo>
                    <a:pt x="128" y="290"/>
                  </a:lnTo>
                  <a:lnTo>
                    <a:pt x="130" y="293"/>
                  </a:lnTo>
                  <a:lnTo>
                    <a:pt x="133" y="296"/>
                  </a:lnTo>
                  <a:lnTo>
                    <a:pt x="133" y="298"/>
                  </a:lnTo>
                  <a:lnTo>
                    <a:pt x="133" y="298"/>
                  </a:lnTo>
                  <a:lnTo>
                    <a:pt x="133" y="293"/>
                  </a:lnTo>
                  <a:lnTo>
                    <a:pt x="135" y="290"/>
                  </a:lnTo>
                  <a:lnTo>
                    <a:pt x="135" y="288"/>
                  </a:lnTo>
                  <a:lnTo>
                    <a:pt x="138" y="280"/>
                  </a:lnTo>
                  <a:lnTo>
                    <a:pt x="138" y="280"/>
                  </a:lnTo>
                  <a:lnTo>
                    <a:pt x="141" y="280"/>
                  </a:lnTo>
                  <a:lnTo>
                    <a:pt x="141" y="278"/>
                  </a:lnTo>
                  <a:lnTo>
                    <a:pt x="141" y="280"/>
                  </a:lnTo>
                  <a:lnTo>
                    <a:pt x="143" y="280"/>
                  </a:lnTo>
                  <a:lnTo>
                    <a:pt x="143" y="278"/>
                  </a:lnTo>
                  <a:lnTo>
                    <a:pt x="151" y="278"/>
                  </a:lnTo>
                  <a:lnTo>
                    <a:pt x="161" y="278"/>
                  </a:lnTo>
                  <a:lnTo>
                    <a:pt x="161" y="278"/>
                  </a:lnTo>
                  <a:lnTo>
                    <a:pt x="161" y="280"/>
                  </a:lnTo>
                  <a:lnTo>
                    <a:pt x="161" y="283"/>
                  </a:lnTo>
                  <a:lnTo>
                    <a:pt x="164" y="283"/>
                  </a:lnTo>
                  <a:lnTo>
                    <a:pt x="164" y="285"/>
                  </a:lnTo>
                  <a:lnTo>
                    <a:pt x="164" y="283"/>
                  </a:lnTo>
                  <a:lnTo>
                    <a:pt x="166" y="278"/>
                  </a:lnTo>
                  <a:lnTo>
                    <a:pt x="166" y="273"/>
                  </a:lnTo>
                  <a:lnTo>
                    <a:pt x="166" y="265"/>
                  </a:lnTo>
                  <a:lnTo>
                    <a:pt x="169" y="257"/>
                  </a:lnTo>
                  <a:lnTo>
                    <a:pt x="169" y="252"/>
                  </a:lnTo>
                  <a:lnTo>
                    <a:pt x="166" y="247"/>
                  </a:lnTo>
                  <a:lnTo>
                    <a:pt x="169" y="242"/>
                  </a:lnTo>
                  <a:lnTo>
                    <a:pt x="171" y="237"/>
                  </a:lnTo>
                  <a:lnTo>
                    <a:pt x="174" y="234"/>
                  </a:lnTo>
                  <a:lnTo>
                    <a:pt x="174" y="229"/>
                  </a:lnTo>
                  <a:lnTo>
                    <a:pt x="176" y="224"/>
                  </a:lnTo>
                  <a:lnTo>
                    <a:pt x="179" y="224"/>
                  </a:lnTo>
                  <a:lnTo>
                    <a:pt x="189" y="222"/>
                  </a:lnTo>
                  <a:lnTo>
                    <a:pt x="192" y="222"/>
                  </a:lnTo>
                  <a:lnTo>
                    <a:pt x="199" y="219"/>
                  </a:lnTo>
                  <a:lnTo>
                    <a:pt x="209" y="217"/>
                  </a:lnTo>
                  <a:lnTo>
                    <a:pt x="217" y="217"/>
                  </a:lnTo>
                  <a:lnTo>
                    <a:pt x="227" y="217"/>
                  </a:lnTo>
                  <a:lnTo>
                    <a:pt x="235" y="222"/>
                  </a:lnTo>
                  <a:lnTo>
                    <a:pt x="240" y="224"/>
                  </a:lnTo>
                  <a:lnTo>
                    <a:pt x="248" y="229"/>
                  </a:lnTo>
                  <a:lnTo>
                    <a:pt x="248" y="229"/>
                  </a:lnTo>
                  <a:lnTo>
                    <a:pt x="248" y="234"/>
                  </a:lnTo>
                  <a:lnTo>
                    <a:pt x="248" y="237"/>
                  </a:lnTo>
                  <a:lnTo>
                    <a:pt x="248" y="237"/>
                  </a:lnTo>
                  <a:lnTo>
                    <a:pt x="250" y="237"/>
                  </a:lnTo>
                  <a:lnTo>
                    <a:pt x="250" y="234"/>
                  </a:lnTo>
                  <a:lnTo>
                    <a:pt x="250" y="234"/>
                  </a:lnTo>
                  <a:lnTo>
                    <a:pt x="253" y="234"/>
                  </a:lnTo>
                  <a:lnTo>
                    <a:pt x="253" y="232"/>
                  </a:lnTo>
                  <a:lnTo>
                    <a:pt x="250" y="229"/>
                  </a:lnTo>
                  <a:lnTo>
                    <a:pt x="248" y="227"/>
                  </a:lnTo>
                  <a:lnTo>
                    <a:pt x="248" y="224"/>
                  </a:lnTo>
                  <a:lnTo>
                    <a:pt x="250" y="219"/>
                  </a:lnTo>
                  <a:lnTo>
                    <a:pt x="250" y="217"/>
                  </a:lnTo>
                  <a:lnTo>
                    <a:pt x="253" y="212"/>
                  </a:lnTo>
                  <a:lnTo>
                    <a:pt x="253" y="212"/>
                  </a:lnTo>
                  <a:lnTo>
                    <a:pt x="253" y="212"/>
                  </a:lnTo>
                  <a:lnTo>
                    <a:pt x="253" y="209"/>
                  </a:lnTo>
                  <a:lnTo>
                    <a:pt x="253" y="209"/>
                  </a:lnTo>
                  <a:lnTo>
                    <a:pt x="253" y="209"/>
                  </a:lnTo>
                  <a:lnTo>
                    <a:pt x="253" y="204"/>
                  </a:lnTo>
                  <a:lnTo>
                    <a:pt x="253" y="199"/>
                  </a:lnTo>
                  <a:lnTo>
                    <a:pt x="255" y="194"/>
                  </a:lnTo>
                  <a:lnTo>
                    <a:pt x="255" y="194"/>
                  </a:lnTo>
                  <a:lnTo>
                    <a:pt x="255" y="194"/>
                  </a:lnTo>
                  <a:lnTo>
                    <a:pt x="255" y="194"/>
                  </a:lnTo>
                  <a:lnTo>
                    <a:pt x="255" y="191"/>
                  </a:lnTo>
                  <a:close/>
                </a:path>
              </a:pathLst>
            </a:custGeom>
            <a:solidFill>
              <a:schemeClr val="bg2">
                <a:lumMod val="60000"/>
                <a:lumOff val="40000"/>
              </a:schemeClr>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363" name="Freeform 1982">
              <a:extLst>
                <a:ext uri="{FF2B5EF4-FFF2-40B4-BE49-F238E27FC236}">
                  <a16:creationId xmlns:a16="http://schemas.microsoft.com/office/drawing/2014/main" id="{E74FD23E-253F-A245-9E35-73A0ADC815A3}"/>
                </a:ext>
              </a:extLst>
            </p:cNvPr>
            <p:cNvSpPr>
              <a:spLocks/>
            </p:cNvSpPr>
            <p:nvPr/>
          </p:nvSpPr>
          <p:spPr bwMode="auto">
            <a:xfrm>
              <a:off x="8443331" y="2747716"/>
              <a:ext cx="107959" cy="62158"/>
            </a:xfrm>
            <a:custGeom>
              <a:avLst/>
              <a:gdLst>
                <a:gd name="T0" fmla="*/ 66 w 66"/>
                <a:gd name="T1" fmla="*/ 31 h 38"/>
                <a:gd name="T2" fmla="*/ 64 w 66"/>
                <a:gd name="T3" fmla="*/ 28 h 38"/>
                <a:gd name="T4" fmla="*/ 64 w 66"/>
                <a:gd name="T5" fmla="*/ 26 h 38"/>
                <a:gd name="T6" fmla="*/ 64 w 66"/>
                <a:gd name="T7" fmla="*/ 23 h 38"/>
                <a:gd name="T8" fmla="*/ 61 w 66"/>
                <a:gd name="T9" fmla="*/ 21 h 38"/>
                <a:gd name="T10" fmla="*/ 59 w 66"/>
                <a:gd name="T11" fmla="*/ 21 h 38"/>
                <a:gd name="T12" fmla="*/ 53 w 66"/>
                <a:gd name="T13" fmla="*/ 18 h 38"/>
                <a:gd name="T14" fmla="*/ 53 w 66"/>
                <a:gd name="T15" fmla="*/ 15 h 38"/>
                <a:gd name="T16" fmla="*/ 53 w 66"/>
                <a:gd name="T17" fmla="*/ 13 h 38"/>
                <a:gd name="T18" fmla="*/ 53 w 66"/>
                <a:gd name="T19" fmla="*/ 10 h 38"/>
                <a:gd name="T20" fmla="*/ 51 w 66"/>
                <a:gd name="T21" fmla="*/ 8 h 38"/>
                <a:gd name="T22" fmla="*/ 46 w 66"/>
                <a:gd name="T23" fmla="*/ 5 h 38"/>
                <a:gd name="T24" fmla="*/ 46 w 66"/>
                <a:gd name="T25" fmla="*/ 5 h 38"/>
                <a:gd name="T26" fmla="*/ 43 w 66"/>
                <a:gd name="T27" fmla="*/ 8 h 38"/>
                <a:gd name="T28" fmla="*/ 41 w 66"/>
                <a:gd name="T29" fmla="*/ 8 h 38"/>
                <a:gd name="T30" fmla="*/ 36 w 66"/>
                <a:gd name="T31" fmla="*/ 5 h 38"/>
                <a:gd name="T32" fmla="*/ 31 w 66"/>
                <a:gd name="T33" fmla="*/ 5 h 38"/>
                <a:gd name="T34" fmla="*/ 28 w 66"/>
                <a:gd name="T35" fmla="*/ 5 h 38"/>
                <a:gd name="T36" fmla="*/ 28 w 66"/>
                <a:gd name="T37" fmla="*/ 5 h 38"/>
                <a:gd name="T38" fmla="*/ 28 w 66"/>
                <a:gd name="T39" fmla="*/ 3 h 38"/>
                <a:gd name="T40" fmla="*/ 23 w 66"/>
                <a:gd name="T41" fmla="*/ 0 h 38"/>
                <a:gd name="T42" fmla="*/ 18 w 66"/>
                <a:gd name="T43" fmla="*/ 0 h 38"/>
                <a:gd name="T44" fmla="*/ 15 w 66"/>
                <a:gd name="T45" fmla="*/ 3 h 38"/>
                <a:gd name="T46" fmla="*/ 13 w 66"/>
                <a:gd name="T47" fmla="*/ 5 h 38"/>
                <a:gd name="T48" fmla="*/ 10 w 66"/>
                <a:gd name="T49" fmla="*/ 8 h 38"/>
                <a:gd name="T50" fmla="*/ 8 w 66"/>
                <a:gd name="T51" fmla="*/ 15 h 38"/>
                <a:gd name="T52" fmla="*/ 5 w 66"/>
                <a:gd name="T53" fmla="*/ 18 h 38"/>
                <a:gd name="T54" fmla="*/ 2 w 66"/>
                <a:gd name="T55" fmla="*/ 23 h 38"/>
                <a:gd name="T56" fmla="*/ 0 w 66"/>
                <a:gd name="T57" fmla="*/ 26 h 38"/>
                <a:gd name="T58" fmla="*/ 2 w 66"/>
                <a:gd name="T59" fmla="*/ 28 h 38"/>
                <a:gd name="T60" fmla="*/ 2 w 66"/>
                <a:gd name="T61" fmla="*/ 28 h 38"/>
                <a:gd name="T62" fmla="*/ 5 w 66"/>
                <a:gd name="T63" fmla="*/ 33 h 38"/>
                <a:gd name="T64" fmla="*/ 10 w 66"/>
                <a:gd name="T65" fmla="*/ 36 h 38"/>
                <a:gd name="T66" fmla="*/ 15 w 66"/>
                <a:gd name="T67" fmla="*/ 33 h 38"/>
                <a:gd name="T68" fmla="*/ 18 w 66"/>
                <a:gd name="T69" fmla="*/ 36 h 38"/>
                <a:gd name="T70" fmla="*/ 20 w 66"/>
                <a:gd name="T71" fmla="*/ 36 h 38"/>
                <a:gd name="T72" fmla="*/ 20 w 66"/>
                <a:gd name="T73" fmla="*/ 36 h 38"/>
                <a:gd name="T74" fmla="*/ 23 w 66"/>
                <a:gd name="T75" fmla="*/ 38 h 38"/>
                <a:gd name="T76" fmla="*/ 31 w 66"/>
                <a:gd name="T77" fmla="*/ 36 h 38"/>
                <a:gd name="T78" fmla="*/ 31 w 66"/>
                <a:gd name="T79" fmla="*/ 33 h 38"/>
                <a:gd name="T80" fmla="*/ 36 w 66"/>
                <a:gd name="T81" fmla="*/ 33 h 38"/>
                <a:gd name="T82" fmla="*/ 38 w 66"/>
                <a:gd name="T83" fmla="*/ 36 h 38"/>
                <a:gd name="T84" fmla="*/ 43 w 66"/>
                <a:gd name="T85" fmla="*/ 36 h 38"/>
                <a:gd name="T86" fmla="*/ 51 w 66"/>
                <a:gd name="T87" fmla="*/ 36 h 38"/>
                <a:gd name="T88" fmla="*/ 56 w 66"/>
                <a:gd name="T89" fmla="*/ 33 h 38"/>
                <a:gd name="T90" fmla="*/ 59 w 66"/>
                <a:gd name="T91" fmla="*/ 36 h 38"/>
                <a:gd name="T92" fmla="*/ 64 w 66"/>
                <a:gd name="T93" fmla="*/ 33 h 38"/>
                <a:gd name="T94" fmla="*/ 64 w 66"/>
                <a:gd name="T95" fmla="*/ 33 h 38"/>
                <a:gd name="T96" fmla="*/ 66 w 66"/>
                <a:gd name="T97" fmla="*/ 33 h 38"/>
                <a:gd name="T98" fmla="*/ 66 w 66"/>
                <a:gd name="T99" fmla="*/ 3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6" h="38">
                  <a:moveTo>
                    <a:pt x="66" y="31"/>
                  </a:moveTo>
                  <a:lnTo>
                    <a:pt x="66" y="31"/>
                  </a:lnTo>
                  <a:lnTo>
                    <a:pt x="64" y="28"/>
                  </a:lnTo>
                  <a:lnTo>
                    <a:pt x="64" y="28"/>
                  </a:lnTo>
                  <a:lnTo>
                    <a:pt x="64" y="28"/>
                  </a:lnTo>
                  <a:lnTo>
                    <a:pt x="64" y="26"/>
                  </a:lnTo>
                  <a:lnTo>
                    <a:pt x="66" y="23"/>
                  </a:lnTo>
                  <a:lnTo>
                    <a:pt x="64" y="23"/>
                  </a:lnTo>
                  <a:lnTo>
                    <a:pt x="64" y="21"/>
                  </a:lnTo>
                  <a:lnTo>
                    <a:pt x="61" y="21"/>
                  </a:lnTo>
                  <a:lnTo>
                    <a:pt x="61" y="21"/>
                  </a:lnTo>
                  <a:lnTo>
                    <a:pt x="59" y="21"/>
                  </a:lnTo>
                  <a:lnTo>
                    <a:pt x="56" y="21"/>
                  </a:lnTo>
                  <a:lnTo>
                    <a:pt x="53" y="18"/>
                  </a:lnTo>
                  <a:lnTo>
                    <a:pt x="53" y="15"/>
                  </a:lnTo>
                  <a:lnTo>
                    <a:pt x="53" y="15"/>
                  </a:lnTo>
                  <a:lnTo>
                    <a:pt x="53" y="13"/>
                  </a:lnTo>
                  <a:lnTo>
                    <a:pt x="53" y="13"/>
                  </a:lnTo>
                  <a:lnTo>
                    <a:pt x="53" y="13"/>
                  </a:lnTo>
                  <a:lnTo>
                    <a:pt x="53" y="10"/>
                  </a:lnTo>
                  <a:lnTo>
                    <a:pt x="53" y="8"/>
                  </a:lnTo>
                  <a:lnTo>
                    <a:pt x="51" y="8"/>
                  </a:lnTo>
                  <a:lnTo>
                    <a:pt x="48" y="8"/>
                  </a:lnTo>
                  <a:lnTo>
                    <a:pt x="46" y="5"/>
                  </a:lnTo>
                  <a:lnTo>
                    <a:pt x="46" y="5"/>
                  </a:lnTo>
                  <a:lnTo>
                    <a:pt x="46" y="5"/>
                  </a:lnTo>
                  <a:lnTo>
                    <a:pt x="43" y="8"/>
                  </a:lnTo>
                  <a:lnTo>
                    <a:pt x="43" y="8"/>
                  </a:lnTo>
                  <a:lnTo>
                    <a:pt x="41" y="8"/>
                  </a:lnTo>
                  <a:lnTo>
                    <a:pt x="41" y="8"/>
                  </a:lnTo>
                  <a:lnTo>
                    <a:pt x="38" y="8"/>
                  </a:lnTo>
                  <a:lnTo>
                    <a:pt x="36" y="5"/>
                  </a:lnTo>
                  <a:lnTo>
                    <a:pt x="33" y="5"/>
                  </a:lnTo>
                  <a:lnTo>
                    <a:pt x="31" y="5"/>
                  </a:lnTo>
                  <a:lnTo>
                    <a:pt x="28" y="5"/>
                  </a:lnTo>
                  <a:lnTo>
                    <a:pt x="28" y="5"/>
                  </a:lnTo>
                  <a:lnTo>
                    <a:pt x="28" y="5"/>
                  </a:lnTo>
                  <a:lnTo>
                    <a:pt x="28" y="5"/>
                  </a:lnTo>
                  <a:lnTo>
                    <a:pt x="28" y="3"/>
                  </a:lnTo>
                  <a:lnTo>
                    <a:pt x="28" y="3"/>
                  </a:lnTo>
                  <a:lnTo>
                    <a:pt x="25" y="3"/>
                  </a:lnTo>
                  <a:lnTo>
                    <a:pt x="23" y="0"/>
                  </a:lnTo>
                  <a:lnTo>
                    <a:pt x="20" y="0"/>
                  </a:lnTo>
                  <a:lnTo>
                    <a:pt x="18" y="0"/>
                  </a:lnTo>
                  <a:lnTo>
                    <a:pt x="18" y="3"/>
                  </a:lnTo>
                  <a:lnTo>
                    <a:pt x="15" y="3"/>
                  </a:lnTo>
                  <a:lnTo>
                    <a:pt x="15" y="5"/>
                  </a:lnTo>
                  <a:lnTo>
                    <a:pt x="13" y="5"/>
                  </a:lnTo>
                  <a:lnTo>
                    <a:pt x="13" y="5"/>
                  </a:lnTo>
                  <a:lnTo>
                    <a:pt x="10" y="8"/>
                  </a:lnTo>
                  <a:lnTo>
                    <a:pt x="8" y="13"/>
                  </a:lnTo>
                  <a:lnTo>
                    <a:pt x="8" y="15"/>
                  </a:lnTo>
                  <a:lnTo>
                    <a:pt x="5" y="18"/>
                  </a:lnTo>
                  <a:lnTo>
                    <a:pt x="5" y="18"/>
                  </a:lnTo>
                  <a:lnTo>
                    <a:pt x="2" y="21"/>
                  </a:lnTo>
                  <a:lnTo>
                    <a:pt x="2" y="23"/>
                  </a:lnTo>
                  <a:lnTo>
                    <a:pt x="2" y="23"/>
                  </a:lnTo>
                  <a:lnTo>
                    <a:pt x="0" y="26"/>
                  </a:lnTo>
                  <a:lnTo>
                    <a:pt x="0" y="26"/>
                  </a:lnTo>
                  <a:lnTo>
                    <a:pt x="2" y="28"/>
                  </a:lnTo>
                  <a:lnTo>
                    <a:pt x="2" y="28"/>
                  </a:lnTo>
                  <a:lnTo>
                    <a:pt x="2" y="28"/>
                  </a:lnTo>
                  <a:lnTo>
                    <a:pt x="5" y="31"/>
                  </a:lnTo>
                  <a:lnTo>
                    <a:pt x="5" y="33"/>
                  </a:lnTo>
                  <a:lnTo>
                    <a:pt x="8" y="33"/>
                  </a:lnTo>
                  <a:lnTo>
                    <a:pt x="10" y="36"/>
                  </a:lnTo>
                  <a:lnTo>
                    <a:pt x="13" y="33"/>
                  </a:lnTo>
                  <a:lnTo>
                    <a:pt x="15" y="33"/>
                  </a:lnTo>
                  <a:lnTo>
                    <a:pt x="18" y="36"/>
                  </a:lnTo>
                  <a:lnTo>
                    <a:pt x="18" y="36"/>
                  </a:lnTo>
                  <a:lnTo>
                    <a:pt x="18" y="36"/>
                  </a:lnTo>
                  <a:lnTo>
                    <a:pt x="20" y="36"/>
                  </a:lnTo>
                  <a:lnTo>
                    <a:pt x="20" y="36"/>
                  </a:lnTo>
                  <a:lnTo>
                    <a:pt x="20" y="36"/>
                  </a:lnTo>
                  <a:lnTo>
                    <a:pt x="20" y="38"/>
                  </a:lnTo>
                  <a:lnTo>
                    <a:pt x="23" y="38"/>
                  </a:lnTo>
                  <a:lnTo>
                    <a:pt x="25" y="36"/>
                  </a:lnTo>
                  <a:lnTo>
                    <a:pt x="31" y="36"/>
                  </a:lnTo>
                  <a:lnTo>
                    <a:pt x="31" y="33"/>
                  </a:lnTo>
                  <a:lnTo>
                    <a:pt x="31" y="33"/>
                  </a:lnTo>
                  <a:lnTo>
                    <a:pt x="33" y="33"/>
                  </a:lnTo>
                  <a:lnTo>
                    <a:pt x="36" y="33"/>
                  </a:lnTo>
                  <a:lnTo>
                    <a:pt x="38" y="36"/>
                  </a:lnTo>
                  <a:lnTo>
                    <a:pt x="38" y="36"/>
                  </a:lnTo>
                  <a:lnTo>
                    <a:pt x="41" y="36"/>
                  </a:lnTo>
                  <a:lnTo>
                    <a:pt x="43" y="36"/>
                  </a:lnTo>
                  <a:lnTo>
                    <a:pt x="48" y="36"/>
                  </a:lnTo>
                  <a:lnTo>
                    <a:pt x="51" y="36"/>
                  </a:lnTo>
                  <a:lnTo>
                    <a:pt x="53" y="33"/>
                  </a:lnTo>
                  <a:lnTo>
                    <a:pt x="56" y="33"/>
                  </a:lnTo>
                  <a:lnTo>
                    <a:pt x="56" y="36"/>
                  </a:lnTo>
                  <a:lnTo>
                    <a:pt x="59" y="36"/>
                  </a:lnTo>
                  <a:lnTo>
                    <a:pt x="61" y="33"/>
                  </a:lnTo>
                  <a:lnTo>
                    <a:pt x="64" y="33"/>
                  </a:lnTo>
                  <a:lnTo>
                    <a:pt x="64" y="33"/>
                  </a:lnTo>
                  <a:lnTo>
                    <a:pt x="64" y="33"/>
                  </a:lnTo>
                  <a:lnTo>
                    <a:pt x="66" y="33"/>
                  </a:lnTo>
                  <a:lnTo>
                    <a:pt x="66" y="33"/>
                  </a:lnTo>
                  <a:lnTo>
                    <a:pt x="66" y="33"/>
                  </a:lnTo>
                  <a:lnTo>
                    <a:pt x="66" y="31"/>
                  </a:lnTo>
                  <a:close/>
                </a:path>
              </a:pathLst>
            </a:custGeom>
            <a:solidFill>
              <a:schemeClr val="bg2">
                <a:lumMod val="60000"/>
                <a:lumOff val="40000"/>
              </a:schemeClr>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364" name="Freeform 1983">
              <a:extLst>
                <a:ext uri="{FF2B5EF4-FFF2-40B4-BE49-F238E27FC236}">
                  <a16:creationId xmlns:a16="http://schemas.microsoft.com/office/drawing/2014/main" id="{64A92D14-3062-1C4E-88AC-2461466F77C6}"/>
                </a:ext>
              </a:extLst>
            </p:cNvPr>
            <p:cNvSpPr>
              <a:spLocks/>
            </p:cNvSpPr>
            <p:nvPr/>
          </p:nvSpPr>
          <p:spPr bwMode="auto">
            <a:xfrm>
              <a:off x="3595008" y="2598863"/>
              <a:ext cx="4908" cy="3271"/>
            </a:xfrm>
            <a:custGeom>
              <a:avLst/>
              <a:gdLst>
                <a:gd name="T0" fmla="*/ 3 w 3"/>
                <a:gd name="T1" fmla="*/ 0 h 2"/>
                <a:gd name="T2" fmla="*/ 0 w 3"/>
                <a:gd name="T3" fmla="*/ 2 h 2"/>
                <a:gd name="T4" fmla="*/ 0 w 3"/>
                <a:gd name="T5" fmla="*/ 2 h 2"/>
                <a:gd name="T6" fmla="*/ 0 w 3"/>
                <a:gd name="T7" fmla="*/ 2 h 2"/>
                <a:gd name="T8" fmla="*/ 0 w 3"/>
                <a:gd name="T9" fmla="*/ 2 h 2"/>
                <a:gd name="T10" fmla="*/ 3 w 3"/>
                <a:gd name="T11" fmla="*/ 2 h 2"/>
                <a:gd name="T12" fmla="*/ 3 w 3"/>
                <a:gd name="T13" fmla="*/ 0 h 2"/>
                <a:gd name="T14" fmla="*/ 3 w 3"/>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2">
                  <a:moveTo>
                    <a:pt x="3" y="0"/>
                  </a:moveTo>
                  <a:lnTo>
                    <a:pt x="0" y="2"/>
                  </a:lnTo>
                  <a:lnTo>
                    <a:pt x="0" y="2"/>
                  </a:lnTo>
                  <a:lnTo>
                    <a:pt x="0" y="2"/>
                  </a:lnTo>
                  <a:lnTo>
                    <a:pt x="0" y="2"/>
                  </a:lnTo>
                  <a:lnTo>
                    <a:pt x="3" y="2"/>
                  </a:lnTo>
                  <a:lnTo>
                    <a:pt x="3" y="0"/>
                  </a:lnTo>
                  <a:lnTo>
                    <a:pt x="3"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365" name="Freeform 1984">
              <a:extLst>
                <a:ext uri="{FF2B5EF4-FFF2-40B4-BE49-F238E27FC236}">
                  <a16:creationId xmlns:a16="http://schemas.microsoft.com/office/drawing/2014/main" id="{B77297B1-79C9-E147-A5B8-72064F664E98}"/>
                </a:ext>
              </a:extLst>
            </p:cNvPr>
            <p:cNvSpPr>
              <a:spLocks/>
            </p:cNvSpPr>
            <p:nvPr/>
          </p:nvSpPr>
          <p:spPr bwMode="auto">
            <a:xfrm>
              <a:off x="5633136" y="3339852"/>
              <a:ext cx="99780" cy="232275"/>
            </a:xfrm>
            <a:custGeom>
              <a:avLst/>
              <a:gdLst>
                <a:gd name="T0" fmla="*/ 61 w 61"/>
                <a:gd name="T1" fmla="*/ 35 h 142"/>
                <a:gd name="T2" fmla="*/ 59 w 61"/>
                <a:gd name="T3" fmla="*/ 30 h 142"/>
                <a:gd name="T4" fmla="*/ 56 w 61"/>
                <a:gd name="T5" fmla="*/ 22 h 142"/>
                <a:gd name="T6" fmla="*/ 59 w 61"/>
                <a:gd name="T7" fmla="*/ 17 h 142"/>
                <a:gd name="T8" fmla="*/ 54 w 61"/>
                <a:gd name="T9" fmla="*/ 12 h 142"/>
                <a:gd name="T10" fmla="*/ 49 w 61"/>
                <a:gd name="T11" fmla="*/ 7 h 142"/>
                <a:gd name="T12" fmla="*/ 44 w 61"/>
                <a:gd name="T13" fmla="*/ 0 h 142"/>
                <a:gd name="T14" fmla="*/ 38 w 61"/>
                <a:gd name="T15" fmla="*/ 2 h 142"/>
                <a:gd name="T16" fmla="*/ 33 w 61"/>
                <a:gd name="T17" fmla="*/ 5 h 142"/>
                <a:gd name="T18" fmla="*/ 33 w 61"/>
                <a:gd name="T19" fmla="*/ 12 h 142"/>
                <a:gd name="T20" fmla="*/ 31 w 61"/>
                <a:gd name="T21" fmla="*/ 17 h 142"/>
                <a:gd name="T22" fmla="*/ 18 w 61"/>
                <a:gd name="T23" fmla="*/ 22 h 142"/>
                <a:gd name="T24" fmla="*/ 16 w 61"/>
                <a:gd name="T25" fmla="*/ 22 h 142"/>
                <a:gd name="T26" fmla="*/ 13 w 61"/>
                <a:gd name="T27" fmla="*/ 22 h 142"/>
                <a:gd name="T28" fmla="*/ 10 w 61"/>
                <a:gd name="T29" fmla="*/ 25 h 142"/>
                <a:gd name="T30" fmla="*/ 8 w 61"/>
                <a:gd name="T31" fmla="*/ 28 h 142"/>
                <a:gd name="T32" fmla="*/ 8 w 61"/>
                <a:gd name="T33" fmla="*/ 30 h 142"/>
                <a:gd name="T34" fmla="*/ 5 w 61"/>
                <a:gd name="T35" fmla="*/ 30 h 142"/>
                <a:gd name="T36" fmla="*/ 5 w 61"/>
                <a:gd name="T37" fmla="*/ 33 h 142"/>
                <a:gd name="T38" fmla="*/ 3 w 61"/>
                <a:gd name="T39" fmla="*/ 38 h 142"/>
                <a:gd name="T40" fmla="*/ 0 w 61"/>
                <a:gd name="T41" fmla="*/ 48 h 142"/>
                <a:gd name="T42" fmla="*/ 10 w 61"/>
                <a:gd name="T43" fmla="*/ 53 h 142"/>
                <a:gd name="T44" fmla="*/ 13 w 61"/>
                <a:gd name="T45" fmla="*/ 61 h 142"/>
                <a:gd name="T46" fmla="*/ 13 w 61"/>
                <a:gd name="T47" fmla="*/ 68 h 142"/>
                <a:gd name="T48" fmla="*/ 18 w 61"/>
                <a:gd name="T49" fmla="*/ 76 h 142"/>
                <a:gd name="T50" fmla="*/ 18 w 61"/>
                <a:gd name="T51" fmla="*/ 94 h 142"/>
                <a:gd name="T52" fmla="*/ 18 w 61"/>
                <a:gd name="T53" fmla="*/ 114 h 142"/>
                <a:gd name="T54" fmla="*/ 18 w 61"/>
                <a:gd name="T55" fmla="*/ 127 h 142"/>
                <a:gd name="T56" fmla="*/ 18 w 61"/>
                <a:gd name="T57" fmla="*/ 129 h 142"/>
                <a:gd name="T58" fmla="*/ 21 w 61"/>
                <a:gd name="T59" fmla="*/ 137 h 142"/>
                <a:gd name="T60" fmla="*/ 18 w 61"/>
                <a:gd name="T61" fmla="*/ 142 h 142"/>
                <a:gd name="T62" fmla="*/ 38 w 61"/>
                <a:gd name="T63" fmla="*/ 137 h 142"/>
                <a:gd name="T64" fmla="*/ 41 w 61"/>
                <a:gd name="T65" fmla="*/ 132 h 142"/>
                <a:gd name="T66" fmla="*/ 41 w 61"/>
                <a:gd name="T67" fmla="*/ 127 h 142"/>
                <a:gd name="T68" fmla="*/ 41 w 61"/>
                <a:gd name="T69" fmla="*/ 122 h 142"/>
                <a:gd name="T70" fmla="*/ 41 w 61"/>
                <a:gd name="T71" fmla="*/ 114 h 142"/>
                <a:gd name="T72" fmla="*/ 41 w 61"/>
                <a:gd name="T73" fmla="*/ 112 h 142"/>
                <a:gd name="T74" fmla="*/ 38 w 61"/>
                <a:gd name="T75" fmla="*/ 104 h 142"/>
                <a:gd name="T76" fmla="*/ 41 w 61"/>
                <a:gd name="T77" fmla="*/ 94 h 142"/>
                <a:gd name="T78" fmla="*/ 41 w 61"/>
                <a:gd name="T79" fmla="*/ 86 h 142"/>
                <a:gd name="T80" fmla="*/ 44 w 61"/>
                <a:gd name="T81" fmla="*/ 76 h 142"/>
                <a:gd name="T82" fmla="*/ 49 w 61"/>
                <a:gd name="T83" fmla="*/ 71 h 142"/>
                <a:gd name="T84" fmla="*/ 51 w 61"/>
                <a:gd name="T85" fmla="*/ 66 h 142"/>
                <a:gd name="T86" fmla="*/ 54 w 61"/>
                <a:gd name="T87" fmla="*/ 58 h 142"/>
                <a:gd name="T88" fmla="*/ 56 w 61"/>
                <a:gd name="T89" fmla="*/ 58 h 142"/>
                <a:gd name="T90" fmla="*/ 56 w 61"/>
                <a:gd name="T91" fmla="*/ 48 h 142"/>
                <a:gd name="T92" fmla="*/ 59 w 61"/>
                <a:gd name="T93" fmla="*/ 45 h 142"/>
                <a:gd name="T94" fmla="*/ 61 w 61"/>
                <a:gd name="T95" fmla="*/ 45 h 142"/>
                <a:gd name="T96" fmla="*/ 61 w 61"/>
                <a:gd name="T97" fmla="*/ 40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1" h="142">
                  <a:moveTo>
                    <a:pt x="61" y="40"/>
                  </a:moveTo>
                  <a:lnTo>
                    <a:pt x="61" y="38"/>
                  </a:lnTo>
                  <a:lnTo>
                    <a:pt x="61" y="35"/>
                  </a:lnTo>
                  <a:lnTo>
                    <a:pt x="61" y="33"/>
                  </a:lnTo>
                  <a:lnTo>
                    <a:pt x="61" y="30"/>
                  </a:lnTo>
                  <a:lnTo>
                    <a:pt x="59" y="30"/>
                  </a:lnTo>
                  <a:lnTo>
                    <a:pt x="59" y="28"/>
                  </a:lnTo>
                  <a:lnTo>
                    <a:pt x="59" y="28"/>
                  </a:lnTo>
                  <a:lnTo>
                    <a:pt x="56" y="22"/>
                  </a:lnTo>
                  <a:lnTo>
                    <a:pt x="56" y="20"/>
                  </a:lnTo>
                  <a:lnTo>
                    <a:pt x="56" y="17"/>
                  </a:lnTo>
                  <a:lnTo>
                    <a:pt x="59" y="17"/>
                  </a:lnTo>
                  <a:lnTo>
                    <a:pt x="56" y="15"/>
                  </a:lnTo>
                  <a:lnTo>
                    <a:pt x="56" y="12"/>
                  </a:lnTo>
                  <a:lnTo>
                    <a:pt x="54" y="12"/>
                  </a:lnTo>
                  <a:lnTo>
                    <a:pt x="51" y="12"/>
                  </a:lnTo>
                  <a:lnTo>
                    <a:pt x="51" y="10"/>
                  </a:lnTo>
                  <a:lnTo>
                    <a:pt x="49" y="7"/>
                  </a:lnTo>
                  <a:lnTo>
                    <a:pt x="44" y="2"/>
                  </a:lnTo>
                  <a:lnTo>
                    <a:pt x="44" y="2"/>
                  </a:lnTo>
                  <a:lnTo>
                    <a:pt x="44" y="0"/>
                  </a:lnTo>
                  <a:lnTo>
                    <a:pt x="41" y="2"/>
                  </a:lnTo>
                  <a:lnTo>
                    <a:pt x="41" y="2"/>
                  </a:lnTo>
                  <a:lnTo>
                    <a:pt x="38" y="2"/>
                  </a:lnTo>
                  <a:lnTo>
                    <a:pt x="38" y="2"/>
                  </a:lnTo>
                  <a:lnTo>
                    <a:pt x="36" y="5"/>
                  </a:lnTo>
                  <a:lnTo>
                    <a:pt x="33" y="5"/>
                  </a:lnTo>
                  <a:lnTo>
                    <a:pt x="33" y="5"/>
                  </a:lnTo>
                  <a:lnTo>
                    <a:pt x="33" y="10"/>
                  </a:lnTo>
                  <a:lnTo>
                    <a:pt x="33" y="12"/>
                  </a:lnTo>
                  <a:lnTo>
                    <a:pt x="33" y="12"/>
                  </a:lnTo>
                  <a:lnTo>
                    <a:pt x="31" y="17"/>
                  </a:lnTo>
                  <a:lnTo>
                    <a:pt x="31" y="17"/>
                  </a:lnTo>
                  <a:lnTo>
                    <a:pt x="26" y="22"/>
                  </a:lnTo>
                  <a:lnTo>
                    <a:pt x="23" y="22"/>
                  </a:lnTo>
                  <a:lnTo>
                    <a:pt x="18" y="22"/>
                  </a:lnTo>
                  <a:lnTo>
                    <a:pt x="18" y="22"/>
                  </a:lnTo>
                  <a:lnTo>
                    <a:pt x="16" y="22"/>
                  </a:lnTo>
                  <a:lnTo>
                    <a:pt x="16" y="22"/>
                  </a:lnTo>
                  <a:lnTo>
                    <a:pt x="13" y="22"/>
                  </a:lnTo>
                  <a:lnTo>
                    <a:pt x="13" y="22"/>
                  </a:lnTo>
                  <a:lnTo>
                    <a:pt x="13" y="22"/>
                  </a:lnTo>
                  <a:lnTo>
                    <a:pt x="13" y="25"/>
                  </a:lnTo>
                  <a:lnTo>
                    <a:pt x="10" y="25"/>
                  </a:lnTo>
                  <a:lnTo>
                    <a:pt x="10" y="25"/>
                  </a:lnTo>
                  <a:lnTo>
                    <a:pt x="10" y="25"/>
                  </a:lnTo>
                  <a:lnTo>
                    <a:pt x="8" y="28"/>
                  </a:lnTo>
                  <a:lnTo>
                    <a:pt x="8" y="28"/>
                  </a:lnTo>
                  <a:lnTo>
                    <a:pt x="8" y="28"/>
                  </a:lnTo>
                  <a:lnTo>
                    <a:pt x="8" y="28"/>
                  </a:lnTo>
                  <a:lnTo>
                    <a:pt x="8" y="30"/>
                  </a:lnTo>
                  <a:lnTo>
                    <a:pt x="8" y="30"/>
                  </a:lnTo>
                  <a:lnTo>
                    <a:pt x="8" y="30"/>
                  </a:lnTo>
                  <a:lnTo>
                    <a:pt x="5" y="30"/>
                  </a:lnTo>
                  <a:lnTo>
                    <a:pt x="5" y="30"/>
                  </a:lnTo>
                  <a:lnTo>
                    <a:pt x="5" y="33"/>
                  </a:lnTo>
                  <a:lnTo>
                    <a:pt x="5" y="33"/>
                  </a:lnTo>
                  <a:lnTo>
                    <a:pt x="3" y="33"/>
                  </a:lnTo>
                  <a:lnTo>
                    <a:pt x="3" y="35"/>
                  </a:lnTo>
                  <a:lnTo>
                    <a:pt x="3" y="38"/>
                  </a:lnTo>
                  <a:lnTo>
                    <a:pt x="3" y="38"/>
                  </a:lnTo>
                  <a:lnTo>
                    <a:pt x="0" y="45"/>
                  </a:lnTo>
                  <a:lnTo>
                    <a:pt x="0" y="48"/>
                  </a:lnTo>
                  <a:lnTo>
                    <a:pt x="3" y="48"/>
                  </a:lnTo>
                  <a:lnTo>
                    <a:pt x="5" y="50"/>
                  </a:lnTo>
                  <a:lnTo>
                    <a:pt x="10" y="53"/>
                  </a:lnTo>
                  <a:lnTo>
                    <a:pt x="13" y="56"/>
                  </a:lnTo>
                  <a:lnTo>
                    <a:pt x="13" y="56"/>
                  </a:lnTo>
                  <a:lnTo>
                    <a:pt x="13" y="61"/>
                  </a:lnTo>
                  <a:lnTo>
                    <a:pt x="13" y="66"/>
                  </a:lnTo>
                  <a:lnTo>
                    <a:pt x="13" y="68"/>
                  </a:lnTo>
                  <a:lnTo>
                    <a:pt x="13" y="68"/>
                  </a:lnTo>
                  <a:lnTo>
                    <a:pt x="13" y="71"/>
                  </a:lnTo>
                  <a:lnTo>
                    <a:pt x="18" y="73"/>
                  </a:lnTo>
                  <a:lnTo>
                    <a:pt x="18" y="76"/>
                  </a:lnTo>
                  <a:lnTo>
                    <a:pt x="18" y="84"/>
                  </a:lnTo>
                  <a:lnTo>
                    <a:pt x="18" y="89"/>
                  </a:lnTo>
                  <a:lnTo>
                    <a:pt x="18" y="94"/>
                  </a:lnTo>
                  <a:lnTo>
                    <a:pt x="18" y="99"/>
                  </a:lnTo>
                  <a:lnTo>
                    <a:pt x="18" y="106"/>
                  </a:lnTo>
                  <a:lnTo>
                    <a:pt x="18" y="114"/>
                  </a:lnTo>
                  <a:lnTo>
                    <a:pt x="18" y="124"/>
                  </a:lnTo>
                  <a:lnTo>
                    <a:pt x="16" y="124"/>
                  </a:lnTo>
                  <a:lnTo>
                    <a:pt x="18" y="127"/>
                  </a:lnTo>
                  <a:lnTo>
                    <a:pt x="18" y="129"/>
                  </a:lnTo>
                  <a:lnTo>
                    <a:pt x="18" y="129"/>
                  </a:lnTo>
                  <a:lnTo>
                    <a:pt x="18" y="129"/>
                  </a:lnTo>
                  <a:lnTo>
                    <a:pt x="18" y="132"/>
                  </a:lnTo>
                  <a:lnTo>
                    <a:pt x="18" y="132"/>
                  </a:lnTo>
                  <a:lnTo>
                    <a:pt x="21" y="137"/>
                  </a:lnTo>
                  <a:lnTo>
                    <a:pt x="21" y="140"/>
                  </a:lnTo>
                  <a:lnTo>
                    <a:pt x="18" y="140"/>
                  </a:lnTo>
                  <a:lnTo>
                    <a:pt x="18" y="142"/>
                  </a:lnTo>
                  <a:lnTo>
                    <a:pt x="21" y="140"/>
                  </a:lnTo>
                  <a:lnTo>
                    <a:pt x="31" y="140"/>
                  </a:lnTo>
                  <a:lnTo>
                    <a:pt x="38" y="137"/>
                  </a:lnTo>
                  <a:lnTo>
                    <a:pt x="38" y="137"/>
                  </a:lnTo>
                  <a:lnTo>
                    <a:pt x="41" y="132"/>
                  </a:lnTo>
                  <a:lnTo>
                    <a:pt x="41" y="132"/>
                  </a:lnTo>
                  <a:lnTo>
                    <a:pt x="41" y="129"/>
                  </a:lnTo>
                  <a:lnTo>
                    <a:pt x="41" y="129"/>
                  </a:lnTo>
                  <a:lnTo>
                    <a:pt x="41" y="127"/>
                  </a:lnTo>
                  <a:lnTo>
                    <a:pt x="41" y="124"/>
                  </a:lnTo>
                  <a:lnTo>
                    <a:pt x="41" y="122"/>
                  </a:lnTo>
                  <a:lnTo>
                    <a:pt x="41" y="122"/>
                  </a:lnTo>
                  <a:lnTo>
                    <a:pt x="41" y="119"/>
                  </a:lnTo>
                  <a:lnTo>
                    <a:pt x="41" y="114"/>
                  </a:lnTo>
                  <a:lnTo>
                    <a:pt x="41" y="114"/>
                  </a:lnTo>
                  <a:lnTo>
                    <a:pt x="41" y="114"/>
                  </a:lnTo>
                  <a:lnTo>
                    <a:pt x="41" y="112"/>
                  </a:lnTo>
                  <a:lnTo>
                    <a:pt x="41" y="112"/>
                  </a:lnTo>
                  <a:lnTo>
                    <a:pt x="41" y="109"/>
                  </a:lnTo>
                  <a:lnTo>
                    <a:pt x="41" y="106"/>
                  </a:lnTo>
                  <a:lnTo>
                    <a:pt x="38" y="104"/>
                  </a:lnTo>
                  <a:lnTo>
                    <a:pt x="38" y="104"/>
                  </a:lnTo>
                  <a:lnTo>
                    <a:pt x="38" y="99"/>
                  </a:lnTo>
                  <a:lnTo>
                    <a:pt x="41" y="94"/>
                  </a:lnTo>
                  <a:lnTo>
                    <a:pt x="38" y="91"/>
                  </a:lnTo>
                  <a:lnTo>
                    <a:pt x="41" y="91"/>
                  </a:lnTo>
                  <a:lnTo>
                    <a:pt x="41" y="86"/>
                  </a:lnTo>
                  <a:lnTo>
                    <a:pt x="41" y="84"/>
                  </a:lnTo>
                  <a:lnTo>
                    <a:pt x="41" y="76"/>
                  </a:lnTo>
                  <a:lnTo>
                    <a:pt x="44" y="76"/>
                  </a:lnTo>
                  <a:lnTo>
                    <a:pt x="46" y="76"/>
                  </a:lnTo>
                  <a:lnTo>
                    <a:pt x="49" y="73"/>
                  </a:lnTo>
                  <a:lnTo>
                    <a:pt x="49" y="71"/>
                  </a:lnTo>
                  <a:lnTo>
                    <a:pt x="49" y="68"/>
                  </a:lnTo>
                  <a:lnTo>
                    <a:pt x="49" y="66"/>
                  </a:lnTo>
                  <a:lnTo>
                    <a:pt x="51" y="66"/>
                  </a:lnTo>
                  <a:lnTo>
                    <a:pt x="51" y="63"/>
                  </a:lnTo>
                  <a:lnTo>
                    <a:pt x="51" y="61"/>
                  </a:lnTo>
                  <a:lnTo>
                    <a:pt x="54" y="58"/>
                  </a:lnTo>
                  <a:lnTo>
                    <a:pt x="54" y="58"/>
                  </a:lnTo>
                  <a:lnTo>
                    <a:pt x="56" y="58"/>
                  </a:lnTo>
                  <a:lnTo>
                    <a:pt x="56" y="58"/>
                  </a:lnTo>
                  <a:lnTo>
                    <a:pt x="59" y="56"/>
                  </a:lnTo>
                  <a:lnTo>
                    <a:pt x="59" y="50"/>
                  </a:lnTo>
                  <a:lnTo>
                    <a:pt x="56" y="48"/>
                  </a:lnTo>
                  <a:lnTo>
                    <a:pt x="56" y="48"/>
                  </a:lnTo>
                  <a:lnTo>
                    <a:pt x="59" y="48"/>
                  </a:lnTo>
                  <a:lnTo>
                    <a:pt x="59" y="45"/>
                  </a:lnTo>
                  <a:lnTo>
                    <a:pt x="59" y="45"/>
                  </a:lnTo>
                  <a:lnTo>
                    <a:pt x="61" y="45"/>
                  </a:lnTo>
                  <a:lnTo>
                    <a:pt x="61" y="45"/>
                  </a:lnTo>
                  <a:lnTo>
                    <a:pt x="61" y="45"/>
                  </a:lnTo>
                  <a:lnTo>
                    <a:pt x="61" y="40"/>
                  </a:lnTo>
                  <a:lnTo>
                    <a:pt x="61" y="40"/>
                  </a:lnTo>
                  <a:close/>
                </a:path>
              </a:pathLst>
            </a:custGeom>
            <a:solidFill>
              <a:srgbClr val="FFC000"/>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366" name="Freeform 1985">
              <a:extLst>
                <a:ext uri="{FF2B5EF4-FFF2-40B4-BE49-F238E27FC236}">
                  <a16:creationId xmlns:a16="http://schemas.microsoft.com/office/drawing/2014/main" id="{022599C9-5331-E74C-A0DF-4E59F94E0DC7}"/>
                </a:ext>
              </a:extLst>
            </p:cNvPr>
            <p:cNvSpPr>
              <a:spLocks noEditPoints="1"/>
            </p:cNvSpPr>
            <p:nvPr/>
          </p:nvSpPr>
          <p:spPr bwMode="auto">
            <a:xfrm>
              <a:off x="2711710" y="3114120"/>
              <a:ext cx="53980" cy="96509"/>
            </a:xfrm>
            <a:custGeom>
              <a:avLst/>
              <a:gdLst>
                <a:gd name="T0" fmla="*/ 30 w 33"/>
                <a:gd name="T1" fmla="*/ 23 h 59"/>
                <a:gd name="T2" fmla="*/ 30 w 33"/>
                <a:gd name="T3" fmla="*/ 26 h 59"/>
                <a:gd name="T4" fmla="*/ 30 w 33"/>
                <a:gd name="T5" fmla="*/ 23 h 59"/>
                <a:gd name="T6" fmla="*/ 33 w 33"/>
                <a:gd name="T7" fmla="*/ 23 h 59"/>
                <a:gd name="T8" fmla="*/ 33 w 33"/>
                <a:gd name="T9" fmla="*/ 23 h 59"/>
                <a:gd name="T10" fmla="*/ 33 w 33"/>
                <a:gd name="T11" fmla="*/ 8 h 59"/>
                <a:gd name="T12" fmla="*/ 30 w 33"/>
                <a:gd name="T13" fmla="*/ 10 h 59"/>
                <a:gd name="T14" fmla="*/ 30 w 33"/>
                <a:gd name="T15" fmla="*/ 13 h 59"/>
                <a:gd name="T16" fmla="*/ 33 w 33"/>
                <a:gd name="T17" fmla="*/ 8 h 59"/>
                <a:gd name="T18" fmla="*/ 25 w 33"/>
                <a:gd name="T19" fmla="*/ 3 h 59"/>
                <a:gd name="T20" fmla="*/ 25 w 33"/>
                <a:gd name="T21" fmla="*/ 0 h 59"/>
                <a:gd name="T22" fmla="*/ 23 w 33"/>
                <a:gd name="T23" fmla="*/ 0 h 59"/>
                <a:gd name="T24" fmla="*/ 20 w 33"/>
                <a:gd name="T25" fmla="*/ 5 h 59"/>
                <a:gd name="T26" fmla="*/ 15 w 33"/>
                <a:gd name="T27" fmla="*/ 13 h 59"/>
                <a:gd name="T28" fmla="*/ 12 w 33"/>
                <a:gd name="T29" fmla="*/ 13 h 59"/>
                <a:gd name="T30" fmla="*/ 10 w 33"/>
                <a:gd name="T31" fmla="*/ 10 h 59"/>
                <a:gd name="T32" fmla="*/ 7 w 33"/>
                <a:gd name="T33" fmla="*/ 13 h 59"/>
                <a:gd name="T34" fmla="*/ 5 w 33"/>
                <a:gd name="T35" fmla="*/ 21 h 59"/>
                <a:gd name="T36" fmla="*/ 5 w 33"/>
                <a:gd name="T37" fmla="*/ 31 h 59"/>
                <a:gd name="T38" fmla="*/ 2 w 33"/>
                <a:gd name="T39" fmla="*/ 43 h 59"/>
                <a:gd name="T40" fmla="*/ 0 w 33"/>
                <a:gd name="T41" fmla="*/ 59 h 59"/>
                <a:gd name="T42" fmla="*/ 2 w 33"/>
                <a:gd name="T43" fmla="*/ 59 h 59"/>
                <a:gd name="T44" fmla="*/ 7 w 33"/>
                <a:gd name="T45" fmla="*/ 59 h 59"/>
                <a:gd name="T46" fmla="*/ 7 w 33"/>
                <a:gd name="T47" fmla="*/ 56 h 59"/>
                <a:gd name="T48" fmla="*/ 15 w 33"/>
                <a:gd name="T49" fmla="*/ 51 h 59"/>
                <a:gd name="T50" fmla="*/ 18 w 33"/>
                <a:gd name="T51" fmla="*/ 46 h 59"/>
                <a:gd name="T52" fmla="*/ 23 w 33"/>
                <a:gd name="T53" fmla="*/ 36 h 59"/>
                <a:gd name="T54" fmla="*/ 23 w 33"/>
                <a:gd name="T55" fmla="*/ 26 h 59"/>
                <a:gd name="T56" fmla="*/ 25 w 33"/>
                <a:gd name="T57" fmla="*/ 23 h 59"/>
                <a:gd name="T58" fmla="*/ 25 w 33"/>
                <a:gd name="T59" fmla="*/ 18 h 59"/>
                <a:gd name="T60" fmla="*/ 28 w 33"/>
                <a:gd name="T61" fmla="*/ 8 h 59"/>
                <a:gd name="T62" fmla="*/ 28 w 33"/>
                <a:gd name="T63" fmla="*/ 3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3" h="59">
                  <a:moveTo>
                    <a:pt x="33" y="23"/>
                  </a:moveTo>
                  <a:lnTo>
                    <a:pt x="30" y="23"/>
                  </a:lnTo>
                  <a:lnTo>
                    <a:pt x="30" y="23"/>
                  </a:lnTo>
                  <a:lnTo>
                    <a:pt x="30" y="26"/>
                  </a:lnTo>
                  <a:lnTo>
                    <a:pt x="30" y="28"/>
                  </a:lnTo>
                  <a:lnTo>
                    <a:pt x="30" y="23"/>
                  </a:lnTo>
                  <a:lnTo>
                    <a:pt x="33" y="23"/>
                  </a:lnTo>
                  <a:lnTo>
                    <a:pt x="33" y="23"/>
                  </a:lnTo>
                  <a:lnTo>
                    <a:pt x="33" y="21"/>
                  </a:lnTo>
                  <a:lnTo>
                    <a:pt x="33" y="23"/>
                  </a:lnTo>
                  <a:close/>
                  <a:moveTo>
                    <a:pt x="33" y="8"/>
                  </a:moveTo>
                  <a:lnTo>
                    <a:pt x="33" y="8"/>
                  </a:lnTo>
                  <a:lnTo>
                    <a:pt x="33" y="8"/>
                  </a:lnTo>
                  <a:lnTo>
                    <a:pt x="30" y="10"/>
                  </a:lnTo>
                  <a:lnTo>
                    <a:pt x="30" y="13"/>
                  </a:lnTo>
                  <a:lnTo>
                    <a:pt x="30" y="13"/>
                  </a:lnTo>
                  <a:lnTo>
                    <a:pt x="30" y="13"/>
                  </a:lnTo>
                  <a:lnTo>
                    <a:pt x="33" y="8"/>
                  </a:lnTo>
                  <a:close/>
                  <a:moveTo>
                    <a:pt x="28" y="3"/>
                  </a:moveTo>
                  <a:lnTo>
                    <a:pt x="25" y="3"/>
                  </a:lnTo>
                  <a:lnTo>
                    <a:pt x="25" y="3"/>
                  </a:lnTo>
                  <a:lnTo>
                    <a:pt x="25" y="0"/>
                  </a:lnTo>
                  <a:lnTo>
                    <a:pt x="25" y="0"/>
                  </a:lnTo>
                  <a:lnTo>
                    <a:pt x="23" y="0"/>
                  </a:lnTo>
                  <a:lnTo>
                    <a:pt x="23" y="0"/>
                  </a:lnTo>
                  <a:lnTo>
                    <a:pt x="20" y="5"/>
                  </a:lnTo>
                  <a:lnTo>
                    <a:pt x="15" y="10"/>
                  </a:lnTo>
                  <a:lnTo>
                    <a:pt x="15" y="13"/>
                  </a:lnTo>
                  <a:lnTo>
                    <a:pt x="12" y="13"/>
                  </a:lnTo>
                  <a:lnTo>
                    <a:pt x="12" y="13"/>
                  </a:lnTo>
                  <a:lnTo>
                    <a:pt x="12" y="13"/>
                  </a:lnTo>
                  <a:lnTo>
                    <a:pt x="10" y="10"/>
                  </a:lnTo>
                  <a:lnTo>
                    <a:pt x="7" y="13"/>
                  </a:lnTo>
                  <a:lnTo>
                    <a:pt x="7" y="13"/>
                  </a:lnTo>
                  <a:lnTo>
                    <a:pt x="7" y="15"/>
                  </a:lnTo>
                  <a:lnTo>
                    <a:pt x="5" y="21"/>
                  </a:lnTo>
                  <a:lnTo>
                    <a:pt x="5" y="28"/>
                  </a:lnTo>
                  <a:lnTo>
                    <a:pt x="5" y="31"/>
                  </a:lnTo>
                  <a:lnTo>
                    <a:pt x="2" y="38"/>
                  </a:lnTo>
                  <a:lnTo>
                    <a:pt x="2" y="43"/>
                  </a:lnTo>
                  <a:lnTo>
                    <a:pt x="0" y="54"/>
                  </a:lnTo>
                  <a:lnTo>
                    <a:pt x="0" y="59"/>
                  </a:lnTo>
                  <a:lnTo>
                    <a:pt x="0" y="59"/>
                  </a:lnTo>
                  <a:lnTo>
                    <a:pt x="2" y="59"/>
                  </a:lnTo>
                  <a:lnTo>
                    <a:pt x="5" y="59"/>
                  </a:lnTo>
                  <a:lnTo>
                    <a:pt x="7" y="59"/>
                  </a:lnTo>
                  <a:lnTo>
                    <a:pt x="5" y="59"/>
                  </a:lnTo>
                  <a:lnTo>
                    <a:pt x="7" y="56"/>
                  </a:lnTo>
                  <a:lnTo>
                    <a:pt x="10" y="51"/>
                  </a:lnTo>
                  <a:lnTo>
                    <a:pt x="15" y="51"/>
                  </a:lnTo>
                  <a:lnTo>
                    <a:pt x="18" y="46"/>
                  </a:lnTo>
                  <a:lnTo>
                    <a:pt x="18" y="46"/>
                  </a:lnTo>
                  <a:lnTo>
                    <a:pt x="20" y="43"/>
                  </a:lnTo>
                  <a:lnTo>
                    <a:pt x="23" y="36"/>
                  </a:lnTo>
                  <a:lnTo>
                    <a:pt x="23" y="31"/>
                  </a:lnTo>
                  <a:lnTo>
                    <a:pt x="23" y="26"/>
                  </a:lnTo>
                  <a:lnTo>
                    <a:pt x="23" y="26"/>
                  </a:lnTo>
                  <a:lnTo>
                    <a:pt x="25" y="23"/>
                  </a:lnTo>
                  <a:lnTo>
                    <a:pt x="23" y="21"/>
                  </a:lnTo>
                  <a:lnTo>
                    <a:pt x="25" y="18"/>
                  </a:lnTo>
                  <a:lnTo>
                    <a:pt x="25" y="15"/>
                  </a:lnTo>
                  <a:lnTo>
                    <a:pt x="28" y="8"/>
                  </a:lnTo>
                  <a:lnTo>
                    <a:pt x="30" y="5"/>
                  </a:lnTo>
                  <a:lnTo>
                    <a:pt x="28" y="3"/>
                  </a:lnTo>
                  <a:lnTo>
                    <a:pt x="28" y="3"/>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367" name="Freeform 1986">
              <a:extLst>
                <a:ext uri="{FF2B5EF4-FFF2-40B4-BE49-F238E27FC236}">
                  <a16:creationId xmlns:a16="http://schemas.microsoft.com/office/drawing/2014/main" id="{D09FA6CB-AA56-BE46-A7F1-1F7428616706}"/>
                </a:ext>
              </a:extLst>
            </p:cNvPr>
            <p:cNvSpPr>
              <a:spLocks/>
            </p:cNvSpPr>
            <p:nvPr/>
          </p:nvSpPr>
          <p:spPr bwMode="auto">
            <a:xfrm>
              <a:off x="5729644" y="1895496"/>
              <a:ext cx="107959" cy="73609"/>
            </a:xfrm>
            <a:custGeom>
              <a:avLst/>
              <a:gdLst>
                <a:gd name="T0" fmla="*/ 66 w 66"/>
                <a:gd name="T1" fmla="*/ 22 h 45"/>
                <a:gd name="T2" fmla="*/ 64 w 66"/>
                <a:gd name="T3" fmla="*/ 22 h 45"/>
                <a:gd name="T4" fmla="*/ 61 w 66"/>
                <a:gd name="T5" fmla="*/ 17 h 45"/>
                <a:gd name="T6" fmla="*/ 58 w 66"/>
                <a:gd name="T7" fmla="*/ 17 h 45"/>
                <a:gd name="T8" fmla="*/ 56 w 66"/>
                <a:gd name="T9" fmla="*/ 17 h 45"/>
                <a:gd name="T10" fmla="*/ 53 w 66"/>
                <a:gd name="T11" fmla="*/ 15 h 45"/>
                <a:gd name="T12" fmla="*/ 56 w 66"/>
                <a:gd name="T13" fmla="*/ 12 h 45"/>
                <a:gd name="T14" fmla="*/ 58 w 66"/>
                <a:gd name="T15" fmla="*/ 10 h 45"/>
                <a:gd name="T16" fmla="*/ 53 w 66"/>
                <a:gd name="T17" fmla="*/ 7 h 45"/>
                <a:gd name="T18" fmla="*/ 51 w 66"/>
                <a:gd name="T19" fmla="*/ 5 h 45"/>
                <a:gd name="T20" fmla="*/ 46 w 66"/>
                <a:gd name="T21" fmla="*/ 5 h 45"/>
                <a:gd name="T22" fmla="*/ 43 w 66"/>
                <a:gd name="T23" fmla="*/ 2 h 45"/>
                <a:gd name="T24" fmla="*/ 43 w 66"/>
                <a:gd name="T25" fmla="*/ 2 h 45"/>
                <a:gd name="T26" fmla="*/ 41 w 66"/>
                <a:gd name="T27" fmla="*/ 2 h 45"/>
                <a:gd name="T28" fmla="*/ 38 w 66"/>
                <a:gd name="T29" fmla="*/ 0 h 45"/>
                <a:gd name="T30" fmla="*/ 36 w 66"/>
                <a:gd name="T31" fmla="*/ 2 h 45"/>
                <a:gd name="T32" fmla="*/ 33 w 66"/>
                <a:gd name="T33" fmla="*/ 2 h 45"/>
                <a:gd name="T34" fmla="*/ 30 w 66"/>
                <a:gd name="T35" fmla="*/ 5 h 45"/>
                <a:gd name="T36" fmla="*/ 28 w 66"/>
                <a:gd name="T37" fmla="*/ 5 h 45"/>
                <a:gd name="T38" fmla="*/ 23 w 66"/>
                <a:gd name="T39" fmla="*/ 7 h 45"/>
                <a:gd name="T40" fmla="*/ 20 w 66"/>
                <a:gd name="T41" fmla="*/ 5 h 45"/>
                <a:gd name="T42" fmla="*/ 18 w 66"/>
                <a:gd name="T43" fmla="*/ 7 h 45"/>
                <a:gd name="T44" fmla="*/ 15 w 66"/>
                <a:gd name="T45" fmla="*/ 5 h 45"/>
                <a:gd name="T46" fmla="*/ 7 w 66"/>
                <a:gd name="T47" fmla="*/ 5 h 45"/>
                <a:gd name="T48" fmla="*/ 0 w 66"/>
                <a:gd name="T49" fmla="*/ 12 h 45"/>
                <a:gd name="T50" fmla="*/ 2 w 66"/>
                <a:gd name="T51" fmla="*/ 15 h 45"/>
                <a:gd name="T52" fmla="*/ 5 w 66"/>
                <a:gd name="T53" fmla="*/ 17 h 45"/>
                <a:gd name="T54" fmla="*/ 7 w 66"/>
                <a:gd name="T55" fmla="*/ 17 h 45"/>
                <a:gd name="T56" fmla="*/ 10 w 66"/>
                <a:gd name="T57" fmla="*/ 17 h 45"/>
                <a:gd name="T58" fmla="*/ 13 w 66"/>
                <a:gd name="T59" fmla="*/ 22 h 45"/>
                <a:gd name="T60" fmla="*/ 18 w 66"/>
                <a:gd name="T61" fmla="*/ 22 h 45"/>
                <a:gd name="T62" fmla="*/ 20 w 66"/>
                <a:gd name="T63" fmla="*/ 28 h 45"/>
                <a:gd name="T64" fmla="*/ 20 w 66"/>
                <a:gd name="T65" fmla="*/ 25 h 45"/>
                <a:gd name="T66" fmla="*/ 25 w 66"/>
                <a:gd name="T67" fmla="*/ 28 h 45"/>
                <a:gd name="T68" fmla="*/ 28 w 66"/>
                <a:gd name="T69" fmla="*/ 30 h 45"/>
                <a:gd name="T70" fmla="*/ 28 w 66"/>
                <a:gd name="T71" fmla="*/ 33 h 45"/>
                <a:gd name="T72" fmla="*/ 28 w 66"/>
                <a:gd name="T73" fmla="*/ 33 h 45"/>
                <a:gd name="T74" fmla="*/ 28 w 66"/>
                <a:gd name="T75" fmla="*/ 35 h 45"/>
                <a:gd name="T76" fmla="*/ 36 w 66"/>
                <a:gd name="T77" fmla="*/ 33 h 45"/>
                <a:gd name="T78" fmla="*/ 38 w 66"/>
                <a:gd name="T79" fmla="*/ 30 h 45"/>
                <a:gd name="T80" fmla="*/ 38 w 66"/>
                <a:gd name="T81" fmla="*/ 35 h 45"/>
                <a:gd name="T82" fmla="*/ 41 w 66"/>
                <a:gd name="T83" fmla="*/ 38 h 45"/>
                <a:gd name="T84" fmla="*/ 43 w 66"/>
                <a:gd name="T85" fmla="*/ 38 h 45"/>
                <a:gd name="T86" fmla="*/ 46 w 66"/>
                <a:gd name="T87" fmla="*/ 40 h 45"/>
                <a:gd name="T88" fmla="*/ 48 w 66"/>
                <a:gd name="T89" fmla="*/ 43 h 45"/>
                <a:gd name="T90" fmla="*/ 53 w 66"/>
                <a:gd name="T91" fmla="*/ 43 h 45"/>
                <a:gd name="T92" fmla="*/ 56 w 66"/>
                <a:gd name="T93" fmla="*/ 43 h 45"/>
                <a:gd name="T94" fmla="*/ 58 w 66"/>
                <a:gd name="T95" fmla="*/ 40 h 45"/>
                <a:gd name="T96" fmla="*/ 56 w 66"/>
                <a:gd name="T97" fmla="*/ 38 h 45"/>
                <a:gd name="T98" fmla="*/ 56 w 66"/>
                <a:gd name="T99" fmla="*/ 35 h 45"/>
                <a:gd name="T100" fmla="*/ 56 w 66"/>
                <a:gd name="T101" fmla="*/ 33 h 45"/>
                <a:gd name="T102" fmla="*/ 61 w 66"/>
                <a:gd name="T103" fmla="*/ 30 h 45"/>
                <a:gd name="T104" fmla="*/ 61 w 66"/>
                <a:gd name="T105" fmla="*/ 30 h 45"/>
                <a:gd name="T106" fmla="*/ 66 w 66"/>
                <a:gd name="T107" fmla="*/ 28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 h="45">
                  <a:moveTo>
                    <a:pt x="66" y="25"/>
                  </a:moveTo>
                  <a:lnTo>
                    <a:pt x="66" y="22"/>
                  </a:lnTo>
                  <a:lnTo>
                    <a:pt x="66" y="22"/>
                  </a:lnTo>
                  <a:lnTo>
                    <a:pt x="64" y="22"/>
                  </a:lnTo>
                  <a:lnTo>
                    <a:pt x="64" y="22"/>
                  </a:lnTo>
                  <a:lnTo>
                    <a:pt x="64" y="22"/>
                  </a:lnTo>
                  <a:lnTo>
                    <a:pt x="64" y="20"/>
                  </a:lnTo>
                  <a:lnTo>
                    <a:pt x="64" y="20"/>
                  </a:lnTo>
                  <a:lnTo>
                    <a:pt x="61" y="17"/>
                  </a:lnTo>
                  <a:lnTo>
                    <a:pt x="61" y="17"/>
                  </a:lnTo>
                  <a:lnTo>
                    <a:pt x="61" y="17"/>
                  </a:lnTo>
                  <a:lnTo>
                    <a:pt x="58" y="17"/>
                  </a:lnTo>
                  <a:lnTo>
                    <a:pt x="58" y="15"/>
                  </a:lnTo>
                  <a:lnTo>
                    <a:pt x="56" y="17"/>
                  </a:lnTo>
                  <a:lnTo>
                    <a:pt x="56" y="17"/>
                  </a:lnTo>
                  <a:lnTo>
                    <a:pt x="53" y="15"/>
                  </a:lnTo>
                  <a:lnTo>
                    <a:pt x="53" y="15"/>
                  </a:lnTo>
                  <a:lnTo>
                    <a:pt x="53" y="15"/>
                  </a:lnTo>
                  <a:lnTo>
                    <a:pt x="56" y="12"/>
                  </a:lnTo>
                  <a:lnTo>
                    <a:pt x="56" y="12"/>
                  </a:lnTo>
                  <a:lnTo>
                    <a:pt x="56" y="12"/>
                  </a:lnTo>
                  <a:lnTo>
                    <a:pt x="56" y="12"/>
                  </a:lnTo>
                  <a:lnTo>
                    <a:pt x="58" y="10"/>
                  </a:lnTo>
                  <a:lnTo>
                    <a:pt x="58" y="10"/>
                  </a:lnTo>
                  <a:lnTo>
                    <a:pt x="56" y="7"/>
                  </a:lnTo>
                  <a:lnTo>
                    <a:pt x="56" y="7"/>
                  </a:lnTo>
                  <a:lnTo>
                    <a:pt x="53" y="7"/>
                  </a:lnTo>
                  <a:lnTo>
                    <a:pt x="53" y="7"/>
                  </a:lnTo>
                  <a:lnTo>
                    <a:pt x="51" y="5"/>
                  </a:lnTo>
                  <a:lnTo>
                    <a:pt x="51" y="5"/>
                  </a:lnTo>
                  <a:lnTo>
                    <a:pt x="51" y="5"/>
                  </a:lnTo>
                  <a:lnTo>
                    <a:pt x="48" y="5"/>
                  </a:lnTo>
                  <a:lnTo>
                    <a:pt x="46" y="5"/>
                  </a:lnTo>
                  <a:lnTo>
                    <a:pt x="46" y="5"/>
                  </a:lnTo>
                  <a:lnTo>
                    <a:pt x="46" y="2"/>
                  </a:lnTo>
                  <a:lnTo>
                    <a:pt x="43" y="2"/>
                  </a:lnTo>
                  <a:lnTo>
                    <a:pt x="43" y="2"/>
                  </a:lnTo>
                  <a:lnTo>
                    <a:pt x="43" y="2"/>
                  </a:lnTo>
                  <a:lnTo>
                    <a:pt x="43" y="2"/>
                  </a:lnTo>
                  <a:lnTo>
                    <a:pt x="41" y="2"/>
                  </a:lnTo>
                  <a:lnTo>
                    <a:pt x="41" y="2"/>
                  </a:lnTo>
                  <a:lnTo>
                    <a:pt x="41" y="2"/>
                  </a:lnTo>
                  <a:lnTo>
                    <a:pt x="41" y="2"/>
                  </a:lnTo>
                  <a:lnTo>
                    <a:pt x="41" y="2"/>
                  </a:lnTo>
                  <a:lnTo>
                    <a:pt x="38" y="0"/>
                  </a:lnTo>
                  <a:lnTo>
                    <a:pt x="38" y="2"/>
                  </a:lnTo>
                  <a:lnTo>
                    <a:pt x="36" y="2"/>
                  </a:lnTo>
                  <a:lnTo>
                    <a:pt x="36" y="2"/>
                  </a:lnTo>
                  <a:lnTo>
                    <a:pt x="36" y="2"/>
                  </a:lnTo>
                  <a:lnTo>
                    <a:pt x="33" y="2"/>
                  </a:lnTo>
                  <a:lnTo>
                    <a:pt x="33" y="2"/>
                  </a:lnTo>
                  <a:lnTo>
                    <a:pt x="33" y="5"/>
                  </a:lnTo>
                  <a:lnTo>
                    <a:pt x="33" y="5"/>
                  </a:lnTo>
                  <a:lnTo>
                    <a:pt x="30" y="5"/>
                  </a:lnTo>
                  <a:lnTo>
                    <a:pt x="30" y="2"/>
                  </a:lnTo>
                  <a:lnTo>
                    <a:pt x="30" y="5"/>
                  </a:lnTo>
                  <a:lnTo>
                    <a:pt x="28" y="5"/>
                  </a:lnTo>
                  <a:lnTo>
                    <a:pt x="25" y="7"/>
                  </a:lnTo>
                  <a:lnTo>
                    <a:pt x="25" y="7"/>
                  </a:lnTo>
                  <a:lnTo>
                    <a:pt x="23" y="7"/>
                  </a:lnTo>
                  <a:lnTo>
                    <a:pt x="23" y="7"/>
                  </a:lnTo>
                  <a:lnTo>
                    <a:pt x="23" y="7"/>
                  </a:lnTo>
                  <a:lnTo>
                    <a:pt x="20" y="5"/>
                  </a:lnTo>
                  <a:lnTo>
                    <a:pt x="18" y="5"/>
                  </a:lnTo>
                  <a:lnTo>
                    <a:pt x="18" y="5"/>
                  </a:lnTo>
                  <a:lnTo>
                    <a:pt x="18" y="7"/>
                  </a:lnTo>
                  <a:lnTo>
                    <a:pt x="15" y="7"/>
                  </a:lnTo>
                  <a:lnTo>
                    <a:pt x="15" y="5"/>
                  </a:lnTo>
                  <a:lnTo>
                    <a:pt x="15" y="5"/>
                  </a:lnTo>
                  <a:lnTo>
                    <a:pt x="15" y="2"/>
                  </a:lnTo>
                  <a:lnTo>
                    <a:pt x="13" y="5"/>
                  </a:lnTo>
                  <a:lnTo>
                    <a:pt x="7" y="5"/>
                  </a:lnTo>
                  <a:lnTo>
                    <a:pt x="0" y="10"/>
                  </a:lnTo>
                  <a:lnTo>
                    <a:pt x="0" y="10"/>
                  </a:lnTo>
                  <a:lnTo>
                    <a:pt x="0" y="12"/>
                  </a:lnTo>
                  <a:lnTo>
                    <a:pt x="2" y="12"/>
                  </a:lnTo>
                  <a:lnTo>
                    <a:pt x="0" y="12"/>
                  </a:lnTo>
                  <a:lnTo>
                    <a:pt x="2" y="15"/>
                  </a:lnTo>
                  <a:lnTo>
                    <a:pt x="2" y="15"/>
                  </a:lnTo>
                  <a:lnTo>
                    <a:pt x="5" y="17"/>
                  </a:lnTo>
                  <a:lnTo>
                    <a:pt x="5" y="17"/>
                  </a:lnTo>
                  <a:lnTo>
                    <a:pt x="5" y="17"/>
                  </a:lnTo>
                  <a:lnTo>
                    <a:pt x="7" y="17"/>
                  </a:lnTo>
                  <a:lnTo>
                    <a:pt x="7" y="17"/>
                  </a:lnTo>
                  <a:lnTo>
                    <a:pt x="10" y="17"/>
                  </a:lnTo>
                  <a:lnTo>
                    <a:pt x="10" y="17"/>
                  </a:lnTo>
                  <a:lnTo>
                    <a:pt x="10" y="17"/>
                  </a:lnTo>
                  <a:lnTo>
                    <a:pt x="13" y="20"/>
                  </a:lnTo>
                  <a:lnTo>
                    <a:pt x="13" y="20"/>
                  </a:lnTo>
                  <a:lnTo>
                    <a:pt x="13" y="22"/>
                  </a:lnTo>
                  <a:lnTo>
                    <a:pt x="13" y="22"/>
                  </a:lnTo>
                  <a:lnTo>
                    <a:pt x="15" y="22"/>
                  </a:lnTo>
                  <a:lnTo>
                    <a:pt x="18" y="22"/>
                  </a:lnTo>
                  <a:lnTo>
                    <a:pt x="18" y="22"/>
                  </a:lnTo>
                  <a:lnTo>
                    <a:pt x="20" y="28"/>
                  </a:lnTo>
                  <a:lnTo>
                    <a:pt x="20" y="28"/>
                  </a:lnTo>
                  <a:lnTo>
                    <a:pt x="20" y="28"/>
                  </a:lnTo>
                  <a:lnTo>
                    <a:pt x="20" y="25"/>
                  </a:lnTo>
                  <a:lnTo>
                    <a:pt x="20" y="25"/>
                  </a:lnTo>
                  <a:lnTo>
                    <a:pt x="23" y="25"/>
                  </a:lnTo>
                  <a:lnTo>
                    <a:pt x="25" y="25"/>
                  </a:lnTo>
                  <a:lnTo>
                    <a:pt x="25" y="28"/>
                  </a:lnTo>
                  <a:lnTo>
                    <a:pt x="28" y="28"/>
                  </a:lnTo>
                  <a:lnTo>
                    <a:pt x="28" y="28"/>
                  </a:lnTo>
                  <a:lnTo>
                    <a:pt x="28" y="30"/>
                  </a:lnTo>
                  <a:lnTo>
                    <a:pt x="28" y="30"/>
                  </a:lnTo>
                  <a:lnTo>
                    <a:pt x="28" y="30"/>
                  </a:lnTo>
                  <a:lnTo>
                    <a:pt x="28" y="33"/>
                  </a:lnTo>
                  <a:lnTo>
                    <a:pt x="28" y="33"/>
                  </a:lnTo>
                  <a:lnTo>
                    <a:pt x="28" y="33"/>
                  </a:lnTo>
                  <a:lnTo>
                    <a:pt x="28" y="33"/>
                  </a:lnTo>
                  <a:lnTo>
                    <a:pt x="28" y="33"/>
                  </a:lnTo>
                  <a:lnTo>
                    <a:pt x="28" y="35"/>
                  </a:lnTo>
                  <a:lnTo>
                    <a:pt x="28" y="35"/>
                  </a:lnTo>
                  <a:lnTo>
                    <a:pt x="30" y="35"/>
                  </a:lnTo>
                  <a:lnTo>
                    <a:pt x="36" y="35"/>
                  </a:lnTo>
                  <a:lnTo>
                    <a:pt x="36" y="33"/>
                  </a:lnTo>
                  <a:lnTo>
                    <a:pt x="36" y="33"/>
                  </a:lnTo>
                  <a:lnTo>
                    <a:pt x="38" y="33"/>
                  </a:lnTo>
                  <a:lnTo>
                    <a:pt x="38" y="30"/>
                  </a:lnTo>
                  <a:lnTo>
                    <a:pt x="38" y="30"/>
                  </a:lnTo>
                  <a:lnTo>
                    <a:pt x="41" y="30"/>
                  </a:lnTo>
                  <a:lnTo>
                    <a:pt x="38" y="35"/>
                  </a:lnTo>
                  <a:lnTo>
                    <a:pt x="41" y="35"/>
                  </a:lnTo>
                  <a:lnTo>
                    <a:pt x="41" y="38"/>
                  </a:lnTo>
                  <a:lnTo>
                    <a:pt x="41" y="38"/>
                  </a:lnTo>
                  <a:lnTo>
                    <a:pt x="41" y="38"/>
                  </a:lnTo>
                  <a:lnTo>
                    <a:pt x="43" y="38"/>
                  </a:lnTo>
                  <a:lnTo>
                    <a:pt x="43" y="38"/>
                  </a:lnTo>
                  <a:lnTo>
                    <a:pt x="43" y="40"/>
                  </a:lnTo>
                  <a:lnTo>
                    <a:pt x="46" y="40"/>
                  </a:lnTo>
                  <a:lnTo>
                    <a:pt x="46" y="40"/>
                  </a:lnTo>
                  <a:lnTo>
                    <a:pt x="48" y="40"/>
                  </a:lnTo>
                  <a:lnTo>
                    <a:pt x="48" y="43"/>
                  </a:lnTo>
                  <a:lnTo>
                    <a:pt x="48" y="43"/>
                  </a:lnTo>
                  <a:lnTo>
                    <a:pt x="51" y="45"/>
                  </a:lnTo>
                  <a:lnTo>
                    <a:pt x="51" y="45"/>
                  </a:lnTo>
                  <a:lnTo>
                    <a:pt x="53" y="43"/>
                  </a:lnTo>
                  <a:lnTo>
                    <a:pt x="53" y="43"/>
                  </a:lnTo>
                  <a:lnTo>
                    <a:pt x="56" y="43"/>
                  </a:lnTo>
                  <a:lnTo>
                    <a:pt x="56" y="43"/>
                  </a:lnTo>
                  <a:lnTo>
                    <a:pt x="56" y="43"/>
                  </a:lnTo>
                  <a:lnTo>
                    <a:pt x="56" y="43"/>
                  </a:lnTo>
                  <a:lnTo>
                    <a:pt x="58" y="40"/>
                  </a:lnTo>
                  <a:lnTo>
                    <a:pt x="56" y="40"/>
                  </a:lnTo>
                  <a:lnTo>
                    <a:pt x="56" y="38"/>
                  </a:lnTo>
                  <a:lnTo>
                    <a:pt x="56" y="38"/>
                  </a:lnTo>
                  <a:lnTo>
                    <a:pt x="56" y="38"/>
                  </a:lnTo>
                  <a:lnTo>
                    <a:pt x="56" y="38"/>
                  </a:lnTo>
                  <a:lnTo>
                    <a:pt x="56" y="35"/>
                  </a:lnTo>
                  <a:lnTo>
                    <a:pt x="56" y="35"/>
                  </a:lnTo>
                  <a:lnTo>
                    <a:pt x="56" y="35"/>
                  </a:lnTo>
                  <a:lnTo>
                    <a:pt x="56" y="33"/>
                  </a:lnTo>
                  <a:lnTo>
                    <a:pt x="58" y="33"/>
                  </a:lnTo>
                  <a:lnTo>
                    <a:pt x="58" y="30"/>
                  </a:lnTo>
                  <a:lnTo>
                    <a:pt x="61" y="30"/>
                  </a:lnTo>
                  <a:lnTo>
                    <a:pt x="61" y="30"/>
                  </a:lnTo>
                  <a:lnTo>
                    <a:pt x="61" y="30"/>
                  </a:lnTo>
                  <a:lnTo>
                    <a:pt x="61" y="30"/>
                  </a:lnTo>
                  <a:lnTo>
                    <a:pt x="61" y="30"/>
                  </a:lnTo>
                  <a:lnTo>
                    <a:pt x="64" y="28"/>
                  </a:lnTo>
                  <a:lnTo>
                    <a:pt x="66" y="28"/>
                  </a:lnTo>
                  <a:lnTo>
                    <a:pt x="66" y="25"/>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368" name="Freeform 1987">
              <a:extLst>
                <a:ext uri="{FF2B5EF4-FFF2-40B4-BE49-F238E27FC236}">
                  <a16:creationId xmlns:a16="http://schemas.microsoft.com/office/drawing/2014/main" id="{70457FA6-E78F-A942-87F8-102B53C264DA}"/>
                </a:ext>
              </a:extLst>
            </p:cNvPr>
            <p:cNvSpPr>
              <a:spLocks/>
            </p:cNvSpPr>
            <p:nvPr/>
          </p:nvSpPr>
          <p:spPr bwMode="auto">
            <a:xfrm>
              <a:off x="6313602" y="1731923"/>
              <a:ext cx="261718" cy="171753"/>
            </a:xfrm>
            <a:custGeom>
              <a:avLst/>
              <a:gdLst>
                <a:gd name="T0" fmla="*/ 153 w 160"/>
                <a:gd name="T1" fmla="*/ 54 h 105"/>
                <a:gd name="T2" fmla="*/ 142 w 160"/>
                <a:gd name="T3" fmla="*/ 51 h 105"/>
                <a:gd name="T4" fmla="*/ 140 w 160"/>
                <a:gd name="T5" fmla="*/ 44 h 105"/>
                <a:gd name="T6" fmla="*/ 130 w 160"/>
                <a:gd name="T7" fmla="*/ 36 h 105"/>
                <a:gd name="T8" fmla="*/ 122 w 160"/>
                <a:gd name="T9" fmla="*/ 28 h 105"/>
                <a:gd name="T10" fmla="*/ 125 w 160"/>
                <a:gd name="T11" fmla="*/ 21 h 105"/>
                <a:gd name="T12" fmla="*/ 122 w 160"/>
                <a:gd name="T13" fmla="*/ 16 h 105"/>
                <a:gd name="T14" fmla="*/ 119 w 160"/>
                <a:gd name="T15" fmla="*/ 11 h 105"/>
                <a:gd name="T16" fmla="*/ 112 w 160"/>
                <a:gd name="T17" fmla="*/ 8 h 105"/>
                <a:gd name="T18" fmla="*/ 102 w 160"/>
                <a:gd name="T19" fmla="*/ 8 h 105"/>
                <a:gd name="T20" fmla="*/ 96 w 160"/>
                <a:gd name="T21" fmla="*/ 5 h 105"/>
                <a:gd name="T22" fmla="*/ 89 w 160"/>
                <a:gd name="T23" fmla="*/ 3 h 105"/>
                <a:gd name="T24" fmla="*/ 79 w 160"/>
                <a:gd name="T25" fmla="*/ 0 h 105"/>
                <a:gd name="T26" fmla="*/ 74 w 160"/>
                <a:gd name="T27" fmla="*/ 0 h 105"/>
                <a:gd name="T28" fmla="*/ 63 w 160"/>
                <a:gd name="T29" fmla="*/ 8 h 105"/>
                <a:gd name="T30" fmla="*/ 53 w 160"/>
                <a:gd name="T31" fmla="*/ 11 h 105"/>
                <a:gd name="T32" fmla="*/ 48 w 160"/>
                <a:gd name="T33" fmla="*/ 18 h 105"/>
                <a:gd name="T34" fmla="*/ 53 w 160"/>
                <a:gd name="T35" fmla="*/ 21 h 105"/>
                <a:gd name="T36" fmla="*/ 46 w 160"/>
                <a:gd name="T37" fmla="*/ 23 h 105"/>
                <a:gd name="T38" fmla="*/ 38 w 160"/>
                <a:gd name="T39" fmla="*/ 28 h 105"/>
                <a:gd name="T40" fmla="*/ 35 w 160"/>
                <a:gd name="T41" fmla="*/ 36 h 105"/>
                <a:gd name="T42" fmla="*/ 38 w 160"/>
                <a:gd name="T43" fmla="*/ 41 h 105"/>
                <a:gd name="T44" fmla="*/ 35 w 160"/>
                <a:gd name="T45" fmla="*/ 44 h 105"/>
                <a:gd name="T46" fmla="*/ 30 w 160"/>
                <a:gd name="T47" fmla="*/ 41 h 105"/>
                <a:gd name="T48" fmla="*/ 23 w 160"/>
                <a:gd name="T49" fmla="*/ 46 h 105"/>
                <a:gd name="T50" fmla="*/ 12 w 160"/>
                <a:gd name="T51" fmla="*/ 49 h 105"/>
                <a:gd name="T52" fmla="*/ 2 w 160"/>
                <a:gd name="T53" fmla="*/ 49 h 105"/>
                <a:gd name="T54" fmla="*/ 10 w 160"/>
                <a:gd name="T55" fmla="*/ 69 h 105"/>
                <a:gd name="T56" fmla="*/ 2 w 160"/>
                <a:gd name="T57" fmla="*/ 79 h 105"/>
                <a:gd name="T58" fmla="*/ 2 w 160"/>
                <a:gd name="T59" fmla="*/ 84 h 105"/>
                <a:gd name="T60" fmla="*/ 7 w 160"/>
                <a:gd name="T61" fmla="*/ 89 h 105"/>
                <a:gd name="T62" fmla="*/ 7 w 160"/>
                <a:gd name="T63" fmla="*/ 100 h 105"/>
                <a:gd name="T64" fmla="*/ 12 w 160"/>
                <a:gd name="T65" fmla="*/ 97 h 105"/>
                <a:gd name="T66" fmla="*/ 20 w 160"/>
                <a:gd name="T67" fmla="*/ 92 h 105"/>
                <a:gd name="T68" fmla="*/ 33 w 160"/>
                <a:gd name="T69" fmla="*/ 92 h 105"/>
                <a:gd name="T70" fmla="*/ 56 w 160"/>
                <a:gd name="T71" fmla="*/ 92 h 105"/>
                <a:gd name="T72" fmla="*/ 68 w 160"/>
                <a:gd name="T73" fmla="*/ 95 h 105"/>
                <a:gd name="T74" fmla="*/ 79 w 160"/>
                <a:gd name="T75" fmla="*/ 100 h 105"/>
                <a:gd name="T76" fmla="*/ 81 w 160"/>
                <a:gd name="T77" fmla="*/ 100 h 105"/>
                <a:gd name="T78" fmla="*/ 91 w 160"/>
                <a:gd name="T79" fmla="*/ 100 h 105"/>
                <a:gd name="T80" fmla="*/ 96 w 160"/>
                <a:gd name="T81" fmla="*/ 100 h 105"/>
                <a:gd name="T82" fmla="*/ 102 w 160"/>
                <a:gd name="T83" fmla="*/ 97 h 105"/>
                <a:gd name="T84" fmla="*/ 109 w 160"/>
                <a:gd name="T85" fmla="*/ 102 h 105"/>
                <a:gd name="T86" fmla="*/ 122 w 160"/>
                <a:gd name="T87" fmla="*/ 102 h 105"/>
                <a:gd name="T88" fmla="*/ 130 w 160"/>
                <a:gd name="T89" fmla="*/ 105 h 105"/>
                <a:gd name="T90" fmla="*/ 127 w 160"/>
                <a:gd name="T91" fmla="*/ 95 h 105"/>
                <a:gd name="T92" fmla="*/ 137 w 160"/>
                <a:gd name="T93" fmla="*/ 89 h 105"/>
                <a:gd name="T94" fmla="*/ 145 w 160"/>
                <a:gd name="T95" fmla="*/ 84 h 105"/>
                <a:gd name="T96" fmla="*/ 142 w 160"/>
                <a:gd name="T97" fmla="*/ 77 h 105"/>
                <a:gd name="T98" fmla="*/ 140 w 160"/>
                <a:gd name="T99" fmla="*/ 72 h 105"/>
                <a:gd name="T100" fmla="*/ 137 w 160"/>
                <a:gd name="T101" fmla="*/ 64 h 105"/>
                <a:gd name="T102" fmla="*/ 145 w 160"/>
                <a:gd name="T103" fmla="*/ 67 h 105"/>
                <a:gd name="T104" fmla="*/ 158 w 160"/>
                <a:gd name="T105" fmla="*/ 61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60" h="105">
                  <a:moveTo>
                    <a:pt x="160" y="59"/>
                  </a:moveTo>
                  <a:lnTo>
                    <a:pt x="160" y="59"/>
                  </a:lnTo>
                  <a:lnTo>
                    <a:pt x="158" y="59"/>
                  </a:lnTo>
                  <a:lnTo>
                    <a:pt x="155" y="56"/>
                  </a:lnTo>
                  <a:lnTo>
                    <a:pt x="155" y="56"/>
                  </a:lnTo>
                  <a:lnTo>
                    <a:pt x="153" y="54"/>
                  </a:lnTo>
                  <a:lnTo>
                    <a:pt x="155" y="54"/>
                  </a:lnTo>
                  <a:lnTo>
                    <a:pt x="155" y="54"/>
                  </a:lnTo>
                  <a:lnTo>
                    <a:pt x="150" y="51"/>
                  </a:lnTo>
                  <a:lnTo>
                    <a:pt x="145" y="51"/>
                  </a:lnTo>
                  <a:lnTo>
                    <a:pt x="142" y="51"/>
                  </a:lnTo>
                  <a:lnTo>
                    <a:pt x="142" y="51"/>
                  </a:lnTo>
                  <a:lnTo>
                    <a:pt x="142" y="49"/>
                  </a:lnTo>
                  <a:lnTo>
                    <a:pt x="142" y="49"/>
                  </a:lnTo>
                  <a:lnTo>
                    <a:pt x="142" y="46"/>
                  </a:lnTo>
                  <a:lnTo>
                    <a:pt x="142" y="46"/>
                  </a:lnTo>
                  <a:lnTo>
                    <a:pt x="142" y="46"/>
                  </a:lnTo>
                  <a:lnTo>
                    <a:pt x="140" y="44"/>
                  </a:lnTo>
                  <a:lnTo>
                    <a:pt x="135" y="41"/>
                  </a:lnTo>
                  <a:lnTo>
                    <a:pt x="132" y="41"/>
                  </a:lnTo>
                  <a:lnTo>
                    <a:pt x="132" y="39"/>
                  </a:lnTo>
                  <a:lnTo>
                    <a:pt x="130" y="36"/>
                  </a:lnTo>
                  <a:lnTo>
                    <a:pt x="130" y="36"/>
                  </a:lnTo>
                  <a:lnTo>
                    <a:pt x="130" y="36"/>
                  </a:lnTo>
                  <a:lnTo>
                    <a:pt x="130" y="33"/>
                  </a:lnTo>
                  <a:lnTo>
                    <a:pt x="130" y="33"/>
                  </a:lnTo>
                  <a:lnTo>
                    <a:pt x="130" y="33"/>
                  </a:lnTo>
                  <a:lnTo>
                    <a:pt x="127" y="31"/>
                  </a:lnTo>
                  <a:lnTo>
                    <a:pt x="122" y="28"/>
                  </a:lnTo>
                  <a:lnTo>
                    <a:pt x="122" y="28"/>
                  </a:lnTo>
                  <a:lnTo>
                    <a:pt x="122" y="28"/>
                  </a:lnTo>
                  <a:lnTo>
                    <a:pt x="122" y="26"/>
                  </a:lnTo>
                  <a:lnTo>
                    <a:pt x="125" y="26"/>
                  </a:lnTo>
                  <a:lnTo>
                    <a:pt x="125" y="23"/>
                  </a:lnTo>
                  <a:lnTo>
                    <a:pt x="125" y="23"/>
                  </a:lnTo>
                  <a:lnTo>
                    <a:pt x="125" y="21"/>
                  </a:lnTo>
                  <a:lnTo>
                    <a:pt x="122" y="21"/>
                  </a:lnTo>
                  <a:lnTo>
                    <a:pt x="122" y="18"/>
                  </a:lnTo>
                  <a:lnTo>
                    <a:pt x="122" y="18"/>
                  </a:lnTo>
                  <a:lnTo>
                    <a:pt x="122" y="18"/>
                  </a:lnTo>
                  <a:lnTo>
                    <a:pt x="122" y="18"/>
                  </a:lnTo>
                  <a:lnTo>
                    <a:pt x="122" y="16"/>
                  </a:lnTo>
                  <a:lnTo>
                    <a:pt x="122" y="13"/>
                  </a:lnTo>
                  <a:lnTo>
                    <a:pt x="122" y="13"/>
                  </a:lnTo>
                  <a:lnTo>
                    <a:pt x="122" y="13"/>
                  </a:lnTo>
                  <a:lnTo>
                    <a:pt x="122" y="13"/>
                  </a:lnTo>
                  <a:lnTo>
                    <a:pt x="119" y="13"/>
                  </a:lnTo>
                  <a:lnTo>
                    <a:pt x="119" y="11"/>
                  </a:lnTo>
                  <a:lnTo>
                    <a:pt x="119" y="11"/>
                  </a:lnTo>
                  <a:lnTo>
                    <a:pt x="117" y="11"/>
                  </a:lnTo>
                  <a:lnTo>
                    <a:pt x="117" y="11"/>
                  </a:lnTo>
                  <a:lnTo>
                    <a:pt x="114" y="8"/>
                  </a:lnTo>
                  <a:lnTo>
                    <a:pt x="114" y="8"/>
                  </a:lnTo>
                  <a:lnTo>
                    <a:pt x="112" y="8"/>
                  </a:lnTo>
                  <a:lnTo>
                    <a:pt x="107" y="8"/>
                  </a:lnTo>
                  <a:lnTo>
                    <a:pt x="107" y="8"/>
                  </a:lnTo>
                  <a:lnTo>
                    <a:pt x="104" y="8"/>
                  </a:lnTo>
                  <a:lnTo>
                    <a:pt x="104" y="8"/>
                  </a:lnTo>
                  <a:lnTo>
                    <a:pt x="102" y="8"/>
                  </a:lnTo>
                  <a:lnTo>
                    <a:pt x="102" y="8"/>
                  </a:lnTo>
                  <a:lnTo>
                    <a:pt x="102" y="8"/>
                  </a:lnTo>
                  <a:lnTo>
                    <a:pt x="99" y="11"/>
                  </a:lnTo>
                  <a:lnTo>
                    <a:pt x="96" y="11"/>
                  </a:lnTo>
                  <a:lnTo>
                    <a:pt x="96" y="8"/>
                  </a:lnTo>
                  <a:lnTo>
                    <a:pt x="96" y="8"/>
                  </a:lnTo>
                  <a:lnTo>
                    <a:pt x="96" y="5"/>
                  </a:lnTo>
                  <a:lnTo>
                    <a:pt x="96" y="5"/>
                  </a:lnTo>
                  <a:lnTo>
                    <a:pt x="96" y="5"/>
                  </a:lnTo>
                  <a:lnTo>
                    <a:pt x="94" y="5"/>
                  </a:lnTo>
                  <a:lnTo>
                    <a:pt x="91" y="3"/>
                  </a:lnTo>
                  <a:lnTo>
                    <a:pt x="89" y="3"/>
                  </a:lnTo>
                  <a:lnTo>
                    <a:pt x="89" y="3"/>
                  </a:lnTo>
                  <a:lnTo>
                    <a:pt x="86" y="5"/>
                  </a:lnTo>
                  <a:lnTo>
                    <a:pt x="86" y="5"/>
                  </a:lnTo>
                  <a:lnTo>
                    <a:pt x="84" y="3"/>
                  </a:lnTo>
                  <a:lnTo>
                    <a:pt x="84" y="3"/>
                  </a:lnTo>
                  <a:lnTo>
                    <a:pt x="81" y="0"/>
                  </a:lnTo>
                  <a:lnTo>
                    <a:pt x="79" y="0"/>
                  </a:lnTo>
                  <a:lnTo>
                    <a:pt x="79" y="3"/>
                  </a:lnTo>
                  <a:lnTo>
                    <a:pt x="79" y="3"/>
                  </a:lnTo>
                  <a:lnTo>
                    <a:pt x="79" y="3"/>
                  </a:lnTo>
                  <a:lnTo>
                    <a:pt x="76" y="0"/>
                  </a:lnTo>
                  <a:lnTo>
                    <a:pt x="74" y="0"/>
                  </a:lnTo>
                  <a:lnTo>
                    <a:pt x="74" y="0"/>
                  </a:lnTo>
                  <a:lnTo>
                    <a:pt x="71" y="3"/>
                  </a:lnTo>
                  <a:lnTo>
                    <a:pt x="68" y="5"/>
                  </a:lnTo>
                  <a:lnTo>
                    <a:pt x="68" y="5"/>
                  </a:lnTo>
                  <a:lnTo>
                    <a:pt x="66" y="8"/>
                  </a:lnTo>
                  <a:lnTo>
                    <a:pt x="66" y="8"/>
                  </a:lnTo>
                  <a:lnTo>
                    <a:pt x="63" y="8"/>
                  </a:lnTo>
                  <a:lnTo>
                    <a:pt x="63" y="8"/>
                  </a:lnTo>
                  <a:lnTo>
                    <a:pt x="61" y="8"/>
                  </a:lnTo>
                  <a:lnTo>
                    <a:pt x="58" y="8"/>
                  </a:lnTo>
                  <a:lnTo>
                    <a:pt x="56" y="8"/>
                  </a:lnTo>
                  <a:lnTo>
                    <a:pt x="53" y="11"/>
                  </a:lnTo>
                  <a:lnTo>
                    <a:pt x="53" y="11"/>
                  </a:lnTo>
                  <a:lnTo>
                    <a:pt x="51" y="11"/>
                  </a:lnTo>
                  <a:lnTo>
                    <a:pt x="51" y="11"/>
                  </a:lnTo>
                  <a:lnTo>
                    <a:pt x="51" y="11"/>
                  </a:lnTo>
                  <a:lnTo>
                    <a:pt x="51" y="13"/>
                  </a:lnTo>
                  <a:lnTo>
                    <a:pt x="51" y="16"/>
                  </a:lnTo>
                  <a:lnTo>
                    <a:pt x="48" y="18"/>
                  </a:lnTo>
                  <a:lnTo>
                    <a:pt x="48" y="18"/>
                  </a:lnTo>
                  <a:lnTo>
                    <a:pt x="51" y="18"/>
                  </a:lnTo>
                  <a:lnTo>
                    <a:pt x="53" y="18"/>
                  </a:lnTo>
                  <a:lnTo>
                    <a:pt x="53" y="18"/>
                  </a:lnTo>
                  <a:lnTo>
                    <a:pt x="53" y="18"/>
                  </a:lnTo>
                  <a:lnTo>
                    <a:pt x="53" y="21"/>
                  </a:lnTo>
                  <a:lnTo>
                    <a:pt x="53" y="21"/>
                  </a:lnTo>
                  <a:lnTo>
                    <a:pt x="53" y="21"/>
                  </a:lnTo>
                  <a:lnTo>
                    <a:pt x="51" y="23"/>
                  </a:lnTo>
                  <a:lnTo>
                    <a:pt x="46" y="21"/>
                  </a:lnTo>
                  <a:lnTo>
                    <a:pt x="46" y="23"/>
                  </a:lnTo>
                  <a:lnTo>
                    <a:pt x="46" y="23"/>
                  </a:lnTo>
                  <a:lnTo>
                    <a:pt x="46" y="23"/>
                  </a:lnTo>
                  <a:lnTo>
                    <a:pt x="46" y="26"/>
                  </a:lnTo>
                  <a:lnTo>
                    <a:pt x="43" y="26"/>
                  </a:lnTo>
                  <a:lnTo>
                    <a:pt x="40" y="26"/>
                  </a:lnTo>
                  <a:lnTo>
                    <a:pt x="40" y="26"/>
                  </a:lnTo>
                  <a:lnTo>
                    <a:pt x="38" y="28"/>
                  </a:lnTo>
                  <a:lnTo>
                    <a:pt x="38" y="31"/>
                  </a:lnTo>
                  <a:lnTo>
                    <a:pt x="38" y="33"/>
                  </a:lnTo>
                  <a:lnTo>
                    <a:pt x="38" y="33"/>
                  </a:lnTo>
                  <a:lnTo>
                    <a:pt x="38" y="33"/>
                  </a:lnTo>
                  <a:lnTo>
                    <a:pt x="38" y="36"/>
                  </a:lnTo>
                  <a:lnTo>
                    <a:pt x="35" y="36"/>
                  </a:lnTo>
                  <a:lnTo>
                    <a:pt x="35" y="39"/>
                  </a:lnTo>
                  <a:lnTo>
                    <a:pt x="35" y="39"/>
                  </a:lnTo>
                  <a:lnTo>
                    <a:pt x="35" y="39"/>
                  </a:lnTo>
                  <a:lnTo>
                    <a:pt x="38" y="39"/>
                  </a:lnTo>
                  <a:lnTo>
                    <a:pt x="38" y="41"/>
                  </a:lnTo>
                  <a:lnTo>
                    <a:pt x="38" y="41"/>
                  </a:lnTo>
                  <a:lnTo>
                    <a:pt x="40" y="41"/>
                  </a:lnTo>
                  <a:lnTo>
                    <a:pt x="40" y="44"/>
                  </a:lnTo>
                  <a:lnTo>
                    <a:pt x="40" y="44"/>
                  </a:lnTo>
                  <a:lnTo>
                    <a:pt x="38" y="44"/>
                  </a:lnTo>
                  <a:lnTo>
                    <a:pt x="35" y="44"/>
                  </a:lnTo>
                  <a:lnTo>
                    <a:pt x="35" y="44"/>
                  </a:lnTo>
                  <a:lnTo>
                    <a:pt x="35" y="44"/>
                  </a:lnTo>
                  <a:lnTo>
                    <a:pt x="35" y="41"/>
                  </a:lnTo>
                  <a:lnTo>
                    <a:pt x="35" y="41"/>
                  </a:lnTo>
                  <a:lnTo>
                    <a:pt x="35" y="41"/>
                  </a:lnTo>
                  <a:lnTo>
                    <a:pt x="33" y="41"/>
                  </a:lnTo>
                  <a:lnTo>
                    <a:pt x="30" y="41"/>
                  </a:lnTo>
                  <a:lnTo>
                    <a:pt x="30" y="41"/>
                  </a:lnTo>
                  <a:lnTo>
                    <a:pt x="28" y="44"/>
                  </a:lnTo>
                  <a:lnTo>
                    <a:pt x="28" y="44"/>
                  </a:lnTo>
                  <a:lnTo>
                    <a:pt x="25" y="44"/>
                  </a:lnTo>
                  <a:lnTo>
                    <a:pt x="23" y="44"/>
                  </a:lnTo>
                  <a:lnTo>
                    <a:pt x="23" y="46"/>
                  </a:lnTo>
                  <a:lnTo>
                    <a:pt x="23" y="46"/>
                  </a:lnTo>
                  <a:lnTo>
                    <a:pt x="20" y="46"/>
                  </a:lnTo>
                  <a:lnTo>
                    <a:pt x="17" y="49"/>
                  </a:lnTo>
                  <a:lnTo>
                    <a:pt x="15" y="49"/>
                  </a:lnTo>
                  <a:lnTo>
                    <a:pt x="15" y="49"/>
                  </a:lnTo>
                  <a:lnTo>
                    <a:pt x="12" y="49"/>
                  </a:lnTo>
                  <a:lnTo>
                    <a:pt x="12" y="49"/>
                  </a:lnTo>
                  <a:lnTo>
                    <a:pt x="10" y="49"/>
                  </a:lnTo>
                  <a:lnTo>
                    <a:pt x="10" y="49"/>
                  </a:lnTo>
                  <a:lnTo>
                    <a:pt x="7" y="49"/>
                  </a:lnTo>
                  <a:lnTo>
                    <a:pt x="5" y="49"/>
                  </a:lnTo>
                  <a:lnTo>
                    <a:pt x="2" y="49"/>
                  </a:lnTo>
                  <a:lnTo>
                    <a:pt x="2" y="49"/>
                  </a:lnTo>
                  <a:lnTo>
                    <a:pt x="5" y="54"/>
                  </a:lnTo>
                  <a:lnTo>
                    <a:pt x="7" y="61"/>
                  </a:lnTo>
                  <a:lnTo>
                    <a:pt x="10" y="67"/>
                  </a:lnTo>
                  <a:lnTo>
                    <a:pt x="10" y="67"/>
                  </a:lnTo>
                  <a:lnTo>
                    <a:pt x="10" y="69"/>
                  </a:lnTo>
                  <a:lnTo>
                    <a:pt x="10" y="72"/>
                  </a:lnTo>
                  <a:lnTo>
                    <a:pt x="10" y="74"/>
                  </a:lnTo>
                  <a:lnTo>
                    <a:pt x="10" y="74"/>
                  </a:lnTo>
                  <a:lnTo>
                    <a:pt x="10" y="74"/>
                  </a:lnTo>
                  <a:lnTo>
                    <a:pt x="5" y="77"/>
                  </a:lnTo>
                  <a:lnTo>
                    <a:pt x="2" y="79"/>
                  </a:lnTo>
                  <a:lnTo>
                    <a:pt x="0" y="79"/>
                  </a:lnTo>
                  <a:lnTo>
                    <a:pt x="0" y="82"/>
                  </a:lnTo>
                  <a:lnTo>
                    <a:pt x="0" y="82"/>
                  </a:lnTo>
                  <a:lnTo>
                    <a:pt x="0" y="84"/>
                  </a:lnTo>
                  <a:lnTo>
                    <a:pt x="0" y="84"/>
                  </a:lnTo>
                  <a:lnTo>
                    <a:pt x="2" y="84"/>
                  </a:lnTo>
                  <a:lnTo>
                    <a:pt x="5" y="87"/>
                  </a:lnTo>
                  <a:lnTo>
                    <a:pt x="5" y="87"/>
                  </a:lnTo>
                  <a:lnTo>
                    <a:pt x="7" y="87"/>
                  </a:lnTo>
                  <a:lnTo>
                    <a:pt x="7" y="89"/>
                  </a:lnTo>
                  <a:lnTo>
                    <a:pt x="7" y="89"/>
                  </a:lnTo>
                  <a:lnTo>
                    <a:pt x="7" y="89"/>
                  </a:lnTo>
                  <a:lnTo>
                    <a:pt x="7" y="92"/>
                  </a:lnTo>
                  <a:lnTo>
                    <a:pt x="7" y="95"/>
                  </a:lnTo>
                  <a:lnTo>
                    <a:pt x="7" y="95"/>
                  </a:lnTo>
                  <a:lnTo>
                    <a:pt x="7" y="97"/>
                  </a:lnTo>
                  <a:lnTo>
                    <a:pt x="7" y="97"/>
                  </a:lnTo>
                  <a:lnTo>
                    <a:pt x="7" y="100"/>
                  </a:lnTo>
                  <a:lnTo>
                    <a:pt x="7" y="100"/>
                  </a:lnTo>
                  <a:lnTo>
                    <a:pt x="7" y="97"/>
                  </a:lnTo>
                  <a:lnTo>
                    <a:pt x="7" y="97"/>
                  </a:lnTo>
                  <a:lnTo>
                    <a:pt x="10" y="97"/>
                  </a:lnTo>
                  <a:lnTo>
                    <a:pt x="10" y="97"/>
                  </a:lnTo>
                  <a:lnTo>
                    <a:pt x="12" y="97"/>
                  </a:lnTo>
                  <a:lnTo>
                    <a:pt x="12" y="100"/>
                  </a:lnTo>
                  <a:lnTo>
                    <a:pt x="15" y="100"/>
                  </a:lnTo>
                  <a:lnTo>
                    <a:pt x="17" y="97"/>
                  </a:lnTo>
                  <a:lnTo>
                    <a:pt x="17" y="95"/>
                  </a:lnTo>
                  <a:lnTo>
                    <a:pt x="20" y="95"/>
                  </a:lnTo>
                  <a:lnTo>
                    <a:pt x="20" y="92"/>
                  </a:lnTo>
                  <a:lnTo>
                    <a:pt x="23" y="92"/>
                  </a:lnTo>
                  <a:lnTo>
                    <a:pt x="25" y="92"/>
                  </a:lnTo>
                  <a:lnTo>
                    <a:pt x="25" y="92"/>
                  </a:lnTo>
                  <a:lnTo>
                    <a:pt x="28" y="92"/>
                  </a:lnTo>
                  <a:lnTo>
                    <a:pt x="30" y="92"/>
                  </a:lnTo>
                  <a:lnTo>
                    <a:pt x="33" y="92"/>
                  </a:lnTo>
                  <a:lnTo>
                    <a:pt x="35" y="92"/>
                  </a:lnTo>
                  <a:lnTo>
                    <a:pt x="40" y="92"/>
                  </a:lnTo>
                  <a:lnTo>
                    <a:pt x="46" y="92"/>
                  </a:lnTo>
                  <a:lnTo>
                    <a:pt x="46" y="92"/>
                  </a:lnTo>
                  <a:lnTo>
                    <a:pt x="53" y="92"/>
                  </a:lnTo>
                  <a:lnTo>
                    <a:pt x="56" y="92"/>
                  </a:lnTo>
                  <a:lnTo>
                    <a:pt x="56" y="95"/>
                  </a:lnTo>
                  <a:lnTo>
                    <a:pt x="58" y="95"/>
                  </a:lnTo>
                  <a:lnTo>
                    <a:pt x="61" y="95"/>
                  </a:lnTo>
                  <a:lnTo>
                    <a:pt x="66" y="95"/>
                  </a:lnTo>
                  <a:lnTo>
                    <a:pt x="66" y="95"/>
                  </a:lnTo>
                  <a:lnTo>
                    <a:pt x="68" y="95"/>
                  </a:lnTo>
                  <a:lnTo>
                    <a:pt x="71" y="97"/>
                  </a:lnTo>
                  <a:lnTo>
                    <a:pt x="71" y="100"/>
                  </a:lnTo>
                  <a:lnTo>
                    <a:pt x="71" y="100"/>
                  </a:lnTo>
                  <a:lnTo>
                    <a:pt x="74" y="97"/>
                  </a:lnTo>
                  <a:lnTo>
                    <a:pt x="76" y="100"/>
                  </a:lnTo>
                  <a:lnTo>
                    <a:pt x="79" y="100"/>
                  </a:lnTo>
                  <a:lnTo>
                    <a:pt x="79" y="100"/>
                  </a:lnTo>
                  <a:lnTo>
                    <a:pt x="79" y="102"/>
                  </a:lnTo>
                  <a:lnTo>
                    <a:pt x="79" y="102"/>
                  </a:lnTo>
                  <a:lnTo>
                    <a:pt x="79" y="100"/>
                  </a:lnTo>
                  <a:lnTo>
                    <a:pt x="81" y="100"/>
                  </a:lnTo>
                  <a:lnTo>
                    <a:pt x="81" y="100"/>
                  </a:lnTo>
                  <a:lnTo>
                    <a:pt x="84" y="100"/>
                  </a:lnTo>
                  <a:lnTo>
                    <a:pt x="84" y="100"/>
                  </a:lnTo>
                  <a:lnTo>
                    <a:pt x="86" y="100"/>
                  </a:lnTo>
                  <a:lnTo>
                    <a:pt x="86" y="97"/>
                  </a:lnTo>
                  <a:lnTo>
                    <a:pt x="89" y="100"/>
                  </a:lnTo>
                  <a:lnTo>
                    <a:pt x="91" y="100"/>
                  </a:lnTo>
                  <a:lnTo>
                    <a:pt x="91" y="100"/>
                  </a:lnTo>
                  <a:lnTo>
                    <a:pt x="94" y="100"/>
                  </a:lnTo>
                  <a:lnTo>
                    <a:pt x="94" y="102"/>
                  </a:lnTo>
                  <a:lnTo>
                    <a:pt x="96" y="102"/>
                  </a:lnTo>
                  <a:lnTo>
                    <a:pt x="96" y="102"/>
                  </a:lnTo>
                  <a:lnTo>
                    <a:pt x="96" y="100"/>
                  </a:lnTo>
                  <a:lnTo>
                    <a:pt x="99" y="100"/>
                  </a:lnTo>
                  <a:lnTo>
                    <a:pt x="99" y="100"/>
                  </a:lnTo>
                  <a:lnTo>
                    <a:pt x="99" y="100"/>
                  </a:lnTo>
                  <a:lnTo>
                    <a:pt x="102" y="100"/>
                  </a:lnTo>
                  <a:lnTo>
                    <a:pt x="102" y="97"/>
                  </a:lnTo>
                  <a:lnTo>
                    <a:pt x="102" y="97"/>
                  </a:lnTo>
                  <a:lnTo>
                    <a:pt x="102" y="97"/>
                  </a:lnTo>
                  <a:lnTo>
                    <a:pt x="104" y="100"/>
                  </a:lnTo>
                  <a:lnTo>
                    <a:pt x="104" y="100"/>
                  </a:lnTo>
                  <a:lnTo>
                    <a:pt x="107" y="102"/>
                  </a:lnTo>
                  <a:lnTo>
                    <a:pt x="107" y="102"/>
                  </a:lnTo>
                  <a:lnTo>
                    <a:pt x="109" y="102"/>
                  </a:lnTo>
                  <a:lnTo>
                    <a:pt x="109" y="102"/>
                  </a:lnTo>
                  <a:lnTo>
                    <a:pt x="112" y="102"/>
                  </a:lnTo>
                  <a:lnTo>
                    <a:pt x="117" y="102"/>
                  </a:lnTo>
                  <a:lnTo>
                    <a:pt x="119" y="102"/>
                  </a:lnTo>
                  <a:lnTo>
                    <a:pt x="122" y="102"/>
                  </a:lnTo>
                  <a:lnTo>
                    <a:pt x="122" y="102"/>
                  </a:lnTo>
                  <a:lnTo>
                    <a:pt x="125" y="102"/>
                  </a:lnTo>
                  <a:lnTo>
                    <a:pt x="125" y="105"/>
                  </a:lnTo>
                  <a:lnTo>
                    <a:pt x="127" y="105"/>
                  </a:lnTo>
                  <a:lnTo>
                    <a:pt x="127" y="105"/>
                  </a:lnTo>
                  <a:lnTo>
                    <a:pt x="127" y="105"/>
                  </a:lnTo>
                  <a:lnTo>
                    <a:pt x="130" y="105"/>
                  </a:lnTo>
                  <a:lnTo>
                    <a:pt x="130" y="102"/>
                  </a:lnTo>
                  <a:lnTo>
                    <a:pt x="130" y="102"/>
                  </a:lnTo>
                  <a:lnTo>
                    <a:pt x="127" y="100"/>
                  </a:lnTo>
                  <a:lnTo>
                    <a:pt x="127" y="100"/>
                  </a:lnTo>
                  <a:lnTo>
                    <a:pt x="127" y="97"/>
                  </a:lnTo>
                  <a:lnTo>
                    <a:pt x="127" y="95"/>
                  </a:lnTo>
                  <a:lnTo>
                    <a:pt x="130" y="95"/>
                  </a:lnTo>
                  <a:lnTo>
                    <a:pt x="130" y="92"/>
                  </a:lnTo>
                  <a:lnTo>
                    <a:pt x="132" y="92"/>
                  </a:lnTo>
                  <a:lnTo>
                    <a:pt x="132" y="89"/>
                  </a:lnTo>
                  <a:lnTo>
                    <a:pt x="135" y="87"/>
                  </a:lnTo>
                  <a:lnTo>
                    <a:pt x="137" y="89"/>
                  </a:lnTo>
                  <a:lnTo>
                    <a:pt x="137" y="89"/>
                  </a:lnTo>
                  <a:lnTo>
                    <a:pt x="140" y="87"/>
                  </a:lnTo>
                  <a:lnTo>
                    <a:pt x="142" y="87"/>
                  </a:lnTo>
                  <a:lnTo>
                    <a:pt x="147" y="87"/>
                  </a:lnTo>
                  <a:lnTo>
                    <a:pt x="147" y="87"/>
                  </a:lnTo>
                  <a:lnTo>
                    <a:pt x="145" y="84"/>
                  </a:lnTo>
                  <a:lnTo>
                    <a:pt x="145" y="84"/>
                  </a:lnTo>
                  <a:lnTo>
                    <a:pt x="142" y="84"/>
                  </a:lnTo>
                  <a:lnTo>
                    <a:pt x="142" y="82"/>
                  </a:lnTo>
                  <a:lnTo>
                    <a:pt x="142" y="79"/>
                  </a:lnTo>
                  <a:lnTo>
                    <a:pt x="142" y="79"/>
                  </a:lnTo>
                  <a:lnTo>
                    <a:pt x="142" y="77"/>
                  </a:lnTo>
                  <a:lnTo>
                    <a:pt x="142" y="77"/>
                  </a:lnTo>
                  <a:lnTo>
                    <a:pt x="140" y="74"/>
                  </a:lnTo>
                  <a:lnTo>
                    <a:pt x="142" y="74"/>
                  </a:lnTo>
                  <a:lnTo>
                    <a:pt x="142" y="74"/>
                  </a:lnTo>
                  <a:lnTo>
                    <a:pt x="140" y="72"/>
                  </a:lnTo>
                  <a:lnTo>
                    <a:pt x="140" y="72"/>
                  </a:lnTo>
                  <a:lnTo>
                    <a:pt x="137" y="69"/>
                  </a:lnTo>
                  <a:lnTo>
                    <a:pt x="137" y="69"/>
                  </a:lnTo>
                  <a:lnTo>
                    <a:pt x="135" y="67"/>
                  </a:lnTo>
                  <a:lnTo>
                    <a:pt x="137" y="67"/>
                  </a:lnTo>
                  <a:lnTo>
                    <a:pt x="137" y="64"/>
                  </a:lnTo>
                  <a:lnTo>
                    <a:pt x="137" y="64"/>
                  </a:lnTo>
                  <a:lnTo>
                    <a:pt x="137" y="64"/>
                  </a:lnTo>
                  <a:lnTo>
                    <a:pt x="140" y="64"/>
                  </a:lnTo>
                  <a:lnTo>
                    <a:pt x="142" y="64"/>
                  </a:lnTo>
                  <a:lnTo>
                    <a:pt x="142" y="64"/>
                  </a:lnTo>
                  <a:lnTo>
                    <a:pt x="145" y="64"/>
                  </a:lnTo>
                  <a:lnTo>
                    <a:pt x="145" y="67"/>
                  </a:lnTo>
                  <a:lnTo>
                    <a:pt x="150" y="67"/>
                  </a:lnTo>
                  <a:lnTo>
                    <a:pt x="150" y="67"/>
                  </a:lnTo>
                  <a:lnTo>
                    <a:pt x="153" y="64"/>
                  </a:lnTo>
                  <a:lnTo>
                    <a:pt x="155" y="64"/>
                  </a:lnTo>
                  <a:lnTo>
                    <a:pt x="155" y="61"/>
                  </a:lnTo>
                  <a:lnTo>
                    <a:pt x="158" y="61"/>
                  </a:lnTo>
                  <a:lnTo>
                    <a:pt x="158" y="61"/>
                  </a:lnTo>
                  <a:lnTo>
                    <a:pt x="160" y="61"/>
                  </a:lnTo>
                  <a:lnTo>
                    <a:pt x="160" y="59"/>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369" name="Freeform 1988">
              <a:extLst>
                <a:ext uri="{FF2B5EF4-FFF2-40B4-BE49-F238E27FC236}">
                  <a16:creationId xmlns:a16="http://schemas.microsoft.com/office/drawing/2014/main" id="{C67FB2FF-CD14-1D49-9C45-CFCF07090606}"/>
                </a:ext>
              </a:extLst>
            </p:cNvPr>
            <p:cNvSpPr>
              <a:spLocks/>
            </p:cNvSpPr>
            <p:nvPr/>
          </p:nvSpPr>
          <p:spPr bwMode="auto">
            <a:xfrm>
              <a:off x="3665344" y="3305501"/>
              <a:ext cx="4908" cy="8179"/>
            </a:xfrm>
            <a:custGeom>
              <a:avLst/>
              <a:gdLst>
                <a:gd name="T0" fmla="*/ 3 w 3"/>
                <a:gd name="T1" fmla="*/ 3 h 5"/>
                <a:gd name="T2" fmla="*/ 0 w 3"/>
                <a:gd name="T3" fmla="*/ 0 h 5"/>
                <a:gd name="T4" fmla="*/ 0 w 3"/>
                <a:gd name="T5" fmla="*/ 0 h 5"/>
                <a:gd name="T6" fmla="*/ 0 w 3"/>
                <a:gd name="T7" fmla="*/ 5 h 5"/>
                <a:gd name="T8" fmla="*/ 0 w 3"/>
                <a:gd name="T9" fmla="*/ 5 h 5"/>
                <a:gd name="T10" fmla="*/ 3 w 3"/>
                <a:gd name="T11" fmla="*/ 5 h 5"/>
                <a:gd name="T12" fmla="*/ 3 w 3"/>
                <a:gd name="T13" fmla="*/ 5 h 5"/>
                <a:gd name="T14" fmla="*/ 3 w 3"/>
                <a:gd name="T15" fmla="*/ 5 h 5"/>
                <a:gd name="T16" fmla="*/ 3 w 3"/>
                <a:gd name="T17"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5">
                  <a:moveTo>
                    <a:pt x="3" y="3"/>
                  </a:moveTo>
                  <a:lnTo>
                    <a:pt x="0" y="0"/>
                  </a:lnTo>
                  <a:lnTo>
                    <a:pt x="0" y="0"/>
                  </a:lnTo>
                  <a:lnTo>
                    <a:pt x="0" y="5"/>
                  </a:lnTo>
                  <a:lnTo>
                    <a:pt x="0" y="5"/>
                  </a:lnTo>
                  <a:lnTo>
                    <a:pt x="3" y="5"/>
                  </a:lnTo>
                  <a:lnTo>
                    <a:pt x="3" y="5"/>
                  </a:lnTo>
                  <a:lnTo>
                    <a:pt x="3" y="5"/>
                  </a:lnTo>
                  <a:lnTo>
                    <a:pt x="3" y="3"/>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370" name="Freeform 1989">
              <a:extLst>
                <a:ext uri="{FF2B5EF4-FFF2-40B4-BE49-F238E27FC236}">
                  <a16:creationId xmlns:a16="http://schemas.microsoft.com/office/drawing/2014/main" id="{31E7D912-5982-AB41-B2C7-5566A095D319}"/>
                </a:ext>
              </a:extLst>
            </p:cNvPr>
            <p:cNvSpPr>
              <a:spLocks noEditPoints="1"/>
            </p:cNvSpPr>
            <p:nvPr/>
          </p:nvSpPr>
          <p:spPr bwMode="auto">
            <a:xfrm>
              <a:off x="8430246" y="2814780"/>
              <a:ext cx="171753" cy="212646"/>
            </a:xfrm>
            <a:custGeom>
              <a:avLst/>
              <a:gdLst>
                <a:gd name="T0" fmla="*/ 89 w 105"/>
                <a:gd name="T1" fmla="*/ 114 h 130"/>
                <a:gd name="T2" fmla="*/ 87 w 105"/>
                <a:gd name="T3" fmla="*/ 107 h 130"/>
                <a:gd name="T4" fmla="*/ 72 w 105"/>
                <a:gd name="T5" fmla="*/ 99 h 130"/>
                <a:gd name="T6" fmla="*/ 77 w 105"/>
                <a:gd name="T7" fmla="*/ 89 h 130"/>
                <a:gd name="T8" fmla="*/ 64 w 105"/>
                <a:gd name="T9" fmla="*/ 89 h 130"/>
                <a:gd name="T10" fmla="*/ 59 w 105"/>
                <a:gd name="T11" fmla="*/ 89 h 130"/>
                <a:gd name="T12" fmla="*/ 67 w 105"/>
                <a:gd name="T13" fmla="*/ 102 h 130"/>
                <a:gd name="T14" fmla="*/ 59 w 105"/>
                <a:gd name="T15" fmla="*/ 81 h 130"/>
                <a:gd name="T16" fmla="*/ 102 w 105"/>
                <a:gd name="T17" fmla="*/ 112 h 130"/>
                <a:gd name="T18" fmla="*/ 97 w 105"/>
                <a:gd name="T19" fmla="*/ 86 h 130"/>
                <a:gd name="T20" fmla="*/ 92 w 105"/>
                <a:gd name="T21" fmla="*/ 69 h 130"/>
                <a:gd name="T22" fmla="*/ 84 w 105"/>
                <a:gd name="T23" fmla="*/ 66 h 130"/>
                <a:gd name="T24" fmla="*/ 82 w 105"/>
                <a:gd name="T25" fmla="*/ 79 h 130"/>
                <a:gd name="T26" fmla="*/ 74 w 105"/>
                <a:gd name="T27" fmla="*/ 76 h 130"/>
                <a:gd name="T28" fmla="*/ 74 w 105"/>
                <a:gd name="T29" fmla="*/ 79 h 130"/>
                <a:gd name="T30" fmla="*/ 72 w 105"/>
                <a:gd name="T31" fmla="*/ 56 h 130"/>
                <a:gd name="T32" fmla="*/ 77 w 105"/>
                <a:gd name="T33" fmla="*/ 53 h 130"/>
                <a:gd name="T34" fmla="*/ 82 w 105"/>
                <a:gd name="T35" fmla="*/ 48 h 130"/>
                <a:gd name="T36" fmla="*/ 87 w 105"/>
                <a:gd name="T37" fmla="*/ 41 h 130"/>
                <a:gd name="T38" fmla="*/ 89 w 105"/>
                <a:gd name="T39" fmla="*/ 36 h 130"/>
                <a:gd name="T40" fmla="*/ 67 w 105"/>
                <a:gd name="T41" fmla="*/ 30 h 130"/>
                <a:gd name="T42" fmla="*/ 44 w 105"/>
                <a:gd name="T43" fmla="*/ 30 h 130"/>
                <a:gd name="T44" fmla="*/ 36 w 105"/>
                <a:gd name="T45" fmla="*/ 23 h 130"/>
                <a:gd name="T46" fmla="*/ 28 w 105"/>
                <a:gd name="T47" fmla="*/ 10 h 130"/>
                <a:gd name="T48" fmla="*/ 21 w 105"/>
                <a:gd name="T49" fmla="*/ 8 h 130"/>
                <a:gd name="T50" fmla="*/ 16 w 105"/>
                <a:gd name="T51" fmla="*/ 5 h 130"/>
                <a:gd name="T52" fmla="*/ 13 w 105"/>
                <a:gd name="T53" fmla="*/ 5 h 130"/>
                <a:gd name="T54" fmla="*/ 3 w 105"/>
                <a:gd name="T55" fmla="*/ 0 h 130"/>
                <a:gd name="T56" fmla="*/ 5 w 105"/>
                <a:gd name="T57" fmla="*/ 8 h 130"/>
                <a:gd name="T58" fmla="*/ 3 w 105"/>
                <a:gd name="T59" fmla="*/ 18 h 130"/>
                <a:gd name="T60" fmla="*/ 16 w 105"/>
                <a:gd name="T61" fmla="*/ 25 h 130"/>
                <a:gd name="T62" fmla="*/ 18 w 105"/>
                <a:gd name="T63" fmla="*/ 30 h 130"/>
                <a:gd name="T64" fmla="*/ 8 w 105"/>
                <a:gd name="T65" fmla="*/ 38 h 130"/>
                <a:gd name="T66" fmla="*/ 8 w 105"/>
                <a:gd name="T67" fmla="*/ 46 h 130"/>
                <a:gd name="T68" fmla="*/ 18 w 105"/>
                <a:gd name="T69" fmla="*/ 51 h 130"/>
                <a:gd name="T70" fmla="*/ 18 w 105"/>
                <a:gd name="T71" fmla="*/ 66 h 130"/>
                <a:gd name="T72" fmla="*/ 23 w 105"/>
                <a:gd name="T73" fmla="*/ 76 h 130"/>
                <a:gd name="T74" fmla="*/ 28 w 105"/>
                <a:gd name="T75" fmla="*/ 89 h 130"/>
                <a:gd name="T76" fmla="*/ 33 w 105"/>
                <a:gd name="T77" fmla="*/ 107 h 130"/>
                <a:gd name="T78" fmla="*/ 41 w 105"/>
                <a:gd name="T79" fmla="*/ 102 h 130"/>
                <a:gd name="T80" fmla="*/ 44 w 105"/>
                <a:gd name="T81" fmla="*/ 107 h 130"/>
                <a:gd name="T82" fmla="*/ 49 w 105"/>
                <a:gd name="T83" fmla="*/ 92 h 130"/>
                <a:gd name="T84" fmla="*/ 54 w 105"/>
                <a:gd name="T85" fmla="*/ 99 h 130"/>
                <a:gd name="T86" fmla="*/ 56 w 105"/>
                <a:gd name="T87" fmla="*/ 107 h 130"/>
                <a:gd name="T88" fmla="*/ 59 w 105"/>
                <a:gd name="T89" fmla="*/ 92 h 130"/>
                <a:gd name="T90" fmla="*/ 59 w 105"/>
                <a:gd name="T91" fmla="*/ 84 h 130"/>
                <a:gd name="T92" fmla="*/ 56 w 105"/>
                <a:gd name="T93" fmla="*/ 74 h 130"/>
                <a:gd name="T94" fmla="*/ 56 w 105"/>
                <a:gd name="T95" fmla="*/ 69 h 130"/>
                <a:gd name="T96" fmla="*/ 64 w 105"/>
                <a:gd name="T97" fmla="*/ 86 h 130"/>
                <a:gd name="T98" fmla="*/ 77 w 105"/>
                <a:gd name="T99" fmla="*/ 84 h 130"/>
                <a:gd name="T100" fmla="*/ 87 w 105"/>
                <a:gd name="T101" fmla="*/ 97 h 130"/>
                <a:gd name="T102" fmla="*/ 97 w 105"/>
                <a:gd name="T103" fmla="*/ 127 h 130"/>
                <a:gd name="T104" fmla="*/ 97 w 105"/>
                <a:gd name="T105" fmla="*/ 125 h 130"/>
                <a:gd name="T106" fmla="*/ 100 w 105"/>
                <a:gd name="T107" fmla="*/ 117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5" h="130">
                  <a:moveTo>
                    <a:pt x="89" y="109"/>
                  </a:moveTo>
                  <a:lnTo>
                    <a:pt x="89" y="109"/>
                  </a:lnTo>
                  <a:lnTo>
                    <a:pt x="89" y="109"/>
                  </a:lnTo>
                  <a:lnTo>
                    <a:pt x="87" y="109"/>
                  </a:lnTo>
                  <a:lnTo>
                    <a:pt x="89" y="112"/>
                  </a:lnTo>
                  <a:lnTo>
                    <a:pt x="89" y="114"/>
                  </a:lnTo>
                  <a:lnTo>
                    <a:pt x="89" y="114"/>
                  </a:lnTo>
                  <a:lnTo>
                    <a:pt x="89" y="114"/>
                  </a:lnTo>
                  <a:lnTo>
                    <a:pt x="89" y="112"/>
                  </a:lnTo>
                  <a:lnTo>
                    <a:pt x="89" y="109"/>
                  </a:lnTo>
                  <a:close/>
                  <a:moveTo>
                    <a:pt x="87" y="104"/>
                  </a:moveTo>
                  <a:lnTo>
                    <a:pt x="87" y="104"/>
                  </a:lnTo>
                  <a:lnTo>
                    <a:pt x="87" y="107"/>
                  </a:lnTo>
                  <a:lnTo>
                    <a:pt x="87" y="107"/>
                  </a:lnTo>
                  <a:lnTo>
                    <a:pt x="87" y="109"/>
                  </a:lnTo>
                  <a:lnTo>
                    <a:pt x="87" y="107"/>
                  </a:lnTo>
                  <a:lnTo>
                    <a:pt x="87" y="107"/>
                  </a:lnTo>
                  <a:lnTo>
                    <a:pt x="87" y="104"/>
                  </a:lnTo>
                  <a:close/>
                  <a:moveTo>
                    <a:pt x="69" y="92"/>
                  </a:moveTo>
                  <a:lnTo>
                    <a:pt x="72" y="102"/>
                  </a:lnTo>
                  <a:lnTo>
                    <a:pt x="72" y="99"/>
                  </a:lnTo>
                  <a:lnTo>
                    <a:pt x="74" y="97"/>
                  </a:lnTo>
                  <a:lnTo>
                    <a:pt x="72" y="94"/>
                  </a:lnTo>
                  <a:lnTo>
                    <a:pt x="69" y="92"/>
                  </a:lnTo>
                  <a:close/>
                  <a:moveTo>
                    <a:pt x="79" y="92"/>
                  </a:moveTo>
                  <a:lnTo>
                    <a:pt x="79" y="89"/>
                  </a:lnTo>
                  <a:lnTo>
                    <a:pt x="77" y="89"/>
                  </a:lnTo>
                  <a:lnTo>
                    <a:pt x="77" y="89"/>
                  </a:lnTo>
                  <a:lnTo>
                    <a:pt x="77" y="92"/>
                  </a:lnTo>
                  <a:lnTo>
                    <a:pt x="79" y="94"/>
                  </a:lnTo>
                  <a:lnTo>
                    <a:pt x="79" y="94"/>
                  </a:lnTo>
                  <a:lnTo>
                    <a:pt x="79" y="94"/>
                  </a:lnTo>
                  <a:lnTo>
                    <a:pt x="79" y="94"/>
                  </a:lnTo>
                  <a:lnTo>
                    <a:pt x="79" y="92"/>
                  </a:lnTo>
                  <a:close/>
                  <a:moveTo>
                    <a:pt x="64" y="89"/>
                  </a:moveTo>
                  <a:lnTo>
                    <a:pt x="61" y="86"/>
                  </a:lnTo>
                  <a:lnTo>
                    <a:pt x="61" y="86"/>
                  </a:lnTo>
                  <a:lnTo>
                    <a:pt x="61" y="84"/>
                  </a:lnTo>
                  <a:lnTo>
                    <a:pt x="59" y="84"/>
                  </a:lnTo>
                  <a:lnTo>
                    <a:pt x="59" y="84"/>
                  </a:lnTo>
                  <a:lnTo>
                    <a:pt x="59" y="86"/>
                  </a:lnTo>
                  <a:lnTo>
                    <a:pt x="59" y="89"/>
                  </a:lnTo>
                  <a:lnTo>
                    <a:pt x="59" y="89"/>
                  </a:lnTo>
                  <a:lnTo>
                    <a:pt x="61" y="92"/>
                  </a:lnTo>
                  <a:lnTo>
                    <a:pt x="61" y="94"/>
                  </a:lnTo>
                  <a:lnTo>
                    <a:pt x="64" y="97"/>
                  </a:lnTo>
                  <a:lnTo>
                    <a:pt x="61" y="102"/>
                  </a:lnTo>
                  <a:lnTo>
                    <a:pt x="61" y="102"/>
                  </a:lnTo>
                  <a:lnTo>
                    <a:pt x="67" y="102"/>
                  </a:lnTo>
                  <a:lnTo>
                    <a:pt x="67" y="99"/>
                  </a:lnTo>
                  <a:lnTo>
                    <a:pt x="67" y="94"/>
                  </a:lnTo>
                  <a:lnTo>
                    <a:pt x="67" y="92"/>
                  </a:lnTo>
                  <a:lnTo>
                    <a:pt x="64" y="89"/>
                  </a:lnTo>
                  <a:close/>
                  <a:moveTo>
                    <a:pt x="61" y="81"/>
                  </a:moveTo>
                  <a:lnTo>
                    <a:pt x="59" y="79"/>
                  </a:lnTo>
                  <a:lnTo>
                    <a:pt x="59" y="81"/>
                  </a:lnTo>
                  <a:lnTo>
                    <a:pt x="59" y="81"/>
                  </a:lnTo>
                  <a:lnTo>
                    <a:pt x="59" y="81"/>
                  </a:lnTo>
                  <a:lnTo>
                    <a:pt x="61" y="81"/>
                  </a:lnTo>
                  <a:lnTo>
                    <a:pt x="61" y="81"/>
                  </a:lnTo>
                  <a:close/>
                  <a:moveTo>
                    <a:pt x="105" y="117"/>
                  </a:moveTo>
                  <a:lnTo>
                    <a:pt x="102" y="114"/>
                  </a:lnTo>
                  <a:lnTo>
                    <a:pt x="102" y="112"/>
                  </a:lnTo>
                  <a:lnTo>
                    <a:pt x="102" y="104"/>
                  </a:lnTo>
                  <a:lnTo>
                    <a:pt x="102" y="104"/>
                  </a:lnTo>
                  <a:lnTo>
                    <a:pt x="100" y="102"/>
                  </a:lnTo>
                  <a:lnTo>
                    <a:pt x="100" y="94"/>
                  </a:lnTo>
                  <a:lnTo>
                    <a:pt x="100" y="92"/>
                  </a:lnTo>
                  <a:lnTo>
                    <a:pt x="97" y="86"/>
                  </a:lnTo>
                  <a:lnTo>
                    <a:pt x="97" y="86"/>
                  </a:lnTo>
                  <a:lnTo>
                    <a:pt x="97" y="84"/>
                  </a:lnTo>
                  <a:lnTo>
                    <a:pt x="95" y="84"/>
                  </a:lnTo>
                  <a:lnTo>
                    <a:pt x="95" y="81"/>
                  </a:lnTo>
                  <a:lnTo>
                    <a:pt x="95" y="79"/>
                  </a:lnTo>
                  <a:lnTo>
                    <a:pt x="92" y="76"/>
                  </a:lnTo>
                  <a:lnTo>
                    <a:pt x="92" y="74"/>
                  </a:lnTo>
                  <a:lnTo>
                    <a:pt x="92" y="69"/>
                  </a:lnTo>
                  <a:lnTo>
                    <a:pt x="89" y="66"/>
                  </a:lnTo>
                  <a:lnTo>
                    <a:pt x="89" y="66"/>
                  </a:lnTo>
                  <a:lnTo>
                    <a:pt x="87" y="64"/>
                  </a:lnTo>
                  <a:lnTo>
                    <a:pt x="87" y="64"/>
                  </a:lnTo>
                  <a:lnTo>
                    <a:pt x="87" y="66"/>
                  </a:lnTo>
                  <a:lnTo>
                    <a:pt x="84" y="66"/>
                  </a:lnTo>
                  <a:lnTo>
                    <a:pt x="84" y="66"/>
                  </a:lnTo>
                  <a:lnTo>
                    <a:pt x="84" y="66"/>
                  </a:lnTo>
                  <a:lnTo>
                    <a:pt x="84" y="69"/>
                  </a:lnTo>
                  <a:lnTo>
                    <a:pt x="84" y="69"/>
                  </a:lnTo>
                  <a:lnTo>
                    <a:pt x="82" y="71"/>
                  </a:lnTo>
                  <a:lnTo>
                    <a:pt x="82" y="74"/>
                  </a:lnTo>
                  <a:lnTo>
                    <a:pt x="82" y="76"/>
                  </a:lnTo>
                  <a:lnTo>
                    <a:pt x="82" y="79"/>
                  </a:lnTo>
                  <a:lnTo>
                    <a:pt x="82" y="79"/>
                  </a:lnTo>
                  <a:lnTo>
                    <a:pt x="82" y="81"/>
                  </a:lnTo>
                  <a:lnTo>
                    <a:pt x="79" y="81"/>
                  </a:lnTo>
                  <a:lnTo>
                    <a:pt x="79" y="81"/>
                  </a:lnTo>
                  <a:lnTo>
                    <a:pt x="77" y="79"/>
                  </a:lnTo>
                  <a:lnTo>
                    <a:pt x="77" y="76"/>
                  </a:lnTo>
                  <a:lnTo>
                    <a:pt x="74" y="76"/>
                  </a:lnTo>
                  <a:lnTo>
                    <a:pt x="74" y="76"/>
                  </a:lnTo>
                  <a:lnTo>
                    <a:pt x="74" y="76"/>
                  </a:lnTo>
                  <a:lnTo>
                    <a:pt x="74" y="79"/>
                  </a:lnTo>
                  <a:lnTo>
                    <a:pt x="74" y="79"/>
                  </a:lnTo>
                  <a:lnTo>
                    <a:pt x="74" y="79"/>
                  </a:lnTo>
                  <a:lnTo>
                    <a:pt x="74" y="79"/>
                  </a:lnTo>
                  <a:lnTo>
                    <a:pt x="74" y="79"/>
                  </a:lnTo>
                  <a:lnTo>
                    <a:pt x="72" y="71"/>
                  </a:lnTo>
                  <a:lnTo>
                    <a:pt x="69" y="66"/>
                  </a:lnTo>
                  <a:lnTo>
                    <a:pt x="69" y="66"/>
                  </a:lnTo>
                  <a:lnTo>
                    <a:pt x="69" y="64"/>
                  </a:lnTo>
                  <a:lnTo>
                    <a:pt x="69" y="58"/>
                  </a:lnTo>
                  <a:lnTo>
                    <a:pt x="72" y="58"/>
                  </a:lnTo>
                  <a:lnTo>
                    <a:pt x="72" y="56"/>
                  </a:lnTo>
                  <a:lnTo>
                    <a:pt x="72" y="56"/>
                  </a:lnTo>
                  <a:lnTo>
                    <a:pt x="72" y="56"/>
                  </a:lnTo>
                  <a:lnTo>
                    <a:pt x="74" y="56"/>
                  </a:lnTo>
                  <a:lnTo>
                    <a:pt x="74" y="56"/>
                  </a:lnTo>
                  <a:lnTo>
                    <a:pt x="77" y="53"/>
                  </a:lnTo>
                  <a:lnTo>
                    <a:pt x="77" y="53"/>
                  </a:lnTo>
                  <a:lnTo>
                    <a:pt x="77" y="53"/>
                  </a:lnTo>
                  <a:lnTo>
                    <a:pt x="79" y="53"/>
                  </a:lnTo>
                  <a:lnTo>
                    <a:pt x="79" y="53"/>
                  </a:lnTo>
                  <a:lnTo>
                    <a:pt x="82" y="53"/>
                  </a:lnTo>
                  <a:lnTo>
                    <a:pt x="82" y="51"/>
                  </a:lnTo>
                  <a:lnTo>
                    <a:pt x="82" y="51"/>
                  </a:lnTo>
                  <a:lnTo>
                    <a:pt x="82" y="51"/>
                  </a:lnTo>
                  <a:lnTo>
                    <a:pt x="82" y="48"/>
                  </a:lnTo>
                  <a:lnTo>
                    <a:pt x="84" y="48"/>
                  </a:lnTo>
                  <a:lnTo>
                    <a:pt x="84" y="48"/>
                  </a:lnTo>
                  <a:lnTo>
                    <a:pt x="84" y="48"/>
                  </a:lnTo>
                  <a:lnTo>
                    <a:pt x="84" y="46"/>
                  </a:lnTo>
                  <a:lnTo>
                    <a:pt x="84" y="43"/>
                  </a:lnTo>
                  <a:lnTo>
                    <a:pt x="87" y="41"/>
                  </a:lnTo>
                  <a:lnTo>
                    <a:pt x="87" y="41"/>
                  </a:lnTo>
                  <a:lnTo>
                    <a:pt x="84" y="38"/>
                  </a:lnTo>
                  <a:lnTo>
                    <a:pt x="87" y="38"/>
                  </a:lnTo>
                  <a:lnTo>
                    <a:pt x="89" y="38"/>
                  </a:lnTo>
                  <a:lnTo>
                    <a:pt x="89" y="38"/>
                  </a:lnTo>
                  <a:lnTo>
                    <a:pt x="89" y="38"/>
                  </a:lnTo>
                  <a:lnTo>
                    <a:pt x="89" y="38"/>
                  </a:lnTo>
                  <a:lnTo>
                    <a:pt x="89" y="36"/>
                  </a:lnTo>
                  <a:lnTo>
                    <a:pt x="87" y="36"/>
                  </a:lnTo>
                  <a:lnTo>
                    <a:pt x="84" y="33"/>
                  </a:lnTo>
                  <a:lnTo>
                    <a:pt x="82" y="30"/>
                  </a:lnTo>
                  <a:lnTo>
                    <a:pt x="74" y="30"/>
                  </a:lnTo>
                  <a:lnTo>
                    <a:pt x="69" y="33"/>
                  </a:lnTo>
                  <a:lnTo>
                    <a:pt x="69" y="30"/>
                  </a:lnTo>
                  <a:lnTo>
                    <a:pt x="67" y="30"/>
                  </a:lnTo>
                  <a:lnTo>
                    <a:pt x="61" y="30"/>
                  </a:lnTo>
                  <a:lnTo>
                    <a:pt x="56" y="30"/>
                  </a:lnTo>
                  <a:lnTo>
                    <a:pt x="54" y="30"/>
                  </a:lnTo>
                  <a:lnTo>
                    <a:pt x="51" y="30"/>
                  </a:lnTo>
                  <a:lnTo>
                    <a:pt x="49" y="30"/>
                  </a:lnTo>
                  <a:lnTo>
                    <a:pt x="46" y="30"/>
                  </a:lnTo>
                  <a:lnTo>
                    <a:pt x="44" y="30"/>
                  </a:lnTo>
                  <a:lnTo>
                    <a:pt x="41" y="30"/>
                  </a:lnTo>
                  <a:lnTo>
                    <a:pt x="39" y="28"/>
                  </a:lnTo>
                  <a:lnTo>
                    <a:pt x="36" y="28"/>
                  </a:lnTo>
                  <a:lnTo>
                    <a:pt x="36" y="28"/>
                  </a:lnTo>
                  <a:lnTo>
                    <a:pt x="36" y="28"/>
                  </a:lnTo>
                  <a:lnTo>
                    <a:pt x="36" y="25"/>
                  </a:lnTo>
                  <a:lnTo>
                    <a:pt x="36" y="23"/>
                  </a:lnTo>
                  <a:lnTo>
                    <a:pt x="33" y="15"/>
                  </a:lnTo>
                  <a:lnTo>
                    <a:pt x="33" y="13"/>
                  </a:lnTo>
                  <a:lnTo>
                    <a:pt x="31" y="8"/>
                  </a:lnTo>
                  <a:lnTo>
                    <a:pt x="31" y="8"/>
                  </a:lnTo>
                  <a:lnTo>
                    <a:pt x="28" y="8"/>
                  </a:lnTo>
                  <a:lnTo>
                    <a:pt x="28" y="8"/>
                  </a:lnTo>
                  <a:lnTo>
                    <a:pt x="28" y="10"/>
                  </a:lnTo>
                  <a:lnTo>
                    <a:pt x="28" y="10"/>
                  </a:lnTo>
                  <a:lnTo>
                    <a:pt x="28" y="13"/>
                  </a:lnTo>
                  <a:lnTo>
                    <a:pt x="28" y="13"/>
                  </a:lnTo>
                  <a:lnTo>
                    <a:pt x="26" y="13"/>
                  </a:lnTo>
                  <a:lnTo>
                    <a:pt x="23" y="13"/>
                  </a:lnTo>
                  <a:lnTo>
                    <a:pt x="21" y="10"/>
                  </a:lnTo>
                  <a:lnTo>
                    <a:pt x="21" y="8"/>
                  </a:lnTo>
                  <a:lnTo>
                    <a:pt x="18" y="5"/>
                  </a:lnTo>
                  <a:lnTo>
                    <a:pt x="18" y="5"/>
                  </a:lnTo>
                  <a:lnTo>
                    <a:pt x="18" y="2"/>
                  </a:lnTo>
                  <a:lnTo>
                    <a:pt x="16" y="2"/>
                  </a:lnTo>
                  <a:lnTo>
                    <a:pt x="16" y="2"/>
                  </a:lnTo>
                  <a:lnTo>
                    <a:pt x="16" y="5"/>
                  </a:lnTo>
                  <a:lnTo>
                    <a:pt x="16" y="5"/>
                  </a:lnTo>
                  <a:lnTo>
                    <a:pt x="18" y="5"/>
                  </a:lnTo>
                  <a:lnTo>
                    <a:pt x="16" y="8"/>
                  </a:lnTo>
                  <a:lnTo>
                    <a:pt x="16" y="8"/>
                  </a:lnTo>
                  <a:lnTo>
                    <a:pt x="16" y="8"/>
                  </a:lnTo>
                  <a:lnTo>
                    <a:pt x="13" y="8"/>
                  </a:lnTo>
                  <a:lnTo>
                    <a:pt x="13" y="5"/>
                  </a:lnTo>
                  <a:lnTo>
                    <a:pt x="13" y="5"/>
                  </a:lnTo>
                  <a:lnTo>
                    <a:pt x="10" y="5"/>
                  </a:lnTo>
                  <a:lnTo>
                    <a:pt x="10" y="5"/>
                  </a:lnTo>
                  <a:lnTo>
                    <a:pt x="10" y="2"/>
                  </a:lnTo>
                  <a:lnTo>
                    <a:pt x="8" y="0"/>
                  </a:lnTo>
                  <a:lnTo>
                    <a:pt x="5" y="0"/>
                  </a:lnTo>
                  <a:lnTo>
                    <a:pt x="3" y="0"/>
                  </a:lnTo>
                  <a:lnTo>
                    <a:pt x="3" y="0"/>
                  </a:lnTo>
                  <a:lnTo>
                    <a:pt x="3" y="2"/>
                  </a:lnTo>
                  <a:lnTo>
                    <a:pt x="5" y="2"/>
                  </a:lnTo>
                  <a:lnTo>
                    <a:pt x="5" y="2"/>
                  </a:lnTo>
                  <a:lnTo>
                    <a:pt x="5" y="2"/>
                  </a:lnTo>
                  <a:lnTo>
                    <a:pt x="5" y="5"/>
                  </a:lnTo>
                  <a:lnTo>
                    <a:pt x="5" y="5"/>
                  </a:lnTo>
                  <a:lnTo>
                    <a:pt x="5" y="8"/>
                  </a:lnTo>
                  <a:lnTo>
                    <a:pt x="3" y="8"/>
                  </a:lnTo>
                  <a:lnTo>
                    <a:pt x="0" y="10"/>
                  </a:lnTo>
                  <a:lnTo>
                    <a:pt x="0" y="13"/>
                  </a:lnTo>
                  <a:lnTo>
                    <a:pt x="0" y="13"/>
                  </a:lnTo>
                  <a:lnTo>
                    <a:pt x="0" y="15"/>
                  </a:lnTo>
                  <a:lnTo>
                    <a:pt x="0" y="15"/>
                  </a:lnTo>
                  <a:lnTo>
                    <a:pt x="3" y="18"/>
                  </a:lnTo>
                  <a:lnTo>
                    <a:pt x="5" y="18"/>
                  </a:lnTo>
                  <a:lnTo>
                    <a:pt x="8" y="20"/>
                  </a:lnTo>
                  <a:lnTo>
                    <a:pt x="8" y="23"/>
                  </a:lnTo>
                  <a:lnTo>
                    <a:pt x="10" y="23"/>
                  </a:lnTo>
                  <a:lnTo>
                    <a:pt x="13" y="23"/>
                  </a:lnTo>
                  <a:lnTo>
                    <a:pt x="16" y="23"/>
                  </a:lnTo>
                  <a:lnTo>
                    <a:pt x="16" y="25"/>
                  </a:lnTo>
                  <a:lnTo>
                    <a:pt x="18" y="28"/>
                  </a:lnTo>
                  <a:lnTo>
                    <a:pt x="18" y="28"/>
                  </a:lnTo>
                  <a:lnTo>
                    <a:pt x="21" y="28"/>
                  </a:lnTo>
                  <a:lnTo>
                    <a:pt x="21" y="30"/>
                  </a:lnTo>
                  <a:lnTo>
                    <a:pt x="21" y="30"/>
                  </a:lnTo>
                  <a:lnTo>
                    <a:pt x="18" y="30"/>
                  </a:lnTo>
                  <a:lnTo>
                    <a:pt x="18" y="30"/>
                  </a:lnTo>
                  <a:lnTo>
                    <a:pt x="16" y="30"/>
                  </a:lnTo>
                  <a:lnTo>
                    <a:pt x="16" y="30"/>
                  </a:lnTo>
                  <a:lnTo>
                    <a:pt x="13" y="30"/>
                  </a:lnTo>
                  <a:lnTo>
                    <a:pt x="10" y="30"/>
                  </a:lnTo>
                  <a:lnTo>
                    <a:pt x="10" y="36"/>
                  </a:lnTo>
                  <a:lnTo>
                    <a:pt x="8" y="38"/>
                  </a:lnTo>
                  <a:lnTo>
                    <a:pt x="8" y="38"/>
                  </a:lnTo>
                  <a:lnTo>
                    <a:pt x="5" y="38"/>
                  </a:lnTo>
                  <a:lnTo>
                    <a:pt x="5" y="38"/>
                  </a:lnTo>
                  <a:lnTo>
                    <a:pt x="3" y="41"/>
                  </a:lnTo>
                  <a:lnTo>
                    <a:pt x="3" y="43"/>
                  </a:lnTo>
                  <a:lnTo>
                    <a:pt x="3" y="43"/>
                  </a:lnTo>
                  <a:lnTo>
                    <a:pt x="5" y="46"/>
                  </a:lnTo>
                  <a:lnTo>
                    <a:pt x="8" y="46"/>
                  </a:lnTo>
                  <a:lnTo>
                    <a:pt x="8" y="48"/>
                  </a:lnTo>
                  <a:lnTo>
                    <a:pt x="10" y="46"/>
                  </a:lnTo>
                  <a:lnTo>
                    <a:pt x="10" y="48"/>
                  </a:lnTo>
                  <a:lnTo>
                    <a:pt x="13" y="48"/>
                  </a:lnTo>
                  <a:lnTo>
                    <a:pt x="13" y="51"/>
                  </a:lnTo>
                  <a:lnTo>
                    <a:pt x="18" y="51"/>
                  </a:lnTo>
                  <a:lnTo>
                    <a:pt x="18" y="51"/>
                  </a:lnTo>
                  <a:lnTo>
                    <a:pt x="18" y="53"/>
                  </a:lnTo>
                  <a:lnTo>
                    <a:pt x="18" y="53"/>
                  </a:lnTo>
                  <a:lnTo>
                    <a:pt x="18" y="56"/>
                  </a:lnTo>
                  <a:lnTo>
                    <a:pt x="18" y="58"/>
                  </a:lnTo>
                  <a:lnTo>
                    <a:pt x="18" y="61"/>
                  </a:lnTo>
                  <a:lnTo>
                    <a:pt x="18" y="66"/>
                  </a:lnTo>
                  <a:lnTo>
                    <a:pt x="18" y="66"/>
                  </a:lnTo>
                  <a:lnTo>
                    <a:pt x="18" y="69"/>
                  </a:lnTo>
                  <a:lnTo>
                    <a:pt x="18" y="69"/>
                  </a:lnTo>
                  <a:lnTo>
                    <a:pt x="21" y="69"/>
                  </a:lnTo>
                  <a:lnTo>
                    <a:pt x="21" y="71"/>
                  </a:lnTo>
                  <a:lnTo>
                    <a:pt x="21" y="74"/>
                  </a:lnTo>
                  <a:lnTo>
                    <a:pt x="21" y="74"/>
                  </a:lnTo>
                  <a:lnTo>
                    <a:pt x="23" y="76"/>
                  </a:lnTo>
                  <a:lnTo>
                    <a:pt x="26" y="76"/>
                  </a:lnTo>
                  <a:lnTo>
                    <a:pt x="26" y="76"/>
                  </a:lnTo>
                  <a:lnTo>
                    <a:pt x="26" y="79"/>
                  </a:lnTo>
                  <a:lnTo>
                    <a:pt x="26" y="81"/>
                  </a:lnTo>
                  <a:lnTo>
                    <a:pt x="26" y="84"/>
                  </a:lnTo>
                  <a:lnTo>
                    <a:pt x="28" y="86"/>
                  </a:lnTo>
                  <a:lnTo>
                    <a:pt x="28" y="89"/>
                  </a:lnTo>
                  <a:lnTo>
                    <a:pt x="28" y="89"/>
                  </a:lnTo>
                  <a:lnTo>
                    <a:pt x="28" y="92"/>
                  </a:lnTo>
                  <a:lnTo>
                    <a:pt x="31" y="97"/>
                  </a:lnTo>
                  <a:lnTo>
                    <a:pt x="31" y="99"/>
                  </a:lnTo>
                  <a:lnTo>
                    <a:pt x="31" y="102"/>
                  </a:lnTo>
                  <a:lnTo>
                    <a:pt x="33" y="102"/>
                  </a:lnTo>
                  <a:lnTo>
                    <a:pt x="33" y="107"/>
                  </a:lnTo>
                  <a:lnTo>
                    <a:pt x="36" y="109"/>
                  </a:lnTo>
                  <a:lnTo>
                    <a:pt x="36" y="109"/>
                  </a:lnTo>
                  <a:lnTo>
                    <a:pt x="36" y="109"/>
                  </a:lnTo>
                  <a:lnTo>
                    <a:pt x="39" y="109"/>
                  </a:lnTo>
                  <a:lnTo>
                    <a:pt x="41" y="107"/>
                  </a:lnTo>
                  <a:lnTo>
                    <a:pt x="41" y="104"/>
                  </a:lnTo>
                  <a:lnTo>
                    <a:pt x="41" y="102"/>
                  </a:lnTo>
                  <a:lnTo>
                    <a:pt x="39" y="99"/>
                  </a:lnTo>
                  <a:lnTo>
                    <a:pt x="39" y="97"/>
                  </a:lnTo>
                  <a:lnTo>
                    <a:pt x="41" y="104"/>
                  </a:lnTo>
                  <a:lnTo>
                    <a:pt x="44" y="107"/>
                  </a:lnTo>
                  <a:lnTo>
                    <a:pt x="44" y="109"/>
                  </a:lnTo>
                  <a:lnTo>
                    <a:pt x="44" y="107"/>
                  </a:lnTo>
                  <a:lnTo>
                    <a:pt x="44" y="107"/>
                  </a:lnTo>
                  <a:lnTo>
                    <a:pt x="46" y="104"/>
                  </a:lnTo>
                  <a:lnTo>
                    <a:pt x="46" y="104"/>
                  </a:lnTo>
                  <a:lnTo>
                    <a:pt x="46" y="102"/>
                  </a:lnTo>
                  <a:lnTo>
                    <a:pt x="49" y="99"/>
                  </a:lnTo>
                  <a:lnTo>
                    <a:pt x="46" y="97"/>
                  </a:lnTo>
                  <a:lnTo>
                    <a:pt x="46" y="94"/>
                  </a:lnTo>
                  <a:lnTo>
                    <a:pt x="49" y="92"/>
                  </a:lnTo>
                  <a:lnTo>
                    <a:pt x="49" y="97"/>
                  </a:lnTo>
                  <a:lnTo>
                    <a:pt x="49" y="99"/>
                  </a:lnTo>
                  <a:lnTo>
                    <a:pt x="49" y="102"/>
                  </a:lnTo>
                  <a:lnTo>
                    <a:pt x="49" y="102"/>
                  </a:lnTo>
                  <a:lnTo>
                    <a:pt x="51" y="102"/>
                  </a:lnTo>
                  <a:lnTo>
                    <a:pt x="54" y="99"/>
                  </a:lnTo>
                  <a:lnTo>
                    <a:pt x="54" y="99"/>
                  </a:lnTo>
                  <a:lnTo>
                    <a:pt x="51" y="102"/>
                  </a:lnTo>
                  <a:lnTo>
                    <a:pt x="51" y="104"/>
                  </a:lnTo>
                  <a:lnTo>
                    <a:pt x="51" y="107"/>
                  </a:lnTo>
                  <a:lnTo>
                    <a:pt x="54" y="107"/>
                  </a:lnTo>
                  <a:lnTo>
                    <a:pt x="54" y="107"/>
                  </a:lnTo>
                  <a:lnTo>
                    <a:pt x="56" y="107"/>
                  </a:lnTo>
                  <a:lnTo>
                    <a:pt x="56" y="107"/>
                  </a:lnTo>
                  <a:lnTo>
                    <a:pt x="56" y="102"/>
                  </a:lnTo>
                  <a:lnTo>
                    <a:pt x="59" y="99"/>
                  </a:lnTo>
                  <a:lnTo>
                    <a:pt x="61" y="99"/>
                  </a:lnTo>
                  <a:lnTo>
                    <a:pt x="61" y="97"/>
                  </a:lnTo>
                  <a:lnTo>
                    <a:pt x="61" y="94"/>
                  </a:lnTo>
                  <a:lnTo>
                    <a:pt x="61" y="94"/>
                  </a:lnTo>
                  <a:lnTo>
                    <a:pt x="59" y="92"/>
                  </a:lnTo>
                  <a:lnTo>
                    <a:pt x="59" y="89"/>
                  </a:lnTo>
                  <a:lnTo>
                    <a:pt x="59" y="89"/>
                  </a:lnTo>
                  <a:lnTo>
                    <a:pt x="59" y="89"/>
                  </a:lnTo>
                  <a:lnTo>
                    <a:pt x="56" y="86"/>
                  </a:lnTo>
                  <a:lnTo>
                    <a:pt x="56" y="84"/>
                  </a:lnTo>
                  <a:lnTo>
                    <a:pt x="56" y="84"/>
                  </a:lnTo>
                  <a:lnTo>
                    <a:pt x="59" y="84"/>
                  </a:lnTo>
                  <a:lnTo>
                    <a:pt x="56" y="81"/>
                  </a:lnTo>
                  <a:lnTo>
                    <a:pt x="56" y="79"/>
                  </a:lnTo>
                  <a:lnTo>
                    <a:pt x="59" y="79"/>
                  </a:lnTo>
                  <a:lnTo>
                    <a:pt x="59" y="76"/>
                  </a:lnTo>
                  <a:lnTo>
                    <a:pt x="59" y="76"/>
                  </a:lnTo>
                  <a:lnTo>
                    <a:pt x="59" y="74"/>
                  </a:lnTo>
                  <a:lnTo>
                    <a:pt x="56" y="74"/>
                  </a:lnTo>
                  <a:lnTo>
                    <a:pt x="54" y="71"/>
                  </a:lnTo>
                  <a:lnTo>
                    <a:pt x="51" y="71"/>
                  </a:lnTo>
                  <a:lnTo>
                    <a:pt x="54" y="71"/>
                  </a:lnTo>
                  <a:lnTo>
                    <a:pt x="56" y="71"/>
                  </a:lnTo>
                  <a:lnTo>
                    <a:pt x="56" y="69"/>
                  </a:lnTo>
                  <a:lnTo>
                    <a:pt x="56" y="69"/>
                  </a:lnTo>
                  <a:lnTo>
                    <a:pt x="56" y="69"/>
                  </a:lnTo>
                  <a:lnTo>
                    <a:pt x="59" y="66"/>
                  </a:lnTo>
                  <a:lnTo>
                    <a:pt x="59" y="69"/>
                  </a:lnTo>
                  <a:lnTo>
                    <a:pt x="59" y="71"/>
                  </a:lnTo>
                  <a:lnTo>
                    <a:pt x="59" y="74"/>
                  </a:lnTo>
                  <a:lnTo>
                    <a:pt x="59" y="79"/>
                  </a:lnTo>
                  <a:lnTo>
                    <a:pt x="61" y="79"/>
                  </a:lnTo>
                  <a:lnTo>
                    <a:pt x="64" y="86"/>
                  </a:lnTo>
                  <a:lnTo>
                    <a:pt x="67" y="89"/>
                  </a:lnTo>
                  <a:lnTo>
                    <a:pt x="72" y="89"/>
                  </a:lnTo>
                  <a:lnTo>
                    <a:pt x="72" y="89"/>
                  </a:lnTo>
                  <a:lnTo>
                    <a:pt x="74" y="86"/>
                  </a:lnTo>
                  <a:lnTo>
                    <a:pt x="77" y="84"/>
                  </a:lnTo>
                  <a:lnTo>
                    <a:pt x="77" y="84"/>
                  </a:lnTo>
                  <a:lnTo>
                    <a:pt x="77" y="84"/>
                  </a:lnTo>
                  <a:lnTo>
                    <a:pt x="79" y="86"/>
                  </a:lnTo>
                  <a:lnTo>
                    <a:pt x="82" y="92"/>
                  </a:lnTo>
                  <a:lnTo>
                    <a:pt x="84" y="94"/>
                  </a:lnTo>
                  <a:lnTo>
                    <a:pt x="84" y="97"/>
                  </a:lnTo>
                  <a:lnTo>
                    <a:pt x="87" y="97"/>
                  </a:lnTo>
                  <a:lnTo>
                    <a:pt x="87" y="94"/>
                  </a:lnTo>
                  <a:lnTo>
                    <a:pt x="87" y="97"/>
                  </a:lnTo>
                  <a:lnTo>
                    <a:pt x="87" y="99"/>
                  </a:lnTo>
                  <a:lnTo>
                    <a:pt x="87" y="99"/>
                  </a:lnTo>
                  <a:lnTo>
                    <a:pt x="89" y="107"/>
                  </a:lnTo>
                  <a:lnTo>
                    <a:pt x="92" y="109"/>
                  </a:lnTo>
                  <a:lnTo>
                    <a:pt x="92" y="114"/>
                  </a:lnTo>
                  <a:lnTo>
                    <a:pt x="95" y="122"/>
                  </a:lnTo>
                  <a:lnTo>
                    <a:pt x="97" y="127"/>
                  </a:lnTo>
                  <a:lnTo>
                    <a:pt x="97" y="130"/>
                  </a:lnTo>
                  <a:lnTo>
                    <a:pt x="100" y="130"/>
                  </a:lnTo>
                  <a:lnTo>
                    <a:pt x="100" y="130"/>
                  </a:lnTo>
                  <a:lnTo>
                    <a:pt x="100" y="130"/>
                  </a:lnTo>
                  <a:lnTo>
                    <a:pt x="100" y="127"/>
                  </a:lnTo>
                  <a:lnTo>
                    <a:pt x="97" y="125"/>
                  </a:lnTo>
                  <a:lnTo>
                    <a:pt x="97" y="125"/>
                  </a:lnTo>
                  <a:lnTo>
                    <a:pt x="97" y="125"/>
                  </a:lnTo>
                  <a:lnTo>
                    <a:pt x="97" y="122"/>
                  </a:lnTo>
                  <a:lnTo>
                    <a:pt x="95" y="120"/>
                  </a:lnTo>
                  <a:lnTo>
                    <a:pt x="95" y="117"/>
                  </a:lnTo>
                  <a:lnTo>
                    <a:pt x="97" y="117"/>
                  </a:lnTo>
                  <a:lnTo>
                    <a:pt x="97" y="117"/>
                  </a:lnTo>
                  <a:lnTo>
                    <a:pt x="100" y="117"/>
                  </a:lnTo>
                  <a:lnTo>
                    <a:pt x="102" y="117"/>
                  </a:lnTo>
                  <a:lnTo>
                    <a:pt x="102" y="120"/>
                  </a:lnTo>
                  <a:lnTo>
                    <a:pt x="102" y="120"/>
                  </a:lnTo>
                  <a:lnTo>
                    <a:pt x="105" y="120"/>
                  </a:lnTo>
                  <a:lnTo>
                    <a:pt x="105" y="120"/>
                  </a:lnTo>
                  <a:lnTo>
                    <a:pt x="105" y="117"/>
                  </a:lnTo>
                  <a:close/>
                </a:path>
              </a:pathLst>
            </a:custGeom>
            <a:solidFill>
              <a:srgbClr val="FFC000"/>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371" name="Freeform 1990">
              <a:extLst>
                <a:ext uri="{FF2B5EF4-FFF2-40B4-BE49-F238E27FC236}">
                  <a16:creationId xmlns:a16="http://schemas.microsoft.com/office/drawing/2014/main" id="{775698D4-75F4-0C46-A62B-5050EB2BC389}"/>
                </a:ext>
              </a:extLst>
            </p:cNvPr>
            <p:cNvSpPr>
              <a:spLocks/>
            </p:cNvSpPr>
            <p:nvPr/>
          </p:nvSpPr>
          <p:spPr bwMode="auto">
            <a:xfrm>
              <a:off x="7229615" y="2827866"/>
              <a:ext cx="4908" cy="16357"/>
            </a:xfrm>
            <a:custGeom>
              <a:avLst/>
              <a:gdLst>
                <a:gd name="T0" fmla="*/ 3 w 3"/>
                <a:gd name="T1" fmla="*/ 5 h 10"/>
                <a:gd name="T2" fmla="*/ 3 w 3"/>
                <a:gd name="T3" fmla="*/ 2 h 10"/>
                <a:gd name="T4" fmla="*/ 3 w 3"/>
                <a:gd name="T5" fmla="*/ 0 h 10"/>
                <a:gd name="T6" fmla="*/ 3 w 3"/>
                <a:gd name="T7" fmla="*/ 0 h 10"/>
                <a:gd name="T8" fmla="*/ 3 w 3"/>
                <a:gd name="T9" fmla="*/ 0 h 10"/>
                <a:gd name="T10" fmla="*/ 0 w 3"/>
                <a:gd name="T11" fmla="*/ 0 h 10"/>
                <a:gd name="T12" fmla="*/ 0 w 3"/>
                <a:gd name="T13" fmla="*/ 0 h 10"/>
                <a:gd name="T14" fmla="*/ 0 w 3"/>
                <a:gd name="T15" fmla="*/ 2 h 10"/>
                <a:gd name="T16" fmla="*/ 0 w 3"/>
                <a:gd name="T17" fmla="*/ 5 h 10"/>
                <a:gd name="T18" fmla="*/ 3 w 3"/>
                <a:gd name="T19" fmla="*/ 7 h 10"/>
                <a:gd name="T20" fmla="*/ 3 w 3"/>
                <a:gd name="T21" fmla="*/ 10 h 10"/>
                <a:gd name="T22" fmla="*/ 3 w 3"/>
                <a:gd name="T23" fmla="*/ 7 h 10"/>
                <a:gd name="T24" fmla="*/ 3 w 3"/>
                <a:gd name="T25"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 h="10">
                  <a:moveTo>
                    <a:pt x="3" y="5"/>
                  </a:moveTo>
                  <a:lnTo>
                    <a:pt x="3" y="2"/>
                  </a:lnTo>
                  <a:lnTo>
                    <a:pt x="3" y="0"/>
                  </a:lnTo>
                  <a:lnTo>
                    <a:pt x="3" y="0"/>
                  </a:lnTo>
                  <a:lnTo>
                    <a:pt x="3" y="0"/>
                  </a:lnTo>
                  <a:lnTo>
                    <a:pt x="0" y="0"/>
                  </a:lnTo>
                  <a:lnTo>
                    <a:pt x="0" y="0"/>
                  </a:lnTo>
                  <a:lnTo>
                    <a:pt x="0" y="2"/>
                  </a:lnTo>
                  <a:lnTo>
                    <a:pt x="0" y="5"/>
                  </a:lnTo>
                  <a:lnTo>
                    <a:pt x="3" y="7"/>
                  </a:lnTo>
                  <a:lnTo>
                    <a:pt x="3" y="10"/>
                  </a:lnTo>
                  <a:lnTo>
                    <a:pt x="3" y="7"/>
                  </a:lnTo>
                  <a:lnTo>
                    <a:pt x="3" y="5"/>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372" name="Freeform 1991">
              <a:extLst>
                <a:ext uri="{FF2B5EF4-FFF2-40B4-BE49-F238E27FC236}">
                  <a16:creationId xmlns:a16="http://schemas.microsoft.com/office/drawing/2014/main" id="{F30FEAC9-1422-C842-9A4A-46E13F4E0D94}"/>
                </a:ext>
              </a:extLst>
            </p:cNvPr>
            <p:cNvSpPr>
              <a:spLocks noEditPoints="1"/>
            </p:cNvSpPr>
            <p:nvPr/>
          </p:nvSpPr>
          <p:spPr bwMode="auto">
            <a:xfrm>
              <a:off x="3102650" y="2798423"/>
              <a:ext cx="171753" cy="224096"/>
            </a:xfrm>
            <a:custGeom>
              <a:avLst/>
              <a:gdLst>
                <a:gd name="T0" fmla="*/ 87 w 105"/>
                <a:gd name="T1" fmla="*/ 132 h 137"/>
                <a:gd name="T2" fmla="*/ 84 w 105"/>
                <a:gd name="T3" fmla="*/ 135 h 137"/>
                <a:gd name="T4" fmla="*/ 97 w 105"/>
                <a:gd name="T5" fmla="*/ 132 h 137"/>
                <a:gd name="T6" fmla="*/ 97 w 105"/>
                <a:gd name="T7" fmla="*/ 124 h 137"/>
                <a:gd name="T8" fmla="*/ 105 w 105"/>
                <a:gd name="T9" fmla="*/ 107 h 137"/>
                <a:gd name="T10" fmla="*/ 100 w 105"/>
                <a:gd name="T11" fmla="*/ 104 h 137"/>
                <a:gd name="T12" fmla="*/ 105 w 105"/>
                <a:gd name="T13" fmla="*/ 107 h 137"/>
                <a:gd name="T14" fmla="*/ 84 w 105"/>
                <a:gd name="T15" fmla="*/ 96 h 137"/>
                <a:gd name="T16" fmla="*/ 82 w 105"/>
                <a:gd name="T17" fmla="*/ 102 h 137"/>
                <a:gd name="T18" fmla="*/ 77 w 105"/>
                <a:gd name="T19" fmla="*/ 109 h 137"/>
                <a:gd name="T20" fmla="*/ 84 w 105"/>
                <a:gd name="T21" fmla="*/ 102 h 137"/>
                <a:gd name="T22" fmla="*/ 77 w 105"/>
                <a:gd name="T23" fmla="*/ 96 h 137"/>
                <a:gd name="T24" fmla="*/ 79 w 105"/>
                <a:gd name="T25" fmla="*/ 96 h 137"/>
                <a:gd name="T26" fmla="*/ 61 w 105"/>
                <a:gd name="T27" fmla="*/ 81 h 137"/>
                <a:gd name="T28" fmla="*/ 61 w 105"/>
                <a:gd name="T29" fmla="*/ 79 h 137"/>
                <a:gd name="T30" fmla="*/ 59 w 105"/>
                <a:gd name="T31" fmla="*/ 86 h 137"/>
                <a:gd name="T32" fmla="*/ 67 w 105"/>
                <a:gd name="T33" fmla="*/ 91 h 137"/>
                <a:gd name="T34" fmla="*/ 46 w 105"/>
                <a:gd name="T35" fmla="*/ 76 h 137"/>
                <a:gd name="T36" fmla="*/ 51 w 105"/>
                <a:gd name="T37" fmla="*/ 81 h 137"/>
                <a:gd name="T38" fmla="*/ 77 w 105"/>
                <a:gd name="T39" fmla="*/ 66 h 137"/>
                <a:gd name="T40" fmla="*/ 18 w 105"/>
                <a:gd name="T41" fmla="*/ 66 h 137"/>
                <a:gd name="T42" fmla="*/ 16 w 105"/>
                <a:gd name="T43" fmla="*/ 63 h 137"/>
                <a:gd name="T44" fmla="*/ 10 w 105"/>
                <a:gd name="T45" fmla="*/ 61 h 137"/>
                <a:gd name="T46" fmla="*/ 13 w 105"/>
                <a:gd name="T47" fmla="*/ 71 h 137"/>
                <a:gd name="T48" fmla="*/ 18 w 105"/>
                <a:gd name="T49" fmla="*/ 68 h 137"/>
                <a:gd name="T50" fmla="*/ 61 w 105"/>
                <a:gd name="T51" fmla="*/ 63 h 137"/>
                <a:gd name="T52" fmla="*/ 56 w 105"/>
                <a:gd name="T53" fmla="*/ 53 h 137"/>
                <a:gd name="T54" fmla="*/ 59 w 105"/>
                <a:gd name="T55" fmla="*/ 61 h 137"/>
                <a:gd name="T56" fmla="*/ 59 w 105"/>
                <a:gd name="T57" fmla="*/ 66 h 137"/>
                <a:gd name="T58" fmla="*/ 21 w 105"/>
                <a:gd name="T59" fmla="*/ 43 h 137"/>
                <a:gd name="T60" fmla="*/ 26 w 105"/>
                <a:gd name="T61" fmla="*/ 43 h 137"/>
                <a:gd name="T62" fmla="*/ 16 w 105"/>
                <a:gd name="T63" fmla="*/ 58 h 137"/>
                <a:gd name="T64" fmla="*/ 13 w 105"/>
                <a:gd name="T65" fmla="*/ 46 h 137"/>
                <a:gd name="T66" fmla="*/ 8 w 105"/>
                <a:gd name="T67" fmla="*/ 40 h 137"/>
                <a:gd name="T68" fmla="*/ 5 w 105"/>
                <a:gd name="T69" fmla="*/ 53 h 137"/>
                <a:gd name="T70" fmla="*/ 3 w 105"/>
                <a:gd name="T71" fmla="*/ 56 h 137"/>
                <a:gd name="T72" fmla="*/ 8 w 105"/>
                <a:gd name="T73" fmla="*/ 58 h 137"/>
                <a:gd name="T74" fmla="*/ 46 w 105"/>
                <a:gd name="T75" fmla="*/ 53 h 137"/>
                <a:gd name="T76" fmla="*/ 49 w 105"/>
                <a:gd name="T77" fmla="*/ 40 h 137"/>
                <a:gd name="T78" fmla="*/ 38 w 105"/>
                <a:gd name="T79" fmla="*/ 33 h 137"/>
                <a:gd name="T80" fmla="*/ 44 w 105"/>
                <a:gd name="T81" fmla="*/ 38 h 137"/>
                <a:gd name="T82" fmla="*/ 46 w 105"/>
                <a:gd name="T83" fmla="*/ 46 h 137"/>
                <a:gd name="T84" fmla="*/ 46 w 105"/>
                <a:gd name="T85" fmla="*/ 53 h 137"/>
                <a:gd name="T86" fmla="*/ 10 w 105"/>
                <a:gd name="T87" fmla="*/ 5 h 137"/>
                <a:gd name="T88" fmla="*/ 5 w 105"/>
                <a:gd name="T89" fmla="*/ 10 h 137"/>
                <a:gd name="T90" fmla="*/ 3 w 105"/>
                <a:gd name="T91" fmla="*/ 10 h 137"/>
                <a:gd name="T92" fmla="*/ 21 w 105"/>
                <a:gd name="T93" fmla="*/ 7 h 137"/>
                <a:gd name="T94" fmla="*/ 33 w 105"/>
                <a:gd name="T95" fmla="*/ 7 h 137"/>
                <a:gd name="T96" fmla="*/ 26 w 105"/>
                <a:gd name="T97" fmla="*/ 2 h 137"/>
                <a:gd name="T98" fmla="*/ 28 w 105"/>
                <a:gd name="T99" fmla="*/ 2 h 137"/>
                <a:gd name="T100" fmla="*/ 33 w 105"/>
                <a:gd name="T101" fmla="*/ 15 h 137"/>
                <a:gd name="T102" fmla="*/ 28 w 105"/>
                <a:gd name="T103" fmla="*/ 23 h 137"/>
                <a:gd name="T104" fmla="*/ 36 w 105"/>
                <a:gd name="T105" fmla="*/ 15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5" h="137">
                  <a:moveTo>
                    <a:pt x="95" y="132"/>
                  </a:moveTo>
                  <a:lnTo>
                    <a:pt x="92" y="132"/>
                  </a:lnTo>
                  <a:lnTo>
                    <a:pt x="92" y="132"/>
                  </a:lnTo>
                  <a:lnTo>
                    <a:pt x="89" y="132"/>
                  </a:lnTo>
                  <a:lnTo>
                    <a:pt x="87" y="132"/>
                  </a:lnTo>
                  <a:lnTo>
                    <a:pt x="87" y="132"/>
                  </a:lnTo>
                  <a:lnTo>
                    <a:pt x="84" y="135"/>
                  </a:lnTo>
                  <a:lnTo>
                    <a:pt x="84" y="135"/>
                  </a:lnTo>
                  <a:lnTo>
                    <a:pt x="84" y="135"/>
                  </a:lnTo>
                  <a:lnTo>
                    <a:pt x="84" y="135"/>
                  </a:lnTo>
                  <a:lnTo>
                    <a:pt x="84" y="137"/>
                  </a:lnTo>
                  <a:lnTo>
                    <a:pt x="84" y="137"/>
                  </a:lnTo>
                  <a:lnTo>
                    <a:pt x="89" y="137"/>
                  </a:lnTo>
                  <a:lnTo>
                    <a:pt x="95" y="137"/>
                  </a:lnTo>
                  <a:lnTo>
                    <a:pt x="97" y="132"/>
                  </a:lnTo>
                  <a:lnTo>
                    <a:pt x="97" y="132"/>
                  </a:lnTo>
                  <a:lnTo>
                    <a:pt x="97" y="130"/>
                  </a:lnTo>
                  <a:lnTo>
                    <a:pt x="97" y="130"/>
                  </a:lnTo>
                  <a:lnTo>
                    <a:pt x="95" y="132"/>
                  </a:lnTo>
                  <a:close/>
                  <a:moveTo>
                    <a:pt x="97" y="124"/>
                  </a:moveTo>
                  <a:lnTo>
                    <a:pt x="97" y="124"/>
                  </a:lnTo>
                  <a:lnTo>
                    <a:pt x="100" y="124"/>
                  </a:lnTo>
                  <a:lnTo>
                    <a:pt x="100" y="124"/>
                  </a:lnTo>
                  <a:lnTo>
                    <a:pt x="97" y="124"/>
                  </a:lnTo>
                  <a:close/>
                  <a:moveTo>
                    <a:pt x="105" y="107"/>
                  </a:moveTo>
                  <a:lnTo>
                    <a:pt x="105" y="104"/>
                  </a:lnTo>
                  <a:lnTo>
                    <a:pt x="102" y="104"/>
                  </a:lnTo>
                  <a:lnTo>
                    <a:pt x="102" y="104"/>
                  </a:lnTo>
                  <a:lnTo>
                    <a:pt x="100" y="104"/>
                  </a:lnTo>
                  <a:lnTo>
                    <a:pt x="100" y="104"/>
                  </a:lnTo>
                  <a:lnTo>
                    <a:pt x="97" y="104"/>
                  </a:lnTo>
                  <a:lnTo>
                    <a:pt x="100" y="104"/>
                  </a:lnTo>
                  <a:lnTo>
                    <a:pt x="102" y="104"/>
                  </a:lnTo>
                  <a:lnTo>
                    <a:pt x="102" y="104"/>
                  </a:lnTo>
                  <a:lnTo>
                    <a:pt x="105" y="107"/>
                  </a:lnTo>
                  <a:lnTo>
                    <a:pt x="105" y="107"/>
                  </a:lnTo>
                  <a:lnTo>
                    <a:pt x="105" y="107"/>
                  </a:lnTo>
                  <a:close/>
                  <a:moveTo>
                    <a:pt x="84" y="99"/>
                  </a:moveTo>
                  <a:lnTo>
                    <a:pt x="84" y="96"/>
                  </a:lnTo>
                  <a:lnTo>
                    <a:pt x="84" y="96"/>
                  </a:lnTo>
                  <a:lnTo>
                    <a:pt x="82" y="99"/>
                  </a:lnTo>
                  <a:lnTo>
                    <a:pt x="82" y="99"/>
                  </a:lnTo>
                  <a:lnTo>
                    <a:pt x="84" y="102"/>
                  </a:lnTo>
                  <a:lnTo>
                    <a:pt x="84" y="102"/>
                  </a:lnTo>
                  <a:lnTo>
                    <a:pt x="82" y="102"/>
                  </a:lnTo>
                  <a:lnTo>
                    <a:pt x="82" y="104"/>
                  </a:lnTo>
                  <a:lnTo>
                    <a:pt x="82" y="104"/>
                  </a:lnTo>
                  <a:lnTo>
                    <a:pt x="79" y="104"/>
                  </a:lnTo>
                  <a:lnTo>
                    <a:pt x="79" y="107"/>
                  </a:lnTo>
                  <a:lnTo>
                    <a:pt x="77" y="109"/>
                  </a:lnTo>
                  <a:lnTo>
                    <a:pt x="74" y="109"/>
                  </a:lnTo>
                  <a:lnTo>
                    <a:pt x="77" y="109"/>
                  </a:lnTo>
                  <a:lnTo>
                    <a:pt x="79" y="107"/>
                  </a:lnTo>
                  <a:lnTo>
                    <a:pt x="82" y="104"/>
                  </a:lnTo>
                  <a:lnTo>
                    <a:pt x="84" y="102"/>
                  </a:lnTo>
                  <a:lnTo>
                    <a:pt x="84" y="99"/>
                  </a:lnTo>
                  <a:close/>
                  <a:moveTo>
                    <a:pt x="77" y="94"/>
                  </a:moveTo>
                  <a:lnTo>
                    <a:pt x="77" y="94"/>
                  </a:lnTo>
                  <a:lnTo>
                    <a:pt x="77" y="96"/>
                  </a:lnTo>
                  <a:lnTo>
                    <a:pt x="77" y="96"/>
                  </a:lnTo>
                  <a:lnTo>
                    <a:pt x="77" y="96"/>
                  </a:lnTo>
                  <a:lnTo>
                    <a:pt x="79" y="99"/>
                  </a:lnTo>
                  <a:lnTo>
                    <a:pt x="82" y="96"/>
                  </a:lnTo>
                  <a:lnTo>
                    <a:pt x="82" y="96"/>
                  </a:lnTo>
                  <a:lnTo>
                    <a:pt x="79" y="96"/>
                  </a:lnTo>
                  <a:lnTo>
                    <a:pt x="79" y="94"/>
                  </a:lnTo>
                  <a:lnTo>
                    <a:pt x="77" y="94"/>
                  </a:lnTo>
                  <a:close/>
                  <a:moveTo>
                    <a:pt x="64" y="86"/>
                  </a:moveTo>
                  <a:lnTo>
                    <a:pt x="61" y="84"/>
                  </a:lnTo>
                  <a:lnTo>
                    <a:pt x="61" y="81"/>
                  </a:lnTo>
                  <a:lnTo>
                    <a:pt x="61" y="79"/>
                  </a:lnTo>
                  <a:lnTo>
                    <a:pt x="59" y="76"/>
                  </a:lnTo>
                  <a:lnTo>
                    <a:pt x="59" y="76"/>
                  </a:lnTo>
                  <a:lnTo>
                    <a:pt x="59" y="79"/>
                  </a:lnTo>
                  <a:lnTo>
                    <a:pt x="61" y="79"/>
                  </a:lnTo>
                  <a:lnTo>
                    <a:pt x="61" y="84"/>
                  </a:lnTo>
                  <a:lnTo>
                    <a:pt x="61" y="84"/>
                  </a:lnTo>
                  <a:lnTo>
                    <a:pt x="61" y="86"/>
                  </a:lnTo>
                  <a:lnTo>
                    <a:pt x="61" y="86"/>
                  </a:lnTo>
                  <a:lnTo>
                    <a:pt x="59" y="86"/>
                  </a:lnTo>
                  <a:lnTo>
                    <a:pt x="61" y="89"/>
                  </a:lnTo>
                  <a:lnTo>
                    <a:pt x="64" y="89"/>
                  </a:lnTo>
                  <a:lnTo>
                    <a:pt x="67" y="94"/>
                  </a:lnTo>
                  <a:lnTo>
                    <a:pt x="67" y="94"/>
                  </a:lnTo>
                  <a:lnTo>
                    <a:pt x="67" y="91"/>
                  </a:lnTo>
                  <a:lnTo>
                    <a:pt x="64" y="89"/>
                  </a:lnTo>
                  <a:lnTo>
                    <a:pt x="64" y="86"/>
                  </a:lnTo>
                  <a:close/>
                  <a:moveTo>
                    <a:pt x="49" y="79"/>
                  </a:moveTo>
                  <a:lnTo>
                    <a:pt x="46" y="76"/>
                  </a:lnTo>
                  <a:lnTo>
                    <a:pt x="46" y="76"/>
                  </a:lnTo>
                  <a:lnTo>
                    <a:pt x="46" y="76"/>
                  </a:lnTo>
                  <a:lnTo>
                    <a:pt x="46" y="76"/>
                  </a:lnTo>
                  <a:lnTo>
                    <a:pt x="49" y="79"/>
                  </a:lnTo>
                  <a:lnTo>
                    <a:pt x="51" y="81"/>
                  </a:lnTo>
                  <a:lnTo>
                    <a:pt x="51" y="81"/>
                  </a:lnTo>
                  <a:lnTo>
                    <a:pt x="51" y="79"/>
                  </a:lnTo>
                  <a:lnTo>
                    <a:pt x="49" y="79"/>
                  </a:lnTo>
                  <a:close/>
                  <a:moveTo>
                    <a:pt x="79" y="66"/>
                  </a:moveTo>
                  <a:lnTo>
                    <a:pt x="79" y="66"/>
                  </a:lnTo>
                  <a:lnTo>
                    <a:pt x="77" y="66"/>
                  </a:lnTo>
                  <a:lnTo>
                    <a:pt x="77" y="66"/>
                  </a:lnTo>
                  <a:lnTo>
                    <a:pt x="77" y="68"/>
                  </a:lnTo>
                  <a:lnTo>
                    <a:pt x="77" y="68"/>
                  </a:lnTo>
                  <a:lnTo>
                    <a:pt x="79" y="66"/>
                  </a:lnTo>
                  <a:close/>
                  <a:moveTo>
                    <a:pt x="18" y="66"/>
                  </a:moveTo>
                  <a:lnTo>
                    <a:pt x="16" y="63"/>
                  </a:lnTo>
                  <a:lnTo>
                    <a:pt x="16" y="66"/>
                  </a:lnTo>
                  <a:lnTo>
                    <a:pt x="13" y="63"/>
                  </a:lnTo>
                  <a:lnTo>
                    <a:pt x="16" y="63"/>
                  </a:lnTo>
                  <a:lnTo>
                    <a:pt x="16" y="63"/>
                  </a:lnTo>
                  <a:lnTo>
                    <a:pt x="16" y="61"/>
                  </a:lnTo>
                  <a:lnTo>
                    <a:pt x="13" y="61"/>
                  </a:lnTo>
                  <a:lnTo>
                    <a:pt x="13" y="61"/>
                  </a:lnTo>
                  <a:lnTo>
                    <a:pt x="10" y="63"/>
                  </a:lnTo>
                  <a:lnTo>
                    <a:pt x="10" y="61"/>
                  </a:lnTo>
                  <a:lnTo>
                    <a:pt x="8" y="63"/>
                  </a:lnTo>
                  <a:lnTo>
                    <a:pt x="10" y="66"/>
                  </a:lnTo>
                  <a:lnTo>
                    <a:pt x="10" y="66"/>
                  </a:lnTo>
                  <a:lnTo>
                    <a:pt x="10" y="71"/>
                  </a:lnTo>
                  <a:lnTo>
                    <a:pt x="13" y="71"/>
                  </a:lnTo>
                  <a:lnTo>
                    <a:pt x="13" y="74"/>
                  </a:lnTo>
                  <a:lnTo>
                    <a:pt x="16" y="74"/>
                  </a:lnTo>
                  <a:lnTo>
                    <a:pt x="18" y="71"/>
                  </a:lnTo>
                  <a:lnTo>
                    <a:pt x="18" y="71"/>
                  </a:lnTo>
                  <a:lnTo>
                    <a:pt x="18" y="68"/>
                  </a:lnTo>
                  <a:lnTo>
                    <a:pt x="18" y="68"/>
                  </a:lnTo>
                  <a:lnTo>
                    <a:pt x="18" y="68"/>
                  </a:lnTo>
                  <a:lnTo>
                    <a:pt x="18" y="66"/>
                  </a:lnTo>
                  <a:close/>
                  <a:moveTo>
                    <a:pt x="61" y="63"/>
                  </a:moveTo>
                  <a:lnTo>
                    <a:pt x="61" y="63"/>
                  </a:lnTo>
                  <a:lnTo>
                    <a:pt x="59" y="58"/>
                  </a:lnTo>
                  <a:lnTo>
                    <a:pt x="59" y="58"/>
                  </a:lnTo>
                  <a:lnTo>
                    <a:pt x="56" y="53"/>
                  </a:lnTo>
                  <a:lnTo>
                    <a:pt x="56" y="53"/>
                  </a:lnTo>
                  <a:lnTo>
                    <a:pt x="56" y="53"/>
                  </a:lnTo>
                  <a:lnTo>
                    <a:pt x="54" y="53"/>
                  </a:lnTo>
                  <a:lnTo>
                    <a:pt x="56" y="53"/>
                  </a:lnTo>
                  <a:lnTo>
                    <a:pt x="56" y="56"/>
                  </a:lnTo>
                  <a:lnTo>
                    <a:pt x="56" y="56"/>
                  </a:lnTo>
                  <a:lnTo>
                    <a:pt x="59" y="61"/>
                  </a:lnTo>
                  <a:lnTo>
                    <a:pt x="59" y="61"/>
                  </a:lnTo>
                  <a:lnTo>
                    <a:pt x="59" y="63"/>
                  </a:lnTo>
                  <a:lnTo>
                    <a:pt x="59" y="63"/>
                  </a:lnTo>
                  <a:lnTo>
                    <a:pt x="59" y="66"/>
                  </a:lnTo>
                  <a:lnTo>
                    <a:pt x="59" y="66"/>
                  </a:lnTo>
                  <a:lnTo>
                    <a:pt x="61" y="63"/>
                  </a:lnTo>
                  <a:lnTo>
                    <a:pt x="61" y="63"/>
                  </a:lnTo>
                  <a:close/>
                  <a:moveTo>
                    <a:pt x="26" y="43"/>
                  </a:moveTo>
                  <a:lnTo>
                    <a:pt x="23" y="43"/>
                  </a:lnTo>
                  <a:lnTo>
                    <a:pt x="21" y="43"/>
                  </a:lnTo>
                  <a:lnTo>
                    <a:pt x="21" y="46"/>
                  </a:lnTo>
                  <a:lnTo>
                    <a:pt x="21" y="46"/>
                  </a:lnTo>
                  <a:lnTo>
                    <a:pt x="23" y="46"/>
                  </a:lnTo>
                  <a:lnTo>
                    <a:pt x="26" y="46"/>
                  </a:lnTo>
                  <a:lnTo>
                    <a:pt x="26" y="43"/>
                  </a:lnTo>
                  <a:lnTo>
                    <a:pt x="26" y="43"/>
                  </a:lnTo>
                  <a:lnTo>
                    <a:pt x="26" y="43"/>
                  </a:lnTo>
                  <a:close/>
                  <a:moveTo>
                    <a:pt x="13" y="58"/>
                  </a:moveTo>
                  <a:lnTo>
                    <a:pt x="13" y="58"/>
                  </a:lnTo>
                  <a:lnTo>
                    <a:pt x="16" y="58"/>
                  </a:lnTo>
                  <a:lnTo>
                    <a:pt x="16" y="56"/>
                  </a:lnTo>
                  <a:lnTo>
                    <a:pt x="16" y="56"/>
                  </a:lnTo>
                  <a:lnTo>
                    <a:pt x="16" y="51"/>
                  </a:lnTo>
                  <a:lnTo>
                    <a:pt x="13" y="51"/>
                  </a:lnTo>
                  <a:lnTo>
                    <a:pt x="13" y="46"/>
                  </a:lnTo>
                  <a:lnTo>
                    <a:pt x="13" y="46"/>
                  </a:lnTo>
                  <a:lnTo>
                    <a:pt x="13" y="43"/>
                  </a:lnTo>
                  <a:lnTo>
                    <a:pt x="13" y="43"/>
                  </a:lnTo>
                  <a:lnTo>
                    <a:pt x="10" y="40"/>
                  </a:lnTo>
                  <a:lnTo>
                    <a:pt x="8" y="40"/>
                  </a:lnTo>
                  <a:lnTo>
                    <a:pt x="8" y="46"/>
                  </a:lnTo>
                  <a:lnTo>
                    <a:pt x="8" y="48"/>
                  </a:lnTo>
                  <a:lnTo>
                    <a:pt x="5" y="51"/>
                  </a:lnTo>
                  <a:lnTo>
                    <a:pt x="5" y="53"/>
                  </a:lnTo>
                  <a:lnTo>
                    <a:pt x="5" y="53"/>
                  </a:lnTo>
                  <a:lnTo>
                    <a:pt x="5" y="53"/>
                  </a:lnTo>
                  <a:lnTo>
                    <a:pt x="3" y="53"/>
                  </a:lnTo>
                  <a:lnTo>
                    <a:pt x="3" y="53"/>
                  </a:lnTo>
                  <a:lnTo>
                    <a:pt x="3" y="53"/>
                  </a:lnTo>
                  <a:lnTo>
                    <a:pt x="3" y="56"/>
                  </a:lnTo>
                  <a:lnTo>
                    <a:pt x="5" y="56"/>
                  </a:lnTo>
                  <a:lnTo>
                    <a:pt x="5" y="58"/>
                  </a:lnTo>
                  <a:lnTo>
                    <a:pt x="8" y="56"/>
                  </a:lnTo>
                  <a:lnTo>
                    <a:pt x="8" y="58"/>
                  </a:lnTo>
                  <a:lnTo>
                    <a:pt x="8" y="58"/>
                  </a:lnTo>
                  <a:lnTo>
                    <a:pt x="8" y="61"/>
                  </a:lnTo>
                  <a:lnTo>
                    <a:pt x="10" y="61"/>
                  </a:lnTo>
                  <a:lnTo>
                    <a:pt x="13" y="58"/>
                  </a:lnTo>
                  <a:close/>
                  <a:moveTo>
                    <a:pt x="46" y="53"/>
                  </a:moveTo>
                  <a:lnTo>
                    <a:pt x="46" y="53"/>
                  </a:lnTo>
                  <a:lnTo>
                    <a:pt x="46" y="51"/>
                  </a:lnTo>
                  <a:lnTo>
                    <a:pt x="49" y="48"/>
                  </a:lnTo>
                  <a:lnTo>
                    <a:pt x="49" y="43"/>
                  </a:lnTo>
                  <a:lnTo>
                    <a:pt x="49" y="43"/>
                  </a:lnTo>
                  <a:lnTo>
                    <a:pt x="49" y="40"/>
                  </a:lnTo>
                  <a:lnTo>
                    <a:pt x="46" y="38"/>
                  </a:lnTo>
                  <a:lnTo>
                    <a:pt x="44" y="35"/>
                  </a:lnTo>
                  <a:lnTo>
                    <a:pt x="41" y="33"/>
                  </a:lnTo>
                  <a:lnTo>
                    <a:pt x="38" y="33"/>
                  </a:lnTo>
                  <a:lnTo>
                    <a:pt x="38" y="33"/>
                  </a:lnTo>
                  <a:lnTo>
                    <a:pt x="38" y="35"/>
                  </a:lnTo>
                  <a:lnTo>
                    <a:pt x="38" y="35"/>
                  </a:lnTo>
                  <a:lnTo>
                    <a:pt x="38" y="35"/>
                  </a:lnTo>
                  <a:lnTo>
                    <a:pt x="41" y="35"/>
                  </a:lnTo>
                  <a:lnTo>
                    <a:pt x="44" y="38"/>
                  </a:lnTo>
                  <a:lnTo>
                    <a:pt x="46" y="38"/>
                  </a:lnTo>
                  <a:lnTo>
                    <a:pt x="46" y="40"/>
                  </a:lnTo>
                  <a:lnTo>
                    <a:pt x="49" y="43"/>
                  </a:lnTo>
                  <a:lnTo>
                    <a:pt x="49" y="46"/>
                  </a:lnTo>
                  <a:lnTo>
                    <a:pt x="46" y="46"/>
                  </a:lnTo>
                  <a:lnTo>
                    <a:pt x="46" y="48"/>
                  </a:lnTo>
                  <a:lnTo>
                    <a:pt x="44" y="48"/>
                  </a:lnTo>
                  <a:lnTo>
                    <a:pt x="44" y="51"/>
                  </a:lnTo>
                  <a:lnTo>
                    <a:pt x="46" y="51"/>
                  </a:lnTo>
                  <a:lnTo>
                    <a:pt x="46" y="53"/>
                  </a:lnTo>
                  <a:close/>
                  <a:moveTo>
                    <a:pt x="18" y="5"/>
                  </a:moveTo>
                  <a:lnTo>
                    <a:pt x="13" y="5"/>
                  </a:lnTo>
                  <a:lnTo>
                    <a:pt x="13" y="7"/>
                  </a:lnTo>
                  <a:lnTo>
                    <a:pt x="10" y="7"/>
                  </a:lnTo>
                  <a:lnTo>
                    <a:pt x="10" y="5"/>
                  </a:lnTo>
                  <a:lnTo>
                    <a:pt x="8" y="5"/>
                  </a:lnTo>
                  <a:lnTo>
                    <a:pt x="8" y="5"/>
                  </a:lnTo>
                  <a:lnTo>
                    <a:pt x="8" y="7"/>
                  </a:lnTo>
                  <a:lnTo>
                    <a:pt x="5" y="7"/>
                  </a:lnTo>
                  <a:lnTo>
                    <a:pt x="5" y="10"/>
                  </a:lnTo>
                  <a:lnTo>
                    <a:pt x="3" y="10"/>
                  </a:lnTo>
                  <a:lnTo>
                    <a:pt x="0" y="7"/>
                  </a:lnTo>
                  <a:lnTo>
                    <a:pt x="0" y="7"/>
                  </a:lnTo>
                  <a:lnTo>
                    <a:pt x="3" y="10"/>
                  </a:lnTo>
                  <a:lnTo>
                    <a:pt x="3" y="10"/>
                  </a:lnTo>
                  <a:lnTo>
                    <a:pt x="5" y="10"/>
                  </a:lnTo>
                  <a:lnTo>
                    <a:pt x="8" y="10"/>
                  </a:lnTo>
                  <a:lnTo>
                    <a:pt x="13" y="7"/>
                  </a:lnTo>
                  <a:lnTo>
                    <a:pt x="21" y="7"/>
                  </a:lnTo>
                  <a:lnTo>
                    <a:pt x="21" y="7"/>
                  </a:lnTo>
                  <a:lnTo>
                    <a:pt x="21" y="5"/>
                  </a:lnTo>
                  <a:lnTo>
                    <a:pt x="18" y="5"/>
                  </a:lnTo>
                  <a:close/>
                  <a:moveTo>
                    <a:pt x="33" y="7"/>
                  </a:moveTo>
                  <a:lnTo>
                    <a:pt x="33" y="7"/>
                  </a:lnTo>
                  <a:lnTo>
                    <a:pt x="33" y="7"/>
                  </a:lnTo>
                  <a:lnTo>
                    <a:pt x="33" y="7"/>
                  </a:lnTo>
                  <a:lnTo>
                    <a:pt x="31" y="5"/>
                  </a:lnTo>
                  <a:lnTo>
                    <a:pt x="31" y="2"/>
                  </a:lnTo>
                  <a:lnTo>
                    <a:pt x="28" y="2"/>
                  </a:lnTo>
                  <a:lnTo>
                    <a:pt x="26" y="2"/>
                  </a:lnTo>
                  <a:lnTo>
                    <a:pt x="23" y="2"/>
                  </a:lnTo>
                  <a:lnTo>
                    <a:pt x="23" y="0"/>
                  </a:lnTo>
                  <a:lnTo>
                    <a:pt x="21" y="2"/>
                  </a:lnTo>
                  <a:lnTo>
                    <a:pt x="23" y="2"/>
                  </a:lnTo>
                  <a:lnTo>
                    <a:pt x="28" y="2"/>
                  </a:lnTo>
                  <a:lnTo>
                    <a:pt x="31" y="7"/>
                  </a:lnTo>
                  <a:lnTo>
                    <a:pt x="33" y="10"/>
                  </a:lnTo>
                  <a:lnTo>
                    <a:pt x="33" y="12"/>
                  </a:lnTo>
                  <a:lnTo>
                    <a:pt x="33" y="12"/>
                  </a:lnTo>
                  <a:lnTo>
                    <a:pt x="33" y="15"/>
                  </a:lnTo>
                  <a:lnTo>
                    <a:pt x="31" y="15"/>
                  </a:lnTo>
                  <a:lnTo>
                    <a:pt x="31" y="18"/>
                  </a:lnTo>
                  <a:lnTo>
                    <a:pt x="31" y="20"/>
                  </a:lnTo>
                  <a:lnTo>
                    <a:pt x="28" y="23"/>
                  </a:lnTo>
                  <a:lnTo>
                    <a:pt x="28" y="23"/>
                  </a:lnTo>
                  <a:lnTo>
                    <a:pt x="31" y="25"/>
                  </a:lnTo>
                  <a:lnTo>
                    <a:pt x="31" y="25"/>
                  </a:lnTo>
                  <a:lnTo>
                    <a:pt x="31" y="23"/>
                  </a:lnTo>
                  <a:lnTo>
                    <a:pt x="33" y="18"/>
                  </a:lnTo>
                  <a:lnTo>
                    <a:pt x="36" y="15"/>
                  </a:lnTo>
                  <a:lnTo>
                    <a:pt x="36" y="10"/>
                  </a:lnTo>
                  <a:lnTo>
                    <a:pt x="36" y="10"/>
                  </a:lnTo>
                  <a:lnTo>
                    <a:pt x="33" y="7"/>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373" name="Freeform 1992">
              <a:extLst>
                <a:ext uri="{FF2B5EF4-FFF2-40B4-BE49-F238E27FC236}">
                  <a16:creationId xmlns:a16="http://schemas.microsoft.com/office/drawing/2014/main" id="{F788ECFE-BC80-DD4A-B5AB-B6A4295ADFC3}"/>
                </a:ext>
              </a:extLst>
            </p:cNvPr>
            <p:cNvSpPr>
              <a:spLocks noEditPoints="1"/>
            </p:cNvSpPr>
            <p:nvPr/>
          </p:nvSpPr>
          <p:spPr bwMode="auto">
            <a:xfrm>
              <a:off x="6992432" y="2243909"/>
              <a:ext cx="171753" cy="129224"/>
            </a:xfrm>
            <a:custGeom>
              <a:avLst/>
              <a:gdLst>
                <a:gd name="T0" fmla="*/ 23 w 105"/>
                <a:gd name="T1" fmla="*/ 56 h 79"/>
                <a:gd name="T2" fmla="*/ 20 w 105"/>
                <a:gd name="T3" fmla="*/ 51 h 79"/>
                <a:gd name="T4" fmla="*/ 13 w 105"/>
                <a:gd name="T5" fmla="*/ 51 h 79"/>
                <a:gd name="T6" fmla="*/ 8 w 105"/>
                <a:gd name="T7" fmla="*/ 49 h 79"/>
                <a:gd name="T8" fmla="*/ 3 w 105"/>
                <a:gd name="T9" fmla="*/ 49 h 79"/>
                <a:gd name="T10" fmla="*/ 10 w 105"/>
                <a:gd name="T11" fmla="*/ 56 h 79"/>
                <a:gd name="T12" fmla="*/ 15 w 105"/>
                <a:gd name="T13" fmla="*/ 61 h 79"/>
                <a:gd name="T14" fmla="*/ 28 w 105"/>
                <a:gd name="T15" fmla="*/ 66 h 79"/>
                <a:gd name="T16" fmla="*/ 0 w 105"/>
                <a:gd name="T17" fmla="*/ 18 h 79"/>
                <a:gd name="T18" fmla="*/ 3 w 105"/>
                <a:gd name="T19" fmla="*/ 21 h 79"/>
                <a:gd name="T20" fmla="*/ 15 w 105"/>
                <a:gd name="T21" fmla="*/ 44 h 79"/>
                <a:gd name="T22" fmla="*/ 15 w 105"/>
                <a:gd name="T23" fmla="*/ 44 h 79"/>
                <a:gd name="T24" fmla="*/ 94 w 105"/>
                <a:gd name="T25" fmla="*/ 31 h 79"/>
                <a:gd name="T26" fmla="*/ 84 w 105"/>
                <a:gd name="T27" fmla="*/ 26 h 79"/>
                <a:gd name="T28" fmla="*/ 74 w 105"/>
                <a:gd name="T29" fmla="*/ 13 h 79"/>
                <a:gd name="T30" fmla="*/ 61 w 105"/>
                <a:gd name="T31" fmla="*/ 5 h 79"/>
                <a:gd name="T32" fmla="*/ 56 w 105"/>
                <a:gd name="T33" fmla="*/ 13 h 79"/>
                <a:gd name="T34" fmla="*/ 43 w 105"/>
                <a:gd name="T35" fmla="*/ 16 h 79"/>
                <a:gd name="T36" fmla="*/ 36 w 105"/>
                <a:gd name="T37" fmla="*/ 8 h 79"/>
                <a:gd name="T38" fmla="*/ 31 w 105"/>
                <a:gd name="T39" fmla="*/ 3 h 79"/>
                <a:gd name="T40" fmla="*/ 26 w 105"/>
                <a:gd name="T41" fmla="*/ 0 h 79"/>
                <a:gd name="T42" fmla="*/ 20 w 105"/>
                <a:gd name="T43" fmla="*/ 5 h 79"/>
                <a:gd name="T44" fmla="*/ 23 w 105"/>
                <a:gd name="T45" fmla="*/ 8 h 79"/>
                <a:gd name="T46" fmla="*/ 31 w 105"/>
                <a:gd name="T47" fmla="*/ 16 h 79"/>
                <a:gd name="T48" fmla="*/ 28 w 105"/>
                <a:gd name="T49" fmla="*/ 21 h 79"/>
                <a:gd name="T50" fmla="*/ 20 w 105"/>
                <a:gd name="T51" fmla="*/ 18 h 79"/>
                <a:gd name="T52" fmla="*/ 13 w 105"/>
                <a:gd name="T53" fmla="*/ 13 h 79"/>
                <a:gd name="T54" fmla="*/ 0 w 105"/>
                <a:gd name="T55" fmla="*/ 16 h 79"/>
                <a:gd name="T56" fmla="*/ 3 w 105"/>
                <a:gd name="T57" fmla="*/ 18 h 79"/>
                <a:gd name="T58" fmla="*/ 8 w 105"/>
                <a:gd name="T59" fmla="*/ 21 h 79"/>
                <a:gd name="T60" fmla="*/ 13 w 105"/>
                <a:gd name="T61" fmla="*/ 26 h 79"/>
                <a:gd name="T62" fmla="*/ 13 w 105"/>
                <a:gd name="T63" fmla="*/ 31 h 79"/>
                <a:gd name="T64" fmla="*/ 23 w 105"/>
                <a:gd name="T65" fmla="*/ 41 h 79"/>
                <a:gd name="T66" fmla="*/ 20 w 105"/>
                <a:gd name="T67" fmla="*/ 44 h 79"/>
                <a:gd name="T68" fmla="*/ 28 w 105"/>
                <a:gd name="T69" fmla="*/ 51 h 79"/>
                <a:gd name="T70" fmla="*/ 33 w 105"/>
                <a:gd name="T71" fmla="*/ 54 h 79"/>
                <a:gd name="T72" fmla="*/ 36 w 105"/>
                <a:gd name="T73" fmla="*/ 59 h 79"/>
                <a:gd name="T74" fmla="*/ 33 w 105"/>
                <a:gd name="T75" fmla="*/ 61 h 79"/>
                <a:gd name="T76" fmla="*/ 36 w 105"/>
                <a:gd name="T77" fmla="*/ 66 h 79"/>
                <a:gd name="T78" fmla="*/ 46 w 105"/>
                <a:gd name="T79" fmla="*/ 59 h 79"/>
                <a:gd name="T80" fmla="*/ 59 w 105"/>
                <a:gd name="T81" fmla="*/ 49 h 79"/>
                <a:gd name="T82" fmla="*/ 69 w 105"/>
                <a:gd name="T83" fmla="*/ 56 h 79"/>
                <a:gd name="T84" fmla="*/ 66 w 105"/>
                <a:gd name="T85" fmla="*/ 59 h 79"/>
                <a:gd name="T86" fmla="*/ 69 w 105"/>
                <a:gd name="T87" fmla="*/ 64 h 79"/>
                <a:gd name="T88" fmla="*/ 64 w 105"/>
                <a:gd name="T89" fmla="*/ 66 h 79"/>
                <a:gd name="T90" fmla="*/ 69 w 105"/>
                <a:gd name="T91" fmla="*/ 72 h 79"/>
                <a:gd name="T92" fmla="*/ 77 w 105"/>
                <a:gd name="T93" fmla="*/ 79 h 79"/>
                <a:gd name="T94" fmla="*/ 82 w 105"/>
                <a:gd name="T95" fmla="*/ 66 h 79"/>
                <a:gd name="T96" fmla="*/ 84 w 105"/>
                <a:gd name="T97" fmla="*/ 64 h 79"/>
                <a:gd name="T98" fmla="*/ 89 w 105"/>
                <a:gd name="T99" fmla="*/ 56 h 79"/>
                <a:gd name="T100" fmla="*/ 87 w 105"/>
                <a:gd name="T101" fmla="*/ 41 h 79"/>
                <a:gd name="T102" fmla="*/ 99 w 105"/>
                <a:gd name="T103" fmla="*/ 36 h 79"/>
                <a:gd name="T104" fmla="*/ 13 w 105"/>
                <a:gd name="T105" fmla="*/ 31 h 79"/>
                <a:gd name="T106" fmla="*/ 13 w 105"/>
                <a:gd name="T107" fmla="*/ 31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5" h="79">
                  <a:moveTo>
                    <a:pt x="28" y="64"/>
                  </a:moveTo>
                  <a:lnTo>
                    <a:pt x="26" y="61"/>
                  </a:lnTo>
                  <a:lnTo>
                    <a:pt x="26" y="59"/>
                  </a:lnTo>
                  <a:lnTo>
                    <a:pt x="26" y="59"/>
                  </a:lnTo>
                  <a:lnTo>
                    <a:pt x="23" y="56"/>
                  </a:lnTo>
                  <a:lnTo>
                    <a:pt x="20" y="56"/>
                  </a:lnTo>
                  <a:lnTo>
                    <a:pt x="20" y="56"/>
                  </a:lnTo>
                  <a:lnTo>
                    <a:pt x="20" y="54"/>
                  </a:lnTo>
                  <a:lnTo>
                    <a:pt x="20" y="51"/>
                  </a:lnTo>
                  <a:lnTo>
                    <a:pt x="20" y="51"/>
                  </a:lnTo>
                  <a:lnTo>
                    <a:pt x="18" y="51"/>
                  </a:lnTo>
                  <a:lnTo>
                    <a:pt x="18" y="51"/>
                  </a:lnTo>
                  <a:lnTo>
                    <a:pt x="15" y="54"/>
                  </a:lnTo>
                  <a:lnTo>
                    <a:pt x="13" y="54"/>
                  </a:lnTo>
                  <a:lnTo>
                    <a:pt x="13" y="51"/>
                  </a:lnTo>
                  <a:lnTo>
                    <a:pt x="10" y="51"/>
                  </a:lnTo>
                  <a:lnTo>
                    <a:pt x="10" y="51"/>
                  </a:lnTo>
                  <a:lnTo>
                    <a:pt x="10" y="51"/>
                  </a:lnTo>
                  <a:lnTo>
                    <a:pt x="8" y="49"/>
                  </a:lnTo>
                  <a:lnTo>
                    <a:pt x="8" y="49"/>
                  </a:lnTo>
                  <a:lnTo>
                    <a:pt x="8" y="49"/>
                  </a:lnTo>
                  <a:lnTo>
                    <a:pt x="5" y="46"/>
                  </a:lnTo>
                  <a:lnTo>
                    <a:pt x="3" y="49"/>
                  </a:lnTo>
                  <a:lnTo>
                    <a:pt x="3" y="49"/>
                  </a:lnTo>
                  <a:lnTo>
                    <a:pt x="3" y="49"/>
                  </a:lnTo>
                  <a:lnTo>
                    <a:pt x="3" y="49"/>
                  </a:lnTo>
                  <a:lnTo>
                    <a:pt x="3" y="51"/>
                  </a:lnTo>
                  <a:lnTo>
                    <a:pt x="8" y="54"/>
                  </a:lnTo>
                  <a:lnTo>
                    <a:pt x="8" y="56"/>
                  </a:lnTo>
                  <a:lnTo>
                    <a:pt x="10" y="56"/>
                  </a:lnTo>
                  <a:lnTo>
                    <a:pt x="10" y="59"/>
                  </a:lnTo>
                  <a:lnTo>
                    <a:pt x="10" y="59"/>
                  </a:lnTo>
                  <a:lnTo>
                    <a:pt x="13" y="61"/>
                  </a:lnTo>
                  <a:lnTo>
                    <a:pt x="13" y="61"/>
                  </a:lnTo>
                  <a:lnTo>
                    <a:pt x="15" y="61"/>
                  </a:lnTo>
                  <a:lnTo>
                    <a:pt x="18" y="64"/>
                  </a:lnTo>
                  <a:lnTo>
                    <a:pt x="18" y="64"/>
                  </a:lnTo>
                  <a:lnTo>
                    <a:pt x="26" y="66"/>
                  </a:lnTo>
                  <a:lnTo>
                    <a:pt x="28" y="66"/>
                  </a:lnTo>
                  <a:lnTo>
                    <a:pt x="28" y="66"/>
                  </a:lnTo>
                  <a:lnTo>
                    <a:pt x="28" y="64"/>
                  </a:lnTo>
                  <a:close/>
                  <a:moveTo>
                    <a:pt x="3" y="21"/>
                  </a:moveTo>
                  <a:lnTo>
                    <a:pt x="3" y="21"/>
                  </a:lnTo>
                  <a:lnTo>
                    <a:pt x="3" y="21"/>
                  </a:lnTo>
                  <a:lnTo>
                    <a:pt x="0" y="18"/>
                  </a:lnTo>
                  <a:lnTo>
                    <a:pt x="0" y="21"/>
                  </a:lnTo>
                  <a:lnTo>
                    <a:pt x="0" y="21"/>
                  </a:lnTo>
                  <a:lnTo>
                    <a:pt x="0" y="21"/>
                  </a:lnTo>
                  <a:lnTo>
                    <a:pt x="3" y="21"/>
                  </a:lnTo>
                  <a:lnTo>
                    <a:pt x="3" y="21"/>
                  </a:lnTo>
                  <a:close/>
                  <a:moveTo>
                    <a:pt x="15" y="44"/>
                  </a:moveTo>
                  <a:lnTo>
                    <a:pt x="15" y="44"/>
                  </a:lnTo>
                  <a:lnTo>
                    <a:pt x="15" y="41"/>
                  </a:lnTo>
                  <a:lnTo>
                    <a:pt x="15" y="44"/>
                  </a:lnTo>
                  <a:close/>
                  <a:moveTo>
                    <a:pt x="15" y="44"/>
                  </a:moveTo>
                  <a:lnTo>
                    <a:pt x="15" y="44"/>
                  </a:lnTo>
                  <a:lnTo>
                    <a:pt x="15" y="44"/>
                  </a:lnTo>
                  <a:lnTo>
                    <a:pt x="18" y="44"/>
                  </a:lnTo>
                  <a:lnTo>
                    <a:pt x="18" y="44"/>
                  </a:lnTo>
                  <a:lnTo>
                    <a:pt x="15" y="44"/>
                  </a:lnTo>
                  <a:close/>
                  <a:moveTo>
                    <a:pt x="102" y="33"/>
                  </a:moveTo>
                  <a:lnTo>
                    <a:pt x="99" y="33"/>
                  </a:lnTo>
                  <a:lnTo>
                    <a:pt x="99" y="33"/>
                  </a:lnTo>
                  <a:lnTo>
                    <a:pt x="97" y="31"/>
                  </a:lnTo>
                  <a:lnTo>
                    <a:pt x="94" y="31"/>
                  </a:lnTo>
                  <a:lnTo>
                    <a:pt x="92" y="31"/>
                  </a:lnTo>
                  <a:lnTo>
                    <a:pt x="92" y="31"/>
                  </a:lnTo>
                  <a:lnTo>
                    <a:pt x="89" y="31"/>
                  </a:lnTo>
                  <a:lnTo>
                    <a:pt x="87" y="28"/>
                  </a:lnTo>
                  <a:lnTo>
                    <a:pt x="84" y="26"/>
                  </a:lnTo>
                  <a:lnTo>
                    <a:pt x="79" y="21"/>
                  </a:lnTo>
                  <a:lnTo>
                    <a:pt x="79" y="18"/>
                  </a:lnTo>
                  <a:lnTo>
                    <a:pt x="77" y="16"/>
                  </a:lnTo>
                  <a:lnTo>
                    <a:pt x="77" y="16"/>
                  </a:lnTo>
                  <a:lnTo>
                    <a:pt x="74" y="13"/>
                  </a:lnTo>
                  <a:lnTo>
                    <a:pt x="69" y="8"/>
                  </a:lnTo>
                  <a:lnTo>
                    <a:pt x="66" y="3"/>
                  </a:lnTo>
                  <a:lnTo>
                    <a:pt x="64" y="3"/>
                  </a:lnTo>
                  <a:lnTo>
                    <a:pt x="64" y="3"/>
                  </a:lnTo>
                  <a:lnTo>
                    <a:pt x="61" y="5"/>
                  </a:lnTo>
                  <a:lnTo>
                    <a:pt x="61" y="8"/>
                  </a:lnTo>
                  <a:lnTo>
                    <a:pt x="61" y="8"/>
                  </a:lnTo>
                  <a:lnTo>
                    <a:pt x="59" y="11"/>
                  </a:lnTo>
                  <a:lnTo>
                    <a:pt x="56" y="11"/>
                  </a:lnTo>
                  <a:lnTo>
                    <a:pt x="56" y="13"/>
                  </a:lnTo>
                  <a:lnTo>
                    <a:pt x="54" y="16"/>
                  </a:lnTo>
                  <a:lnTo>
                    <a:pt x="54" y="16"/>
                  </a:lnTo>
                  <a:lnTo>
                    <a:pt x="48" y="16"/>
                  </a:lnTo>
                  <a:lnTo>
                    <a:pt x="48" y="16"/>
                  </a:lnTo>
                  <a:lnTo>
                    <a:pt x="43" y="16"/>
                  </a:lnTo>
                  <a:lnTo>
                    <a:pt x="43" y="13"/>
                  </a:lnTo>
                  <a:lnTo>
                    <a:pt x="41" y="11"/>
                  </a:lnTo>
                  <a:lnTo>
                    <a:pt x="38" y="11"/>
                  </a:lnTo>
                  <a:lnTo>
                    <a:pt x="38" y="8"/>
                  </a:lnTo>
                  <a:lnTo>
                    <a:pt x="36" y="8"/>
                  </a:lnTo>
                  <a:lnTo>
                    <a:pt x="36" y="8"/>
                  </a:lnTo>
                  <a:lnTo>
                    <a:pt x="36" y="5"/>
                  </a:lnTo>
                  <a:lnTo>
                    <a:pt x="33" y="5"/>
                  </a:lnTo>
                  <a:lnTo>
                    <a:pt x="31" y="3"/>
                  </a:lnTo>
                  <a:lnTo>
                    <a:pt x="31" y="3"/>
                  </a:lnTo>
                  <a:lnTo>
                    <a:pt x="28" y="3"/>
                  </a:lnTo>
                  <a:lnTo>
                    <a:pt x="28" y="3"/>
                  </a:lnTo>
                  <a:lnTo>
                    <a:pt x="28" y="3"/>
                  </a:lnTo>
                  <a:lnTo>
                    <a:pt x="28" y="3"/>
                  </a:lnTo>
                  <a:lnTo>
                    <a:pt x="26" y="0"/>
                  </a:lnTo>
                  <a:lnTo>
                    <a:pt x="26" y="3"/>
                  </a:lnTo>
                  <a:lnTo>
                    <a:pt x="23" y="3"/>
                  </a:lnTo>
                  <a:lnTo>
                    <a:pt x="23" y="5"/>
                  </a:lnTo>
                  <a:lnTo>
                    <a:pt x="23" y="5"/>
                  </a:lnTo>
                  <a:lnTo>
                    <a:pt x="20" y="5"/>
                  </a:lnTo>
                  <a:lnTo>
                    <a:pt x="20" y="5"/>
                  </a:lnTo>
                  <a:lnTo>
                    <a:pt x="20" y="8"/>
                  </a:lnTo>
                  <a:lnTo>
                    <a:pt x="20" y="8"/>
                  </a:lnTo>
                  <a:lnTo>
                    <a:pt x="23" y="8"/>
                  </a:lnTo>
                  <a:lnTo>
                    <a:pt x="23" y="8"/>
                  </a:lnTo>
                  <a:lnTo>
                    <a:pt x="23" y="11"/>
                  </a:lnTo>
                  <a:lnTo>
                    <a:pt x="26" y="11"/>
                  </a:lnTo>
                  <a:lnTo>
                    <a:pt x="28" y="13"/>
                  </a:lnTo>
                  <a:lnTo>
                    <a:pt x="31" y="13"/>
                  </a:lnTo>
                  <a:lnTo>
                    <a:pt x="31" y="16"/>
                  </a:lnTo>
                  <a:lnTo>
                    <a:pt x="31" y="16"/>
                  </a:lnTo>
                  <a:lnTo>
                    <a:pt x="31" y="18"/>
                  </a:lnTo>
                  <a:lnTo>
                    <a:pt x="31" y="18"/>
                  </a:lnTo>
                  <a:lnTo>
                    <a:pt x="28" y="21"/>
                  </a:lnTo>
                  <a:lnTo>
                    <a:pt x="28" y="21"/>
                  </a:lnTo>
                  <a:lnTo>
                    <a:pt x="26" y="18"/>
                  </a:lnTo>
                  <a:lnTo>
                    <a:pt x="26" y="18"/>
                  </a:lnTo>
                  <a:lnTo>
                    <a:pt x="23" y="18"/>
                  </a:lnTo>
                  <a:lnTo>
                    <a:pt x="20" y="18"/>
                  </a:lnTo>
                  <a:lnTo>
                    <a:pt x="20" y="18"/>
                  </a:lnTo>
                  <a:lnTo>
                    <a:pt x="18" y="18"/>
                  </a:lnTo>
                  <a:lnTo>
                    <a:pt x="15" y="16"/>
                  </a:lnTo>
                  <a:lnTo>
                    <a:pt x="15" y="16"/>
                  </a:lnTo>
                  <a:lnTo>
                    <a:pt x="13" y="16"/>
                  </a:lnTo>
                  <a:lnTo>
                    <a:pt x="13" y="13"/>
                  </a:lnTo>
                  <a:lnTo>
                    <a:pt x="8" y="13"/>
                  </a:lnTo>
                  <a:lnTo>
                    <a:pt x="5" y="11"/>
                  </a:lnTo>
                  <a:lnTo>
                    <a:pt x="5" y="13"/>
                  </a:lnTo>
                  <a:lnTo>
                    <a:pt x="0" y="16"/>
                  </a:lnTo>
                  <a:lnTo>
                    <a:pt x="0" y="16"/>
                  </a:lnTo>
                  <a:lnTo>
                    <a:pt x="3" y="18"/>
                  </a:lnTo>
                  <a:lnTo>
                    <a:pt x="5" y="18"/>
                  </a:lnTo>
                  <a:lnTo>
                    <a:pt x="5" y="18"/>
                  </a:lnTo>
                  <a:lnTo>
                    <a:pt x="5" y="18"/>
                  </a:lnTo>
                  <a:lnTo>
                    <a:pt x="3" y="18"/>
                  </a:lnTo>
                  <a:lnTo>
                    <a:pt x="3" y="18"/>
                  </a:lnTo>
                  <a:lnTo>
                    <a:pt x="3" y="21"/>
                  </a:lnTo>
                  <a:lnTo>
                    <a:pt x="3" y="21"/>
                  </a:lnTo>
                  <a:lnTo>
                    <a:pt x="8" y="21"/>
                  </a:lnTo>
                  <a:lnTo>
                    <a:pt x="8" y="21"/>
                  </a:lnTo>
                  <a:lnTo>
                    <a:pt x="10" y="21"/>
                  </a:lnTo>
                  <a:lnTo>
                    <a:pt x="10" y="23"/>
                  </a:lnTo>
                  <a:lnTo>
                    <a:pt x="13" y="23"/>
                  </a:lnTo>
                  <a:lnTo>
                    <a:pt x="13" y="26"/>
                  </a:lnTo>
                  <a:lnTo>
                    <a:pt x="13" y="26"/>
                  </a:lnTo>
                  <a:lnTo>
                    <a:pt x="13" y="26"/>
                  </a:lnTo>
                  <a:lnTo>
                    <a:pt x="10" y="28"/>
                  </a:lnTo>
                  <a:lnTo>
                    <a:pt x="10" y="28"/>
                  </a:lnTo>
                  <a:lnTo>
                    <a:pt x="10" y="28"/>
                  </a:lnTo>
                  <a:lnTo>
                    <a:pt x="13" y="31"/>
                  </a:lnTo>
                  <a:lnTo>
                    <a:pt x="15" y="33"/>
                  </a:lnTo>
                  <a:lnTo>
                    <a:pt x="18" y="36"/>
                  </a:lnTo>
                  <a:lnTo>
                    <a:pt x="23" y="39"/>
                  </a:lnTo>
                  <a:lnTo>
                    <a:pt x="23" y="39"/>
                  </a:lnTo>
                  <a:lnTo>
                    <a:pt x="23" y="41"/>
                  </a:lnTo>
                  <a:lnTo>
                    <a:pt x="20" y="44"/>
                  </a:lnTo>
                  <a:lnTo>
                    <a:pt x="20" y="44"/>
                  </a:lnTo>
                  <a:lnTo>
                    <a:pt x="20" y="44"/>
                  </a:lnTo>
                  <a:lnTo>
                    <a:pt x="18" y="44"/>
                  </a:lnTo>
                  <a:lnTo>
                    <a:pt x="20" y="44"/>
                  </a:lnTo>
                  <a:lnTo>
                    <a:pt x="20" y="46"/>
                  </a:lnTo>
                  <a:lnTo>
                    <a:pt x="23" y="46"/>
                  </a:lnTo>
                  <a:lnTo>
                    <a:pt x="26" y="49"/>
                  </a:lnTo>
                  <a:lnTo>
                    <a:pt x="26" y="49"/>
                  </a:lnTo>
                  <a:lnTo>
                    <a:pt x="28" y="51"/>
                  </a:lnTo>
                  <a:lnTo>
                    <a:pt x="31" y="51"/>
                  </a:lnTo>
                  <a:lnTo>
                    <a:pt x="33" y="51"/>
                  </a:lnTo>
                  <a:lnTo>
                    <a:pt x="33" y="54"/>
                  </a:lnTo>
                  <a:lnTo>
                    <a:pt x="33" y="54"/>
                  </a:lnTo>
                  <a:lnTo>
                    <a:pt x="33" y="54"/>
                  </a:lnTo>
                  <a:lnTo>
                    <a:pt x="33" y="56"/>
                  </a:lnTo>
                  <a:lnTo>
                    <a:pt x="33" y="56"/>
                  </a:lnTo>
                  <a:lnTo>
                    <a:pt x="33" y="56"/>
                  </a:lnTo>
                  <a:lnTo>
                    <a:pt x="33" y="56"/>
                  </a:lnTo>
                  <a:lnTo>
                    <a:pt x="36" y="59"/>
                  </a:lnTo>
                  <a:lnTo>
                    <a:pt x="36" y="59"/>
                  </a:lnTo>
                  <a:lnTo>
                    <a:pt x="36" y="59"/>
                  </a:lnTo>
                  <a:lnTo>
                    <a:pt x="36" y="59"/>
                  </a:lnTo>
                  <a:lnTo>
                    <a:pt x="33" y="59"/>
                  </a:lnTo>
                  <a:lnTo>
                    <a:pt x="33" y="61"/>
                  </a:lnTo>
                  <a:lnTo>
                    <a:pt x="33" y="61"/>
                  </a:lnTo>
                  <a:lnTo>
                    <a:pt x="36" y="61"/>
                  </a:lnTo>
                  <a:lnTo>
                    <a:pt x="36" y="64"/>
                  </a:lnTo>
                  <a:lnTo>
                    <a:pt x="36" y="64"/>
                  </a:lnTo>
                  <a:lnTo>
                    <a:pt x="36" y="66"/>
                  </a:lnTo>
                  <a:lnTo>
                    <a:pt x="38" y="66"/>
                  </a:lnTo>
                  <a:lnTo>
                    <a:pt x="41" y="61"/>
                  </a:lnTo>
                  <a:lnTo>
                    <a:pt x="41" y="61"/>
                  </a:lnTo>
                  <a:lnTo>
                    <a:pt x="43" y="61"/>
                  </a:lnTo>
                  <a:lnTo>
                    <a:pt x="46" y="59"/>
                  </a:lnTo>
                  <a:lnTo>
                    <a:pt x="48" y="56"/>
                  </a:lnTo>
                  <a:lnTo>
                    <a:pt x="51" y="54"/>
                  </a:lnTo>
                  <a:lnTo>
                    <a:pt x="54" y="54"/>
                  </a:lnTo>
                  <a:lnTo>
                    <a:pt x="54" y="51"/>
                  </a:lnTo>
                  <a:lnTo>
                    <a:pt x="59" y="49"/>
                  </a:lnTo>
                  <a:lnTo>
                    <a:pt x="59" y="49"/>
                  </a:lnTo>
                  <a:lnTo>
                    <a:pt x="61" y="49"/>
                  </a:lnTo>
                  <a:lnTo>
                    <a:pt x="64" y="51"/>
                  </a:lnTo>
                  <a:lnTo>
                    <a:pt x="69" y="54"/>
                  </a:lnTo>
                  <a:lnTo>
                    <a:pt x="69" y="56"/>
                  </a:lnTo>
                  <a:lnTo>
                    <a:pt x="66" y="56"/>
                  </a:lnTo>
                  <a:lnTo>
                    <a:pt x="66" y="56"/>
                  </a:lnTo>
                  <a:lnTo>
                    <a:pt x="66" y="59"/>
                  </a:lnTo>
                  <a:lnTo>
                    <a:pt x="66" y="59"/>
                  </a:lnTo>
                  <a:lnTo>
                    <a:pt x="66" y="59"/>
                  </a:lnTo>
                  <a:lnTo>
                    <a:pt x="66" y="61"/>
                  </a:lnTo>
                  <a:lnTo>
                    <a:pt x="69" y="61"/>
                  </a:lnTo>
                  <a:lnTo>
                    <a:pt x="69" y="64"/>
                  </a:lnTo>
                  <a:lnTo>
                    <a:pt x="69" y="64"/>
                  </a:lnTo>
                  <a:lnTo>
                    <a:pt x="69" y="64"/>
                  </a:lnTo>
                  <a:lnTo>
                    <a:pt x="69" y="64"/>
                  </a:lnTo>
                  <a:lnTo>
                    <a:pt x="66" y="66"/>
                  </a:lnTo>
                  <a:lnTo>
                    <a:pt x="66" y="66"/>
                  </a:lnTo>
                  <a:lnTo>
                    <a:pt x="64" y="66"/>
                  </a:lnTo>
                  <a:lnTo>
                    <a:pt x="64" y="66"/>
                  </a:lnTo>
                  <a:lnTo>
                    <a:pt x="64" y="69"/>
                  </a:lnTo>
                  <a:lnTo>
                    <a:pt x="64" y="69"/>
                  </a:lnTo>
                  <a:lnTo>
                    <a:pt x="69" y="72"/>
                  </a:lnTo>
                  <a:lnTo>
                    <a:pt x="69" y="72"/>
                  </a:lnTo>
                  <a:lnTo>
                    <a:pt x="69" y="72"/>
                  </a:lnTo>
                  <a:lnTo>
                    <a:pt x="71" y="74"/>
                  </a:lnTo>
                  <a:lnTo>
                    <a:pt x="71" y="74"/>
                  </a:lnTo>
                  <a:lnTo>
                    <a:pt x="74" y="74"/>
                  </a:lnTo>
                  <a:lnTo>
                    <a:pt x="77" y="79"/>
                  </a:lnTo>
                  <a:lnTo>
                    <a:pt x="77" y="79"/>
                  </a:lnTo>
                  <a:lnTo>
                    <a:pt x="82" y="77"/>
                  </a:lnTo>
                  <a:lnTo>
                    <a:pt x="82" y="77"/>
                  </a:lnTo>
                  <a:lnTo>
                    <a:pt x="82" y="69"/>
                  </a:lnTo>
                  <a:lnTo>
                    <a:pt x="82" y="69"/>
                  </a:lnTo>
                  <a:lnTo>
                    <a:pt x="82" y="66"/>
                  </a:lnTo>
                  <a:lnTo>
                    <a:pt x="82" y="64"/>
                  </a:lnTo>
                  <a:lnTo>
                    <a:pt x="82" y="61"/>
                  </a:lnTo>
                  <a:lnTo>
                    <a:pt x="84" y="61"/>
                  </a:lnTo>
                  <a:lnTo>
                    <a:pt x="84" y="64"/>
                  </a:lnTo>
                  <a:lnTo>
                    <a:pt x="84" y="64"/>
                  </a:lnTo>
                  <a:lnTo>
                    <a:pt x="87" y="64"/>
                  </a:lnTo>
                  <a:lnTo>
                    <a:pt x="87" y="64"/>
                  </a:lnTo>
                  <a:lnTo>
                    <a:pt x="87" y="59"/>
                  </a:lnTo>
                  <a:lnTo>
                    <a:pt x="87" y="56"/>
                  </a:lnTo>
                  <a:lnTo>
                    <a:pt x="89" y="56"/>
                  </a:lnTo>
                  <a:lnTo>
                    <a:pt x="89" y="56"/>
                  </a:lnTo>
                  <a:lnTo>
                    <a:pt x="87" y="54"/>
                  </a:lnTo>
                  <a:lnTo>
                    <a:pt x="87" y="51"/>
                  </a:lnTo>
                  <a:lnTo>
                    <a:pt x="87" y="46"/>
                  </a:lnTo>
                  <a:lnTo>
                    <a:pt x="87" y="41"/>
                  </a:lnTo>
                  <a:lnTo>
                    <a:pt x="89" y="39"/>
                  </a:lnTo>
                  <a:lnTo>
                    <a:pt x="92" y="39"/>
                  </a:lnTo>
                  <a:lnTo>
                    <a:pt x="92" y="36"/>
                  </a:lnTo>
                  <a:lnTo>
                    <a:pt x="94" y="36"/>
                  </a:lnTo>
                  <a:lnTo>
                    <a:pt x="99" y="36"/>
                  </a:lnTo>
                  <a:lnTo>
                    <a:pt x="105" y="39"/>
                  </a:lnTo>
                  <a:lnTo>
                    <a:pt x="102" y="33"/>
                  </a:lnTo>
                  <a:close/>
                  <a:moveTo>
                    <a:pt x="13" y="31"/>
                  </a:moveTo>
                  <a:lnTo>
                    <a:pt x="13" y="31"/>
                  </a:lnTo>
                  <a:lnTo>
                    <a:pt x="13" y="31"/>
                  </a:lnTo>
                  <a:lnTo>
                    <a:pt x="13" y="28"/>
                  </a:lnTo>
                  <a:lnTo>
                    <a:pt x="13" y="28"/>
                  </a:lnTo>
                  <a:lnTo>
                    <a:pt x="13" y="28"/>
                  </a:lnTo>
                  <a:lnTo>
                    <a:pt x="13" y="28"/>
                  </a:lnTo>
                  <a:lnTo>
                    <a:pt x="13" y="31"/>
                  </a:lnTo>
                  <a:close/>
                </a:path>
              </a:pathLst>
            </a:custGeom>
            <a:solidFill>
              <a:schemeClr val="bg2">
                <a:lumMod val="60000"/>
                <a:lumOff val="40000"/>
              </a:schemeClr>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374" name="Freeform 1993">
              <a:extLst>
                <a:ext uri="{FF2B5EF4-FFF2-40B4-BE49-F238E27FC236}">
                  <a16:creationId xmlns:a16="http://schemas.microsoft.com/office/drawing/2014/main" id="{CD0081CD-5A7F-6C4F-AF00-58103071F7D9}"/>
                </a:ext>
              </a:extLst>
            </p:cNvPr>
            <p:cNvSpPr>
              <a:spLocks/>
            </p:cNvSpPr>
            <p:nvPr/>
          </p:nvSpPr>
          <p:spPr bwMode="auto">
            <a:xfrm>
              <a:off x="5925932" y="1987098"/>
              <a:ext cx="220825" cy="94873"/>
            </a:xfrm>
            <a:custGeom>
              <a:avLst/>
              <a:gdLst>
                <a:gd name="T0" fmla="*/ 130 w 135"/>
                <a:gd name="T1" fmla="*/ 12 h 58"/>
                <a:gd name="T2" fmla="*/ 132 w 135"/>
                <a:gd name="T3" fmla="*/ 7 h 58"/>
                <a:gd name="T4" fmla="*/ 124 w 135"/>
                <a:gd name="T5" fmla="*/ 5 h 58"/>
                <a:gd name="T6" fmla="*/ 119 w 135"/>
                <a:gd name="T7" fmla="*/ 5 h 58"/>
                <a:gd name="T8" fmla="*/ 107 w 135"/>
                <a:gd name="T9" fmla="*/ 2 h 58"/>
                <a:gd name="T10" fmla="*/ 99 w 135"/>
                <a:gd name="T11" fmla="*/ 2 h 58"/>
                <a:gd name="T12" fmla="*/ 96 w 135"/>
                <a:gd name="T13" fmla="*/ 5 h 58"/>
                <a:gd name="T14" fmla="*/ 91 w 135"/>
                <a:gd name="T15" fmla="*/ 10 h 58"/>
                <a:gd name="T16" fmla="*/ 84 w 135"/>
                <a:gd name="T17" fmla="*/ 10 h 58"/>
                <a:gd name="T18" fmla="*/ 76 w 135"/>
                <a:gd name="T19" fmla="*/ 5 h 58"/>
                <a:gd name="T20" fmla="*/ 76 w 135"/>
                <a:gd name="T21" fmla="*/ 10 h 58"/>
                <a:gd name="T22" fmla="*/ 71 w 135"/>
                <a:gd name="T23" fmla="*/ 10 h 58"/>
                <a:gd name="T24" fmla="*/ 66 w 135"/>
                <a:gd name="T25" fmla="*/ 15 h 58"/>
                <a:gd name="T26" fmla="*/ 58 w 135"/>
                <a:gd name="T27" fmla="*/ 20 h 58"/>
                <a:gd name="T28" fmla="*/ 61 w 135"/>
                <a:gd name="T29" fmla="*/ 28 h 58"/>
                <a:gd name="T30" fmla="*/ 63 w 135"/>
                <a:gd name="T31" fmla="*/ 30 h 58"/>
                <a:gd name="T32" fmla="*/ 58 w 135"/>
                <a:gd name="T33" fmla="*/ 33 h 58"/>
                <a:gd name="T34" fmla="*/ 56 w 135"/>
                <a:gd name="T35" fmla="*/ 30 h 58"/>
                <a:gd name="T36" fmla="*/ 51 w 135"/>
                <a:gd name="T37" fmla="*/ 28 h 58"/>
                <a:gd name="T38" fmla="*/ 48 w 135"/>
                <a:gd name="T39" fmla="*/ 30 h 58"/>
                <a:gd name="T40" fmla="*/ 33 w 135"/>
                <a:gd name="T41" fmla="*/ 33 h 58"/>
                <a:gd name="T42" fmla="*/ 28 w 135"/>
                <a:gd name="T43" fmla="*/ 35 h 58"/>
                <a:gd name="T44" fmla="*/ 25 w 135"/>
                <a:gd name="T45" fmla="*/ 33 h 58"/>
                <a:gd name="T46" fmla="*/ 17 w 135"/>
                <a:gd name="T47" fmla="*/ 33 h 58"/>
                <a:gd name="T48" fmla="*/ 12 w 135"/>
                <a:gd name="T49" fmla="*/ 38 h 58"/>
                <a:gd name="T50" fmla="*/ 10 w 135"/>
                <a:gd name="T51" fmla="*/ 35 h 58"/>
                <a:gd name="T52" fmla="*/ 7 w 135"/>
                <a:gd name="T53" fmla="*/ 33 h 58"/>
                <a:gd name="T54" fmla="*/ 0 w 135"/>
                <a:gd name="T55" fmla="*/ 33 h 58"/>
                <a:gd name="T56" fmla="*/ 2 w 135"/>
                <a:gd name="T57" fmla="*/ 38 h 58"/>
                <a:gd name="T58" fmla="*/ 2 w 135"/>
                <a:gd name="T59" fmla="*/ 40 h 58"/>
                <a:gd name="T60" fmla="*/ 5 w 135"/>
                <a:gd name="T61" fmla="*/ 43 h 58"/>
                <a:gd name="T62" fmla="*/ 12 w 135"/>
                <a:gd name="T63" fmla="*/ 48 h 58"/>
                <a:gd name="T64" fmla="*/ 17 w 135"/>
                <a:gd name="T65" fmla="*/ 48 h 58"/>
                <a:gd name="T66" fmla="*/ 25 w 135"/>
                <a:gd name="T67" fmla="*/ 48 h 58"/>
                <a:gd name="T68" fmla="*/ 30 w 135"/>
                <a:gd name="T69" fmla="*/ 45 h 58"/>
                <a:gd name="T70" fmla="*/ 40 w 135"/>
                <a:gd name="T71" fmla="*/ 45 h 58"/>
                <a:gd name="T72" fmla="*/ 48 w 135"/>
                <a:gd name="T73" fmla="*/ 43 h 58"/>
                <a:gd name="T74" fmla="*/ 51 w 135"/>
                <a:gd name="T75" fmla="*/ 50 h 58"/>
                <a:gd name="T76" fmla="*/ 58 w 135"/>
                <a:gd name="T77" fmla="*/ 53 h 58"/>
                <a:gd name="T78" fmla="*/ 76 w 135"/>
                <a:gd name="T79" fmla="*/ 56 h 58"/>
                <a:gd name="T80" fmla="*/ 86 w 135"/>
                <a:gd name="T81" fmla="*/ 56 h 58"/>
                <a:gd name="T82" fmla="*/ 91 w 135"/>
                <a:gd name="T83" fmla="*/ 58 h 58"/>
                <a:gd name="T84" fmla="*/ 96 w 135"/>
                <a:gd name="T85" fmla="*/ 53 h 58"/>
                <a:gd name="T86" fmla="*/ 107 w 135"/>
                <a:gd name="T87" fmla="*/ 53 h 58"/>
                <a:gd name="T88" fmla="*/ 114 w 135"/>
                <a:gd name="T89" fmla="*/ 50 h 58"/>
                <a:gd name="T90" fmla="*/ 117 w 135"/>
                <a:gd name="T91" fmla="*/ 48 h 58"/>
                <a:gd name="T92" fmla="*/ 124 w 135"/>
                <a:gd name="T93" fmla="*/ 43 h 58"/>
                <a:gd name="T94" fmla="*/ 124 w 135"/>
                <a:gd name="T95" fmla="*/ 40 h 58"/>
                <a:gd name="T96" fmla="*/ 124 w 135"/>
                <a:gd name="T97" fmla="*/ 35 h 58"/>
                <a:gd name="T98" fmla="*/ 127 w 135"/>
                <a:gd name="T99" fmla="*/ 33 h 58"/>
                <a:gd name="T100" fmla="*/ 124 w 135"/>
                <a:gd name="T101" fmla="*/ 28 h 58"/>
                <a:gd name="T102" fmla="*/ 130 w 135"/>
                <a:gd name="T103" fmla="*/ 30 h 58"/>
                <a:gd name="T104" fmla="*/ 135 w 135"/>
                <a:gd name="T105" fmla="*/ 28 h 58"/>
                <a:gd name="T106" fmla="*/ 135 w 135"/>
                <a:gd name="T107" fmla="*/ 22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5" h="58">
                  <a:moveTo>
                    <a:pt x="135" y="20"/>
                  </a:moveTo>
                  <a:lnTo>
                    <a:pt x="135" y="20"/>
                  </a:lnTo>
                  <a:lnTo>
                    <a:pt x="132" y="17"/>
                  </a:lnTo>
                  <a:lnTo>
                    <a:pt x="130" y="12"/>
                  </a:lnTo>
                  <a:lnTo>
                    <a:pt x="130" y="12"/>
                  </a:lnTo>
                  <a:lnTo>
                    <a:pt x="132" y="10"/>
                  </a:lnTo>
                  <a:lnTo>
                    <a:pt x="132" y="10"/>
                  </a:lnTo>
                  <a:lnTo>
                    <a:pt x="132" y="10"/>
                  </a:lnTo>
                  <a:lnTo>
                    <a:pt x="132" y="10"/>
                  </a:lnTo>
                  <a:lnTo>
                    <a:pt x="132" y="7"/>
                  </a:lnTo>
                  <a:lnTo>
                    <a:pt x="130" y="7"/>
                  </a:lnTo>
                  <a:lnTo>
                    <a:pt x="130" y="7"/>
                  </a:lnTo>
                  <a:lnTo>
                    <a:pt x="130" y="5"/>
                  </a:lnTo>
                  <a:lnTo>
                    <a:pt x="127" y="5"/>
                  </a:lnTo>
                  <a:lnTo>
                    <a:pt x="124" y="5"/>
                  </a:lnTo>
                  <a:lnTo>
                    <a:pt x="124" y="5"/>
                  </a:lnTo>
                  <a:lnTo>
                    <a:pt x="124" y="5"/>
                  </a:lnTo>
                  <a:lnTo>
                    <a:pt x="122" y="5"/>
                  </a:lnTo>
                  <a:lnTo>
                    <a:pt x="122" y="5"/>
                  </a:lnTo>
                  <a:lnTo>
                    <a:pt x="119" y="5"/>
                  </a:lnTo>
                  <a:lnTo>
                    <a:pt x="117" y="5"/>
                  </a:lnTo>
                  <a:lnTo>
                    <a:pt x="112" y="2"/>
                  </a:lnTo>
                  <a:lnTo>
                    <a:pt x="112" y="2"/>
                  </a:lnTo>
                  <a:lnTo>
                    <a:pt x="109" y="2"/>
                  </a:lnTo>
                  <a:lnTo>
                    <a:pt x="107" y="2"/>
                  </a:lnTo>
                  <a:lnTo>
                    <a:pt x="104" y="0"/>
                  </a:lnTo>
                  <a:lnTo>
                    <a:pt x="102" y="0"/>
                  </a:lnTo>
                  <a:lnTo>
                    <a:pt x="102" y="0"/>
                  </a:lnTo>
                  <a:lnTo>
                    <a:pt x="102" y="0"/>
                  </a:lnTo>
                  <a:lnTo>
                    <a:pt x="99" y="2"/>
                  </a:lnTo>
                  <a:lnTo>
                    <a:pt x="99" y="0"/>
                  </a:lnTo>
                  <a:lnTo>
                    <a:pt x="99" y="0"/>
                  </a:lnTo>
                  <a:lnTo>
                    <a:pt x="96" y="0"/>
                  </a:lnTo>
                  <a:lnTo>
                    <a:pt x="96" y="0"/>
                  </a:lnTo>
                  <a:lnTo>
                    <a:pt x="96" y="5"/>
                  </a:lnTo>
                  <a:lnTo>
                    <a:pt x="96" y="5"/>
                  </a:lnTo>
                  <a:lnTo>
                    <a:pt x="94" y="5"/>
                  </a:lnTo>
                  <a:lnTo>
                    <a:pt x="94" y="5"/>
                  </a:lnTo>
                  <a:lnTo>
                    <a:pt x="91" y="7"/>
                  </a:lnTo>
                  <a:lnTo>
                    <a:pt x="91" y="10"/>
                  </a:lnTo>
                  <a:lnTo>
                    <a:pt x="89" y="7"/>
                  </a:lnTo>
                  <a:lnTo>
                    <a:pt x="89" y="7"/>
                  </a:lnTo>
                  <a:lnTo>
                    <a:pt x="86" y="7"/>
                  </a:lnTo>
                  <a:lnTo>
                    <a:pt x="86" y="10"/>
                  </a:lnTo>
                  <a:lnTo>
                    <a:pt x="84" y="10"/>
                  </a:lnTo>
                  <a:lnTo>
                    <a:pt x="81" y="7"/>
                  </a:lnTo>
                  <a:lnTo>
                    <a:pt x="79" y="7"/>
                  </a:lnTo>
                  <a:lnTo>
                    <a:pt x="79" y="5"/>
                  </a:lnTo>
                  <a:lnTo>
                    <a:pt x="76" y="5"/>
                  </a:lnTo>
                  <a:lnTo>
                    <a:pt x="76" y="5"/>
                  </a:lnTo>
                  <a:lnTo>
                    <a:pt x="76" y="5"/>
                  </a:lnTo>
                  <a:lnTo>
                    <a:pt x="76" y="7"/>
                  </a:lnTo>
                  <a:lnTo>
                    <a:pt x="76" y="7"/>
                  </a:lnTo>
                  <a:lnTo>
                    <a:pt x="76" y="10"/>
                  </a:lnTo>
                  <a:lnTo>
                    <a:pt x="76" y="10"/>
                  </a:lnTo>
                  <a:lnTo>
                    <a:pt x="74" y="10"/>
                  </a:lnTo>
                  <a:lnTo>
                    <a:pt x="74" y="10"/>
                  </a:lnTo>
                  <a:lnTo>
                    <a:pt x="71" y="10"/>
                  </a:lnTo>
                  <a:lnTo>
                    <a:pt x="71" y="10"/>
                  </a:lnTo>
                  <a:lnTo>
                    <a:pt x="71" y="10"/>
                  </a:lnTo>
                  <a:lnTo>
                    <a:pt x="68" y="12"/>
                  </a:lnTo>
                  <a:lnTo>
                    <a:pt x="68" y="15"/>
                  </a:lnTo>
                  <a:lnTo>
                    <a:pt x="68" y="15"/>
                  </a:lnTo>
                  <a:lnTo>
                    <a:pt x="66" y="15"/>
                  </a:lnTo>
                  <a:lnTo>
                    <a:pt x="66" y="15"/>
                  </a:lnTo>
                  <a:lnTo>
                    <a:pt x="63" y="15"/>
                  </a:lnTo>
                  <a:lnTo>
                    <a:pt x="61" y="17"/>
                  </a:lnTo>
                  <a:lnTo>
                    <a:pt x="58" y="17"/>
                  </a:lnTo>
                  <a:lnTo>
                    <a:pt x="58" y="20"/>
                  </a:lnTo>
                  <a:lnTo>
                    <a:pt x="58" y="20"/>
                  </a:lnTo>
                  <a:lnTo>
                    <a:pt x="61" y="22"/>
                  </a:lnTo>
                  <a:lnTo>
                    <a:pt x="61" y="25"/>
                  </a:lnTo>
                  <a:lnTo>
                    <a:pt x="61" y="25"/>
                  </a:lnTo>
                  <a:lnTo>
                    <a:pt x="61" y="28"/>
                  </a:lnTo>
                  <a:lnTo>
                    <a:pt x="61" y="28"/>
                  </a:lnTo>
                  <a:lnTo>
                    <a:pt x="61" y="28"/>
                  </a:lnTo>
                  <a:lnTo>
                    <a:pt x="63" y="28"/>
                  </a:lnTo>
                  <a:lnTo>
                    <a:pt x="63" y="28"/>
                  </a:lnTo>
                  <a:lnTo>
                    <a:pt x="63" y="30"/>
                  </a:lnTo>
                  <a:lnTo>
                    <a:pt x="63" y="30"/>
                  </a:lnTo>
                  <a:lnTo>
                    <a:pt x="63" y="33"/>
                  </a:lnTo>
                  <a:lnTo>
                    <a:pt x="63" y="33"/>
                  </a:lnTo>
                  <a:lnTo>
                    <a:pt x="61" y="33"/>
                  </a:lnTo>
                  <a:lnTo>
                    <a:pt x="61" y="33"/>
                  </a:lnTo>
                  <a:lnTo>
                    <a:pt x="58" y="33"/>
                  </a:lnTo>
                  <a:lnTo>
                    <a:pt x="58" y="33"/>
                  </a:lnTo>
                  <a:lnTo>
                    <a:pt x="58" y="30"/>
                  </a:lnTo>
                  <a:lnTo>
                    <a:pt x="58" y="30"/>
                  </a:lnTo>
                  <a:lnTo>
                    <a:pt x="58" y="30"/>
                  </a:lnTo>
                  <a:lnTo>
                    <a:pt x="56" y="30"/>
                  </a:lnTo>
                  <a:lnTo>
                    <a:pt x="56" y="30"/>
                  </a:lnTo>
                  <a:lnTo>
                    <a:pt x="53" y="30"/>
                  </a:lnTo>
                  <a:lnTo>
                    <a:pt x="53" y="30"/>
                  </a:lnTo>
                  <a:lnTo>
                    <a:pt x="53" y="30"/>
                  </a:lnTo>
                  <a:lnTo>
                    <a:pt x="51" y="28"/>
                  </a:lnTo>
                  <a:lnTo>
                    <a:pt x="51" y="28"/>
                  </a:lnTo>
                  <a:lnTo>
                    <a:pt x="48" y="28"/>
                  </a:lnTo>
                  <a:lnTo>
                    <a:pt x="48" y="28"/>
                  </a:lnTo>
                  <a:lnTo>
                    <a:pt x="48" y="30"/>
                  </a:lnTo>
                  <a:lnTo>
                    <a:pt x="48" y="30"/>
                  </a:lnTo>
                  <a:lnTo>
                    <a:pt x="40" y="30"/>
                  </a:lnTo>
                  <a:lnTo>
                    <a:pt x="38" y="33"/>
                  </a:lnTo>
                  <a:lnTo>
                    <a:pt x="35" y="33"/>
                  </a:lnTo>
                  <a:lnTo>
                    <a:pt x="33" y="33"/>
                  </a:lnTo>
                  <a:lnTo>
                    <a:pt x="33" y="33"/>
                  </a:lnTo>
                  <a:lnTo>
                    <a:pt x="33" y="35"/>
                  </a:lnTo>
                  <a:lnTo>
                    <a:pt x="30" y="35"/>
                  </a:lnTo>
                  <a:lnTo>
                    <a:pt x="30" y="35"/>
                  </a:lnTo>
                  <a:lnTo>
                    <a:pt x="30" y="35"/>
                  </a:lnTo>
                  <a:lnTo>
                    <a:pt x="28" y="35"/>
                  </a:lnTo>
                  <a:lnTo>
                    <a:pt x="28" y="35"/>
                  </a:lnTo>
                  <a:lnTo>
                    <a:pt x="25" y="35"/>
                  </a:lnTo>
                  <a:lnTo>
                    <a:pt x="25" y="33"/>
                  </a:lnTo>
                  <a:lnTo>
                    <a:pt x="25" y="33"/>
                  </a:lnTo>
                  <a:lnTo>
                    <a:pt x="25" y="33"/>
                  </a:lnTo>
                  <a:lnTo>
                    <a:pt x="23" y="33"/>
                  </a:lnTo>
                  <a:lnTo>
                    <a:pt x="20" y="33"/>
                  </a:lnTo>
                  <a:lnTo>
                    <a:pt x="17" y="33"/>
                  </a:lnTo>
                  <a:lnTo>
                    <a:pt x="17" y="33"/>
                  </a:lnTo>
                  <a:lnTo>
                    <a:pt x="17" y="33"/>
                  </a:lnTo>
                  <a:lnTo>
                    <a:pt x="17" y="35"/>
                  </a:lnTo>
                  <a:lnTo>
                    <a:pt x="15" y="35"/>
                  </a:lnTo>
                  <a:lnTo>
                    <a:pt x="15" y="38"/>
                  </a:lnTo>
                  <a:lnTo>
                    <a:pt x="12" y="38"/>
                  </a:lnTo>
                  <a:lnTo>
                    <a:pt x="12" y="38"/>
                  </a:lnTo>
                  <a:lnTo>
                    <a:pt x="12" y="38"/>
                  </a:lnTo>
                  <a:lnTo>
                    <a:pt x="12" y="35"/>
                  </a:lnTo>
                  <a:lnTo>
                    <a:pt x="12" y="35"/>
                  </a:lnTo>
                  <a:lnTo>
                    <a:pt x="10" y="35"/>
                  </a:lnTo>
                  <a:lnTo>
                    <a:pt x="10" y="35"/>
                  </a:lnTo>
                  <a:lnTo>
                    <a:pt x="10" y="35"/>
                  </a:lnTo>
                  <a:lnTo>
                    <a:pt x="10" y="35"/>
                  </a:lnTo>
                  <a:lnTo>
                    <a:pt x="10" y="33"/>
                  </a:lnTo>
                  <a:lnTo>
                    <a:pt x="10" y="33"/>
                  </a:lnTo>
                  <a:lnTo>
                    <a:pt x="7" y="33"/>
                  </a:lnTo>
                  <a:lnTo>
                    <a:pt x="5" y="30"/>
                  </a:lnTo>
                  <a:lnTo>
                    <a:pt x="5" y="33"/>
                  </a:lnTo>
                  <a:lnTo>
                    <a:pt x="2" y="33"/>
                  </a:lnTo>
                  <a:lnTo>
                    <a:pt x="2" y="33"/>
                  </a:lnTo>
                  <a:lnTo>
                    <a:pt x="0" y="33"/>
                  </a:lnTo>
                  <a:lnTo>
                    <a:pt x="2" y="33"/>
                  </a:lnTo>
                  <a:lnTo>
                    <a:pt x="2" y="33"/>
                  </a:lnTo>
                  <a:lnTo>
                    <a:pt x="2" y="35"/>
                  </a:lnTo>
                  <a:lnTo>
                    <a:pt x="0" y="38"/>
                  </a:lnTo>
                  <a:lnTo>
                    <a:pt x="2" y="38"/>
                  </a:lnTo>
                  <a:lnTo>
                    <a:pt x="2" y="38"/>
                  </a:lnTo>
                  <a:lnTo>
                    <a:pt x="2" y="40"/>
                  </a:lnTo>
                  <a:lnTo>
                    <a:pt x="2" y="40"/>
                  </a:lnTo>
                  <a:lnTo>
                    <a:pt x="2" y="40"/>
                  </a:lnTo>
                  <a:lnTo>
                    <a:pt x="2" y="40"/>
                  </a:lnTo>
                  <a:lnTo>
                    <a:pt x="2" y="43"/>
                  </a:lnTo>
                  <a:lnTo>
                    <a:pt x="2" y="43"/>
                  </a:lnTo>
                  <a:lnTo>
                    <a:pt x="2" y="43"/>
                  </a:lnTo>
                  <a:lnTo>
                    <a:pt x="2" y="43"/>
                  </a:lnTo>
                  <a:lnTo>
                    <a:pt x="5" y="43"/>
                  </a:lnTo>
                  <a:lnTo>
                    <a:pt x="7" y="43"/>
                  </a:lnTo>
                  <a:lnTo>
                    <a:pt x="7" y="45"/>
                  </a:lnTo>
                  <a:lnTo>
                    <a:pt x="7" y="45"/>
                  </a:lnTo>
                  <a:lnTo>
                    <a:pt x="10" y="45"/>
                  </a:lnTo>
                  <a:lnTo>
                    <a:pt x="12" y="48"/>
                  </a:lnTo>
                  <a:lnTo>
                    <a:pt x="12" y="48"/>
                  </a:lnTo>
                  <a:lnTo>
                    <a:pt x="15" y="45"/>
                  </a:lnTo>
                  <a:lnTo>
                    <a:pt x="17" y="45"/>
                  </a:lnTo>
                  <a:lnTo>
                    <a:pt x="17" y="45"/>
                  </a:lnTo>
                  <a:lnTo>
                    <a:pt x="17" y="48"/>
                  </a:lnTo>
                  <a:lnTo>
                    <a:pt x="17" y="48"/>
                  </a:lnTo>
                  <a:lnTo>
                    <a:pt x="20" y="48"/>
                  </a:lnTo>
                  <a:lnTo>
                    <a:pt x="23" y="48"/>
                  </a:lnTo>
                  <a:lnTo>
                    <a:pt x="23" y="48"/>
                  </a:lnTo>
                  <a:lnTo>
                    <a:pt x="25" y="48"/>
                  </a:lnTo>
                  <a:lnTo>
                    <a:pt x="25" y="50"/>
                  </a:lnTo>
                  <a:lnTo>
                    <a:pt x="28" y="48"/>
                  </a:lnTo>
                  <a:lnTo>
                    <a:pt x="28" y="48"/>
                  </a:lnTo>
                  <a:lnTo>
                    <a:pt x="28" y="48"/>
                  </a:lnTo>
                  <a:lnTo>
                    <a:pt x="30" y="45"/>
                  </a:lnTo>
                  <a:lnTo>
                    <a:pt x="30" y="45"/>
                  </a:lnTo>
                  <a:lnTo>
                    <a:pt x="35" y="45"/>
                  </a:lnTo>
                  <a:lnTo>
                    <a:pt x="35" y="45"/>
                  </a:lnTo>
                  <a:lnTo>
                    <a:pt x="38" y="45"/>
                  </a:lnTo>
                  <a:lnTo>
                    <a:pt x="40" y="45"/>
                  </a:lnTo>
                  <a:lnTo>
                    <a:pt x="40" y="45"/>
                  </a:lnTo>
                  <a:lnTo>
                    <a:pt x="43" y="43"/>
                  </a:lnTo>
                  <a:lnTo>
                    <a:pt x="48" y="43"/>
                  </a:lnTo>
                  <a:lnTo>
                    <a:pt x="48" y="43"/>
                  </a:lnTo>
                  <a:lnTo>
                    <a:pt x="48" y="43"/>
                  </a:lnTo>
                  <a:lnTo>
                    <a:pt x="48" y="43"/>
                  </a:lnTo>
                  <a:lnTo>
                    <a:pt x="48" y="45"/>
                  </a:lnTo>
                  <a:lnTo>
                    <a:pt x="48" y="45"/>
                  </a:lnTo>
                  <a:lnTo>
                    <a:pt x="51" y="48"/>
                  </a:lnTo>
                  <a:lnTo>
                    <a:pt x="51" y="50"/>
                  </a:lnTo>
                  <a:lnTo>
                    <a:pt x="51" y="50"/>
                  </a:lnTo>
                  <a:lnTo>
                    <a:pt x="53" y="50"/>
                  </a:lnTo>
                  <a:lnTo>
                    <a:pt x="56" y="53"/>
                  </a:lnTo>
                  <a:lnTo>
                    <a:pt x="58" y="53"/>
                  </a:lnTo>
                  <a:lnTo>
                    <a:pt x="58" y="53"/>
                  </a:lnTo>
                  <a:lnTo>
                    <a:pt x="66" y="53"/>
                  </a:lnTo>
                  <a:lnTo>
                    <a:pt x="68" y="53"/>
                  </a:lnTo>
                  <a:lnTo>
                    <a:pt x="71" y="53"/>
                  </a:lnTo>
                  <a:lnTo>
                    <a:pt x="76" y="56"/>
                  </a:lnTo>
                  <a:lnTo>
                    <a:pt x="76" y="56"/>
                  </a:lnTo>
                  <a:lnTo>
                    <a:pt x="79" y="56"/>
                  </a:lnTo>
                  <a:lnTo>
                    <a:pt x="79" y="56"/>
                  </a:lnTo>
                  <a:lnTo>
                    <a:pt x="81" y="56"/>
                  </a:lnTo>
                  <a:lnTo>
                    <a:pt x="81" y="56"/>
                  </a:lnTo>
                  <a:lnTo>
                    <a:pt x="86" y="56"/>
                  </a:lnTo>
                  <a:lnTo>
                    <a:pt x="89" y="56"/>
                  </a:lnTo>
                  <a:lnTo>
                    <a:pt x="89" y="58"/>
                  </a:lnTo>
                  <a:lnTo>
                    <a:pt x="89" y="58"/>
                  </a:lnTo>
                  <a:lnTo>
                    <a:pt x="91" y="58"/>
                  </a:lnTo>
                  <a:lnTo>
                    <a:pt x="91" y="58"/>
                  </a:lnTo>
                  <a:lnTo>
                    <a:pt x="91" y="56"/>
                  </a:lnTo>
                  <a:lnTo>
                    <a:pt x="94" y="56"/>
                  </a:lnTo>
                  <a:lnTo>
                    <a:pt x="94" y="56"/>
                  </a:lnTo>
                  <a:lnTo>
                    <a:pt x="94" y="53"/>
                  </a:lnTo>
                  <a:lnTo>
                    <a:pt x="96" y="53"/>
                  </a:lnTo>
                  <a:lnTo>
                    <a:pt x="96" y="53"/>
                  </a:lnTo>
                  <a:lnTo>
                    <a:pt x="96" y="53"/>
                  </a:lnTo>
                  <a:lnTo>
                    <a:pt x="99" y="53"/>
                  </a:lnTo>
                  <a:lnTo>
                    <a:pt x="102" y="53"/>
                  </a:lnTo>
                  <a:lnTo>
                    <a:pt x="107" y="53"/>
                  </a:lnTo>
                  <a:lnTo>
                    <a:pt x="109" y="53"/>
                  </a:lnTo>
                  <a:lnTo>
                    <a:pt x="109" y="50"/>
                  </a:lnTo>
                  <a:lnTo>
                    <a:pt x="112" y="50"/>
                  </a:lnTo>
                  <a:lnTo>
                    <a:pt x="112" y="50"/>
                  </a:lnTo>
                  <a:lnTo>
                    <a:pt x="114" y="50"/>
                  </a:lnTo>
                  <a:lnTo>
                    <a:pt x="117" y="50"/>
                  </a:lnTo>
                  <a:lnTo>
                    <a:pt x="117" y="50"/>
                  </a:lnTo>
                  <a:lnTo>
                    <a:pt x="117" y="48"/>
                  </a:lnTo>
                  <a:lnTo>
                    <a:pt x="117" y="48"/>
                  </a:lnTo>
                  <a:lnTo>
                    <a:pt x="117" y="48"/>
                  </a:lnTo>
                  <a:lnTo>
                    <a:pt x="119" y="45"/>
                  </a:lnTo>
                  <a:lnTo>
                    <a:pt x="122" y="43"/>
                  </a:lnTo>
                  <a:lnTo>
                    <a:pt x="124" y="45"/>
                  </a:lnTo>
                  <a:lnTo>
                    <a:pt x="124" y="43"/>
                  </a:lnTo>
                  <a:lnTo>
                    <a:pt x="124" y="43"/>
                  </a:lnTo>
                  <a:lnTo>
                    <a:pt x="124" y="43"/>
                  </a:lnTo>
                  <a:lnTo>
                    <a:pt x="124" y="43"/>
                  </a:lnTo>
                  <a:lnTo>
                    <a:pt x="124" y="40"/>
                  </a:lnTo>
                  <a:lnTo>
                    <a:pt x="124" y="40"/>
                  </a:lnTo>
                  <a:lnTo>
                    <a:pt x="124" y="40"/>
                  </a:lnTo>
                  <a:lnTo>
                    <a:pt x="122" y="40"/>
                  </a:lnTo>
                  <a:lnTo>
                    <a:pt x="124" y="38"/>
                  </a:lnTo>
                  <a:lnTo>
                    <a:pt x="124" y="38"/>
                  </a:lnTo>
                  <a:lnTo>
                    <a:pt x="124" y="35"/>
                  </a:lnTo>
                  <a:lnTo>
                    <a:pt x="124" y="35"/>
                  </a:lnTo>
                  <a:lnTo>
                    <a:pt x="124" y="35"/>
                  </a:lnTo>
                  <a:lnTo>
                    <a:pt x="127" y="35"/>
                  </a:lnTo>
                  <a:lnTo>
                    <a:pt x="127" y="35"/>
                  </a:lnTo>
                  <a:lnTo>
                    <a:pt x="127" y="33"/>
                  </a:lnTo>
                  <a:lnTo>
                    <a:pt x="127" y="33"/>
                  </a:lnTo>
                  <a:lnTo>
                    <a:pt x="127" y="30"/>
                  </a:lnTo>
                  <a:lnTo>
                    <a:pt x="124" y="30"/>
                  </a:lnTo>
                  <a:lnTo>
                    <a:pt x="122" y="30"/>
                  </a:lnTo>
                  <a:lnTo>
                    <a:pt x="124" y="28"/>
                  </a:lnTo>
                  <a:lnTo>
                    <a:pt x="124" y="28"/>
                  </a:lnTo>
                  <a:lnTo>
                    <a:pt x="124" y="28"/>
                  </a:lnTo>
                  <a:lnTo>
                    <a:pt x="127" y="28"/>
                  </a:lnTo>
                  <a:lnTo>
                    <a:pt x="127" y="28"/>
                  </a:lnTo>
                  <a:lnTo>
                    <a:pt x="130" y="28"/>
                  </a:lnTo>
                  <a:lnTo>
                    <a:pt x="130" y="30"/>
                  </a:lnTo>
                  <a:lnTo>
                    <a:pt x="130" y="28"/>
                  </a:lnTo>
                  <a:lnTo>
                    <a:pt x="130" y="28"/>
                  </a:lnTo>
                  <a:lnTo>
                    <a:pt x="132" y="28"/>
                  </a:lnTo>
                  <a:lnTo>
                    <a:pt x="135" y="28"/>
                  </a:lnTo>
                  <a:lnTo>
                    <a:pt x="135" y="28"/>
                  </a:lnTo>
                  <a:lnTo>
                    <a:pt x="135" y="25"/>
                  </a:lnTo>
                  <a:lnTo>
                    <a:pt x="135" y="25"/>
                  </a:lnTo>
                  <a:lnTo>
                    <a:pt x="135" y="25"/>
                  </a:lnTo>
                  <a:lnTo>
                    <a:pt x="135" y="25"/>
                  </a:lnTo>
                  <a:lnTo>
                    <a:pt x="135" y="22"/>
                  </a:lnTo>
                  <a:lnTo>
                    <a:pt x="135" y="22"/>
                  </a:lnTo>
                  <a:lnTo>
                    <a:pt x="135" y="2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375" name="Freeform 1995">
              <a:extLst>
                <a:ext uri="{FF2B5EF4-FFF2-40B4-BE49-F238E27FC236}">
                  <a16:creationId xmlns:a16="http://schemas.microsoft.com/office/drawing/2014/main" id="{9EEE8A00-FA0A-BA46-93B2-7620B8970069}"/>
                </a:ext>
              </a:extLst>
            </p:cNvPr>
            <p:cNvSpPr>
              <a:spLocks/>
            </p:cNvSpPr>
            <p:nvPr/>
          </p:nvSpPr>
          <p:spPr bwMode="auto">
            <a:xfrm>
              <a:off x="10018545" y="5407423"/>
              <a:ext cx="8179" cy="4908"/>
            </a:xfrm>
            <a:custGeom>
              <a:avLst/>
              <a:gdLst>
                <a:gd name="T0" fmla="*/ 3 w 5"/>
                <a:gd name="T1" fmla="*/ 0 h 3"/>
                <a:gd name="T2" fmla="*/ 3 w 5"/>
                <a:gd name="T3" fmla="*/ 0 h 3"/>
                <a:gd name="T4" fmla="*/ 3 w 5"/>
                <a:gd name="T5" fmla="*/ 0 h 3"/>
                <a:gd name="T6" fmla="*/ 3 w 5"/>
                <a:gd name="T7" fmla="*/ 3 h 3"/>
                <a:gd name="T8" fmla="*/ 0 w 5"/>
                <a:gd name="T9" fmla="*/ 3 h 3"/>
                <a:gd name="T10" fmla="*/ 0 w 5"/>
                <a:gd name="T11" fmla="*/ 3 h 3"/>
                <a:gd name="T12" fmla="*/ 0 w 5"/>
                <a:gd name="T13" fmla="*/ 3 h 3"/>
                <a:gd name="T14" fmla="*/ 0 w 5"/>
                <a:gd name="T15" fmla="*/ 3 h 3"/>
                <a:gd name="T16" fmla="*/ 3 w 5"/>
                <a:gd name="T17" fmla="*/ 3 h 3"/>
                <a:gd name="T18" fmla="*/ 3 w 5"/>
                <a:gd name="T19" fmla="*/ 3 h 3"/>
                <a:gd name="T20" fmla="*/ 5 w 5"/>
                <a:gd name="T21" fmla="*/ 3 h 3"/>
                <a:gd name="T22" fmla="*/ 5 w 5"/>
                <a:gd name="T23" fmla="*/ 0 h 3"/>
                <a:gd name="T24" fmla="*/ 5 w 5"/>
                <a:gd name="T25" fmla="*/ 0 h 3"/>
                <a:gd name="T26" fmla="*/ 5 w 5"/>
                <a:gd name="T27" fmla="*/ 0 h 3"/>
                <a:gd name="T28" fmla="*/ 3 w 5"/>
                <a:gd name="T2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 h="3">
                  <a:moveTo>
                    <a:pt x="3" y="0"/>
                  </a:moveTo>
                  <a:lnTo>
                    <a:pt x="3" y="0"/>
                  </a:lnTo>
                  <a:lnTo>
                    <a:pt x="3" y="0"/>
                  </a:lnTo>
                  <a:lnTo>
                    <a:pt x="3" y="3"/>
                  </a:lnTo>
                  <a:lnTo>
                    <a:pt x="0" y="3"/>
                  </a:lnTo>
                  <a:lnTo>
                    <a:pt x="0" y="3"/>
                  </a:lnTo>
                  <a:lnTo>
                    <a:pt x="0" y="3"/>
                  </a:lnTo>
                  <a:lnTo>
                    <a:pt x="0" y="3"/>
                  </a:lnTo>
                  <a:lnTo>
                    <a:pt x="3" y="3"/>
                  </a:lnTo>
                  <a:lnTo>
                    <a:pt x="3" y="3"/>
                  </a:lnTo>
                  <a:lnTo>
                    <a:pt x="5" y="3"/>
                  </a:lnTo>
                  <a:lnTo>
                    <a:pt x="5" y="0"/>
                  </a:lnTo>
                  <a:lnTo>
                    <a:pt x="5" y="0"/>
                  </a:lnTo>
                  <a:lnTo>
                    <a:pt x="5" y="0"/>
                  </a:lnTo>
                  <a:lnTo>
                    <a:pt x="3"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376" name="Freeform 1996">
              <a:extLst>
                <a:ext uri="{FF2B5EF4-FFF2-40B4-BE49-F238E27FC236}">
                  <a16:creationId xmlns:a16="http://schemas.microsoft.com/office/drawing/2014/main" id="{FDC585D2-1C3F-BA49-8195-3C3BE7F10AE0}"/>
                </a:ext>
              </a:extLst>
            </p:cNvPr>
            <p:cNvSpPr>
              <a:spLocks/>
            </p:cNvSpPr>
            <p:nvPr/>
          </p:nvSpPr>
          <p:spPr bwMode="auto">
            <a:xfrm>
              <a:off x="10031631" y="5399244"/>
              <a:ext cx="3271" cy="4908"/>
            </a:xfrm>
            <a:custGeom>
              <a:avLst/>
              <a:gdLst>
                <a:gd name="T0" fmla="*/ 0 w 2"/>
                <a:gd name="T1" fmla="*/ 0 h 3"/>
                <a:gd name="T2" fmla="*/ 0 w 2"/>
                <a:gd name="T3" fmla="*/ 0 h 3"/>
                <a:gd name="T4" fmla="*/ 0 w 2"/>
                <a:gd name="T5" fmla="*/ 3 h 3"/>
                <a:gd name="T6" fmla="*/ 0 w 2"/>
                <a:gd name="T7" fmla="*/ 3 h 3"/>
                <a:gd name="T8" fmla="*/ 0 w 2"/>
                <a:gd name="T9" fmla="*/ 3 h 3"/>
                <a:gd name="T10" fmla="*/ 0 w 2"/>
                <a:gd name="T11" fmla="*/ 3 h 3"/>
                <a:gd name="T12" fmla="*/ 0 w 2"/>
                <a:gd name="T13" fmla="*/ 3 h 3"/>
                <a:gd name="T14" fmla="*/ 2 w 2"/>
                <a:gd name="T15" fmla="*/ 0 h 3"/>
                <a:gd name="T16" fmla="*/ 2 w 2"/>
                <a:gd name="T17" fmla="*/ 0 h 3"/>
                <a:gd name="T18" fmla="*/ 0 w 2"/>
                <a:gd name="T19"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 h="3">
                  <a:moveTo>
                    <a:pt x="0" y="0"/>
                  </a:moveTo>
                  <a:lnTo>
                    <a:pt x="0" y="0"/>
                  </a:lnTo>
                  <a:lnTo>
                    <a:pt x="0" y="3"/>
                  </a:lnTo>
                  <a:lnTo>
                    <a:pt x="0" y="3"/>
                  </a:lnTo>
                  <a:lnTo>
                    <a:pt x="0" y="3"/>
                  </a:lnTo>
                  <a:lnTo>
                    <a:pt x="0" y="3"/>
                  </a:lnTo>
                  <a:lnTo>
                    <a:pt x="0" y="3"/>
                  </a:lnTo>
                  <a:lnTo>
                    <a:pt x="2" y="0"/>
                  </a:lnTo>
                  <a:lnTo>
                    <a:pt x="2" y="0"/>
                  </a:lnTo>
                  <a:lnTo>
                    <a:pt x="0"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377" name="Freeform 1997">
              <a:extLst>
                <a:ext uri="{FF2B5EF4-FFF2-40B4-BE49-F238E27FC236}">
                  <a16:creationId xmlns:a16="http://schemas.microsoft.com/office/drawing/2014/main" id="{2471F33A-62A0-6449-A82C-030D9DD50C0E}"/>
                </a:ext>
              </a:extLst>
            </p:cNvPr>
            <p:cNvSpPr>
              <a:spLocks/>
            </p:cNvSpPr>
            <p:nvPr/>
          </p:nvSpPr>
          <p:spPr bwMode="auto">
            <a:xfrm>
              <a:off x="10064346" y="5382886"/>
              <a:ext cx="4908" cy="3271"/>
            </a:xfrm>
            <a:custGeom>
              <a:avLst/>
              <a:gdLst>
                <a:gd name="T0" fmla="*/ 0 w 3"/>
                <a:gd name="T1" fmla="*/ 0 h 2"/>
                <a:gd name="T2" fmla="*/ 0 w 3"/>
                <a:gd name="T3" fmla="*/ 0 h 2"/>
                <a:gd name="T4" fmla="*/ 0 w 3"/>
                <a:gd name="T5" fmla="*/ 2 h 2"/>
                <a:gd name="T6" fmla="*/ 0 w 3"/>
                <a:gd name="T7" fmla="*/ 2 h 2"/>
                <a:gd name="T8" fmla="*/ 0 w 3"/>
                <a:gd name="T9" fmla="*/ 2 h 2"/>
                <a:gd name="T10" fmla="*/ 0 w 3"/>
                <a:gd name="T11" fmla="*/ 0 h 2"/>
                <a:gd name="T12" fmla="*/ 3 w 3"/>
                <a:gd name="T13" fmla="*/ 0 h 2"/>
                <a:gd name="T14" fmla="*/ 3 w 3"/>
                <a:gd name="T15" fmla="*/ 0 h 2"/>
                <a:gd name="T16" fmla="*/ 3 w 3"/>
                <a:gd name="T17" fmla="*/ 0 h 2"/>
                <a:gd name="T18" fmla="*/ 0 w 3"/>
                <a:gd name="T1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2">
                  <a:moveTo>
                    <a:pt x="0" y="0"/>
                  </a:moveTo>
                  <a:lnTo>
                    <a:pt x="0" y="0"/>
                  </a:lnTo>
                  <a:lnTo>
                    <a:pt x="0" y="2"/>
                  </a:lnTo>
                  <a:lnTo>
                    <a:pt x="0" y="2"/>
                  </a:lnTo>
                  <a:lnTo>
                    <a:pt x="0" y="2"/>
                  </a:lnTo>
                  <a:lnTo>
                    <a:pt x="0" y="0"/>
                  </a:lnTo>
                  <a:lnTo>
                    <a:pt x="3" y="0"/>
                  </a:lnTo>
                  <a:lnTo>
                    <a:pt x="3" y="0"/>
                  </a:lnTo>
                  <a:lnTo>
                    <a:pt x="3" y="0"/>
                  </a:lnTo>
                  <a:lnTo>
                    <a:pt x="0"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378" name="Freeform 1999">
              <a:extLst>
                <a:ext uri="{FF2B5EF4-FFF2-40B4-BE49-F238E27FC236}">
                  <a16:creationId xmlns:a16="http://schemas.microsoft.com/office/drawing/2014/main" id="{7AD644BE-2B5E-4D4E-990D-B6113C73E59F}"/>
                </a:ext>
              </a:extLst>
            </p:cNvPr>
            <p:cNvSpPr>
              <a:spLocks/>
            </p:cNvSpPr>
            <p:nvPr/>
          </p:nvSpPr>
          <p:spPr bwMode="auto">
            <a:xfrm>
              <a:off x="10115054" y="5304371"/>
              <a:ext cx="3271" cy="3271"/>
            </a:xfrm>
            <a:custGeom>
              <a:avLst/>
              <a:gdLst>
                <a:gd name="T0" fmla="*/ 2 w 2"/>
                <a:gd name="T1" fmla="*/ 0 h 2"/>
                <a:gd name="T2" fmla="*/ 0 w 2"/>
                <a:gd name="T3" fmla="*/ 2 h 2"/>
                <a:gd name="T4" fmla="*/ 0 w 2"/>
                <a:gd name="T5" fmla="*/ 2 h 2"/>
                <a:gd name="T6" fmla="*/ 0 w 2"/>
                <a:gd name="T7" fmla="*/ 2 h 2"/>
                <a:gd name="T8" fmla="*/ 2 w 2"/>
                <a:gd name="T9" fmla="*/ 2 h 2"/>
                <a:gd name="T10" fmla="*/ 2 w 2"/>
                <a:gd name="T11" fmla="*/ 0 h 2"/>
                <a:gd name="T12" fmla="*/ 2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2" y="0"/>
                  </a:moveTo>
                  <a:lnTo>
                    <a:pt x="0" y="2"/>
                  </a:lnTo>
                  <a:lnTo>
                    <a:pt x="0" y="2"/>
                  </a:lnTo>
                  <a:lnTo>
                    <a:pt x="0" y="2"/>
                  </a:lnTo>
                  <a:lnTo>
                    <a:pt x="2" y="2"/>
                  </a:lnTo>
                  <a:lnTo>
                    <a:pt x="2" y="0"/>
                  </a:lnTo>
                  <a:lnTo>
                    <a:pt x="2"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379" name="Freeform 2000">
              <a:extLst>
                <a:ext uri="{FF2B5EF4-FFF2-40B4-BE49-F238E27FC236}">
                  <a16:creationId xmlns:a16="http://schemas.microsoft.com/office/drawing/2014/main" id="{D0C1B9D6-41C4-DD4E-8EDE-9F08D7CEEA1E}"/>
                </a:ext>
              </a:extLst>
            </p:cNvPr>
            <p:cNvSpPr>
              <a:spLocks/>
            </p:cNvSpPr>
            <p:nvPr/>
          </p:nvSpPr>
          <p:spPr bwMode="auto">
            <a:xfrm>
              <a:off x="10010367" y="5304371"/>
              <a:ext cx="4908" cy="3271"/>
            </a:xfrm>
            <a:custGeom>
              <a:avLst/>
              <a:gdLst>
                <a:gd name="T0" fmla="*/ 3 w 3"/>
                <a:gd name="T1" fmla="*/ 0 h 2"/>
                <a:gd name="T2" fmla="*/ 3 w 3"/>
                <a:gd name="T3" fmla="*/ 0 h 2"/>
                <a:gd name="T4" fmla="*/ 0 w 3"/>
                <a:gd name="T5" fmla="*/ 0 h 2"/>
                <a:gd name="T6" fmla="*/ 0 w 3"/>
                <a:gd name="T7" fmla="*/ 2 h 2"/>
                <a:gd name="T8" fmla="*/ 3 w 3"/>
                <a:gd name="T9" fmla="*/ 0 h 2"/>
                <a:gd name="T10" fmla="*/ 3 w 3"/>
                <a:gd name="T11" fmla="*/ 0 h 2"/>
                <a:gd name="T12" fmla="*/ 3 w 3"/>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3" h="2">
                  <a:moveTo>
                    <a:pt x="3" y="0"/>
                  </a:moveTo>
                  <a:lnTo>
                    <a:pt x="3" y="0"/>
                  </a:lnTo>
                  <a:lnTo>
                    <a:pt x="0" y="0"/>
                  </a:lnTo>
                  <a:lnTo>
                    <a:pt x="0" y="2"/>
                  </a:lnTo>
                  <a:lnTo>
                    <a:pt x="3" y="0"/>
                  </a:lnTo>
                  <a:lnTo>
                    <a:pt x="3" y="0"/>
                  </a:lnTo>
                  <a:lnTo>
                    <a:pt x="3"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380" name="Freeform 2001">
              <a:extLst>
                <a:ext uri="{FF2B5EF4-FFF2-40B4-BE49-F238E27FC236}">
                  <a16:creationId xmlns:a16="http://schemas.microsoft.com/office/drawing/2014/main" id="{E2CBCEC8-C07C-994C-BD4C-4FBD03245E34}"/>
                </a:ext>
              </a:extLst>
            </p:cNvPr>
            <p:cNvSpPr>
              <a:spLocks/>
            </p:cNvSpPr>
            <p:nvPr/>
          </p:nvSpPr>
          <p:spPr bwMode="auto">
            <a:xfrm>
              <a:off x="10115054" y="5299464"/>
              <a:ext cx="13086" cy="4908"/>
            </a:xfrm>
            <a:custGeom>
              <a:avLst/>
              <a:gdLst>
                <a:gd name="T0" fmla="*/ 8 w 8"/>
                <a:gd name="T1" fmla="*/ 0 h 3"/>
                <a:gd name="T2" fmla="*/ 2 w 8"/>
                <a:gd name="T3" fmla="*/ 0 h 3"/>
                <a:gd name="T4" fmla="*/ 0 w 8"/>
                <a:gd name="T5" fmla="*/ 0 h 3"/>
                <a:gd name="T6" fmla="*/ 0 w 8"/>
                <a:gd name="T7" fmla="*/ 0 h 3"/>
                <a:gd name="T8" fmla="*/ 0 w 8"/>
                <a:gd name="T9" fmla="*/ 3 h 3"/>
                <a:gd name="T10" fmla="*/ 0 w 8"/>
                <a:gd name="T11" fmla="*/ 3 h 3"/>
                <a:gd name="T12" fmla="*/ 2 w 8"/>
                <a:gd name="T13" fmla="*/ 3 h 3"/>
                <a:gd name="T14" fmla="*/ 5 w 8"/>
                <a:gd name="T15" fmla="*/ 3 h 3"/>
                <a:gd name="T16" fmla="*/ 5 w 8"/>
                <a:gd name="T17" fmla="*/ 3 h 3"/>
                <a:gd name="T18" fmla="*/ 5 w 8"/>
                <a:gd name="T19" fmla="*/ 3 h 3"/>
                <a:gd name="T20" fmla="*/ 8 w 8"/>
                <a:gd name="T21" fmla="*/ 3 h 3"/>
                <a:gd name="T22" fmla="*/ 8 w 8"/>
                <a:gd name="T23" fmla="*/ 0 h 3"/>
                <a:gd name="T24" fmla="*/ 8 w 8"/>
                <a:gd name="T25"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3">
                  <a:moveTo>
                    <a:pt x="8" y="0"/>
                  </a:moveTo>
                  <a:lnTo>
                    <a:pt x="2" y="0"/>
                  </a:lnTo>
                  <a:lnTo>
                    <a:pt x="0" y="0"/>
                  </a:lnTo>
                  <a:lnTo>
                    <a:pt x="0" y="0"/>
                  </a:lnTo>
                  <a:lnTo>
                    <a:pt x="0" y="3"/>
                  </a:lnTo>
                  <a:lnTo>
                    <a:pt x="0" y="3"/>
                  </a:lnTo>
                  <a:lnTo>
                    <a:pt x="2" y="3"/>
                  </a:lnTo>
                  <a:lnTo>
                    <a:pt x="5" y="3"/>
                  </a:lnTo>
                  <a:lnTo>
                    <a:pt x="5" y="3"/>
                  </a:lnTo>
                  <a:lnTo>
                    <a:pt x="5" y="3"/>
                  </a:lnTo>
                  <a:lnTo>
                    <a:pt x="8" y="3"/>
                  </a:lnTo>
                  <a:lnTo>
                    <a:pt x="8" y="0"/>
                  </a:lnTo>
                  <a:lnTo>
                    <a:pt x="8"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381" name="Freeform 2002">
              <a:extLst>
                <a:ext uri="{FF2B5EF4-FFF2-40B4-BE49-F238E27FC236}">
                  <a16:creationId xmlns:a16="http://schemas.microsoft.com/office/drawing/2014/main" id="{3E5AFED3-1F49-8D45-B546-C1A29BFEC441}"/>
                </a:ext>
              </a:extLst>
            </p:cNvPr>
            <p:cNvSpPr>
              <a:spLocks/>
            </p:cNvSpPr>
            <p:nvPr/>
          </p:nvSpPr>
          <p:spPr bwMode="auto">
            <a:xfrm>
              <a:off x="10118326" y="5278199"/>
              <a:ext cx="13086" cy="16357"/>
            </a:xfrm>
            <a:custGeom>
              <a:avLst/>
              <a:gdLst>
                <a:gd name="T0" fmla="*/ 6 w 8"/>
                <a:gd name="T1" fmla="*/ 5 h 10"/>
                <a:gd name="T2" fmla="*/ 6 w 8"/>
                <a:gd name="T3" fmla="*/ 3 h 10"/>
                <a:gd name="T4" fmla="*/ 6 w 8"/>
                <a:gd name="T5" fmla="*/ 0 h 10"/>
                <a:gd name="T6" fmla="*/ 0 w 8"/>
                <a:gd name="T7" fmla="*/ 3 h 10"/>
                <a:gd name="T8" fmla="*/ 0 w 8"/>
                <a:gd name="T9" fmla="*/ 5 h 10"/>
                <a:gd name="T10" fmla="*/ 0 w 8"/>
                <a:gd name="T11" fmla="*/ 5 h 10"/>
                <a:gd name="T12" fmla="*/ 0 w 8"/>
                <a:gd name="T13" fmla="*/ 5 h 10"/>
                <a:gd name="T14" fmla="*/ 0 w 8"/>
                <a:gd name="T15" fmla="*/ 5 h 10"/>
                <a:gd name="T16" fmla="*/ 0 w 8"/>
                <a:gd name="T17" fmla="*/ 5 h 10"/>
                <a:gd name="T18" fmla="*/ 0 w 8"/>
                <a:gd name="T19" fmla="*/ 10 h 10"/>
                <a:gd name="T20" fmla="*/ 0 w 8"/>
                <a:gd name="T21" fmla="*/ 10 h 10"/>
                <a:gd name="T22" fmla="*/ 0 w 8"/>
                <a:gd name="T23" fmla="*/ 10 h 10"/>
                <a:gd name="T24" fmla="*/ 0 w 8"/>
                <a:gd name="T25" fmla="*/ 10 h 10"/>
                <a:gd name="T26" fmla="*/ 3 w 8"/>
                <a:gd name="T27" fmla="*/ 10 h 10"/>
                <a:gd name="T28" fmla="*/ 6 w 8"/>
                <a:gd name="T29" fmla="*/ 10 h 10"/>
                <a:gd name="T30" fmla="*/ 6 w 8"/>
                <a:gd name="T31" fmla="*/ 10 h 10"/>
                <a:gd name="T32" fmla="*/ 6 w 8"/>
                <a:gd name="T33" fmla="*/ 8 h 10"/>
                <a:gd name="T34" fmla="*/ 6 w 8"/>
                <a:gd name="T35" fmla="*/ 8 h 10"/>
                <a:gd name="T36" fmla="*/ 8 w 8"/>
                <a:gd name="T37" fmla="*/ 8 h 10"/>
                <a:gd name="T38" fmla="*/ 8 w 8"/>
                <a:gd name="T39" fmla="*/ 8 h 10"/>
                <a:gd name="T40" fmla="*/ 8 w 8"/>
                <a:gd name="T41" fmla="*/ 5 h 10"/>
                <a:gd name="T42" fmla="*/ 6 w 8"/>
                <a:gd name="T43"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 h="10">
                  <a:moveTo>
                    <a:pt x="6" y="5"/>
                  </a:moveTo>
                  <a:lnTo>
                    <a:pt x="6" y="3"/>
                  </a:lnTo>
                  <a:lnTo>
                    <a:pt x="6" y="0"/>
                  </a:lnTo>
                  <a:lnTo>
                    <a:pt x="0" y="3"/>
                  </a:lnTo>
                  <a:lnTo>
                    <a:pt x="0" y="5"/>
                  </a:lnTo>
                  <a:lnTo>
                    <a:pt x="0" y="5"/>
                  </a:lnTo>
                  <a:lnTo>
                    <a:pt x="0" y="5"/>
                  </a:lnTo>
                  <a:lnTo>
                    <a:pt x="0" y="5"/>
                  </a:lnTo>
                  <a:lnTo>
                    <a:pt x="0" y="5"/>
                  </a:lnTo>
                  <a:lnTo>
                    <a:pt x="0" y="10"/>
                  </a:lnTo>
                  <a:lnTo>
                    <a:pt x="0" y="10"/>
                  </a:lnTo>
                  <a:lnTo>
                    <a:pt x="0" y="10"/>
                  </a:lnTo>
                  <a:lnTo>
                    <a:pt x="0" y="10"/>
                  </a:lnTo>
                  <a:lnTo>
                    <a:pt x="3" y="10"/>
                  </a:lnTo>
                  <a:lnTo>
                    <a:pt x="6" y="10"/>
                  </a:lnTo>
                  <a:lnTo>
                    <a:pt x="6" y="10"/>
                  </a:lnTo>
                  <a:lnTo>
                    <a:pt x="6" y="8"/>
                  </a:lnTo>
                  <a:lnTo>
                    <a:pt x="6" y="8"/>
                  </a:lnTo>
                  <a:lnTo>
                    <a:pt x="8" y="8"/>
                  </a:lnTo>
                  <a:lnTo>
                    <a:pt x="8" y="8"/>
                  </a:lnTo>
                  <a:lnTo>
                    <a:pt x="8" y="5"/>
                  </a:lnTo>
                  <a:lnTo>
                    <a:pt x="6" y="5"/>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382" name="Freeform 2003">
              <a:extLst>
                <a:ext uri="{FF2B5EF4-FFF2-40B4-BE49-F238E27FC236}">
                  <a16:creationId xmlns:a16="http://schemas.microsoft.com/office/drawing/2014/main" id="{D122FC5D-1BD5-264B-B76F-8A191CD2FD39}"/>
                </a:ext>
              </a:extLst>
            </p:cNvPr>
            <p:cNvSpPr>
              <a:spLocks/>
            </p:cNvSpPr>
            <p:nvPr/>
          </p:nvSpPr>
          <p:spPr bwMode="auto">
            <a:xfrm>
              <a:off x="9994010" y="5274928"/>
              <a:ext cx="16357" cy="16357"/>
            </a:xfrm>
            <a:custGeom>
              <a:avLst/>
              <a:gdLst>
                <a:gd name="T0" fmla="*/ 5 w 10"/>
                <a:gd name="T1" fmla="*/ 10 h 10"/>
                <a:gd name="T2" fmla="*/ 5 w 10"/>
                <a:gd name="T3" fmla="*/ 7 h 10"/>
                <a:gd name="T4" fmla="*/ 8 w 10"/>
                <a:gd name="T5" fmla="*/ 7 h 10"/>
                <a:gd name="T6" fmla="*/ 8 w 10"/>
                <a:gd name="T7" fmla="*/ 7 h 10"/>
                <a:gd name="T8" fmla="*/ 10 w 10"/>
                <a:gd name="T9" fmla="*/ 5 h 10"/>
                <a:gd name="T10" fmla="*/ 10 w 10"/>
                <a:gd name="T11" fmla="*/ 2 h 10"/>
                <a:gd name="T12" fmla="*/ 10 w 10"/>
                <a:gd name="T13" fmla="*/ 0 h 10"/>
                <a:gd name="T14" fmla="*/ 8 w 10"/>
                <a:gd name="T15" fmla="*/ 0 h 10"/>
                <a:gd name="T16" fmla="*/ 8 w 10"/>
                <a:gd name="T17" fmla="*/ 2 h 10"/>
                <a:gd name="T18" fmla="*/ 5 w 10"/>
                <a:gd name="T19" fmla="*/ 2 h 10"/>
                <a:gd name="T20" fmla="*/ 5 w 10"/>
                <a:gd name="T21" fmla="*/ 2 h 10"/>
                <a:gd name="T22" fmla="*/ 5 w 10"/>
                <a:gd name="T23" fmla="*/ 5 h 10"/>
                <a:gd name="T24" fmla="*/ 3 w 10"/>
                <a:gd name="T25" fmla="*/ 7 h 10"/>
                <a:gd name="T26" fmla="*/ 3 w 10"/>
                <a:gd name="T27" fmla="*/ 10 h 10"/>
                <a:gd name="T28" fmla="*/ 0 w 10"/>
                <a:gd name="T29" fmla="*/ 10 h 10"/>
                <a:gd name="T30" fmla="*/ 0 w 10"/>
                <a:gd name="T31" fmla="*/ 10 h 10"/>
                <a:gd name="T32" fmla="*/ 3 w 10"/>
                <a:gd name="T33" fmla="*/ 10 h 10"/>
                <a:gd name="T34" fmla="*/ 5 w 10"/>
                <a:gd name="T35"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 h="10">
                  <a:moveTo>
                    <a:pt x="5" y="10"/>
                  </a:moveTo>
                  <a:lnTo>
                    <a:pt x="5" y="7"/>
                  </a:lnTo>
                  <a:lnTo>
                    <a:pt x="8" y="7"/>
                  </a:lnTo>
                  <a:lnTo>
                    <a:pt x="8" y="7"/>
                  </a:lnTo>
                  <a:lnTo>
                    <a:pt x="10" y="5"/>
                  </a:lnTo>
                  <a:lnTo>
                    <a:pt x="10" y="2"/>
                  </a:lnTo>
                  <a:lnTo>
                    <a:pt x="10" y="0"/>
                  </a:lnTo>
                  <a:lnTo>
                    <a:pt x="8" y="0"/>
                  </a:lnTo>
                  <a:lnTo>
                    <a:pt x="8" y="2"/>
                  </a:lnTo>
                  <a:lnTo>
                    <a:pt x="5" y="2"/>
                  </a:lnTo>
                  <a:lnTo>
                    <a:pt x="5" y="2"/>
                  </a:lnTo>
                  <a:lnTo>
                    <a:pt x="5" y="5"/>
                  </a:lnTo>
                  <a:lnTo>
                    <a:pt x="3" y="7"/>
                  </a:lnTo>
                  <a:lnTo>
                    <a:pt x="3" y="10"/>
                  </a:lnTo>
                  <a:lnTo>
                    <a:pt x="0" y="10"/>
                  </a:lnTo>
                  <a:lnTo>
                    <a:pt x="0" y="10"/>
                  </a:lnTo>
                  <a:lnTo>
                    <a:pt x="3" y="10"/>
                  </a:lnTo>
                  <a:lnTo>
                    <a:pt x="5" y="1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383" name="Freeform 2004">
              <a:extLst>
                <a:ext uri="{FF2B5EF4-FFF2-40B4-BE49-F238E27FC236}">
                  <a16:creationId xmlns:a16="http://schemas.microsoft.com/office/drawing/2014/main" id="{887FFA43-4EF2-C84E-9EC0-82CA5E720E40}"/>
                </a:ext>
              </a:extLst>
            </p:cNvPr>
            <p:cNvSpPr>
              <a:spLocks/>
            </p:cNvSpPr>
            <p:nvPr/>
          </p:nvSpPr>
          <p:spPr bwMode="auto">
            <a:xfrm>
              <a:off x="10064346" y="5232399"/>
              <a:ext cx="8179" cy="4908"/>
            </a:xfrm>
            <a:custGeom>
              <a:avLst/>
              <a:gdLst>
                <a:gd name="T0" fmla="*/ 3 w 5"/>
                <a:gd name="T1" fmla="*/ 3 h 3"/>
                <a:gd name="T2" fmla="*/ 5 w 5"/>
                <a:gd name="T3" fmla="*/ 3 h 3"/>
                <a:gd name="T4" fmla="*/ 3 w 5"/>
                <a:gd name="T5" fmla="*/ 0 h 3"/>
                <a:gd name="T6" fmla="*/ 3 w 5"/>
                <a:gd name="T7" fmla="*/ 0 h 3"/>
                <a:gd name="T8" fmla="*/ 3 w 5"/>
                <a:gd name="T9" fmla="*/ 0 h 3"/>
                <a:gd name="T10" fmla="*/ 0 w 5"/>
                <a:gd name="T11" fmla="*/ 3 h 3"/>
                <a:gd name="T12" fmla="*/ 3 w 5"/>
                <a:gd name="T13" fmla="*/ 0 h 3"/>
                <a:gd name="T14" fmla="*/ 3 w 5"/>
                <a:gd name="T15" fmla="*/ 3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3">
                  <a:moveTo>
                    <a:pt x="3" y="3"/>
                  </a:moveTo>
                  <a:lnTo>
                    <a:pt x="5" y="3"/>
                  </a:lnTo>
                  <a:lnTo>
                    <a:pt x="3" y="0"/>
                  </a:lnTo>
                  <a:lnTo>
                    <a:pt x="3" y="0"/>
                  </a:lnTo>
                  <a:lnTo>
                    <a:pt x="3" y="0"/>
                  </a:lnTo>
                  <a:lnTo>
                    <a:pt x="0" y="3"/>
                  </a:lnTo>
                  <a:lnTo>
                    <a:pt x="3" y="0"/>
                  </a:lnTo>
                  <a:lnTo>
                    <a:pt x="3" y="3"/>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384" name="Freeform 2005">
              <a:extLst>
                <a:ext uri="{FF2B5EF4-FFF2-40B4-BE49-F238E27FC236}">
                  <a16:creationId xmlns:a16="http://schemas.microsoft.com/office/drawing/2014/main" id="{EDE93BD2-3B53-CE47-9583-9BF267107DB6}"/>
                </a:ext>
              </a:extLst>
            </p:cNvPr>
            <p:cNvSpPr>
              <a:spLocks/>
            </p:cNvSpPr>
            <p:nvPr/>
          </p:nvSpPr>
          <p:spPr bwMode="auto">
            <a:xfrm>
              <a:off x="10072525" y="5229127"/>
              <a:ext cx="4908" cy="3271"/>
            </a:xfrm>
            <a:custGeom>
              <a:avLst/>
              <a:gdLst>
                <a:gd name="T0" fmla="*/ 3 w 3"/>
                <a:gd name="T1" fmla="*/ 0 h 2"/>
                <a:gd name="T2" fmla="*/ 3 w 3"/>
                <a:gd name="T3" fmla="*/ 0 h 2"/>
                <a:gd name="T4" fmla="*/ 0 w 3"/>
                <a:gd name="T5" fmla="*/ 0 h 2"/>
                <a:gd name="T6" fmla="*/ 0 w 3"/>
                <a:gd name="T7" fmla="*/ 0 h 2"/>
                <a:gd name="T8" fmla="*/ 0 w 3"/>
                <a:gd name="T9" fmla="*/ 0 h 2"/>
                <a:gd name="T10" fmla="*/ 0 w 3"/>
                <a:gd name="T11" fmla="*/ 2 h 2"/>
                <a:gd name="T12" fmla="*/ 3 w 3"/>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3" h="2">
                  <a:moveTo>
                    <a:pt x="3" y="0"/>
                  </a:moveTo>
                  <a:lnTo>
                    <a:pt x="3" y="0"/>
                  </a:lnTo>
                  <a:lnTo>
                    <a:pt x="0" y="0"/>
                  </a:lnTo>
                  <a:lnTo>
                    <a:pt x="0" y="0"/>
                  </a:lnTo>
                  <a:lnTo>
                    <a:pt x="0" y="0"/>
                  </a:lnTo>
                  <a:lnTo>
                    <a:pt x="0" y="2"/>
                  </a:lnTo>
                  <a:lnTo>
                    <a:pt x="3"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385" name="Freeform 2006">
              <a:extLst>
                <a:ext uri="{FF2B5EF4-FFF2-40B4-BE49-F238E27FC236}">
                  <a16:creationId xmlns:a16="http://schemas.microsoft.com/office/drawing/2014/main" id="{9EDC04B9-C06F-8C4F-B15F-FC59532C2E87}"/>
                </a:ext>
              </a:extLst>
            </p:cNvPr>
            <p:cNvSpPr>
              <a:spLocks/>
            </p:cNvSpPr>
            <p:nvPr/>
          </p:nvSpPr>
          <p:spPr bwMode="auto">
            <a:xfrm>
              <a:off x="9848429" y="5124440"/>
              <a:ext cx="49072" cy="16357"/>
            </a:xfrm>
            <a:custGeom>
              <a:avLst/>
              <a:gdLst>
                <a:gd name="T0" fmla="*/ 28 w 30"/>
                <a:gd name="T1" fmla="*/ 3 h 10"/>
                <a:gd name="T2" fmla="*/ 25 w 30"/>
                <a:gd name="T3" fmla="*/ 3 h 10"/>
                <a:gd name="T4" fmla="*/ 20 w 30"/>
                <a:gd name="T5" fmla="*/ 3 h 10"/>
                <a:gd name="T6" fmla="*/ 20 w 30"/>
                <a:gd name="T7" fmla="*/ 3 h 10"/>
                <a:gd name="T8" fmla="*/ 23 w 30"/>
                <a:gd name="T9" fmla="*/ 0 h 10"/>
                <a:gd name="T10" fmla="*/ 23 w 30"/>
                <a:gd name="T11" fmla="*/ 0 h 10"/>
                <a:gd name="T12" fmla="*/ 20 w 30"/>
                <a:gd name="T13" fmla="*/ 0 h 10"/>
                <a:gd name="T14" fmla="*/ 18 w 30"/>
                <a:gd name="T15" fmla="*/ 0 h 10"/>
                <a:gd name="T16" fmla="*/ 13 w 30"/>
                <a:gd name="T17" fmla="*/ 3 h 10"/>
                <a:gd name="T18" fmla="*/ 2 w 30"/>
                <a:gd name="T19" fmla="*/ 3 h 10"/>
                <a:gd name="T20" fmla="*/ 2 w 30"/>
                <a:gd name="T21" fmla="*/ 5 h 10"/>
                <a:gd name="T22" fmla="*/ 0 w 30"/>
                <a:gd name="T23" fmla="*/ 8 h 10"/>
                <a:gd name="T24" fmla="*/ 0 w 30"/>
                <a:gd name="T25" fmla="*/ 8 h 10"/>
                <a:gd name="T26" fmla="*/ 2 w 30"/>
                <a:gd name="T27" fmla="*/ 10 h 10"/>
                <a:gd name="T28" fmla="*/ 5 w 30"/>
                <a:gd name="T29" fmla="*/ 10 h 10"/>
                <a:gd name="T30" fmla="*/ 7 w 30"/>
                <a:gd name="T31" fmla="*/ 10 h 10"/>
                <a:gd name="T32" fmla="*/ 10 w 30"/>
                <a:gd name="T33" fmla="*/ 10 h 10"/>
                <a:gd name="T34" fmla="*/ 13 w 30"/>
                <a:gd name="T35" fmla="*/ 8 h 10"/>
                <a:gd name="T36" fmla="*/ 15 w 30"/>
                <a:gd name="T37" fmla="*/ 10 h 10"/>
                <a:gd name="T38" fmla="*/ 15 w 30"/>
                <a:gd name="T39" fmla="*/ 10 h 10"/>
                <a:gd name="T40" fmla="*/ 18 w 30"/>
                <a:gd name="T41" fmla="*/ 10 h 10"/>
                <a:gd name="T42" fmla="*/ 20 w 30"/>
                <a:gd name="T43" fmla="*/ 8 h 10"/>
                <a:gd name="T44" fmla="*/ 20 w 30"/>
                <a:gd name="T45" fmla="*/ 8 h 10"/>
                <a:gd name="T46" fmla="*/ 25 w 30"/>
                <a:gd name="T47" fmla="*/ 5 h 10"/>
                <a:gd name="T48" fmla="*/ 28 w 30"/>
                <a:gd name="T49" fmla="*/ 8 h 10"/>
                <a:gd name="T50" fmla="*/ 28 w 30"/>
                <a:gd name="T51" fmla="*/ 8 h 10"/>
                <a:gd name="T52" fmla="*/ 30 w 30"/>
                <a:gd name="T53" fmla="*/ 5 h 10"/>
                <a:gd name="T54" fmla="*/ 30 w 30"/>
                <a:gd name="T55" fmla="*/ 3 h 10"/>
                <a:gd name="T56" fmla="*/ 28 w 30"/>
                <a:gd name="T57" fmla="*/ 3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0" h="10">
                  <a:moveTo>
                    <a:pt x="28" y="3"/>
                  </a:moveTo>
                  <a:lnTo>
                    <a:pt x="25" y="3"/>
                  </a:lnTo>
                  <a:lnTo>
                    <a:pt x="20" y="3"/>
                  </a:lnTo>
                  <a:lnTo>
                    <a:pt x="20" y="3"/>
                  </a:lnTo>
                  <a:lnTo>
                    <a:pt x="23" y="0"/>
                  </a:lnTo>
                  <a:lnTo>
                    <a:pt x="23" y="0"/>
                  </a:lnTo>
                  <a:lnTo>
                    <a:pt x="20" y="0"/>
                  </a:lnTo>
                  <a:lnTo>
                    <a:pt x="18" y="0"/>
                  </a:lnTo>
                  <a:lnTo>
                    <a:pt x="13" y="3"/>
                  </a:lnTo>
                  <a:lnTo>
                    <a:pt x="2" y="3"/>
                  </a:lnTo>
                  <a:lnTo>
                    <a:pt x="2" y="5"/>
                  </a:lnTo>
                  <a:lnTo>
                    <a:pt x="0" y="8"/>
                  </a:lnTo>
                  <a:lnTo>
                    <a:pt x="0" y="8"/>
                  </a:lnTo>
                  <a:lnTo>
                    <a:pt x="2" y="10"/>
                  </a:lnTo>
                  <a:lnTo>
                    <a:pt x="5" y="10"/>
                  </a:lnTo>
                  <a:lnTo>
                    <a:pt x="7" y="10"/>
                  </a:lnTo>
                  <a:lnTo>
                    <a:pt x="10" y="10"/>
                  </a:lnTo>
                  <a:lnTo>
                    <a:pt x="13" y="8"/>
                  </a:lnTo>
                  <a:lnTo>
                    <a:pt x="15" y="10"/>
                  </a:lnTo>
                  <a:lnTo>
                    <a:pt x="15" y="10"/>
                  </a:lnTo>
                  <a:lnTo>
                    <a:pt x="18" y="10"/>
                  </a:lnTo>
                  <a:lnTo>
                    <a:pt x="20" y="8"/>
                  </a:lnTo>
                  <a:lnTo>
                    <a:pt x="20" y="8"/>
                  </a:lnTo>
                  <a:lnTo>
                    <a:pt x="25" y="5"/>
                  </a:lnTo>
                  <a:lnTo>
                    <a:pt x="28" y="8"/>
                  </a:lnTo>
                  <a:lnTo>
                    <a:pt x="28" y="8"/>
                  </a:lnTo>
                  <a:lnTo>
                    <a:pt x="30" y="5"/>
                  </a:lnTo>
                  <a:lnTo>
                    <a:pt x="30" y="3"/>
                  </a:lnTo>
                  <a:lnTo>
                    <a:pt x="28" y="3"/>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386" name="Freeform 2007">
              <a:extLst>
                <a:ext uri="{FF2B5EF4-FFF2-40B4-BE49-F238E27FC236}">
                  <a16:creationId xmlns:a16="http://schemas.microsoft.com/office/drawing/2014/main" id="{D2D8F6E7-B1E3-6447-B4BA-816777A6F54A}"/>
                </a:ext>
              </a:extLst>
            </p:cNvPr>
            <p:cNvSpPr>
              <a:spLocks/>
            </p:cNvSpPr>
            <p:nvPr/>
          </p:nvSpPr>
          <p:spPr bwMode="auto">
            <a:xfrm>
              <a:off x="10497817" y="4820193"/>
              <a:ext cx="4908" cy="9814"/>
            </a:xfrm>
            <a:custGeom>
              <a:avLst/>
              <a:gdLst>
                <a:gd name="T0" fmla="*/ 3 w 3"/>
                <a:gd name="T1" fmla="*/ 0 h 6"/>
                <a:gd name="T2" fmla="*/ 0 w 3"/>
                <a:gd name="T3" fmla="*/ 3 h 6"/>
                <a:gd name="T4" fmla="*/ 0 w 3"/>
                <a:gd name="T5" fmla="*/ 6 h 6"/>
                <a:gd name="T6" fmla="*/ 0 w 3"/>
                <a:gd name="T7" fmla="*/ 6 h 6"/>
                <a:gd name="T8" fmla="*/ 0 w 3"/>
                <a:gd name="T9" fmla="*/ 6 h 6"/>
                <a:gd name="T10" fmla="*/ 3 w 3"/>
                <a:gd name="T11" fmla="*/ 0 h 6"/>
                <a:gd name="T12" fmla="*/ 3 w 3"/>
                <a:gd name="T13" fmla="*/ 0 h 6"/>
                <a:gd name="T14" fmla="*/ 3 w 3"/>
                <a:gd name="T15" fmla="*/ 0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6">
                  <a:moveTo>
                    <a:pt x="3" y="0"/>
                  </a:moveTo>
                  <a:lnTo>
                    <a:pt x="0" y="3"/>
                  </a:lnTo>
                  <a:lnTo>
                    <a:pt x="0" y="6"/>
                  </a:lnTo>
                  <a:lnTo>
                    <a:pt x="0" y="6"/>
                  </a:lnTo>
                  <a:lnTo>
                    <a:pt x="0" y="6"/>
                  </a:lnTo>
                  <a:lnTo>
                    <a:pt x="3" y="0"/>
                  </a:lnTo>
                  <a:lnTo>
                    <a:pt x="3" y="0"/>
                  </a:lnTo>
                  <a:lnTo>
                    <a:pt x="3"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387" name="Freeform 2008">
              <a:extLst>
                <a:ext uri="{FF2B5EF4-FFF2-40B4-BE49-F238E27FC236}">
                  <a16:creationId xmlns:a16="http://schemas.microsoft.com/office/drawing/2014/main" id="{BB09D9AE-0A5F-4543-9347-8D18BFFC2CA8}"/>
                </a:ext>
              </a:extLst>
            </p:cNvPr>
            <p:cNvSpPr>
              <a:spLocks/>
            </p:cNvSpPr>
            <p:nvPr/>
          </p:nvSpPr>
          <p:spPr bwMode="auto">
            <a:xfrm>
              <a:off x="10502724" y="4803836"/>
              <a:ext cx="3271" cy="13086"/>
            </a:xfrm>
            <a:custGeom>
              <a:avLst/>
              <a:gdLst>
                <a:gd name="T0" fmla="*/ 0 w 2"/>
                <a:gd name="T1" fmla="*/ 3 h 8"/>
                <a:gd name="T2" fmla="*/ 0 w 2"/>
                <a:gd name="T3" fmla="*/ 3 h 8"/>
                <a:gd name="T4" fmla="*/ 0 w 2"/>
                <a:gd name="T5" fmla="*/ 5 h 8"/>
                <a:gd name="T6" fmla="*/ 0 w 2"/>
                <a:gd name="T7" fmla="*/ 8 h 8"/>
                <a:gd name="T8" fmla="*/ 0 w 2"/>
                <a:gd name="T9" fmla="*/ 8 h 8"/>
                <a:gd name="T10" fmla="*/ 0 w 2"/>
                <a:gd name="T11" fmla="*/ 5 h 8"/>
                <a:gd name="T12" fmla="*/ 2 w 2"/>
                <a:gd name="T13" fmla="*/ 0 h 8"/>
                <a:gd name="T14" fmla="*/ 2 w 2"/>
                <a:gd name="T15" fmla="*/ 0 h 8"/>
                <a:gd name="T16" fmla="*/ 0 w 2"/>
                <a:gd name="T17"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8">
                  <a:moveTo>
                    <a:pt x="0" y="3"/>
                  </a:moveTo>
                  <a:lnTo>
                    <a:pt x="0" y="3"/>
                  </a:lnTo>
                  <a:lnTo>
                    <a:pt x="0" y="5"/>
                  </a:lnTo>
                  <a:lnTo>
                    <a:pt x="0" y="8"/>
                  </a:lnTo>
                  <a:lnTo>
                    <a:pt x="0" y="8"/>
                  </a:lnTo>
                  <a:lnTo>
                    <a:pt x="0" y="5"/>
                  </a:lnTo>
                  <a:lnTo>
                    <a:pt x="2" y="0"/>
                  </a:lnTo>
                  <a:lnTo>
                    <a:pt x="2" y="0"/>
                  </a:lnTo>
                  <a:lnTo>
                    <a:pt x="0" y="3"/>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388" name="Freeform 2009">
              <a:extLst>
                <a:ext uri="{FF2B5EF4-FFF2-40B4-BE49-F238E27FC236}">
                  <a16:creationId xmlns:a16="http://schemas.microsoft.com/office/drawing/2014/main" id="{E4AE49A8-1849-B144-80CB-5097864258C2}"/>
                </a:ext>
              </a:extLst>
            </p:cNvPr>
            <p:cNvSpPr>
              <a:spLocks/>
            </p:cNvSpPr>
            <p:nvPr/>
          </p:nvSpPr>
          <p:spPr bwMode="auto">
            <a:xfrm>
              <a:off x="9226849" y="4749857"/>
              <a:ext cx="4908" cy="21265"/>
            </a:xfrm>
            <a:custGeom>
              <a:avLst/>
              <a:gdLst>
                <a:gd name="T0" fmla="*/ 3 w 3"/>
                <a:gd name="T1" fmla="*/ 13 h 13"/>
                <a:gd name="T2" fmla="*/ 3 w 3"/>
                <a:gd name="T3" fmla="*/ 13 h 13"/>
                <a:gd name="T4" fmla="*/ 3 w 3"/>
                <a:gd name="T5" fmla="*/ 10 h 13"/>
                <a:gd name="T6" fmla="*/ 3 w 3"/>
                <a:gd name="T7" fmla="*/ 10 h 13"/>
                <a:gd name="T8" fmla="*/ 3 w 3"/>
                <a:gd name="T9" fmla="*/ 8 h 13"/>
                <a:gd name="T10" fmla="*/ 3 w 3"/>
                <a:gd name="T11" fmla="*/ 8 h 13"/>
                <a:gd name="T12" fmla="*/ 3 w 3"/>
                <a:gd name="T13" fmla="*/ 0 h 13"/>
                <a:gd name="T14" fmla="*/ 0 w 3"/>
                <a:gd name="T15" fmla="*/ 0 h 13"/>
                <a:gd name="T16" fmla="*/ 0 w 3"/>
                <a:gd name="T17" fmla="*/ 0 h 13"/>
                <a:gd name="T18" fmla="*/ 0 w 3"/>
                <a:gd name="T19" fmla="*/ 5 h 13"/>
                <a:gd name="T20" fmla="*/ 3 w 3"/>
                <a:gd name="T21"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13">
                  <a:moveTo>
                    <a:pt x="3" y="13"/>
                  </a:moveTo>
                  <a:lnTo>
                    <a:pt x="3" y="13"/>
                  </a:lnTo>
                  <a:lnTo>
                    <a:pt x="3" y="10"/>
                  </a:lnTo>
                  <a:lnTo>
                    <a:pt x="3" y="10"/>
                  </a:lnTo>
                  <a:lnTo>
                    <a:pt x="3" y="8"/>
                  </a:lnTo>
                  <a:lnTo>
                    <a:pt x="3" y="8"/>
                  </a:lnTo>
                  <a:lnTo>
                    <a:pt x="3" y="0"/>
                  </a:lnTo>
                  <a:lnTo>
                    <a:pt x="0" y="0"/>
                  </a:lnTo>
                  <a:lnTo>
                    <a:pt x="0" y="0"/>
                  </a:lnTo>
                  <a:lnTo>
                    <a:pt x="0" y="5"/>
                  </a:lnTo>
                  <a:lnTo>
                    <a:pt x="3" y="13"/>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389" name="Freeform 2010">
              <a:extLst>
                <a:ext uri="{FF2B5EF4-FFF2-40B4-BE49-F238E27FC236}">
                  <a16:creationId xmlns:a16="http://schemas.microsoft.com/office/drawing/2014/main" id="{F19ABE25-D4CD-F94A-8862-60ECC87F1BA1}"/>
                </a:ext>
              </a:extLst>
            </p:cNvPr>
            <p:cNvSpPr>
              <a:spLocks/>
            </p:cNvSpPr>
            <p:nvPr/>
          </p:nvSpPr>
          <p:spPr bwMode="auto">
            <a:xfrm>
              <a:off x="10505995" y="4720414"/>
              <a:ext cx="21265" cy="37622"/>
            </a:xfrm>
            <a:custGeom>
              <a:avLst/>
              <a:gdLst>
                <a:gd name="T0" fmla="*/ 11 w 13"/>
                <a:gd name="T1" fmla="*/ 3 h 23"/>
                <a:gd name="T2" fmla="*/ 11 w 13"/>
                <a:gd name="T3" fmla="*/ 0 h 23"/>
                <a:gd name="T4" fmla="*/ 11 w 13"/>
                <a:gd name="T5" fmla="*/ 0 h 23"/>
                <a:gd name="T6" fmla="*/ 11 w 13"/>
                <a:gd name="T7" fmla="*/ 0 h 23"/>
                <a:gd name="T8" fmla="*/ 11 w 13"/>
                <a:gd name="T9" fmla="*/ 0 h 23"/>
                <a:gd name="T10" fmla="*/ 8 w 13"/>
                <a:gd name="T11" fmla="*/ 3 h 23"/>
                <a:gd name="T12" fmla="*/ 11 w 13"/>
                <a:gd name="T13" fmla="*/ 3 h 23"/>
                <a:gd name="T14" fmla="*/ 11 w 13"/>
                <a:gd name="T15" fmla="*/ 5 h 23"/>
                <a:gd name="T16" fmla="*/ 8 w 13"/>
                <a:gd name="T17" fmla="*/ 5 h 23"/>
                <a:gd name="T18" fmla="*/ 8 w 13"/>
                <a:gd name="T19" fmla="*/ 8 h 23"/>
                <a:gd name="T20" fmla="*/ 6 w 13"/>
                <a:gd name="T21" fmla="*/ 11 h 23"/>
                <a:gd name="T22" fmla="*/ 3 w 13"/>
                <a:gd name="T23" fmla="*/ 13 h 23"/>
                <a:gd name="T24" fmla="*/ 3 w 13"/>
                <a:gd name="T25" fmla="*/ 13 h 23"/>
                <a:gd name="T26" fmla="*/ 3 w 13"/>
                <a:gd name="T27" fmla="*/ 16 h 23"/>
                <a:gd name="T28" fmla="*/ 0 w 13"/>
                <a:gd name="T29" fmla="*/ 18 h 23"/>
                <a:gd name="T30" fmla="*/ 0 w 13"/>
                <a:gd name="T31" fmla="*/ 23 h 23"/>
                <a:gd name="T32" fmla="*/ 0 w 13"/>
                <a:gd name="T33" fmla="*/ 23 h 23"/>
                <a:gd name="T34" fmla="*/ 0 w 13"/>
                <a:gd name="T35" fmla="*/ 23 h 23"/>
                <a:gd name="T36" fmla="*/ 3 w 13"/>
                <a:gd name="T37" fmla="*/ 21 h 23"/>
                <a:gd name="T38" fmla="*/ 6 w 13"/>
                <a:gd name="T39" fmla="*/ 18 h 23"/>
                <a:gd name="T40" fmla="*/ 11 w 13"/>
                <a:gd name="T41" fmla="*/ 8 h 23"/>
                <a:gd name="T42" fmla="*/ 13 w 13"/>
                <a:gd name="T43" fmla="*/ 5 h 23"/>
                <a:gd name="T44" fmla="*/ 11 w 13"/>
                <a:gd name="T45" fmla="*/ 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 h="23">
                  <a:moveTo>
                    <a:pt x="11" y="3"/>
                  </a:moveTo>
                  <a:lnTo>
                    <a:pt x="11" y="0"/>
                  </a:lnTo>
                  <a:lnTo>
                    <a:pt x="11" y="0"/>
                  </a:lnTo>
                  <a:lnTo>
                    <a:pt x="11" y="0"/>
                  </a:lnTo>
                  <a:lnTo>
                    <a:pt x="11" y="0"/>
                  </a:lnTo>
                  <a:lnTo>
                    <a:pt x="8" y="3"/>
                  </a:lnTo>
                  <a:lnTo>
                    <a:pt x="11" y="3"/>
                  </a:lnTo>
                  <a:lnTo>
                    <a:pt x="11" y="5"/>
                  </a:lnTo>
                  <a:lnTo>
                    <a:pt x="8" y="5"/>
                  </a:lnTo>
                  <a:lnTo>
                    <a:pt x="8" y="8"/>
                  </a:lnTo>
                  <a:lnTo>
                    <a:pt x="6" y="11"/>
                  </a:lnTo>
                  <a:lnTo>
                    <a:pt x="3" y="13"/>
                  </a:lnTo>
                  <a:lnTo>
                    <a:pt x="3" y="13"/>
                  </a:lnTo>
                  <a:lnTo>
                    <a:pt x="3" y="16"/>
                  </a:lnTo>
                  <a:lnTo>
                    <a:pt x="0" y="18"/>
                  </a:lnTo>
                  <a:lnTo>
                    <a:pt x="0" y="23"/>
                  </a:lnTo>
                  <a:lnTo>
                    <a:pt x="0" y="23"/>
                  </a:lnTo>
                  <a:lnTo>
                    <a:pt x="0" y="23"/>
                  </a:lnTo>
                  <a:lnTo>
                    <a:pt x="3" y="21"/>
                  </a:lnTo>
                  <a:lnTo>
                    <a:pt x="6" y="18"/>
                  </a:lnTo>
                  <a:lnTo>
                    <a:pt x="11" y="8"/>
                  </a:lnTo>
                  <a:lnTo>
                    <a:pt x="13" y="5"/>
                  </a:lnTo>
                  <a:lnTo>
                    <a:pt x="11" y="3"/>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390" name="Freeform 2011">
              <a:extLst>
                <a:ext uri="{FF2B5EF4-FFF2-40B4-BE49-F238E27FC236}">
                  <a16:creationId xmlns:a16="http://schemas.microsoft.com/office/drawing/2014/main" id="{F306BF7D-3406-5C40-86DE-549A52F7F0E7}"/>
                </a:ext>
              </a:extLst>
            </p:cNvPr>
            <p:cNvSpPr>
              <a:spLocks/>
            </p:cNvSpPr>
            <p:nvPr/>
          </p:nvSpPr>
          <p:spPr bwMode="auto">
            <a:xfrm>
              <a:off x="10465102" y="4671342"/>
              <a:ext cx="8179" cy="11451"/>
            </a:xfrm>
            <a:custGeom>
              <a:avLst/>
              <a:gdLst>
                <a:gd name="T0" fmla="*/ 3 w 5"/>
                <a:gd name="T1" fmla="*/ 7 h 7"/>
                <a:gd name="T2" fmla="*/ 3 w 5"/>
                <a:gd name="T3" fmla="*/ 7 h 7"/>
                <a:gd name="T4" fmla="*/ 5 w 5"/>
                <a:gd name="T5" fmla="*/ 7 h 7"/>
                <a:gd name="T6" fmla="*/ 3 w 5"/>
                <a:gd name="T7" fmla="*/ 5 h 7"/>
                <a:gd name="T8" fmla="*/ 3 w 5"/>
                <a:gd name="T9" fmla="*/ 5 h 7"/>
                <a:gd name="T10" fmla="*/ 3 w 5"/>
                <a:gd name="T11" fmla="*/ 2 h 7"/>
                <a:gd name="T12" fmla="*/ 3 w 5"/>
                <a:gd name="T13" fmla="*/ 2 h 7"/>
                <a:gd name="T14" fmla="*/ 3 w 5"/>
                <a:gd name="T15" fmla="*/ 2 h 7"/>
                <a:gd name="T16" fmla="*/ 3 w 5"/>
                <a:gd name="T17" fmla="*/ 2 h 7"/>
                <a:gd name="T18" fmla="*/ 0 w 5"/>
                <a:gd name="T19" fmla="*/ 0 h 7"/>
                <a:gd name="T20" fmla="*/ 0 w 5"/>
                <a:gd name="T21" fmla="*/ 2 h 7"/>
                <a:gd name="T22" fmla="*/ 3 w 5"/>
                <a:gd name="T23" fmla="*/ 7 h 7"/>
                <a:gd name="T24" fmla="*/ 3 w 5"/>
                <a:gd name="T25"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 h="7">
                  <a:moveTo>
                    <a:pt x="3" y="7"/>
                  </a:moveTo>
                  <a:lnTo>
                    <a:pt x="3" y="7"/>
                  </a:lnTo>
                  <a:lnTo>
                    <a:pt x="5" y="7"/>
                  </a:lnTo>
                  <a:lnTo>
                    <a:pt x="3" y="5"/>
                  </a:lnTo>
                  <a:lnTo>
                    <a:pt x="3" y="5"/>
                  </a:lnTo>
                  <a:lnTo>
                    <a:pt x="3" y="2"/>
                  </a:lnTo>
                  <a:lnTo>
                    <a:pt x="3" y="2"/>
                  </a:lnTo>
                  <a:lnTo>
                    <a:pt x="3" y="2"/>
                  </a:lnTo>
                  <a:lnTo>
                    <a:pt x="3" y="2"/>
                  </a:lnTo>
                  <a:lnTo>
                    <a:pt x="0" y="0"/>
                  </a:lnTo>
                  <a:lnTo>
                    <a:pt x="0" y="2"/>
                  </a:lnTo>
                  <a:lnTo>
                    <a:pt x="3" y="7"/>
                  </a:lnTo>
                  <a:lnTo>
                    <a:pt x="3" y="7"/>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391" name="Freeform 2012">
              <a:extLst>
                <a:ext uri="{FF2B5EF4-FFF2-40B4-BE49-F238E27FC236}">
                  <a16:creationId xmlns:a16="http://schemas.microsoft.com/office/drawing/2014/main" id="{3A917DF8-606A-F441-A82E-0D414E790810}"/>
                </a:ext>
              </a:extLst>
            </p:cNvPr>
            <p:cNvSpPr>
              <a:spLocks/>
            </p:cNvSpPr>
            <p:nvPr/>
          </p:nvSpPr>
          <p:spPr bwMode="auto">
            <a:xfrm>
              <a:off x="10456923" y="4625541"/>
              <a:ext cx="3271" cy="3271"/>
            </a:xfrm>
            <a:custGeom>
              <a:avLst/>
              <a:gdLst>
                <a:gd name="T0" fmla="*/ 0 w 2"/>
                <a:gd name="T1" fmla="*/ 2 h 2"/>
                <a:gd name="T2" fmla="*/ 2 w 2"/>
                <a:gd name="T3" fmla="*/ 2 h 2"/>
                <a:gd name="T4" fmla="*/ 2 w 2"/>
                <a:gd name="T5" fmla="*/ 0 h 2"/>
                <a:gd name="T6" fmla="*/ 0 w 2"/>
                <a:gd name="T7" fmla="*/ 0 h 2"/>
                <a:gd name="T8" fmla="*/ 0 w 2"/>
                <a:gd name="T9" fmla="*/ 2 h 2"/>
                <a:gd name="T10" fmla="*/ 0 w 2"/>
                <a:gd name="T11" fmla="*/ 2 h 2"/>
                <a:gd name="T12" fmla="*/ 0 w 2"/>
                <a:gd name="T13" fmla="*/ 2 h 2"/>
                <a:gd name="T14" fmla="*/ 0 w 2"/>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2">
                  <a:moveTo>
                    <a:pt x="0" y="2"/>
                  </a:moveTo>
                  <a:lnTo>
                    <a:pt x="2" y="2"/>
                  </a:lnTo>
                  <a:lnTo>
                    <a:pt x="2" y="0"/>
                  </a:lnTo>
                  <a:lnTo>
                    <a:pt x="0" y="0"/>
                  </a:lnTo>
                  <a:lnTo>
                    <a:pt x="0" y="2"/>
                  </a:lnTo>
                  <a:lnTo>
                    <a:pt x="0" y="2"/>
                  </a:lnTo>
                  <a:lnTo>
                    <a:pt x="0" y="2"/>
                  </a:lnTo>
                  <a:lnTo>
                    <a:pt x="0" y="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392" name="Freeform 2013">
              <a:extLst>
                <a:ext uri="{FF2B5EF4-FFF2-40B4-BE49-F238E27FC236}">
                  <a16:creationId xmlns:a16="http://schemas.microsoft.com/office/drawing/2014/main" id="{1E03C03B-BE30-924E-B70A-93EB9969A50F}"/>
                </a:ext>
              </a:extLst>
            </p:cNvPr>
            <p:cNvSpPr>
              <a:spLocks/>
            </p:cNvSpPr>
            <p:nvPr/>
          </p:nvSpPr>
          <p:spPr bwMode="auto">
            <a:xfrm>
              <a:off x="10440566" y="4620633"/>
              <a:ext cx="0" cy="4908"/>
            </a:xfrm>
            <a:custGeom>
              <a:avLst/>
              <a:gdLst>
                <a:gd name="T0" fmla="*/ 3 h 3"/>
                <a:gd name="T1" fmla="*/ 3 h 3"/>
                <a:gd name="T2" fmla="*/ 0 h 3"/>
                <a:gd name="T3" fmla="*/ 0 h 3"/>
                <a:gd name="T4" fmla="*/ 3 h 3"/>
                <a:gd name="T5" fmla="*/ 3 h 3"/>
                <a:gd name="T6" fmla="*/ 3 h 3"/>
              </a:gdLst>
              <a:ahLst/>
              <a:cxnLst>
                <a:cxn ang="0">
                  <a:pos x="0" y="T0"/>
                </a:cxn>
                <a:cxn ang="0">
                  <a:pos x="0" y="T1"/>
                </a:cxn>
                <a:cxn ang="0">
                  <a:pos x="0" y="T2"/>
                </a:cxn>
                <a:cxn ang="0">
                  <a:pos x="0" y="T3"/>
                </a:cxn>
                <a:cxn ang="0">
                  <a:pos x="0" y="T4"/>
                </a:cxn>
                <a:cxn ang="0">
                  <a:pos x="0" y="T5"/>
                </a:cxn>
                <a:cxn ang="0">
                  <a:pos x="0" y="T6"/>
                </a:cxn>
              </a:cxnLst>
              <a:rect l="0" t="0" r="r" b="b"/>
              <a:pathLst>
                <a:path h="3">
                  <a:moveTo>
                    <a:pt x="0" y="3"/>
                  </a:moveTo>
                  <a:lnTo>
                    <a:pt x="0" y="3"/>
                  </a:lnTo>
                  <a:lnTo>
                    <a:pt x="0" y="0"/>
                  </a:lnTo>
                  <a:lnTo>
                    <a:pt x="0" y="0"/>
                  </a:lnTo>
                  <a:lnTo>
                    <a:pt x="0" y="3"/>
                  </a:lnTo>
                  <a:lnTo>
                    <a:pt x="0" y="3"/>
                  </a:lnTo>
                  <a:lnTo>
                    <a:pt x="0" y="3"/>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393" name="Freeform 2014">
              <a:extLst>
                <a:ext uri="{FF2B5EF4-FFF2-40B4-BE49-F238E27FC236}">
                  <a16:creationId xmlns:a16="http://schemas.microsoft.com/office/drawing/2014/main" id="{AA6121CF-51AB-694D-8EC6-65901751C945}"/>
                </a:ext>
              </a:extLst>
            </p:cNvPr>
            <p:cNvSpPr>
              <a:spLocks/>
            </p:cNvSpPr>
            <p:nvPr/>
          </p:nvSpPr>
          <p:spPr bwMode="auto">
            <a:xfrm>
              <a:off x="9334807" y="4571561"/>
              <a:ext cx="4908" cy="3271"/>
            </a:xfrm>
            <a:custGeom>
              <a:avLst/>
              <a:gdLst>
                <a:gd name="T0" fmla="*/ 0 w 3"/>
                <a:gd name="T1" fmla="*/ 2 h 2"/>
                <a:gd name="T2" fmla="*/ 3 w 3"/>
                <a:gd name="T3" fmla="*/ 2 h 2"/>
                <a:gd name="T4" fmla="*/ 3 w 3"/>
                <a:gd name="T5" fmla="*/ 0 h 2"/>
                <a:gd name="T6" fmla="*/ 3 w 3"/>
                <a:gd name="T7" fmla="*/ 0 h 2"/>
                <a:gd name="T8" fmla="*/ 0 w 3"/>
                <a:gd name="T9" fmla="*/ 0 h 2"/>
                <a:gd name="T10" fmla="*/ 0 w 3"/>
                <a:gd name="T11" fmla="*/ 2 h 2"/>
                <a:gd name="T12" fmla="*/ 0 w 3"/>
                <a:gd name="T13" fmla="*/ 2 h 2"/>
                <a:gd name="T14" fmla="*/ 0 w 3"/>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2">
                  <a:moveTo>
                    <a:pt x="0" y="2"/>
                  </a:moveTo>
                  <a:lnTo>
                    <a:pt x="3" y="2"/>
                  </a:lnTo>
                  <a:lnTo>
                    <a:pt x="3" y="0"/>
                  </a:lnTo>
                  <a:lnTo>
                    <a:pt x="3" y="0"/>
                  </a:lnTo>
                  <a:lnTo>
                    <a:pt x="0" y="0"/>
                  </a:lnTo>
                  <a:lnTo>
                    <a:pt x="0" y="2"/>
                  </a:lnTo>
                  <a:lnTo>
                    <a:pt x="0" y="2"/>
                  </a:lnTo>
                  <a:lnTo>
                    <a:pt x="0" y="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394" name="Freeform 2015">
              <a:extLst>
                <a:ext uri="{FF2B5EF4-FFF2-40B4-BE49-F238E27FC236}">
                  <a16:creationId xmlns:a16="http://schemas.microsoft.com/office/drawing/2014/main" id="{C97FE788-8307-AF4C-884D-21CED3EB406D}"/>
                </a:ext>
              </a:extLst>
            </p:cNvPr>
            <p:cNvSpPr>
              <a:spLocks/>
            </p:cNvSpPr>
            <p:nvPr/>
          </p:nvSpPr>
          <p:spPr bwMode="auto">
            <a:xfrm>
              <a:off x="10422573" y="4550297"/>
              <a:ext cx="4908" cy="4908"/>
            </a:xfrm>
            <a:custGeom>
              <a:avLst/>
              <a:gdLst>
                <a:gd name="T0" fmla="*/ 3 w 3"/>
                <a:gd name="T1" fmla="*/ 0 h 3"/>
                <a:gd name="T2" fmla="*/ 0 w 3"/>
                <a:gd name="T3" fmla="*/ 3 h 3"/>
                <a:gd name="T4" fmla="*/ 0 w 3"/>
                <a:gd name="T5" fmla="*/ 3 h 3"/>
                <a:gd name="T6" fmla="*/ 3 w 3"/>
                <a:gd name="T7" fmla="*/ 3 h 3"/>
                <a:gd name="T8" fmla="*/ 3 w 3"/>
                <a:gd name="T9" fmla="*/ 3 h 3"/>
                <a:gd name="T10" fmla="*/ 3 w 3"/>
                <a:gd name="T11" fmla="*/ 3 h 3"/>
                <a:gd name="T12" fmla="*/ 3 w 3"/>
                <a:gd name="T13" fmla="*/ 3 h 3"/>
                <a:gd name="T14" fmla="*/ 3 w 3"/>
                <a:gd name="T15" fmla="*/ 0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3">
                  <a:moveTo>
                    <a:pt x="3" y="0"/>
                  </a:moveTo>
                  <a:lnTo>
                    <a:pt x="0" y="3"/>
                  </a:lnTo>
                  <a:lnTo>
                    <a:pt x="0" y="3"/>
                  </a:lnTo>
                  <a:lnTo>
                    <a:pt x="3" y="3"/>
                  </a:lnTo>
                  <a:lnTo>
                    <a:pt x="3" y="3"/>
                  </a:lnTo>
                  <a:lnTo>
                    <a:pt x="3" y="3"/>
                  </a:lnTo>
                  <a:lnTo>
                    <a:pt x="3" y="3"/>
                  </a:lnTo>
                  <a:lnTo>
                    <a:pt x="3"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395" name="Freeform 2016">
              <a:extLst>
                <a:ext uri="{FF2B5EF4-FFF2-40B4-BE49-F238E27FC236}">
                  <a16:creationId xmlns:a16="http://schemas.microsoft.com/office/drawing/2014/main" id="{B9BE127A-294B-6048-89D8-68687A89D76C}"/>
                </a:ext>
              </a:extLst>
            </p:cNvPr>
            <p:cNvSpPr>
              <a:spLocks/>
            </p:cNvSpPr>
            <p:nvPr/>
          </p:nvSpPr>
          <p:spPr bwMode="auto">
            <a:xfrm>
              <a:off x="10422573" y="4545389"/>
              <a:ext cx="4908" cy="4908"/>
            </a:xfrm>
            <a:custGeom>
              <a:avLst/>
              <a:gdLst>
                <a:gd name="T0" fmla="*/ 0 w 3"/>
                <a:gd name="T1" fmla="*/ 3 h 3"/>
                <a:gd name="T2" fmla="*/ 0 w 3"/>
                <a:gd name="T3" fmla="*/ 3 h 3"/>
                <a:gd name="T4" fmla="*/ 3 w 3"/>
                <a:gd name="T5" fmla="*/ 0 h 3"/>
                <a:gd name="T6" fmla="*/ 0 w 3"/>
                <a:gd name="T7" fmla="*/ 0 h 3"/>
                <a:gd name="T8" fmla="*/ 0 w 3"/>
                <a:gd name="T9" fmla="*/ 3 h 3"/>
                <a:gd name="T10" fmla="*/ 0 w 3"/>
                <a:gd name="T11" fmla="*/ 3 h 3"/>
                <a:gd name="T12" fmla="*/ 0 w 3"/>
                <a:gd name="T13" fmla="*/ 3 h 3"/>
                <a:gd name="T14" fmla="*/ 0 w 3"/>
                <a:gd name="T15" fmla="*/ 3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3">
                  <a:moveTo>
                    <a:pt x="0" y="3"/>
                  </a:moveTo>
                  <a:lnTo>
                    <a:pt x="0" y="3"/>
                  </a:lnTo>
                  <a:lnTo>
                    <a:pt x="3" y="0"/>
                  </a:lnTo>
                  <a:lnTo>
                    <a:pt x="0" y="0"/>
                  </a:lnTo>
                  <a:lnTo>
                    <a:pt x="0" y="3"/>
                  </a:lnTo>
                  <a:lnTo>
                    <a:pt x="0" y="3"/>
                  </a:lnTo>
                  <a:lnTo>
                    <a:pt x="0" y="3"/>
                  </a:lnTo>
                  <a:lnTo>
                    <a:pt x="0" y="3"/>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396" name="Freeform 2017">
              <a:extLst>
                <a:ext uri="{FF2B5EF4-FFF2-40B4-BE49-F238E27FC236}">
                  <a16:creationId xmlns:a16="http://schemas.microsoft.com/office/drawing/2014/main" id="{885A811D-92D3-E14A-9D3F-AC08E99BF1E3}"/>
                </a:ext>
              </a:extLst>
            </p:cNvPr>
            <p:cNvSpPr>
              <a:spLocks/>
            </p:cNvSpPr>
            <p:nvPr/>
          </p:nvSpPr>
          <p:spPr bwMode="auto">
            <a:xfrm>
              <a:off x="10348964" y="4479960"/>
              <a:ext cx="3271" cy="8179"/>
            </a:xfrm>
            <a:custGeom>
              <a:avLst/>
              <a:gdLst>
                <a:gd name="T0" fmla="*/ 2 w 2"/>
                <a:gd name="T1" fmla="*/ 0 h 5"/>
                <a:gd name="T2" fmla="*/ 2 w 2"/>
                <a:gd name="T3" fmla="*/ 0 h 5"/>
                <a:gd name="T4" fmla="*/ 0 w 2"/>
                <a:gd name="T5" fmla="*/ 0 h 5"/>
                <a:gd name="T6" fmla="*/ 0 w 2"/>
                <a:gd name="T7" fmla="*/ 0 h 5"/>
                <a:gd name="T8" fmla="*/ 0 w 2"/>
                <a:gd name="T9" fmla="*/ 0 h 5"/>
                <a:gd name="T10" fmla="*/ 0 w 2"/>
                <a:gd name="T11" fmla="*/ 2 h 5"/>
                <a:gd name="T12" fmla="*/ 0 w 2"/>
                <a:gd name="T13" fmla="*/ 5 h 5"/>
                <a:gd name="T14" fmla="*/ 2 w 2"/>
                <a:gd name="T15" fmla="*/ 5 h 5"/>
                <a:gd name="T16" fmla="*/ 2 w 2"/>
                <a:gd name="T17" fmla="*/ 5 h 5"/>
                <a:gd name="T18" fmla="*/ 2 w 2"/>
                <a:gd name="T19" fmla="*/ 2 h 5"/>
                <a:gd name="T20" fmla="*/ 2 w 2"/>
                <a:gd name="T21" fmla="*/ 2 h 5"/>
                <a:gd name="T22" fmla="*/ 2 w 2"/>
                <a:gd name="T23" fmla="*/ 0 h 5"/>
                <a:gd name="T24" fmla="*/ 2 w 2"/>
                <a:gd name="T25"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 h="5">
                  <a:moveTo>
                    <a:pt x="2" y="0"/>
                  </a:moveTo>
                  <a:lnTo>
                    <a:pt x="2" y="0"/>
                  </a:lnTo>
                  <a:lnTo>
                    <a:pt x="0" y="0"/>
                  </a:lnTo>
                  <a:lnTo>
                    <a:pt x="0" y="0"/>
                  </a:lnTo>
                  <a:lnTo>
                    <a:pt x="0" y="0"/>
                  </a:lnTo>
                  <a:lnTo>
                    <a:pt x="0" y="2"/>
                  </a:lnTo>
                  <a:lnTo>
                    <a:pt x="0" y="5"/>
                  </a:lnTo>
                  <a:lnTo>
                    <a:pt x="2" y="5"/>
                  </a:lnTo>
                  <a:lnTo>
                    <a:pt x="2" y="5"/>
                  </a:lnTo>
                  <a:lnTo>
                    <a:pt x="2" y="2"/>
                  </a:lnTo>
                  <a:lnTo>
                    <a:pt x="2" y="2"/>
                  </a:lnTo>
                  <a:lnTo>
                    <a:pt x="2" y="0"/>
                  </a:lnTo>
                  <a:lnTo>
                    <a:pt x="2"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397" name="Freeform 2018">
              <a:extLst>
                <a:ext uri="{FF2B5EF4-FFF2-40B4-BE49-F238E27FC236}">
                  <a16:creationId xmlns:a16="http://schemas.microsoft.com/office/drawing/2014/main" id="{CAA34E56-474E-9743-AE37-8F2843849BE1}"/>
                </a:ext>
              </a:extLst>
            </p:cNvPr>
            <p:cNvSpPr>
              <a:spLocks/>
            </p:cNvSpPr>
            <p:nvPr/>
          </p:nvSpPr>
          <p:spPr bwMode="auto">
            <a:xfrm>
              <a:off x="10136318" y="4434159"/>
              <a:ext cx="8179" cy="3271"/>
            </a:xfrm>
            <a:custGeom>
              <a:avLst/>
              <a:gdLst>
                <a:gd name="T0" fmla="*/ 2 w 5"/>
                <a:gd name="T1" fmla="*/ 0 h 2"/>
                <a:gd name="T2" fmla="*/ 0 w 5"/>
                <a:gd name="T3" fmla="*/ 2 h 2"/>
                <a:gd name="T4" fmla="*/ 2 w 5"/>
                <a:gd name="T5" fmla="*/ 2 h 2"/>
                <a:gd name="T6" fmla="*/ 2 w 5"/>
                <a:gd name="T7" fmla="*/ 2 h 2"/>
                <a:gd name="T8" fmla="*/ 5 w 5"/>
                <a:gd name="T9" fmla="*/ 2 h 2"/>
                <a:gd name="T10" fmla="*/ 5 w 5"/>
                <a:gd name="T11" fmla="*/ 0 h 2"/>
                <a:gd name="T12" fmla="*/ 2 w 5"/>
                <a:gd name="T13" fmla="*/ 0 h 2"/>
                <a:gd name="T14" fmla="*/ 2 w 5"/>
                <a:gd name="T15" fmla="*/ 0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 h="2">
                  <a:moveTo>
                    <a:pt x="2" y="0"/>
                  </a:moveTo>
                  <a:lnTo>
                    <a:pt x="0" y="2"/>
                  </a:lnTo>
                  <a:lnTo>
                    <a:pt x="2" y="2"/>
                  </a:lnTo>
                  <a:lnTo>
                    <a:pt x="2" y="2"/>
                  </a:lnTo>
                  <a:lnTo>
                    <a:pt x="5" y="2"/>
                  </a:lnTo>
                  <a:lnTo>
                    <a:pt x="5" y="0"/>
                  </a:lnTo>
                  <a:lnTo>
                    <a:pt x="2" y="0"/>
                  </a:lnTo>
                  <a:lnTo>
                    <a:pt x="2"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398" name="Freeform 2019">
              <a:extLst>
                <a:ext uri="{FF2B5EF4-FFF2-40B4-BE49-F238E27FC236}">
                  <a16:creationId xmlns:a16="http://schemas.microsoft.com/office/drawing/2014/main" id="{3DF5403D-4361-7D41-BF3E-AE63701F8B85}"/>
                </a:ext>
              </a:extLst>
            </p:cNvPr>
            <p:cNvSpPr>
              <a:spLocks/>
            </p:cNvSpPr>
            <p:nvPr/>
          </p:nvSpPr>
          <p:spPr bwMode="auto">
            <a:xfrm>
              <a:off x="10131412" y="4409624"/>
              <a:ext cx="21265" cy="16357"/>
            </a:xfrm>
            <a:custGeom>
              <a:avLst/>
              <a:gdLst>
                <a:gd name="T0" fmla="*/ 3 w 13"/>
                <a:gd name="T1" fmla="*/ 7 h 10"/>
                <a:gd name="T2" fmla="*/ 3 w 13"/>
                <a:gd name="T3" fmla="*/ 7 h 10"/>
                <a:gd name="T4" fmla="*/ 5 w 13"/>
                <a:gd name="T5" fmla="*/ 7 h 10"/>
                <a:gd name="T6" fmla="*/ 5 w 13"/>
                <a:gd name="T7" fmla="*/ 7 h 10"/>
                <a:gd name="T8" fmla="*/ 5 w 13"/>
                <a:gd name="T9" fmla="*/ 7 h 10"/>
                <a:gd name="T10" fmla="*/ 8 w 13"/>
                <a:gd name="T11" fmla="*/ 5 h 10"/>
                <a:gd name="T12" fmla="*/ 10 w 13"/>
                <a:gd name="T13" fmla="*/ 5 h 10"/>
                <a:gd name="T14" fmla="*/ 13 w 13"/>
                <a:gd name="T15" fmla="*/ 2 h 10"/>
                <a:gd name="T16" fmla="*/ 10 w 13"/>
                <a:gd name="T17" fmla="*/ 0 h 10"/>
                <a:gd name="T18" fmla="*/ 10 w 13"/>
                <a:gd name="T19" fmla="*/ 0 h 10"/>
                <a:gd name="T20" fmla="*/ 8 w 13"/>
                <a:gd name="T21" fmla="*/ 2 h 10"/>
                <a:gd name="T22" fmla="*/ 5 w 13"/>
                <a:gd name="T23" fmla="*/ 2 h 10"/>
                <a:gd name="T24" fmla="*/ 3 w 13"/>
                <a:gd name="T25" fmla="*/ 5 h 10"/>
                <a:gd name="T26" fmla="*/ 0 w 13"/>
                <a:gd name="T27" fmla="*/ 5 h 10"/>
                <a:gd name="T28" fmla="*/ 0 w 13"/>
                <a:gd name="T29" fmla="*/ 7 h 10"/>
                <a:gd name="T30" fmla="*/ 0 w 13"/>
                <a:gd name="T31" fmla="*/ 10 h 10"/>
                <a:gd name="T32" fmla="*/ 3 w 13"/>
                <a:gd name="T33" fmla="*/ 7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 h="10">
                  <a:moveTo>
                    <a:pt x="3" y="7"/>
                  </a:moveTo>
                  <a:lnTo>
                    <a:pt x="3" y="7"/>
                  </a:lnTo>
                  <a:lnTo>
                    <a:pt x="5" y="7"/>
                  </a:lnTo>
                  <a:lnTo>
                    <a:pt x="5" y="7"/>
                  </a:lnTo>
                  <a:lnTo>
                    <a:pt x="5" y="7"/>
                  </a:lnTo>
                  <a:lnTo>
                    <a:pt x="8" y="5"/>
                  </a:lnTo>
                  <a:lnTo>
                    <a:pt x="10" y="5"/>
                  </a:lnTo>
                  <a:lnTo>
                    <a:pt x="13" y="2"/>
                  </a:lnTo>
                  <a:lnTo>
                    <a:pt x="10" y="0"/>
                  </a:lnTo>
                  <a:lnTo>
                    <a:pt x="10" y="0"/>
                  </a:lnTo>
                  <a:lnTo>
                    <a:pt x="8" y="2"/>
                  </a:lnTo>
                  <a:lnTo>
                    <a:pt x="5" y="2"/>
                  </a:lnTo>
                  <a:lnTo>
                    <a:pt x="3" y="5"/>
                  </a:lnTo>
                  <a:lnTo>
                    <a:pt x="0" y="5"/>
                  </a:lnTo>
                  <a:lnTo>
                    <a:pt x="0" y="7"/>
                  </a:lnTo>
                  <a:lnTo>
                    <a:pt x="0" y="10"/>
                  </a:lnTo>
                  <a:lnTo>
                    <a:pt x="3" y="7"/>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399" name="Freeform 2020">
              <a:extLst>
                <a:ext uri="{FF2B5EF4-FFF2-40B4-BE49-F238E27FC236}">
                  <a16:creationId xmlns:a16="http://schemas.microsoft.com/office/drawing/2014/main" id="{5B30620D-6A25-624A-B39D-FCB76E69646C}"/>
                </a:ext>
              </a:extLst>
            </p:cNvPr>
            <p:cNvSpPr>
              <a:spLocks/>
            </p:cNvSpPr>
            <p:nvPr/>
          </p:nvSpPr>
          <p:spPr bwMode="auto">
            <a:xfrm>
              <a:off x="10064346" y="4380180"/>
              <a:ext cx="4908" cy="8179"/>
            </a:xfrm>
            <a:custGeom>
              <a:avLst/>
              <a:gdLst>
                <a:gd name="T0" fmla="*/ 3 w 3"/>
                <a:gd name="T1" fmla="*/ 0 h 5"/>
                <a:gd name="T2" fmla="*/ 3 w 3"/>
                <a:gd name="T3" fmla="*/ 2 h 5"/>
                <a:gd name="T4" fmla="*/ 3 w 3"/>
                <a:gd name="T5" fmla="*/ 2 h 5"/>
                <a:gd name="T6" fmla="*/ 0 w 3"/>
                <a:gd name="T7" fmla="*/ 2 h 5"/>
                <a:gd name="T8" fmla="*/ 3 w 3"/>
                <a:gd name="T9" fmla="*/ 2 h 5"/>
                <a:gd name="T10" fmla="*/ 3 w 3"/>
                <a:gd name="T11" fmla="*/ 5 h 5"/>
                <a:gd name="T12" fmla="*/ 3 w 3"/>
                <a:gd name="T13" fmla="*/ 5 h 5"/>
                <a:gd name="T14" fmla="*/ 3 w 3"/>
                <a:gd name="T15" fmla="*/ 5 h 5"/>
                <a:gd name="T16" fmla="*/ 3 w 3"/>
                <a:gd name="T17" fmla="*/ 5 h 5"/>
                <a:gd name="T18" fmla="*/ 3 w 3"/>
                <a:gd name="T19" fmla="*/ 2 h 5"/>
                <a:gd name="T20" fmla="*/ 3 w 3"/>
                <a:gd name="T21"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5">
                  <a:moveTo>
                    <a:pt x="3" y="0"/>
                  </a:moveTo>
                  <a:lnTo>
                    <a:pt x="3" y="2"/>
                  </a:lnTo>
                  <a:lnTo>
                    <a:pt x="3" y="2"/>
                  </a:lnTo>
                  <a:lnTo>
                    <a:pt x="0" y="2"/>
                  </a:lnTo>
                  <a:lnTo>
                    <a:pt x="3" y="2"/>
                  </a:lnTo>
                  <a:lnTo>
                    <a:pt x="3" y="5"/>
                  </a:lnTo>
                  <a:lnTo>
                    <a:pt x="3" y="5"/>
                  </a:lnTo>
                  <a:lnTo>
                    <a:pt x="3" y="5"/>
                  </a:lnTo>
                  <a:lnTo>
                    <a:pt x="3" y="5"/>
                  </a:lnTo>
                  <a:lnTo>
                    <a:pt x="3" y="2"/>
                  </a:lnTo>
                  <a:lnTo>
                    <a:pt x="3"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400" name="Freeform 2021">
              <a:extLst>
                <a:ext uri="{FF2B5EF4-FFF2-40B4-BE49-F238E27FC236}">
                  <a16:creationId xmlns:a16="http://schemas.microsoft.com/office/drawing/2014/main" id="{E4052698-40CA-B34B-A678-895A6DCF2DA1}"/>
                </a:ext>
              </a:extLst>
            </p:cNvPr>
            <p:cNvSpPr>
              <a:spLocks/>
            </p:cNvSpPr>
            <p:nvPr/>
          </p:nvSpPr>
          <p:spPr bwMode="auto">
            <a:xfrm>
              <a:off x="10052896" y="4380180"/>
              <a:ext cx="3271" cy="3271"/>
            </a:xfrm>
            <a:custGeom>
              <a:avLst/>
              <a:gdLst>
                <a:gd name="T0" fmla="*/ 0 w 2"/>
                <a:gd name="T1" fmla="*/ 2 h 2"/>
                <a:gd name="T2" fmla="*/ 2 w 2"/>
                <a:gd name="T3" fmla="*/ 2 h 2"/>
                <a:gd name="T4" fmla="*/ 2 w 2"/>
                <a:gd name="T5" fmla="*/ 0 h 2"/>
                <a:gd name="T6" fmla="*/ 2 w 2"/>
                <a:gd name="T7" fmla="*/ 0 h 2"/>
                <a:gd name="T8" fmla="*/ 0 w 2"/>
                <a:gd name="T9" fmla="*/ 0 h 2"/>
                <a:gd name="T10" fmla="*/ 0 w 2"/>
                <a:gd name="T11" fmla="*/ 0 h 2"/>
                <a:gd name="T12" fmla="*/ 0 w 2"/>
                <a:gd name="T13" fmla="*/ 2 h 2"/>
                <a:gd name="T14" fmla="*/ 0 w 2"/>
                <a:gd name="T15" fmla="*/ 2 h 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2">
                  <a:moveTo>
                    <a:pt x="0" y="2"/>
                  </a:moveTo>
                  <a:lnTo>
                    <a:pt x="2" y="2"/>
                  </a:lnTo>
                  <a:lnTo>
                    <a:pt x="2" y="0"/>
                  </a:lnTo>
                  <a:lnTo>
                    <a:pt x="2" y="0"/>
                  </a:lnTo>
                  <a:lnTo>
                    <a:pt x="0" y="0"/>
                  </a:lnTo>
                  <a:lnTo>
                    <a:pt x="0" y="0"/>
                  </a:lnTo>
                  <a:lnTo>
                    <a:pt x="0" y="2"/>
                  </a:lnTo>
                  <a:lnTo>
                    <a:pt x="0" y="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401" name="Freeform 2022">
              <a:extLst>
                <a:ext uri="{FF2B5EF4-FFF2-40B4-BE49-F238E27FC236}">
                  <a16:creationId xmlns:a16="http://schemas.microsoft.com/office/drawing/2014/main" id="{70204C6C-511C-004E-8E13-5BA84561CBA8}"/>
                </a:ext>
              </a:extLst>
            </p:cNvPr>
            <p:cNvSpPr>
              <a:spLocks/>
            </p:cNvSpPr>
            <p:nvPr/>
          </p:nvSpPr>
          <p:spPr bwMode="auto">
            <a:xfrm>
              <a:off x="10064346" y="4375273"/>
              <a:ext cx="0" cy="8179"/>
            </a:xfrm>
            <a:custGeom>
              <a:avLst/>
              <a:gdLst>
                <a:gd name="T0" fmla="*/ 5 h 5"/>
                <a:gd name="T1" fmla="*/ 3 h 5"/>
                <a:gd name="T2" fmla="*/ 3 h 5"/>
                <a:gd name="T3" fmla="*/ 0 h 5"/>
                <a:gd name="T4" fmla="*/ 3 h 5"/>
                <a:gd name="T5" fmla="*/ 5 h 5"/>
              </a:gdLst>
              <a:ahLst/>
              <a:cxnLst>
                <a:cxn ang="0">
                  <a:pos x="0" y="T0"/>
                </a:cxn>
                <a:cxn ang="0">
                  <a:pos x="0" y="T1"/>
                </a:cxn>
                <a:cxn ang="0">
                  <a:pos x="0" y="T2"/>
                </a:cxn>
                <a:cxn ang="0">
                  <a:pos x="0" y="T3"/>
                </a:cxn>
                <a:cxn ang="0">
                  <a:pos x="0" y="T4"/>
                </a:cxn>
                <a:cxn ang="0">
                  <a:pos x="0" y="T5"/>
                </a:cxn>
              </a:cxnLst>
              <a:rect l="0" t="0" r="r" b="b"/>
              <a:pathLst>
                <a:path h="5">
                  <a:moveTo>
                    <a:pt x="0" y="5"/>
                  </a:moveTo>
                  <a:lnTo>
                    <a:pt x="0" y="3"/>
                  </a:lnTo>
                  <a:lnTo>
                    <a:pt x="0" y="3"/>
                  </a:lnTo>
                  <a:lnTo>
                    <a:pt x="0" y="0"/>
                  </a:lnTo>
                  <a:lnTo>
                    <a:pt x="0" y="3"/>
                  </a:lnTo>
                  <a:lnTo>
                    <a:pt x="0" y="5"/>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402" name="Freeform 2023">
              <a:extLst>
                <a:ext uri="{FF2B5EF4-FFF2-40B4-BE49-F238E27FC236}">
                  <a16:creationId xmlns:a16="http://schemas.microsoft.com/office/drawing/2014/main" id="{18A7566B-EB3F-F74C-88ED-ADAF9BAC0939}"/>
                </a:ext>
              </a:extLst>
            </p:cNvPr>
            <p:cNvSpPr>
              <a:spLocks/>
            </p:cNvSpPr>
            <p:nvPr/>
          </p:nvSpPr>
          <p:spPr bwMode="auto">
            <a:xfrm>
              <a:off x="9665226" y="4367095"/>
              <a:ext cx="3271" cy="8179"/>
            </a:xfrm>
            <a:custGeom>
              <a:avLst/>
              <a:gdLst>
                <a:gd name="T0" fmla="*/ 0 w 2"/>
                <a:gd name="T1" fmla="*/ 5 h 5"/>
                <a:gd name="T2" fmla="*/ 0 w 2"/>
                <a:gd name="T3" fmla="*/ 5 h 5"/>
                <a:gd name="T4" fmla="*/ 0 w 2"/>
                <a:gd name="T5" fmla="*/ 5 h 5"/>
                <a:gd name="T6" fmla="*/ 2 w 2"/>
                <a:gd name="T7" fmla="*/ 3 h 5"/>
                <a:gd name="T8" fmla="*/ 0 w 2"/>
                <a:gd name="T9" fmla="*/ 3 h 5"/>
                <a:gd name="T10" fmla="*/ 0 w 2"/>
                <a:gd name="T11" fmla="*/ 0 h 5"/>
                <a:gd name="T12" fmla="*/ 0 w 2"/>
                <a:gd name="T13" fmla="*/ 0 h 5"/>
                <a:gd name="T14" fmla="*/ 0 w 2"/>
                <a:gd name="T15" fmla="*/ 3 h 5"/>
                <a:gd name="T16" fmla="*/ 0 w 2"/>
                <a:gd name="T17" fmla="*/ 3 h 5"/>
                <a:gd name="T18" fmla="*/ 0 w 2"/>
                <a:gd name="T19" fmla="*/ 3 h 5"/>
                <a:gd name="T20" fmla="*/ 0 w 2"/>
                <a:gd name="T2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 h="5">
                  <a:moveTo>
                    <a:pt x="0" y="5"/>
                  </a:moveTo>
                  <a:lnTo>
                    <a:pt x="0" y="5"/>
                  </a:lnTo>
                  <a:lnTo>
                    <a:pt x="0" y="5"/>
                  </a:lnTo>
                  <a:lnTo>
                    <a:pt x="2" y="3"/>
                  </a:lnTo>
                  <a:lnTo>
                    <a:pt x="0" y="3"/>
                  </a:lnTo>
                  <a:lnTo>
                    <a:pt x="0" y="0"/>
                  </a:lnTo>
                  <a:lnTo>
                    <a:pt x="0" y="0"/>
                  </a:lnTo>
                  <a:lnTo>
                    <a:pt x="0" y="3"/>
                  </a:lnTo>
                  <a:lnTo>
                    <a:pt x="0" y="3"/>
                  </a:lnTo>
                  <a:lnTo>
                    <a:pt x="0" y="3"/>
                  </a:lnTo>
                  <a:lnTo>
                    <a:pt x="0" y="5"/>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403" name="Freeform 2024">
              <a:extLst>
                <a:ext uri="{FF2B5EF4-FFF2-40B4-BE49-F238E27FC236}">
                  <a16:creationId xmlns:a16="http://schemas.microsoft.com/office/drawing/2014/main" id="{3EA5BC2E-71F2-784E-99C6-E859033BA28C}"/>
                </a:ext>
              </a:extLst>
            </p:cNvPr>
            <p:cNvSpPr>
              <a:spLocks/>
            </p:cNvSpPr>
            <p:nvPr/>
          </p:nvSpPr>
          <p:spPr bwMode="auto">
            <a:xfrm>
              <a:off x="9684855" y="4337651"/>
              <a:ext cx="4908" cy="8179"/>
            </a:xfrm>
            <a:custGeom>
              <a:avLst/>
              <a:gdLst>
                <a:gd name="T0" fmla="*/ 3 w 3"/>
                <a:gd name="T1" fmla="*/ 3 h 5"/>
                <a:gd name="T2" fmla="*/ 3 w 3"/>
                <a:gd name="T3" fmla="*/ 3 h 5"/>
                <a:gd name="T4" fmla="*/ 3 w 3"/>
                <a:gd name="T5" fmla="*/ 0 h 5"/>
                <a:gd name="T6" fmla="*/ 3 w 3"/>
                <a:gd name="T7" fmla="*/ 0 h 5"/>
                <a:gd name="T8" fmla="*/ 3 w 3"/>
                <a:gd name="T9" fmla="*/ 0 h 5"/>
                <a:gd name="T10" fmla="*/ 0 w 3"/>
                <a:gd name="T11" fmla="*/ 3 h 5"/>
                <a:gd name="T12" fmla="*/ 3 w 3"/>
                <a:gd name="T13" fmla="*/ 5 h 5"/>
                <a:gd name="T14" fmla="*/ 3 w 3"/>
                <a:gd name="T15" fmla="*/ 3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5">
                  <a:moveTo>
                    <a:pt x="3" y="3"/>
                  </a:moveTo>
                  <a:lnTo>
                    <a:pt x="3" y="3"/>
                  </a:lnTo>
                  <a:lnTo>
                    <a:pt x="3" y="0"/>
                  </a:lnTo>
                  <a:lnTo>
                    <a:pt x="3" y="0"/>
                  </a:lnTo>
                  <a:lnTo>
                    <a:pt x="3" y="0"/>
                  </a:lnTo>
                  <a:lnTo>
                    <a:pt x="0" y="3"/>
                  </a:lnTo>
                  <a:lnTo>
                    <a:pt x="3" y="5"/>
                  </a:lnTo>
                  <a:lnTo>
                    <a:pt x="3" y="3"/>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404" name="Freeform 2025">
              <a:extLst>
                <a:ext uri="{FF2B5EF4-FFF2-40B4-BE49-F238E27FC236}">
                  <a16:creationId xmlns:a16="http://schemas.microsoft.com/office/drawing/2014/main" id="{F3358382-06CB-7E4A-97A0-D51D665B01FB}"/>
                </a:ext>
              </a:extLst>
            </p:cNvPr>
            <p:cNvSpPr>
              <a:spLocks/>
            </p:cNvSpPr>
            <p:nvPr/>
          </p:nvSpPr>
          <p:spPr bwMode="auto">
            <a:xfrm>
              <a:off x="10056168" y="4308208"/>
              <a:ext cx="21265" cy="26172"/>
            </a:xfrm>
            <a:custGeom>
              <a:avLst/>
              <a:gdLst>
                <a:gd name="T0" fmla="*/ 8 w 13"/>
                <a:gd name="T1" fmla="*/ 8 h 16"/>
                <a:gd name="T2" fmla="*/ 10 w 13"/>
                <a:gd name="T3" fmla="*/ 6 h 16"/>
                <a:gd name="T4" fmla="*/ 10 w 13"/>
                <a:gd name="T5" fmla="*/ 6 h 16"/>
                <a:gd name="T6" fmla="*/ 13 w 13"/>
                <a:gd name="T7" fmla="*/ 3 h 16"/>
                <a:gd name="T8" fmla="*/ 10 w 13"/>
                <a:gd name="T9" fmla="*/ 3 h 16"/>
                <a:gd name="T10" fmla="*/ 10 w 13"/>
                <a:gd name="T11" fmla="*/ 3 h 16"/>
                <a:gd name="T12" fmla="*/ 10 w 13"/>
                <a:gd name="T13" fmla="*/ 3 h 16"/>
                <a:gd name="T14" fmla="*/ 10 w 13"/>
                <a:gd name="T15" fmla="*/ 6 h 16"/>
                <a:gd name="T16" fmla="*/ 8 w 13"/>
                <a:gd name="T17" fmla="*/ 6 h 16"/>
                <a:gd name="T18" fmla="*/ 8 w 13"/>
                <a:gd name="T19" fmla="*/ 3 h 16"/>
                <a:gd name="T20" fmla="*/ 8 w 13"/>
                <a:gd name="T21" fmla="*/ 3 h 16"/>
                <a:gd name="T22" fmla="*/ 8 w 13"/>
                <a:gd name="T23" fmla="*/ 0 h 16"/>
                <a:gd name="T24" fmla="*/ 8 w 13"/>
                <a:gd name="T25" fmla="*/ 0 h 16"/>
                <a:gd name="T26" fmla="*/ 5 w 13"/>
                <a:gd name="T27" fmla="*/ 3 h 16"/>
                <a:gd name="T28" fmla="*/ 5 w 13"/>
                <a:gd name="T29" fmla="*/ 3 h 16"/>
                <a:gd name="T30" fmla="*/ 3 w 13"/>
                <a:gd name="T31" fmla="*/ 6 h 16"/>
                <a:gd name="T32" fmla="*/ 0 w 13"/>
                <a:gd name="T33" fmla="*/ 8 h 16"/>
                <a:gd name="T34" fmla="*/ 0 w 13"/>
                <a:gd name="T35" fmla="*/ 11 h 16"/>
                <a:gd name="T36" fmla="*/ 0 w 13"/>
                <a:gd name="T37" fmla="*/ 13 h 16"/>
                <a:gd name="T38" fmla="*/ 0 w 13"/>
                <a:gd name="T39" fmla="*/ 13 h 16"/>
                <a:gd name="T40" fmla="*/ 0 w 13"/>
                <a:gd name="T41" fmla="*/ 13 h 16"/>
                <a:gd name="T42" fmla="*/ 3 w 13"/>
                <a:gd name="T43" fmla="*/ 13 h 16"/>
                <a:gd name="T44" fmla="*/ 5 w 13"/>
                <a:gd name="T45" fmla="*/ 16 h 16"/>
                <a:gd name="T46" fmla="*/ 8 w 13"/>
                <a:gd name="T47" fmla="*/ 13 h 16"/>
                <a:gd name="T48" fmla="*/ 10 w 13"/>
                <a:gd name="T49" fmla="*/ 16 h 16"/>
                <a:gd name="T50" fmla="*/ 10 w 13"/>
                <a:gd name="T51" fmla="*/ 13 h 16"/>
                <a:gd name="T52" fmla="*/ 10 w 13"/>
                <a:gd name="T53" fmla="*/ 13 h 16"/>
                <a:gd name="T54" fmla="*/ 10 w 13"/>
                <a:gd name="T55" fmla="*/ 13 h 16"/>
                <a:gd name="T56" fmla="*/ 10 w 13"/>
                <a:gd name="T57" fmla="*/ 13 h 16"/>
                <a:gd name="T58" fmla="*/ 8 w 13"/>
                <a:gd name="T59" fmla="*/ 11 h 16"/>
                <a:gd name="T60" fmla="*/ 8 w 13"/>
                <a:gd name="T61" fmla="*/ 11 h 16"/>
                <a:gd name="T62" fmla="*/ 8 w 13"/>
                <a:gd name="T63" fmla="*/ 11 h 16"/>
                <a:gd name="T64" fmla="*/ 8 w 13"/>
                <a:gd name="T65"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 h="16">
                  <a:moveTo>
                    <a:pt x="8" y="8"/>
                  </a:moveTo>
                  <a:lnTo>
                    <a:pt x="10" y="6"/>
                  </a:lnTo>
                  <a:lnTo>
                    <a:pt x="10" y="6"/>
                  </a:lnTo>
                  <a:lnTo>
                    <a:pt x="13" y="3"/>
                  </a:lnTo>
                  <a:lnTo>
                    <a:pt x="10" y="3"/>
                  </a:lnTo>
                  <a:lnTo>
                    <a:pt x="10" y="3"/>
                  </a:lnTo>
                  <a:lnTo>
                    <a:pt x="10" y="3"/>
                  </a:lnTo>
                  <a:lnTo>
                    <a:pt x="10" y="6"/>
                  </a:lnTo>
                  <a:lnTo>
                    <a:pt x="8" y="6"/>
                  </a:lnTo>
                  <a:lnTo>
                    <a:pt x="8" y="3"/>
                  </a:lnTo>
                  <a:lnTo>
                    <a:pt x="8" y="3"/>
                  </a:lnTo>
                  <a:lnTo>
                    <a:pt x="8" y="0"/>
                  </a:lnTo>
                  <a:lnTo>
                    <a:pt x="8" y="0"/>
                  </a:lnTo>
                  <a:lnTo>
                    <a:pt x="5" y="3"/>
                  </a:lnTo>
                  <a:lnTo>
                    <a:pt x="5" y="3"/>
                  </a:lnTo>
                  <a:lnTo>
                    <a:pt x="3" y="6"/>
                  </a:lnTo>
                  <a:lnTo>
                    <a:pt x="0" y="8"/>
                  </a:lnTo>
                  <a:lnTo>
                    <a:pt x="0" y="11"/>
                  </a:lnTo>
                  <a:lnTo>
                    <a:pt x="0" y="13"/>
                  </a:lnTo>
                  <a:lnTo>
                    <a:pt x="0" y="13"/>
                  </a:lnTo>
                  <a:lnTo>
                    <a:pt x="0" y="13"/>
                  </a:lnTo>
                  <a:lnTo>
                    <a:pt x="3" y="13"/>
                  </a:lnTo>
                  <a:lnTo>
                    <a:pt x="5" y="16"/>
                  </a:lnTo>
                  <a:lnTo>
                    <a:pt x="8" y="13"/>
                  </a:lnTo>
                  <a:lnTo>
                    <a:pt x="10" y="16"/>
                  </a:lnTo>
                  <a:lnTo>
                    <a:pt x="10" y="13"/>
                  </a:lnTo>
                  <a:lnTo>
                    <a:pt x="10" y="13"/>
                  </a:lnTo>
                  <a:lnTo>
                    <a:pt x="10" y="13"/>
                  </a:lnTo>
                  <a:lnTo>
                    <a:pt x="10" y="13"/>
                  </a:lnTo>
                  <a:lnTo>
                    <a:pt x="8" y="11"/>
                  </a:lnTo>
                  <a:lnTo>
                    <a:pt x="8" y="11"/>
                  </a:lnTo>
                  <a:lnTo>
                    <a:pt x="8" y="11"/>
                  </a:lnTo>
                  <a:lnTo>
                    <a:pt x="8" y="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405" name="Freeform 2026">
              <a:extLst>
                <a:ext uri="{FF2B5EF4-FFF2-40B4-BE49-F238E27FC236}">
                  <a16:creationId xmlns:a16="http://schemas.microsoft.com/office/drawing/2014/main" id="{ACDB4F64-0DFE-B647-A94C-8344DF15752A}"/>
                </a:ext>
              </a:extLst>
            </p:cNvPr>
            <p:cNvSpPr>
              <a:spLocks/>
            </p:cNvSpPr>
            <p:nvPr/>
          </p:nvSpPr>
          <p:spPr bwMode="auto">
            <a:xfrm>
              <a:off x="10047989" y="4308208"/>
              <a:ext cx="8179" cy="9814"/>
            </a:xfrm>
            <a:custGeom>
              <a:avLst/>
              <a:gdLst>
                <a:gd name="T0" fmla="*/ 5 w 5"/>
                <a:gd name="T1" fmla="*/ 3 h 6"/>
                <a:gd name="T2" fmla="*/ 5 w 5"/>
                <a:gd name="T3" fmla="*/ 0 h 6"/>
                <a:gd name="T4" fmla="*/ 3 w 5"/>
                <a:gd name="T5" fmla="*/ 0 h 6"/>
                <a:gd name="T6" fmla="*/ 3 w 5"/>
                <a:gd name="T7" fmla="*/ 3 h 6"/>
                <a:gd name="T8" fmla="*/ 3 w 5"/>
                <a:gd name="T9" fmla="*/ 3 h 6"/>
                <a:gd name="T10" fmla="*/ 0 w 5"/>
                <a:gd name="T11" fmla="*/ 3 h 6"/>
                <a:gd name="T12" fmla="*/ 0 w 5"/>
                <a:gd name="T13" fmla="*/ 3 h 6"/>
                <a:gd name="T14" fmla="*/ 3 w 5"/>
                <a:gd name="T15" fmla="*/ 6 h 6"/>
                <a:gd name="T16" fmla="*/ 3 w 5"/>
                <a:gd name="T17" fmla="*/ 3 h 6"/>
                <a:gd name="T18" fmla="*/ 5 w 5"/>
                <a:gd name="T19"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 h="6">
                  <a:moveTo>
                    <a:pt x="5" y="3"/>
                  </a:moveTo>
                  <a:lnTo>
                    <a:pt x="5" y="0"/>
                  </a:lnTo>
                  <a:lnTo>
                    <a:pt x="3" y="0"/>
                  </a:lnTo>
                  <a:lnTo>
                    <a:pt x="3" y="3"/>
                  </a:lnTo>
                  <a:lnTo>
                    <a:pt x="3" y="3"/>
                  </a:lnTo>
                  <a:lnTo>
                    <a:pt x="0" y="3"/>
                  </a:lnTo>
                  <a:lnTo>
                    <a:pt x="0" y="3"/>
                  </a:lnTo>
                  <a:lnTo>
                    <a:pt x="3" y="6"/>
                  </a:lnTo>
                  <a:lnTo>
                    <a:pt x="3" y="3"/>
                  </a:lnTo>
                  <a:lnTo>
                    <a:pt x="5" y="3"/>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406" name="Freeform 2027">
              <a:extLst>
                <a:ext uri="{FF2B5EF4-FFF2-40B4-BE49-F238E27FC236}">
                  <a16:creationId xmlns:a16="http://schemas.microsoft.com/office/drawing/2014/main" id="{F038ABC8-8C50-1844-8E4E-A4AE0E00575F}"/>
                </a:ext>
              </a:extLst>
            </p:cNvPr>
            <p:cNvSpPr>
              <a:spLocks/>
            </p:cNvSpPr>
            <p:nvPr/>
          </p:nvSpPr>
          <p:spPr bwMode="auto">
            <a:xfrm>
              <a:off x="10061075" y="4226421"/>
              <a:ext cx="11451" cy="8179"/>
            </a:xfrm>
            <a:custGeom>
              <a:avLst/>
              <a:gdLst>
                <a:gd name="T0" fmla="*/ 5 w 7"/>
                <a:gd name="T1" fmla="*/ 2 h 5"/>
                <a:gd name="T2" fmla="*/ 7 w 7"/>
                <a:gd name="T3" fmla="*/ 2 h 5"/>
                <a:gd name="T4" fmla="*/ 7 w 7"/>
                <a:gd name="T5" fmla="*/ 0 h 5"/>
                <a:gd name="T6" fmla="*/ 7 w 7"/>
                <a:gd name="T7" fmla="*/ 2 h 5"/>
                <a:gd name="T8" fmla="*/ 2 w 7"/>
                <a:gd name="T9" fmla="*/ 2 h 5"/>
                <a:gd name="T10" fmla="*/ 0 w 7"/>
                <a:gd name="T11" fmla="*/ 5 h 5"/>
                <a:gd name="T12" fmla="*/ 5 w 7"/>
                <a:gd name="T13" fmla="*/ 5 h 5"/>
                <a:gd name="T14" fmla="*/ 5 w 7"/>
                <a:gd name="T15" fmla="*/ 2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 h="5">
                  <a:moveTo>
                    <a:pt x="5" y="2"/>
                  </a:moveTo>
                  <a:lnTo>
                    <a:pt x="7" y="2"/>
                  </a:lnTo>
                  <a:lnTo>
                    <a:pt x="7" y="0"/>
                  </a:lnTo>
                  <a:lnTo>
                    <a:pt x="7" y="2"/>
                  </a:lnTo>
                  <a:lnTo>
                    <a:pt x="2" y="2"/>
                  </a:lnTo>
                  <a:lnTo>
                    <a:pt x="0" y="5"/>
                  </a:lnTo>
                  <a:lnTo>
                    <a:pt x="5" y="5"/>
                  </a:lnTo>
                  <a:lnTo>
                    <a:pt x="5" y="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407" name="Freeform 2028">
              <a:extLst>
                <a:ext uri="{FF2B5EF4-FFF2-40B4-BE49-F238E27FC236}">
                  <a16:creationId xmlns:a16="http://schemas.microsoft.com/office/drawing/2014/main" id="{0FCC68B7-0BAA-1240-AD6D-E48525E9D912}"/>
                </a:ext>
              </a:extLst>
            </p:cNvPr>
            <p:cNvSpPr>
              <a:spLocks/>
            </p:cNvSpPr>
            <p:nvPr/>
          </p:nvSpPr>
          <p:spPr bwMode="auto">
            <a:xfrm>
              <a:off x="9859879" y="4221514"/>
              <a:ext cx="17994" cy="21265"/>
            </a:xfrm>
            <a:custGeom>
              <a:avLst/>
              <a:gdLst>
                <a:gd name="T0" fmla="*/ 3 w 11"/>
                <a:gd name="T1" fmla="*/ 13 h 13"/>
                <a:gd name="T2" fmla="*/ 6 w 11"/>
                <a:gd name="T3" fmla="*/ 10 h 13"/>
                <a:gd name="T4" fmla="*/ 11 w 11"/>
                <a:gd name="T5" fmla="*/ 13 h 13"/>
                <a:gd name="T6" fmla="*/ 11 w 11"/>
                <a:gd name="T7" fmla="*/ 13 h 13"/>
                <a:gd name="T8" fmla="*/ 11 w 11"/>
                <a:gd name="T9" fmla="*/ 10 h 13"/>
                <a:gd name="T10" fmla="*/ 11 w 11"/>
                <a:gd name="T11" fmla="*/ 10 h 13"/>
                <a:gd name="T12" fmla="*/ 11 w 11"/>
                <a:gd name="T13" fmla="*/ 10 h 13"/>
                <a:gd name="T14" fmla="*/ 8 w 11"/>
                <a:gd name="T15" fmla="*/ 8 h 13"/>
                <a:gd name="T16" fmla="*/ 8 w 11"/>
                <a:gd name="T17" fmla="*/ 8 h 13"/>
                <a:gd name="T18" fmla="*/ 8 w 11"/>
                <a:gd name="T19" fmla="*/ 5 h 13"/>
                <a:gd name="T20" fmla="*/ 8 w 11"/>
                <a:gd name="T21" fmla="*/ 3 h 13"/>
                <a:gd name="T22" fmla="*/ 8 w 11"/>
                <a:gd name="T23" fmla="*/ 0 h 13"/>
                <a:gd name="T24" fmla="*/ 6 w 11"/>
                <a:gd name="T25" fmla="*/ 0 h 13"/>
                <a:gd name="T26" fmla="*/ 6 w 11"/>
                <a:gd name="T27" fmla="*/ 0 h 13"/>
                <a:gd name="T28" fmla="*/ 3 w 11"/>
                <a:gd name="T29" fmla="*/ 5 h 13"/>
                <a:gd name="T30" fmla="*/ 3 w 11"/>
                <a:gd name="T31" fmla="*/ 5 h 13"/>
                <a:gd name="T32" fmla="*/ 3 w 11"/>
                <a:gd name="T33" fmla="*/ 8 h 13"/>
                <a:gd name="T34" fmla="*/ 3 w 11"/>
                <a:gd name="T35" fmla="*/ 8 h 13"/>
                <a:gd name="T36" fmla="*/ 0 w 11"/>
                <a:gd name="T37" fmla="*/ 8 h 13"/>
                <a:gd name="T38" fmla="*/ 0 w 11"/>
                <a:gd name="T39" fmla="*/ 10 h 13"/>
                <a:gd name="T40" fmla="*/ 0 w 11"/>
                <a:gd name="T41" fmla="*/ 13 h 13"/>
                <a:gd name="T42" fmla="*/ 3 w 11"/>
                <a:gd name="T43"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 h="13">
                  <a:moveTo>
                    <a:pt x="3" y="13"/>
                  </a:moveTo>
                  <a:lnTo>
                    <a:pt x="6" y="10"/>
                  </a:lnTo>
                  <a:lnTo>
                    <a:pt x="11" y="13"/>
                  </a:lnTo>
                  <a:lnTo>
                    <a:pt x="11" y="13"/>
                  </a:lnTo>
                  <a:lnTo>
                    <a:pt x="11" y="10"/>
                  </a:lnTo>
                  <a:lnTo>
                    <a:pt x="11" y="10"/>
                  </a:lnTo>
                  <a:lnTo>
                    <a:pt x="11" y="10"/>
                  </a:lnTo>
                  <a:lnTo>
                    <a:pt x="8" y="8"/>
                  </a:lnTo>
                  <a:lnTo>
                    <a:pt x="8" y="8"/>
                  </a:lnTo>
                  <a:lnTo>
                    <a:pt x="8" y="5"/>
                  </a:lnTo>
                  <a:lnTo>
                    <a:pt x="8" y="3"/>
                  </a:lnTo>
                  <a:lnTo>
                    <a:pt x="8" y="0"/>
                  </a:lnTo>
                  <a:lnTo>
                    <a:pt x="6" y="0"/>
                  </a:lnTo>
                  <a:lnTo>
                    <a:pt x="6" y="0"/>
                  </a:lnTo>
                  <a:lnTo>
                    <a:pt x="3" y="5"/>
                  </a:lnTo>
                  <a:lnTo>
                    <a:pt x="3" y="5"/>
                  </a:lnTo>
                  <a:lnTo>
                    <a:pt x="3" y="8"/>
                  </a:lnTo>
                  <a:lnTo>
                    <a:pt x="3" y="8"/>
                  </a:lnTo>
                  <a:lnTo>
                    <a:pt x="0" y="8"/>
                  </a:lnTo>
                  <a:lnTo>
                    <a:pt x="0" y="10"/>
                  </a:lnTo>
                  <a:lnTo>
                    <a:pt x="0" y="13"/>
                  </a:lnTo>
                  <a:lnTo>
                    <a:pt x="3" y="13"/>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408" name="Freeform 2029">
              <a:extLst>
                <a:ext uri="{FF2B5EF4-FFF2-40B4-BE49-F238E27FC236}">
                  <a16:creationId xmlns:a16="http://schemas.microsoft.com/office/drawing/2014/main" id="{FC05E71C-5566-EA4D-A51B-149F51056423}"/>
                </a:ext>
              </a:extLst>
            </p:cNvPr>
            <p:cNvSpPr>
              <a:spLocks/>
            </p:cNvSpPr>
            <p:nvPr/>
          </p:nvSpPr>
          <p:spPr bwMode="auto">
            <a:xfrm>
              <a:off x="9872965" y="4216607"/>
              <a:ext cx="37622" cy="29443"/>
            </a:xfrm>
            <a:custGeom>
              <a:avLst/>
              <a:gdLst>
                <a:gd name="T0" fmla="*/ 0 w 23"/>
                <a:gd name="T1" fmla="*/ 6 h 18"/>
                <a:gd name="T2" fmla="*/ 3 w 23"/>
                <a:gd name="T3" fmla="*/ 11 h 18"/>
                <a:gd name="T4" fmla="*/ 5 w 23"/>
                <a:gd name="T5" fmla="*/ 13 h 18"/>
                <a:gd name="T6" fmla="*/ 10 w 23"/>
                <a:gd name="T7" fmla="*/ 18 h 18"/>
                <a:gd name="T8" fmla="*/ 18 w 23"/>
                <a:gd name="T9" fmla="*/ 13 h 18"/>
                <a:gd name="T10" fmla="*/ 20 w 23"/>
                <a:gd name="T11" fmla="*/ 8 h 18"/>
                <a:gd name="T12" fmla="*/ 20 w 23"/>
                <a:gd name="T13" fmla="*/ 8 h 18"/>
                <a:gd name="T14" fmla="*/ 20 w 23"/>
                <a:gd name="T15" fmla="*/ 8 h 18"/>
                <a:gd name="T16" fmla="*/ 23 w 23"/>
                <a:gd name="T17" fmla="*/ 6 h 18"/>
                <a:gd name="T18" fmla="*/ 23 w 23"/>
                <a:gd name="T19" fmla="*/ 6 h 18"/>
                <a:gd name="T20" fmla="*/ 23 w 23"/>
                <a:gd name="T21" fmla="*/ 6 h 18"/>
                <a:gd name="T22" fmla="*/ 20 w 23"/>
                <a:gd name="T23" fmla="*/ 3 h 18"/>
                <a:gd name="T24" fmla="*/ 20 w 23"/>
                <a:gd name="T25" fmla="*/ 0 h 18"/>
                <a:gd name="T26" fmla="*/ 18 w 23"/>
                <a:gd name="T27" fmla="*/ 0 h 18"/>
                <a:gd name="T28" fmla="*/ 18 w 23"/>
                <a:gd name="T29" fmla="*/ 0 h 18"/>
                <a:gd name="T30" fmla="*/ 15 w 23"/>
                <a:gd name="T31" fmla="*/ 3 h 18"/>
                <a:gd name="T32" fmla="*/ 13 w 23"/>
                <a:gd name="T33" fmla="*/ 3 h 18"/>
                <a:gd name="T34" fmla="*/ 13 w 23"/>
                <a:gd name="T35" fmla="*/ 3 h 18"/>
                <a:gd name="T36" fmla="*/ 10 w 23"/>
                <a:gd name="T37" fmla="*/ 3 h 18"/>
                <a:gd name="T38" fmla="*/ 8 w 23"/>
                <a:gd name="T39" fmla="*/ 6 h 18"/>
                <a:gd name="T40" fmla="*/ 5 w 23"/>
                <a:gd name="T41" fmla="*/ 6 h 18"/>
                <a:gd name="T42" fmla="*/ 3 w 23"/>
                <a:gd name="T43" fmla="*/ 3 h 18"/>
                <a:gd name="T44" fmla="*/ 3 w 23"/>
                <a:gd name="T45" fmla="*/ 3 h 18"/>
                <a:gd name="T46" fmla="*/ 3 w 23"/>
                <a:gd name="T47" fmla="*/ 0 h 18"/>
                <a:gd name="T48" fmla="*/ 0 w 23"/>
                <a:gd name="T49" fmla="*/ 0 h 18"/>
                <a:gd name="T50" fmla="*/ 0 w 23"/>
                <a:gd name="T51" fmla="*/ 0 h 18"/>
                <a:gd name="T52" fmla="*/ 0 w 23"/>
                <a:gd name="T53" fmla="*/ 0 h 18"/>
                <a:gd name="T54" fmla="*/ 0 w 23"/>
                <a:gd name="T55" fmla="*/ 3 h 18"/>
                <a:gd name="T56" fmla="*/ 0 w 23"/>
                <a:gd name="T57" fmla="*/ 6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3" h="18">
                  <a:moveTo>
                    <a:pt x="0" y="6"/>
                  </a:moveTo>
                  <a:lnTo>
                    <a:pt x="3" y="11"/>
                  </a:lnTo>
                  <a:lnTo>
                    <a:pt x="5" y="13"/>
                  </a:lnTo>
                  <a:lnTo>
                    <a:pt x="10" y="18"/>
                  </a:lnTo>
                  <a:lnTo>
                    <a:pt x="18" y="13"/>
                  </a:lnTo>
                  <a:lnTo>
                    <a:pt x="20" y="8"/>
                  </a:lnTo>
                  <a:lnTo>
                    <a:pt x="20" y="8"/>
                  </a:lnTo>
                  <a:lnTo>
                    <a:pt x="20" y="8"/>
                  </a:lnTo>
                  <a:lnTo>
                    <a:pt x="23" y="6"/>
                  </a:lnTo>
                  <a:lnTo>
                    <a:pt x="23" y="6"/>
                  </a:lnTo>
                  <a:lnTo>
                    <a:pt x="23" y="6"/>
                  </a:lnTo>
                  <a:lnTo>
                    <a:pt x="20" y="3"/>
                  </a:lnTo>
                  <a:lnTo>
                    <a:pt x="20" y="0"/>
                  </a:lnTo>
                  <a:lnTo>
                    <a:pt x="18" y="0"/>
                  </a:lnTo>
                  <a:lnTo>
                    <a:pt x="18" y="0"/>
                  </a:lnTo>
                  <a:lnTo>
                    <a:pt x="15" y="3"/>
                  </a:lnTo>
                  <a:lnTo>
                    <a:pt x="13" y="3"/>
                  </a:lnTo>
                  <a:lnTo>
                    <a:pt x="13" y="3"/>
                  </a:lnTo>
                  <a:lnTo>
                    <a:pt x="10" y="3"/>
                  </a:lnTo>
                  <a:lnTo>
                    <a:pt x="8" y="6"/>
                  </a:lnTo>
                  <a:lnTo>
                    <a:pt x="5" y="6"/>
                  </a:lnTo>
                  <a:lnTo>
                    <a:pt x="3" y="3"/>
                  </a:lnTo>
                  <a:lnTo>
                    <a:pt x="3" y="3"/>
                  </a:lnTo>
                  <a:lnTo>
                    <a:pt x="3" y="0"/>
                  </a:lnTo>
                  <a:lnTo>
                    <a:pt x="0" y="0"/>
                  </a:lnTo>
                  <a:lnTo>
                    <a:pt x="0" y="0"/>
                  </a:lnTo>
                  <a:lnTo>
                    <a:pt x="0" y="0"/>
                  </a:lnTo>
                  <a:lnTo>
                    <a:pt x="0" y="3"/>
                  </a:lnTo>
                  <a:lnTo>
                    <a:pt x="0" y="6"/>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409" name="Freeform 2030">
              <a:extLst>
                <a:ext uri="{FF2B5EF4-FFF2-40B4-BE49-F238E27FC236}">
                  <a16:creationId xmlns:a16="http://schemas.microsoft.com/office/drawing/2014/main" id="{F7AB2BD3-E1A2-7544-B67C-A7902E05231F}"/>
                </a:ext>
              </a:extLst>
            </p:cNvPr>
            <p:cNvSpPr>
              <a:spLocks/>
            </p:cNvSpPr>
            <p:nvPr/>
          </p:nvSpPr>
          <p:spPr bwMode="auto">
            <a:xfrm>
              <a:off x="10072525" y="4208428"/>
              <a:ext cx="13086" cy="17994"/>
            </a:xfrm>
            <a:custGeom>
              <a:avLst/>
              <a:gdLst>
                <a:gd name="T0" fmla="*/ 6 w 8"/>
                <a:gd name="T1" fmla="*/ 5 h 11"/>
                <a:gd name="T2" fmla="*/ 8 w 8"/>
                <a:gd name="T3" fmla="*/ 0 h 11"/>
                <a:gd name="T4" fmla="*/ 6 w 8"/>
                <a:gd name="T5" fmla="*/ 0 h 11"/>
                <a:gd name="T6" fmla="*/ 6 w 8"/>
                <a:gd name="T7" fmla="*/ 3 h 11"/>
                <a:gd name="T8" fmla="*/ 6 w 8"/>
                <a:gd name="T9" fmla="*/ 5 h 11"/>
                <a:gd name="T10" fmla="*/ 6 w 8"/>
                <a:gd name="T11" fmla="*/ 5 h 11"/>
                <a:gd name="T12" fmla="*/ 3 w 8"/>
                <a:gd name="T13" fmla="*/ 5 h 11"/>
                <a:gd name="T14" fmla="*/ 0 w 8"/>
                <a:gd name="T15" fmla="*/ 8 h 11"/>
                <a:gd name="T16" fmla="*/ 0 w 8"/>
                <a:gd name="T17" fmla="*/ 11 h 11"/>
                <a:gd name="T18" fmla="*/ 0 w 8"/>
                <a:gd name="T19" fmla="*/ 11 h 11"/>
                <a:gd name="T20" fmla="*/ 3 w 8"/>
                <a:gd name="T21" fmla="*/ 11 h 11"/>
                <a:gd name="T22" fmla="*/ 6 w 8"/>
                <a:gd name="T23" fmla="*/ 5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11">
                  <a:moveTo>
                    <a:pt x="6" y="5"/>
                  </a:moveTo>
                  <a:lnTo>
                    <a:pt x="8" y="0"/>
                  </a:lnTo>
                  <a:lnTo>
                    <a:pt x="6" y="0"/>
                  </a:lnTo>
                  <a:lnTo>
                    <a:pt x="6" y="3"/>
                  </a:lnTo>
                  <a:lnTo>
                    <a:pt x="6" y="5"/>
                  </a:lnTo>
                  <a:lnTo>
                    <a:pt x="6" y="5"/>
                  </a:lnTo>
                  <a:lnTo>
                    <a:pt x="3" y="5"/>
                  </a:lnTo>
                  <a:lnTo>
                    <a:pt x="0" y="8"/>
                  </a:lnTo>
                  <a:lnTo>
                    <a:pt x="0" y="11"/>
                  </a:lnTo>
                  <a:lnTo>
                    <a:pt x="0" y="11"/>
                  </a:lnTo>
                  <a:lnTo>
                    <a:pt x="3" y="11"/>
                  </a:lnTo>
                  <a:lnTo>
                    <a:pt x="6" y="5"/>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410" name="Freeform 2031">
              <a:extLst>
                <a:ext uri="{FF2B5EF4-FFF2-40B4-BE49-F238E27FC236}">
                  <a16:creationId xmlns:a16="http://schemas.microsoft.com/office/drawing/2014/main" id="{9752F928-4179-A74E-854D-76067668A4A1}"/>
                </a:ext>
              </a:extLst>
            </p:cNvPr>
            <p:cNvSpPr>
              <a:spLocks/>
            </p:cNvSpPr>
            <p:nvPr/>
          </p:nvSpPr>
          <p:spPr bwMode="auto">
            <a:xfrm>
              <a:off x="9943302" y="4208428"/>
              <a:ext cx="4908" cy="13086"/>
            </a:xfrm>
            <a:custGeom>
              <a:avLst/>
              <a:gdLst>
                <a:gd name="T0" fmla="*/ 0 w 3"/>
                <a:gd name="T1" fmla="*/ 8 h 8"/>
                <a:gd name="T2" fmla="*/ 0 w 3"/>
                <a:gd name="T3" fmla="*/ 8 h 8"/>
                <a:gd name="T4" fmla="*/ 3 w 3"/>
                <a:gd name="T5" fmla="*/ 5 h 8"/>
                <a:gd name="T6" fmla="*/ 3 w 3"/>
                <a:gd name="T7" fmla="*/ 3 h 8"/>
                <a:gd name="T8" fmla="*/ 3 w 3"/>
                <a:gd name="T9" fmla="*/ 0 h 8"/>
                <a:gd name="T10" fmla="*/ 3 w 3"/>
                <a:gd name="T11" fmla="*/ 0 h 8"/>
                <a:gd name="T12" fmla="*/ 0 w 3"/>
                <a:gd name="T13" fmla="*/ 0 h 8"/>
                <a:gd name="T14" fmla="*/ 0 w 3"/>
                <a:gd name="T15" fmla="*/ 3 h 8"/>
                <a:gd name="T16" fmla="*/ 0 w 3"/>
                <a:gd name="T17" fmla="*/ 3 h 8"/>
                <a:gd name="T18" fmla="*/ 0 w 3"/>
                <a:gd name="T19" fmla="*/ 5 h 8"/>
                <a:gd name="T20" fmla="*/ 0 w 3"/>
                <a:gd name="T21"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8">
                  <a:moveTo>
                    <a:pt x="0" y="8"/>
                  </a:moveTo>
                  <a:lnTo>
                    <a:pt x="0" y="8"/>
                  </a:lnTo>
                  <a:lnTo>
                    <a:pt x="3" y="5"/>
                  </a:lnTo>
                  <a:lnTo>
                    <a:pt x="3" y="3"/>
                  </a:lnTo>
                  <a:lnTo>
                    <a:pt x="3" y="0"/>
                  </a:lnTo>
                  <a:lnTo>
                    <a:pt x="3" y="0"/>
                  </a:lnTo>
                  <a:lnTo>
                    <a:pt x="0" y="0"/>
                  </a:lnTo>
                  <a:lnTo>
                    <a:pt x="0" y="3"/>
                  </a:lnTo>
                  <a:lnTo>
                    <a:pt x="0" y="3"/>
                  </a:lnTo>
                  <a:lnTo>
                    <a:pt x="0" y="5"/>
                  </a:lnTo>
                  <a:lnTo>
                    <a:pt x="0" y="8"/>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411" name="Freeform 2032">
              <a:extLst>
                <a:ext uri="{FF2B5EF4-FFF2-40B4-BE49-F238E27FC236}">
                  <a16:creationId xmlns:a16="http://schemas.microsoft.com/office/drawing/2014/main" id="{24D08019-8D71-DD40-AF95-53D9F2F2D74F}"/>
                </a:ext>
              </a:extLst>
            </p:cNvPr>
            <p:cNvSpPr>
              <a:spLocks/>
            </p:cNvSpPr>
            <p:nvPr/>
          </p:nvSpPr>
          <p:spPr bwMode="auto">
            <a:xfrm>
              <a:off x="9205585" y="4200249"/>
              <a:ext cx="1305318" cy="1058322"/>
            </a:xfrm>
            <a:custGeom>
              <a:avLst/>
              <a:gdLst>
                <a:gd name="T0" fmla="*/ 775 w 798"/>
                <a:gd name="T1" fmla="*/ 301 h 647"/>
                <a:gd name="T2" fmla="*/ 757 w 798"/>
                <a:gd name="T3" fmla="*/ 260 h 647"/>
                <a:gd name="T4" fmla="*/ 744 w 798"/>
                <a:gd name="T5" fmla="*/ 232 h 647"/>
                <a:gd name="T6" fmla="*/ 719 w 798"/>
                <a:gd name="T7" fmla="*/ 199 h 647"/>
                <a:gd name="T8" fmla="*/ 699 w 798"/>
                <a:gd name="T9" fmla="*/ 166 h 647"/>
                <a:gd name="T10" fmla="*/ 694 w 798"/>
                <a:gd name="T11" fmla="*/ 100 h 647"/>
                <a:gd name="T12" fmla="*/ 665 w 798"/>
                <a:gd name="T13" fmla="*/ 61 h 647"/>
                <a:gd name="T14" fmla="*/ 658 w 798"/>
                <a:gd name="T15" fmla="*/ 16 h 647"/>
                <a:gd name="T16" fmla="*/ 637 w 798"/>
                <a:gd name="T17" fmla="*/ 28 h 647"/>
                <a:gd name="T18" fmla="*/ 622 w 798"/>
                <a:gd name="T19" fmla="*/ 72 h 647"/>
                <a:gd name="T20" fmla="*/ 584 w 798"/>
                <a:gd name="T21" fmla="*/ 158 h 647"/>
                <a:gd name="T22" fmla="*/ 533 w 798"/>
                <a:gd name="T23" fmla="*/ 120 h 647"/>
                <a:gd name="T24" fmla="*/ 505 w 798"/>
                <a:gd name="T25" fmla="*/ 100 h 647"/>
                <a:gd name="T26" fmla="*/ 525 w 798"/>
                <a:gd name="T27" fmla="*/ 56 h 647"/>
                <a:gd name="T28" fmla="*/ 518 w 798"/>
                <a:gd name="T29" fmla="*/ 36 h 647"/>
                <a:gd name="T30" fmla="*/ 502 w 798"/>
                <a:gd name="T31" fmla="*/ 33 h 647"/>
                <a:gd name="T32" fmla="*/ 457 w 798"/>
                <a:gd name="T33" fmla="*/ 16 h 647"/>
                <a:gd name="T34" fmla="*/ 454 w 798"/>
                <a:gd name="T35" fmla="*/ 21 h 647"/>
                <a:gd name="T36" fmla="*/ 426 w 798"/>
                <a:gd name="T37" fmla="*/ 33 h 647"/>
                <a:gd name="T38" fmla="*/ 411 w 798"/>
                <a:gd name="T39" fmla="*/ 44 h 647"/>
                <a:gd name="T40" fmla="*/ 385 w 798"/>
                <a:gd name="T41" fmla="*/ 74 h 647"/>
                <a:gd name="T42" fmla="*/ 383 w 798"/>
                <a:gd name="T43" fmla="*/ 97 h 647"/>
                <a:gd name="T44" fmla="*/ 355 w 798"/>
                <a:gd name="T45" fmla="*/ 100 h 647"/>
                <a:gd name="T46" fmla="*/ 337 w 798"/>
                <a:gd name="T47" fmla="*/ 72 h 647"/>
                <a:gd name="T48" fmla="*/ 316 w 798"/>
                <a:gd name="T49" fmla="*/ 79 h 647"/>
                <a:gd name="T50" fmla="*/ 306 w 798"/>
                <a:gd name="T51" fmla="*/ 82 h 647"/>
                <a:gd name="T52" fmla="*/ 291 w 798"/>
                <a:gd name="T53" fmla="*/ 100 h 647"/>
                <a:gd name="T54" fmla="*/ 281 w 798"/>
                <a:gd name="T55" fmla="*/ 107 h 647"/>
                <a:gd name="T56" fmla="*/ 281 w 798"/>
                <a:gd name="T57" fmla="*/ 128 h 647"/>
                <a:gd name="T58" fmla="*/ 258 w 798"/>
                <a:gd name="T59" fmla="*/ 130 h 647"/>
                <a:gd name="T60" fmla="*/ 255 w 798"/>
                <a:gd name="T61" fmla="*/ 153 h 647"/>
                <a:gd name="T62" fmla="*/ 227 w 798"/>
                <a:gd name="T63" fmla="*/ 153 h 647"/>
                <a:gd name="T64" fmla="*/ 184 w 798"/>
                <a:gd name="T65" fmla="*/ 206 h 647"/>
                <a:gd name="T66" fmla="*/ 92 w 798"/>
                <a:gd name="T67" fmla="*/ 234 h 647"/>
                <a:gd name="T68" fmla="*/ 49 w 798"/>
                <a:gd name="T69" fmla="*/ 255 h 647"/>
                <a:gd name="T70" fmla="*/ 36 w 798"/>
                <a:gd name="T71" fmla="*/ 344 h 647"/>
                <a:gd name="T72" fmla="*/ 23 w 798"/>
                <a:gd name="T73" fmla="*/ 339 h 647"/>
                <a:gd name="T74" fmla="*/ 18 w 798"/>
                <a:gd name="T75" fmla="*/ 351 h 647"/>
                <a:gd name="T76" fmla="*/ 31 w 798"/>
                <a:gd name="T77" fmla="*/ 430 h 647"/>
                <a:gd name="T78" fmla="*/ 5 w 798"/>
                <a:gd name="T79" fmla="*/ 519 h 647"/>
                <a:gd name="T80" fmla="*/ 49 w 798"/>
                <a:gd name="T81" fmla="*/ 552 h 647"/>
                <a:gd name="T82" fmla="*/ 151 w 798"/>
                <a:gd name="T83" fmla="*/ 527 h 647"/>
                <a:gd name="T84" fmla="*/ 240 w 798"/>
                <a:gd name="T85" fmla="*/ 489 h 647"/>
                <a:gd name="T86" fmla="*/ 355 w 798"/>
                <a:gd name="T87" fmla="*/ 481 h 647"/>
                <a:gd name="T88" fmla="*/ 383 w 798"/>
                <a:gd name="T89" fmla="*/ 519 h 647"/>
                <a:gd name="T90" fmla="*/ 383 w 798"/>
                <a:gd name="T91" fmla="*/ 545 h 647"/>
                <a:gd name="T92" fmla="*/ 426 w 798"/>
                <a:gd name="T93" fmla="*/ 522 h 647"/>
                <a:gd name="T94" fmla="*/ 428 w 798"/>
                <a:gd name="T95" fmla="*/ 532 h 647"/>
                <a:gd name="T96" fmla="*/ 428 w 798"/>
                <a:gd name="T97" fmla="*/ 545 h 647"/>
                <a:gd name="T98" fmla="*/ 441 w 798"/>
                <a:gd name="T99" fmla="*/ 563 h 647"/>
                <a:gd name="T100" fmla="*/ 449 w 798"/>
                <a:gd name="T101" fmla="*/ 583 h 647"/>
                <a:gd name="T102" fmla="*/ 474 w 798"/>
                <a:gd name="T103" fmla="*/ 629 h 647"/>
                <a:gd name="T104" fmla="*/ 520 w 798"/>
                <a:gd name="T105" fmla="*/ 621 h 647"/>
                <a:gd name="T106" fmla="*/ 533 w 798"/>
                <a:gd name="T107" fmla="*/ 631 h 647"/>
                <a:gd name="T108" fmla="*/ 546 w 798"/>
                <a:gd name="T109" fmla="*/ 639 h 647"/>
                <a:gd name="T110" fmla="*/ 622 w 798"/>
                <a:gd name="T111" fmla="*/ 611 h 647"/>
                <a:gd name="T112" fmla="*/ 668 w 798"/>
                <a:gd name="T113" fmla="*/ 555 h 647"/>
                <a:gd name="T114" fmla="*/ 691 w 798"/>
                <a:gd name="T115" fmla="*/ 527 h 647"/>
                <a:gd name="T116" fmla="*/ 722 w 798"/>
                <a:gd name="T117" fmla="*/ 499 h 647"/>
                <a:gd name="T118" fmla="*/ 780 w 798"/>
                <a:gd name="T119" fmla="*/ 415 h 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98" h="647">
                  <a:moveTo>
                    <a:pt x="795" y="344"/>
                  </a:moveTo>
                  <a:lnTo>
                    <a:pt x="795" y="344"/>
                  </a:lnTo>
                  <a:lnTo>
                    <a:pt x="793" y="339"/>
                  </a:lnTo>
                  <a:lnTo>
                    <a:pt x="795" y="334"/>
                  </a:lnTo>
                  <a:lnTo>
                    <a:pt x="793" y="331"/>
                  </a:lnTo>
                  <a:lnTo>
                    <a:pt x="793" y="329"/>
                  </a:lnTo>
                  <a:lnTo>
                    <a:pt x="790" y="326"/>
                  </a:lnTo>
                  <a:lnTo>
                    <a:pt x="790" y="323"/>
                  </a:lnTo>
                  <a:lnTo>
                    <a:pt x="790" y="321"/>
                  </a:lnTo>
                  <a:lnTo>
                    <a:pt x="790" y="318"/>
                  </a:lnTo>
                  <a:lnTo>
                    <a:pt x="788" y="318"/>
                  </a:lnTo>
                  <a:lnTo>
                    <a:pt x="788" y="318"/>
                  </a:lnTo>
                  <a:lnTo>
                    <a:pt x="785" y="316"/>
                  </a:lnTo>
                  <a:lnTo>
                    <a:pt x="785" y="313"/>
                  </a:lnTo>
                  <a:lnTo>
                    <a:pt x="783" y="306"/>
                  </a:lnTo>
                  <a:lnTo>
                    <a:pt x="783" y="303"/>
                  </a:lnTo>
                  <a:lnTo>
                    <a:pt x="780" y="303"/>
                  </a:lnTo>
                  <a:lnTo>
                    <a:pt x="778" y="303"/>
                  </a:lnTo>
                  <a:lnTo>
                    <a:pt x="775" y="301"/>
                  </a:lnTo>
                  <a:lnTo>
                    <a:pt x="773" y="298"/>
                  </a:lnTo>
                  <a:lnTo>
                    <a:pt x="770" y="295"/>
                  </a:lnTo>
                  <a:lnTo>
                    <a:pt x="770" y="295"/>
                  </a:lnTo>
                  <a:lnTo>
                    <a:pt x="767" y="293"/>
                  </a:lnTo>
                  <a:lnTo>
                    <a:pt x="767" y="290"/>
                  </a:lnTo>
                  <a:lnTo>
                    <a:pt x="767" y="288"/>
                  </a:lnTo>
                  <a:lnTo>
                    <a:pt x="767" y="283"/>
                  </a:lnTo>
                  <a:lnTo>
                    <a:pt x="767" y="278"/>
                  </a:lnTo>
                  <a:lnTo>
                    <a:pt x="770" y="270"/>
                  </a:lnTo>
                  <a:lnTo>
                    <a:pt x="767" y="265"/>
                  </a:lnTo>
                  <a:lnTo>
                    <a:pt x="767" y="265"/>
                  </a:lnTo>
                  <a:lnTo>
                    <a:pt x="767" y="265"/>
                  </a:lnTo>
                  <a:lnTo>
                    <a:pt x="765" y="267"/>
                  </a:lnTo>
                  <a:lnTo>
                    <a:pt x="765" y="267"/>
                  </a:lnTo>
                  <a:lnTo>
                    <a:pt x="765" y="267"/>
                  </a:lnTo>
                  <a:lnTo>
                    <a:pt x="762" y="267"/>
                  </a:lnTo>
                  <a:lnTo>
                    <a:pt x="760" y="265"/>
                  </a:lnTo>
                  <a:lnTo>
                    <a:pt x="760" y="262"/>
                  </a:lnTo>
                  <a:lnTo>
                    <a:pt x="757" y="260"/>
                  </a:lnTo>
                  <a:lnTo>
                    <a:pt x="757" y="260"/>
                  </a:lnTo>
                  <a:lnTo>
                    <a:pt x="757" y="260"/>
                  </a:lnTo>
                  <a:lnTo>
                    <a:pt x="755" y="262"/>
                  </a:lnTo>
                  <a:lnTo>
                    <a:pt x="755" y="267"/>
                  </a:lnTo>
                  <a:lnTo>
                    <a:pt x="755" y="267"/>
                  </a:lnTo>
                  <a:lnTo>
                    <a:pt x="752" y="267"/>
                  </a:lnTo>
                  <a:lnTo>
                    <a:pt x="752" y="265"/>
                  </a:lnTo>
                  <a:lnTo>
                    <a:pt x="750" y="265"/>
                  </a:lnTo>
                  <a:lnTo>
                    <a:pt x="750" y="265"/>
                  </a:lnTo>
                  <a:lnTo>
                    <a:pt x="750" y="262"/>
                  </a:lnTo>
                  <a:lnTo>
                    <a:pt x="747" y="262"/>
                  </a:lnTo>
                  <a:lnTo>
                    <a:pt x="747" y="257"/>
                  </a:lnTo>
                  <a:lnTo>
                    <a:pt x="747" y="250"/>
                  </a:lnTo>
                  <a:lnTo>
                    <a:pt x="750" y="247"/>
                  </a:lnTo>
                  <a:lnTo>
                    <a:pt x="747" y="245"/>
                  </a:lnTo>
                  <a:lnTo>
                    <a:pt x="747" y="239"/>
                  </a:lnTo>
                  <a:lnTo>
                    <a:pt x="747" y="239"/>
                  </a:lnTo>
                  <a:lnTo>
                    <a:pt x="747" y="237"/>
                  </a:lnTo>
                  <a:lnTo>
                    <a:pt x="744" y="232"/>
                  </a:lnTo>
                  <a:lnTo>
                    <a:pt x="742" y="229"/>
                  </a:lnTo>
                  <a:lnTo>
                    <a:pt x="739" y="227"/>
                  </a:lnTo>
                  <a:lnTo>
                    <a:pt x="739" y="224"/>
                  </a:lnTo>
                  <a:lnTo>
                    <a:pt x="739" y="222"/>
                  </a:lnTo>
                  <a:lnTo>
                    <a:pt x="742" y="222"/>
                  </a:lnTo>
                  <a:lnTo>
                    <a:pt x="742" y="222"/>
                  </a:lnTo>
                  <a:lnTo>
                    <a:pt x="742" y="219"/>
                  </a:lnTo>
                  <a:lnTo>
                    <a:pt x="742" y="217"/>
                  </a:lnTo>
                  <a:lnTo>
                    <a:pt x="739" y="214"/>
                  </a:lnTo>
                  <a:lnTo>
                    <a:pt x="737" y="214"/>
                  </a:lnTo>
                  <a:lnTo>
                    <a:pt x="734" y="211"/>
                  </a:lnTo>
                  <a:lnTo>
                    <a:pt x="732" y="209"/>
                  </a:lnTo>
                  <a:lnTo>
                    <a:pt x="729" y="209"/>
                  </a:lnTo>
                  <a:lnTo>
                    <a:pt x="729" y="209"/>
                  </a:lnTo>
                  <a:lnTo>
                    <a:pt x="727" y="206"/>
                  </a:lnTo>
                  <a:lnTo>
                    <a:pt x="727" y="206"/>
                  </a:lnTo>
                  <a:lnTo>
                    <a:pt x="724" y="206"/>
                  </a:lnTo>
                  <a:lnTo>
                    <a:pt x="722" y="201"/>
                  </a:lnTo>
                  <a:lnTo>
                    <a:pt x="719" y="199"/>
                  </a:lnTo>
                  <a:lnTo>
                    <a:pt x="719" y="196"/>
                  </a:lnTo>
                  <a:lnTo>
                    <a:pt x="719" y="196"/>
                  </a:lnTo>
                  <a:lnTo>
                    <a:pt x="716" y="196"/>
                  </a:lnTo>
                  <a:lnTo>
                    <a:pt x="716" y="196"/>
                  </a:lnTo>
                  <a:lnTo>
                    <a:pt x="714" y="196"/>
                  </a:lnTo>
                  <a:lnTo>
                    <a:pt x="711" y="196"/>
                  </a:lnTo>
                  <a:lnTo>
                    <a:pt x="711" y="194"/>
                  </a:lnTo>
                  <a:lnTo>
                    <a:pt x="709" y="194"/>
                  </a:lnTo>
                  <a:lnTo>
                    <a:pt x="706" y="191"/>
                  </a:lnTo>
                  <a:lnTo>
                    <a:pt x="704" y="191"/>
                  </a:lnTo>
                  <a:lnTo>
                    <a:pt x="701" y="189"/>
                  </a:lnTo>
                  <a:lnTo>
                    <a:pt x="701" y="186"/>
                  </a:lnTo>
                  <a:lnTo>
                    <a:pt x="699" y="183"/>
                  </a:lnTo>
                  <a:lnTo>
                    <a:pt x="701" y="181"/>
                  </a:lnTo>
                  <a:lnTo>
                    <a:pt x="701" y="178"/>
                  </a:lnTo>
                  <a:lnTo>
                    <a:pt x="699" y="176"/>
                  </a:lnTo>
                  <a:lnTo>
                    <a:pt x="696" y="171"/>
                  </a:lnTo>
                  <a:lnTo>
                    <a:pt x="696" y="168"/>
                  </a:lnTo>
                  <a:lnTo>
                    <a:pt x="699" y="166"/>
                  </a:lnTo>
                  <a:lnTo>
                    <a:pt x="701" y="155"/>
                  </a:lnTo>
                  <a:lnTo>
                    <a:pt x="701" y="150"/>
                  </a:lnTo>
                  <a:lnTo>
                    <a:pt x="699" y="143"/>
                  </a:lnTo>
                  <a:lnTo>
                    <a:pt x="699" y="140"/>
                  </a:lnTo>
                  <a:lnTo>
                    <a:pt x="699" y="140"/>
                  </a:lnTo>
                  <a:lnTo>
                    <a:pt x="696" y="140"/>
                  </a:lnTo>
                  <a:lnTo>
                    <a:pt x="696" y="135"/>
                  </a:lnTo>
                  <a:lnTo>
                    <a:pt x="694" y="133"/>
                  </a:lnTo>
                  <a:lnTo>
                    <a:pt x="694" y="133"/>
                  </a:lnTo>
                  <a:lnTo>
                    <a:pt x="691" y="130"/>
                  </a:lnTo>
                  <a:lnTo>
                    <a:pt x="694" y="128"/>
                  </a:lnTo>
                  <a:lnTo>
                    <a:pt x="694" y="125"/>
                  </a:lnTo>
                  <a:lnTo>
                    <a:pt x="694" y="120"/>
                  </a:lnTo>
                  <a:lnTo>
                    <a:pt x="694" y="117"/>
                  </a:lnTo>
                  <a:lnTo>
                    <a:pt x="694" y="112"/>
                  </a:lnTo>
                  <a:lnTo>
                    <a:pt x="694" y="107"/>
                  </a:lnTo>
                  <a:lnTo>
                    <a:pt x="694" y="105"/>
                  </a:lnTo>
                  <a:lnTo>
                    <a:pt x="694" y="102"/>
                  </a:lnTo>
                  <a:lnTo>
                    <a:pt x="694" y="100"/>
                  </a:lnTo>
                  <a:lnTo>
                    <a:pt x="694" y="97"/>
                  </a:lnTo>
                  <a:lnTo>
                    <a:pt x="696" y="94"/>
                  </a:lnTo>
                  <a:lnTo>
                    <a:pt x="694" y="94"/>
                  </a:lnTo>
                  <a:lnTo>
                    <a:pt x="691" y="92"/>
                  </a:lnTo>
                  <a:lnTo>
                    <a:pt x="688" y="89"/>
                  </a:lnTo>
                  <a:lnTo>
                    <a:pt x="683" y="84"/>
                  </a:lnTo>
                  <a:lnTo>
                    <a:pt x="683" y="82"/>
                  </a:lnTo>
                  <a:lnTo>
                    <a:pt x="681" y="79"/>
                  </a:lnTo>
                  <a:lnTo>
                    <a:pt x="678" y="82"/>
                  </a:lnTo>
                  <a:lnTo>
                    <a:pt x="676" y="82"/>
                  </a:lnTo>
                  <a:lnTo>
                    <a:pt x="673" y="84"/>
                  </a:lnTo>
                  <a:lnTo>
                    <a:pt x="671" y="84"/>
                  </a:lnTo>
                  <a:lnTo>
                    <a:pt x="668" y="84"/>
                  </a:lnTo>
                  <a:lnTo>
                    <a:pt x="665" y="82"/>
                  </a:lnTo>
                  <a:lnTo>
                    <a:pt x="665" y="77"/>
                  </a:lnTo>
                  <a:lnTo>
                    <a:pt x="665" y="74"/>
                  </a:lnTo>
                  <a:lnTo>
                    <a:pt x="665" y="72"/>
                  </a:lnTo>
                  <a:lnTo>
                    <a:pt x="665" y="69"/>
                  </a:lnTo>
                  <a:lnTo>
                    <a:pt x="665" y="61"/>
                  </a:lnTo>
                  <a:lnTo>
                    <a:pt x="665" y="59"/>
                  </a:lnTo>
                  <a:lnTo>
                    <a:pt x="665" y="54"/>
                  </a:lnTo>
                  <a:lnTo>
                    <a:pt x="665" y="49"/>
                  </a:lnTo>
                  <a:lnTo>
                    <a:pt x="665" y="46"/>
                  </a:lnTo>
                  <a:lnTo>
                    <a:pt x="665" y="44"/>
                  </a:lnTo>
                  <a:lnTo>
                    <a:pt x="663" y="41"/>
                  </a:lnTo>
                  <a:lnTo>
                    <a:pt x="663" y="38"/>
                  </a:lnTo>
                  <a:lnTo>
                    <a:pt x="660" y="36"/>
                  </a:lnTo>
                  <a:lnTo>
                    <a:pt x="660" y="36"/>
                  </a:lnTo>
                  <a:lnTo>
                    <a:pt x="660" y="33"/>
                  </a:lnTo>
                  <a:lnTo>
                    <a:pt x="660" y="33"/>
                  </a:lnTo>
                  <a:lnTo>
                    <a:pt x="660" y="31"/>
                  </a:lnTo>
                  <a:lnTo>
                    <a:pt x="663" y="28"/>
                  </a:lnTo>
                  <a:lnTo>
                    <a:pt x="660" y="26"/>
                  </a:lnTo>
                  <a:lnTo>
                    <a:pt x="658" y="26"/>
                  </a:lnTo>
                  <a:lnTo>
                    <a:pt x="658" y="26"/>
                  </a:lnTo>
                  <a:lnTo>
                    <a:pt x="658" y="26"/>
                  </a:lnTo>
                  <a:lnTo>
                    <a:pt x="658" y="21"/>
                  </a:lnTo>
                  <a:lnTo>
                    <a:pt x="658" y="16"/>
                  </a:lnTo>
                  <a:lnTo>
                    <a:pt x="658" y="13"/>
                  </a:lnTo>
                  <a:lnTo>
                    <a:pt x="658" y="10"/>
                  </a:lnTo>
                  <a:lnTo>
                    <a:pt x="658" y="8"/>
                  </a:lnTo>
                  <a:lnTo>
                    <a:pt x="655" y="5"/>
                  </a:lnTo>
                  <a:lnTo>
                    <a:pt x="653" y="3"/>
                  </a:lnTo>
                  <a:lnTo>
                    <a:pt x="653" y="3"/>
                  </a:lnTo>
                  <a:lnTo>
                    <a:pt x="653" y="0"/>
                  </a:lnTo>
                  <a:lnTo>
                    <a:pt x="653" y="0"/>
                  </a:lnTo>
                  <a:lnTo>
                    <a:pt x="650" y="0"/>
                  </a:lnTo>
                  <a:lnTo>
                    <a:pt x="650" y="0"/>
                  </a:lnTo>
                  <a:lnTo>
                    <a:pt x="648" y="3"/>
                  </a:lnTo>
                  <a:lnTo>
                    <a:pt x="645" y="5"/>
                  </a:lnTo>
                  <a:lnTo>
                    <a:pt x="643" y="13"/>
                  </a:lnTo>
                  <a:lnTo>
                    <a:pt x="640" y="21"/>
                  </a:lnTo>
                  <a:lnTo>
                    <a:pt x="637" y="26"/>
                  </a:lnTo>
                  <a:lnTo>
                    <a:pt x="637" y="28"/>
                  </a:lnTo>
                  <a:lnTo>
                    <a:pt x="637" y="31"/>
                  </a:lnTo>
                  <a:lnTo>
                    <a:pt x="637" y="28"/>
                  </a:lnTo>
                  <a:lnTo>
                    <a:pt x="637" y="28"/>
                  </a:lnTo>
                  <a:lnTo>
                    <a:pt x="635" y="31"/>
                  </a:lnTo>
                  <a:lnTo>
                    <a:pt x="632" y="36"/>
                  </a:lnTo>
                  <a:lnTo>
                    <a:pt x="630" y="41"/>
                  </a:lnTo>
                  <a:lnTo>
                    <a:pt x="632" y="41"/>
                  </a:lnTo>
                  <a:lnTo>
                    <a:pt x="632" y="41"/>
                  </a:lnTo>
                  <a:lnTo>
                    <a:pt x="635" y="41"/>
                  </a:lnTo>
                  <a:lnTo>
                    <a:pt x="635" y="44"/>
                  </a:lnTo>
                  <a:lnTo>
                    <a:pt x="635" y="44"/>
                  </a:lnTo>
                  <a:lnTo>
                    <a:pt x="635" y="46"/>
                  </a:lnTo>
                  <a:lnTo>
                    <a:pt x="635" y="46"/>
                  </a:lnTo>
                  <a:lnTo>
                    <a:pt x="635" y="46"/>
                  </a:lnTo>
                  <a:lnTo>
                    <a:pt x="632" y="46"/>
                  </a:lnTo>
                  <a:lnTo>
                    <a:pt x="632" y="49"/>
                  </a:lnTo>
                  <a:lnTo>
                    <a:pt x="627" y="51"/>
                  </a:lnTo>
                  <a:lnTo>
                    <a:pt x="627" y="56"/>
                  </a:lnTo>
                  <a:lnTo>
                    <a:pt x="627" y="61"/>
                  </a:lnTo>
                  <a:lnTo>
                    <a:pt x="625" y="64"/>
                  </a:lnTo>
                  <a:lnTo>
                    <a:pt x="622" y="69"/>
                  </a:lnTo>
                  <a:lnTo>
                    <a:pt x="622" y="72"/>
                  </a:lnTo>
                  <a:lnTo>
                    <a:pt x="625" y="74"/>
                  </a:lnTo>
                  <a:lnTo>
                    <a:pt x="625" y="77"/>
                  </a:lnTo>
                  <a:lnTo>
                    <a:pt x="622" y="82"/>
                  </a:lnTo>
                  <a:lnTo>
                    <a:pt x="622" y="84"/>
                  </a:lnTo>
                  <a:lnTo>
                    <a:pt x="622" y="94"/>
                  </a:lnTo>
                  <a:lnTo>
                    <a:pt x="622" y="97"/>
                  </a:lnTo>
                  <a:lnTo>
                    <a:pt x="620" y="102"/>
                  </a:lnTo>
                  <a:lnTo>
                    <a:pt x="617" y="110"/>
                  </a:lnTo>
                  <a:lnTo>
                    <a:pt x="615" y="117"/>
                  </a:lnTo>
                  <a:lnTo>
                    <a:pt x="615" y="122"/>
                  </a:lnTo>
                  <a:lnTo>
                    <a:pt x="612" y="125"/>
                  </a:lnTo>
                  <a:lnTo>
                    <a:pt x="609" y="130"/>
                  </a:lnTo>
                  <a:lnTo>
                    <a:pt x="607" y="135"/>
                  </a:lnTo>
                  <a:lnTo>
                    <a:pt x="602" y="143"/>
                  </a:lnTo>
                  <a:lnTo>
                    <a:pt x="599" y="148"/>
                  </a:lnTo>
                  <a:lnTo>
                    <a:pt x="597" y="153"/>
                  </a:lnTo>
                  <a:lnTo>
                    <a:pt x="592" y="155"/>
                  </a:lnTo>
                  <a:lnTo>
                    <a:pt x="589" y="155"/>
                  </a:lnTo>
                  <a:lnTo>
                    <a:pt x="584" y="158"/>
                  </a:lnTo>
                  <a:lnTo>
                    <a:pt x="579" y="158"/>
                  </a:lnTo>
                  <a:lnTo>
                    <a:pt x="579" y="158"/>
                  </a:lnTo>
                  <a:lnTo>
                    <a:pt x="576" y="155"/>
                  </a:lnTo>
                  <a:lnTo>
                    <a:pt x="574" y="155"/>
                  </a:lnTo>
                  <a:lnTo>
                    <a:pt x="569" y="150"/>
                  </a:lnTo>
                  <a:lnTo>
                    <a:pt x="566" y="150"/>
                  </a:lnTo>
                  <a:lnTo>
                    <a:pt x="564" y="145"/>
                  </a:lnTo>
                  <a:lnTo>
                    <a:pt x="564" y="145"/>
                  </a:lnTo>
                  <a:lnTo>
                    <a:pt x="564" y="143"/>
                  </a:lnTo>
                  <a:lnTo>
                    <a:pt x="564" y="140"/>
                  </a:lnTo>
                  <a:lnTo>
                    <a:pt x="558" y="140"/>
                  </a:lnTo>
                  <a:lnTo>
                    <a:pt x="556" y="138"/>
                  </a:lnTo>
                  <a:lnTo>
                    <a:pt x="553" y="138"/>
                  </a:lnTo>
                  <a:lnTo>
                    <a:pt x="548" y="135"/>
                  </a:lnTo>
                  <a:lnTo>
                    <a:pt x="546" y="133"/>
                  </a:lnTo>
                  <a:lnTo>
                    <a:pt x="543" y="130"/>
                  </a:lnTo>
                  <a:lnTo>
                    <a:pt x="541" y="125"/>
                  </a:lnTo>
                  <a:lnTo>
                    <a:pt x="536" y="122"/>
                  </a:lnTo>
                  <a:lnTo>
                    <a:pt x="533" y="120"/>
                  </a:lnTo>
                  <a:lnTo>
                    <a:pt x="530" y="120"/>
                  </a:lnTo>
                  <a:lnTo>
                    <a:pt x="528" y="117"/>
                  </a:lnTo>
                  <a:lnTo>
                    <a:pt x="528" y="117"/>
                  </a:lnTo>
                  <a:lnTo>
                    <a:pt x="525" y="117"/>
                  </a:lnTo>
                  <a:lnTo>
                    <a:pt x="523" y="117"/>
                  </a:lnTo>
                  <a:lnTo>
                    <a:pt x="520" y="115"/>
                  </a:lnTo>
                  <a:lnTo>
                    <a:pt x="520" y="115"/>
                  </a:lnTo>
                  <a:lnTo>
                    <a:pt x="520" y="115"/>
                  </a:lnTo>
                  <a:lnTo>
                    <a:pt x="523" y="112"/>
                  </a:lnTo>
                  <a:lnTo>
                    <a:pt x="520" y="112"/>
                  </a:lnTo>
                  <a:lnTo>
                    <a:pt x="520" y="112"/>
                  </a:lnTo>
                  <a:lnTo>
                    <a:pt x="520" y="112"/>
                  </a:lnTo>
                  <a:lnTo>
                    <a:pt x="520" y="112"/>
                  </a:lnTo>
                  <a:lnTo>
                    <a:pt x="518" y="112"/>
                  </a:lnTo>
                  <a:lnTo>
                    <a:pt x="513" y="110"/>
                  </a:lnTo>
                  <a:lnTo>
                    <a:pt x="513" y="107"/>
                  </a:lnTo>
                  <a:lnTo>
                    <a:pt x="513" y="107"/>
                  </a:lnTo>
                  <a:lnTo>
                    <a:pt x="507" y="102"/>
                  </a:lnTo>
                  <a:lnTo>
                    <a:pt x="505" y="100"/>
                  </a:lnTo>
                  <a:lnTo>
                    <a:pt x="500" y="97"/>
                  </a:lnTo>
                  <a:lnTo>
                    <a:pt x="500" y="94"/>
                  </a:lnTo>
                  <a:lnTo>
                    <a:pt x="500" y="94"/>
                  </a:lnTo>
                  <a:lnTo>
                    <a:pt x="500" y="92"/>
                  </a:lnTo>
                  <a:lnTo>
                    <a:pt x="500" y="89"/>
                  </a:lnTo>
                  <a:lnTo>
                    <a:pt x="502" y="87"/>
                  </a:lnTo>
                  <a:lnTo>
                    <a:pt x="507" y="82"/>
                  </a:lnTo>
                  <a:lnTo>
                    <a:pt x="507" y="79"/>
                  </a:lnTo>
                  <a:lnTo>
                    <a:pt x="510" y="77"/>
                  </a:lnTo>
                  <a:lnTo>
                    <a:pt x="513" y="72"/>
                  </a:lnTo>
                  <a:lnTo>
                    <a:pt x="513" y="69"/>
                  </a:lnTo>
                  <a:lnTo>
                    <a:pt x="513" y="66"/>
                  </a:lnTo>
                  <a:lnTo>
                    <a:pt x="515" y="59"/>
                  </a:lnTo>
                  <a:lnTo>
                    <a:pt x="520" y="56"/>
                  </a:lnTo>
                  <a:lnTo>
                    <a:pt x="520" y="56"/>
                  </a:lnTo>
                  <a:lnTo>
                    <a:pt x="523" y="54"/>
                  </a:lnTo>
                  <a:lnTo>
                    <a:pt x="523" y="56"/>
                  </a:lnTo>
                  <a:lnTo>
                    <a:pt x="523" y="56"/>
                  </a:lnTo>
                  <a:lnTo>
                    <a:pt x="525" y="56"/>
                  </a:lnTo>
                  <a:lnTo>
                    <a:pt x="528" y="51"/>
                  </a:lnTo>
                  <a:lnTo>
                    <a:pt x="528" y="49"/>
                  </a:lnTo>
                  <a:lnTo>
                    <a:pt x="528" y="49"/>
                  </a:lnTo>
                  <a:lnTo>
                    <a:pt x="528" y="46"/>
                  </a:lnTo>
                  <a:lnTo>
                    <a:pt x="538" y="36"/>
                  </a:lnTo>
                  <a:lnTo>
                    <a:pt x="536" y="33"/>
                  </a:lnTo>
                  <a:lnTo>
                    <a:pt x="536" y="33"/>
                  </a:lnTo>
                  <a:lnTo>
                    <a:pt x="533" y="33"/>
                  </a:lnTo>
                  <a:lnTo>
                    <a:pt x="530" y="31"/>
                  </a:lnTo>
                  <a:lnTo>
                    <a:pt x="530" y="28"/>
                  </a:lnTo>
                  <a:lnTo>
                    <a:pt x="528" y="28"/>
                  </a:lnTo>
                  <a:lnTo>
                    <a:pt x="523" y="31"/>
                  </a:lnTo>
                  <a:lnTo>
                    <a:pt x="523" y="33"/>
                  </a:lnTo>
                  <a:lnTo>
                    <a:pt x="525" y="33"/>
                  </a:lnTo>
                  <a:lnTo>
                    <a:pt x="525" y="36"/>
                  </a:lnTo>
                  <a:lnTo>
                    <a:pt x="523" y="38"/>
                  </a:lnTo>
                  <a:lnTo>
                    <a:pt x="523" y="38"/>
                  </a:lnTo>
                  <a:lnTo>
                    <a:pt x="520" y="38"/>
                  </a:lnTo>
                  <a:lnTo>
                    <a:pt x="518" y="36"/>
                  </a:lnTo>
                  <a:lnTo>
                    <a:pt x="518" y="33"/>
                  </a:lnTo>
                  <a:lnTo>
                    <a:pt x="518" y="33"/>
                  </a:lnTo>
                  <a:lnTo>
                    <a:pt x="515" y="33"/>
                  </a:lnTo>
                  <a:lnTo>
                    <a:pt x="515" y="33"/>
                  </a:lnTo>
                  <a:lnTo>
                    <a:pt x="513" y="33"/>
                  </a:lnTo>
                  <a:lnTo>
                    <a:pt x="513" y="33"/>
                  </a:lnTo>
                  <a:lnTo>
                    <a:pt x="513" y="33"/>
                  </a:lnTo>
                  <a:lnTo>
                    <a:pt x="515" y="31"/>
                  </a:lnTo>
                  <a:lnTo>
                    <a:pt x="518" y="28"/>
                  </a:lnTo>
                  <a:lnTo>
                    <a:pt x="518" y="28"/>
                  </a:lnTo>
                  <a:lnTo>
                    <a:pt x="515" y="28"/>
                  </a:lnTo>
                  <a:lnTo>
                    <a:pt x="515" y="26"/>
                  </a:lnTo>
                  <a:lnTo>
                    <a:pt x="518" y="26"/>
                  </a:lnTo>
                  <a:lnTo>
                    <a:pt x="518" y="26"/>
                  </a:lnTo>
                  <a:lnTo>
                    <a:pt x="515" y="26"/>
                  </a:lnTo>
                  <a:lnTo>
                    <a:pt x="513" y="28"/>
                  </a:lnTo>
                  <a:lnTo>
                    <a:pt x="510" y="31"/>
                  </a:lnTo>
                  <a:lnTo>
                    <a:pt x="505" y="31"/>
                  </a:lnTo>
                  <a:lnTo>
                    <a:pt x="502" y="33"/>
                  </a:lnTo>
                  <a:lnTo>
                    <a:pt x="500" y="33"/>
                  </a:lnTo>
                  <a:lnTo>
                    <a:pt x="495" y="31"/>
                  </a:lnTo>
                  <a:lnTo>
                    <a:pt x="495" y="31"/>
                  </a:lnTo>
                  <a:lnTo>
                    <a:pt x="495" y="28"/>
                  </a:lnTo>
                  <a:lnTo>
                    <a:pt x="490" y="31"/>
                  </a:lnTo>
                  <a:lnTo>
                    <a:pt x="487" y="31"/>
                  </a:lnTo>
                  <a:lnTo>
                    <a:pt x="487" y="28"/>
                  </a:lnTo>
                  <a:lnTo>
                    <a:pt x="485" y="28"/>
                  </a:lnTo>
                  <a:lnTo>
                    <a:pt x="482" y="28"/>
                  </a:lnTo>
                  <a:lnTo>
                    <a:pt x="477" y="26"/>
                  </a:lnTo>
                  <a:lnTo>
                    <a:pt x="472" y="23"/>
                  </a:lnTo>
                  <a:lnTo>
                    <a:pt x="469" y="26"/>
                  </a:lnTo>
                  <a:lnTo>
                    <a:pt x="469" y="23"/>
                  </a:lnTo>
                  <a:lnTo>
                    <a:pt x="467" y="23"/>
                  </a:lnTo>
                  <a:lnTo>
                    <a:pt x="464" y="23"/>
                  </a:lnTo>
                  <a:lnTo>
                    <a:pt x="462" y="21"/>
                  </a:lnTo>
                  <a:lnTo>
                    <a:pt x="462" y="16"/>
                  </a:lnTo>
                  <a:lnTo>
                    <a:pt x="459" y="16"/>
                  </a:lnTo>
                  <a:lnTo>
                    <a:pt x="457" y="16"/>
                  </a:lnTo>
                  <a:lnTo>
                    <a:pt x="454" y="16"/>
                  </a:lnTo>
                  <a:lnTo>
                    <a:pt x="454" y="18"/>
                  </a:lnTo>
                  <a:lnTo>
                    <a:pt x="451" y="16"/>
                  </a:lnTo>
                  <a:lnTo>
                    <a:pt x="446" y="10"/>
                  </a:lnTo>
                  <a:lnTo>
                    <a:pt x="446" y="10"/>
                  </a:lnTo>
                  <a:lnTo>
                    <a:pt x="446" y="10"/>
                  </a:lnTo>
                  <a:lnTo>
                    <a:pt x="444" y="13"/>
                  </a:lnTo>
                  <a:lnTo>
                    <a:pt x="444" y="13"/>
                  </a:lnTo>
                  <a:lnTo>
                    <a:pt x="444" y="13"/>
                  </a:lnTo>
                  <a:lnTo>
                    <a:pt x="441" y="10"/>
                  </a:lnTo>
                  <a:lnTo>
                    <a:pt x="441" y="10"/>
                  </a:lnTo>
                  <a:lnTo>
                    <a:pt x="436" y="13"/>
                  </a:lnTo>
                  <a:lnTo>
                    <a:pt x="436" y="13"/>
                  </a:lnTo>
                  <a:lnTo>
                    <a:pt x="439" y="13"/>
                  </a:lnTo>
                  <a:lnTo>
                    <a:pt x="441" y="16"/>
                  </a:lnTo>
                  <a:lnTo>
                    <a:pt x="444" y="18"/>
                  </a:lnTo>
                  <a:lnTo>
                    <a:pt x="446" y="16"/>
                  </a:lnTo>
                  <a:lnTo>
                    <a:pt x="449" y="18"/>
                  </a:lnTo>
                  <a:lnTo>
                    <a:pt x="454" y="21"/>
                  </a:lnTo>
                  <a:lnTo>
                    <a:pt x="451" y="23"/>
                  </a:lnTo>
                  <a:lnTo>
                    <a:pt x="451" y="26"/>
                  </a:lnTo>
                  <a:lnTo>
                    <a:pt x="451" y="28"/>
                  </a:lnTo>
                  <a:lnTo>
                    <a:pt x="451" y="28"/>
                  </a:lnTo>
                  <a:lnTo>
                    <a:pt x="454" y="31"/>
                  </a:lnTo>
                  <a:lnTo>
                    <a:pt x="451" y="31"/>
                  </a:lnTo>
                  <a:lnTo>
                    <a:pt x="451" y="31"/>
                  </a:lnTo>
                  <a:lnTo>
                    <a:pt x="449" y="31"/>
                  </a:lnTo>
                  <a:lnTo>
                    <a:pt x="446" y="33"/>
                  </a:lnTo>
                  <a:lnTo>
                    <a:pt x="446" y="36"/>
                  </a:lnTo>
                  <a:lnTo>
                    <a:pt x="446" y="33"/>
                  </a:lnTo>
                  <a:lnTo>
                    <a:pt x="444" y="33"/>
                  </a:lnTo>
                  <a:lnTo>
                    <a:pt x="441" y="33"/>
                  </a:lnTo>
                  <a:lnTo>
                    <a:pt x="439" y="36"/>
                  </a:lnTo>
                  <a:lnTo>
                    <a:pt x="439" y="33"/>
                  </a:lnTo>
                  <a:lnTo>
                    <a:pt x="436" y="33"/>
                  </a:lnTo>
                  <a:lnTo>
                    <a:pt x="434" y="36"/>
                  </a:lnTo>
                  <a:lnTo>
                    <a:pt x="426" y="36"/>
                  </a:lnTo>
                  <a:lnTo>
                    <a:pt x="426" y="33"/>
                  </a:lnTo>
                  <a:lnTo>
                    <a:pt x="426" y="31"/>
                  </a:lnTo>
                  <a:lnTo>
                    <a:pt x="426" y="31"/>
                  </a:lnTo>
                  <a:lnTo>
                    <a:pt x="423" y="31"/>
                  </a:lnTo>
                  <a:lnTo>
                    <a:pt x="423" y="33"/>
                  </a:lnTo>
                  <a:lnTo>
                    <a:pt x="418" y="33"/>
                  </a:lnTo>
                  <a:lnTo>
                    <a:pt x="418" y="33"/>
                  </a:lnTo>
                  <a:lnTo>
                    <a:pt x="418" y="36"/>
                  </a:lnTo>
                  <a:lnTo>
                    <a:pt x="418" y="36"/>
                  </a:lnTo>
                  <a:lnTo>
                    <a:pt x="418" y="36"/>
                  </a:lnTo>
                  <a:lnTo>
                    <a:pt x="416" y="36"/>
                  </a:lnTo>
                  <a:lnTo>
                    <a:pt x="416" y="38"/>
                  </a:lnTo>
                  <a:lnTo>
                    <a:pt x="416" y="41"/>
                  </a:lnTo>
                  <a:lnTo>
                    <a:pt x="416" y="41"/>
                  </a:lnTo>
                  <a:lnTo>
                    <a:pt x="413" y="41"/>
                  </a:lnTo>
                  <a:lnTo>
                    <a:pt x="413" y="38"/>
                  </a:lnTo>
                  <a:lnTo>
                    <a:pt x="411" y="38"/>
                  </a:lnTo>
                  <a:lnTo>
                    <a:pt x="411" y="38"/>
                  </a:lnTo>
                  <a:lnTo>
                    <a:pt x="411" y="41"/>
                  </a:lnTo>
                  <a:lnTo>
                    <a:pt x="411" y="44"/>
                  </a:lnTo>
                  <a:lnTo>
                    <a:pt x="408" y="44"/>
                  </a:lnTo>
                  <a:lnTo>
                    <a:pt x="406" y="44"/>
                  </a:lnTo>
                  <a:lnTo>
                    <a:pt x="406" y="44"/>
                  </a:lnTo>
                  <a:lnTo>
                    <a:pt x="403" y="49"/>
                  </a:lnTo>
                  <a:lnTo>
                    <a:pt x="400" y="51"/>
                  </a:lnTo>
                  <a:lnTo>
                    <a:pt x="400" y="54"/>
                  </a:lnTo>
                  <a:lnTo>
                    <a:pt x="398" y="54"/>
                  </a:lnTo>
                  <a:lnTo>
                    <a:pt x="400" y="59"/>
                  </a:lnTo>
                  <a:lnTo>
                    <a:pt x="400" y="61"/>
                  </a:lnTo>
                  <a:lnTo>
                    <a:pt x="398" y="61"/>
                  </a:lnTo>
                  <a:lnTo>
                    <a:pt x="395" y="61"/>
                  </a:lnTo>
                  <a:lnTo>
                    <a:pt x="393" y="64"/>
                  </a:lnTo>
                  <a:lnTo>
                    <a:pt x="393" y="64"/>
                  </a:lnTo>
                  <a:lnTo>
                    <a:pt x="390" y="66"/>
                  </a:lnTo>
                  <a:lnTo>
                    <a:pt x="390" y="69"/>
                  </a:lnTo>
                  <a:lnTo>
                    <a:pt x="390" y="69"/>
                  </a:lnTo>
                  <a:lnTo>
                    <a:pt x="388" y="72"/>
                  </a:lnTo>
                  <a:lnTo>
                    <a:pt x="388" y="74"/>
                  </a:lnTo>
                  <a:lnTo>
                    <a:pt x="385" y="74"/>
                  </a:lnTo>
                  <a:lnTo>
                    <a:pt x="383" y="79"/>
                  </a:lnTo>
                  <a:lnTo>
                    <a:pt x="380" y="84"/>
                  </a:lnTo>
                  <a:lnTo>
                    <a:pt x="383" y="84"/>
                  </a:lnTo>
                  <a:lnTo>
                    <a:pt x="385" y="87"/>
                  </a:lnTo>
                  <a:lnTo>
                    <a:pt x="385" y="87"/>
                  </a:lnTo>
                  <a:lnTo>
                    <a:pt x="385" y="87"/>
                  </a:lnTo>
                  <a:lnTo>
                    <a:pt x="383" y="89"/>
                  </a:lnTo>
                  <a:lnTo>
                    <a:pt x="385" y="89"/>
                  </a:lnTo>
                  <a:lnTo>
                    <a:pt x="385" y="92"/>
                  </a:lnTo>
                  <a:lnTo>
                    <a:pt x="388" y="92"/>
                  </a:lnTo>
                  <a:lnTo>
                    <a:pt x="388" y="92"/>
                  </a:lnTo>
                  <a:lnTo>
                    <a:pt x="385" y="94"/>
                  </a:lnTo>
                  <a:lnTo>
                    <a:pt x="383" y="94"/>
                  </a:lnTo>
                  <a:lnTo>
                    <a:pt x="383" y="94"/>
                  </a:lnTo>
                  <a:lnTo>
                    <a:pt x="383" y="97"/>
                  </a:lnTo>
                  <a:lnTo>
                    <a:pt x="383" y="100"/>
                  </a:lnTo>
                  <a:lnTo>
                    <a:pt x="383" y="100"/>
                  </a:lnTo>
                  <a:lnTo>
                    <a:pt x="383" y="100"/>
                  </a:lnTo>
                  <a:lnTo>
                    <a:pt x="383" y="97"/>
                  </a:lnTo>
                  <a:lnTo>
                    <a:pt x="380" y="94"/>
                  </a:lnTo>
                  <a:lnTo>
                    <a:pt x="378" y="94"/>
                  </a:lnTo>
                  <a:lnTo>
                    <a:pt x="378" y="94"/>
                  </a:lnTo>
                  <a:lnTo>
                    <a:pt x="375" y="94"/>
                  </a:lnTo>
                  <a:lnTo>
                    <a:pt x="375" y="100"/>
                  </a:lnTo>
                  <a:lnTo>
                    <a:pt x="375" y="100"/>
                  </a:lnTo>
                  <a:lnTo>
                    <a:pt x="375" y="100"/>
                  </a:lnTo>
                  <a:lnTo>
                    <a:pt x="375" y="97"/>
                  </a:lnTo>
                  <a:lnTo>
                    <a:pt x="372" y="94"/>
                  </a:lnTo>
                  <a:lnTo>
                    <a:pt x="365" y="92"/>
                  </a:lnTo>
                  <a:lnTo>
                    <a:pt x="362" y="92"/>
                  </a:lnTo>
                  <a:lnTo>
                    <a:pt x="360" y="92"/>
                  </a:lnTo>
                  <a:lnTo>
                    <a:pt x="360" y="92"/>
                  </a:lnTo>
                  <a:lnTo>
                    <a:pt x="360" y="94"/>
                  </a:lnTo>
                  <a:lnTo>
                    <a:pt x="357" y="94"/>
                  </a:lnTo>
                  <a:lnTo>
                    <a:pt x="357" y="94"/>
                  </a:lnTo>
                  <a:lnTo>
                    <a:pt x="355" y="97"/>
                  </a:lnTo>
                  <a:lnTo>
                    <a:pt x="355" y="97"/>
                  </a:lnTo>
                  <a:lnTo>
                    <a:pt x="355" y="100"/>
                  </a:lnTo>
                  <a:lnTo>
                    <a:pt x="355" y="102"/>
                  </a:lnTo>
                  <a:lnTo>
                    <a:pt x="355" y="102"/>
                  </a:lnTo>
                  <a:lnTo>
                    <a:pt x="355" y="105"/>
                  </a:lnTo>
                  <a:lnTo>
                    <a:pt x="355" y="102"/>
                  </a:lnTo>
                  <a:lnTo>
                    <a:pt x="352" y="102"/>
                  </a:lnTo>
                  <a:lnTo>
                    <a:pt x="352" y="105"/>
                  </a:lnTo>
                  <a:lnTo>
                    <a:pt x="352" y="105"/>
                  </a:lnTo>
                  <a:lnTo>
                    <a:pt x="352" y="100"/>
                  </a:lnTo>
                  <a:lnTo>
                    <a:pt x="355" y="94"/>
                  </a:lnTo>
                  <a:lnTo>
                    <a:pt x="355" y="92"/>
                  </a:lnTo>
                  <a:lnTo>
                    <a:pt x="355" y="92"/>
                  </a:lnTo>
                  <a:lnTo>
                    <a:pt x="355" y="89"/>
                  </a:lnTo>
                  <a:lnTo>
                    <a:pt x="349" y="84"/>
                  </a:lnTo>
                  <a:lnTo>
                    <a:pt x="347" y="82"/>
                  </a:lnTo>
                  <a:lnTo>
                    <a:pt x="347" y="79"/>
                  </a:lnTo>
                  <a:lnTo>
                    <a:pt x="344" y="77"/>
                  </a:lnTo>
                  <a:lnTo>
                    <a:pt x="342" y="74"/>
                  </a:lnTo>
                  <a:lnTo>
                    <a:pt x="339" y="72"/>
                  </a:lnTo>
                  <a:lnTo>
                    <a:pt x="337" y="72"/>
                  </a:lnTo>
                  <a:lnTo>
                    <a:pt x="334" y="69"/>
                  </a:lnTo>
                  <a:lnTo>
                    <a:pt x="332" y="69"/>
                  </a:lnTo>
                  <a:lnTo>
                    <a:pt x="329" y="69"/>
                  </a:lnTo>
                  <a:lnTo>
                    <a:pt x="329" y="72"/>
                  </a:lnTo>
                  <a:lnTo>
                    <a:pt x="329" y="74"/>
                  </a:lnTo>
                  <a:lnTo>
                    <a:pt x="327" y="77"/>
                  </a:lnTo>
                  <a:lnTo>
                    <a:pt x="324" y="77"/>
                  </a:lnTo>
                  <a:lnTo>
                    <a:pt x="324" y="77"/>
                  </a:lnTo>
                  <a:lnTo>
                    <a:pt x="321" y="74"/>
                  </a:lnTo>
                  <a:lnTo>
                    <a:pt x="321" y="77"/>
                  </a:lnTo>
                  <a:lnTo>
                    <a:pt x="319" y="77"/>
                  </a:lnTo>
                  <a:lnTo>
                    <a:pt x="319" y="77"/>
                  </a:lnTo>
                  <a:lnTo>
                    <a:pt x="319" y="77"/>
                  </a:lnTo>
                  <a:lnTo>
                    <a:pt x="316" y="74"/>
                  </a:lnTo>
                  <a:lnTo>
                    <a:pt x="316" y="74"/>
                  </a:lnTo>
                  <a:lnTo>
                    <a:pt x="314" y="74"/>
                  </a:lnTo>
                  <a:lnTo>
                    <a:pt x="316" y="77"/>
                  </a:lnTo>
                  <a:lnTo>
                    <a:pt x="316" y="77"/>
                  </a:lnTo>
                  <a:lnTo>
                    <a:pt x="316" y="79"/>
                  </a:lnTo>
                  <a:lnTo>
                    <a:pt x="314" y="79"/>
                  </a:lnTo>
                  <a:lnTo>
                    <a:pt x="314" y="82"/>
                  </a:lnTo>
                  <a:lnTo>
                    <a:pt x="314" y="82"/>
                  </a:lnTo>
                  <a:lnTo>
                    <a:pt x="314" y="84"/>
                  </a:lnTo>
                  <a:lnTo>
                    <a:pt x="311" y="87"/>
                  </a:lnTo>
                  <a:lnTo>
                    <a:pt x="309" y="89"/>
                  </a:lnTo>
                  <a:lnTo>
                    <a:pt x="309" y="87"/>
                  </a:lnTo>
                  <a:lnTo>
                    <a:pt x="309" y="87"/>
                  </a:lnTo>
                  <a:lnTo>
                    <a:pt x="309" y="84"/>
                  </a:lnTo>
                  <a:lnTo>
                    <a:pt x="306" y="84"/>
                  </a:lnTo>
                  <a:lnTo>
                    <a:pt x="306" y="87"/>
                  </a:lnTo>
                  <a:lnTo>
                    <a:pt x="306" y="87"/>
                  </a:lnTo>
                  <a:lnTo>
                    <a:pt x="306" y="87"/>
                  </a:lnTo>
                  <a:lnTo>
                    <a:pt x="306" y="84"/>
                  </a:lnTo>
                  <a:lnTo>
                    <a:pt x="306" y="82"/>
                  </a:lnTo>
                  <a:lnTo>
                    <a:pt x="306" y="82"/>
                  </a:lnTo>
                  <a:lnTo>
                    <a:pt x="306" y="79"/>
                  </a:lnTo>
                  <a:lnTo>
                    <a:pt x="306" y="82"/>
                  </a:lnTo>
                  <a:lnTo>
                    <a:pt x="306" y="82"/>
                  </a:lnTo>
                  <a:lnTo>
                    <a:pt x="304" y="84"/>
                  </a:lnTo>
                  <a:lnTo>
                    <a:pt x="304" y="87"/>
                  </a:lnTo>
                  <a:lnTo>
                    <a:pt x="301" y="87"/>
                  </a:lnTo>
                  <a:lnTo>
                    <a:pt x="299" y="87"/>
                  </a:lnTo>
                  <a:lnTo>
                    <a:pt x="299" y="87"/>
                  </a:lnTo>
                  <a:lnTo>
                    <a:pt x="299" y="89"/>
                  </a:lnTo>
                  <a:lnTo>
                    <a:pt x="296" y="89"/>
                  </a:lnTo>
                  <a:lnTo>
                    <a:pt x="296" y="92"/>
                  </a:lnTo>
                  <a:lnTo>
                    <a:pt x="296" y="94"/>
                  </a:lnTo>
                  <a:lnTo>
                    <a:pt x="296" y="94"/>
                  </a:lnTo>
                  <a:lnTo>
                    <a:pt x="299" y="97"/>
                  </a:lnTo>
                  <a:lnTo>
                    <a:pt x="299" y="100"/>
                  </a:lnTo>
                  <a:lnTo>
                    <a:pt x="299" y="100"/>
                  </a:lnTo>
                  <a:lnTo>
                    <a:pt x="296" y="100"/>
                  </a:lnTo>
                  <a:lnTo>
                    <a:pt x="293" y="97"/>
                  </a:lnTo>
                  <a:lnTo>
                    <a:pt x="293" y="97"/>
                  </a:lnTo>
                  <a:lnTo>
                    <a:pt x="291" y="97"/>
                  </a:lnTo>
                  <a:lnTo>
                    <a:pt x="291" y="97"/>
                  </a:lnTo>
                  <a:lnTo>
                    <a:pt x="291" y="100"/>
                  </a:lnTo>
                  <a:lnTo>
                    <a:pt x="291" y="100"/>
                  </a:lnTo>
                  <a:lnTo>
                    <a:pt x="288" y="100"/>
                  </a:lnTo>
                  <a:lnTo>
                    <a:pt x="288" y="100"/>
                  </a:lnTo>
                  <a:lnTo>
                    <a:pt x="288" y="102"/>
                  </a:lnTo>
                  <a:lnTo>
                    <a:pt x="288" y="102"/>
                  </a:lnTo>
                  <a:lnTo>
                    <a:pt x="288" y="105"/>
                  </a:lnTo>
                  <a:lnTo>
                    <a:pt x="291" y="105"/>
                  </a:lnTo>
                  <a:lnTo>
                    <a:pt x="291" y="105"/>
                  </a:lnTo>
                  <a:lnTo>
                    <a:pt x="291" y="105"/>
                  </a:lnTo>
                  <a:lnTo>
                    <a:pt x="291" y="107"/>
                  </a:lnTo>
                  <a:lnTo>
                    <a:pt x="291" y="107"/>
                  </a:lnTo>
                  <a:lnTo>
                    <a:pt x="288" y="107"/>
                  </a:lnTo>
                  <a:lnTo>
                    <a:pt x="286" y="105"/>
                  </a:lnTo>
                  <a:lnTo>
                    <a:pt x="283" y="102"/>
                  </a:lnTo>
                  <a:lnTo>
                    <a:pt x="283" y="105"/>
                  </a:lnTo>
                  <a:lnTo>
                    <a:pt x="283" y="105"/>
                  </a:lnTo>
                  <a:lnTo>
                    <a:pt x="283" y="107"/>
                  </a:lnTo>
                  <a:lnTo>
                    <a:pt x="281" y="107"/>
                  </a:lnTo>
                  <a:lnTo>
                    <a:pt x="281" y="107"/>
                  </a:lnTo>
                  <a:lnTo>
                    <a:pt x="278" y="107"/>
                  </a:lnTo>
                  <a:lnTo>
                    <a:pt x="278" y="112"/>
                  </a:lnTo>
                  <a:lnTo>
                    <a:pt x="276" y="115"/>
                  </a:lnTo>
                  <a:lnTo>
                    <a:pt x="278" y="117"/>
                  </a:lnTo>
                  <a:lnTo>
                    <a:pt x="278" y="120"/>
                  </a:lnTo>
                  <a:lnTo>
                    <a:pt x="281" y="115"/>
                  </a:lnTo>
                  <a:lnTo>
                    <a:pt x="281" y="115"/>
                  </a:lnTo>
                  <a:lnTo>
                    <a:pt x="281" y="117"/>
                  </a:lnTo>
                  <a:lnTo>
                    <a:pt x="281" y="117"/>
                  </a:lnTo>
                  <a:lnTo>
                    <a:pt x="281" y="120"/>
                  </a:lnTo>
                  <a:lnTo>
                    <a:pt x="278" y="122"/>
                  </a:lnTo>
                  <a:lnTo>
                    <a:pt x="278" y="122"/>
                  </a:lnTo>
                  <a:lnTo>
                    <a:pt x="276" y="122"/>
                  </a:lnTo>
                  <a:lnTo>
                    <a:pt x="276" y="122"/>
                  </a:lnTo>
                  <a:lnTo>
                    <a:pt x="276" y="125"/>
                  </a:lnTo>
                  <a:lnTo>
                    <a:pt x="276" y="128"/>
                  </a:lnTo>
                  <a:lnTo>
                    <a:pt x="276" y="128"/>
                  </a:lnTo>
                  <a:lnTo>
                    <a:pt x="278" y="128"/>
                  </a:lnTo>
                  <a:lnTo>
                    <a:pt x="281" y="128"/>
                  </a:lnTo>
                  <a:lnTo>
                    <a:pt x="281" y="128"/>
                  </a:lnTo>
                  <a:lnTo>
                    <a:pt x="281" y="128"/>
                  </a:lnTo>
                  <a:lnTo>
                    <a:pt x="281" y="128"/>
                  </a:lnTo>
                  <a:lnTo>
                    <a:pt x="278" y="128"/>
                  </a:lnTo>
                  <a:lnTo>
                    <a:pt x="276" y="128"/>
                  </a:lnTo>
                  <a:lnTo>
                    <a:pt x="273" y="128"/>
                  </a:lnTo>
                  <a:lnTo>
                    <a:pt x="270" y="128"/>
                  </a:lnTo>
                  <a:lnTo>
                    <a:pt x="270" y="125"/>
                  </a:lnTo>
                  <a:lnTo>
                    <a:pt x="268" y="125"/>
                  </a:lnTo>
                  <a:lnTo>
                    <a:pt x="265" y="125"/>
                  </a:lnTo>
                  <a:lnTo>
                    <a:pt x="265" y="128"/>
                  </a:lnTo>
                  <a:lnTo>
                    <a:pt x="263" y="128"/>
                  </a:lnTo>
                  <a:lnTo>
                    <a:pt x="263" y="125"/>
                  </a:lnTo>
                  <a:lnTo>
                    <a:pt x="260" y="122"/>
                  </a:lnTo>
                  <a:lnTo>
                    <a:pt x="260" y="125"/>
                  </a:lnTo>
                  <a:lnTo>
                    <a:pt x="260" y="128"/>
                  </a:lnTo>
                  <a:lnTo>
                    <a:pt x="260" y="130"/>
                  </a:lnTo>
                  <a:lnTo>
                    <a:pt x="258" y="130"/>
                  </a:lnTo>
                  <a:lnTo>
                    <a:pt x="258" y="130"/>
                  </a:lnTo>
                  <a:lnTo>
                    <a:pt x="255" y="130"/>
                  </a:lnTo>
                  <a:lnTo>
                    <a:pt x="258" y="133"/>
                  </a:lnTo>
                  <a:lnTo>
                    <a:pt x="258" y="135"/>
                  </a:lnTo>
                  <a:lnTo>
                    <a:pt x="260" y="135"/>
                  </a:lnTo>
                  <a:lnTo>
                    <a:pt x="260" y="138"/>
                  </a:lnTo>
                  <a:lnTo>
                    <a:pt x="260" y="140"/>
                  </a:lnTo>
                  <a:lnTo>
                    <a:pt x="263" y="140"/>
                  </a:lnTo>
                  <a:lnTo>
                    <a:pt x="263" y="140"/>
                  </a:lnTo>
                  <a:lnTo>
                    <a:pt x="260" y="143"/>
                  </a:lnTo>
                  <a:lnTo>
                    <a:pt x="260" y="145"/>
                  </a:lnTo>
                  <a:lnTo>
                    <a:pt x="260" y="145"/>
                  </a:lnTo>
                  <a:lnTo>
                    <a:pt x="260" y="145"/>
                  </a:lnTo>
                  <a:lnTo>
                    <a:pt x="258" y="143"/>
                  </a:lnTo>
                  <a:lnTo>
                    <a:pt x="258" y="143"/>
                  </a:lnTo>
                  <a:lnTo>
                    <a:pt x="255" y="143"/>
                  </a:lnTo>
                  <a:lnTo>
                    <a:pt x="255" y="145"/>
                  </a:lnTo>
                  <a:lnTo>
                    <a:pt x="255" y="148"/>
                  </a:lnTo>
                  <a:lnTo>
                    <a:pt x="255" y="153"/>
                  </a:lnTo>
                  <a:lnTo>
                    <a:pt x="255" y="153"/>
                  </a:lnTo>
                  <a:lnTo>
                    <a:pt x="255" y="153"/>
                  </a:lnTo>
                  <a:lnTo>
                    <a:pt x="253" y="153"/>
                  </a:lnTo>
                  <a:lnTo>
                    <a:pt x="253" y="150"/>
                  </a:lnTo>
                  <a:lnTo>
                    <a:pt x="250" y="148"/>
                  </a:lnTo>
                  <a:lnTo>
                    <a:pt x="250" y="143"/>
                  </a:lnTo>
                  <a:lnTo>
                    <a:pt x="248" y="140"/>
                  </a:lnTo>
                  <a:lnTo>
                    <a:pt x="248" y="135"/>
                  </a:lnTo>
                  <a:lnTo>
                    <a:pt x="245" y="130"/>
                  </a:lnTo>
                  <a:lnTo>
                    <a:pt x="245" y="130"/>
                  </a:lnTo>
                  <a:lnTo>
                    <a:pt x="242" y="133"/>
                  </a:lnTo>
                  <a:lnTo>
                    <a:pt x="240" y="135"/>
                  </a:lnTo>
                  <a:lnTo>
                    <a:pt x="240" y="138"/>
                  </a:lnTo>
                  <a:lnTo>
                    <a:pt x="237" y="140"/>
                  </a:lnTo>
                  <a:lnTo>
                    <a:pt x="235" y="140"/>
                  </a:lnTo>
                  <a:lnTo>
                    <a:pt x="232" y="143"/>
                  </a:lnTo>
                  <a:lnTo>
                    <a:pt x="232" y="143"/>
                  </a:lnTo>
                  <a:lnTo>
                    <a:pt x="230" y="145"/>
                  </a:lnTo>
                  <a:lnTo>
                    <a:pt x="227" y="150"/>
                  </a:lnTo>
                  <a:lnTo>
                    <a:pt x="227" y="153"/>
                  </a:lnTo>
                  <a:lnTo>
                    <a:pt x="225" y="155"/>
                  </a:lnTo>
                  <a:lnTo>
                    <a:pt x="227" y="158"/>
                  </a:lnTo>
                  <a:lnTo>
                    <a:pt x="227" y="163"/>
                  </a:lnTo>
                  <a:lnTo>
                    <a:pt x="227" y="166"/>
                  </a:lnTo>
                  <a:lnTo>
                    <a:pt x="227" y="166"/>
                  </a:lnTo>
                  <a:lnTo>
                    <a:pt x="227" y="168"/>
                  </a:lnTo>
                  <a:lnTo>
                    <a:pt x="227" y="168"/>
                  </a:lnTo>
                  <a:lnTo>
                    <a:pt x="219" y="173"/>
                  </a:lnTo>
                  <a:lnTo>
                    <a:pt x="217" y="176"/>
                  </a:lnTo>
                  <a:lnTo>
                    <a:pt x="214" y="178"/>
                  </a:lnTo>
                  <a:lnTo>
                    <a:pt x="214" y="181"/>
                  </a:lnTo>
                  <a:lnTo>
                    <a:pt x="212" y="183"/>
                  </a:lnTo>
                  <a:lnTo>
                    <a:pt x="209" y="186"/>
                  </a:lnTo>
                  <a:lnTo>
                    <a:pt x="207" y="191"/>
                  </a:lnTo>
                  <a:lnTo>
                    <a:pt x="204" y="196"/>
                  </a:lnTo>
                  <a:lnTo>
                    <a:pt x="199" y="199"/>
                  </a:lnTo>
                  <a:lnTo>
                    <a:pt x="197" y="201"/>
                  </a:lnTo>
                  <a:lnTo>
                    <a:pt x="194" y="204"/>
                  </a:lnTo>
                  <a:lnTo>
                    <a:pt x="184" y="206"/>
                  </a:lnTo>
                  <a:lnTo>
                    <a:pt x="179" y="209"/>
                  </a:lnTo>
                  <a:lnTo>
                    <a:pt x="171" y="209"/>
                  </a:lnTo>
                  <a:lnTo>
                    <a:pt x="166" y="211"/>
                  </a:lnTo>
                  <a:lnTo>
                    <a:pt x="161" y="211"/>
                  </a:lnTo>
                  <a:lnTo>
                    <a:pt x="156" y="211"/>
                  </a:lnTo>
                  <a:lnTo>
                    <a:pt x="148" y="217"/>
                  </a:lnTo>
                  <a:lnTo>
                    <a:pt x="143" y="219"/>
                  </a:lnTo>
                  <a:lnTo>
                    <a:pt x="138" y="219"/>
                  </a:lnTo>
                  <a:lnTo>
                    <a:pt x="135" y="219"/>
                  </a:lnTo>
                  <a:lnTo>
                    <a:pt x="130" y="224"/>
                  </a:lnTo>
                  <a:lnTo>
                    <a:pt x="125" y="224"/>
                  </a:lnTo>
                  <a:lnTo>
                    <a:pt x="120" y="227"/>
                  </a:lnTo>
                  <a:lnTo>
                    <a:pt x="118" y="227"/>
                  </a:lnTo>
                  <a:lnTo>
                    <a:pt x="115" y="224"/>
                  </a:lnTo>
                  <a:lnTo>
                    <a:pt x="112" y="224"/>
                  </a:lnTo>
                  <a:lnTo>
                    <a:pt x="110" y="224"/>
                  </a:lnTo>
                  <a:lnTo>
                    <a:pt x="107" y="224"/>
                  </a:lnTo>
                  <a:lnTo>
                    <a:pt x="105" y="227"/>
                  </a:lnTo>
                  <a:lnTo>
                    <a:pt x="92" y="234"/>
                  </a:lnTo>
                  <a:lnTo>
                    <a:pt x="90" y="237"/>
                  </a:lnTo>
                  <a:lnTo>
                    <a:pt x="87" y="239"/>
                  </a:lnTo>
                  <a:lnTo>
                    <a:pt x="82" y="242"/>
                  </a:lnTo>
                  <a:lnTo>
                    <a:pt x="79" y="245"/>
                  </a:lnTo>
                  <a:lnTo>
                    <a:pt x="74" y="247"/>
                  </a:lnTo>
                  <a:lnTo>
                    <a:pt x="67" y="250"/>
                  </a:lnTo>
                  <a:lnTo>
                    <a:pt x="64" y="252"/>
                  </a:lnTo>
                  <a:lnTo>
                    <a:pt x="61" y="255"/>
                  </a:lnTo>
                  <a:lnTo>
                    <a:pt x="56" y="262"/>
                  </a:lnTo>
                  <a:lnTo>
                    <a:pt x="54" y="262"/>
                  </a:lnTo>
                  <a:lnTo>
                    <a:pt x="54" y="265"/>
                  </a:lnTo>
                  <a:lnTo>
                    <a:pt x="51" y="267"/>
                  </a:lnTo>
                  <a:lnTo>
                    <a:pt x="49" y="267"/>
                  </a:lnTo>
                  <a:lnTo>
                    <a:pt x="51" y="262"/>
                  </a:lnTo>
                  <a:lnTo>
                    <a:pt x="51" y="260"/>
                  </a:lnTo>
                  <a:lnTo>
                    <a:pt x="51" y="255"/>
                  </a:lnTo>
                  <a:lnTo>
                    <a:pt x="51" y="252"/>
                  </a:lnTo>
                  <a:lnTo>
                    <a:pt x="49" y="252"/>
                  </a:lnTo>
                  <a:lnTo>
                    <a:pt x="49" y="255"/>
                  </a:lnTo>
                  <a:lnTo>
                    <a:pt x="44" y="262"/>
                  </a:lnTo>
                  <a:lnTo>
                    <a:pt x="41" y="270"/>
                  </a:lnTo>
                  <a:lnTo>
                    <a:pt x="41" y="275"/>
                  </a:lnTo>
                  <a:lnTo>
                    <a:pt x="41" y="278"/>
                  </a:lnTo>
                  <a:lnTo>
                    <a:pt x="41" y="280"/>
                  </a:lnTo>
                  <a:lnTo>
                    <a:pt x="39" y="283"/>
                  </a:lnTo>
                  <a:lnTo>
                    <a:pt x="39" y="285"/>
                  </a:lnTo>
                  <a:lnTo>
                    <a:pt x="39" y="288"/>
                  </a:lnTo>
                  <a:lnTo>
                    <a:pt x="33" y="295"/>
                  </a:lnTo>
                  <a:lnTo>
                    <a:pt x="31" y="298"/>
                  </a:lnTo>
                  <a:lnTo>
                    <a:pt x="28" y="303"/>
                  </a:lnTo>
                  <a:lnTo>
                    <a:pt x="28" y="308"/>
                  </a:lnTo>
                  <a:lnTo>
                    <a:pt x="28" y="311"/>
                  </a:lnTo>
                  <a:lnTo>
                    <a:pt x="28" y="316"/>
                  </a:lnTo>
                  <a:lnTo>
                    <a:pt x="31" y="316"/>
                  </a:lnTo>
                  <a:lnTo>
                    <a:pt x="31" y="323"/>
                  </a:lnTo>
                  <a:lnTo>
                    <a:pt x="31" y="329"/>
                  </a:lnTo>
                  <a:lnTo>
                    <a:pt x="33" y="336"/>
                  </a:lnTo>
                  <a:lnTo>
                    <a:pt x="36" y="344"/>
                  </a:lnTo>
                  <a:lnTo>
                    <a:pt x="36" y="346"/>
                  </a:lnTo>
                  <a:lnTo>
                    <a:pt x="36" y="349"/>
                  </a:lnTo>
                  <a:lnTo>
                    <a:pt x="36" y="354"/>
                  </a:lnTo>
                  <a:lnTo>
                    <a:pt x="33" y="354"/>
                  </a:lnTo>
                  <a:lnTo>
                    <a:pt x="31" y="357"/>
                  </a:lnTo>
                  <a:lnTo>
                    <a:pt x="31" y="354"/>
                  </a:lnTo>
                  <a:lnTo>
                    <a:pt x="31" y="351"/>
                  </a:lnTo>
                  <a:lnTo>
                    <a:pt x="31" y="346"/>
                  </a:lnTo>
                  <a:lnTo>
                    <a:pt x="28" y="346"/>
                  </a:lnTo>
                  <a:lnTo>
                    <a:pt x="28" y="349"/>
                  </a:lnTo>
                  <a:lnTo>
                    <a:pt x="26" y="351"/>
                  </a:lnTo>
                  <a:lnTo>
                    <a:pt x="26" y="349"/>
                  </a:lnTo>
                  <a:lnTo>
                    <a:pt x="26" y="349"/>
                  </a:lnTo>
                  <a:lnTo>
                    <a:pt x="26" y="349"/>
                  </a:lnTo>
                  <a:lnTo>
                    <a:pt x="26" y="346"/>
                  </a:lnTo>
                  <a:lnTo>
                    <a:pt x="28" y="344"/>
                  </a:lnTo>
                  <a:lnTo>
                    <a:pt x="26" y="341"/>
                  </a:lnTo>
                  <a:lnTo>
                    <a:pt x="26" y="339"/>
                  </a:lnTo>
                  <a:lnTo>
                    <a:pt x="23" y="339"/>
                  </a:lnTo>
                  <a:lnTo>
                    <a:pt x="23" y="339"/>
                  </a:lnTo>
                  <a:lnTo>
                    <a:pt x="21" y="341"/>
                  </a:lnTo>
                  <a:lnTo>
                    <a:pt x="23" y="344"/>
                  </a:lnTo>
                  <a:lnTo>
                    <a:pt x="23" y="349"/>
                  </a:lnTo>
                  <a:lnTo>
                    <a:pt x="26" y="351"/>
                  </a:lnTo>
                  <a:lnTo>
                    <a:pt x="26" y="351"/>
                  </a:lnTo>
                  <a:lnTo>
                    <a:pt x="28" y="354"/>
                  </a:lnTo>
                  <a:lnTo>
                    <a:pt x="26" y="359"/>
                  </a:lnTo>
                  <a:lnTo>
                    <a:pt x="26" y="359"/>
                  </a:lnTo>
                  <a:lnTo>
                    <a:pt x="23" y="359"/>
                  </a:lnTo>
                  <a:lnTo>
                    <a:pt x="21" y="359"/>
                  </a:lnTo>
                  <a:lnTo>
                    <a:pt x="21" y="357"/>
                  </a:lnTo>
                  <a:lnTo>
                    <a:pt x="21" y="351"/>
                  </a:lnTo>
                  <a:lnTo>
                    <a:pt x="21" y="349"/>
                  </a:lnTo>
                  <a:lnTo>
                    <a:pt x="18" y="349"/>
                  </a:lnTo>
                  <a:lnTo>
                    <a:pt x="18" y="349"/>
                  </a:lnTo>
                  <a:lnTo>
                    <a:pt x="18" y="351"/>
                  </a:lnTo>
                  <a:lnTo>
                    <a:pt x="18" y="351"/>
                  </a:lnTo>
                  <a:lnTo>
                    <a:pt x="18" y="351"/>
                  </a:lnTo>
                  <a:lnTo>
                    <a:pt x="16" y="351"/>
                  </a:lnTo>
                  <a:lnTo>
                    <a:pt x="16" y="351"/>
                  </a:lnTo>
                  <a:lnTo>
                    <a:pt x="16" y="351"/>
                  </a:lnTo>
                  <a:lnTo>
                    <a:pt x="16" y="351"/>
                  </a:lnTo>
                  <a:lnTo>
                    <a:pt x="18" y="357"/>
                  </a:lnTo>
                  <a:lnTo>
                    <a:pt x="23" y="367"/>
                  </a:lnTo>
                  <a:lnTo>
                    <a:pt x="26" y="377"/>
                  </a:lnTo>
                  <a:lnTo>
                    <a:pt x="26" y="382"/>
                  </a:lnTo>
                  <a:lnTo>
                    <a:pt x="26" y="392"/>
                  </a:lnTo>
                  <a:lnTo>
                    <a:pt x="26" y="395"/>
                  </a:lnTo>
                  <a:lnTo>
                    <a:pt x="26" y="400"/>
                  </a:lnTo>
                  <a:lnTo>
                    <a:pt x="28" y="405"/>
                  </a:lnTo>
                  <a:lnTo>
                    <a:pt x="28" y="407"/>
                  </a:lnTo>
                  <a:lnTo>
                    <a:pt x="28" y="410"/>
                  </a:lnTo>
                  <a:lnTo>
                    <a:pt x="28" y="412"/>
                  </a:lnTo>
                  <a:lnTo>
                    <a:pt x="31" y="418"/>
                  </a:lnTo>
                  <a:lnTo>
                    <a:pt x="31" y="425"/>
                  </a:lnTo>
                  <a:lnTo>
                    <a:pt x="31" y="428"/>
                  </a:lnTo>
                  <a:lnTo>
                    <a:pt x="31" y="430"/>
                  </a:lnTo>
                  <a:lnTo>
                    <a:pt x="28" y="438"/>
                  </a:lnTo>
                  <a:lnTo>
                    <a:pt x="28" y="443"/>
                  </a:lnTo>
                  <a:lnTo>
                    <a:pt x="28" y="451"/>
                  </a:lnTo>
                  <a:lnTo>
                    <a:pt x="28" y="456"/>
                  </a:lnTo>
                  <a:lnTo>
                    <a:pt x="28" y="458"/>
                  </a:lnTo>
                  <a:lnTo>
                    <a:pt x="28" y="466"/>
                  </a:lnTo>
                  <a:lnTo>
                    <a:pt x="31" y="476"/>
                  </a:lnTo>
                  <a:lnTo>
                    <a:pt x="31" y="481"/>
                  </a:lnTo>
                  <a:lnTo>
                    <a:pt x="26" y="491"/>
                  </a:lnTo>
                  <a:lnTo>
                    <a:pt x="26" y="496"/>
                  </a:lnTo>
                  <a:lnTo>
                    <a:pt x="23" y="496"/>
                  </a:lnTo>
                  <a:lnTo>
                    <a:pt x="23" y="499"/>
                  </a:lnTo>
                  <a:lnTo>
                    <a:pt x="21" y="507"/>
                  </a:lnTo>
                  <a:lnTo>
                    <a:pt x="21" y="509"/>
                  </a:lnTo>
                  <a:lnTo>
                    <a:pt x="18" y="514"/>
                  </a:lnTo>
                  <a:lnTo>
                    <a:pt x="16" y="517"/>
                  </a:lnTo>
                  <a:lnTo>
                    <a:pt x="11" y="519"/>
                  </a:lnTo>
                  <a:lnTo>
                    <a:pt x="8" y="519"/>
                  </a:lnTo>
                  <a:lnTo>
                    <a:pt x="5" y="519"/>
                  </a:lnTo>
                  <a:lnTo>
                    <a:pt x="5" y="517"/>
                  </a:lnTo>
                  <a:lnTo>
                    <a:pt x="3" y="524"/>
                  </a:lnTo>
                  <a:lnTo>
                    <a:pt x="0" y="530"/>
                  </a:lnTo>
                  <a:lnTo>
                    <a:pt x="0" y="532"/>
                  </a:lnTo>
                  <a:lnTo>
                    <a:pt x="0" y="535"/>
                  </a:lnTo>
                  <a:lnTo>
                    <a:pt x="0" y="537"/>
                  </a:lnTo>
                  <a:lnTo>
                    <a:pt x="3" y="535"/>
                  </a:lnTo>
                  <a:lnTo>
                    <a:pt x="3" y="535"/>
                  </a:lnTo>
                  <a:lnTo>
                    <a:pt x="8" y="537"/>
                  </a:lnTo>
                  <a:lnTo>
                    <a:pt x="11" y="540"/>
                  </a:lnTo>
                  <a:lnTo>
                    <a:pt x="13" y="547"/>
                  </a:lnTo>
                  <a:lnTo>
                    <a:pt x="18" y="547"/>
                  </a:lnTo>
                  <a:lnTo>
                    <a:pt x="21" y="550"/>
                  </a:lnTo>
                  <a:lnTo>
                    <a:pt x="28" y="552"/>
                  </a:lnTo>
                  <a:lnTo>
                    <a:pt x="33" y="552"/>
                  </a:lnTo>
                  <a:lnTo>
                    <a:pt x="41" y="552"/>
                  </a:lnTo>
                  <a:lnTo>
                    <a:pt x="44" y="552"/>
                  </a:lnTo>
                  <a:lnTo>
                    <a:pt x="46" y="552"/>
                  </a:lnTo>
                  <a:lnTo>
                    <a:pt x="49" y="552"/>
                  </a:lnTo>
                  <a:lnTo>
                    <a:pt x="54" y="550"/>
                  </a:lnTo>
                  <a:lnTo>
                    <a:pt x="61" y="545"/>
                  </a:lnTo>
                  <a:lnTo>
                    <a:pt x="72" y="540"/>
                  </a:lnTo>
                  <a:lnTo>
                    <a:pt x="74" y="540"/>
                  </a:lnTo>
                  <a:lnTo>
                    <a:pt x="79" y="540"/>
                  </a:lnTo>
                  <a:lnTo>
                    <a:pt x="82" y="537"/>
                  </a:lnTo>
                  <a:lnTo>
                    <a:pt x="90" y="530"/>
                  </a:lnTo>
                  <a:lnTo>
                    <a:pt x="90" y="530"/>
                  </a:lnTo>
                  <a:lnTo>
                    <a:pt x="95" y="527"/>
                  </a:lnTo>
                  <a:lnTo>
                    <a:pt x="100" y="527"/>
                  </a:lnTo>
                  <a:lnTo>
                    <a:pt x="105" y="527"/>
                  </a:lnTo>
                  <a:lnTo>
                    <a:pt x="107" y="527"/>
                  </a:lnTo>
                  <a:lnTo>
                    <a:pt x="112" y="524"/>
                  </a:lnTo>
                  <a:lnTo>
                    <a:pt x="125" y="524"/>
                  </a:lnTo>
                  <a:lnTo>
                    <a:pt x="130" y="524"/>
                  </a:lnTo>
                  <a:lnTo>
                    <a:pt x="135" y="524"/>
                  </a:lnTo>
                  <a:lnTo>
                    <a:pt x="135" y="524"/>
                  </a:lnTo>
                  <a:lnTo>
                    <a:pt x="138" y="527"/>
                  </a:lnTo>
                  <a:lnTo>
                    <a:pt x="151" y="527"/>
                  </a:lnTo>
                  <a:lnTo>
                    <a:pt x="153" y="524"/>
                  </a:lnTo>
                  <a:lnTo>
                    <a:pt x="156" y="527"/>
                  </a:lnTo>
                  <a:lnTo>
                    <a:pt x="158" y="527"/>
                  </a:lnTo>
                  <a:lnTo>
                    <a:pt x="161" y="527"/>
                  </a:lnTo>
                  <a:lnTo>
                    <a:pt x="163" y="527"/>
                  </a:lnTo>
                  <a:lnTo>
                    <a:pt x="166" y="524"/>
                  </a:lnTo>
                  <a:lnTo>
                    <a:pt x="174" y="519"/>
                  </a:lnTo>
                  <a:lnTo>
                    <a:pt x="176" y="517"/>
                  </a:lnTo>
                  <a:lnTo>
                    <a:pt x="181" y="509"/>
                  </a:lnTo>
                  <a:lnTo>
                    <a:pt x="184" y="507"/>
                  </a:lnTo>
                  <a:lnTo>
                    <a:pt x="189" y="504"/>
                  </a:lnTo>
                  <a:lnTo>
                    <a:pt x="191" y="504"/>
                  </a:lnTo>
                  <a:lnTo>
                    <a:pt x="197" y="504"/>
                  </a:lnTo>
                  <a:lnTo>
                    <a:pt x="207" y="496"/>
                  </a:lnTo>
                  <a:lnTo>
                    <a:pt x="212" y="496"/>
                  </a:lnTo>
                  <a:lnTo>
                    <a:pt x="214" y="494"/>
                  </a:lnTo>
                  <a:lnTo>
                    <a:pt x="222" y="489"/>
                  </a:lnTo>
                  <a:lnTo>
                    <a:pt x="227" y="489"/>
                  </a:lnTo>
                  <a:lnTo>
                    <a:pt x="240" y="489"/>
                  </a:lnTo>
                  <a:lnTo>
                    <a:pt x="245" y="489"/>
                  </a:lnTo>
                  <a:lnTo>
                    <a:pt x="250" y="489"/>
                  </a:lnTo>
                  <a:lnTo>
                    <a:pt x="258" y="486"/>
                  </a:lnTo>
                  <a:lnTo>
                    <a:pt x="265" y="484"/>
                  </a:lnTo>
                  <a:lnTo>
                    <a:pt x="276" y="481"/>
                  </a:lnTo>
                  <a:lnTo>
                    <a:pt x="286" y="476"/>
                  </a:lnTo>
                  <a:lnTo>
                    <a:pt x="291" y="476"/>
                  </a:lnTo>
                  <a:lnTo>
                    <a:pt x="299" y="474"/>
                  </a:lnTo>
                  <a:lnTo>
                    <a:pt x="309" y="474"/>
                  </a:lnTo>
                  <a:lnTo>
                    <a:pt x="321" y="474"/>
                  </a:lnTo>
                  <a:lnTo>
                    <a:pt x="324" y="474"/>
                  </a:lnTo>
                  <a:lnTo>
                    <a:pt x="327" y="471"/>
                  </a:lnTo>
                  <a:lnTo>
                    <a:pt x="329" y="471"/>
                  </a:lnTo>
                  <a:lnTo>
                    <a:pt x="332" y="471"/>
                  </a:lnTo>
                  <a:lnTo>
                    <a:pt x="334" y="474"/>
                  </a:lnTo>
                  <a:lnTo>
                    <a:pt x="339" y="476"/>
                  </a:lnTo>
                  <a:lnTo>
                    <a:pt x="347" y="484"/>
                  </a:lnTo>
                  <a:lnTo>
                    <a:pt x="347" y="484"/>
                  </a:lnTo>
                  <a:lnTo>
                    <a:pt x="355" y="481"/>
                  </a:lnTo>
                  <a:lnTo>
                    <a:pt x="357" y="481"/>
                  </a:lnTo>
                  <a:lnTo>
                    <a:pt x="362" y="486"/>
                  </a:lnTo>
                  <a:lnTo>
                    <a:pt x="367" y="486"/>
                  </a:lnTo>
                  <a:lnTo>
                    <a:pt x="370" y="486"/>
                  </a:lnTo>
                  <a:lnTo>
                    <a:pt x="372" y="489"/>
                  </a:lnTo>
                  <a:lnTo>
                    <a:pt x="372" y="489"/>
                  </a:lnTo>
                  <a:lnTo>
                    <a:pt x="375" y="491"/>
                  </a:lnTo>
                  <a:lnTo>
                    <a:pt x="380" y="496"/>
                  </a:lnTo>
                  <a:lnTo>
                    <a:pt x="380" y="499"/>
                  </a:lnTo>
                  <a:lnTo>
                    <a:pt x="378" y="499"/>
                  </a:lnTo>
                  <a:lnTo>
                    <a:pt x="378" y="499"/>
                  </a:lnTo>
                  <a:lnTo>
                    <a:pt x="375" y="499"/>
                  </a:lnTo>
                  <a:lnTo>
                    <a:pt x="375" y="504"/>
                  </a:lnTo>
                  <a:lnTo>
                    <a:pt x="375" y="509"/>
                  </a:lnTo>
                  <a:lnTo>
                    <a:pt x="383" y="509"/>
                  </a:lnTo>
                  <a:lnTo>
                    <a:pt x="383" y="512"/>
                  </a:lnTo>
                  <a:lnTo>
                    <a:pt x="383" y="514"/>
                  </a:lnTo>
                  <a:lnTo>
                    <a:pt x="383" y="517"/>
                  </a:lnTo>
                  <a:lnTo>
                    <a:pt x="383" y="519"/>
                  </a:lnTo>
                  <a:lnTo>
                    <a:pt x="385" y="524"/>
                  </a:lnTo>
                  <a:lnTo>
                    <a:pt x="385" y="527"/>
                  </a:lnTo>
                  <a:lnTo>
                    <a:pt x="385" y="527"/>
                  </a:lnTo>
                  <a:lnTo>
                    <a:pt x="385" y="532"/>
                  </a:lnTo>
                  <a:lnTo>
                    <a:pt x="385" y="532"/>
                  </a:lnTo>
                  <a:lnTo>
                    <a:pt x="385" y="537"/>
                  </a:lnTo>
                  <a:lnTo>
                    <a:pt x="385" y="542"/>
                  </a:lnTo>
                  <a:lnTo>
                    <a:pt x="385" y="542"/>
                  </a:lnTo>
                  <a:lnTo>
                    <a:pt x="383" y="542"/>
                  </a:lnTo>
                  <a:lnTo>
                    <a:pt x="383" y="540"/>
                  </a:lnTo>
                  <a:lnTo>
                    <a:pt x="380" y="540"/>
                  </a:lnTo>
                  <a:lnTo>
                    <a:pt x="380" y="540"/>
                  </a:lnTo>
                  <a:lnTo>
                    <a:pt x="380" y="540"/>
                  </a:lnTo>
                  <a:lnTo>
                    <a:pt x="378" y="542"/>
                  </a:lnTo>
                  <a:lnTo>
                    <a:pt x="380" y="542"/>
                  </a:lnTo>
                  <a:lnTo>
                    <a:pt x="380" y="542"/>
                  </a:lnTo>
                  <a:lnTo>
                    <a:pt x="383" y="542"/>
                  </a:lnTo>
                  <a:lnTo>
                    <a:pt x="383" y="545"/>
                  </a:lnTo>
                  <a:lnTo>
                    <a:pt x="383" y="545"/>
                  </a:lnTo>
                  <a:lnTo>
                    <a:pt x="385" y="550"/>
                  </a:lnTo>
                  <a:lnTo>
                    <a:pt x="388" y="550"/>
                  </a:lnTo>
                  <a:lnTo>
                    <a:pt x="388" y="547"/>
                  </a:lnTo>
                  <a:lnTo>
                    <a:pt x="390" y="550"/>
                  </a:lnTo>
                  <a:lnTo>
                    <a:pt x="390" y="550"/>
                  </a:lnTo>
                  <a:lnTo>
                    <a:pt x="393" y="550"/>
                  </a:lnTo>
                  <a:lnTo>
                    <a:pt x="393" y="545"/>
                  </a:lnTo>
                  <a:lnTo>
                    <a:pt x="393" y="545"/>
                  </a:lnTo>
                  <a:lnTo>
                    <a:pt x="393" y="542"/>
                  </a:lnTo>
                  <a:lnTo>
                    <a:pt x="393" y="542"/>
                  </a:lnTo>
                  <a:lnTo>
                    <a:pt x="395" y="542"/>
                  </a:lnTo>
                  <a:lnTo>
                    <a:pt x="398" y="537"/>
                  </a:lnTo>
                  <a:lnTo>
                    <a:pt x="408" y="530"/>
                  </a:lnTo>
                  <a:lnTo>
                    <a:pt x="411" y="527"/>
                  </a:lnTo>
                  <a:lnTo>
                    <a:pt x="413" y="527"/>
                  </a:lnTo>
                  <a:lnTo>
                    <a:pt x="418" y="524"/>
                  </a:lnTo>
                  <a:lnTo>
                    <a:pt x="421" y="522"/>
                  </a:lnTo>
                  <a:lnTo>
                    <a:pt x="423" y="522"/>
                  </a:lnTo>
                  <a:lnTo>
                    <a:pt x="426" y="522"/>
                  </a:lnTo>
                  <a:lnTo>
                    <a:pt x="428" y="519"/>
                  </a:lnTo>
                  <a:lnTo>
                    <a:pt x="431" y="514"/>
                  </a:lnTo>
                  <a:lnTo>
                    <a:pt x="436" y="509"/>
                  </a:lnTo>
                  <a:lnTo>
                    <a:pt x="439" y="507"/>
                  </a:lnTo>
                  <a:lnTo>
                    <a:pt x="441" y="504"/>
                  </a:lnTo>
                  <a:lnTo>
                    <a:pt x="446" y="502"/>
                  </a:lnTo>
                  <a:lnTo>
                    <a:pt x="446" y="499"/>
                  </a:lnTo>
                  <a:lnTo>
                    <a:pt x="446" y="496"/>
                  </a:lnTo>
                  <a:lnTo>
                    <a:pt x="449" y="499"/>
                  </a:lnTo>
                  <a:lnTo>
                    <a:pt x="449" y="502"/>
                  </a:lnTo>
                  <a:lnTo>
                    <a:pt x="446" y="507"/>
                  </a:lnTo>
                  <a:lnTo>
                    <a:pt x="444" y="509"/>
                  </a:lnTo>
                  <a:lnTo>
                    <a:pt x="444" y="509"/>
                  </a:lnTo>
                  <a:lnTo>
                    <a:pt x="441" y="512"/>
                  </a:lnTo>
                  <a:lnTo>
                    <a:pt x="441" y="517"/>
                  </a:lnTo>
                  <a:lnTo>
                    <a:pt x="441" y="519"/>
                  </a:lnTo>
                  <a:lnTo>
                    <a:pt x="436" y="522"/>
                  </a:lnTo>
                  <a:lnTo>
                    <a:pt x="434" y="524"/>
                  </a:lnTo>
                  <a:lnTo>
                    <a:pt x="428" y="532"/>
                  </a:lnTo>
                  <a:lnTo>
                    <a:pt x="426" y="535"/>
                  </a:lnTo>
                  <a:lnTo>
                    <a:pt x="426" y="537"/>
                  </a:lnTo>
                  <a:lnTo>
                    <a:pt x="423" y="540"/>
                  </a:lnTo>
                  <a:lnTo>
                    <a:pt x="423" y="542"/>
                  </a:lnTo>
                  <a:lnTo>
                    <a:pt x="421" y="545"/>
                  </a:lnTo>
                  <a:lnTo>
                    <a:pt x="418" y="550"/>
                  </a:lnTo>
                  <a:lnTo>
                    <a:pt x="416" y="550"/>
                  </a:lnTo>
                  <a:lnTo>
                    <a:pt x="416" y="550"/>
                  </a:lnTo>
                  <a:lnTo>
                    <a:pt x="413" y="550"/>
                  </a:lnTo>
                  <a:lnTo>
                    <a:pt x="411" y="550"/>
                  </a:lnTo>
                  <a:lnTo>
                    <a:pt x="406" y="558"/>
                  </a:lnTo>
                  <a:lnTo>
                    <a:pt x="408" y="558"/>
                  </a:lnTo>
                  <a:lnTo>
                    <a:pt x="408" y="558"/>
                  </a:lnTo>
                  <a:lnTo>
                    <a:pt x="411" y="558"/>
                  </a:lnTo>
                  <a:lnTo>
                    <a:pt x="413" y="555"/>
                  </a:lnTo>
                  <a:lnTo>
                    <a:pt x="418" y="555"/>
                  </a:lnTo>
                  <a:lnTo>
                    <a:pt x="418" y="555"/>
                  </a:lnTo>
                  <a:lnTo>
                    <a:pt x="421" y="555"/>
                  </a:lnTo>
                  <a:lnTo>
                    <a:pt x="428" y="545"/>
                  </a:lnTo>
                  <a:lnTo>
                    <a:pt x="434" y="540"/>
                  </a:lnTo>
                  <a:lnTo>
                    <a:pt x="436" y="537"/>
                  </a:lnTo>
                  <a:lnTo>
                    <a:pt x="436" y="535"/>
                  </a:lnTo>
                  <a:lnTo>
                    <a:pt x="439" y="532"/>
                  </a:lnTo>
                  <a:lnTo>
                    <a:pt x="439" y="535"/>
                  </a:lnTo>
                  <a:lnTo>
                    <a:pt x="439" y="537"/>
                  </a:lnTo>
                  <a:lnTo>
                    <a:pt x="441" y="542"/>
                  </a:lnTo>
                  <a:lnTo>
                    <a:pt x="441" y="545"/>
                  </a:lnTo>
                  <a:lnTo>
                    <a:pt x="439" y="552"/>
                  </a:lnTo>
                  <a:lnTo>
                    <a:pt x="434" y="558"/>
                  </a:lnTo>
                  <a:lnTo>
                    <a:pt x="431" y="560"/>
                  </a:lnTo>
                  <a:lnTo>
                    <a:pt x="428" y="563"/>
                  </a:lnTo>
                  <a:lnTo>
                    <a:pt x="426" y="565"/>
                  </a:lnTo>
                  <a:lnTo>
                    <a:pt x="431" y="565"/>
                  </a:lnTo>
                  <a:lnTo>
                    <a:pt x="434" y="565"/>
                  </a:lnTo>
                  <a:lnTo>
                    <a:pt x="436" y="565"/>
                  </a:lnTo>
                  <a:lnTo>
                    <a:pt x="439" y="563"/>
                  </a:lnTo>
                  <a:lnTo>
                    <a:pt x="441" y="563"/>
                  </a:lnTo>
                  <a:lnTo>
                    <a:pt x="441" y="563"/>
                  </a:lnTo>
                  <a:lnTo>
                    <a:pt x="444" y="563"/>
                  </a:lnTo>
                  <a:lnTo>
                    <a:pt x="446" y="560"/>
                  </a:lnTo>
                  <a:lnTo>
                    <a:pt x="449" y="560"/>
                  </a:lnTo>
                  <a:lnTo>
                    <a:pt x="449" y="560"/>
                  </a:lnTo>
                  <a:lnTo>
                    <a:pt x="449" y="560"/>
                  </a:lnTo>
                  <a:lnTo>
                    <a:pt x="449" y="560"/>
                  </a:lnTo>
                  <a:lnTo>
                    <a:pt x="449" y="563"/>
                  </a:lnTo>
                  <a:lnTo>
                    <a:pt x="446" y="565"/>
                  </a:lnTo>
                  <a:lnTo>
                    <a:pt x="446" y="565"/>
                  </a:lnTo>
                  <a:lnTo>
                    <a:pt x="446" y="563"/>
                  </a:lnTo>
                  <a:lnTo>
                    <a:pt x="444" y="563"/>
                  </a:lnTo>
                  <a:lnTo>
                    <a:pt x="444" y="565"/>
                  </a:lnTo>
                  <a:lnTo>
                    <a:pt x="441" y="565"/>
                  </a:lnTo>
                  <a:lnTo>
                    <a:pt x="441" y="565"/>
                  </a:lnTo>
                  <a:lnTo>
                    <a:pt x="441" y="568"/>
                  </a:lnTo>
                  <a:lnTo>
                    <a:pt x="444" y="570"/>
                  </a:lnTo>
                  <a:lnTo>
                    <a:pt x="446" y="575"/>
                  </a:lnTo>
                  <a:lnTo>
                    <a:pt x="446" y="575"/>
                  </a:lnTo>
                  <a:lnTo>
                    <a:pt x="449" y="583"/>
                  </a:lnTo>
                  <a:lnTo>
                    <a:pt x="446" y="591"/>
                  </a:lnTo>
                  <a:lnTo>
                    <a:pt x="446" y="591"/>
                  </a:lnTo>
                  <a:lnTo>
                    <a:pt x="444" y="596"/>
                  </a:lnTo>
                  <a:lnTo>
                    <a:pt x="441" y="598"/>
                  </a:lnTo>
                  <a:lnTo>
                    <a:pt x="441" y="601"/>
                  </a:lnTo>
                  <a:lnTo>
                    <a:pt x="439" y="603"/>
                  </a:lnTo>
                  <a:lnTo>
                    <a:pt x="441" y="606"/>
                  </a:lnTo>
                  <a:lnTo>
                    <a:pt x="444" y="614"/>
                  </a:lnTo>
                  <a:lnTo>
                    <a:pt x="444" y="619"/>
                  </a:lnTo>
                  <a:lnTo>
                    <a:pt x="446" y="621"/>
                  </a:lnTo>
                  <a:lnTo>
                    <a:pt x="454" y="621"/>
                  </a:lnTo>
                  <a:lnTo>
                    <a:pt x="457" y="624"/>
                  </a:lnTo>
                  <a:lnTo>
                    <a:pt x="459" y="629"/>
                  </a:lnTo>
                  <a:lnTo>
                    <a:pt x="459" y="629"/>
                  </a:lnTo>
                  <a:lnTo>
                    <a:pt x="462" y="629"/>
                  </a:lnTo>
                  <a:lnTo>
                    <a:pt x="464" y="626"/>
                  </a:lnTo>
                  <a:lnTo>
                    <a:pt x="469" y="626"/>
                  </a:lnTo>
                  <a:lnTo>
                    <a:pt x="472" y="629"/>
                  </a:lnTo>
                  <a:lnTo>
                    <a:pt x="474" y="629"/>
                  </a:lnTo>
                  <a:lnTo>
                    <a:pt x="477" y="629"/>
                  </a:lnTo>
                  <a:lnTo>
                    <a:pt x="479" y="631"/>
                  </a:lnTo>
                  <a:lnTo>
                    <a:pt x="482" y="634"/>
                  </a:lnTo>
                  <a:lnTo>
                    <a:pt x="485" y="636"/>
                  </a:lnTo>
                  <a:lnTo>
                    <a:pt x="487" y="636"/>
                  </a:lnTo>
                  <a:lnTo>
                    <a:pt x="490" y="639"/>
                  </a:lnTo>
                  <a:lnTo>
                    <a:pt x="492" y="639"/>
                  </a:lnTo>
                  <a:lnTo>
                    <a:pt x="495" y="639"/>
                  </a:lnTo>
                  <a:lnTo>
                    <a:pt x="500" y="636"/>
                  </a:lnTo>
                  <a:lnTo>
                    <a:pt x="507" y="631"/>
                  </a:lnTo>
                  <a:lnTo>
                    <a:pt x="513" y="629"/>
                  </a:lnTo>
                  <a:lnTo>
                    <a:pt x="515" y="629"/>
                  </a:lnTo>
                  <a:lnTo>
                    <a:pt x="518" y="626"/>
                  </a:lnTo>
                  <a:lnTo>
                    <a:pt x="520" y="626"/>
                  </a:lnTo>
                  <a:lnTo>
                    <a:pt x="520" y="624"/>
                  </a:lnTo>
                  <a:lnTo>
                    <a:pt x="518" y="624"/>
                  </a:lnTo>
                  <a:lnTo>
                    <a:pt x="515" y="624"/>
                  </a:lnTo>
                  <a:lnTo>
                    <a:pt x="518" y="624"/>
                  </a:lnTo>
                  <a:lnTo>
                    <a:pt x="520" y="621"/>
                  </a:lnTo>
                  <a:lnTo>
                    <a:pt x="528" y="619"/>
                  </a:lnTo>
                  <a:lnTo>
                    <a:pt x="530" y="619"/>
                  </a:lnTo>
                  <a:lnTo>
                    <a:pt x="530" y="621"/>
                  </a:lnTo>
                  <a:lnTo>
                    <a:pt x="530" y="624"/>
                  </a:lnTo>
                  <a:lnTo>
                    <a:pt x="528" y="626"/>
                  </a:lnTo>
                  <a:lnTo>
                    <a:pt x="525" y="626"/>
                  </a:lnTo>
                  <a:lnTo>
                    <a:pt x="523" y="629"/>
                  </a:lnTo>
                  <a:lnTo>
                    <a:pt x="520" y="629"/>
                  </a:lnTo>
                  <a:lnTo>
                    <a:pt x="520" y="629"/>
                  </a:lnTo>
                  <a:lnTo>
                    <a:pt x="520" y="631"/>
                  </a:lnTo>
                  <a:lnTo>
                    <a:pt x="523" y="631"/>
                  </a:lnTo>
                  <a:lnTo>
                    <a:pt x="528" y="629"/>
                  </a:lnTo>
                  <a:lnTo>
                    <a:pt x="530" y="626"/>
                  </a:lnTo>
                  <a:lnTo>
                    <a:pt x="530" y="626"/>
                  </a:lnTo>
                  <a:lnTo>
                    <a:pt x="533" y="626"/>
                  </a:lnTo>
                  <a:lnTo>
                    <a:pt x="536" y="626"/>
                  </a:lnTo>
                  <a:lnTo>
                    <a:pt x="536" y="629"/>
                  </a:lnTo>
                  <a:lnTo>
                    <a:pt x="536" y="629"/>
                  </a:lnTo>
                  <a:lnTo>
                    <a:pt x="533" y="631"/>
                  </a:lnTo>
                  <a:lnTo>
                    <a:pt x="530" y="631"/>
                  </a:lnTo>
                  <a:lnTo>
                    <a:pt x="530" y="634"/>
                  </a:lnTo>
                  <a:lnTo>
                    <a:pt x="533" y="634"/>
                  </a:lnTo>
                  <a:lnTo>
                    <a:pt x="533" y="636"/>
                  </a:lnTo>
                  <a:lnTo>
                    <a:pt x="533" y="636"/>
                  </a:lnTo>
                  <a:lnTo>
                    <a:pt x="536" y="636"/>
                  </a:lnTo>
                  <a:lnTo>
                    <a:pt x="536" y="639"/>
                  </a:lnTo>
                  <a:lnTo>
                    <a:pt x="536" y="642"/>
                  </a:lnTo>
                  <a:lnTo>
                    <a:pt x="538" y="642"/>
                  </a:lnTo>
                  <a:lnTo>
                    <a:pt x="538" y="639"/>
                  </a:lnTo>
                  <a:lnTo>
                    <a:pt x="541" y="642"/>
                  </a:lnTo>
                  <a:lnTo>
                    <a:pt x="541" y="642"/>
                  </a:lnTo>
                  <a:lnTo>
                    <a:pt x="541" y="644"/>
                  </a:lnTo>
                  <a:lnTo>
                    <a:pt x="541" y="647"/>
                  </a:lnTo>
                  <a:lnTo>
                    <a:pt x="541" y="647"/>
                  </a:lnTo>
                  <a:lnTo>
                    <a:pt x="543" y="647"/>
                  </a:lnTo>
                  <a:lnTo>
                    <a:pt x="543" y="644"/>
                  </a:lnTo>
                  <a:lnTo>
                    <a:pt x="546" y="644"/>
                  </a:lnTo>
                  <a:lnTo>
                    <a:pt x="546" y="639"/>
                  </a:lnTo>
                  <a:lnTo>
                    <a:pt x="546" y="639"/>
                  </a:lnTo>
                  <a:lnTo>
                    <a:pt x="543" y="642"/>
                  </a:lnTo>
                  <a:lnTo>
                    <a:pt x="543" y="639"/>
                  </a:lnTo>
                  <a:lnTo>
                    <a:pt x="543" y="639"/>
                  </a:lnTo>
                  <a:lnTo>
                    <a:pt x="543" y="636"/>
                  </a:lnTo>
                  <a:lnTo>
                    <a:pt x="546" y="636"/>
                  </a:lnTo>
                  <a:lnTo>
                    <a:pt x="546" y="636"/>
                  </a:lnTo>
                  <a:lnTo>
                    <a:pt x="548" y="636"/>
                  </a:lnTo>
                  <a:lnTo>
                    <a:pt x="556" y="636"/>
                  </a:lnTo>
                  <a:lnTo>
                    <a:pt x="571" y="626"/>
                  </a:lnTo>
                  <a:lnTo>
                    <a:pt x="576" y="621"/>
                  </a:lnTo>
                  <a:lnTo>
                    <a:pt x="584" y="619"/>
                  </a:lnTo>
                  <a:lnTo>
                    <a:pt x="589" y="616"/>
                  </a:lnTo>
                  <a:lnTo>
                    <a:pt x="592" y="616"/>
                  </a:lnTo>
                  <a:lnTo>
                    <a:pt x="604" y="616"/>
                  </a:lnTo>
                  <a:lnTo>
                    <a:pt x="612" y="616"/>
                  </a:lnTo>
                  <a:lnTo>
                    <a:pt x="615" y="616"/>
                  </a:lnTo>
                  <a:lnTo>
                    <a:pt x="617" y="614"/>
                  </a:lnTo>
                  <a:lnTo>
                    <a:pt x="622" y="611"/>
                  </a:lnTo>
                  <a:lnTo>
                    <a:pt x="625" y="611"/>
                  </a:lnTo>
                  <a:lnTo>
                    <a:pt x="627" y="608"/>
                  </a:lnTo>
                  <a:lnTo>
                    <a:pt x="627" y="608"/>
                  </a:lnTo>
                  <a:lnTo>
                    <a:pt x="630" y="606"/>
                  </a:lnTo>
                  <a:lnTo>
                    <a:pt x="630" y="603"/>
                  </a:lnTo>
                  <a:lnTo>
                    <a:pt x="632" y="598"/>
                  </a:lnTo>
                  <a:lnTo>
                    <a:pt x="635" y="593"/>
                  </a:lnTo>
                  <a:lnTo>
                    <a:pt x="637" y="591"/>
                  </a:lnTo>
                  <a:lnTo>
                    <a:pt x="640" y="588"/>
                  </a:lnTo>
                  <a:lnTo>
                    <a:pt x="643" y="583"/>
                  </a:lnTo>
                  <a:lnTo>
                    <a:pt x="648" y="578"/>
                  </a:lnTo>
                  <a:lnTo>
                    <a:pt x="648" y="573"/>
                  </a:lnTo>
                  <a:lnTo>
                    <a:pt x="650" y="570"/>
                  </a:lnTo>
                  <a:lnTo>
                    <a:pt x="655" y="568"/>
                  </a:lnTo>
                  <a:lnTo>
                    <a:pt x="658" y="565"/>
                  </a:lnTo>
                  <a:lnTo>
                    <a:pt x="665" y="555"/>
                  </a:lnTo>
                  <a:lnTo>
                    <a:pt x="665" y="555"/>
                  </a:lnTo>
                  <a:lnTo>
                    <a:pt x="668" y="555"/>
                  </a:lnTo>
                  <a:lnTo>
                    <a:pt x="668" y="555"/>
                  </a:lnTo>
                  <a:lnTo>
                    <a:pt x="668" y="555"/>
                  </a:lnTo>
                  <a:lnTo>
                    <a:pt x="668" y="555"/>
                  </a:lnTo>
                  <a:lnTo>
                    <a:pt x="668" y="552"/>
                  </a:lnTo>
                  <a:lnTo>
                    <a:pt x="668" y="552"/>
                  </a:lnTo>
                  <a:lnTo>
                    <a:pt x="671" y="552"/>
                  </a:lnTo>
                  <a:lnTo>
                    <a:pt x="671" y="552"/>
                  </a:lnTo>
                  <a:lnTo>
                    <a:pt x="671" y="552"/>
                  </a:lnTo>
                  <a:lnTo>
                    <a:pt x="671" y="550"/>
                  </a:lnTo>
                  <a:lnTo>
                    <a:pt x="673" y="550"/>
                  </a:lnTo>
                  <a:lnTo>
                    <a:pt x="676" y="545"/>
                  </a:lnTo>
                  <a:lnTo>
                    <a:pt x="678" y="540"/>
                  </a:lnTo>
                  <a:lnTo>
                    <a:pt x="681" y="537"/>
                  </a:lnTo>
                  <a:lnTo>
                    <a:pt x="683" y="535"/>
                  </a:lnTo>
                  <a:lnTo>
                    <a:pt x="686" y="532"/>
                  </a:lnTo>
                  <a:lnTo>
                    <a:pt x="691" y="530"/>
                  </a:lnTo>
                  <a:lnTo>
                    <a:pt x="688" y="530"/>
                  </a:lnTo>
                  <a:lnTo>
                    <a:pt x="688" y="530"/>
                  </a:lnTo>
                  <a:lnTo>
                    <a:pt x="688" y="527"/>
                  </a:lnTo>
                  <a:lnTo>
                    <a:pt x="691" y="527"/>
                  </a:lnTo>
                  <a:lnTo>
                    <a:pt x="691" y="527"/>
                  </a:lnTo>
                  <a:lnTo>
                    <a:pt x="691" y="527"/>
                  </a:lnTo>
                  <a:lnTo>
                    <a:pt x="694" y="524"/>
                  </a:lnTo>
                  <a:lnTo>
                    <a:pt x="696" y="522"/>
                  </a:lnTo>
                  <a:lnTo>
                    <a:pt x="696" y="519"/>
                  </a:lnTo>
                  <a:lnTo>
                    <a:pt x="699" y="517"/>
                  </a:lnTo>
                  <a:lnTo>
                    <a:pt x="699" y="517"/>
                  </a:lnTo>
                  <a:lnTo>
                    <a:pt x="701" y="514"/>
                  </a:lnTo>
                  <a:lnTo>
                    <a:pt x="701" y="514"/>
                  </a:lnTo>
                  <a:lnTo>
                    <a:pt x="704" y="512"/>
                  </a:lnTo>
                  <a:lnTo>
                    <a:pt x="706" y="509"/>
                  </a:lnTo>
                  <a:lnTo>
                    <a:pt x="709" y="507"/>
                  </a:lnTo>
                  <a:lnTo>
                    <a:pt x="714" y="504"/>
                  </a:lnTo>
                  <a:lnTo>
                    <a:pt x="716" y="502"/>
                  </a:lnTo>
                  <a:lnTo>
                    <a:pt x="722" y="499"/>
                  </a:lnTo>
                  <a:lnTo>
                    <a:pt x="722" y="499"/>
                  </a:lnTo>
                  <a:lnTo>
                    <a:pt x="722" y="499"/>
                  </a:lnTo>
                  <a:lnTo>
                    <a:pt x="722" y="499"/>
                  </a:lnTo>
                  <a:lnTo>
                    <a:pt x="722" y="499"/>
                  </a:lnTo>
                  <a:lnTo>
                    <a:pt x="724" y="496"/>
                  </a:lnTo>
                  <a:lnTo>
                    <a:pt x="727" y="496"/>
                  </a:lnTo>
                  <a:lnTo>
                    <a:pt x="729" y="494"/>
                  </a:lnTo>
                  <a:lnTo>
                    <a:pt x="732" y="491"/>
                  </a:lnTo>
                  <a:lnTo>
                    <a:pt x="734" y="489"/>
                  </a:lnTo>
                  <a:lnTo>
                    <a:pt x="734" y="484"/>
                  </a:lnTo>
                  <a:lnTo>
                    <a:pt x="742" y="479"/>
                  </a:lnTo>
                  <a:lnTo>
                    <a:pt x="750" y="471"/>
                  </a:lnTo>
                  <a:lnTo>
                    <a:pt x="752" y="466"/>
                  </a:lnTo>
                  <a:lnTo>
                    <a:pt x="752" y="463"/>
                  </a:lnTo>
                  <a:lnTo>
                    <a:pt x="755" y="458"/>
                  </a:lnTo>
                  <a:lnTo>
                    <a:pt x="757" y="453"/>
                  </a:lnTo>
                  <a:lnTo>
                    <a:pt x="757" y="451"/>
                  </a:lnTo>
                  <a:lnTo>
                    <a:pt x="765" y="440"/>
                  </a:lnTo>
                  <a:lnTo>
                    <a:pt x="767" y="438"/>
                  </a:lnTo>
                  <a:lnTo>
                    <a:pt x="770" y="435"/>
                  </a:lnTo>
                  <a:lnTo>
                    <a:pt x="773" y="425"/>
                  </a:lnTo>
                  <a:lnTo>
                    <a:pt x="775" y="423"/>
                  </a:lnTo>
                  <a:lnTo>
                    <a:pt x="780" y="415"/>
                  </a:lnTo>
                  <a:lnTo>
                    <a:pt x="785" y="412"/>
                  </a:lnTo>
                  <a:lnTo>
                    <a:pt x="785" y="407"/>
                  </a:lnTo>
                  <a:lnTo>
                    <a:pt x="785" y="405"/>
                  </a:lnTo>
                  <a:lnTo>
                    <a:pt x="788" y="397"/>
                  </a:lnTo>
                  <a:lnTo>
                    <a:pt x="788" y="392"/>
                  </a:lnTo>
                  <a:lnTo>
                    <a:pt x="788" y="390"/>
                  </a:lnTo>
                  <a:lnTo>
                    <a:pt x="788" y="387"/>
                  </a:lnTo>
                  <a:lnTo>
                    <a:pt x="788" y="379"/>
                  </a:lnTo>
                  <a:lnTo>
                    <a:pt x="788" y="374"/>
                  </a:lnTo>
                  <a:lnTo>
                    <a:pt x="790" y="369"/>
                  </a:lnTo>
                  <a:lnTo>
                    <a:pt x="793" y="354"/>
                  </a:lnTo>
                  <a:lnTo>
                    <a:pt x="798" y="346"/>
                  </a:lnTo>
                  <a:lnTo>
                    <a:pt x="795" y="344"/>
                  </a:lnTo>
                  <a:lnTo>
                    <a:pt x="795" y="344"/>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412" name="Freeform 2033">
              <a:extLst>
                <a:ext uri="{FF2B5EF4-FFF2-40B4-BE49-F238E27FC236}">
                  <a16:creationId xmlns:a16="http://schemas.microsoft.com/office/drawing/2014/main" id="{9A0F91F5-9BC0-2143-A908-8A534D600FEC}"/>
                </a:ext>
              </a:extLst>
            </p:cNvPr>
            <p:cNvSpPr>
              <a:spLocks/>
            </p:cNvSpPr>
            <p:nvPr/>
          </p:nvSpPr>
          <p:spPr bwMode="auto">
            <a:xfrm>
              <a:off x="10260634" y="4196978"/>
              <a:ext cx="4908" cy="3271"/>
            </a:xfrm>
            <a:custGeom>
              <a:avLst/>
              <a:gdLst>
                <a:gd name="T0" fmla="*/ 0 w 3"/>
                <a:gd name="T1" fmla="*/ 2 h 2"/>
                <a:gd name="T2" fmla="*/ 3 w 3"/>
                <a:gd name="T3" fmla="*/ 2 h 2"/>
                <a:gd name="T4" fmla="*/ 0 w 3"/>
                <a:gd name="T5" fmla="*/ 0 h 2"/>
                <a:gd name="T6" fmla="*/ 0 w 3"/>
                <a:gd name="T7" fmla="*/ 0 h 2"/>
                <a:gd name="T8" fmla="*/ 0 w 3"/>
                <a:gd name="T9" fmla="*/ 0 h 2"/>
                <a:gd name="T10" fmla="*/ 0 w 3"/>
                <a:gd name="T11" fmla="*/ 2 h 2"/>
                <a:gd name="T12" fmla="*/ 0 w 3"/>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3" h="2">
                  <a:moveTo>
                    <a:pt x="0" y="2"/>
                  </a:moveTo>
                  <a:lnTo>
                    <a:pt x="3" y="2"/>
                  </a:lnTo>
                  <a:lnTo>
                    <a:pt x="0" y="0"/>
                  </a:lnTo>
                  <a:lnTo>
                    <a:pt x="0" y="0"/>
                  </a:lnTo>
                  <a:lnTo>
                    <a:pt x="0" y="0"/>
                  </a:lnTo>
                  <a:lnTo>
                    <a:pt x="0" y="2"/>
                  </a:lnTo>
                  <a:lnTo>
                    <a:pt x="0" y="2"/>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413" name="Freeform 2034">
              <a:extLst>
                <a:ext uri="{FF2B5EF4-FFF2-40B4-BE49-F238E27FC236}">
                  <a16:creationId xmlns:a16="http://schemas.microsoft.com/office/drawing/2014/main" id="{ED8B1969-9934-FD45-A210-0ACF04917BFB}"/>
                </a:ext>
              </a:extLst>
            </p:cNvPr>
            <p:cNvSpPr>
              <a:spLocks/>
            </p:cNvSpPr>
            <p:nvPr/>
          </p:nvSpPr>
          <p:spPr bwMode="auto">
            <a:xfrm>
              <a:off x="10265542" y="4180621"/>
              <a:ext cx="3271" cy="3271"/>
            </a:xfrm>
            <a:custGeom>
              <a:avLst/>
              <a:gdLst>
                <a:gd name="T0" fmla="*/ 0 w 2"/>
                <a:gd name="T1" fmla="*/ 0 h 2"/>
                <a:gd name="T2" fmla="*/ 0 w 2"/>
                <a:gd name="T3" fmla="*/ 2 h 2"/>
                <a:gd name="T4" fmla="*/ 2 w 2"/>
                <a:gd name="T5" fmla="*/ 0 h 2"/>
                <a:gd name="T6" fmla="*/ 2 w 2"/>
                <a:gd name="T7" fmla="*/ 0 h 2"/>
                <a:gd name="T8" fmla="*/ 0 w 2"/>
                <a:gd name="T9" fmla="*/ 0 h 2"/>
                <a:gd name="T10" fmla="*/ 0 w 2"/>
                <a:gd name="T11" fmla="*/ 0 h 2"/>
                <a:gd name="T12" fmla="*/ 0 w 2"/>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2" h="2">
                  <a:moveTo>
                    <a:pt x="0" y="0"/>
                  </a:moveTo>
                  <a:lnTo>
                    <a:pt x="0" y="2"/>
                  </a:lnTo>
                  <a:lnTo>
                    <a:pt x="2" y="0"/>
                  </a:lnTo>
                  <a:lnTo>
                    <a:pt x="2" y="0"/>
                  </a:lnTo>
                  <a:lnTo>
                    <a:pt x="0" y="0"/>
                  </a:lnTo>
                  <a:lnTo>
                    <a:pt x="0" y="0"/>
                  </a:lnTo>
                  <a:lnTo>
                    <a:pt x="0"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414" name="Freeform 2035">
              <a:extLst>
                <a:ext uri="{FF2B5EF4-FFF2-40B4-BE49-F238E27FC236}">
                  <a16:creationId xmlns:a16="http://schemas.microsoft.com/office/drawing/2014/main" id="{61EF0647-309C-D442-8EE9-444F7257CB7F}"/>
                </a:ext>
              </a:extLst>
            </p:cNvPr>
            <p:cNvSpPr>
              <a:spLocks/>
            </p:cNvSpPr>
            <p:nvPr/>
          </p:nvSpPr>
          <p:spPr bwMode="auto">
            <a:xfrm>
              <a:off x="10260634" y="4175713"/>
              <a:ext cx="4908" cy="4908"/>
            </a:xfrm>
            <a:custGeom>
              <a:avLst/>
              <a:gdLst>
                <a:gd name="T0" fmla="*/ 3 w 3"/>
                <a:gd name="T1" fmla="*/ 3 h 3"/>
                <a:gd name="T2" fmla="*/ 3 w 3"/>
                <a:gd name="T3" fmla="*/ 0 h 3"/>
                <a:gd name="T4" fmla="*/ 3 w 3"/>
                <a:gd name="T5" fmla="*/ 0 h 3"/>
                <a:gd name="T6" fmla="*/ 0 w 3"/>
                <a:gd name="T7" fmla="*/ 0 h 3"/>
                <a:gd name="T8" fmla="*/ 0 w 3"/>
                <a:gd name="T9" fmla="*/ 3 h 3"/>
                <a:gd name="T10" fmla="*/ 3 w 3"/>
                <a:gd name="T11" fmla="*/ 3 h 3"/>
              </a:gdLst>
              <a:ahLst/>
              <a:cxnLst>
                <a:cxn ang="0">
                  <a:pos x="T0" y="T1"/>
                </a:cxn>
                <a:cxn ang="0">
                  <a:pos x="T2" y="T3"/>
                </a:cxn>
                <a:cxn ang="0">
                  <a:pos x="T4" y="T5"/>
                </a:cxn>
                <a:cxn ang="0">
                  <a:pos x="T6" y="T7"/>
                </a:cxn>
                <a:cxn ang="0">
                  <a:pos x="T8" y="T9"/>
                </a:cxn>
                <a:cxn ang="0">
                  <a:pos x="T10" y="T11"/>
                </a:cxn>
              </a:cxnLst>
              <a:rect l="0" t="0" r="r" b="b"/>
              <a:pathLst>
                <a:path w="3" h="3">
                  <a:moveTo>
                    <a:pt x="3" y="3"/>
                  </a:moveTo>
                  <a:lnTo>
                    <a:pt x="3" y="0"/>
                  </a:lnTo>
                  <a:lnTo>
                    <a:pt x="3" y="0"/>
                  </a:lnTo>
                  <a:lnTo>
                    <a:pt x="0" y="0"/>
                  </a:lnTo>
                  <a:lnTo>
                    <a:pt x="0" y="3"/>
                  </a:lnTo>
                  <a:lnTo>
                    <a:pt x="3" y="3"/>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415" name="Freeform 2036">
              <a:extLst>
                <a:ext uri="{FF2B5EF4-FFF2-40B4-BE49-F238E27FC236}">
                  <a16:creationId xmlns:a16="http://schemas.microsoft.com/office/drawing/2014/main" id="{4F85540C-99BB-C248-B24A-9FDA744BAA14}"/>
                </a:ext>
              </a:extLst>
            </p:cNvPr>
            <p:cNvSpPr>
              <a:spLocks/>
            </p:cNvSpPr>
            <p:nvPr/>
          </p:nvSpPr>
          <p:spPr bwMode="auto">
            <a:xfrm>
              <a:off x="3323475" y="3330038"/>
              <a:ext cx="4908" cy="9814"/>
            </a:xfrm>
            <a:custGeom>
              <a:avLst/>
              <a:gdLst>
                <a:gd name="T0" fmla="*/ 3 w 3"/>
                <a:gd name="T1" fmla="*/ 6 h 6"/>
                <a:gd name="T2" fmla="*/ 3 w 3"/>
                <a:gd name="T3" fmla="*/ 6 h 6"/>
                <a:gd name="T4" fmla="*/ 0 w 3"/>
                <a:gd name="T5" fmla="*/ 3 h 6"/>
                <a:gd name="T6" fmla="*/ 0 w 3"/>
                <a:gd name="T7" fmla="*/ 0 h 6"/>
                <a:gd name="T8" fmla="*/ 0 w 3"/>
                <a:gd name="T9" fmla="*/ 3 h 6"/>
                <a:gd name="T10" fmla="*/ 0 w 3"/>
                <a:gd name="T11" fmla="*/ 3 h 6"/>
                <a:gd name="T12" fmla="*/ 0 w 3"/>
                <a:gd name="T13" fmla="*/ 3 h 6"/>
                <a:gd name="T14" fmla="*/ 3 w 3"/>
                <a:gd name="T15" fmla="*/ 6 h 6"/>
                <a:gd name="T16" fmla="*/ 3 w 3"/>
                <a:gd name="T17" fmla="*/ 6 h 6"/>
                <a:gd name="T18" fmla="*/ 3 w 3"/>
                <a:gd name="T1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 h="6">
                  <a:moveTo>
                    <a:pt x="3" y="6"/>
                  </a:moveTo>
                  <a:lnTo>
                    <a:pt x="3" y="6"/>
                  </a:lnTo>
                  <a:lnTo>
                    <a:pt x="0" y="3"/>
                  </a:lnTo>
                  <a:lnTo>
                    <a:pt x="0" y="0"/>
                  </a:lnTo>
                  <a:lnTo>
                    <a:pt x="0" y="3"/>
                  </a:lnTo>
                  <a:lnTo>
                    <a:pt x="0" y="3"/>
                  </a:lnTo>
                  <a:lnTo>
                    <a:pt x="0" y="3"/>
                  </a:lnTo>
                  <a:lnTo>
                    <a:pt x="3" y="6"/>
                  </a:lnTo>
                  <a:lnTo>
                    <a:pt x="3" y="6"/>
                  </a:lnTo>
                  <a:lnTo>
                    <a:pt x="3" y="6"/>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416" name="Freeform 2037">
              <a:extLst>
                <a:ext uri="{FF2B5EF4-FFF2-40B4-BE49-F238E27FC236}">
                  <a16:creationId xmlns:a16="http://schemas.microsoft.com/office/drawing/2014/main" id="{703F0B73-3543-9149-90E8-F413B0D8489C}"/>
                </a:ext>
              </a:extLst>
            </p:cNvPr>
            <p:cNvSpPr>
              <a:spLocks noEditPoints="1"/>
            </p:cNvSpPr>
            <p:nvPr/>
          </p:nvSpPr>
          <p:spPr bwMode="auto">
            <a:xfrm>
              <a:off x="6946632" y="2270080"/>
              <a:ext cx="104687" cy="81787"/>
            </a:xfrm>
            <a:custGeom>
              <a:avLst/>
              <a:gdLst>
                <a:gd name="T0" fmla="*/ 41 w 64"/>
                <a:gd name="T1" fmla="*/ 15 h 50"/>
                <a:gd name="T2" fmla="*/ 41 w 64"/>
                <a:gd name="T3" fmla="*/ 12 h 50"/>
                <a:gd name="T4" fmla="*/ 64 w 64"/>
                <a:gd name="T5" fmla="*/ 43 h 50"/>
                <a:gd name="T6" fmla="*/ 64 w 64"/>
                <a:gd name="T7" fmla="*/ 43 h 50"/>
                <a:gd name="T8" fmla="*/ 61 w 64"/>
                <a:gd name="T9" fmla="*/ 40 h 50"/>
                <a:gd name="T10" fmla="*/ 61 w 64"/>
                <a:gd name="T11" fmla="*/ 38 h 50"/>
                <a:gd name="T12" fmla="*/ 59 w 64"/>
                <a:gd name="T13" fmla="*/ 35 h 50"/>
                <a:gd name="T14" fmla="*/ 54 w 64"/>
                <a:gd name="T15" fmla="*/ 33 h 50"/>
                <a:gd name="T16" fmla="*/ 48 w 64"/>
                <a:gd name="T17" fmla="*/ 28 h 50"/>
                <a:gd name="T18" fmla="*/ 43 w 64"/>
                <a:gd name="T19" fmla="*/ 28 h 50"/>
                <a:gd name="T20" fmla="*/ 43 w 64"/>
                <a:gd name="T21" fmla="*/ 25 h 50"/>
                <a:gd name="T22" fmla="*/ 46 w 64"/>
                <a:gd name="T23" fmla="*/ 28 h 50"/>
                <a:gd name="T24" fmla="*/ 48 w 64"/>
                <a:gd name="T25" fmla="*/ 28 h 50"/>
                <a:gd name="T26" fmla="*/ 51 w 64"/>
                <a:gd name="T27" fmla="*/ 23 h 50"/>
                <a:gd name="T28" fmla="*/ 41 w 64"/>
                <a:gd name="T29" fmla="*/ 15 h 50"/>
                <a:gd name="T30" fmla="*/ 38 w 64"/>
                <a:gd name="T31" fmla="*/ 12 h 50"/>
                <a:gd name="T32" fmla="*/ 41 w 64"/>
                <a:gd name="T33" fmla="*/ 10 h 50"/>
                <a:gd name="T34" fmla="*/ 38 w 64"/>
                <a:gd name="T35" fmla="*/ 5 h 50"/>
                <a:gd name="T36" fmla="*/ 31 w 64"/>
                <a:gd name="T37" fmla="*/ 5 h 50"/>
                <a:gd name="T38" fmla="*/ 31 w 64"/>
                <a:gd name="T39" fmla="*/ 2 h 50"/>
                <a:gd name="T40" fmla="*/ 33 w 64"/>
                <a:gd name="T41" fmla="*/ 2 h 50"/>
                <a:gd name="T42" fmla="*/ 28 w 64"/>
                <a:gd name="T43" fmla="*/ 0 h 50"/>
                <a:gd name="T44" fmla="*/ 25 w 64"/>
                <a:gd name="T45" fmla="*/ 0 h 50"/>
                <a:gd name="T46" fmla="*/ 20 w 64"/>
                <a:gd name="T47" fmla="*/ 0 h 50"/>
                <a:gd name="T48" fmla="*/ 13 w 64"/>
                <a:gd name="T49" fmla="*/ 0 h 50"/>
                <a:gd name="T50" fmla="*/ 8 w 64"/>
                <a:gd name="T51" fmla="*/ 2 h 50"/>
                <a:gd name="T52" fmla="*/ 0 w 64"/>
                <a:gd name="T53" fmla="*/ 2 h 50"/>
                <a:gd name="T54" fmla="*/ 3 w 64"/>
                <a:gd name="T55" fmla="*/ 7 h 50"/>
                <a:gd name="T56" fmla="*/ 8 w 64"/>
                <a:gd name="T57" fmla="*/ 12 h 50"/>
                <a:gd name="T58" fmla="*/ 5 w 64"/>
                <a:gd name="T59" fmla="*/ 17 h 50"/>
                <a:gd name="T60" fmla="*/ 5 w 64"/>
                <a:gd name="T61" fmla="*/ 20 h 50"/>
                <a:gd name="T62" fmla="*/ 8 w 64"/>
                <a:gd name="T63" fmla="*/ 25 h 50"/>
                <a:gd name="T64" fmla="*/ 13 w 64"/>
                <a:gd name="T65" fmla="*/ 28 h 50"/>
                <a:gd name="T66" fmla="*/ 20 w 64"/>
                <a:gd name="T67" fmla="*/ 28 h 50"/>
                <a:gd name="T68" fmla="*/ 28 w 64"/>
                <a:gd name="T69" fmla="*/ 33 h 50"/>
                <a:gd name="T70" fmla="*/ 33 w 64"/>
                <a:gd name="T71" fmla="*/ 30 h 50"/>
                <a:gd name="T72" fmla="*/ 36 w 64"/>
                <a:gd name="T73" fmla="*/ 33 h 50"/>
                <a:gd name="T74" fmla="*/ 38 w 64"/>
                <a:gd name="T75" fmla="*/ 35 h 50"/>
                <a:gd name="T76" fmla="*/ 43 w 64"/>
                <a:gd name="T77" fmla="*/ 38 h 50"/>
                <a:gd name="T78" fmla="*/ 48 w 64"/>
                <a:gd name="T79" fmla="*/ 35 h 50"/>
                <a:gd name="T80" fmla="*/ 48 w 64"/>
                <a:gd name="T81" fmla="*/ 40 h 50"/>
                <a:gd name="T82" fmla="*/ 54 w 64"/>
                <a:gd name="T83" fmla="*/ 43 h 50"/>
                <a:gd name="T84" fmla="*/ 56 w 64"/>
                <a:gd name="T85" fmla="*/ 48 h 50"/>
                <a:gd name="T86" fmla="*/ 59 w 64"/>
                <a:gd name="T87" fmla="*/ 50 h 50"/>
                <a:gd name="T88" fmla="*/ 64 w 64"/>
                <a:gd name="T89" fmla="*/ 48 h 50"/>
                <a:gd name="T90" fmla="*/ 61 w 64"/>
                <a:gd name="T91" fmla="*/ 45 h 50"/>
                <a:gd name="T92" fmla="*/ 64 w 64"/>
                <a:gd name="T93" fmla="*/ 43 h 50"/>
                <a:gd name="T94" fmla="*/ 28 w 64"/>
                <a:gd name="T95" fmla="*/ 5 h 50"/>
                <a:gd name="T96" fmla="*/ 28 w 64"/>
                <a:gd name="T97" fmla="*/ 2 h 50"/>
                <a:gd name="T98" fmla="*/ 31 w 64"/>
                <a:gd name="T99" fmla="*/ 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4" h="50">
                  <a:moveTo>
                    <a:pt x="41" y="12"/>
                  </a:moveTo>
                  <a:lnTo>
                    <a:pt x="41" y="12"/>
                  </a:lnTo>
                  <a:lnTo>
                    <a:pt x="41" y="15"/>
                  </a:lnTo>
                  <a:lnTo>
                    <a:pt x="41" y="15"/>
                  </a:lnTo>
                  <a:lnTo>
                    <a:pt x="41" y="15"/>
                  </a:lnTo>
                  <a:lnTo>
                    <a:pt x="41" y="12"/>
                  </a:lnTo>
                  <a:lnTo>
                    <a:pt x="41" y="12"/>
                  </a:lnTo>
                  <a:lnTo>
                    <a:pt x="41" y="12"/>
                  </a:lnTo>
                  <a:close/>
                  <a:moveTo>
                    <a:pt x="64" y="43"/>
                  </a:moveTo>
                  <a:lnTo>
                    <a:pt x="64" y="43"/>
                  </a:lnTo>
                  <a:lnTo>
                    <a:pt x="64" y="43"/>
                  </a:lnTo>
                  <a:lnTo>
                    <a:pt x="64" y="43"/>
                  </a:lnTo>
                  <a:lnTo>
                    <a:pt x="61" y="40"/>
                  </a:lnTo>
                  <a:lnTo>
                    <a:pt x="61" y="40"/>
                  </a:lnTo>
                  <a:lnTo>
                    <a:pt x="61" y="40"/>
                  </a:lnTo>
                  <a:lnTo>
                    <a:pt x="61" y="40"/>
                  </a:lnTo>
                  <a:lnTo>
                    <a:pt x="61" y="38"/>
                  </a:lnTo>
                  <a:lnTo>
                    <a:pt x="61" y="38"/>
                  </a:lnTo>
                  <a:lnTo>
                    <a:pt x="61" y="38"/>
                  </a:lnTo>
                  <a:lnTo>
                    <a:pt x="61" y="35"/>
                  </a:lnTo>
                  <a:lnTo>
                    <a:pt x="59" y="35"/>
                  </a:lnTo>
                  <a:lnTo>
                    <a:pt x="56" y="35"/>
                  </a:lnTo>
                  <a:lnTo>
                    <a:pt x="54" y="33"/>
                  </a:lnTo>
                  <a:lnTo>
                    <a:pt x="54" y="33"/>
                  </a:lnTo>
                  <a:lnTo>
                    <a:pt x="51" y="30"/>
                  </a:lnTo>
                  <a:lnTo>
                    <a:pt x="48" y="30"/>
                  </a:lnTo>
                  <a:lnTo>
                    <a:pt x="48" y="28"/>
                  </a:lnTo>
                  <a:lnTo>
                    <a:pt x="46" y="28"/>
                  </a:lnTo>
                  <a:lnTo>
                    <a:pt x="43" y="28"/>
                  </a:lnTo>
                  <a:lnTo>
                    <a:pt x="43" y="28"/>
                  </a:lnTo>
                  <a:lnTo>
                    <a:pt x="43" y="28"/>
                  </a:lnTo>
                  <a:lnTo>
                    <a:pt x="43" y="28"/>
                  </a:lnTo>
                  <a:lnTo>
                    <a:pt x="43" y="25"/>
                  </a:lnTo>
                  <a:lnTo>
                    <a:pt x="43" y="28"/>
                  </a:lnTo>
                  <a:lnTo>
                    <a:pt x="46" y="28"/>
                  </a:lnTo>
                  <a:lnTo>
                    <a:pt x="46" y="28"/>
                  </a:lnTo>
                  <a:lnTo>
                    <a:pt x="48" y="28"/>
                  </a:lnTo>
                  <a:lnTo>
                    <a:pt x="48" y="28"/>
                  </a:lnTo>
                  <a:lnTo>
                    <a:pt x="48" y="28"/>
                  </a:lnTo>
                  <a:lnTo>
                    <a:pt x="51" y="25"/>
                  </a:lnTo>
                  <a:lnTo>
                    <a:pt x="51" y="23"/>
                  </a:lnTo>
                  <a:lnTo>
                    <a:pt x="51" y="23"/>
                  </a:lnTo>
                  <a:lnTo>
                    <a:pt x="46" y="20"/>
                  </a:lnTo>
                  <a:lnTo>
                    <a:pt x="43" y="17"/>
                  </a:lnTo>
                  <a:lnTo>
                    <a:pt x="41" y="15"/>
                  </a:lnTo>
                  <a:lnTo>
                    <a:pt x="38" y="12"/>
                  </a:lnTo>
                  <a:lnTo>
                    <a:pt x="38" y="12"/>
                  </a:lnTo>
                  <a:lnTo>
                    <a:pt x="38" y="12"/>
                  </a:lnTo>
                  <a:lnTo>
                    <a:pt x="41" y="10"/>
                  </a:lnTo>
                  <a:lnTo>
                    <a:pt x="41" y="10"/>
                  </a:lnTo>
                  <a:lnTo>
                    <a:pt x="41" y="10"/>
                  </a:lnTo>
                  <a:lnTo>
                    <a:pt x="41" y="7"/>
                  </a:lnTo>
                  <a:lnTo>
                    <a:pt x="38" y="7"/>
                  </a:lnTo>
                  <a:lnTo>
                    <a:pt x="38" y="5"/>
                  </a:lnTo>
                  <a:lnTo>
                    <a:pt x="36" y="5"/>
                  </a:lnTo>
                  <a:lnTo>
                    <a:pt x="36" y="5"/>
                  </a:lnTo>
                  <a:lnTo>
                    <a:pt x="31" y="5"/>
                  </a:lnTo>
                  <a:lnTo>
                    <a:pt x="31" y="5"/>
                  </a:lnTo>
                  <a:lnTo>
                    <a:pt x="31" y="2"/>
                  </a:lnTo>
                  <a:lnTo>
                    <a:pt x="31" y="2"/>
                  </a:lnTo>
                  <a:lnTo>
                    <a:pt x="33" y="2"/>
                  </a:lnTo>
                  <a:lnTo>
                    <a:pt x="33" y="2"/>
                  </a:lnTo>
                  <a:lnTo>
                    <a:pt x="33" y="2"/>
                  </a:lnTo>
                  <a:lnTo>
                    <a:pt x="31" y="2"/>
                  </a:lnTo>
                  <a:lnTo>
                    <a:pt x="28" y="0"/>
                  </a:lnTo>
                  <a:lnTo>
                    <a:pt x="28" y="0"/>
                  </a:lnTo>
                  <a:lnTo>
                    <a:pt x="28" y="0"/>
                  </a:lnTo>
                  <a:lnTo>
                    <a:pt x="25" y="0"/>
                  </a:lnTo>
                  <a:lnTo>
                    <a:pt x="25" y="0"/>
                  </a:lnTo>
                  <a:lnTo>
                    <a:pt x="25" y="0"/>
                  </a:lnTo>
                  <a:lnTo>
                    <a:pt x="25" y="0"/>
                  </a:lnTo>
                  <a:lnTo>
                    <a:pt x="20" y="0"/>
                  </a:lnTo>
                  <a:lnTo>
                    <a:pt x="20" y="2"/>
                  </a:lnTo>
                  <a:lnTo>
                    <a:pt x="15" y="0"/>
                  </a:lnTo>
                  <a:lnTo>
                    <a:pt x="13" y="0"/>
                  </a:lnTo>
                  <a:lnTo>
                    <a:pt x="13" y="2"/>
                  </a:lnTo>
                  <a:lnTo>
                    <a:pt x="10" y="2"/>
                  </a:lnTo>
                  <a:lnTo>
                    <a:pt x="8" y="2"/>
                  </a:lnTo>
                  <a:lnTo>
                    <a:pt x="5" y="2"/>
                  </a:lnTo>
                  <a:lnTo>
                    <a:pt x="3" y="2"/>
                  </a:lnTo>
                  <a:lnTo>
                    <a:pt x="0" y="2"/>
                  </a:lnTo>
                  <a:lnTo>
                    <a:pt x="0" y="5"/>
                  </a:lnTo>
                  <a:lnTo>
                    <a:pt x="3" y="5"/>
                  </a:lnTo>
                  <a:lnTo>
                    <a:pt x="3" y="7"/>
                  </a:lnTo>
                  <a:lnTo>
                    <a:pt x="5" y="7"/>
                  </a:lnTo>
                  <a:lnTo>
                    <a:pt x="5" y="10"/>
                  </a:lnTo>
                  <a:lnTo>
                    <a:pt x="8" y="12"/>
                  </a:lnTo>
                  <a:lnTo>
                    <a:pt x="8" y="12"/>
                  </a:lnTo>
                  <a:lnTo>
                    <a:pt x="8" y="15"/>
                  </a:lnTo>
                  <a:lnTo>
                    <a:pt x="5" y="17"/>
                  </a:lnTo>
                  <a:lnTo>
                    <a:pt x="5" y="17"/>
                  </a:lnTo>
                  <a:lnTo>
                    <a:pt x="5" y="20"/>
                  </a:lnTo>
                  <a:lnTo>
                    <a:pt x="5" y="20"/>
                  </a:lnTo>
                  <a:lnTo>
                    <a:pt x="8" y="23"/>
                  </a:lnTo>
                  <a:lnTo>
                    <a:pt x="8" y="25"/>
                  </a:lnTo>
                  <a:lnTo>
                    <a:pt x="8" y="25"/>
                  </a:lnTo>
                  <a:lnTo>
                    <a:pt x="8" y="25"/>
                  </a:lnTo>
                  <a:lnTo>
                    <a:pt x="10" y="25"/>
                  </a:lnTo>
                  <a:lnTo>
                    <a:pt x="13" y="28"/>
                  </a:lnTo>
                  <a:lnTo>
                    <a:pt x="15" y="28"/>
                  </a:lnTo>
                  <a:lnTo>
                    <a:pt x="18" y="28"/>
                  </a:lnTo>
                  <a:lnTo>
                    <a:pt x="20" y="28"/>
                  </a:lnTo>
                  <a:lnTo>
                    <a:pt x="23" y="25"/>
                  </a:lnTo>
                  <a:lnTo>
                    <a:pt x="25" y="28"/>
                  </a:lnTo>
                  <a:lnTo>
                    <a:pt x="28" y="33"/>
                  </a:lnTo>
                  <a:lnTo>
                    <a:pt x="31" y="33"/>
                  </a:lnTo>
                  <a:lnTo>
                    <a:pt x="31" y="33"/>
                  </a:lnTo>
                  <a:lnTo>
                    <a:pt x="33" y="30"/>
                  </a:lnTo>
                  <a:lnTo>
                    <a:pt x="36" y="33"/>
                  </a:lnTo>
                  <a:lnTo>
                    <a:pt x="36" y="33"/>
                  </a:lnTo>
                  <a:lnTo>
                    <a:pt x="36" y="33"/>
                  </a:lnTo>
                  <a:lnTo>
                    <a:pt x="38" y="35"/>
                  </a:lnTo>
                  <a:lnTo>
                    <a:pt x="38" y="35"/>
                  </a:lnTo>
                  <a:lnTo>
                    <a:pt x="38" y="35"/>
                  </a:lnTo>
                  <a:lnTo>
                    <a:pt x="41" y="35"/>
                  </a:lnTo>
                  <a:lnTo>
                    <a:pt x="41" y="38"/>
                  </a:lnTo>
                  <a:lnTo>
                    <a:pt x="43" y="38"/>
                  </a:lnTo>
                  <a:lnTo>
                    <a:pt x="46" y="35"/>
                  </a:lnTo>
                  <a:lnTo>
                    <a:pt x="46" y="35"/>
                  </a:lnTo>
                  <a:lnTo>
                    <a:pt x="48" y="35"/>
                  </a:lnTo>
                  <a:lnTo>
                    <a:pt x="48" y="35"/>
                  </a:lnTo>
                  <a:lnTo>
                    <a:pt x="48" y="38"/>
                  </a:lnTo>
                  <a:lnTo>
                    <a:pt x="48" y="40"/>
                  </a:lnTo>
                  <a:lnTo>
                    <a:pt x="48" y="40"/>
                  </a:lnTo>
                  <a:lnTo>
                    <a:pt x="51" y="40"/>
                  </a:lnTo>
                  <a:lnTo>
                    <a:pt x="54" y="43"/>
                  </a:lnTo>
                  <a:lnTo>
                    <a:pt x="54" y="43"/>
                  </a:lnTo>
                  <a:lnTo>
                    <a:pt x="54" y="45"/>
                  </a:lnTo>
                  <a:lnTo>
                    <a:pt x="56" y="48"/>
                  </a:lnTo>
                  <a:lnTo>
                    <a:pt x="56" y="50"/>
                  </a:lnTo>
                  <a:lnTo>
                    <a:pt x="56" y="50"/>
                  </a:lnTo>
                  <a:lnTo>
                    <a:pt x="59" y="50"/>
                  </a:lnTo>
                  <a:lnTo>
                    <a:pt x="61" y="50"/>
                  </a:lnTo>
                  <a:lnTo>
                    <a:pt x="64" y="50"/>
                  </a:lnTo>
                  <a:lnTo>
                    <a:pt x="64" y="48"/>
                  </a:lnTo>
                  <a:lnTo>
                    <a:pt x="64" y="48"/>
                  </a:lnTo>
                  <a:lnTo>
                    <a:pt x="64" y="45"/>
                  </a:lnTo>
                  <a:lnTo>
                    <a:pt x="61" y="45"/>
                  </a:lnTo>
                  <a:lnTo>
                    <a:pt x="61" y="45"/>
                  </a:lnTo>
                  <a:lnTo>
                    <a:pt x="61" y="43"/>
                  </a:lnTo>
                  <a:lnTo>
                    <a:pt x="64" y="43"/>
                  </a:lnTo>
                  <a:close/>
                  <a:moveTo>
                    <a:pt x="31" y="5"/>
                  </a:moveTo>
                  <a:lnTo>
                    <a:pt x="31" y="5"/>
                  </a:lnTo>
                  <a:lnTo>
                    <a:pt x="28" y="5"/>
                  </a:lnTo>
                  <a:lnTo>
                    <a:pt x="28" y="5"/>
                  </a:lnTo>
                  <a:lnTo>
                    <a:pt x="28" y="5"/>
                  </a:lnTo>
                  <a:lnTo>
                    <a:pt x="28" y="2"/>
                  </a:lnTo>
                  <a:lnTo>
                    <a:pt x="31" y="5"/>
                  </a:lnTo>
                  <a:lnTo>
                    <a:pt x="31" y="5"/>
                  </a:lnTo>
                  <a:lnTo>
                    <a:pt x="31" y="5"/>
                  </a:lnTo>
                  <a:close/>
                </a:path>
              </a:pathLst>
            </a:custGeom>
            <a:solidFill>
              <a:schemeClr val="bg2">
                <a:lumMod val="60000"/>
                <a:lumOff val="40000"/>
              </a:schemeClr>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417" name="Freeform 2038">
              <a:extLst>
                <a:ext uri="{FF2B5EF4-FFF2-40B4-BE49-F238E27FC236}">
                  <a16:creationId xmlns:a16="http://schemas.microsoft.com/office/drawing/2014/main" id="{D3E191F0-732F-634E-8CF2-C058847C9361}"/>
                </a:ext>
              </a:extLst>
            </p:cNvPr>
            <p:cNvSpPr>
              <a:spLocks noEditPoints="1"/>
            </p:cNvSpPr>
            <p:nvPr/>
          </p:nvSpPr>
          <p:spPr bwMode="auto">
            <a:xfrm>
              <a:off x="3406898" y="4612455"/>
              <a:ext cx="505443" cy="1220259"/>
            </a:xfrm>
            <a:custGeom>
              <a:avLst/>
              <a:gdLst>
                <a:gd name="T0" fmla="*/ 301 w 309"/>
                <a:gd name="T1" fmla="*/ 741 h 746"/>
                <a:gd name="T2" fmla="*/ 227 w 309"/>
                <a:gd name="T3" fmla="*/ 715 h 746"/>
                <a:gd name="T4" fmla="*/ 212 w 309"/>
                <a:gd name="T5" fmla="*/ 708 h 746"/>
                <a:gd name="T6" fmla="*/ 268 w 309"/>
                <a:gd name="T7" fmla="*/ 743 h 746"/>
                <a:gd name="T8" fmla="*/ 207 w 309"/>
                <a:gd name="T9" fmla="*/ 395 h 746"/>
                <a:gd name="T10" fmla="*/ 278 w 309"/>
                <a:gd name="T11" fmla="*/ 311 h 746"/>
                <a:gd name="T12" fmla="*/ 242 w 309"/>
                <a:gd name="T13" fmla="*/ 260 h 746"/>
                <a:gd name="T14" fmla="*/ 242 w 309"/>
                <a:gd name="T15" fmla="*/ 227 h 746"/>
                <a:gd name="T16" fmla="*/ 240 w 309"/>
                <a:gd name="T17" fmla="*/ 199 h 746"/>
                <a:gd name="T18" fmla="*/ 260 w 309"/>
                <a:gd name="T19" fmla="*/ 166 h 746"/>
                <a:gd name="T20" fmla="*/ 273 w 309"/>
                <a:gd name="T21" fmla="*/ 148 h 746"/>
                <a:gd name="T22" fmla="*/ 288 w 309"/>
                <a:gd name="T23" fmla="*/ 130 h 746"/>
                <a:gd name="T24" fmla="*/ 306 w 309"/>
                <a:gd name="T25" fmla="*/ 115 h 746"/>
                <a:gd name="T26" fmla="*/ 293 w 309"/>
                <a:gd name="T27" fmla="*/ 84 h 746"/>
                <a:gd name="T28" fmla="*/ 278 w 309"/>
                <a:gd name="T29" fmla="*/ 115 h 746"/>
                <a:gd name="T30" fmla="*/ 260 w 309"/>
                <a:gd name="T31" fmla="*/ 125 h 746"/>
                <a:gd name="T32" fmla="*/ 214 w 309"/>
                <a:gd name="T33" fmla="*/ 120 h 746"/>
                <a:gd name="T34" fmla="*/ 217 w 309"/>
                <a:gd name="T35" fmla="*/ 102 h 746"/>
                <a:gd name="T36" fmla="*/ 225 w 309"/>
                <a:gd name="T37" fmla="*/ 79 h 746"/>
                <a:gd name="T38" fmla="*/ 166 w 309"/>
                <a:gd name="T39" fmla="*/ 49 h 746"/>
                <a:gd name="T40" fmla="*/ 118 w 309"/>
                <a:gd name="T41" fmla="*/ 10 h 746"/>
                <a:gd name="T42" fmla="*/ 87 w 309"/>
                <a:gd name="T43" fmla="*/ 18 h 746"/>
                <a:gd name="T44" fmla="*/ 54 w 309"/>
                <a:gd name="T45" fmla="*/ 5 h 746"/>
                <a:gd name="T46" fmla="*/ 33 w 309"/>
                <a:gd name="T47" fmla="*/ 18 h 746"/>
                <a:gd name="T48" fmla="*/ 10 w 309"/>
                <a:gd name="T49" fmla="*/ 64 h 746"/>
                <a:gd name="T50" fmla="*/ 18 w 309"/>
                <a:gd name="T51" fmla="*/ 99 h 746"/>
                <a:gd name="T52" fmla="*/ 13 w 309"/>
                <a:gd name="T53" fmla="*/ 120 h 746"/>
                <a:gd name="T54" fmla="*/ 3 w 309"/>
                <a:gd name="T55" fmla="*/ 158 h 746"/>
                <a:gd name="T56" fmla="*/ 3 w 309"/>
                <a:gd name="T57" fmla="*/ 194 h 746"/>
                <a:gd name="T58" fmla="*/ 0 w 309"/>
                <a:gd name="T59" fmla="*/ 216 h 746"/>
                <a:gd name="T60" fmla="*/ 13 w 309"/>
                <a:gd name="T61" fmla="*/ 244 h 746"/>
                <a:gd name="T62" fmla="*/ 28 w 309"/>
                <a:gd name="T63" fmla="*/ 275 h 746"/>
                <a:gd name="T64" fmla="*/ 26 w 309"/>
                <a:gd name="T65" fmla="*/ 303 h 746"/>
                <a:gd name="T66" fmla="*/ 26 w 309"/>
                <a:gd name="T67" fmla="*/ 328 h 746"/>
                <a:gd name="T68" fmla="*/ 23 w 309"/>
                <a:gd name="T69" fmla="*/ 351 h 746"/>
                <a:gd name="T70" fmla="*/ 36 w 309"/>
                <a:gd name="T71" fmla="*/ 387 h 746"/>
                <a:gd name="T72" fmla="*/ 33 w 309"/>
                <a:gd name="T73" fmla="*/ 410 h 746"/>
                <a:gd name="T74" fmla="*/ 36 w 309"/>
                <a:gd name="T75" fmla="*/ 430 h 746"/>
                <a:gd name="T76" fmla="*/ 46 w 309"/>
                <a:gd name="T77" fmla="*/ 463 h 746"/>
                <a:gd name="T78" fmla="*/ 59 w 309"/>
                <a:gd name="T79" fmla="*/ 489 h 746"/>
                <a:gd name="T80" fmla="*/ 82 w 309"/>
                <a:gd name="T81" fmla="*/ 512 h 746"/>
                <a:gd name="T82" fmla="*/ 84 w 309"/>
                <a:gd name="T83" fmla="*/ 529 h 746"/>
                <a:gd name="T84" fmla="*/ 92 w 309"/>
                <a:gd name="T85" fmla="*/ 560 h 746"/>
                <a:gd name="T86" fmla="*/ 89 w 309"/>
                <a:gd name="T87" fmla="*/ 585 h 746"/>
                <a:gd name="T88" fmla="*/ 89 w 309"/>
                <a:gd name="T89" fmla="*/ 613 h 746"/>
                <a:gd name="T90" fmla="*/ 105 w 309"/>
                <a:gd name="T91" fmla="*/ 649 h 746"/>
                <a:gd name="T92" fmla="*/ 125 w 309"/>
                <a:gd name="T93" fmla="*/ 662 h 746"/>
                <a:gd name="T94" fmla="*/ 179 w 309"/>
                <a:gd name="T95" fmla="*/ 682 h 746"/>
                <a:gd name="T96" fmla="*/ 179 w 309"/>
                <a:gd name="T97" fmla="*/ 669 h 746"/>
                <a:gd name="T98" fmla="*/ 176 w 309"/>
                <a:gd name="T99" fmla="*/ 644 h 746"/>
                <a:gd name="T100" fmla="*/ 181 w 309"/>
                <a:gd name="T101" fmla="*/ 636 h 746"/>
                <a:gd name="T102" fmla="*/ 207 w 309"/>
                <a:gd name="T103" fmla="*/ 591 h 746"/>
                <a:gd name="T104" fmla="*/ 184 w 309"/>
                <a:gd name="T105" fmla="*/ 570 h 746"/>
                <a:gd name="T106" fmla="*/ 184 w 309"/>
                <a:gd name="T107" fmla="*/ 524 h 746"/>
                <a:gd name="T108" fmla="*/ 189 w 309"/>
                <a:gd name="T109" fmla="*/ 481 h 746"/>
                <a:gd name="T110" fmla="*/ 204 w 309"/>
                <a:gd name="T111" fmla="*/ 473 h 746"/>
                <a:gd name="T112" fmla="*/ 186 w 309"/>
                <a:gd name="T113" fmla="*/ 466 h 746"/>
                <a:gd name="T114" fmla="*/ 163 w 309"/>
                <a:gd name="T115" fmla="*/ 430 h 746"/>
                <a:gd name="T116" fmla="*/ 209 w 309"/>
                <a:gd name="T117" fmla="*/ 423 h 746"/>
                <a:gd name="T118" fmla="*/ 199 w 309"/>
                <a:gd name="T119" fmla="*/ 387 h 746"/>
                <a:gd name="T120" fmla="*/ 291 w 309"/>
                <a:gd name="T121" fmla="*/ 356 h 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09" h="746">
                  <a:moveTo>
                    <a:pt x="309" y="738"/>
                  </a:moveTo>
                  <a:lnTo>
                    <a:pt x="306" y="738"/>
                  </a:lnTo>
                  <a:lnTo>
                    <a:pt x="304" y="738"/>
                  </a:lnTo>
                  <a:lnTo>
                    <a:pt x="304" y="738"/>
                  </a:lnTo>
                  <a:lnTo>
                    <a:pt x="304" y="738"/>
                  </a:lnTo>
                  <a:lnTo>
                    <a:pt x="301" y="738"/>
                  </a:lnTo>
                  <a:lnTo>
                    <a:pt x="298" y="738"/>
                  </a:lnTo>
                  <a:lnTo>
                    <a:pt x="296" y="738"/>
                  </a:lnTo>
                  <a:lnTo>
                    <a:pt x="296" y="738"/>
                  </a:lnTo>
                  <a:lnTo>
                    <a:pt x="296" y="741"/>
                  </a:lnTo>
                  <a:lnTo>
                    <a:pt x="293" y="741"/>
                  </a:lnTo>
                  <a:lnTo>
                    <a:pt x="293" y="741"/>
                  </a:lnTo>
                  <a:lnTo>
                    <a:pt x="293" y="741"/>
                  </a:lnTo>
                  <a:lnTo>
                    <a:pt x="296" y="743"/>
                  </a:lnTo>
                  <a:lnTo>
                    <a:pt x="298" y="741"/>
                  </a:lnTo>
                  <a:lnTo>
                    <a:pt x="298" y="741"/>
                  </a:lnTo>
                  <a:lnTo>
                    <a:pt x="301" y="741"/>
                  </a:lnTo>
                  <a:lnTo>
                    <a:pt x="306" y="741"/>
                  </a:lnTo>
                  <a:lnTo>
                    <a:pt x="306" y="741"/>
                  </a:lnTo>
                  <a:lnTo>
                    <a:pt x="309" y="738"/>
                  </a:lnTo>
                  <a:lnTo>
                    <a:pt x="309" y="738"/>
                  </a:lnTo>
                  <a:close/>
                  <a:moveTo>
                    <a:pt x="281" y="736"/>
                  </a:moveTo>
                  <a:lnTo>
                    <a:pt x="276" y="736"/>
                  </a:lnTo>
                  <a:lnTo>
                    <a:pt x="270" y="736"/>
                  </a:lnTo>
                  <a:lnTo>
                    <a:pt x="265" y="733"/>
                  </a:lnTo>
                  <a:lnTo>
                    <a:pt x="260" y="733"/>
                  </a:lnTo>
                  <a:lnTo>
                    <a:pt x="255" y="730"/>
                  </a:lnTo>
                  <a:lnTo>
                    <a:pt x="250" y="728"/>
                  </a:lnTo>
                  <a:lnTo>
                    <a:pt x="248" y="725"/>
                  </a:lnTo>
                  <a:lnTo>
                    <a:pt x="242" y="723"/>
                  </a:lnTo>
                  <a:lnTo>
                    <a:pt x="237" y="720"/>
                  </a:lnTo>
                  <a:lnTo>
                    <a:pt x="232" y="718"/>
                  </a:lnTo>
                  <a:lnTo>
                    <a:pt x="230" y="715"/>
                  </a:lnTo>
                  <a:lnTo>
                    <a:pt x="227" y="715"/>
                  </a:lnTo>
                  <a:lnTo>
                    <a:pt x="225" y="713"/>
                  </a:lnTo>
                  <a:lnTo>
                    <a:pt x="219" y="708"/>
                  </a:lnTo>
                  <a:lnTo>
                    <a:pt x="219" y="708"/>
                  </a:lnTo>
                  <a:lnTo>
                    <a:pt x="214" y="708"/>
                  </a:lnTo>
                  <a:lnTo>
                    <a:pt x="214" y="708"/>
                  </a:lnTo>
                  <a:lnTo>
                    <a:pt x="212" y="705"/>
                  </a:lnTo>
                  <a:lnTo>
                    <a:pt x="212" y="705"/>
                  </a:lnTo>
                  <a:lnTo>
                    <a:pt x="212" y="702"/>
                  </a:lnTo>
                  <a:lnTo>
                    <a:pt x="212" y="702"/>
                  </a:lnTo>
                  <a:lnTo>
                    <a:pt x="214" y="702"/>
                  </a:lnTo>
                  <a:lnTo>
                    <a:pt x="217" y="702"/>
                  </a:lnTo>
                  <a:lnTo>
                    <a:pt x="214" y="700"/>
                  </a:lnTo>
                  <a:lnTo>
                    <a:pt x="212" y="700"/>
                  </a:lnTo>
                  <a:lnTo>
                    <a:pt x="207" y="695"/>
                  </a:lnTo>
                  <a:lnTo>
                    <a:pt x="204" y="695"/>
                  </a:lnTo>
                  <a:lnTo>
                    <a:pt x="207" y="700"/>
                  </a:lnTo>
                  <a:lnTo>
                    <a:pt x="212" y="708"/>
                  </a:lnTo>
                  <a:lnTo>
                    <a:pt x="214" y="713"/>
                  </a:lnTo>
                  <a:lnTo>
                    <a:pt x="217" y="718"/>
                  </a:lnTo>
                  <a:lnTo>
                    <a:pt x="219" y="723"/>
                  </a:lnTo>
                  <a:lnTo>
                    <a:pt x="222" y="730"/>
                  </a:lnTo>
                  <a:lnTo>
                    <a:pt x="225" y="736"/>
                  </a:lnTo>
                  <a:lnTo>
                    <a:pt x="227" y="741"/>
                  </a:lnTo>
                  <a:lnTo>
                    <a:pt x="230" y="741"/>
                  </a:lnTo>
                  <a:lnTo>
                    <a:pt x="230" y="741"/>
                  </a:lnTo>
                  <a:lnTo>
                    <a:pt x="232" y="741"/>
                  </a:lnTo>
                  <a:lnTo>
                    <a:pt x="235" y="741"/>
                  </a:lnTo>
                  <a:lnTo>
                    <a:pt x="240" y="741"/>
                  </a:lnTo>
                  <a:lnTo>
                    <a:pt x="242" y="741"/>
                  </a:lnTo>
                  <a:lnTo>
                    <a:pt x="255" y="743"/>
                  </a:lnTo>
                  <a:lnTo>
                    <a:pt x="258" y="743"/>
                  </a:lnTo>
                  <a:lnTo>
                    <a:pt x="263" y="746"/>
                  </a:lnTo>
                  <a:lnTo>
                    <a:pt x="265" y="746"/>
                  </a:lnTo>
                  <a:lnTo>
                    <a:pt x="268" y="743"/>
                  </a:lnTo>
                  <a:lnTo>
                    <a:pt x="270" y="743"/>
                  </a:lnTo>
                  <a:lnTo>
                    <a:pt x="270" y="743"/>
                  </a:lnTo>
                  <a:lnTo>
                    <a:pt x="273" y="743"/>
                  </a:lnTo>
                  <a:lnTo>
                    <a:pt x="273" y="743"/>
                  </a:lnTo>
                  <a:lnTo>
                    <a:pt x="276" y="743"/>
                  </a:lnTo>
                  <a:lnTo>
                    <a:pt x="278" y="743"/>
                  </a:lnTo>
                  <a:lnTo>
                    <a:pt x="281" y="743"/>
                  </a:lnTo>
                  <a:lnTo>
                    <a:pt x="283" y="743"/>
                  </a:lnTo>
                  <a:lnTo>
                    <a:pt x="283" y="741"/>
                  </a:lnTo>
                  <a:lnTo>
                    <a:pt x="286" y="741"/>
                  </a:lnTo>
                  <a:lnTo>
                    <a:pt x="286" y="738"/>
                  </a:lnTo>
                  <a:lnTo>
                    <a:pt x="283" y="736"/>
                  </a:lnTo>
                  <a:lnTo>
                    <a:pt x="281" y="736"/>
                  </a:lnTo>
                  <a:close/>
                  <a:moveTo>
                    <a:pt x="209" y="395"/>
                  </a:moveTo>
                  <a:lnTo>
                    <a:pt x="207" y="395"/>
                  </a:lnTo>
                  <a:lnTo>
                    <a:pt x="207" y="395"/>
                  </a:lnTo>
                  <a:lnTo>
                    <a:pt x="207" y="395"/>
                  </a:lnTo>
                  <a:lnTo>
                    <a:pt x="212" y="397"/>
                  </a:lnTo>
                  <a:lnTo>
                    <a:pt x="212" y="397"/>
                  </a:lnTo>
                  <a:lnTo>
                    <a:pt x="212" y="395"/>
                  </a:lnTo>
                  <a:lnTo>
                    <a:pt x="209" y="395"/>
                  </a:lnTo>
                  <a:lnTo>
                    <a:pt x="209" y="395"/>
                  </a:lnTo>
                  <a:close/>
                  <a:moveTo>
                    <a:pt x="293" y="341"/>
                  </a:moveTo>
                  <a:lnTo>
                    <a:pt x="293" y="339"/>
                  </a:lnTo>
                  <a:lnTo>
                    <a:pt x="291" y="331"/>
                  </a:lnTo>
                  <a:lnTo>
                    <a:pt x="291" y="331"/>
                  </a:lnTo>
                  <a:lnTo>
                    <a:pt x="291" y="331"/>
                  </a:lnTo>
                  <a:lnTo>
                    <a:pt x="286" y="331"/>
                  </a:lnTo>
                  <a:lnTo>
                    <a:pt x="283" y="328"/>
                  </a:lnTo>
                  <a:lnTo>
                    <a:pt x="278" y="326"/>
                  </a:lnTo>
                  <a:lnTo>
                    <a:pt x="278" y="323"/>
                  </a:lnTo>
                  <a:lnTo>
                    <a:pt x="276" y="321"/>
                  </a:lnTo>
                  <a:lnTo>
                    <a:pt x="276" y="316"/>
                  </a:lnTo>
                  <a:lnTo>
                    <a:pt x="278" y="311"/>
                  </a:lnTo>
                  <a:lnTo>
                    <a:pt x="276" y="308"/>
                  </a:lnTo>
                  <a:lnTo>
                    <a:pt x="273" y="303"/>
                  </a:lnTo>
                  <a:lnTo>
                    <a:pt x="268" y="300"/>
                  </a:lnTo>
                  <a:lnTo>
                    <a:pt x="263" y="298"/>
                  </a:lnTo>
                  <a:lnTo>
                    <a:pt x="253" y="293"/>
                  </a:lnTo>
                  <a:lnTo>
                    <a:pt x="248" y="288"/>
                  </a:lnTo>
                  <a:lnTo>
                    <a:pt x="248" y="288"/>
                  </a:lnTo>
                  <a:lnTo>
                    <a:pt x="245" y="283"/>
                  </a:lnTo>
                  <a:lnTo>
                    <a:pt x="248" y="283"/>
                  </a:lnTo>
                  <a:lnTo>
                    <a:pt x="248" y="283"/>
                  </a:lnTo>
                  <a:lnTo>
                    <a:pt x="248" y="280"/>
                  </a:lnTo>
                  <a:lnTo>
                    <a:pt x="248" y="278"/>
                  </a:lnTo>
                  <a:lnTo>
                    <a:pt x="245" y="275"/>
                  </a:lnTo>
                  <a:lnTo>
                    <a:pt x="245" y="275"/>
                  </a:lnTo>
                  <a:lnTo>
                    <a:pt x="242" y="270"/>
                  </a:lnTo>
                  <a:lnTo>
                    <a:pt x="242" y="270"/>
                  </a:lnTo>
                  <a:lnTo>
                    <a:pt x="242" y="260"/>
                  </a:lnTo>
                  <a:lnTo>
                    <a:pt x="242" y="257"/>
                  </a:lnTo>
                  <a:lnTo>
                    <a:pt x="242" y="255"/>
                  </a:lnTo>
                  <a:lnTo>
                    <a:pt x="242" y="255"/>
                  </a:lnTo>
                  <a:lnTo>
                    <a:pt x="245" y="255"/>
                  </a:lnTo>
                  <a:lnTo>
                    <a:pt x="245" y="255"/>
                  </a:lnTo>
                  <a:lnTo>
                    <a:pt x="245" y="252"/>
                  </a:lnTo>
                  <a:lnTo>
                    <a:pt x="242" y="244"/>
                  </a:lnTo>
                  <a:lnTo>
                    <a:pt x="242" y="242"/>
                  </a:lnTo>
                  <a:lnTo>
                    <a:pt x="242" y="239"/>
                  </a:lnTo>
                  <a:lnTo>
                    <a:pt x="242" y="237"/>
                  </a:lnTo>
                  <a:lnTo>
                    <a:pt x="242" y="234"/>
                  </a:lnTo>
                  <a:lnTo>
                    <a:pt x="242" y="234"/>
                  </a:lnTo>
                  <a:lnTo>
                    <a:pt x="242" y="232"/>
                  </a:lnTo>
                  <a:lnTo>
                    <a:pt x="240" y="232"/>
                  </a:lnTo>
                  <a:lnTo>
                    <a:pt x="240" y="229"/>
                  </a:lnTo>
                  <a:lnTo>
                    <a:pt x="240" y="229"/>
                  </a:lnTo>
                  <a:lnTo>
                    <a:pt x="242" y="227"/>
                  </a:lnTo>
                  <a:lnTo>
                    <a:pt x="242" y="227"/>
                  </a:lnTo>
                  <a:lnTo>
                    <a:pt x="242" y="224"/>
                  </a:lnTo>
                  <a:lnTo>
                    <a:pt x="242" y="222"/>
                  </a:lnTo>
                  <a:lnTo>
                    <a:pt x="242" y="222"/>
                  </a:lnTo>
                  <a:lnTo>
                    <a:pt x="242" y="222"/>
                  </a:lnTo>
                  <a:lnTo>
                    <a:pt x="240" y="219"/>
                  </a:lnTo>
                  <a:lnTo>
                    <a:pt x="240" y="216"/>
                  </a:lnTo>
                  <a:lnTo>
                    <a:pt x="242" y="214"/>
                  </a:lnTo>
                  <a:lnTo>
                    <a:pt x="242" y="214"/>
                  </a:lnTo>
                  <a:lnTo>
                    <a:pt x="242" y="211"/>
                  </a:lnTo>
                  <a:lnTo>
                    <a:pt x="242" y="209"/>
                  </a:lnTo>
                  <a:lnTo>
                    <a:pt x="242" y="209"/>
                  </a:lnTo>
                  <a:lnTo>
                    <a:pt x="242" y="206"/>
                  </a:lnTo>
                  <a:lnTo>
                    <a:pt x="242" y="206"/>
                  </a:lnTo>
                  <a:lnTo>
                    <a:pt x="242" y="206"/>
                  </a:lnTo>
                  <a:lnTo>
                    <a:pt x="242" y="201"/>
                  </a:lnTo>
                  <a:lnTo>
                    <a:pt x="240" y="199"/>
                  </a:lnTo>
                  <a:lnTo>
                    <a:pt x="240" y="196"/>
                  </a:lnTo>
                  <a:lnTo>
                    <a:pt x="242" y="194"/>
                  </a:lnTo>
                  <a:lnTo>
                    <a:pt x="242" y="194"/>
                  </a:lnTo>
                  <a:lnTo>
                    <a:pt x="242" y="191"/>
                  </a:lnTo>
                  <a:lnTo>
                    <a:pt x="242" y="191"/>
                  </a:lnTo>
                  <a:lnTo>
                    <a:pt x="245" y="188"/>
                  </a:lnTo>
                  <a:lnTo>
                    <a:pt x="248" y="186"/>
                  </a:lnTo>
                  <a:lnTo>
                    <a:pt x="248" y="183"/>
                  </a:lnTo>
                  <a:lnTo>
                    <a:pt x="248" y="183"/>
                  </a:lnTo>
                  <a:lnTo>
                    <a:pt x="250" y="181"/>
                  </a:lnTo>
                  <a:lnTo>
                    <a:pt x="253" y="178"/>
                  </a:lnTo>
                  <a:lnTo>
                    <a:pt x="255" y="176"/>
                  </a:lnTo>
                  <a:lnTo>
                    <a:pt x="258" y="173"/>
                  </a:lnTo>
                  <a:lnTo>
                    <a:pt x="258" y="171"/>
                  </a:lnTo>
                  <a:lnTo>
                    <a:pt x="258" y="168"/>
                  </a:lnTo>
                  <a:lnTo>
                    <a:pt x="260" y="166"/>
                  </a:lnTo>
                  <a:lnTo>
                    <a:pt x="260" y="166"/>
                  </a:lnTo>
                  <a:lnTo>
                    <a:pt x="263" y="163"/>
                  </a:lnTo>
                  <a:lnTo>
                    <a:pt x="263" y="160"/>
                  </a:lnTo>
                  <a:lnTo>
                    <a:pt x="265" y="158"/>
                  </a:lnTo>
                  <a:lnTo>
                    <a:pt x="265" y="155"/>
                  </a:lnTo>
                  <a:lnTo>
                    <a:pt x="268" y="153"/>
                  </a:lnTo>
                  <a:lnTo>
                    <a:pt x="268" y="153"/>
                  </a:lnTo>
                  <a:lnTo>
                    <a:pt x="268" y="150"/>
                  </a:lnTo>
                  <a:lnTo>
                    <a:pt x="268" y="150"/>
                  </a:lnTo>
                  <a:lnTo>
                    <a:pt x="270" y="150"/>
                  </a:lnTo>
                  <a:lnTo>
                    <a:pt x="270" y="150"/>
                  </a:lnTo>
                  <a:lnTo>
                    <a:pt x="270" y="148"/>
                  </a:lnTo>
                  <a:lnTo>
                    <a:pt x="270" y="148"/>
                  </a:lnTo>
                  <a:lnTo>
                    <a:pt x="270" y="148"/>
                  </a:lnTo>
                  <a:lnTo>
                    <a:pt x="273" y="148"/>
                  </a:lnTo>
                  <a:lnTo>
                    <a:pt x="273" y="148"/>
                  </a:lnTo>
                  <a:lnTo>
                    <a:pt x="273" y="148"/>
                  </a:lnTo>
                  <a:lnTo>
                    <a:pt x="273" y="148"/>
                  </a:lnTo>
                  <a:lnTo>
                    <a:pt x="273" y="145"/>
                  </a:lnTo>
                  <a:lnTo>
                    <a:pt x="273" y="145"/>
                  </a:lnTo>
                  <a:lnTo>
                    <a:pt x="276" y="143"/>
                  </a:lnTo>
                  <a:lnTo>
                    <a:pt x="276" y="143"/>
                  </a:lnTo>
                  <a:lnTo>
                    <a:pt x="278" y="140"/>
                  </a:lnTo>
                  <a:lnTo>
                    <a:pt x="278" y="140"/>
                  </a:lnTo>
                  <a:lnTo>
                    <a:pt x="281" y="138"/>
                  </a:lnTo>
                  <a:lnTo>
                    <a:pt x="283" y="138"/>
                  </a:lnTo>
                  <a:lnTo>
                    <a:pt x="283" y="138"/>
                  </a:lnTo>
                  <a:lnTo>
                    <a:pt x="283" y="135"/>
                  </a:lnTo>
                  <a:lnTo>
                    <a:pt x="283" y="135"/>
                  </a:lnTo>
                  <a:lnTo>
                    <a:pt x="286" y="135"/>
                  </a:lnTo>
                  <a:lnTo>
                    <a:pt x="286" y="133"/>
                  </a:lnTo>
                  <a:lnTo>
                    <a:pt x="286" y="133"/>
                  </a:lnTo>
                  <a:lnTo>
                    <a:pt x="286" y="130"/>
                  </a:lnTo>
                  <a:lnTo>
                    <a:pt x="288" y="130"/>
                  </a:lnTo>
                  <a:lnTo>
                    <a:pt x="288" y="130"/>
                  </a:lnTo>
                  <a:lnTo>
                    <a:pt x="288" y="130"/>
                  </a:lnTo>
                  <a:lnTo>
                    <a:pt x="291" y="130"/>
                  </a:lnTo>
                  <a:lnTo>
                    <a:pt x="291" y="127"/>
                  </a:lnTo>
                  <a:lnTo>
                    <a:pt x="293" y="127"/>
                  </a:lnTo>
                  <a:lnTo>
                    <a:pt x="293" y="127"/>
                  </a:lnTo>
                  <a:lnTo>
                    <a:pt x="293" y="127"/>
                  </a:lnTo>
                  <a:lnTo>
                    <a:pt x="296" y="127"/>
                  </a:lnTo>
                  <a:lnTo>
                    <a:pt x="298" y="127"/>
                  </a:lnTo>
                  <a:lnTo>
                    <a:pt x="298" y="125"/>
                  </a:lnTo>
                  <a:lnTo>
                    <a:pt x="298" y="122"/>
                  </a:lnTo>
                  <a:lnTo>
                    <a:pt x="301" y="125"/>
                  </a:lnTo>
                  <a:lnTo>
                    <a:pt x="301" y="122"/>
                  </a:lnTo>
                  <a:lnTo>
                    <a:pt x="304" y="122"/>
                  </a:lnTo>
                  <a:lnTo>
                    <a:pt x="304" y="122"/>
                  </a:lnTo>
                  <a:lnTo>
                    <a:pt x="306" y="120"/>
                  </a:lnTo>
                  <a:lnTo>
                    <a:pt x="306" y="117"/>
                  </a:lnTo>
                  <a:lnTo>
                    <a:pt x="306" y="115"/>
                  </a:lnTo>
                  <a:lnTo>
                    <a:pt x="306" y="112"/>
                  </a:lnTo>
                  <a:lnTo>
                    <a:pt x="306" y="112"/>
                  </a:lnTo>
                  <a:lnTo>
                    <a:pt x="306" y="110"/>
                  </a:lnTo>
                  <a:lnTo>
                    <a:pt x="306" y="105"/>
                  </a:lnTo>
                  <a:lnTo>
                    <a:pt x="306" y="102"/>
                  </a:lnTo>
                  <a:lnTo>
                    <a:pt x="306" y="102"/>
                  </a:lnTo>
                  <a:lnTo>
                    <a:pt x="306" y="99"/>
                  </a:lnTo>
                  <a:lnTo>
                    <a:pt x="304" y="97"/>
                  </a:lnTo>
                  <a:lnTo>
                    <a:pt x="301" y="94"/>
                  </a:lnTo>
                  <a:lnTo>
                    <a:pt x="301" y="89"/>
                  </a:lnTo>
                  <a:lnTo>
                    <a:pt x="298" y="87"/>
                  </a:lnTo>
                  <a:lnTo>
                    <a:pt x="298" y="87"/>
                  </a:lnTo>
                  <a:lnTo>
                    <a:pt x="296" y="84"/>
                  </a:lnTo>
                  <a:lnTo>
                    <a:pt x="296" y="84"/>
                  </a:lnTo>
                  <a:lnTo>
                    <a:pt x="293" y="84"/>
                  </a:lnTo>
                  <a:lnTo>
                    <a:pt x="293" y="84"/>
                  </a:lnTo>
                  <a:lnTo>
                    <a:pt x="293" y="84"/>
                  </a:lnTo>
                  <a:lnTo>
                    <a:pt x="293" y="84"/>
                  </a:lnTo>
                  <a:lnTo>
                    <a:pt x="291" y="84"/>
                  </a:lnTo>
                  <a:lnTo>
                    <a:pt x="291" y="84"/>
                  </a:lnTo>
                  <a:lnTo>
                    <a:pt x="288" y="87"/>
                  </a:lnTo>
                  <a:lnTo>
                    <a:pt x="288" y="87"/>
                  </a:lnTo>
                  <a:lnTo>
                    <a:pt x="286" y="84"/>
                  </a:lnTo>
                  <a:lnTo>
                    <a:pt x="286" y="84"/>
                  </a:lnTo>
                  <a:lnTo>
                    <a:pt x="286" y="94"/>
                  </a:lnTo>
                  <a:lnTo>
                    <a:pt x="286" y="102"/>
                  </a:lnTo>
                  <a:lnTo>
                    <a:pt x="286" y="107"/>
                  </a:lnTo>
                  <a:lnTo>
                    <a:pt x="283" y="110"/>
                  </a:lnTo>
                  <a:lnTo>
                    <a:pt x="283" y="110"/>
                  </a:lnTo>
                  <a:lnTo>
                    <a:pt x="283" y="110"/>
                  </a:lnTo>
                  <a:lnTo>
                    <a:pt x="283" y="112"/>
                  </a:lnTo>
                  <a:lnTo>
                    <a:pt x="281" y="112"/>
                  </a:lnTo>
                  <a:lnTo>
                    <a:pt x="281" y="115"/>
                  </a:lnTo>
                  <a:lnTo>
                    <a:pt x="278" y="115"/>
                  </a:lnTo>
                  <a:lnTo>
                    <a:pt x="278" y="115"/>
                  </a:lnTo>
                  <a:lnTo>
                    <a:pt x="278" y="117"/>
                  </a:lnTo>
                  <a:lnTo>
                    <a:pt x="276" y="117"/>
                  </a:lnTo>
                  <a:lnTo>
                    <a:pt x="273" y="117"/>
                  </a:lnTo>
                  <a:lnTo>
                    <a:pt x="273" y="120"/>
                  </a:lnTo>
                  <a:lnTo>
                    <a:pt x="273" y="120"/>
                  </a:lnTo>
                  <a:lnTo>
                    <a:pt x="270" y="120"/>
                  </a:lnTo>
                  <a:lnTo>
                    <a:pt x="270" y="122"/>
                  </a:lnTo>
                  <a:lnTo>
                    <a:pt x="270" y="125"/>
                  </a:lnTo>
                  <a:lnTo>
                    <a:pt x="270" y="125"/>
                  </a:lnTo>
                  <a:lnTo>
                    <a:pt x="270" y="127"/>
                  </a:lnTo>
                  <a:lnTo>
                    <a:pt x="268" y="127"/>
                  </a:lnTo>
                  <a:lnTo>
                    <a:pt x="265" y="125"/>
                  </a:lnTo>
                  <a:lnTo>
                    <a:pt x="265" y="125"/>
                  </a:lnTo>
                  <a:lnTo>
                    <a:pt x="263" y="125"/>
                  </a:lnTo>
                  <a:lnTo>
                    <a:pt x="260" y="125"/>
                  </a:lnTo>
                  <a:lnTo>
                    <a:pt x="260" y="125"/>
                  </a:lnTo>
                  <a:lnTo>
                    <a:pt x="258" y="127"/>
                  </a:lnTo>
                  <a:lnTo>
                    <a:pt x="258" y="130"/>
                  </a:lnTo>
                  <a:lnTo>
                    <a:pt x="255" y="130"/>
                  </a:lnTo>
                  <a:lnTo>
                    <a:pt x="255" y="127"/>
                  </a:lnTo>
                  <a:lnTo>
                    <a:pt x="253" y="127"/>
                  </a:lnTo>
                  <a:lnTo>
                    <a:pt x="250" y="130"/>
                  </a:lnTo>
                  <a:lnTo>
                    <a:pt x="248" y="127"/>
                  </a:lnTo>
                  <a:lnTo>
                    <a:pt x="248" y="127"/>
                  </a:lnTo>
                  <a:lnTo>
                    <a:pt x="245" y="127"/>
                  </a:lnTo>
                  <a:lnTo>
                    <a:pt x="242" y="127"/>
                  </a:lnTo>
                  <a:lnTo>
                    <a:pt x="237" y="127"/>
                  </a:lnTo>
                  <a:lnTo>
                    <a:pt x="227" y="125"/>
                  </a:lnTo>
                  <a:lnTo>
                    <a:pt x="222" y="125"/>
                  </a:lnTo>
                  <a:lnTo>
                    <a:pt x="212" y="125"/>
                  </a:lnTo>
                  <a:lnTo>
                    <a:pt x="212" y="122"/>
                  </a:lnTo>
                  <a:lnTo>
                    <a:pt x="212" y="120"/>
                  </a:lnTo>
                  <a:lnTo>
                    <a:pt x="214" y="120"/>
                  </a:lnTo>
                  <a:lnTo>
                    <a:pt x="214" y="117"/>
                  </a:lnTo>
                  <a:lnTo>
                    <a:pt x="214" y="117"/>
                  </a:lnTo>
                  <a:lnTo>
                    <a:pt x="214" y="115"/>
                  </a:lnTo>
                  <a:lnTo>
                    <a:pt x="217" y="115"/>
                  </a:lnTo>
                  <a:lnTo>
                    <a:pt x="217" y="115"/>
                  </a:lnTo>
                  <a:lnTo>
                    <a:pt x="217" y="115"/>
                  </a:lnTo>
                  <a:lnTo>
                    <a:pt x="217" y="112"/>
                  </a:lnTo>
                  <a:lnTo>
                    <a:pt x="217" y="112"/>
                  </a:lnTo>
                  <a:lnTo>
                    <a:pt x="217" y="112"/>
                  </a:lnTo>
                  <a:lnTo>
                    <a:pt x="217" y="110"/>
                  </a:lnTo>
                  <a:lnTo>
                    <a:pt x="217" y="110"/>
                  </a:lnTo>
                  <a:lnTo>
                    <a:pt x="219" y="110"/>
                  </a:lnTo>
                  <a:lnTo>
                    <a:pt x="219" y="107"/>
                  </a:lnTo>
                  <a:lnTo>
                    <a:pt x="217" y="105"/>
                  </a:lnTo>
                  <a:lnTo>
                    <a:pt x="217" y="105"/>
                  </a:lnTo>
                  <a:lnTo>
                    <a:pt x="217" y="102"/>
                  </a:lnTo>
                  <a:lnTo>
                    <a:pt x="217" y="102"/>
                  </a:lnTo>
                  <a:lnTo>
                    <a:pt x="219" y="99"/>
                  </a:lnTo>
                  <a:lnTo>
                    <a:pt x="219" y="99"/>
                  </a:lnTo>
                  <a:lnTo>
                    <a:pt x="219" y="99"/>
                  </a:lnTo>
                  <a:lnTo>
                    <a:pt x="219" y="97"/>
                  </a:lnTo>
                  <a:lnTo>
                    <a:pt x="222" y="97"/>
                  </a:lnTo>
                  <a:lnTo>
                    <a:pt x="222" y="94"/>
                  </a:lnTo>
                  <a:lnTo>
                    <a:pt x="222" y="94"/>
                  </a:lnTo>
                  <a:lnTo>
                    <a:pt x="222" y="92"/>
                  </a:lnTo>
                  <a:lnTo>
                    <a:pt x="225" y="89"/>
                  </a:lnTo>
                  <a:lnTo>
                    <a:pt x="225" y="89"/>
                  </a:lnTo>
                  <a:lnTo>
                    <a:pt x="225" y="87"/>
                  </a:lnTo>
                  <a:lnTo>
                    <a:pt x="225" y="87"/>
                  </a:lnTo>
                  <a:lnTo>
                    <a:pt x="227" y="87"/>
                  </a:lnTo>
                  <a:lnTo>
                    <a:pt x="227" y="84"/>
                  </a:lnTo>
                  <a:lnTo>
                    <a:pt x="227" y="82"/>
                  </a:lnTo>
                  <a:lnTo>
                    <a:pt x="227" y="82"/>
                  </a:lnTo>
                  <a:lnTo>
                    <a:pt x="225" y="79"/>
                  </a:lnTo>
                  <a:lnTo>
                    <a:pt x="222" y="74"/>
                  </a:lnTo>
                  <a:lnTo>
                    <a:pt x="217" y="74"/>
                  </a:lnTo>
                  <a:lnTo>
                    <a:pt x="214" y="71"/>
                  </a:lnTo>
                  <a:lnTo>
                    <a:pt x="212" y="71"/>
                  </a:lnTo>
                  <a:lnTo>
                    <a:pt x="212" y="71"/>
                  </a:lnTo>
                  <a:lnTo>
                    <a:pt x="209" y="71"/>
                  </a:lnTo>
                  <a:lnTo>
                    <a:pt x="209" y="69"/>
                  </a:lnTo>
                  <a:lnTo>
                    <a:pt x="207" y="69"/>
                  </a:lnTo>
                  <a:lnTo>
                    <a:pt x="202" y="66"/>
                  </a:lnTo>
                  <a:lnTo>
                    <a:pt x="191" y="61"/>
                  </a:lnTo>
                  <a:lnTo>
                    <a:pt x="189" y="59"/>
                  </a:lnTo>
                  <a:lnTo>
                    <a:pt x="186" y="59"/>
                  </a:lnTo>
                  <a:lnTo>
                    <a:pt x="184" y="56"/>
                  </a:lnTo>
                  <a:lnTo>
                    <a:pt x="179" y="51"/>
                  </a:lnTo>
                  <a:lnTo>
                    <a:pt x="174" y="49"/>
                  </a:lnTo>
                  <a:lnTo>
                    <a:pt x="171" y="49"/>
                  </a:lnTo>
                  <a:lnTo>
                    <a:pt x="166" y="49"/>
                  </a:lnTo>
                  <a:lnTo>
                    <a:pt x="158" y="46"/>
                  </a:lnTo>
                  <a:lnTo>
                    <a:pt x="153" y="43"/>
                  </a:lnTo>
                  <a:lnTo>
                    <a:pt x="153" y="41"/>
                  </a:lnTo>
                  <a:lnTo>
                    <a:pt x="151" y="38"/>
                  </a:lnTo>
                  <a:lnTo>
                    <a:pt x="146" y="36"/>
                  </a:lnTo>
                  <a:lnTo>
                    <a:pt x="143" y="36"/>
                  </a:lnTo>
                  <a:lnTo>
                    <a:pt x="143" y="36"/>
                  </a:lnTo>
                  <a:lnTo>
                    <a:pt x="143" y="33"/>
                  </a:lnTo>
                  <a:lnTo>
                    <a:pt x="140" y="33"/>
                  </a:lnTo>
                  <a:lnTo>
                    <a:pt x="138" y="31"/>
                  </a:lnTo>
                  <a:lnTo>
                    <a:pt x="135" y="28"/>
                  </a:lnTo>
                  <a:lnTo>
                    <a:pt x="130" y="23"/>
                  </a:lnTo>
                  <a:lnTo>
                    <a:pt x="128" y="18"/>
                  </a:lnTo>
                  <a:lnTo>
                    <a:pt x="125" y="13"/>
                  </a:lnTo>
                  <a:lnTo>
                    <a:pt x="120" y="13"/>
                  </a:lnTo>
                  <a:lnTo>
                    <a:pt x="120" y="10"/>
                  </a:lnTo>
                  <a:lnTo>
                    <a:pt x="118" y="10"/>
                  </a:lnTo>
                  <a:lnTo>
                    <a:pt x="118" y="10"/>
                  </a:lnTo>
                  <a:lnTo>
                    <a:pt x="118" y="8"/>
                  </a:lnTo>
                  <a:lnTo>
                    <a:pt x="115" y="8"/>
                  </a:lnTo>
                  <a:lnTo>
                    <a:pt x="115" y="5"/>
                  </a:lnTo>
                  <a:lnTo>
                    <a:pt x="115" y="3"/>
                  </a:lnTo>
                  <a:lnTo>
                    <a:pt x="115" y="3"/>
                  </a:lnTo>
                  <a:lnTo>
                    <a:pt x="105" y="3"/>
                  </a:lnTo>
                  <a:lnTo>
                    <a:pt x="97" y="3"/>
                  </a:lnTo>
                  <a:lnTo>
                    <a:pt x="97" y="5"/>
                  </a:lnTo>
                  <a:lnTo>
                    <a:pt x="95" y="5"/>
                  </a:lnTo>
                  <a:lnTo>
                    <a:pt x="95" y="3"/>
                  </a:lnTo>
                  <a:lnTo>
                    <a:pt x="95" y="5"/>
                  </a:lnTo>
                  <a:lnTo>
                    <a:pt x="92" y="5"/>
                  </a:lnTo>
                  <a:lnTo>
                    <a:pt x="92" y="5"/>
                  </a:lnTo>
                  <a:lnTo>
                    <a:pt x="89" y="13"/>
                  </a:lnTo>
                  <a:lnTo>
                    <a:pt x="89" y="15"/>
                  </a:lnTo>
                  <a:lnTo>
                    <a:pt x="87" y="18"/>
                  </a:lnTo>
                  <a:lnTo>
                    <a:pt x="87" y="23"/>
                  </a:lnTo>
                  <a:lnTo>
                    <a:pt x="87" y="23"/>
                  </a:lnTo>
                  <a:lnTo>
                    <a:pt x="87" y="21"/>
                  </a:lnTo>
                  <a:lnTo>
                    <a:pt x="84" y="18"/>
                  </a:lnTo>
                  <a:lnTo>
                    <a:pt x="82" y="15"/>
                  </a:lnTo>
                  <a:lnTo>
                    <a:pt x="82" y="13"/>
                  </a:lnTo>
                  <a:lnTo>
                    <a:pt x="79" y="8"/>
                  </a:lnTo>
                  <a:lnTo>
                    <a:pt x="77" y="8"/>
                  </a:lnTo>
                  <a:lnTo>
                    <a:pt x="77" y="8"/>
                  </a:lnTo>
                  <a:lnTo>
                    <a:pt x="74" y="8"/>
                  </a:lnTo>
                  <a:lnTo>
                    <a:pt x="72" y="5"/>
                  </a:lnTo>
                  <a:lnTo>
                    <a:pt x="72" y="5"/>
                  </a:lnTo>
                  <a:lnTo>
                    <a:pt x="61" y="5"/>
                  </a:lnTo>
                  <a:lnTo>
                    <a:pt x="61" y="5"/>
                  </a:lnTo>
                  <a:lnTo>
                    <a:pt x="59" y="5"/>
                  </a:lnTo>
                  <a:lnTo>
                    <a:pt x="56" y="5"/>
                  </a:lnTo>
                  <a:lnTo>
                    <a:pt x="54" y="5"/>
                  </a:lnTo>
                  <a:lnTo>
                    <a:pt x="51" y="0"/>
                  </a:lnTo>
                  <a:lnTo>
                    <a:pt x="49" y="0"/>
                  </a:lnTo>
                  <a:lnTo>
                    <a:pt x="49" y="0"/>
                  </a:lnTo>
                  <a:lnTo>
                    <a:pt x="46" y="0"/>
                  </a:lnTo>
                  <a:lnTo>
                    <a:pt x="46" y="0"/>
                  </a:lnTo>
                  <a:lnTo>
                    <a:pt x="46" y="3"/>
                  </a:lnTo>
                  <a:lnTo>
                    <a:pt x="46" y="5"/>
                  </a:lnTo>
                  <a:lnTo>
                    <a:pt x="44" y="5"/>
                  </a:lnTo>
                  <a:lnTo>
                    <a:pt x="41" y="8"/>
                  </a:lnTo>
                  <a:lnTo>
                    <a:pt x="39" y="8"/>
                  </a:lnTo>
                  <a:lnTo>
                    <a:pt x="39" y="8"/>
                  </a:lnTo>
                  <a:lnTo>
                    <a:pt x="39" y="10"/>
                  </a:lnTo>
                  <a:lnTo>
                    <a:pt x="39" y="13"/>
                  </a:lnTo>
                  <a:lnTo>
                    <a:pt x="36" y="13"/>
                  </a:lnTo>
                  <a:lnTo>
                    <a:pt x="33" y="15"/>
                  </a:lnTo>
                  <a:lnTo>
                    <a:pt x="33" y="15"/>
                  </a:lnTo>
                  <a:lnTo>
                    <a:pt x="33" y="18"/>
                  </a:lnTo>
                  <a:lnTo>
                    <a:pt x="31" y="21"/>
                  </a:lnTo>
                  <a:lnTo>
                    <a:pt x="31" y="23"/>
                  </a:lnTo>
                  <a:lnTo>
                    <a:pt x="33" y="26"/>
                  </a:lnTo>
                  <a:lnTo>
                    <a:pt x="33" y="33"/>
                  </a:lnTo>
                  <a:lnTo>
                    <a:pt x="33" y="41"/>
                  </a:lnTo>
                  <a:lnTo>
                    <a:pt x="31" y="49"/>
                  </a:lnTo>
                  <a:lnTo>
                    <a:pt x="31" y="49"/>
                  </a:lnTo>
                  <a:lnTo>
                    <a:pt x="31" y="51"/>
                  </a:lnTo>
                  <a:lnTo>
                    <a:pt x="26" y="51"/>
                  </a:lnTo>
                  <a:lnTo>
                    <a:pt x="21" y="54"/>
                  </a:lnTo>
                  <a:lnTo>
                    <a:pt x="18" y="56"/>
                  </a:lnTo>
                  <a:lnTo>
                    <a:pt x="16" y="59"/>
                  </a:lnTo>
                  <a:lnTo>
                    <a:pt x="13" y="59"/>
                  </a:lnTo>
                  <a:lnTo>
                    <a:pt x="13" y="61"/>
                  </a:lnTo>
                  <a:lnTo>
                    <a:pt x="10" y="61"/>
                  </a:lnTo>
                  <a:lnTo>
                    <a:pt x="10" y="64"/>
                  </a:lnTo>
                  <a:lnTo>
                    <a:pt x="10" y="64"/>
                  </a:lnTo>
                  <a:lnTo>
                    <a:pt x="10" y="66"/>
                  </a:lnTo>
                  <a:lnTo>
                    <a:pt x="10" y="69"/>
                  </a:lnTo>
                  <a:lnTo>
                    <a:pt x="10" y="69"/>
                  </a:lnTo>
                  <a:lnTo>
                    <a:pt x="13" y="71"/>
                  </a:lnTo>
                  <a:lnTo>
                    <a:pt x="13" y="71"/>
                  </a:lnTo>
                  <a:lnTo>
                    <a:pt x="13" y="74"/>
                  </a:lnTo>
                  <a:lnTo>
                    <a:pt x="13" y="74"/>
                  </a:lnTo>
                  <a:lnTo>
                    <a:pt x="13" y="74"/>
                  </a:lnTo>
                  <a:lnTo>
                    <a:pt x="13" y="77"/>
                  </a:lnTo>
                  <a:lnTo>
                    <a:pt x="13" y="77"/>
                  </a:lnTo>
                  <a:lnTo>
                    <a:pt x="10" y="77"/>
                  </a:lnTo>
                  <a:lnTo>
                    <a:pt x="10" y="82"/>
                  </a:lnTo>
                  <a:lnTo>
                    <a:pt x="10" y="84"/>
                  </a:lnTo>
                  <a:lnTo>
                    <a:pt x="13" y="87"/>
                  </a:lnTo>
                  <a:lnTo>
                    <a:pt x="13" y="89"/>
                  </a:lnTo>
                  <a:lnTo>
                    <a:pt x="18" y="97"/>
                  </a:lnTo>
                  <a:lnTo>
                    <a:pt x="18" y="99"/>
                  </a:lnTo>
                  <a:lnTo>
                    <a:pt x="16" y="102"/>
                  </a:lnTo>
                  <a:lnTo>
                    <a:pt x="16" y="102"/>
                  </a:lnTo>
                  <a:lnTo>
                    <a:pt x="16" y="105"/>
                  </a:lnTo>
                  <a:lnTo>
                    <a:pt x="16" y="105"/>
                  </a:lnTo>
                  <a:lnTo>
                    <a:pt x="16" y="107"/>
                  </a:lnTo>
                  <a:lnTo>
                    <a:pt x="18" y="110"/>
                  </a:lnTo>
                  <a:lnTo>
                    <a:pt x="21" y="112"/>
                  </a:lnTo>
                  <a:lnTo>
                    <a:pt x="23" y="115"/>
                  </a:lnTo>
                  <a:lnTo>
                    <a:pt x="23" y="117"/>
                  </a:lnTo>
                  <a:lnTo>
                    <a:pt x="23" y="117"/>
                  </a:lnTo>
                  <a:lnTo>
                    <a:pt x="21" y="120"/>
                  </a:lnTo>
                  <a:lnTo>
                    <a:pt x="18" y="120"/>
                  </a:lnTo>
                  <a:lnTo>
                    <a:pt x="18" y="120"/>
                  </a:lnTo>
                  <a:lnTo>
                    <a:pt x="16" y="120"/>
                  </a:lnTo>
                  <a:lnTo>
                    <a:pt x="16" y="120"/>
                  </a:lnTo>
                  <a:lnTo>
                    <a:pt x="16" y="120"/>
                  </a:lnTo>
                  <a:lnTo>
                    <a:pt x="13" y="120"/>
                  </a:lnTo>
                  <a:lnTo>
                    <a:pt x="13" y="122"/>
                  </a:lnTo>
                  <a:lnTo>
                    <a:pt x="13" y="127"/>
                  </a:lnTo>
                  <a:lnTo>
                    <a:pt x="10" y="127"/>
                  </a:lnTo>
                  <a:lnTo>
                    <a:pt x="10" y="130"/>
                  </a:lnTo>
                  <a:lnTo>
                    <a:pt x="10" y="135"/>
                  </a:lnTo>
                  <a:lnTo>
                    <a:pt x="10" y="138"/>
                  </a:lnTo>
                  <a:lnTo>
                    <a:pt x="10" y="138"/>
                  </a:lnTo>
                  <a:lnTo>
                    <a:pt x="8" y="140"/>
                  </a:lnTo>
                  <a:lnTo>
                    <a:pt x="8" y="143"/>
                  </a:lnTo>
                  <a:lnTo>
                    <a:pt x="5" y="145"/>
                  </a:lnTo>
                  <a:lnTo>
                    <a:pt x="5" y="145"/>
                  </a:lnTo>
                  <a:lnTo>
                    <a:pt x="5" y="145"/>
                  </a:lnTo>
                  <a:lnTo>
                    <a:pt x="5" y="148"/>
                  </a:lnTo>
                  <a:lnTo>
                    <a:pt x="3" y="150"/>
                  </a:lnTo>
                  <a:lnTo>
                    <a:pt x="3" y="153"/>
                  </a:lnTo>
                  <a:lnTo>
                    <a:pt x="3" y="155"/>
                  </a:lnTo>
                  <a:lnTo>
                    <a:pt x="3" y="158"/>
                  </a:lnTo>
                  <a:lnTo>
                    <a:pt x="3" y="163"/>
                  </a:lnTo>
                  <a:lnTo>
                    <a:pt x="3" y="166"/>
                  </a:lnTo>
                  <a:lnTo>
                    <a:pt x="0" y="166"/>
                  </a:lnTo>
                  <a:lnTo>
                    <a:pt x="0" y="168"/>
                  </a:lnTo>
                  <a:lnTo>
                    <a:pt x="0" y="171"/>
                  </a:lnTo>
                  <a:lnTo>
                    <a:pt x="3" y="176"/>
                  </a:lnTo>
                  <a:lnTo>
                    <a:pt x="3" y="181"/>
                  </a:lnTo>
                  <a:lnTo>
                    <a:pt x="5" y="183"/>
                  </a:lnTo>
                  <a:lnTo>
                    <a:pt x="5" y="186"/>
                  </a:lnTo>
                  <a:lnTo>
                    <a:pt x="5" y="188"/>
                  </a:lnTo>
                  <a:lnTo>
                    <a:pt x="5" y="188"/>
                  </a:lnTo>
                  <a:lnTo>
                    <a:pt x="8" y="188"/>
                  </a:lnTo>
                  <a:lnTo>
                    <a:pt x="8" y="188"/>
                  </a:lnTo>
                  <a:lnTo>
                    <a:pt x="8" y="191"/>
                  </a:lnTo>
                  <a:lnTo>
                    <a:pt x="8" y="191"/>
                  </a:lnTo>
                  <a:lnTo>
                    <a:pt x="5" y="194"/>
                  </a:lnTo>
                  <a:lnTo>
                    <a:pt x="3" y="194"/>
                  </a:lnTo>
                  <a:lnTo>
                    <a:pt x="3" y="194"/>
                  </a:lnTo>
                  <a:lnTo>
                    <a:pt x="3" y="194"/>
                  </a:lnTo>
                  <a:lnTo>
                    <a:pt x="3" y="196"/>
                  </a:lnTo>
                  <a:lnTo>
                    <a:pt x="3" y="196"/>
                  </a:lnTo>
                  <a:lnTo>
                    <a:pt x="3" y="201"/>
                  </a:lnTo>
                  <a:lnTo>
                    <a:pt x="3" y="204"/>
                  </a:lnTo>
                  <a:lnTo>
                    <a:pt x="0" y="206"/>
                  </a:lnTo>
                  <a:lnTo>
                    <a:pt x="3" y="206"/>
                  </a:lnTo>
                  <a:lnTo>
                    <a:pt x="3" y="209"/>
                  </a:lnTo>
                  <a:lnTo>
                    <a:pt x="3" y="209"/>
                  </a:lnTo>
                  <a:lnTo>
                    <a:pt x="3" y="209"/>
                  </a:lnTo>
                  <a:lnTo>
                    <a:pt x="3" y="211"/>
                  </a:lnTo>
                  <a:lnTo>
                    <a:pt x="0" y="211"/>
                  </a:lnTo>
                  <a:lnTo>
                    <a:pt x="0" y="211"/>
                  </a:lnTo>
                  <a:lnTo>
                    <a:pt x="0" y="211"/>
                  </a:lnTo>
                  <a:lnTo>
                    <a:pt x="0" y="214"/>
                  </a:lnTo>
                  <a:lnTo>
                    <a:pt x="0" y="216"/>
                  </a:lnTo>
                  <a:lnTo>
                    <a:pt x="0" y="219"/>
                  </a:lnTo>
                  <a:lnTo>
                    <a:pt x="0" y="222"/>
                  </a:lnTo>
                  <a:lnTo>
                    <a:pt x="3" y="224"/>
                  </a:lnTo>
                  <a:lnTo>
                    <a:pt x="5" y="227"/>
                  </a:lnTo>
                  <a:lnTo>
                    <a:pt x="5" y="229"/>
                  </a:lnTo>
                  <a:lnTo>
                    <a:pt x="8" y="229"/>
                  </a:lnTo>
                  <a:lnTo>
                    <a:pt x="8" y="229"/>
                  </a:lnTo>
                  <a:lnTo>
                    <a:pt x="8" y="229"/>
                  </a:lnTo>
                  <a:lnTo>
                    <a:pt x="8" y="232"/>
                  </a:lnTo>
                  <a:lnTo>
                    <a:pt x="8" y="232"/>
                  </a:lnTo>
                  <a:lnTo>
                    <a:pt x="8" y="232"/>
                  </a:lnTo>
                  <a:lnTo>
                    <a:pt x="8" y="234"/>
                  </a:lnTo>
                  <a:lnTo>
                    <a:pt x="10" y="237"/>
                  </a:lnTo>
                  <a:lnTo>
                    <a:pt x="10" y="237"/>
                  </a:lnTo>
                  <a:lnTo>
                    <a:pt x="13" y="239"/>
                  </a:lnTo>
                  <a:lnTo>
                    <a:pt x="13" y="242"/>
                  </a:lnTo>
                  <a:lnTo>
                    <a:pt x="13" y="244"/>
                  </a:lnTo>
                  <a:lnTo>
                    <a:pt x="16" y="250"/>
                  </a:lnTo>
                  <a:lnTo>
                    <a:pt x="18" y="250"/>
                  </a:lnTo>
                  <a:lnTo>
                    <a:pt x="18" y="252"/>
                  </a:lnTo>
                  <a:lnTo>
                    <a:pt x="18" y="252"/>
                  </a:lnTo>
                  <a:lnTo>
                    <a:pt x="18" y="255"/>
                  </a:lnTo>
                  <a:lnTo>
                    <a:pt x="18" y="257"/>
                  </a:lnTo>
                  <a:lnTo>
                    <a:pt x="18" y="257"/>
                  </a:lnTo>
                  <a:lnTo>
                    <a:pt x="21" y="260"/>
                  </a:lnTo>
                  <a:lnTo>
                    <a:pt x="21" y="260"/>
                  </a:lnTo>
                  <a:lnTo>
                    <a:pt x="23" y="260"/>
                  </a:lnTo>
                  <a:lnTo>
                    <a:pt x="26" y="260"/>
                  </a:lnTo>
                  <a:lnTo>
                    <a:pt x="26" y="262"/>
                  </a:lnTo>
                  <a:lnTo>
                    <a:pt x="26" y="262"/>
                  </a:lnTo>
                  <a:lnTo>
                    <a:pt x="26" y="265"/>
                  </a:lnTo>
                  <a:lnTo>
                    <a:pt x="26" y="267"/>
                  </a:lnTo>
                  <a:lnTo>
                    <a:pt x="26" y="270"/>
                  </a:lnTo>
                  <a:lnTo>
                    <a:pt x="28" y="275"/>
                  </a:lnTo>
                  <a:lnTo>
                    <a:pt x="28" y="278"/>
                  </a:lnTo>
                  <a:lnTo>
                    <a:pt x="28" y="280"/>
                  </a:lnTo>
                  <a:lnTo>
                    <a:pt x="31" y="283"/>
                  </a:lnTo>
                  <a:lnTo>
                    <a:pt x="28" y="283"/>
                  </a:lnTo>
                  <a:lnTo>
                    <a:pt x="28" y="283"/>
                  </a:lnTo>
                  <a:lnTo>
                    <a:pt x="28" y="283"/>
                  </a:lnTo>
                  <a:lnTo>
                    <a:pt x="26" y="283"/>
                  </a:lnTo>
                  <a:lnTo>
                    <a:pt x="26" y="285"/>
                  </a:lnTo>
                  <a:lnTo>
                    <a:pt x="26" y="285"/>
                  </a:lnTo>
                  <a:lnTo>
                    <a:pt x="26" y="288"/>
                  </a:lnTo>
                  <a:lnTo>
                    <a:pt x="26" y="290"/>
                  </a:lnTo>
                  <a:lnTo>
                    <a:pt x="26" y="293"/>
                  </a:lnTo>
                  <a:lnTo>
                    <a:pt x="26" y="293"/>
                  </a:lnTo>
                  <a:lnTo>
                    <a:pt x="26" y="293"/>
                  </a:lnTo>
                  <a:lnTo>
                    <a:pt x="26" y="295"/>
                  </a:lnTo>
                  <a:lnTo>
                    <a:pt x="26" y="298"/>
                  </a:lnTo>
                  <a:lnTo>
                    <a:pt x="26" y="303"/>
                  </a:lnTo>
                  <a:lnTo>
                    <a:pt x="23" y="303"/>
                  </a:lnTo>
                  <a:lnTo>
                    <a:pt x="23" y="303"/>
                  </a:lnTo>
                  <a:lnTo>
                    <a:pt x="23" y="306"/>
                  </a:lnTo>
                  <a:lnTo>
                    <a:pt x="23" y="306"/>
                  </a:lnTo>
                  <a:lnTo>
                    <a:pt x="26" y="306"/>
                  </a:lnTo>
                  <a:lnTo>
                    <a:pt x="26" y="308"/>
                  </a:lnTo>
                  <a:lnTo>
                    <a:pt x="26" y="311"/>
                  </a:lnTo>
                  <a:lnTo>
                    <a:pt x="28" y="311"/>
                  </a:lnTo>
                  <a:lnTo>
                    <a:pt x="28" y="313"/>
                  </a:lnTo>
                  <a:lnTo>
                    <a:pt x="28" y="318"/>
                  </a:lnTo>
                  <a:lnTo>
                    <a:pt x="28" y="318"/>
                  </a:lnTo>
                  <a:lnTo>
                    <a:pt x="31" y="321"/>
                  </a:lnTo>
                  <a:lnTo>
                    <a:pt x="31" y="323"/>
                  </a:lnTo>
                  <a:lnTo>
                    <a:pt x="31" y="326"/>
                  </a:lnTo>
                  <a:lnTo>
                    <a:pt x="28" y="326"/>
                  </a:lnTo>
                  <a:lnTo>
                    <a:pt x="28" y="328"/>
                  </a:lnTo>
                  <a:lnTo>
                    <a:pt x="26" y="328"/>
                  </a:lnTo>
                  <a:lnTo>
                    <a:pt x="26" y="331"/>
                  </a:lnTo>
                  <a:lnTo>
                    <a:pt x="26" y="331"/>
                  </a:lnTo>
                  <a:lnTo>
                    <a:pt x="26" y="331"/>
                  </a:lnTo>
                  <a:lnTo>
                    <a:pt x="26" y="331"/>
                  </a:lnTo>
                  <a:lnTo>
                    <a:pt x="23" y="331"/>
                  </a:lnTo>
                  <a:lnTo>
                    <a:pt x="23" y="334"/>
                  </a:lnTo>
                  <a:lnTo>
                    <a:pt x="21" y="334"/>
                  </a:lnTo>
                  <a:lnTo>
                    <a:pt x="21" y="336"/>
                  </a:lnTo>
                  <a:lnTo>
                    <a:pt x="23" y="336"/>
                  </a:lnTo>
                  <a:lnTo>
                    <a:pt x="21" y="339"/>
                  </a:lnTo>
                  <a:lnTo>
                    <a:pt x="21" y="341"/>
                  </a:lnTo>
                  <a:lnTo>
                    <a:pt x="21" y="341"/>
                  </a:lnTo>
                  <a:lnTo>
                    <a:pt x="23" y="344"/>
                  </a:lnTo>
                  <a:lnTo>
                    <a:pt x="23" y="346"/>
                  </a:lnTo>
                  <a:lnTo>
                    <a:pt x="23" y="349"/>
                  </a:lnTo>
                  <a:lnTo>
                    <a:pt x="23" y="351"/>
                  </a:lnTo>
                  <a:lnTo>
                    <a:pt x="23" y="351"/>
                  </a:lnTo>
                  <a:lnTo>
                    <a:pt x="26" y="354"/>
                  </a:lnTo>
                  <a:lnTo>
                    <a:pt x="26" y="356"/>
                  </a:lnTo>
                  <a:lnTo>
                    <a:pt x="26" y="359"/>
                  </a:lnTo>
                  <a:lnTo>
                    <a:pt x="26" y="359"/>
                  </a:lnTo>
                  <a:lnTo>
                    <a:pt x="28" y="364"/>
                  </a:lnTo>
                  <a:lnTo>
                    <a:pt x="31" y="367"/>
                  </a:lnTo>
                  <a:lnTo>
                    <a:pt x="33" y="369"/>
                  </a:lnTo>
                  <a:lnTo>
                    <a:pt x="33" y="374"/>
                  </a:lnTo>
                  <a:lnTo>
                    <a:pt x="36" y="377"/>
                  </a:lnTo>
                  <a:lnTo>
                    <a:pt x="36" y="379"/>
                  </a:lnTo>
                  <a:lnTo>
                    <a:pt x="39" y="379"/>
                  </a:lnTo>
                  <a:lnTo>
                    <a:pt x="39" y="382"/>
                  </a:lnTo>
                  <a:lnTo>
                    <a:pt x="39" y="382"/>
                  </a:lnTo>
                  <a:lnTo>
                    <a:pt x="39" y="384"/>
                  </a:lnTo>
                  <a:lnTo>
                    <a:pt x="39" y="384"/>
                  </a:lnTo>
                  <a:lnTo>
                    <a:pt x="36" y="387"/>
                  </a:lnTo>
                  <a:lnTo>
                    <a:pt x="36" y="387"/>
                  </a:lnTo>
                  <a:lnTo>
                    <a:pt x="33" y="387"/>
                  </a:lnTo>
                  <a:lnTo>
                    <a:pt x="33" y="390"/>
                  </a:lnTo>
                  <a:lnTo>
                    <a:pt x="31" y="390"/>
                  </a:lnTo>
                  <a:lnTo>
                    <a:pt x="31" y="392"/>
                  </a:lnTo>
                  <a:lnTo>
                    <a:pt x="33" y="397"/>
                  </a:lnTo>
                  <a:lnTo>
                    <a:pt x="33" y="397"/>
                  </a:lnTo>
                  <a:lnTo>
                    <a:pt x="33" y="400"/>
                  </a:lnTo>
                  <a:lnTo>
                    <a:pt x="33" y="402"/>
                  </a:lnTo>
                  <a:lnTo>
                    <a:pt x="33" y="402"/>
                  </a:lnTo>
                  <a:lnTo>
                    <a:pt x="33" y="405"/>
                  </a:lnTo>
                  <a:lnTo>
                    <a:pt x="33" y="405"/>
                  </a:lnTo>
                  <a:lnTo>
                    <a:pt x="33" y="405"/>
                  </a:lnTo>
                  <a:lnTo>
                    <a:pt x="33" y="405"/>
                  </a:lnTo>
                  <a:lnTo>
                    <a:pt x="31" y="405"/>
                  </a:lnTo>
                  <a:lnTo>
                    <a:pt x="31" y="405"/>
                  </a:lnTo>
                  <a:lnTo>
                    <a:pt x="33" y="407"/>
                  </a:lnTo>
                  <a:lnTo>
                    <a:pt x="33" y="410"/>
                  </a:lnTo>
                  <a:lnTo>
                    <a:pt x="36" y="412"/>
                  </a:lnTo>
                  <a:lnTo>
                    <a:pt x="36" y="412"/>
                  </a:lnTo>
                  <a:lnTo>
                    <a:pt x="36" y="412"/>
                  </a:lnTo>
                  <a:lnTo>
                    <a:pt x="36" y="415"/>
                  </a:lnTo>
                  <a:lnTo>
                    <a:pt x="33" y="415"/>
                  </a:lnTo>
                  <a:lnTo>
                    <a:pt x="33" y="415"/>
                  </a:lnTo>
                  <a:lnTo>
                    <a:pt x="33" y="417"/>
                  </a:lnTo>
                  <a:lnTo>
                    <a:pt x="33" y="417"/>
                  </a:lnTo>
                  <a:lnTo>
                    <a:pt x="36" y="420"/>
                  </a:lnTo>
                  <a:lnTo>
                    <a:pt x="39" y="420"/>
                  </a:lnTo>
                  <a:lnTo>
                    <a:pt x="39" y="420"/>
                  </a:lnTo>
                  <a:lnTo>
                    <a:pt x="36" y="423"/>
                  </a:lnTo>
                  <a:lnTo>
                    <a:pt x="36" y="423"/>
                  </a:lnTo>
                  <a:lnTo>
                    <a:pt x="36" y="425"/>
                  </a:lnTo>
                  <a:lnTo>
                    <a:pt x="36" y="425"/>
                  </a:lnTo>
                  <a:lnTo>
                    <a:pt x="36" y="428"/>
                  </a:lnTo>
                  <a:lnTo>
                    <a:pt x="36" y="430"/>
                  </a:lnTo>
                  <a:lnTo>
                    <a:pt x="39" y="433"/>
                  </a:lnTo>
                  <a:lnTo>
                    <a:pt x="39" y="435"/>
                  </a:lnTo>
                  <a:lnTo>
                    <a:pt x="41" y="440"/>
                  </a:lnTo>
                  <a:lnTo>
                    <a:pt x="41" y="443"/>
                  </a:lnTo>
                  <a:lnTo>
                    <a:pt x="44" y="448"/>
                  </a:lnTo>
                  <a:lnTo>
                    <a:pt x="44" y="448"/>
                  </a:lnTo>
                  <a:lnTo>
                    <a:pt x="44" y="448"/>
                  </a:lnTo>
                  <a:lnTo>
                    <a:pt x="46" y="453"/>
                  </a:lnTo>
                  <a:lnTo>
                    <a:pt x="49" y="456"/>
                  </a:lnTo>
                  <a:lnTo>
                    <a:pt x="51" y="458"/>
                  </a:lnTo>
                  <a:lnTo>
                    <a:pt x="51" y="458"/>
                  </a:lnTo>
                  <a:lnTo>
                    <a:pt x="49" y="461"/>
                  </a:lnTo>
                  <a:lnTo>
                    <a:pt x="49" y="461"/>
                  </a:lnTo>
                  <a:lnTo>
                    <a:pt x="46" y="461"/>
                  </a:lnTo>
                  <a:lnTo>
                    <a:pt x="46" y="461"/>
                  </a:lnTo>
                  <a:lnTo>
                    <a:pt x="46" y="461"/>
                  </a:lnTo>
                  <a:lnTo>
                    <a:pt x="46" y="463"/>
                  </a:lnTo>
                  <a:lnTo>
                    <a:pt x="46" y="463"/>
                  </a:lnTo>
                  <a:lnTo>
                    <a:pt x="46" y="466"/>
                  </a:lnTo>
                  <a:lnTo>
                    <a:pt x="49" y="468"/>
                  </a:lnTo>
                  <a:lnTo>
                    <a:pt x="49" y="468"/>
                  </a:lnTo>
                  <a:lnTo>
                    <a:pt x="49" y="471"/>
                  </a:lnTo>
                  <a:lnTo>
                    <a:pt x="49" y="471"/>
                  </a:lnTo>
                  <a:lnTo>
                    <a:pt x="49" y="473"/>
                  </a:lnTo>
                  <a:lnTo>
                    <a:pt x="51" y="479"/>
                  </a:lnTo>
                  <a:lnTo>
                    <a:pt x="51" y="481"/>
                  </a:lnTo>
                  <a:lnTo>
                    <a:pt x="54" y="481"/>
                  </a:lnTo>
                  <a:lnTo>
                    <a:pt x="56" y="481"/>
                  </a:lnTo>
                  <a:lnTo>
                    <a:pt x="59" y="484"/>
                  </a:lnTo>
                  <a:lnTo>
                    <a:pt x="61" y="484"/>
                  </a:lnTo>
                  <a:lnTo>
                    <a:pt x="61" y="486"/>
                  </a:lnTo>
                  <a:lnTo>
                    <a:pt x="59" y="486"/>
                  </a:lnTo>
                  <a:lnTo>
                    <a:pt x="59" y="486"/>
                  </a:lnTo>
                  <a:lnTo>
                    <a:pt x="59" y="489"/>
                  </a:lnTo>
                  <a:lnTo>
                    <a:pt x="61" y="491"/>
                  </a:lnTo>
                  <a:lnTo>
                    <a:pt x="64" y="491"/>
                  </a:lnTo>
                  <a:lnTo>
                    <a:pt x="64" y="494"/>
                  </a:lnTo>
                  <a:lnTo>
                    <a:pt x="64" y="494"/>
                  </a:lnTo>
                  <a:lnTo>
                    <a:pt x="64" y="496"/>
                  </a:lnTo>
                  <a:lnTo>
                    <a:pt x="67" y="499"/>
                  </a:lnTo>
                  <a:lnTo>
                    <a:pt x="67" y="499"/>
                  </a:lnTo>
                  <a:lnTo>
                    <a:pt x="67" y="501"/>
                  </a:lnTo>
                  <a:lnTo>
                    <a:pt x="67" y="501"/>
                  </a:lnTo>
                  <a:lnTo>
                    <a:pt x="67" y="504"/>
                  </a:lnTo>
                  <a:lnTo>
                    <a:pt x="67" y="504"/>
                  </a:lnTo>
                  <a:lnTo>
                    <a:pt x="67" y="507"/>
                  </a:lnTo>
                  <a:lnTo>
                    <a:pt x="69" y="509"/>
                  </a:lnTo>
                  <a:lnTo>
                    <a:pt x="69" y="509"/>
                  </a:lnTo>
                  <a:lnTo>
                    <a:pt x="79" y="509"/>
                  </a:lnTo>
                  <a:lnTo>
                    <a:pt x="82" y="512"/>
                  </a:lnTo>
                  <a:lnTo>
                    <a:pt x="82" y="512"/>
                  </a:lnTo>
                  <a:lnTo>
                    <a:pt x="82" y="514"/>
                  </a:lnTo>
                  <a:lnTo>
                    <a:pt x="82" y="514"/>
                  </a:lnTo>
                  <a:lnTo>
                    <a:pt x="82" y="517"/>
                  </a:lnTo>
                  <a:lnTo>
                    <a:pt x="82" y="519"/>
                  </a:lnTo>
                  <a:lnTo>
                    <a:pt x="79" y="517"/>
                  </a:lnTo>
                  <a:lnTo>
                    <a:pt x="77" y="517"/>
                  </a:lnTo>
                  <a:lnTo>
                    <a:pt x="77" y="517"/>
                  </a:lnTo>
                  <a:lnTo>
                    <a:pt x="74" y="517"/>
                  </a:lnTo>
                  <a:lnTo>
                    <a:pt x="69" y="519"/>
                  </a:lnTo>
                  <a:lnTo>
                    <a:pt x="69" y="517"/>
                  </a:lnTo>
                  <a:lnTo>
                    <a:pt x="69" y="519"/>
                  </a:lnTo>
                  <a:lnTo>
                    <a:pt x="69" y="522"/>
                  </a:lnTo>
                  <a:lnTo>
                    <a:pt x="74" y="522"/>
                  </a:lnTo>
                  <a:lnTo>
                    <a:pt x="79" y="522"/>
                  </a:lnTo>
                  <a:lnTo>
                    <a:pt x="79" y="527"/>
                  </a:lnTo>
                  <a:lnTo>
                    <a:pt x="82" y="529"/>
                  </a:lnTo>
                  <a:lnTo>
                    <a:pt x="84" y="529"/>
                  </a:lnTo>
                  <a:lnTo>
                    <a:pt x="87" y="532"/>
                  </a:lnTo>
                  <a:lnTo>
                    <a:pt x="84" y="535"/>
                  </a:lnTo>
                  <a:lnTo>
                    <a:pt x="84" y="537"/>
                  </a:lnTo>
                  <a:lnTo>
                    <a:pt x="82" y="537"/>
                  </a:lnTo>
                  <a:lnTo>
                    <a:pt x="82" y="537"/>
                  </a:lnTo>
                  <a:lnTo>
                    <a:pt x="82" y="540"/>
                  </a:lnTo>
                  <a:lnTo>
                    <a:pt x="84" y="542"/>
                  </a:lnTo>
                  <a:lnTo>
                    <a:pt x="84" y="545"/>
                  </a:lnTo>
                  <a:lnTo>
                    <a:pt x="87" y="545"/>
                  </a:lnTo>
                  <a:lnTo>
                    <a:pt x="87" y="547"/>
                  </a:lnTo>
                  <a:lnTo>
                    <a:pt x="84" y="550"/>
                  </a:lnTo>
                  <a:lnTo>
                    <a:pt x="84" y="550"/>
                  </a:lnTo>
                  <a:lnTo>
                    <a:pt x="84" y="552"/>
                  </a:lnTo>
                  <a:lnTo>
                    <a:pt x="87" y="552"/>
                  </a:lnTo>
                  <a:lnTo>
                    <a:pt x="87" y="555"/>
                  </a:lnTo>
                  <a:lnTo>
                    <a:pt x="89" y="557"/>
                  </a:lnTo>
                  <a:lnTo>
                    <a:pt x="92" y="560"/>
                  </a:lnTo>
                  <a:lnTo>
                    <a:pt x="92" y="563"/>
                  </a:lnTo>
                  <a:lnTo>
                    <a:pt x="92" y="563"/>
                  </a:lnTo>
                  <a:lnTo>
                    <a:pt x="89" y="565"/>
                  </a:lnTo>
                  <a:lnTo>
                    <a:pt x="89" y="565"/>
                  </a:lnTo>
                  <a:lnTo>
                    <a:pt x="89" y="568"/>
                  </a:lnTo>
                  <a:lnTo>
                    <a:pt x="89" y="570"/>
                  </a:lnTo>
                  <a:lnTo>
                    <a:pt x="92" y="570"/>
                  </a:lnTo>
                  <a:lnTo>
                    <a:pt x="92" y="573"/>
                  </a:lnTo>
                  <a:lnTo>
                    <a:pt x="92" y="573"/>
                  </a:lnTo>
                  <a:lnTo>
                    <a:pt x="92" y="573"/>
                  </a:lnTo>
                  <a:lnTo>
                    <a:pt x="92" y="575"/>
                  </a:lnTo>
                  <a:lnTo>
                    <a:pt x="92" y="578"/>
                  </a:lnTo>
                  <a:lnTo>
                    <a:pt x="89" y="578"/>
                  </a:lnTo>
                  <a:lnTo>
                    <a:pt x="87" y="580"/>
                  </a:lnTo>
                  <a:lnTo>
                    <a:pt x="89" y="583"/>
                  </a:lnTo>
                  <a:lnTo>
                    <a:pt x="89" y="585"/>
                  </a:lnTo>
                  <a:lnTo>
                    <a:pt x="89" y="585"/>
                  </a:lnTo>
                  <a:lnTo>
                    <a:pt x="89" y="588"/>
                  </a:lnTo>
                  <a:lnTo>
                    <a:pt x="89" y="591"/>
                  </a:lnTo>
                  <a:lnTo>
                    <a:pt x="92" y="591"/>
                  </a:lnTo>
                  <a:lnTo>
                    <a:pt x="95" y="593"/>
                  </a:lnTo>
                  <a:lnTo>
                    <a:pt x="97" y="596"/>
                  </a:lnTo>
                  <a:lnTo>
                    <a:pt x="97" y="598"/>
                  </a:lnTo>
                  <a:lnTo>
                    <a:pt x="95" y="601"/>
                  </a:lnTo>
                  <a:lnTo>
                    <a:pt x="92" y="601"/>
                  </a:lnTo>
                  <a:lnTo>
                    <a:pt x="92" y="603"/>
                  </a:lnTo>
                  <a:lnTo>
                    <a:pt x="95" y="606"/>
                  </a:lnTo>
                  <a:lnTo>
                    <a:pt x="95" y="608"/>
                  </a:lnTo>
                  <a:lnTo>
                    <a:pt x="95" y="608"/>
                  </a:lnTo>
                  <a:lnTo>
                    <a:pt x="95" y="611"/>
                  </a:lnTo>
                  <a:lnTo>
                    <a:pt x="95" y="611"/>
                  </a:lnTo>
                  <a:lnTo>
                    <a:pt x="92" y="613"/>
                  </a:lnTo>
                  <a:lnTo>
                    <a:pt x="92" y="613"/>
                  </a:lnTo>
                  <a:lnTo>
                    <a:pt x="89" y="613"/>
                  </a:lnTo>
                  <a:lnTo>
                    <a:pt x="89" y="616"/>
                  </a:lnTo>
                  <a:lnTo>
                    <a:pt x="89" y="619"/>
                  </a:lnTo>
                  <a:lnTo>
                    <a:pt x="92" y="621"/>
                  </a:lnTo>
                  <a:lnTo>
                    <a:pt x="87" y="621"/>
                  </a:lnTo>
                  <a:lnTo>
                    <a:pt x="87" y="621"/>
                  </a:lnTo>
                  <a:lnTo>
                    <a:pt x="87" y="624"/>
                  </a:lnTo>
                  <a:lnTo>
                    <a:pt x="87" y="626"/>
                  </a:lnTo>
                  <a:lnTo>
                    <a:pt x="89" y="629"/>
                  </a:lnTo>
                  <a:lnTo>
                    <a:pt x="92" y="631"/>
                  </a:lnTo>
                  <a:lnTo>
                    <a:pt x="92" y="634"/>
                  </a:lnTo>
                  <a:lnTo>
                    <a:pt x="92" y="636"/>
                  </a:lnTo>
                  <a:lnTo>
                    <a:pt x="95" y="639"/>
                  </a:lnTo>
                  <a:lnTo>
                    <a:pt x="97" y="641"/>
                  </a:lnTo>
                  <a:lnTo>
                    <a:pt x="100" y="644"/>
                  </a:lnTo>
                  <a:lnTo>
                    <a:pt x="102" y="647"/>
                  </a:lnTo>
                  <a:lnTo>
                    <a:pt x="102" y="649"/>
                  </a:lnTo>
                  <a:lnTo>
                    <a:pt x="105" y="649"/>
                  </a:lnTo>
                  <a:lnTo>
                    <a:pt x="105" y="652"/>
                  </a:lnTo>
                  <a:lnTo>
                    <a:pt x="107" y="652"/>
                  </a:lnTo>
                  <a:lnTo>
                    <a:pt x="107" y="652"/>
                  </a:lnTo>
                  <a:lnTo>
                    <a:pt x="110" y="652"/>
                  </a:lnTo>
                  <a:lnTo>
                    <a:pt x="110" y="649"/>
                  </a:lnTo>
                  <a:lnTo>
                    <a:pt x="112" y="649"/>
                  </a:lnTo>
                  <a:lnTo>
                    <a:pt x="115" y="649"/>
                  </a:lnTo>
                  <a:lnTo>
                    <a:pt x="115" y="649"/>
                  </a:lnTo>
                  <a:lnTo>
                    <a:pt x="118" y="649"/>
                  </a:lnTo>
                  <a:lnTo>
                    <a:pt x="118" y="649"/>
                  </a:lnTo>
                  <a:lnTo>
                    <a:pt x="120" y="652"/>
                  </a:lnTo>
                  <a:lnTo>
                    <a:pt x="123" y="654"/>
                  </a:lnTo>
                  <a:lnTo>
                    <a:pt x="123" y="657"/>
                  </a:lnTo>
                  <a:lnTo>
                    <a:pt x="125" y="659"/>
                  </a:lnTo>
                  <a:lnTo>
                    <a:pt x="123" y="659"/>
                  </a:lnTo>
                  <a:lnTo>
                    <a:pt x="123" y="659"/>
                  </a:lnTo>
                  <a:lnTo>
                    <a:pt x="125" y="662"/>
                  </a:lnTo>
                  <a:lnTo>
                    <a:pt x="125" y="662"/>
                  </a:lnTo>
                  <a:lnTo>
                    <a:pt x="128" y="664"/>
                  </a:lnTo>
                  <a:lnTo>
                    <a:pt x="128" y="667"/>
                  </a:lnTo>
                  <a:lnTo>
                    <a:pt x="128" y="669"/>
                  </a:lnTo>
                  <a:lnTo>
                    <a:pt x="130" y="672"/>
                  </a:lnTo>
                  <a:lnTo>
                    <a:pt x="133" y="672"/>
                  </a:lnTo>
                  <a:lnTo>
                    <a:pt x="135" y="674"/>
                  </a:lnTo>
                  <a:lnTo>
                    <a:pt x="138" y="674"/>
                  </a:lnTo>
                  <a:lnTo>
                    <a:pt x="138" y="677"/>
                  </a:lnTo>
                  <a:lnTo>
                    <a:pt x="140" y="680"/>
                  </a:lnTo>
                  <a:lnTo>
                    <a:pt x="140" y="680"/>
                  </a:lnTo>
                  <a:lnTo>
                    <a:pt x="146" y="680"/>
                  </a:lnTo>
                  <a:lnTo>
                    <a:pt x="151" y="680"/>
                  </a:lnTo>
                  <a:lnTo>
                    <a:pt x="158" y="680"/>
                  </a:lnTo>
                  <a:lnTo>
                    <a:pt x="166" y="680"/>
                  </a:lnTo>
                  <a:lnTo>
                    <a:pt x="174" y="680"/>
                  </a:lnTo>
                  <a:lnTo>
                    <a:pt x="179" y="682"/>
                  </a:lnTo>
                  <a:lnTo>
                    <a:pt x="184" y="682"/>
                  </a:lnTo>
                  <a:lnTo>
                    <a:pt x="189" y="682"/>
                  </a:lnTo>
                  <a:lnTo>
                    <a:pt x="194" y="685"/>
                  </a:lnTo>
                  <a:lnTo>
                    <a:pt x="199" y="685"/>
                  </a:lnTo>
                  <a:lnTo>
                    <a:pt x="202" y="685"/>
                  </a:lnTo>
                  <a:lnTo>
                    <a:pt x="204" y="685"/>
                  </a:lnTo>
                  <a:lnTo>
                    <a:pt x="204" y="687"/>
                  </a:lnTo>
                  <a:lnTo>
                    <a:pt x="204" y="687"/>
                  </a:lnTo>
                  <a:lnTo>
                    <a:pt x="202" y="685"/>
                  </a:lnTo>
                  <a:lnTo>
                    <a:pt x="197" y="680"/>
                  </a:lnTo>
                  <a:lnTo>
                    <a:pt x="189" y="672"/>
                  </a:lnTo>
                  <a:lnTo>
                    <a:pt x="189" y="672"/>
                  </a:lnTo>
                  <a:lnTo>
                    <a:pt x="186" y="672"/>
                  </a:lnTo>
                  <a:lnTo>
                    <a:pt x="184" y="672"/>
                  </a:lnTo>
                  <a:lnTo>
                    <a:pt x="181" y="672"/>
                  </a:lnTo>
                  <a:lnTo>
                    <a:pt x="181" y="672"/>
                  </a:lnTo>
                  <a:lnTo>
                    <a:pt x="179" y="669"/>
                  </a:lnTo>
                  <a:lnTo>
                    <a:pt x="181" y="669"/>
                  </a:lnTo>
                  <a:lnTo>
                    <a:pt x="184" y="669"/>
                  </a:lnTo>
                  <a:lnTo>
                    <a:pt x="186" y="669"/>
                  </a:lnTo>
                  <a:lnTo>
                    <a:pt x="186" y="669"/>
                  </a:lnTo>
                  <a:lnTo>
                    <a:pt x="184" y="667"/>
                  </a:lnTo>
                  <a:lnTo>
                    <a:pt x="184" y="664"/>
                  </a:lnTo>
                  <a:lnTo>
                    <a:pt x="179" y="659"/>
                  </a:lnTo>
                  <a:lnTo>
                    <a:pt x="176" y="657"/>
                  </a:lnTo>
                  <a:lnTo>
                    <a:pt x="176" y="657"/>
                  </a:lnTo>
                  <a:lnTo>
                    <a:pt x="176" y="659"/>
                  </a:lnTo>
                  <a:lnTo>
                    <a:pt x="176" y="659"/>
                  </a:lnTo>
                  <a:lnTo>
                    <a:pt x="176" y="657"/>
                  </a:lnTo>
                  <a:lnTo>
                    <a:pt x="176" y="654"/>
                  </a:lnTo>
                  <a:lnTo>
                    <a:pt x="176" y="652"/>
                  </a:lnTo>
                  <a:lnTo>
                    <a:pt x="176" y="649"/>
                  </a:lnTo>
                  <a:lnTo>
                    <a:pt x="176" y="647"/>
                  </a:lnTo>
                  <a:lnTo>
                    <a:pt x="176" y="644"/>
                  </a:lnTo>
                  <a:lnTo>
                    <a:pt x="179" y="641"/>
                  </a:lnTo>
                  <a:lnTo>
                    <a:pt x="181" y="641"/>
                  </a:lnTo>
                  <a:lnTo>
                    <a:pt x="181" y="639"/>
                  </a:lnTo>
                  <a:lnTo>
                    <a:pt x="184" y="639"/>
                  </a:lnTo>
                  <a:lnTo>
                    <a:pt x="181" y="639"/>
                  </a:lnTo>
                  <a:lnTo>
                    <a:pt x="179" y="636"/>
                  </a:lnTo>
                  <a:lnTo>
                    <a:pt x="179" y="636"/>
                  </a:lnTo>
                  <a:lnTo>
                    <a:pt x="176" y="636"/>
                  </a:lnTo>
                  <a:lnTo>
                    <a:pt x="171" y="636"/>
                  </a:lnTo>
                  <a:lnTo>
                    <a:pt x="171" y="634"/>
                  </a:lnTo>
                  <a:lnTo>
                    <a:pt x="176" y="634"/>
                  </a:lnTo>
                  <a:lnTo>
                    <a:pt x="176" y="634"/>
                  </a:lnTo>
                  <a:lnTo>
                    <a:pt x="174" y="631"/>
                  </a:lnTo>
                  <a:lnTo>
                    <a:pt x="174" y="631"/>
                  </a:lnTo>
                  <a:lnTo>
                    <a:pt x="176" y="634"/>
                  </a:lnTo>
                  <a:lnTo>
                    <a:pt x="179" y="636"/>
                  </a:lnTo>
                  <a:lnTo>
                    <a:pt x="181" y="636"/>
                  </a:lnTo>
                  <a:lnTo>
                    <a:pt x="184" y="639"/>
                  </a:lnTo>
                  <a:lnTo>
                    <a:pt x="186" y="639"/>
                  </a:lnTo>
                  <a:lnTo>
                    <a:pt x="189" y="636"/>
                  </a:lnTo>
                  <a:lnTo>
                    <a:pt x="191" y="634"/>
                  </a:lnTo>
                  <a:lnTo>
                    <a:pt x="191" y="631"/>
                  </a:lnTo>
                  <a:lnTo>
                    <a:pt x="189" y="621"/>
                  </a:lnTo>
                  <a:lnTo>
                    <a:pt x="186" y="621"/>
                  </a:lnTo>
                  <a:lnTo>
                    <a:pt x="186" y="619"/>
                  </a:lnTo>
                  <a:lnTo>
                    <a:pt x="189" y="613"/>
                  </a:lnTo>
                  <a:lnTo>
                    <a:pt x="189" y="608"/>
                  </a:lnTo>
                  <a:lnTo>
                    <a:pt x="191" y="606"/>
                  </a:lnTo>
                  <a:lnTo>
                    <a:pt x="191" y="606"/>
                  </a:lnTo>
                  <a:lnTo>
                    <a:pt x="197" y="603"/>
                  </a:lnTo>
                  <a:lnTo>
                    <a:pt x="199" y="601"/>
                  </a:lnTo>
                  <a:lnTo>
                    <a:pt x="202" y="598"/>
                  </a:lnTo>
                  <a:lnTo>
                    <a:pt x="207" y="593"/>
                  </a:lnTo>
                  <a:lnTo>
                    <a:pt x="207" y="591"/>
                  </a:lnTo>
                  <a:lnTo>
                    <a:pt x="207" y="591"/>
                  </a:lnTo>
                  <a:lnTo>
                    <a:pt x="207" y="591"/>
                  </a:lnTo>
                  <a:lnTo>
                    <a:pt x="207" y="588"/>
                  </a:lnTo>
                  <a:lnTo>
                    <a:pt x="204" y="588"/>
                  </a:lnTo>
                  <a:lnTo>
                    <a:pt x="202" y="588"/>
                  </a:lnTo>
                  <a:lnTo>
                    <a:pt x="202" y="588"/>
                  </a:lnTo>
                  <a:lnTo>
                    <a:pt x="199" y="588"/>
                  </a:lnTo>
                  <a:lnTo>
                    <a:pt x="202" y="585"/>
                  </a:lnTo>
                  <a:lnTo>
                    <a:pt x="204" y="585"/>
                  </a:lnTo>
                  <a:lnTo>
                    <a:pt x="204" y="583"/>
                  </a:lnTo>
                  <a:lnTo>
                    <a:pt x="204" y="583"/>
                  </a:lnTo>
                  <a:lnTo>
                    <a:pt x="204" y="578"/>
                  </a:lnTo>
                  <a:lnTo>
                    <a:pt x="202" y="575"/>
                  </a:lnTo>
                  <a:lnTo>
                    <a:pt x="199" y="573"/>
                  </a:lnTo>
                  <a:lnTo>
                    <a:pt x="197" y="570"/>
                  </a:lnTo>
                  <a:lnTo>
                    <a:pt x="186" y="570"/>
                  </a:lnTo>
                  <a:lnTo>
                    <a:pt x="184" y="570"/>
                  </a:lnTo>
                  <a:lnTo>
                    <a:pt x="169" y="560"/>
                  </a:lnTo>
                  <a:lnTo>
                    <a:pt x="166" y="557"/>
                  </a:lnTo>
                  <a:lnTo>
                    <a:pt x="163" y="555"/>
                  </a:lnTo>
                  <a:lnTo>
                    <a:pt x="161" y="552"/>
                  </a:lnTo>
                  <a:lnTo>
                    <a:pt x="161" y="550"/>
                  </a:lnTo>
                  <a:lnTo>
                    <a:pt x="161" y="547"/>
                  </a:lnTo>
                  <a:lnTo>
                    <a:pt x="161" y="547"/>
                  </a:lnTo>
                  <a:lnTo>
                    <a:pt x="161" y="542"/>
                  </a:lnTo>
                  <a:lnTo>
                    <a:pt x="161" y="537"/>
                  </a:lnTo>
                  <a:lnTo>
                    <a:pt x="166" y="529"/>
                  </a:lnTo>
                  <a:lnTo>
                    <a:pt x="166" y="529"/>
                  </a:lnTo>
                  <a:lnTo>
                    <a:pt x="171" y="529"/>
                  </a:lnTo>
                  <a:lnTo>
                    <a:pt x="171" y="529"/>
                  </a:lnTo>
                  <a:lnTo>
                    <a:pt x="171" y="527"/>
                  </a:lnTo>
                  <a:lnTo>
                    <a:pt x="174" y="524"/>
                  </a:lnTo>
                  <a:lnTo>
                    <a:pt x="176" y="522"/>
                  </a:lnTo>
                  <a:lnTo>
                    <a:pt x="184" y="524"/>
                  </a:lnTo>
                  <a:lnTo>
                    <a:pt x="186" y="524"/>
                  </a:lnTo>
                  <a:lnTo>
                    <a:pt x="186" y="522"/>
                  </a:lnTo>
                  <a:lnTo>
                    <a:pt x="186" y="519"/>
                  </a:lnTo>
                  <a:lnTo>
                    <a:pt x="184" y="519"/>
                  </a:lnTo>
                  <a:lnTo>
                    <a:pt x="184" y="517"/>
                  </a:lnTo>
                  <a:lnTo>
                    <a:pt x="186" y="512"/>
                  </a:lnTo>
                  <a:lnTo>
                    <a:pt x="186" y="509"/>
                  </a:lnTo>
                  <a:lnTo>
                    <a:pt x="186" y="507"/>
                  </a:lnTo>
                  <a:lnTo>
                    <a:pt x="186" y="504"/>
                  </a:lnTo>
                  <a:lnTo>
                    <a:pt x="186" y="501"/>
                  </a:lnTo>
                  <a:lnTo>
                    <a:pt x="181" y="496"/>
                  </a:lnTo>
                  <a:lnTo>
                    <a:pt x="181" y="494"/>
                  </a:lnTo>
                  <a:lnTo>
                    <a:pt x="181" y="491"/>
                  </a:lnTo>
                  <a:lnTo>
                    <a:pt x="181" y="491"/>
                  </a:lnTo>
                  <a:lnTo>
                    <a:pt x="184" y="486"/>
                  </a:lnTo>
                  <a:lnTo>
                    <a:pt x="186" y="484"/>
                  </a:lnTo>
                  <a:lnTo>
                    <a:pt x="189" y="481"/>
                  </a:lnTo>
                  <a:lnTo>
                    <a:pt x="191" y="481"/>
                  </a:lnTo>
                  <a:lnTo>
                    <a:pt x="194" y="479"/>
                  </a:lnTo>
                  <a:lnTo>
                    <a:pt x="194" y="479"/>
                  </a:lnTo>
                  <a:lnTo>
                    <a:pt x="191" y="479"/>
                  </a:lnTo>
                  <a:lnTo>
                    <a:pt x="191" y="479"/>
                  </a:lnTo>
                  <a:lnTo>
                    <a:pt x="186" y="476"/>
                  </a:lnTo>
                  <a:lnTo>
                    <a:pt x="179" y="473"/>
                  </a:lnTo>
                  <a:lnTo>
                    <a:pt x="179" y="471"/>
                  </a:lnTo>
                  <a:lnTo>
                    <a:pt x="181" y="471"/>
                  </a:lnTo>
                  <a:lnTo>
                    <a:pt x="184" y="468"/>
                  </a:lnTo>
                  <a:lnTo>
                    <a:pt x="186" y="468"/>
                  </a:lnTo>
                  <a:lnTo>
                    <a:pt x="191" y="468"/>
                  </a:lnTo>
                  <a:lnTo>
                    <a:pt x="191" y="471"/>
                  </a:lnTo>
                  <a:lnTo>
                    <a:pt x="194" y="473"/>
                  </a:lnTo>
                  <a:lnTo>
                    <a:pt x="197" y="476"/>
                  </a:lnTo>
                  <a:lnTo>
                    <a:pt x="199" y="476"/>
                  </a:lnTo>
                  <a:lnTo>
                    <a:pt x="204" y="473"/>
                  </a:lnTo>
                  <a:lnTo>
                    <a:pt x="204" y="473"/>
                  </a:lnTo>
                  <a:lnTo>
                    <a:pt x="204" y="473"/>
                  </a:lnTo>
                  <a:lnTo>
                    <a:pt x="204" y="468"/>
                  </a:lnTo>
                  <a:lnTo>
                    <a:pt x="202" y="466"/>
                  </a:lnTo>
                  <a:lnTo>
                    <a:pt x="202" y="463"/>
                  </a:lnTo>
                  <a:lnTo>
                    <a:pt x="199" y="461"/>
                  </a:lnTo>
                  <a:lnTo>
                    <a:pt x="199" y="461"/>
                  </a:lnTo>
                  <a:lnTo>
                    <a:pt x="197" y="461"/>
                  </a:lnTo>
                  <a:lnTo>
                    <a:pt x="194" y="461"/>
                  </a:lnTo>
                  <a:lnTo>
                    <a:pt x="191" y="461"/>
                  </a:lnTo>
                  <a:lnTo>
                    <a:pt x="189" y="461"/>
                  </a:lnTo>
                  <a:lnTo>
                    <a:pt x="189" y="463"/>
                  </a:lnTo>
                  <a:lnTo>
                    <a:pt x="194" y="463"/>
                  </a:lnTo>
                  <a:lnTo>
                    <a:pt x="194" y="466"/>
                  </a:lnTo>
                  <a:lnTo>
                    <a:pt x="194" y="466"/>
                  </a:lnTo>
                  <a:lnTo>
                    <a:pt x="191" y="466"/>
                  </a:lnTo>
                  <a:lnTo>
                    <a:pt x="186" y="466"/>
                  </a:lnTo>
                  <a:lnTo>
                    <a:pt x="184" y="466"/>
                  </a:lnTo>
                  <a:lnTo>
                    <a:pt x="184" y="466"/>
                  </a:lnTo>
                  <a:lnTo>
                    <a:pt x="184" y="463"/>
                  </a:lnTo>
                  <a:lnTo>
                    <a:pt x="184" y="463"/>
                  </a:lnTo>
                  <a:lnTo>
                    <a:pt x="184" y="463"/>
                  </a:lnTo>
                  <a:lnTo>
                    <a:pt x="184" y="463"/>
                  </a:lnTo>
                  <a:lnTo>
                    <a:pt x="181" y="461"/>
                  </a:lnTo>
                  <a:lnTo>
                    <a:pt x="176" y="461"/>
                  </a:lnTo>
                  <a:lnTo>
                    <a:pt x="174" y="458"/>
                  </a:lnTo>
                  <a:lnTo>
                    <a:pt x="171" y="456"/>
                  </a:lnTo>
                  <a:lnTo>
                    <a:pt x="171" y="451"/>
                  </a:lnTo>
                  <a:lnTo>
                    <a:pt x="171" y="448"/>
                  </a:lnTo>
                  <a:lnTo>
                    <a:pt x="166" y="440"/>
                  </a:lnTo>
                  <a:lnTo>
                    <a:pt x="163" y="438"/>
                  </a:lnTo>
                  <a:lnTo>
                    <a:pt x="163" y="433"/>
                  </a:lnTo>
                  <a:lnTo>
                    <a:pt x="163" y="433"/>
                  </a:lnTo>
                  <a:lnTo>
                    <a:pt x="163" y="430"/>
                  </a:lnTo>
                  <a:lnTo>
                    <a:pt x="166" y="428"/>
                  </a:lnTo>
                  <a:lnTo>
                    <a:pt x="166" y="430"/>
                  </a:lnTo>
                  <a:lnTo>
                    <a:pt x="169" y="430"/>
                  </a:lnTo>
                  <a:lnTo>
                    <a:pt x="169" y="430"/>
                  </a:lnTo>
                  <a:lnTo>
                    <a:pt x="169" y="430"/>
                  </a:lnTo>
                  <a:lnTo>
                    <a:pt x="171" y="433"/>
                  </a:lnTo>
                  <a:lnTo>
                    <a:pt x="176" y="433"/>
                  </a:lnTo>
                  <a:lnTo>
                    <a:pt x="181" y="435"/>
                  </a:lnTo>
                  <a:lnTo>
                    <a:pt x="189" y="438"/>
                  </a:lnTo>
                  <a:lnTo>
                    <a:pt x="191" y="438"/>
                  </a:lnTo>
                  <a:lnTo>
                    <a:pt x="199" y="438"/>
                  </a:lnTo>
                  <a:lnTo>
                    <a:pt x="204" y="438"/>
                  </a:lnTo>
                  <a:lnTo>
                    <a:pt x="207" y="435"/>
                  </a:lnTo>
                  <a:lnTo>
                    <a:pt x="214" y="433"/>
                  </a:lnTo>
                  <a:lnTo>
                    <a:pt x="214" y="430"/>
                  </a:lnTo>
                  <a:lnTo>
                    <a:pt x="214" y="428"/>
                  </a:lnTo>
                  <a:lnTo>
                    <a:pt x="209" y="423"/>
                  </a:lnTo>
                  <a:lnTo>
                    <a:pt x="209" y="420"/>
                  </a:lnTo>
                  <a:lnTo>
                    <a:pt x="209" y="417"/>
                  </a:lnTo>
                  <a:lnTo>
                    <a:pt x="207" y="412"/>
                  </a:lnTo>
                  <a:lnTo>
                    <a:pt x="209" y="412"/>
                  </a:lnTo>
                  <a:lnTo>
                    <a:pt x="209" y="412"/>
                  </a:lnTo>
                  <a:lnTo>
                    <a:pt x="212" y="410"/>
                  </a:lnTo>
                  <a:lnTo>
                    <a:pt x="209" y="405"/>
                  </a:lnTo>
                  <a:lnTo>
                    <a:pt x="209" y="402"/>
                  </a:lnTo>
                  <a:lnTo>
                    <a:pt x="209" y="402"/>
                  </a:lnTo>
                  <a:lnTo>
                    <a:pt x="207" y="400"/>
                  </a:lnTo>
                  <a:lnTo>
                    <a:pt x="209" y="400"/>
                  </a:lnTo>
                  <a:lnTo>
                    <a:pt x="207" y="400"/>
                  </a:lnTo>
                  <a:lnTo>
                    <a:pt x="204" y="397"/>
                  </a:lnTo>
                  <a:lnTo>
                    <a:pt x="204" y="397"/>
                  </a:lnTo>
                  <a:lnTo>
                    <a:pt x="202" y="395"/>
                  </a:lnTo>
                  <a:lnTo>
                    <a:pt x="202" y="392"/>
                  </a:lnTo>
                  <a:lnTo>
                    <a:pt x="199" y="387"/>
                  </a:lnTo>
                  <a:lnTo>
                    <a:pt x="199" y="387"/>
                  </a:lnTo>
                  <a:lnTo>
                    <a:pt x="202" y="387"/>
                  </a:lnTo>
                  <a:lnTo>
                    <a:pt x="207" y="390"/>
                  </a:lnTo>
                  <a:lnTo>
                    <a:pt x="209" y="390"/>
                  </a:lnTo>
                  <a:lnTo>
                    <a:pt x="214" y="392"/>
                  </a:lnTo>
                  <a:lnTo>
                    <a:pt x="219" y="392"/>
                  </a:lnTo>
                  <a:lnTo>
                    <a:pt x="225" y="392"/>
                  </a:lnTo>
                  <a:lnTo>
                    <a:pt x="227" y="392"/>
                  </a:lnTo>
                  <a:lnTo>
                    <a:pt x="248" y="387"/>
                  </a:lnTo>
                  <a:lnTo>
                    <a:pt x="250" y="387"/>
                  </a:lnTo>
                  <a:lnTo>
                    <a:pt x="260" y="384"/>
                  </a:lnTo>
                  <a:lnTo>
                    <a:pt x="276" y="379"/>
                  </a:lnTo>
                  <a:lnTo>
                    <a:pt x="283" y="372"/>
                  </a:lnTo>
                  <a:lnTo>
                    <a:pt x="286" y="372"/>
                  </a:lnTo>
                  <a:lnTo>
                    <a:pt x="286" y="367"/>
                  </a:lnTo>
                  <a:lnTo>
                    <a:pt x="286" y="362"/>
                  </a:lnTo>
                  <a:lnTo>
                    <a:pt x="291" y="356"/>
                  </a:lnTo>
                  <a:lnTo>
                    <a:pt x="293" y="344"/>
                  </a:lnTo>
                  <a:lnTo>
                    <a:pt x="293" y="341"/>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418" name="Freeform 2039">
              <a:extLst>
                <a:ext uri="{FF2B5EF4-FFF2-40B4-BE49-F238E27FC236}">
                  <a16:creationId xmlns:a16="http://schemas.microsoft.com/office/drawing/2014/main" id="{574E63F4-EEC5-E04A-A02A-F8CD6A3A91F2}"/>
                </a:ext>
              </a:extLst>
            </p:cNvPr>
            <p:cNvSpPr>
              <a:spLocks noEditPoints="1"/>
            </p:cNvSpPr>
            <p:nvPr/>
          </p:nvSpPr>
          <p:spPr bwMode="auto">
            <a:xfrm>
              <a:off x="3603186" y="3143564"/>
              <a:ext cx="8179" cy="24537"/>
            </a:xfrm>
            <a:custGeom>
              <a:avLst/>
              <a:gdLst>
                <a:gd name="T0" fmla="*/ 3 w 5"/>
                <a:gd name="T1" fmla="*/ 13 h 15"/>
                <a:gd name="T2" fmla="*/ 3 w 5"/>
                <a:gd name="T3" fmla="*/ 13 h 15"/>
                <a:gd name="T4" fmla="*/ 0 w 5"/>
                <a:gd name="T5" fmla="*/ 13 h 15"/>
                <a:gd name="T6" fmla="*/ 0 w 5"/>
                <a:gd name="T7" fmla="*/ 15 h 15"/>
                <a:gd name="T8" fmla="*/ 0 w 5"/>
                <a:gd name="T9" fmla="*/ 15 h 15"/>
                <a:gd name="T10" fmla="*/ 3 w 5"/>
                <a:gd name="T11" fmla="*/ 15 h 15"/>
                <a:gd name="T12" fmla="*/ 5 w 5"/>
                <a:gd name="T13" fmla="*/ 15 h 15"/>
                <a:gd name="T14" fmla="*/ 5 w 5"/>
                <a:gd name="T15" fmla="*/ 15 h 15"/>
                <a:gd name="T16" fmla="*/ 5 w 5"/>
                <a:gd name="T17" fmla="*/ 15 h 15"/>
                <a:gd name="T18" fmla="*/ 5 w 5"/>
                <a:gd name="T19" fmla="*/ 13 h 15"/>
                <a:gd name="T20" fmla="*/ 5 w 5"/>
                <a:gd name="T21" fmla="*/ 13 h 15"/>
                <a:gd name="T22" fmla="*/ 3 w 5"/>
                <a:gd name="T23" fmla="*/ 13 h 15"/>
                <a:gd name="T24" fmla="*/ 5 w 5"/>
                <a:gd name="T25" fmla="*/ 3 h 15"/>
                <a:gd name="T26" fmla="*/ 5 w 5"/>
                <a:gd name="T27" fmla="*/ 3 h 15"/>
                <a:gd name="T28" fmla="*/ 5 w 5"/>
                <a:gd name="T29" fmla="*/ 0 h 15"/>
                <a:gd name="T30" fmla="*/ 5 w 5"/>
                <a:gd name="T31" fmla="*/ 0 h 15"/>
                <a:gd name="T32" fmla="*/ 3 w 5"/>
                <a:gd name="T33" fmla="*/ 0 h 15"/>
                <a:gd name="T34" fmla="*/ 3 w 5"/>
                <a:gd name="T35" fmla="*/ 0 h 15"/>
                <a:gd name="T36" fmla="*/ 3 w 5"/>
                <a:gd name="T37" fmla="*/ 0 h 15"/>
                <a:gd name="T38" fmla="*/ 3 w 5"/>
                <a:gd name="T39" fmla="*/ 0 h 15"/>
                <a:gd name="T40" fmla="*/ 3 w 5"/>
                <a:gd name="T41" fmla="*/ 3 h 15"/>
                <a:gd name="T42" fmla="*/ 5 w 5"/>
                <a:gd name="T43" fmla="*/ 3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 h="15">
                  <a:moveTo>
                    <a:pt x="3" y="13"/>
                  </a:moveTo>
                  <a:lnTo>
                    <a:pt x="3" y="13"/>
                  </a:lnTo>
                  <a:lnTo>
                    <a:pt x="0" y="13"/>
                  </a:lnTo>
                  <a:lnTo>
                    <a:pt x="0" y="15"/>
                  </a:lnTo>
                  <a:lnTo>
                    <a:pt x="0" y="15"/>
                  </a:lnTo>
                  <a:lnTo>
                    <a:pt x="3" y="15"/>
                  </a:lnTo>
                  <a:lnTo>
                    <a:pt x="5" y="15"/>
                  </a:lnTo>
                  <a:lnTo>
                    <a:pt x="5" y="15"/>
                  </a:lnTo>
                  <a:lnTo>
                    <a:pt x="5" y="15"/>
                  </a:lnTo>
                  <a:lnTo>
                    <a:pt x="5" y="13"/>
                  </a:lnTo>
                  <a:lnTo>
                    <a:pt x="5" y="13"/>
                  </a:lnTo>
                  <a:lnTo>
                    <a:pt x="3" y="13"/>
                  </a:lnTo>
                  <a:close/>
                  <a:moveTo>
                    <a:pt x="5" y="3"/>
                  </a:moveTo>
                  <a:lnTo>
                    <a:pt x="5" y="3"/>
                  </a:lnTo>
                  <a:lnTo>
                    <a:pt x="5" y="0"/>
                  </a:lnTo>
                  <a:lnTo>
                    <a:pt x="5" y="0"/>
                  </a:lnTo>
                  <a:lnTo>
                    <a:pt x="3" y="0"/>
                  </a:lnTo>
                  <a:lnTo>
                    <a:pt x="3" y="0"/>
                  </a:lnTo>
                  <a:lnTo>
                    <a:pt x="3" y="0"/>
                  </a:lnTo>
                  <a:lnTo>
                    <a:pt x="3" y="0"/>
                  </a:lnTo>
                  <a:lnTo>
                    <a:pt x="3" y="3"/>
                  </a:lnTo>
                  <a:lnTo>
                    <a:pt x="5" y="3"/>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419" name="Freeform 2040">
              <a:extLst>
                <a:ext uri="{FF2B5EF4-FFF2-40B4-BE49-F238E27FC236}">
                  <a16:creationId xmlns:a16="http://schemas.microsoft.com/office/drawing/2014/main" id="{1FE35904-9557-6A4D-90FF-C18D59D6935B}"/>
                </a:ext>
              </a:extLst>
            </p:cNvPr>
            <p:cNvSpPr>
              <a:spLocks/>
            </p:cNvSpPr>
            <p:nvPr/>
          </p:nvSpPr>
          <p:spPr bwMode="auto">
            <a:xfrm>
              <a:off x="3565565" y="3122299"/>
              <a:ext cx="8179" cy="4908"/>
            </a:xfrm>
            <a:custGeom>
              <a:avLst/>
              <a:gdLst>
                <a:gd name="T0" fmla="*/ 3 w 5"/>
                <a:gd name="T1" fmla="*/ 0 h 3"/>
                <a:gd name="T2" fmla="*/ 0 w 5"/>
                <a:gd name="T3" fmla="*/ 3 h 3"/>
                <a:gd name="T4" fmla="*/ 0 w 5"/>
                <a:gd name="T5" fmla="*/ 3 h 3"/>
                <a:gd name="T6" fmla="*/ 5 w 5"/>
                <a:gd name="T7" fmla="*/ 0 h 3"/>
                <a:gd name="T8" fmla="*/ 5 w 5"/>
                <a:gd name="T9" fmla="*/ 0 h 3"/>
                <a:gd name="T10" fmla="*/ 3 w 5"/>
                <a:gd name="T11" fmla="*/ 0 h 3"/>
              </a:gdLst>
              <a:ahLst/>
              <a:cxnLst>
                <a:cxn ang="0">
                  <a:pos x="T0" y="T1"/>
                </a:cxn>
                <a:cxn ang="0">
                  <a:pos x="T2" y="T3"/>
                </a:cxn>
                <a:cxn ang="0">
                  <a:pos x="T4" y="T5"/>
                </a:cxn>
                <a:cxn ang="0">
                  <a:pos x="T6" y="T7"/>
                </a:cxn>
                <a:cxn ang="0">
                  <a:pos x="T8" y="T9"/>
                </a:cxn>
                <a:cxn ang="0">
                  <a:pos x="T10" y="T11"/>
                </a:cxn>
              </a:cxnLst>
              <a:rect l="0" t="0" r="r" b="b"/>
              <a:pathLst>
                <a:path w="5" h="3">
                  <a:moveTo>
                    <a:pt x="3" y="0"/>
                  </a:moveTo>
                  <a:lnTo>
                    <a:pt x="0" y="3"/>
                  </a:lnTo>
                  <a:lnTo>
                    <a:pt x="0" y="3"/>
                  </a:lnTo>
                  <a:lnTo>
                    <a:pt x="5" y="0"/>
                  </a:lnTo>
                  <a:lnTo>
                    <a:pt x="5" y="0"/>
                  </a:lnTo>
                  <a:lnTo>
                    <a:pt x="3"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420" name="Freeform 2042">
              <a:extLst>
                <a:ext uri="{FF2B5EF4-FFF2-40B4-BE49-F238E27FC236}">
                  <a16:creationId xmlns:a16="http://schemas.microsoft.com/office/drawing/2014/main" id="{38FECB86-20DF-2547-9DD8-0A22619FACD6}"/>
                </a:ext>
              </a:extLst>
            </p:cNvPr>
            <p:cNvSpPr>
              <a:spLocks noEditPoints="1"/>
            </p:cNvSpPr>
            <p:nvPr/>
          </p:nvSpPr>
          <p:spPr bwMode="auto">
            <a:xfrm>
              <a:off x="5996269" y="3967975"/>
              <a:ext cx="400756" cy="503807"/>
            </a:xfrm>
            <a:custGeom>
              <a:avLst/>
              <a:gdLst>
                <a:gd name="T0" fmla="*/ 242 w 245"/>
                <a:gd name="T1" fmla="*/ 145 h 308"/>
                <a:gd name="T2" fmla="*/ 234 w 245"/>
                <a:gd name="T3" fmla="*/ 147 h 308"/>
                <a:gd name="T4" fmla="*/ 214 w 245"/>
                <a:gd name="T5" fmla="*/ 150 h 308"/>
                <a:gd name="T6" fmla="*/ 209 w 245"/>
                <a:gd name="T7" fmla="*/ 150 h 308"/>
                <a:gd name="T8" fmla="*/ 209 w 245"/>
                <a:gd name="T9" fmla="*/ 137 h 308"/>
                <a:gd name="T10" fmla="*/ 204 w 245"/>
                <a:gd name="T11" fmla="*/ 119 h 308"/>
                <a:gd name="T12" fmla="*/ 201 w 245"/>
                <a:gd name="T13" fmla="*/ 89 h 308"/>
                <a:gd name="T14" fmla="*/ 201 w 245"/>
                <a:gd name="T15" fmla="*/ 63 h 308"/>
                <a:gd name="T16" fmla="*/ 176 w 245"/>
                <a:gd name="T17" fmla="*/ 63 h 308"/>
                <a:gd name="T18" fmla="*/ 168 w 245"/>
                <a:gd name="T19" fmla="*/ 56 h 308"/>
                <a:gd name="T20" fmla="*/ 153 w 245"/>
                <a:gd name="T21" fmla="*/ 66 h 308"/>
                <a:gd name="T22" fmla="*/ 148 w 245"/>
                <a:gd name="T23" fmla="*/ 79 h 308"/>
                <a:gd name="T24" fmla="*/ 130 w 245"/>
                <a:gd name="T25" fmla="*/ 79 h 308"/>
                <a:gd name="T26" fmla="*/ 117 w 245"/>
                <a:gd name="T27" fmla="*/ 81 h 308"/>
                <a:gd name="T28" fmla="*/ 107 w 245"/>
                <a:gd name="T29" fmla="*/ 66 h 308"/>
                <a:gd name="T30" fmla="*/ 99 w 245"/>
                <a:gd name="T31" fmla="*/ 51 h 308"/>
                <a:gd name="T32" fmla="*/ 97 w 245"/>
                <a:gd name="T33" fmla="*/ 38 h 308"/>
                <a:gd name="T34" fmla="*/ 87 w 245"/>
                <a:gd name="T35" fmla="*/ 30 h 308"/>
                <a:gd name="T36" fmla="*/ 51 w 245"/>
                <a:gd name="T37" fmla="*/ 33 h 308"/>
                <a:gd name="T38" fmla="*/ 31 w 245"/>
                <a:gd name="T39" fmla="*/ 30 h 308"/>
                <a:gd name="T40" fmla="*/ 20 w 245"/>
                <a:gd name="T41" fmla="*/ 35 h 308"/>
                <a:gd name="T42" fmla="*/ 13 w 245"/>
                <a:gd name="T43" fmla="*/ 43 h 308"/>
                <a:gd name="T44" fmla="*/ 31 w 245"/>
                <a:gd name="T45" fmla="*/ 91 h 308"/>
                <a:gd name="T46" fmla="*/ 25 w 245"/>
                <a:gd name="T47" fmla="*/ 102 h 308"/>
                <a:gd name="T48" fmla="*/ 28 w 245"/>
                <a:gd name="T49" fmla="*/ 112 h 308"/>
                <a:gd name="T50" fmla="*/ 36 w 245"/>
                <a:gd name="T51" fmla="*/ 135 h 308"/>
                <a:gd name="T52" fmla="*/ 41 w 245"/>
                <a:gd name="T53" fmla="*/ 160 h 308"/>
                <a:gd name="T54" fmla="*/ 23 w 245"/>
                <a:gd name="T55" fmla="*/ 188 h 308"/>
                <a:gd name="T56" fmla="*/ 5 w 245"/>
                <a:gd name="T57" fmla="*/ 244 h 308"/>
                <a:gd name="T58" fmla="*/ 0 w 245"/>
                <a:gd name="T59" fmla="*/ 259 h 308"/>
                <a:gd name="T60" fmla="*/ 2 w 245"/>
                <a:gd name="T61" fmla="*/ 290 h 308"/>
                <a:gd name="T62" fmla="*/ 15 w 245"/>
                <a:gd name="T63" fmla="*/ 290 h 308"/>
                <a:gd name="T64" fmla="*/ 28 w 245"/>
                <a:gd name="T65" fmla="*/ 285 h 308"/>
                <a:gd name="T66" fmla="*/ 38 w 245"/>
                <a:gd name="T67" fmla="*/ 290 h 308"/>
                <a:gd name="T68" fmla="*/ 51 w 245"/>
                <a:gd name="T69" fmla="*/ 292 h 308"/>
                <a:gd name="T70" fmla="*/ 110 w 245"/>
                <a:gd name="T71" fmla="*/ 292 h 308"/>
                <a:gd name="T72" fmla="*/ 132 w 245"/>
                <a:gd name="T73" fmla="*/ 295 h 308"/>
                <a:gd name="T74" fmla="*/ 145 w 245"/>
                <a:gd name="T75" fmla="*/ 303 h 308"/>
                <a:gd name="T76" fmla="*/ 171 w 245"/>
                <a:gd name="T77" fmla="*/ 305 h 308"/>
                <a:gd name="T78" fmla="*/ 189 w 245"/>
                <a:gd name="T79" fmla="*/ 305 h 308"/>
                <a:gd name="T80" fmla="*/ 214 w 245"/>
                <a:gd name="T81" fmla="*/ 303 h 308"/>
                <a:gd name="T82" fmla="*/ 214 w 245"/>
                <a:gd name="T83" fmla="*/ 282 h 308"/>
                <a:gd name="T84" fmla="*/ 201 w 245"/>
                <a:gd name="T85" fmla="*/ 259 h 308"/>
                <a:gd name="T86" fmla="*/ 204 w 245"/>
                <a:gd name="T87" fmla="*/ 219 h 308"/>
                <a:gd name="T88" fmla="*/ 242 w 245"/>
                <a:gd name="T89" fmla="*/ 193 h 308"/>
                <a:gd name="T90" fmla="*/ 242 w 245"/>
                <a:gd name="T91" fmla="*/ 183 h 308"/>
                <a:gd name="T92" fmla="*/ 245 w 245"/>
                <a:gd name="T93" fmla="*/ 165 h 308"/>
                <a:gd name="T94" fmla="*/ 245 w 245"/>
                <a:gd name="T95" fmla="*/ 158 h 308"/>
                <a:gd name="T96" fmla="*/ 8 w 245"/>
                <a:gd name="T97" fmla="*/ 28 h 308"/>
                <a:gd name="T98" fmla="*/ 15 w 245"/>
                <a:gd name="T99" fmla="*/ 20 h 308"/>
                <a:gd name="T100" fmla="*/ 15 w 245"/>
                <a:gd name="T101" fmla="*/ 13 h 308"/>
                <a:gd name="T102" fmla="*/ 25 w 245"/>
                <a:gd name="T103" fmla="*/ 2 h 308"/>
                <a:gd name="T104" fmla="*/ 18 w 245"/>
                <a:gd name="T105" fmla="*/ 0 h 308"/>
                <a:gd name="T106" fmla="*/ 10 w 245"/>
                <a:gd name="T107" fmla="*/ 7 h 308"/>
                <a:gd name="T108" fmla="*/ 5 w 245"/>
                <a:gd name="T109" fmla="*/ 15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45" h="308">
                  <a:moveTo>
                    <a:pt x="245" y="158"/>
                  </a:moveTo>
                  <a:lnTo>
                    <a:pt x="245" y="155"/>
                  </a:lnTo>
                  <a:lnTo>
                    <a:pt x="245" y="152"/>
                  </a:lnTo>
                  <a:lnTo>
                    <a:pt x="245" y="147"/>
                  </a:lnTo>
                  <a:lnTo>
                    <a:pt x="242" y="145"/>
                  </a:lnTo>
                  <a:lnTo>
                    <a:pt x="242" y="145"/>
                  </a:lnTo>
                  <a:lnTo>
                    <a:pt x="242" y="147"/>
                  </a:lnTo>
                  <a:lnTo>
                    <a:pt x="242" y="147"/>
                  </a:lnTo>
                  <a:lnTo>
                    <a:pt x="240" y="147"/>
                  </a:lnTo>
                  <a:lnTo>
                    <a:pt x="237" y="147"/>
                  </a:lnTo>
                  <a:lnTo>
                    <a:pt x="234" y="147"/>
                  </a:lnTo>
                  <a:lnTo>
                    <a:pt x="234" y="147"/>
                  </a:lnTo>
                  <a:lnTo>
                    <a:pt x="232" y="147"/>
                  </a:lnTo>
                  <a:lnTo>
                    <a:pt x="227" y="150"/>
                  </a:lnTo>
                  <a:lnTo>
                    <a:pt x="224" y="150"/>
                  </a:lnTo>
                  <a:lnTo>
                    <a:pt x="219" y="150"/>
                  </a:lnTo>
                  <a:lnTo>
                    <a:pt x="217" y="150"/>
                  </a:lnTo>
                  <a:lnTo>
                    <a:pt x="214" y="150"/>
                  </a:lnTo>
                  <a:lnTo>
                    <a:pt x="214" y="150"/>
                  </a:lnTo>
                  <a:lnTo>
                    <a:pt x="211" y="152"/>
                  </a:lnTo>
                  <a:lnTo>
                    <a:pt x="209" y="152"/>
                  </a:lnTo>
                  <a:lnTo>
                    <a:pt x="209" y="152"/>
                  </a:lnTo>
                  <a:lnTo>
                    <a:pt x="209" y="152"/>
                  </a:lnTo>
                  <a:lnTo>
                    <a:pt x="209" y="150"/>
                  </a:lnTo>
                  <a:lnTo>
                    <a:pt x="209" y="147"/>
                  </a:lnTo>
                  <a:lnTo>
                    <a:pt x="206" y="145"/>
                  </a:lnTo>
                  <a:lnTo>
                    <a:pt x="209" y="145"/>
                  </a:lnTo>
                  <a:lnTo>
                    <a:pt x="209" y="142"/>
                  </a:lnTo>
                  <a:lnTo>
                    <a:pt x="209" y="140"/>
                  </a:lnTo>
                  <a:lnTo>
                    <a:pt x="209" y="137"/>
                  </a:lnTo>
                  <a:lnTo>
                    <a:pt x="209" y="135"/>
                  </a:lnTo>
                  <a:lnTo>
                    <a:pt x="209" y="135"/>
                  </a:lnTo>
                  <a:lnTo>
                    <a:pt x="209" y="132"/>
                  </a:lnTo>
                  <a:lnTo>
                    <a:pt x="209" y="127"/>
                  </a:lnTo>
                  <a:lnTo>
                    <a:pt x="206" y="122"/>
                  </a:lnTo>
                  <a:lnTo>
                    <a:pt x="204" y="119"/>
                  </a:lnTo>
                  <a:lnTo>
                    <a:pt x="201" y="117"/>
                  </a:lnTo>
                  <a:lnTo>
                    <a:pt x="201" y="114"/>
                  </a:lnTo>
                  <a:lnTo>
                    <a:pt x="201" y="107"/>
                  </a:lnTo>
                  <a:lnTo>
                    <a:pt x="201" y="102"/>
                  </a:lnTo>
                  <a:lnTo>
                    <a:pt x="201" y="96"/>
                  </a:lnTo>
                  <a:lnTo>
                    <a:pt x="201" y="89"/>
                  </a:lnTo>
                  <a:lnTo>
                    <a:pt x="201" y="81"/>
                  </a:lnTo>
                  <a:lnTo>
                    <a:pt x="201" y="76"/>
                  </a:lnTo>
                  <a:lnTo>
                    <a:pt x="201" y="71"/>
                  </a:lnTo>
                  <a:lnTo>
                    <a:pt x="201" y="66"/>
                  </a:lnTo>
                  <a:lnTo>
                    <a:pt x="201" y="63"/>
                  </a:lnTo>
                  <a:lnTo>
                    <a:pt x="201" y="63"/>
                  </a:lnTo>
                  <a:lnTo>
                    <a:pt x="199" y="63"/>
                  </a:lnTo>
                  <a:lnTo>
                    <a:pt x="194" y="63"/>
                  </a:lnTo>
                  <a:lnTo>
                    <a:pt x="189" y="63"/>
                  </a:lnTo>
                  <a:lnTo>
                    <a:pt x="183" y="63"/>
                  </a:lnTo>
                  <a:lnTo>
                    <a:pt x="176" y="63"/>
                  </a:lnTo>
                  <a:lnTo>
                    <a:pt x="176" y="63"/>
                  </a:lnTo>
                  <a:lnTo>
                    <a:pt x="176" y="61"/>
                  </a:lnTo>
                  <a:lnTo>
                    <a:pt x="176" y="61"/>
                  </a:lnTo>
                  <a:lnTo>
                    <a:pt x="176" y="56"/>
                  </a:lnTo>
                  <a:lnTo>
                    <a:pt x="176" y="56"/>
                  </a:lnTo>
                  <a:lnTo>
                    <a:pt x="173" y="56"/>
                  </a:lnTo>
                  <a:lnTo>
                    <a:pt x="168" y="56"/>
                  </a:lnTo>
                  <a:lnTo>
                    <a:pt x="166" y="56"/>
                  </a:lnTo>
                  <a:lnTo>
                    <a:pt x="163" y="56"/>
                  </a:lnTo>
                  <a:lnTo>
                    <a:pt x="158" y="58"/>
                  </a:lnTo>
                  <a:lnTo>
                    <a:pt x="155" y="61"/>
                  </a:lnTo>
                  <a:lnTo>
                    <a:pt x="153" y="63"/>
                  </a:lnTo>
                  <a:lnTo>
                    <a:pt x="153" y="66"/>
                  </a:lnTo>
                  <a:lnTo>
                    <a:pt x="153" y="68"/>
                  </a:lnTo>
                  <a:lnTo>
                    <a:pt x="153" y="71"/>
                  </a:lnTo>
                  <a:lnTo>
                    <a:pt x="153" y="71"/>
                  </a:lnTo>
                  <a:lnTo>
                    <a:pt x="153" y="74"/>
                  </a:lnTo>
                  <a:lnTo>
                    <a:pt x="150" y="79"/>
                  </a:lnTo>
                  <a:lnTo>
                    <a:pt x="148" y="79"/>
                  </a:lnTo>
                  <a:lnTo>
                    <a:pt x="143" y="79"/>
                  </a:lnTo>
                  <a:lnTo>
                    <a:pt x="143" y="79"/>
                  </a:lnTo>
                  <a:lnTo>
                    <a:pt x="138" y="79"/>
                  </a:lnTo>
                  <a:lnTo>
                    <a:pt x="135" y="79"/>
                  </a:lnTo>
                  <a:lnTo>
                    <a:pt x="135" y="79"/>
                  </a:lnTo>
                  <a:lnTo>
                    <a:pt x="130" y="79"/>
                  </a:lnTo>
                  <a:lnTo>
                    <a:pt x="127" y="81"/>
                  </a:lnTo>
                  <a:lnTo>
                    <a:pt x="125" y="81"/>
                  </a:lnTo>
                  <a:lnTo>
                    <a:pt x="125" y="81"/>
                  </a:lnTo>
                  <a:lnTo>
                    <a:pt x="122" y="81"/>
                  </a:lnTo>
                  <a:lnTo>
                    <a:pt x="120" y="81"/>
                  </a:lnTo>
                  <a:lnTo>
                    <a:pt x="117" y="81"/>
                  </a:lnTo>
                  <a:lnTo>
                    <a:pt x="115" y="81"/>
                  </a:lnTo>
                  <a:lnTo>
                    <a:pt x="115" y="81"/>
                  </a:lnTo>
                  <a:lnTo>
                    <a:pt x="112" y="76"/>
                  </a:lnTo>
                  <a:lnTo>
                    <a:pt x="110" y="71"/>
                  </a:lnTo>
                  <a:lnTo>
                    <a:pt x="107" y="68"/>
                  </a:lnTo>
                  <a:lnTo>
                    <a:pt x="107" y="66"/>
                  </a:lnTo>
                  <a:lnTo>
                    <a:pt x="104" y="66"/>
                  </a:lnTo>
                  <a:lnTo>
                    <a:pt x="104" y="63"/>
                  </a:lnTo>
                  <a:lnTo>
                    <a:pt x="104" y="61"/>
                  </a:lnTo>
                  <a:lnTo>
                    <a:pt x="104" y="58"/>
                  </a:lnTo>
                  <a:lnTo>
                    <a:pt x="102" y="56"/>
                  </a:lnTo>
                  <a:lnTo>
                    <a:pt x="99" y="51"/>
                  </a:lnTo>
                  <a:lnTo>
                    <a:pt x="99" y="48"/>
                  </a:lnTo>
                  <a:lnTo>
                    <a:pt x="99" y="46"/>
                  </a:lnTo>
                  <a:lnTo>
                    <a:pt x="99" y="43"/>
                  </a:lnTo>
                  <a:lnTo>
                    <a:pt x="99" y="40"/>
                  </a:lnTo>
                  <a:lnTo>
                    <a:pt x="99" y="38"/>
                  </a:lnTo>
                  <a:lnTo>
                    <a:pt x="97" y="38"/>
                  </a:lnTo>
                  <a:lnTo>
                    <a:pt x="97" y="35"/>
                  </a:lnTo>
                  <a:lnTo>
                    <a:pt x="97" y="35"/>
                  </a:lnTo>
                  <a:lnTo>
                    <a:pt x="94" y="33"/>
                  </a:lnTo>
                  <a:lnTo>
                    <a:pt x="92" y="33"/>
                  </a:lnTo>
                  <a:lnTo>
                    <a:pt x="92" y="30"/>
                  </a:lnTo>
                  <a:lnTo>
                    <a:pt x="87" y="30"/>
                  </a:lnTo>
                  <a:lnTo>
                    <a:pt x="79" y="30"/>
                  </a:lnTo>
                  <a:lnTo>
                    <a:pt x="74" y="30"/>
                  </a:lnTo>
                  <a:lnTo>
                    <a:pt x="66" y="30"/>
                  </a:lnTo>
                  <a:lnTo>
                    <a:pt x="59" y="33"/>
                  </a:lnTo>
                  <a:lnTo>
                    <a:pt x="59" y="33"/>
                  </a:lnTo>
                  <a:lnTo>
                    <a:pt x="51" y="33"/>
                  </a:lnTo>
                  <a:lnTo>
                    <a:pt x="48" y="30"/>
                  </a:lnTo>
                  <a:lnTo>
                    <a:pt x="46" y="30"/>
                  </a:lnTo>
                  <a:lnTo>
                    <a:pt x="43" y="30"/>
                  </a:lnTo>
                  <a:lnTo>
                    <a:pt x="38" y="30"/>
                  </a:lnTo>
                  <a:lnTo>
                    <a:pt x="38" y="30"/>
                  </a:lnTo>
                  <a:lnTo>
                    <a:pt x="31" y="30"/>
                  </a:lnTo>
                  <a:lnTo>
                    <a:pt x="31" y="30"/>
                  </a:lnTo>
                  <a:lnTo>
                    <a:pt x="31" y="33"/>
                  </a:lnTo>
                  <a:lnTo>
                    <a:pt x="28" y="30"/>
                  </a:lnTo>
                  <a:lnTo>
                    <a:pt x="25" y="30"/>
                  </a:lnTo>
                  <a:lnTo>
                    <a:pt x="25" y="33"/>
                  </a:lnTo>
                  <a:lnTo>
                    <a:pt x="20" y="35"/>
                  </a:lnTo>
                  <a:lnTo>
                    <a:pt x="15" y="35"/>
                  </a:lnTo>
                  <a:lnTo>
                    <a:pt x="13" y="35"/>
                  </a:lnTo>
                  <a:lnTo>
                    <a:pt x="10" y="35"/>
                  </a:lnTo>
                  <a:lnTo>
                    <a:pt x="10" y="38"/>
                  </a:lnTo>
                  <a:lnTo>
                    <a:pt x="10" y="38"/>
                  </a:lnTo>
                  <a:lnTo>
                    <a:pt x="13" y="43"/>
                  </a:lnTo>
                  <a:lnTo>
                    <a:pt x="15" y="48"/>
                  </a:lnTo>
                  <a:lnTo>
                    <a:pt x="20" y="56"/>
                  </a:lnTo>
                  <a:lnTo>
                    <a:pt x="20" y="63"/>
                  </a:lnTo>
                  <a:lnTo>
                    <a:pt x="25" y="74"/>
                  </a:lnTo>
                  <a:lnTo>
                    <a:pt x="31" y="89"/>
                  </a:lnTo>
                  <a:lnTo>
                    <a:pt x="31" y="91"/>
                  </a:lnTo>
                  <a:lnTo>
                    <a:pt x="31" y="91"/>
                  </a:lnTo>
                  <a:lnTo>
                    <a:pt x="31" y="94"/>
                  </a:lnTo>
                  <a:lnTo>
                    <a:pt x="31" y="96"/>
                  </a:lnTo>
                  <a:lnTo>
                    <a:pt x="25" y="102"/>
                  </a:lnTo>
                  <a:lnTo>
                    <a:pt x="25" y="102"/>
                  </a:lnTo>
                  <a:lnTo>
                    <a:pt x="25" y="102"/>
                  </a:lnTo>
                  <a:lnTo>
                    <a:pt x="25" y="99"/>
                  </a:lnTo>
                  <a:lnTo>
                    <a:pt x="25" y="102"/>
                  </a:lnTo>
                  <a:lnTo>
                    <a:pt x="23" y="102"/>
                  </a:lnTo>
                  <a:lnTo>
                    <a:pt x="23" y="104"/>
                  </a:lnTo>
                  <a:lnTo>
                    <a:pt x="25" y="107"/>
                  </a:lnTo>
                  <a:lnTo>
                    <a:pt x="28" y="112"/>
                  </a:lnTo>
                  <a:lnTo>
                    <a:pt x="28" y="114"/>
                  </a:lnTo>
                  <a:lnTo>
                    <a:pt x="28" y="119"/>
                  </a:lnTo>
                  <a:lnTo>
                    <a:pt x="31" y="122"/>
                  </a:lnTo>
                  <a:lnTo>
                    <a:pt x="31" y="124"/>
                  </a:lnTo>
                  <a:lnTo>
                    <a:pt x="33" y="132"/>
                  </a:lnTo>
                  <a:lnTo>
                    <a:pt x="36" y="135"/>
                  </a:lnTo>
                  <a:lnTo>
                    <a:pt x="36" y="137"/>
                  </a:lnTo>
                  <a:lnTo>
                    <a:pt x="38" y="140"/>
                  </a:lnTo>
                  <a:lnTo>
                    <a:pt x="38" y="142"/>
                  </a:lnTo>
                  <a:lnTo>
                    <a:pt x="41" y="147"/>
                  </a:lnTo>
                  <a:lnTo>
                    <a:pt x="41" y="150"/>
                  </a:lnTo>
                  <a:lnTo>
                    <a:pt x="41" y="160"/>
                  </a:lnTo>
                  <a:lnTo>
                    <a:pt x="41" y="165"/>
                  </a:lnTo>
                  <a:lnTo>
                    <a:pt x="38" y="173"/>
                  </a:lnTo>
                  <a:lnTo>
                    <a:pt x="36" y="178"/>
                  </a:lnTo>
                  <a:lnTo>
                    <a:pt x="33" y="183"/>
                  </a:lnTo>
                  <a:lnTo>
                    <a:pt x="28" y="186"/>
                  </a:lnTo>
                  <a:lnTo>
                    <a:pt x="23" y="188"/>
                  </a:lnTo>
                  <a:lnTo>
                    <a:pt x="23" y="193"/>
                  </a:lnTo>
                  <a:lnTo>
                    <a:pt x="15" y="203"/>
                  </a:lnTo>
                  <a:lnTo>
                    <a:pt x="13" y="211"/>
                  </a:lnTo>
                  <a:lnTo>
                    <a:pt x="13" y="216"/>
                  </a:lnTo>
                  <a:lnTo>
                    <a:pt x="10" y="231"/>
                  </a:lnTo>
                  <a:lnTo>
                    <a:pt x="5" y="244"/>
                  </a:lnTo>
                  <a:lnTo>
                    <a:pt x="5" y="252"/>
                  </a:lnTo>
                  <a:lnTo>
                    <a:pt x="2" y="254"/>
                  </a:lnTo>
                  <a:lnTo>
                    <a:pt x="2" y="254"/>
                  </a:lnTo>
                  <a:lnTo>
                    <a:pt x="0" y="257"/>
                  </a:lnTo>
                  <a:lnTo>
                    <a:pt x="0" y="257"/>
                  </a:lnTo>
                  <a:lnTo>
                    <a:pt x="0" y="259"/>
                  </a:lnTo>
                  <a:lnTo>
                    <a:pt x="0" y="262"/>
                  </a:lnTo>
                  <a:lnTo>
                    <a:pt x="0" y="272"/>
                  </a:lnTo>
                  <a:lnTo>
                    <a:pt x="0" y="277"/>
                  </a:lnTo>
                  <a:lnTo>
                    <a:pt x="0" y="282"/>
                  </a:lnTo>
                  <a:lnTo>
                    <a:pt x="0" y="290"/>
                  </a:lnTo>
                  <a:lnTo>
                    <a:pt x="2" y="290"/>
                  </a:lnTo>
                  <a:lnTo>
                    <a:pt x="5" y="287"/>
                  </a:lnTo>
                  <a:lnTo>
                    <a:pt x="5" y="287"/>
                  </a:lnTo>
                  <a:lnTo>
                    <a:pt x="8" y="290"/>
                  </a:lnTo>
                  <a:lnTo>
                    <a:pt x="10" y="290"/>
                  </a:lnTo>
                  <a:lnTo>
                    <a:pt x="10" y="290"/>
                  </a:lnTo>
                  <a:lnTo>
                    <a:pt x="15" y="290"/>
                  </a:lnTo>
                  <a:lnTo>
                    <a:pt x="18" y="287"/>
                  </a:lnTo>
                  <a:lnTo>
                    <a:pt x="20" y="287"/>
                  </a:lnTo>
                  <a:lnTo>
                    <a:pt x="20" y="285"/>
                  </a:lnTo>
                  <a:lnTo>
                    <a:pt x="23" y="285"/>
                  </a:lnTo>
                  <a:lnTo>
                    <a:pt x="25" y="285"/>
                  </a:lnTo>
                  <a:lnTo>
                    <a:pt x="28" y="285"/>
                  </a:lnTo>
                  <a:lnTo>
                    <a:pt x="28" y="285"/>
                  </a:lnTo>
                  <a:lnTo>
                    <a:pt x="31" y="285"/>
                  </a:lnTo>
                  <a:lnTo>
                    <a:pt x="33" y="285"/>
                  </a:lnTo>
                  <a:lnTo>
                    <a:pt x="36" y="287"/>
                  </a:lnTo>
                  <a:lnTo>
                    <a:pt x="38" y="290"/>
                  </a:lnTo>
                  <a:lnTo>
                    <a:pt x="38" y="290"/>
                  </a:lnTo>
                  <a:lnTo>
                    <a:pt x="41" y="292"/>
                  </a:lnTo>
                  <a:lnTo>
                    <a:pt x="43" y="292"/>
                  </a:lnTo>
                  <a:lnTo>
                    <a:pt x="43" y="292"/>
                  </a:lnTo>
                  <a:lnTo>
                    <a:pt x="43" y="292"/>
                  </a:lnTo>
                  <a:lnTo>
                    <a:pt x="48" y="292"/>
                  </a:lnTo>
                  <a:lnTo>
                    <a:pt x="51" y="292"/>
                  </a:lnTo>
                  <a:lnTo>
                    <a:pt x="56" y="292"/>
                  </a:lnTo>
                  <a:lnTo>
                    <a:pt x="71" y="292"/>
                  </a:lnTo>
                  <a:lnTo>
                    <a:pt x="79" y="292"/>
                  </a:lnTo>
                  <a:lnTo>
                    <a:pt x="87" y="292"/>
                  </a:lnTo>
                  <a:lnTo>
                    <a:pt x="102" y="292"/>
                  </a:lnTo>
                  <a:lnTo>
                    <a:pt x="110" y="292"/>
                  </a:lnTo>
                  <a:lnTo>
                    <a:pt x="117" y="292"/>
                  </a:lnTo>
                  <a:lnTo>
                    <a:pt x="120" y="292"/>
                  </a:lnTo>
                  <a:lnTo>
                    <a:pt x="125" y="292"/>
                  </a:lnTo>
                  <a:lnTo>
                    <a:pt x="130" y="292"/>
                  </a:lnTo>
                  <a:lnTo>
                    <a:pt x="132" y="292"/>
                  </a:lnTo>
                  <a:lnTo>
                    <a:pt x="132" y="295"/>
                  </a:lnTo>
                  <a:lnTo>
                    <a:pt x="132" y="295"/>
                  </a:lnTo>
                  <a:lnTo>
                    <a:pt x="135" y="297"/>
                  </a:lnTo>
                  <a:lnTo>
                    <a:pt x="138" y="300"/>
                  </a:lnTo>
                  <a:lnTo>
                    <a:pt x="140" y="303"/>
                  </a:lnTo>
                  <a:lnTo>
                    <a:pt x="143" y="303"/>
                  </a:lnTo>
                  <a:lnTo>
                    <a:pt x="145" y="303"/>
                  </a:lnTo>
                  <a:lnTo>
                    <a:pt x="145" y="303"/>
                  </a:lnTo>
                  <a:lnTo>
                    <a:pt x="150" y="303"/>
                  </a:lnTo>
                  <a:lnTo>
                    <a:pt x="155" y="305"/>
                  </a:lnTo>
                  <a:lnTo>
                    <a:pt x="161" y="305"/>
                  </a:lnTo>
                  <a:lnTo>
                    <a:pt x="166" y="305"/>
                  </a:lnTo>
                  <a:lnTo>
                    <a:pt x="171" y="305"/>
                  </a:lnTo>
                  <a:lnTo>
                    <a:pt x="173" y="305"/>
                  </a:lnTo>
                  <a:lnTo>
                    <a:pt x="176" y="308"/>
                  </a:lnTo>
                  <a:lnTo>
                    <a:pt x="176" y="308"/>
                  </a:lnTo>
                  <a:lnTo>
                    <a:pt x="181" y="308"/>
                  </a:lnTo>
                  <a:lnTo>
                    <a:pt x="183" y="305"/>
                  </a:lnTo>
                  <a:lnTo>
                    <a:pt x="189" y="305"/>
                  </a:lnTo>
                  <a:lnTo>
                    <a:pt x="189" y="308"/>
                  </a:lnTo>
                  <a:lnTo>
                    <a:pt x="191" y="308"/>
                  </a:lnTo>
                  <a:lnTo>
                    <a:pt x="196" y="305"/>
                  </a:lnTo>
                  <a:lnTo>
                    <a:pt x="201" y="305"/>
                  </a:lnTo>
                  <a:lnTo>
                    <a:pt x="209" y="303"/>
                  </a:lnTo>
                  <a:lnTo>
                    <a:pt x="214" y="303"/>
                  </a:lnTo>
                  <a:lnTo>
                    <a:pt x="224" y="300"/>
                  </a:lnTo>
                  <a:lnTo>
                    <a:pt x="229" y="300"/>
                  </a:lnTo>
                  <a:lnTo>
                    <a:pt x="227" y="295"/>
                  </a:lnTo>
                  <a:lnTo>
                    <a:pt x="222" y="290"/>
                  </a:lnTo>
                  <a:lnTo>
                    <a:pt x="217" y="285"/>
                  </a:lnTo>
                  <a:lnTo>
                    <a:pt x="214" y="282"/>
                  </a:lnTo>
                  <a:lnTo>
                    <a:pt x="211" y="280"/>
                  </a:lnTo>
                  <a:lnTo>
                    <a:pt x="209" y="277"/>
                  </a:lnTo>
                  <a:lnTo>
                    <a:pt x="206" y="275"/>
                  </a:lnTo>
                  <a:lnTo>
                    <a:pt x="206" y="275"/>
                  </a:lnTo>
                  <a:lnTo>
                    <a:pt x="204" y="267"/>
                  </a:lnTo>
                  <a:lnTo>
                    <a:pt x="201" y="259"/>
                  </a:lnTo>
                  <a:lnTo>
                    <a:pt x="201" y="254"/>
                  </a:lnTo>
                  <a:lnTo>
                    <a:pt x="201" y="249"/>
                  </a:lnTo>
                  <a:lnTo>
                    <a:pt x="201" y="242"/>
                  </a:lnTo>
                  <a:lnTo>
                    <a:pt x="201" y="234"/>
                  </a:lnTo>
                  <a:lnTo>
                    <a:pt x="204" y="226"/>
                  </a:lnTo>
                  <a:lnTo>
                    <a:pt x="204" y="219"/>
                  </a:lnTo>
                  <a:lnTo>
                    <a:pt x="204" y="211"/>
                  </a:lnTo>
                  <a:lnTo>
                    <a:pt x="204" y="203"/>
                  </a:lnTo>
                  <a:lnTo>
                    <a:pt x="204" y="196"/>
                  </a:lnTo>
                  <a:lnTo>
                    <a:pt x="204" y="193"/>
                  </a:lnTo>
                  <a:lnTo>
                    <a:pt x="240" y="193"/>
                  </a:lnTo>
                  <a:lnTo>
                    <a:pt x="242" y="193"/>
                  </a:lnTo>
                  <a:lnTo>
                    <a:pt x="242" y="193"/>
                  </a:lnTo>
                  <a:lnTo>
                    <a:pt x="242" y="193"/>
                  </a:lnTo>
                  <a:lnTo>
                    <a:pt x="242" y="188"/>
                  </a:lnTo>
                  <a:lnTo>
                    <a:pt x="242" y="188"/>
                  </a:lnTo>
                  <a:lnTo>
                    <a:pt x="242" y="186"/>
                  </a:lnTo>
                  <a:lnTo>
                    <a:pt x="242" y="183"/>
                  </a:lnTo>
                  <a:lnTo>
                    <a:pt x="245" y="180"/>
                  </a:lnTo>
                  <a:lnTo>
                    <a:pt x="245" y="178"/>
                  </a:lnTo>
                  <a:lnTo>
                    <a:pt x="242" y="173"/>
                  </a:lnTo>
                  <a:lnTo>
                    <a:pt x="242" y="170"/>
                  </a:lnTo>
                  <a:lnTo>
                    <a:pt x="242" y="168"/>
                  </a:lnTo>
                  <a:lnTo>
                    <a:pt x="245" y="165"/>
                  </a:lnTo>
                  <a:lnTo>
                    <a:pt x="242" y="163"/>
                  </a:lnTo>
                  <a:lnTo>
                    <a:pt x="245" y="160"/>
                  </a:lnTo>
                  <a:lnTo>
                    <a:pt x="245" y="160"/>
                  </a:lnTo>
                  <a:lnTo>
                    <a:pt x="245" y="158"/>
                  </a:lnTo>
                  <a:lnTo>
                    <a:pt x="245" y="158"/>
                  </a:lnTo>
                  <a:lnTo>
                    <a:pt x="245" y="158"/>
                  </a:lnTo>
                  <a:close/>
                  <a:moveTo>
                    <a:pt x="5" y="15"/>
                  </a:moveTo>
                  <a:lnTo>
                    <a:pt x="8" y="20"/>
                  </a:lnTo>
                  <a:lnTo>
                    <a:pt x="8" y="23"/>
                  </a:lnTo>
                  <a:lnTo>
                    <a:pt x="8" y="23"/>
                  </a:lnTo>
                  <a:lnTo>
                    <a:pt x="8" y="25"/>
                  </a:lnTo>
                  <a:lnTo>
                    <a:pt x="8" y="28"/>
                  </a:lnTo>
                  <a:lnTo>
                    <a:pt x="8" y="28"/>
                  </a:lnTo>
                  <a:lnTo>
                    <a:pt x="10" y="28"/>
                  </a:lnTo>
                  <a:lnTo>
                    <a:pt x="13" y="28"/>
                  </a:lnTo>
                  <a:lnTo>
                    <a:pt x="13" y="28"/>
                  </a:lnTo>
                  <a:lnTo>
                    <a:pt x="15" y="28"/>
                  </a:lnTo>
                  <a:lnTo>
                    <a:pt x="15" y="20"/>
                  </a:lnTo>
                  <a:lnTo>
                    <a:pt x="15" y="15"/>
                  </a:lnTo>
                  <a:lnTo>
                    <a:pt x="13" y="15"/>
                  </a:lnTo>
                  <a:lnTo>
                    <a:pt x="13" y="13"/>
                  </a:lnTo>
                  <a:lnTo>
                    <a:pt x="13" y="13"/>
                  </a:lnTo>
                  <a:lnTo>
                    <a:pt x="15" y="13"/>
                  </a:lnTo>
                  <a:lnTo>
                    <a:pt x="15" y="13"/>
                  </a:lnTo>
                  <a:lnTo>
                    <a:pt x="15" y="10"/>
                  </a:lnTo>
                  <a:lnTo>
                    <a:pt x="18" y="10"/>
                  </a:lnTo>
                  <a:lnTo>
                    <a:pt x="20" y="5"/>
                  </a:lnTo>
                  <a:lnTo>
                    <a:pt x="23" y="5"/>
                  </a:lnTo>
                  <a:lnTo>
                    <a:pt x="25" y="5"/>
                  </a:lnTo>
                  <a:lnTo>
                    <a:pt x="25" y="2"/>
                  </a:lnTo>
                  <a:lnTo>
                    <a:pt x="25" y="2"/>
                  </a:lnTo>
                  <a:lnTo>
                    <a:pt x="23" y="2"/>
                  </a:lnTo>
                  <a:lnTo>
                    <a:pt x="23" y="0"/>
                  </a:lnTo>
                  <a:lnTo>
                    <a:pt x="20" y="0"/>
                  </a:lnTo>
                  <a:lnTo>
                    <a:pt x="20" y="0"/>
                  </a:lnTo>
                  <a:lnTo>
                    <a:pt x="18" y="0"/>
                  </a:lnTo>
                  <a:lnTo>
                    <a:pt x="18" y="0"/>
                  </a:lnTo>
                  <a:lnTo>
                    <a:pt x="15" y="2"/>
                  </a:lnTo>
                  <a:lnTo>
                    <a:pt x="13" y="2"/>
                  </a:lnTo>
                  <a:lnTo>
                    <a:pt x="13" y="5"/>
                  </a:lnTo>
                  <a:lnTo>
                    <a:pt x="10" y="5"/>
                  </a:lnTo>
                  <a:lnTo>
                    <a:pt x="10" y="7"/>
                  </a:lnTo>
                  <a:lnTo>
                    <a:pt x="8" y="7"/>
                  </a:lnTo>
                  <a:lnTo>
                    <a:pt x="8" y="7"/>
                  </a:lnTo>
                  <a:lnTo>
                    <a:pt x="5" y="10"/>
                  </a:lnTo>
                  <a:lnTo>
                    <a:pt x="5" y="13"/>
                  </a:lnTo>
                  <a:lnTo>
                    <a:pt x="5" y="13"/>
                  </a:lnTo>
                  <a:lnTo>
                    <a:pt x="5" y="15"/>
                  </a:lnTo>
                  <a:close/>
                </a:path>
              </a:pathLst>
            </a:custGeom>
            <a:solidFill>
              <a:schemeClr val="bg2">
                <a:lumMod val="60000"/>
                <a:lumOff val="40000"/>
              </a:schemeClr>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421" name="Freeform 2043">
              <a:extLst>
                <a:ext uri="{FF2B5EF4-FFF2-40B4-BE49-F238E27FC236}">
                  <a16:creationId xmlns:a16="http://schemas.microsoft.com/office/drawing/2014/main" id="{FD8FB147-A6E9-E448-A844-AAC5D60D3E09}"/>
                </a:ext>
              </a:extLst>
            </p:cNvPr>
            <p:cNvSpPr>
              <a:spLocks/>
            </p:cNvSpPr>
            <p:nvPr/>
          </p:nvSpPr>
          <p:spPr bwMode="auto">
            <a:xfrm>
              <a:off x="5683843" y="2219372"/>
              <a:ext cx="8179" cy="8179"/>
            </a:xfrm>
            <a:custGeom>
              <a:avLst/>
              <a:gdLst>
                <a:gd name="T0" fmla="*/ 5 w 5"/>
                <a:gd name="T1" fmla="*/ 0 h 5"/>
                <a:gd name="T2" fmla="*/ 2 w 5"/>
                <a:gd name="T3" fmla="*/ 0 h 5"/>
                <a:gd name="T4" fmla="*/ 2 w 5"/>
                <a:gd name="T5" fmla="*/ 0 h 5"/>
                <a:gd name="T6" fmla="*/ 0 w 5"/>
                <a:gd name="T7" fmla="*/ 0 h 5"/>
                <a:gd name="T8" fmla="*/ 0 w 5"/>
                <a:gd name="T9" fmla="*/ 0 h 5"/>
                <a:gd name="T10" fmla="*/ 0 w 5"/>
                <a:gd name="T11" fmla="*/ 3 h 5"/>
                <a:gd name="T12" fmla="*/ 0 w 5"/>
                <a:gd name="T13" fmla="*/ 3 h 5"/>
                <a:gd name="T14" fmla="*/ 0 w 5"/>
                <a:gd name="T15" fmla="*/ 3 h 5"/>
                <a:gd name="T16" fmla="*/ 0 w 5"/>
                <a:gd name="T17" fmla="*/ 5 h 5"/>
                <a:gd name="T18" fmla="*/ 0 w 5"/>
                <a:gd name="T19" fmla="*/ 5 h 5"/>
                <a:gd name="T20" fmla="*/ 0 w 5"/>
                <a:gd name="T21" fmla="*/ 5 h 5"/>
                <a:gd name="T22" fmla="*/ 2 w 5"/>
                <a:gd name="T23" fmla="*/ 5 h 5"/>
                <a:gd name="T24" fmla="*/ 2 w 5"/>
                <a:gd name="T25" fmla="*/ 5 h 5"/>
                <a:gd name="T26" fmla="*/ 5 w 5"/>
                <a:gd name="T27" fmla="*/ 3 h 5"/>
                <a:gd name="T28" fmla="*/ 5 w 5"/>
                <a:gd name="T29" fmla="*/ 3 h 5"/>
                <a:gd name="T30" fmla="*/ 5 w 5"/>
                <a:gd name="T31" fmla="*/ 3 h 5"/>
                <a:gd name="T32" fmla="*/ 5 w 5"/>
                <a:gd name="T33" fmla="*/ 3 h 5"/>
                <a:gd name="T34" fmla="*/ 5 w 5"/>
                <a:gd name="T35" fmla="*/ 3 h 5"/>
                <a:gd name="T36" fmla="*/ 5 w 5"/>
                <a:gd name="T37"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 h="5">
                  <a:moveTo>
                    <a:pt x="5" y="0"/>
                  </a:moveTo>
                  <a:lnTo>
                    <a:pt x="2" y="0"/>
                  </a:lnTo>
                  <a:lnTo>
                    <a:pt x="2" y="0"/>
                  </a:lnTo>
                  <a:lnTo>
                    <a:pt x="0" y="0"/>
                  </a:lnTo>
                  <a:lnTo>
                    <a:pt x="0" y="0"/>
                  </a:lnTo>
                  <a:lnTo>
                    <a:pt x="0" y="3"/>
                  </a:lnTo>
                  <a:lnTo>
                    <a:pt x="0" y="3"/>
                  </a:lnTo>
                  <a:lnTo>
                    <a:pt x="0" y="3"/>
                  </a:lnTo>
                  <a:lnTo>
                    <a:pt x="0" y="5"/>
                  </a:lnTo>
                  <a:lnTo>
                    <a:pt x="0" y="5"/>
                  </a:lnTo>
                  <a:lnTo>
                    <a:pt x="0" y="5"/>
                  </a:lnTo>
                  <a:lnTo>
                    <a:pt x="2" y="5"/>
                  </a:lnTo>
                  <a:lnTo>
                    <a:pt x="2" y="5"/>
                  </a:lnTo>
                  <a:lnTo>
                    <a:pt x="5" y="3"/>
                  </a:lnTo>
                  <a:lnTo>
                    <a:pt x="5" y="3"/>
                  </a:lnTo>
                  <a:lnTo>
                    <a:pt x="5" y="3"/>
                  </a:lnTo>
                  <a:lnTo>
                    <a:pt x="5" y="3"/>
                  </a:lnTo>
                  <a:lnTo>
                    <a:pt x="5" y="3"/>
                  </a:lnTo>
                  <a:lnTo>
                    <a:pt x="5" y="0"/>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422" name="Freeform 2044">
              <a:extLst>
                <a:ext uri="{FF2B5EF4-FFF2-40B4-BE49-F238E27FC236}">
                  <a16:creationId xmlns:a16="http://schemas.microsoft.com/office/drawing/2014/main" id="{C6BB589C-718E-4849-9EE4-16838DA77BAA}"/>
                </a:ext>
              </a:extLst>
            </p:cNvPr>
            <p:cNvSpPr>
              <a:spLocks/>
            </p:cNvSpPr>
            <p:nvPr/>
          </p:nvSpPr>
          <p:spPr bwMode="auto">
            <a:xfrm>
              <a:off x="5341975" y="2423840"/>
              <a:ext cx="657566" cy="673923"/>
            </a:xfrm>
            <a:custGeom>
              <a:avLst/>
              <a:gdLst>
                <a:gd name="T0" fmla="*/ 387 w 402"/>
                <a:gd name="T1" fmla="*/ 287 h 412"/>
                <a:gd name="T2" fmla="*/ 369 w 402"/>
                <a:gd name="T3" fmla="*/ 282 h 412"/>
                <a:gd name="T4" fmla="*/ 357 w 402"/>
                <a:gd name="T5" fmla="*/ 254 h 412"/>
                <a:gd name="T6" fmla="*/ 362 w 402"/>
                <a:gd name="T7" fmla="*/ 239 h 412"/>
                <a:gd name="T8" fmla="*/ 359 w 402"/>
                <a:gd name="T9" fmla="*/ 221 h 412"/>
                <a:gd name="T10" fmla="*/ 362 w 402"/>
                <a:gd name="T11" fmla="*/ 180 h 412"/>
                <a:gd name="T12" fmla="*/ 354 w 402"/>
                <a:gd name="T13" fmla="*/ 160 h 412"/>
                <a:gd name="T14" fmla="*/ 352 w 402"/>
                <a:gd name="T15" fmla="*/ 142 h 412"/>
                <a:gd name="T16" fmla="*/ 346 w 402"/>
                <a:gd name="T17" fmla="*/ 112 h 412"/>
                <a:gd name="T18" fmla="*/ 331 w 402"/>
                <a:gd name="T19" fmla="*/ 94 h 412"/>
                <a:gd name="T20" fmla="*/ 321 w 402"/>
                <a:gd name="T21" fmla="*/ 84 h 412"/>
                <a:gd name="T22" fmla="*/ 318 w 402"/>
                <a:gd name="T23" fmla="*/ 66 h 412"/>
                <a:gd name="T24" fmla="*/ 331 w 402"/>
                <a:gd name="T25" fmla="*/ 56 h 412"/>
                <a:gd name="T26" fmla="*/ 334 w 402"/>
                <a:gd name="T27" fmla="*/ 40 h 412"/>
                <a:gd name="T28" fmla="*/ 331 w 402"/>
                <a:gd name="T29" fmla="*/ 28 h 412"/>
                <a:gd name="T30" fmla="*/ 331 w 402"/>
                <a:gd name="T31" fmla="*/ 12 h 412"/>
                <a:gd name="T32" fmla="*/ 339 w 402"/>
                <a:gd name="T33" fmla="*/ 5 h 412"/>
                <a:gd name="T34" fmla="*/ 321 w 402"/>
                <a:gd name="T35" fmla="*/ 0 h 412"/>
                <a:gd name="T36" fmla="*/ 301 w 402"/>
                <a:gd name="T37" fmla="*/ 0 h 412"/>
                <a:gd name="T38" fmla="*/ 280 w 402"/>
                <a:gd name="T39" fmla="*/ 7 h 412"/>
                <a:gd name="T40" fmla="*/ 247 w 402"/>
                <a:gd name="T41" fmla="*/ 2 h 412"/>
                <a:gd name="T42" fmla="*/ 214 w 402"/>
                <a:gd name="T43" fmla="*/ 10 h 412"/>
                <a:gd name="T44" fmla="*/ 178 w 402"/>
                <a:gd name="T45" fmla="*/ 23 h 412"/>
                <a:gd name="T46" fmla="*/ 158 w 402"/>
                <a:gd name="T47" fmla="*/ 30 h 412"/>
                <a:gd name="T48" fmla="*/ 140 w 402"/>
                <a:gd name="T49" fmla="*/ 46 h 412"/>
                <a:gd name="T50" fmla="*/ 140 w 402"/>
                <a:gd name="T51" fmla="*/ 53 h 412"/>
                <a:gd name="T52" fmla="*/ 143 w 402"/>
                <a:gd name="T53" fmla="*/ 58 h 412"/>
                <a:gd name="T54" fmla="*/ 143 w 402"/>
                <a:gd name="T55" fmla="*/ 74 h 412"/>
                <a:gd name="T56" fmla="*/ 145 w 402"/>
                <a:gd name="T57" fmla="*/ 96 h 412"/>
                <a:gd name="T58" fmla="*/ 153 w 402"/>
                <a:gd name="T59" fmla="*/ 104 h 412"/>
                <a:gd name="T60" fmla="*/ 148 w 402"/>
                <a:gd name="T61" fmla="*/ 114 h 412"/>
                <a:gd name="T62" fmla="*/ 127 w 402"/>
                <a:gd name="T63" fmla="*/ 112 h 412"/>
                <a:gd name="T64" fmla="*/ 117 w 402"/>
                <a:gd name="T65" fmla="*/ 117 h 412"/>
                <a:gd name="T66" fmla="*/ 102 w 402"/>
                <a:gd name="T67" fmla="*/ 122 h 412"/>
                <a:gd name="T68" fmla="*/ 99 w 402"/>
                <a:gd name="T69" fmla="*/ 130 h 412"/>
                <a:gd name="T70" fmla="*/ 102 w 402"/>
                <a:gd name="T71" fmla="*/ 135 h 412"/>
                <a:gd name="T72" fmla="*/ 99 w 402"/>
                <a:gd name="T73" fmla="*/ 140 h 412"/>
                <a:gd name="T74" fmla="*/ 79 w 402"/>
                <a:gd name="T75" fmla="*/ 147 h 412"/>
                <a:gd name="T76" fmla="*/ 64 w 402"/>
                <a:gd name="T77" fmla="*/ 163 h 412"/>
                <a:gd name="T78" fmla="*/ 48 w 402"/>
                <a:gd name="T79" fmla="*/ 165 h 412"/>
                <a:gd name="T80" fmla="*/ 46 w 402"/>
                <a:gd name="T81" fmla="*/ 170 h 412"/>
                <a:gd name="T82" fmla="*/ 33 w 402"/>
                <a:gd name="T83" fmla="*/ 170 h 412"/>
                <a:gd name="T84" fmla="*/ 23 w 402"/>
                <a:gd name="T85" fmla="*/ 175 h 412"/>
                <a:gd name="T86" fmla="*/ 7 w 402"/>
                <a:gd name="T87" fmla="*/ 186 h 412"/>
                <a:gd name="T88" fmla="*/ 2 w 402"/>
                <a:gd name="T89" fmla="*/ 198 h 412"/>
                <a:gd name="T90" fmla="*/ 5 w 402"/>
                <a:gd name="T91" fmla="*/ 224 h 412"/>
                <a:gd name="T92" fmla="*/ 25 w 402"/>
                <a:gd name="T93" fmla="*/ 239 h 412"/>
                <a:gd name="T94" fmla="*/ 48 w 402"/>
                <a:gd name="T95" fmla="*/ 254 h 412"/>
                <a:gd name="T96" fmla="*/ 71 w 402"/>
                <a:gd name="T97" fmla="*/ 272 h 412"/>
                <a:gd name="T98" fmla="*/ 104 w 402"/>
                <a:gd name="T99" fmla="*/ 297 h 412"/>
                <a:gd name="T100" fmla="*/ 143 w 402"/>
                <a:gd name="T101" fmla="*/ 325 h 412"/>
                <a:gd name="T102" fmla="*/ 181 w 402"/>
                <a:gd name="T103" fmla="*/ 356 h 412"/>
                <a:gd name="T104" fmla="*/ 191 w 402"/>
                <a:gd name="T105" fmla="*/ 369 h 412"/>
                <a:gd name="T106" fmla="*/ 201 w 402"/>
                <a:gd name="T107" fmla="*/ 379 h 412"/>
                <a:gd name="T108" fmla="*/ 214 w 402"/>
                <a:gd name="T109" fmla="*/ 387 h 412"/>
                <a:gd name="T110" fmla="*/ 229 w 402"/>
                <a:gd name="T111" fmla="*/ 392 h 412"/>
                <a:gd name="T112" fmla="*/ 232 w 402"/>
                <a:gd name="T113" fmla="*/ 402 h 412"/>
                <a:gd name="T114" fmla="*/ 227 w 402"/>
                <a:gd name="T115" fmla="*/ 407 h 412"/>
                <a:gd name="T116" fmla="*/ 234 w 402"/>
                <a:gd name="T117" fmla="*/ 409 h 412"/>
                <a:gd name="T118" fmla="*/ 260 w 402"/>
                <a:gd name="T119" fmla="*/ 404 h 412"/>
                <a:gd name="T120" fmla="*/ 290 w 402"/>
                <a:gd name="T121" fmla="*/ 392 h 412"/>
                <a:gd name="T122" fmla="*/ 321 w 402"/>
                <a:gd name="T123" fmla="*/ 364 h 412"/>
                <a:gd name="T124" fmla="*/ 382 w 402"/>
                <a:gd name="T125" fmla="*/ 323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02" h="412">
                  <a:moveTo>
                    <a:pt x="400" y="303"/>
                  </a:moveTo>
                  <a:lnTo>
                    <a:pt x="400" y="300"/>
                  </a:lnTo>
                  <a:lnTo>
                    <a:pt x="397" y="295"/>
                  </a:lnTo>
                  <a:lnTo>
                    <a:pt x="395" y="290"/>
                  </a:lnTo>
                  <a:lnTo>
                    <a:pt x="395" y="290"/>
                  </a:lnTo>
                  <a:lnTo>
                    <a:pt x="387" y="287"/>
                  </a:lnTo>
                  <a:lnTo>
                    <a:pt x="377" y="285"/>
                  </a:lnTo>
                  <a:lnTo>
                    <a:pt x="372" y="285"/>
                  </a:lnTo>
                  <a:lnTo>
                    <a:pt x="372" y="285"/>
                  </a:lnTo>
                  <a:lnTo>
                    <a:pt x="372" y="285"/>
                  </a:lnTo>
                  <a:lnTo>
                    <a:pt x="369" y="282"/>
                  </a:lnTo>
                  <a:lnTo>
                    <a:pt x="369" y="282"/>
                  </a:lnTo>
                  <a:lnTo>
                    <a:pt x="367" y="280"/>
                  </a:lnTo>
                  <a:lnTo>
                    <a:pt x="364" y="272"/>
                  </a:lnTo>
                  <a:lnTo>
                    <a:pt x="364" y="269"/>
                  </a:lnTo>
                  <a:lnTo>
                    <a:pt x="364" y="267"/>
                  </a:lnTo>
                  <a:lnTo>
                    <a:pt x="359" y="259"/>
                  </a:lnTo>
                  <a:lnTo>
                    <a:pt x="357" y="254"/>
                  </a:lnTo>
                  <a:lnTo>
                    <a:pt x="354" y="249"/>
                  </a:lnTo>
                  <a:lnTo>
                    <a:pt x="354" y="249"/>
                  </a:lnTo>
                  <a:lnTo>
                    <a:pt x="354" y="247"/>
                  </a:lnTo>
                  <a:lnTo>
                    <a:pt x="354" y="244"/>
                  </a:lnTo>
                  <a:lnTo>
                    <a:pt x="359" y="241"/>
                  </a:lnTo>
                  <a:lnTo>
                    <a:pt x="362" y="239"/>
                  </a:lnTo>
                  <a:lnTo>
                    <a:pt x="362" y="236"/>
                  </a:lnTo>
                  <a:lnTo>
                    <a:pt x="362" y="231"/>
                  </a:lnTo>
                  <a:lnTo>
                    <a:pt x="362" y="231"/>
                  </a:lnTo>
                  <a:lnTo>
                    <a:pt x="362" y="229"/>
                  </a:lnTo>
                  <a:lnTo>
                    <a:pt x="359" y="224"/>
                  </a:lnTo>
                  <a:lnTo>
                    <a:pt x="359" y="221"/>
                  </a:lnTo>
                  <a:lnTo>
                    <a:pt x="362" y="216"/>
                  </a:lnTo>
                  <a:lnTo>
                    <a:pt x="362" y="211"/>
                  </a:lnTo>
                  <a:lnTo>
                    <a:pt x="362" y="206"/>
                  </a:lnTo>
                  <a:lnTo>
                    <a:pt x="362" y="193"/>
                  </a:lnTo>
                  <a:lnTo>
                    <a:pt x="362" y="183"/>
                  </a:lnTo>
                  <a:lnTo>
                    <a:pt x="362" y="180"/>
                  </a:lnTo>
                  <a:lnTo>
                    <a:pt x="362" y="180"/>
                  </a:lnTo>
                  <a:lnTo>
                    <a:pt x="359" y="175"/>
                  </a:lnTo>
                  <a:lnTo>
                    <a:pt x="359" y="170"/>
                  </a:lnTo>
                  <a:lnTo>
                    <a:pt x="357" y="168"/>
                  </a:lnTo>
                  <a:lnTo>
                    <a:pt x="357" y="165"/>
                  </a:lnTo>
                  <a:lnTo>
                    <a:pt x="354" y="160"/>
                  </a:lnTo>
                  <a:lnTo>
                    <a:pt x="352" y="158"/>
                  </a:lnTo>
                  <a:lnTo>
                    <a:pt x="354" y="158"/>
                  </a:lnTo>
                  <a:lnTo>
                    <a:pt x="357" y="155"/>
                  </a:lnTo>
                  <a:lnTo>
                    <a:pt x="354" y="150"/>
                  </a:lnTo>
                  <a:lnTo>
                    <a:pt x="354" y="145"/>
                  </a:lnTo>
                  <a:lnTo>
                    <a:pt x="352" y="142"/>
                  </a:lnTo>
                  <a:lnTo>
                    <a:pt x="352" y="135"/>
                  </a:lnTo>
                  <a:lnTo>
                    <a:pt x="349" y="130"/>
                  </a:lnTo>
                  <a:lnTo>
                    <a:pt x="349" y="124"/>
                  </a:lnTo>
                  <a:lnTo>
                    <a:pt x="346" y="119"/>
                  </a:lnTo>
                  <a:lnTo>
                    <a:pt x="346" y="114"/>
                  </a:lnTo>
                  <a:lnTo>
                    <a:pt x="346" y="112"/>
                  </a:lnTo>
                  <a:lnTo>
                    <a:pt x="344" y="112"/>
                  </a:lnTo>
                  <a:lnTo>
                    <a:pt x="339" y="109"/>
                  </a:lnTo>
                  <a:lnTo>
                    <a:pt x="336" y="107"/>
                  </a:lnTo>
                  <a:lnTo>
                    <a:pt x="334" y="104"/>
                  </a:lnTo>
                  <a:lnTo>
                    <a:pt x="331" y="99"/>
                  </a:lnTo>
                  <a:lnTo>
                    <a:pt x="331" y="94"/>
                  </a:lnTo>
                  <a:lnTo>
                    <a:pt x="329" y="91"/>
                  </a:lnTo>
                  <a:lnTo>
                    <a:pt x="329" y="91"/>
                  </a:lnTo>
                  <a:lnTo>
                    <a:pt x="323" y="89"/>
                  </a:lnTo>
                  <a:lnTo>
                    <a:pt x="321" y="86"/>
                  </a:lnTo>
                  <a:lnTo>
                    <a:pt x="321" y="86"/>
                  </a:lnTo>
                  <a:lnTo>
                    <a:pt x="321" y="84"/>
                  </a:lnTo>
                  <a:lnTo>
                    <a:pt x="318" y="81"/>
                  </a:lnTo>
                  <a:lnTo>
                    <a:pt x="318" y="76"/>
                  </a:lnTo>
                  <a:lnTo>
                    <a:pt x="318" y="74"/>
                  </a:lnTo>
                  <a:lnTo>
                    <a:pt x="318" y="71"/>
                  </a:lnTo>
                  <a:lnTo>
                    <a:pt x="318" y="68"/>
                  </a:lnTo>
                  <a:lnTo>
                    <a:pt x="318" y="66"/>
                  </a:lnTo>
                  <a:lnTo>
                    <a:pt x="321" y="63"/>
                  </a:lnTo>
                  <a:lnTo>
                    <a:pt x="323" y="61"/>
                  </a:lnTo>
                  <a:lnTo>
                    <a:pt x="326" y="58"/>
                  </a:lnTo>
                  <a:lnTo>
                    <a:pt x="329" y="58"/>
                  </a:lnTo>
                  <a:lnTo>
                    <a:pt x="329" y="56"/>
                  </a:lnTo>
                  <a:lnTo>
                    <a:pt x="331" y="56"/>
                  </a:lnTo>
                  <a:lnTo>
                    <a:pt x="331" y="53"/>
                  </a:lnTo>
                  <a:lnTo>
                    <a:pt x="331" y="51"/>
                  </a:lnTo>
                  <a:lnTo>
                    <a:pt x="331" y="48"/>
                  </a:lnTo>
                  <a:lnTo>
                    <a:pt x="334" y="46"/>
                  </a:lnTo>
                  <a:lnTo>
                    <a:pt x="334" y="43"/>
                  </a:lnTo>
                  <a:lnTo>
                    <a:pt x="334" y="40"/>
                  </a:lnTo>
                  <a:lnTo>
                    <a:pt x="334" y="38"/>
                  </a:lnTo>
                  <a:lnTo>
                    <a:pt x="334" y="33"/>
                  </a:lnTo>
                  <a:lnTo>
                    <a:pt x="334" y="33"/>
                  </a:lnTo>
                  <a:lnTo>
                    <a:pt x="334" y="30"/>
                  </a:lnTo>
                  <a:lnTo>
                    <a:pt x="331" y="28"/>
                  </a:lnTo>
                  <a:lnTo>
                    <a:pt x="331" y="28"/>
                  </a:lnTo>
                  <a:lnTo>
                    <a:pt x="334" y="23"/>
                  </a:lnTo>
                  <a:lnTo>
                    <a:pt x="334" y="20"/>
                  </a:lnTo>
                  <a:lnTo>
                    <a:pt x="334" y="15"/>
                  </a:lnTo>
                  <a:lnTo>
                    <a:pt x="334" y="15"/>
                  </a:lnTo>
                  <a:lnTo>
                    <a:pt x="334" y="12"/>
                  </a:lnTo>
                  <a:lnTo>
                    <a:pt x="331" y="12"/>
                  </a:lnTo>
                  <a:lnTo>
                    <a:pt x="331" y="12"/>
                  </a:lnTo>
                  <a:lnTo>
                    <a:pt x="331" y="12"/>
                  </a:lnTo>
                  <a:lnTo>
                    <a:pt x="334" y="10"/>
                  </a:lnTo>
                  <a:lnTo>
                    <a:pt x="336" y="7"/>
                  </a:lnTo>
                  <a:lnTo>
                    <a:pt x="336" y="5"/>
                  </a:lnTo>
                  <a:lnTo>
                    <a:pt x="339" y="5"/>
                  </a:lnTo>
                  <a:lnTo>
                    <a:pt x="339" y="2"/>
                  </a:lnTo>
                  <a:lnTo>
                    <a:pt x="339" y="2"/>
                  </a:lnTo>
                  <a:lnTo>
                    <a:pt x="331" y="2"/>
                  </a:lnTo>
                  <a:lnTo>
                    <a:pt x="326" y="5"/>
                  </a:lnTo>
                  <a:lnTo>
                    <a:pt x="323" y="2"/>
                  </a:lnTo>
                  <a:lnTo>
                    <a:pt x="321" y="0"/>
                  </a:lnTo>
                  <a:lnTo>
                    <a:pt x="316" y="0"/>
                  </a:lnTo>
                  <a:lnTo>
                    <a:pt x="313" y="0"/>
                  </a:lnTo>
                  <a:lnTo>
                    <a:pt x="313" y="2"/>
                  </a:lnTo>
                  <a:lnTo>
                    <a:pt x="311" y="2"/>
                  </a:lnTo>
                  <a:lnTo>
                    <a:pt x="308" y="2"/>
                  </a:lnTo>
                  <a:lnTo>
                    <a:pt x="301" y="0"/>
                  </a:lnTo>
                  <a:lnTo>
                    <a:pt x="298" y="0"/>
                  </a:lnTo>
                  <a:lnTo>
                    <a:pt x="295" y="0"/>
                  </a:lnTo>
                  <a:lnTo>
                    <a:pt x="295" y="2"/>
                  </a:lnTo>
                  <a:lnTo>
                    <a:pt x="290" y="5"/>
                  </a:lnTo>
                  <a:lnTo>
                    <a:pt x="285" y="5"/>
                  </a:lnTo>
                  <a:lnTo>
                    <a:pt x="280" y="7"/>
                  </a:lnTo>
                  <a:lnTo>
                    <a:pt x="278" y="10"/>
                  </a:lnTo>
                  <a:lnTo>
                    <a:pt x="275" y="7"/>
                  </a:lnTo>
                  <a:lnTo>
                    <a:pt x="270" y="5"/>
                  </a:lnTo>
                  <a:lnTo>
                    <a:pt x="270" y="5"/>
                  </a:lnTo>
                  <a:lnTo>
                    <a:pt x="267" y="2"/>
                  </a:lnTo>
                  <a:lnTo>
                    <a:pt x="247" y="2"/>
                  </a:lnTo>
                  <a:lnTo>
                    <a:pt x="244" y="5"/>
                  </a:lnTo>
                  <a:lnTo>
                    <a:pt x="232" y="5"/>
                  </a:lnTo>
                  <a:lnTo>
                    <a:pt x="232" y="7"/>
                  </a:lnTo>
                  <a:lnTo>
                    <a:pt x="227" y="10"/>
                  </a:lnTo>
                  <a:lnTo>
                    <a:pt x="222" y="10"/>
                  </a:lnTo>
                  <a:lnTo>
                    <a:pt x="214" y="10"/>
                  </a:lnTo>
                  <a:lnTo>
                    <a:pt x="201" y="12"/>
                  </a:lnTo>
                  <a:lnTo>
                    <a:pt x="196" y="12"/>
                  </a:lnTo>
                  <a:lnTo>
                    <a:pt x="191" y="15"/>
                  </a:lnTo>
                  <a:lnTo>
                    <a:pt x="186" y="18"/>
                  </a:lnTo>
                  <a:lnTo>
                    <a:pt x="183" y="20"/>
                  </a:lnTo>
                  <a:lnTo>
                    <a:pt x="178" y="23"/>
                  </a:lnTo>
                  <a:lnTo>
                    <a:pt x="178" y="25"/>
                  </a:lnTo>
                  <a:lnTo>
                    <a:pt x="176" y="28"/>
                  </a:lnTo>
                  <a:lnTo>
                    <a:pt x="173" y="28"/>
                  </a:lnTo>
                  <a:lnTo>
                    <a:pt x="171" y="28"/>
                  </a:lnTo>
                  <a:lnTo>
                    <a:pt x="168" y="28"/>
                  </a:lnTo>
                  <a:lnTo>
                    <a:pt x="158" y="30"/>
                  </a:lnTo>
                  <a:lnTo>
                    <a:pt x="155" y="33"/>
                  </a:lnTo>
                  <a:lnTo>
                    <a:pt x="153" y="35"/>
                  </a:lnTo>
                  <a:lnTo>
                    <a:pt x="150" y="38"/>
                  </a:lnTo>
                  <a:lnTo>
                    <a:pt x="148" y="40"/>
                  </a:lnTo>
                  <a:lnTo>
                    <a:pt x="145" y="43"/>
                  </a:lnTo>
                  <a:lnTo>
                    <a:pt x="140" y="46"/>
                  </a:lnTo>
                  <a:lnTo>
                    <a:pt x="137" y="46"/>
                  </a:lnTo>
                  <a:lnTo>
                    <a:pt x="132" y="46"/>
                  </a:lnTo>
                  <a:lnTo>
                    <a:pt x="135" y="46"/>
                  </a:lnTo>
                  <a:lnTo>
                    <a:pt x="135" y="48"/>
                  </a:lnTo>
                  <a:lnTo>
                    <a:pt x="140" y="51"/>
                  </a:lnTo>
                  <a:lnTo>
                    <a:pt x="140" y="53"/>
                  </a:lnTo>
                  <a:lnTo>
                    <a:pt x="140" y="53"/>
                  </a:lnTo>
                  <a:lnTo>
                    <a:pt x="140" y="56"/>
                  </a:lnTo>
                  <a:lnTo>
                    <a:pt x="140" y="56"/>
                  </a:lnTo>
                  <a:lnTo>
                    <a:pt x="140" y="58"/>
                  </a:lnTo>
                  <a:lnTo>
                    <a:pt x="143" y="58"/>
                  </a:lnTo>
                  <a:lnTo>
                    <a:pt x="143" y="58"/>
                  </a:lnTo>
                  <a:lnTo>
                    <a:pt x="143" y="61"/>
                  </a:lnTo>
                  <a:lnTo>
                    <a:pt x="140" y="61"/>
                  </a:lnTo>
                  <a:lnTo>
                    <a:pt x="143" y="66"/>
                  </a:lnTo>
                  <a:lnTo>
                    <a:pt x="143" y="71"/>
                  </a:lnTo>
                  <a:lnTo>
                    <a:pt x="143" y="74"/>
                  </a:lnTo>
                  <a:lnTo>
                    <a:pt x="143" y="74"/>
                  </a:lnTo>
                  <a:lnTo>
                    <a:pt x="143" y="76"/>
                  </a:lnTo>
                  <a:lnTo>
                    <a:pt x="143" y="79"/>
                  </a:lnTo>
                  <a:lnTo>
                    <a:pt x="143" y="86"/>
                  </a:lnTo>
                  <a:lnTo>
                    <a:pt x="143" y="89"/>
                  </a:lnTo>
                  <a:lnTo>
                    <a:pt x="145" y="91"/>
                  </a:lnTo>
                  <a:lnTo>
                    <a:pt x="145" y="96"/>
                  </a:lnTo>
                  <a:lnTo>
                    <a:pt x="145" y="96"/>
                  </a:lnTo>
                  <a:lnTo>
                    <a:pt x="148" y="99"/>
                  </a:lnTo>
                  <a:lnTo>
                    <a:pt x="148" y="99"/>
                  </a:lnTo>
                  <a:lnTo>
                    <a:pt x="150" y="102"/>
                  </a:lnTo>
                  <a:lnTo>
                    <a:pt x="153" y="102"/>
                  </a:lnTo>
                  <a:lnTo>
                    <a:pt x="153" y="104"/>
                  </a:lnTo>
                  <a:lnTo>
                    <a:pt x="150" y="107"/>
                  </a:lnTo>
                  <a:lnTo>
                    <a:pt x="150" y="107"/>
                  </a:lnTo>
                  <a:lnTo>
                    <a:pt x="150" y="109"/>
                  </a:lnTo>
                  <a:lnTo>
                    <a:pt x="150" y="112"/>
                  </a:lnTo>
                  <a:lnTo>
                    <a:pt x="150" y="112"/>
                  </a:lnTo>
                  <a:lnTo>
                    <a:pt x="148" y="114"/>
                  </a:lnTo>
                  <a:lnTo>
                    <a:pt x="145" y="114"/>
                  </a:lnTo>
                  <a:lnTo>
                    <a:pt x="143" y="114"/>
                  </a:lnTo>
                  <a:lnTo>
                    <a:pt x="137" y="112"/>
                  </a:lnTo>
                  <a:lnTo>
                    <a:pt x="132" y="112"/>
                  </a:lnTo>
                  <a:lnTo>
                    <a:pt x="130" y="112"/>
                  </a:lnTo>
                  <a:lnTo>
                    <a:pt x="127" y="112"/>
                  </a:lnTo>
                  <a:lnTo>
                    <a:pt x="125" y="112"/>
                  </a:lnTo>
                  <a:lnTo>
                    <a:pt x="122" y="114"/>
                  </a:lnTo>
                  <a:lnTo>
                    <a:pt x="117" y="114"/>
                  </a:lnTo>
                  <a:lnTo>
                    <a:pt x="117" y="114"/>
                  </a:lnTo>
                  <a:lnTo>
                    <a:pt x="117" y="114"/>
                  </a:lnTo>
                  <a:lnTo>
                    <a:pt x="117" y="117"/>
                  </a:lnTo>
                  <a:lnTo>
                    <a:pt x="115" y="119"/>
                  </a:lnTo>
                  <a:lnTo>
                    <a:pt x="115" y="119"/>
                  </a:lnTo>
                  <a:lnTo>
                    <a:pt x="107" y="122"/>
                  </a:lnTo>
                  <a:lnTo>
                    <a:pt x="104" y="122"/>
                  </a:lnTo>
                  <a:lnTo>
                    <a:pt x="102" y="122"/>
                  </a:lnTo>
                  <a:lnTo>
                    <a:pt x="102" y="122"/>
                  </a:lnTo>
                  <a:lnTo>
                    <a:pt x="99" y="122"/>
                  </a:lnTo>
                  <a:lnTo>
                    <a:pt x="99" y="124"/>
                  </a:lnTo>
                  <a:lnTo>
                    <a:pt x="99" y="124"/>
                  </a:lnTo>
                  <a:lnTo>
                    <a:pt x="99" y="127"/>
                  </a:lnTo>
                  <a:lnTo>
                    <a:pt x="99" y="127"/>
                  </a:lnTo>
                  <a:lnTo>
                    <a:pt x="99" y="130"/>
                  </a:lnTo>
                  <a:lnTo>
                    <a:pt x="99" y="132"/>
                  </a:lnTo>
                  <a:lnTo>
                    <a:pt x="99" y="132"/>
                  </a:lnTo>
                  <a:lnTo>
                    <a:pt x="99" y="135"/>
                  </a:lnTo>
                  <a:lnTo>
                    <a:pt x="99" y="135"/>
                  </a:lnTo>
                  <a:lnTo>
                    <a:pt x="99" y="135"/>
                  </a:lnTo>
                  <a:lnTo>
                    <a:pt x="102" y="135"/>
                  </a:lnTo>
                  <a:lnTo>
                    <a:pt x="102" y="135"/>
                  </a:lnTo>
                  <a:lnTo>
                    <a:pt x="102" y="137"/>
                  </a:lnTo>
                  <a:lnTo>
                    <a:pt x="102" y="137"/>
                  </a:lnTo>
                  <a:lnTo>
                    <a:pt x="102" y="140"/>
                  </a:lnTo>
                  <a:lnTo>
                    <a:pt x="102" y="140"/>
                  </a:lnTo>
                  <a:lnTo>
                    <a:pt x="99" y="140"/>
                  </a:lnTo>
                  <a:lnTo>
                    <a:pt x="97" y="140"/>
                  </a:lnTo>
                  <a:lnTo>
                    <a:pt x="92" y="142"/>
                  </a:lnTo>
                  <a:lnTo>
                    <a:pt x="89" y="145"/>
                  </a:lnTo>
                  <a:lnTo>
                    <a:pt x="84" y="147"/>
                  </a:lnTo>
                  <a:lnTo>
                    <a:pt x="84" y="147"/>
                  </a:lnTo>
                  <a:lnTo>
                    <a:pt x="79" y="147"/>
                  </a:lnTo>
                  <a:lnTo>
                    <a:pt x="76" y="150"/>
                  </a:lnTo>
                  <a:lnTo>
                    <a:pt x="74" y="152"/>
                  </a:lnTo>
                  <a:lnTo>
                    <a:pt x="71" y="158"/>
                  </a:lnTo>
                  <a:lnTo>
                    <a:pt x="69" y="160"/>
                  </a:lnTo>
                  <a:lnTo>
                    <a:pt x="66" y="163"/>
                  </a:lnTo>
                  <a:lnTo>
                    <a:pt x="64" y="163"/>
                  </a:lnTo>
                  <a:lnTo>
                    <a:pt x="61" y="163"/>
                  </a:lnTo>
                  <a:lnTo>
                    <a:pt x="56" y="165"/>
                  </a:lnTo>
                  <a:lnTo>
                    <a:pt x="53" y="165"/>
                  </a:lnTo>
                  <a:lnTo>
                    <a:pt x="51" y="165"/>
                  </a:lnTo>
                  <a:lnTo>
                    <a:pt x="48" y="165"/>
                  </a:lnTo>
                  <a:lnTo>
                    <a:pt x="48" y="165"/>
                  </a:lnTo>
                  <a:lnTo>
                    <a:pt x="46" y="165"/>
                  </a:lnTo>
                  <a:lnTo>
                    <a:pt x="46" y="165"/>
                  </a:lnTo>
                  <a:lnTo>
                    <a:pt x="46" y="165"/>
                  </a:lnTo>
                  <a:lnTo>
                    <a:pt x="46" y="168"/>
                  </a:lnTo>
                  <a:lnTo>
                    <a:pt x="46" y="168"/>
                  </a:lnTo>
                  <a:lnTo>
                    <a:pt x="46" y="170"/>
                  </a:lnTo>
                  <a:lnTo>
                    <a:pt x="43" y="170"/>
                  </a:lnTo>
                  <a:lnTo>
                    <a:pt x="43" y="170"/>
                  </a:lnTo>
                  <a:lnTo>
                    <a:pt x="41" y="170"/>
                  </a:lnTo>
                  <a:lnTo>
                    <a:pt x="38" y="170"/>
                  </a:lnTo>
                  <a:lnTo>
                    <a:pt x="36" y="170"/>
                  </a:lnTo>
                  <a:lnTo>
                    <a:pt x="33" y="170"/>
                  </a:lnTo>
                  <a:lnTo>
                    <a:pt x="33" y="170"/>
                  </a:lnTo>
                  <a:lnTo>
                    <a:pt x="30" y="170"/>
                  </a:lnTo>
                  <a:lnTo>
                    <a:pt x="30" y="173"/>
                  </a:lnTo>
                  <a:lnTo>
                    <a:pt x="28" y="173"/>
                  </a:lnTo>
                  <a:lnTo>
                    <a:pt x="25" y="175"/>
                  </a:lnTo>
                  <a:lnTo>
                    <a:pt x="23" y="175"/>
                  </a:lnTo>
                  <a:lnTo>
                    <a:pt x="23" y="175"/>
                  </a:lnTo>
                  <a:lnTo>
                    <a:pt x="18" y="180"/>
                  </a:lnTo>
                  <a:lnTo>
                    <a:pt x="15" y="180"/>
                  </a:lnTo>
                  <a:lnTo>
                    <a:pt x="10" y="183"/>
                  </a:lnTo>
                  <a:lnTo>
                    <a:pt x="10" y="186"/>
                  </a:lnTo>
                  <a:lnTo>
                    <a:pt x="7" y="186"/>
                  </a:lnTo>
                  <a:lnTo>
                    <a:pt x="5" y="188"/>
                  </a:lnTo>
                  <a:lnTo>
                    <a:pt x="2" y="191"/>
                  </a:lnTo>
                  <a:lnTo>
                    <a:pt x="2" y="191"/>
                  </a:lnTo>
                  <a:lnTo>
                    <a:pt x="2" y="191"/>
                  </a:lnTo>
                  <a:lnTo>
                    <a:pt x="2" y="196"/>
                  </a:lnTo>
                  <a:lnTo>
                    <a:pt x="2" y="198"/>
                  </a:lnTo>
                  <a:lnTo>
                    <a:pt x="2" y="203"/>
                  </a:lnTo>
                  <a:lnTo>
                    <a:pt x="2" y="208"/>
                  </a:lnTo>
                  <a:lnTo>
                    <a:pt x="2" y="213"/>
                  </a:lnTo>
                  <a:lnTo>
                    <a:pt x="2" y="219"/>
                  </a:lnTo>
                  <a:lnTo>
                    <a:pt x="0" y="221"/>
                  </a:lnTo>
                  <a:lnTo>
                    <a:pt x="5" y="224"/>
                  </a:lnTo>
                  <a:lnTo>
                    <a:pt x="7" y="226"/>
                  </a:lnTo>
                  <a:lnTo>
                    <a:pt x="13" y="229"/>
                  </a:lnTo>
                  <a:lnTo>
                    <a:pt x="15" y="231"/>
                  </a:lnTo>
                  <a:lnTo>
                    <a:pt x="18" y="234"/>
                  </a:lnTo>
                  <a:lnTo>
                    <a:pt x="23" y="236"/>
                  </a:lnTo>
                  <a:lnTo>
                    <a:pt x="25" y="239"/>
                  </a:lnTo>
                  <a:lnTo>
                    <a:pt x="30" y="241"/>
                  </a:lnTo>
                  <a:lnTo>
                    <a:pt x="33" y="244"/>
                  </a:lnTo>
                  <a:lnTo>
                    <a:pt x="36" y="247"/>
                  </a:lnTo>
                  <a:lnTo>
                    <a:pt x="41" y="249"/>
                  </a:lnTo>
                  <a:lnTo>
                    <a:pt x="43" y="252"/>
                  </a:lnTo>
                  <a:lnTo>
                    <a:pt x="48" y="254"/>
                  </a:lnTo>
                  <a:lnTo>
                    <a:pt x="51" y="257"/>
                  </a:lnTo>
                  <a:lnTo>
                    <a:pt x="53" y="259"/>
                  </a:lnTo>
                  <a:lnTo>
                    <a:pt x="58" y="262"/>
                  </a:lnTo>
                  <a:lnTo>
                    <a:pt x="61" y="264"/>
                  </a:lnTo>
                  <a:lnTo>
                    <a:pt x="66" y="267"/>
                  </a:lnTo>
                  <a:lnTo>
                    <a:pt x="71" y="272"/>
                  </a:lnTo>
                  <a:lnTo>
                    <a:pt x="74" y="275"/>
                  </a:lnTo>
                  <a:lnTo>
                    <a:pt x="81" y="280"/>
                  </a:lnTo>
                  <a:lnTo>
                    <a:pt x="86" y="282"/>
                  </a:lnTo>
                  <a:lnTo>
                    <a:pt x="92" y="287"/>
                  </a:lnTo>
                  <a:lnTo>
                    <a:pt x="99" y="292"/>
                  </a:lnTo>
                  <a:lnTo>
                    <a:pt x="104" y="297"/>
                  </a:lnTo>
                  <a:lnTo>
                    <a:pt x="112" y="303"/>
                  </a:lnTo>
                  <a:lnTo>
                    <a:pt x="117" y="308"/>
                  </a:lnTo>
                  <a:lnTo>
                    <a:pt x="122" y="313"/>
                  </a:lnTo>
                  <a:lnTo>
                    <a:pt x="130" y="318"/>
                  </a:lnTo>
                  <a:lnTo>
                    <a:pt x="135" y="320"/>
                  </a:lnTo>
                  <a:lnTo>
                    <a:pt x="143" y="325"/>
                  </a:lnTo>
                  <a:lnTo>
                    <a:pt x="148" y="331"/>
                  </a:lnTo>
                  <a:lnTo>
                    <a:pt x="155" y="336"/>
                  </a:lnTo>
                  <a:lnTo>
                    <a:pt x="160" y="341"/>
                  </a:lnTo>
                  <a:lnTo>
                    <a:pt x="168" y="346"/>
                  </a:lnTo>
                  <a:lnTo>
                    <a:pt x="173" y="351"/>
                  </a:lnTo>
                  <a:lnTo>
                    <a:pt x="181" y="356"/>
                  </a:lnTo>
                  <a:lnTo>
                    <a:pt x="186" y="361"/>
                  </a:lnTo>
                  <a:lnTo>
                    <a:pt x="191" y="364"/>
                  </a:lnTo>
                  <a:lnTo>
                    <a:pt x="191" y="364"/>
                  </a:lnTo>
                  <a:lnTo>
                    <a:pt x="191" y="366"/>
                  </a:lnTo>
                  <a:lnTo>
                    <a:pt x="191" y="369"/>
                  </a:lnTo>
                  <a:lnTo>
                    <a:pt x="191" y="369"/>
                  </a:lnTo>
                  <a:lnTo>
                    <a:pt x="191" y="371"/>
                  </a:lnTo>
                  <a:lnTo>
                    <a:pt x="194" y="371"/>
                  </a:lnTo>
                  <a:lnTo>
                    <a:pt x="199" y="376"/>
                  </a:lnTo>
                  <a:lnTo>
                    <a:pt x="199" y="376"/>
                  </a:lnTo>
                  <a:lnTo>
                    <a:pt x="199" y="376"/>
                  </a:lnTo>
                  <a:lnTo>
                    <a:pt x="201" y="379"/>
                  </a:lnTo>
                  <a:lnTo>
                    <a:pt x="201" y="381"/>
                  </a:lnTo>
                  <a:lnTo>
                    <a:pt x="204" y="381"/>
                  </a:lnTo>
                  <a:lnTo>
                    <a:pt x="204" y="381"/>
                  </a:lnTo>
                  <a:lnTo>
                    <a:pt x="211" y="381"/>
                  </a:lnTo>
                  <a:lnTo>
                    <a:pt x="211" y="384"/>
                  </a:lnTo>
                  <a:lnTo>
                    <a:pt x="214" y="387"/>
                  </a:lnTo>
                  <a:lnTo>
                    <a:pt x="216" y="387"/>
                  </a:lnTo>
                  <a:lnTo>
                    <a:pt x="219" y="389"/>
                  </a:lnTo>
                  <a:lnTo>
                    <a:pt x="222" y="389"/>
                  </a:lnTo>
                  <a:lnTo>
                    <a:pt x="224" y="389"/>
                  </a:lnTo>
                  <a:lnTo>
                    <a:pt x="227" y="389"/>
                  </a:lnTo>
                  <a:lnTo>
                    <a:pt x="229" y="392"/>
                  </a:lnTo>
                  <a:lnTo>
                    <a:pt x="229" y="392"/>
                  </a:lnTo>
                  <a:lnTo>
                    <a:pt x="229" y="394"/>
                  </a:lnTo>
                  <a:lnTo>
                    <a:pt x="229" y="394"/>
                  </a:lnTo>
                  <a:lnTo>
                    <a:pt x="229" y="397"/>
                  </a:lnTo>
                  <a:lnTo>
                    <a:pt x="229" y="399"/>
                  </a:lnTo>
                  <a:lnTo>
                    <a:pt x="232" y="402"/>
                  </a:lnTo>
                  <a:lnTo>
                    <a:pt x="232" y="402"/>
                  </a:lnTo>
                  <a:lnTo>
                    <a:pt x="229" y="402"/>
                  </a:lnTo>
                  <a:lnTo>
                    <a:pt x="229" y="404"/>
                  </a:lnTo>
                  <a:lnTo>
                    <a:pt x="229" y="404"/>
                  </a:lnTo>
                  <a:lnTo>
                    <a:pt x="229" y="404"/>
                  </a:lnTo>
                  <a:lnTo>
                    <a:pt x="227" y="407"/>
                  </a:lnTo>
                  <a:lnTo>
                    <a:pt x="229" y="407"/>
                  </a:lnTo>
                  <a:lnTo>
                    <a:pt x="229" y="409"/>
                  </a:lnTo>
                  <a:lnTo>
                    <a:pt x="232" y="409"/>
                  </a:lnTo>
                  <a:lnTo>
                    <a:pt x="232" y="409"/>
                  </a:lnTo>
                  <a:lnTo>
                    <a:pt x="232" y="412"/>
                  </a:lnTo>
                  <a:lnTo>
                    <a:pt x="234" y="409"/>
                  </a:lnTo>
                  <a:lnTo>
                    <a:pt x="234" y="409"/>
                  </a:lnTo>
                  <a:lnTo>
                    <a:pt x="239" y="409"/>
                  </a:lnTo>
                  <a:lnTo>
                    <a:pt x="244" y="409"/>
                  </a:lnTo>
                  <a:lnTo>
                    <a:pt x="250" y="407"/>
                  </a:lnTo>
                  <a:lnTo>
                    <a:pt x="255" y="407"/>
                  </a:lnTo>
                  <a:lnTo>
                    <a:pt x="260" y="404"/>
                  </a:lnTo>
                  <a:lnTo>
                    <a:pt x="265" y="404"/>
                  </a:lnTo>
                  <a:lnTo>
                    <a:pt x="273" y="402"/>
                  </a:lnTo>
                  <a:lnTo>
                    <a:pt x="280" y="402"/>
                  </a:lnTo>
                  <a:lnTo>
                    <a:pt x="283" y="399"/>
                  </a:lnTo>
                  <a:lnTo>
                    <a:pt x="288" y="394"/>
                  </a:lnTo>
                  <a:lnTo>
                    <a:pt x="290" y="392"/>
                  </a:lnTo>
                  <a:lnTo>
                    <a:pt x="295" y="387"/>
                  </a:lnTo>
                  <a:lnTo>
                    <a:pt x="301" y="381"/>
                  </a:lnTo>
                  <a:lnTo>
                    <a:pt x="306" y="376"/>
                  </a:lnTo>
                  <a:lnTo>
                    <a:pt x="311" y="371"/>
                  </a:lnTo>
                  <a:lnTo>
                    <a:pt x="313" y="369"/>
                  </a:lnTo>
                  <a:lnTo>
                    <a:pt x="321" y="364"/>
                  </a:lnTo>
                  <a:lnTo>
                    <a:pt x="331" y="356"/>
                  </a:lnTo>
                  <a:lnTo>
                    <a:pt x="341" y="348"/>
                  </a:lnTo>
                  <a:lnTo>
                    <a:pt x="352" y="343"/>
                  </a:lnTo>
                  <a:lnTo>
                    <a:pt x="362" y="336"/>
                  </a:lnTo>
                  <a:lnTo>
                    <a:pt x="372" y="328"/>
                  </a:lnTo>
                  <a:lnTo>
                    <a:pt x="382" y="323"/>
                  </a:lnTo>
                  <a:lnTo>
                    <a:pt x="392" y="315"/>
                  </a:lnTo>
                  <a:lnTo>
                    <a:pt x="402" y="308"/>
                  </a:lnTo>
                  <a:lnTo>
                    <a:pt x="400" y="303"/>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423" name="Freeform 2045">
              <a:extLst>
                <a:ext uri="{FF2B5EF4-FFF2-40B4-BE49-F238E27FC236}">
                  <a16:creationId xmlns:a16="http://schemas.microsoft.com/office/drawing/2014/main" id="{74F85B90-3CDA-1A4B-A736-602E65F2C82C}"/>
                </a:ext>
              </a:extLst>
            </p:cNvPr>
            <p:cNvSpPr>
              <a:spLocks/>
            </p:cNvSpPr>
            <p:nvPr/>
          </p:nvSpPr>
          <p:spPr bwMode="auto">
            <a:xfrm>
              <a:off x="6217093" y="2219372"/>
              <a:ext cx="53980" cy="104687"/>
            </a:xfrm>
            <a:custGeom>
              <a:avLst/>
              <a:gdLst>
                <a:gd name="T0" fmla="*/ 33 w 33"/>
                <a:gd name="T1" fmla="*/ 43 h 64"/>
                <a:gd name="T2" fmla="*/ 33 w 33"/>
                <a:gd name="T3" fmla="*/ 41 h 64"/>
                <a:gd name="T4" fmla="*/ 33 w 33"/>
                <a:gd name="T5" fmla="*/ 38 h 64"/>
                <a:gd name="T6" fmla="*/ 28 w 33"/>
                <a:gd name="T7" fmla="*/ 38 h 64"/>
                <a:gd name="T8" fmla="*/ 28 w 33"/>
                <a:gd name="T9" fmla="*/ 36 h 64"/>
                <a:gd name="T10" fmla="*/ 26 w 33"/>
                <a:gd name="T11" fmla="*/ 33 h 64"/>
                <a:gd name="T12" fmla="*/ 23 w 33"/>
                <a:gd name="T13" fmla="*/ 28 h 64"/>
                <a:gd name="T14" fmla="*/ 23 w 33"/>
                <a:gd name="T15" fmla="*/ 26 h 64"/>
                <a:gd name="T16" fmla="*/ 23 w 33"/>
                <a:gd name="T17" fmla="*/ 23 h 64"/>
                <a:gd name="T18" fmla="*/ 23 w 33"/>
                <a:gd name="T19" fmla="*/ 20 h 64"/>
                <a:gd name="T20" fmla="*/ 26 w 33"/>
                <a:gd name="T21" fmla="*/ 18 h 64"/>
                <a:gd name="T22" fmla="*/ 26 w 33"/>
                <a:gd name="T23" fmla="*/ 13 h 64"/>
                <a:gd name="T24" fmla="*/ 23 w 33"/>
                <a:gd name="T25" fmla="*/ 10 h 64"/>
                <a:gd name="T26" fmla="*/ 20 w 33"/>
                <a:gd name="T27" fmla="*/ 8 h 64"/>
                <a:gd name="T28" fmla="*/ 18 w 33"/>
                <a:gd name="T29" fmla="*/ 5 h 64"/>
                <a:gd name="T30" fmla="*/ 15 w 33"/>
                <a:gd name="T31" fmla="*/ 3 h 64"/>
                <a:gd name="T32" fmla="*/ 13 w 33"/>
                <a:gd name="T33" fmla="*/ 3 h 64"/>
                <a:gd name="T34" fmla="*/ 10 w 33"/>
                <a:gd name="T35" fmla="*/ 3 h 64"/>
                <a:gd name="T36" fmla="*/ 8 w 33"/>
                <a:gd name="T37" fmla="*/ 3 h 64"/>
                <a:gd name="T38" fmla="*/ 8 w 33"/>
                <a:gd name="T39" fmla="*/ 0 h 64"/>
                <a:gd name="T40" fmla="*/ 8 w 33"/>
                <a:gd name="T41" fmla="*/ 0 h 64"/>
                <a:gd name="T42" fmla="*/ 5 w 33"/>
                <a:gd name="T43" fmla="*/ 3 h 64"/>
                <a:gd name="T44" fmla="*/ 3 w 33"/>
                <a:gd name="T45" fmla="*/ 8 h 64"/>
                <a:gd name="T46" fmla="*/ 0 w 33"/>
                <a:gd name="T47" fmla="*/ 10 h 64"/>
                <a:gd name="T48" fmla="*/ 3 w 33"/>
                <a:gd name="T49" fmla="*/ 13 h 64"/>
                <a:gd name="T50" fmla="*/ 3 w 33"/>
                <a:gd name="T51" fmla="*/ 15 h 64"/>
                <a:gd name="T52" fmla="*/ 3 w 33"/>
                <a:gd name="T53" fmla="*/ 18 h 64"/>
                <a:gd name="T54" fmla="*/ 5 w 33"/>
                <a:gd name="T55" fmla="*/ 18 h 64"/>
                <a:gd name="T56" fmla="*/ 5 w 33"/>
                <a:gd name="T57" fmla="*/ 23 h 64"/>
                <a:gd name="T58" fmla="*/ 5 w 33"/>
                <a:gd name="T59" fmla="*/ 28 h 64"/>
                <a:gd name="T60" fmla="*/ 5 w 33"/>
                <a:gd name="T61" fmla="*/ 31 h 64"/>
                <a:gd name="T62" fmla="*/ 5 w 33"/>
                <a:gd name="T63" fmla="*/ 38 h 64"/>
                <a:gd name="T64" fmla="*/ 3 w 33"/>
                <a:gd name="T65" fmla="*/ 43 h 64"/>
                <a:gd name="T66" fmla="*/ 5 w 33"/>
                <a:gd name="T67" fmla="*/ 48 h 64"/>
                <a:gd name="T68" fmla="*/ 5 w 33"/>
                <a:gd name="T69" fmla="*/ 51 h 64"/>
                <a:gd name="T70" fmla="*/ 3 w 33"/>
                <a:gd name="T71" fmla="*/ 48 h 64"/>
                <a:gd name="T72" fmla="*/ 3 w 33"/>
                <a:gd name="T73" fmla="*/ 51 h 64"/>
                <a:gd name="T74" fmla="*/ 5 w 33"/>
                <a:gd name="T75" fmla="*/ 54 h 64"/>
                <a:gd name="T76" fmla="*/ 15 w 33"/>
                <a:gd name="T77" fmla="*/ 59 h 64"/>
                <a:gd name="T78" fmla="*/ 15 w 33"/>
                <a:gd name="T79" fmla="*/ 64 h 64"/>
                <a:gd name="T80" fmla="*/ 18 w 33"/>
                <a:gd name="T81" fmla="*/ 64 h 64"/>
                <a:gd name="T82" fmla="*/ 20 w 33"/>
                <a:gd name="T83" fmla="*/ 64 h 64"/>
                <a:gd name="T84" fmla="*/ 20 w 33"/>
                <a:gd name="T85" fmla="*/ 64 h 64"/>
                <a:gd name="T86" fmla="*/ 20 w 33"/>
                <a:gd name="T87" fmla="*/ 61 h 64"/>
                <a:gd name="T88" fmla="*/ 23 w 33"/>
                <a:gd name="T89" fmla="*/ 61 h 64"/>
                <a:gd name="T90" fmla="*/ 23 w 33"/>
                <a:gd name="T91" fmla="*/ 61 h 64"/>
                <a:gd name="T92" fmla="*/ 20 w 33"/>
                <a:gd name="T93" fmla="*/ 59 h 64"/>
                <a:gd name="T94" fmla="*/ 23 w 33"/>
                <a:gd name="T95" fmla="*/ 56 h 64"/>
                <a:gd name="T96" fmla="*/ 23 w 33"/>
                <a:gd name="T97" fmla="*/ 59 h 64"/>
                <a:gd name="T98" fmla="*/ 26 w 33"/>
                <a:gd name="T99" fmla="*/ 56 h 64"/>
                <a:gd name="T100" fmla="*/ 28 w 33"/>
                <a:gd name="T101" fmla="*/ 56 h 64"/>
                <a:gd name="T102" fmla="*/ 28 w 33"/>
                <a:gd name="T103" fmla="*/ 54 h 64"/>
                <a:gd name="T104" fmla="*/ 28 w 33"/>
                <a:gd name="T105" fmla="*/ 51 h 64"/>
                <a:gd name="T106" fmla="*/ 31 w 33"/>
                <a:gd name="T107" fmla="*/ 48 h 64"/>
                <a:gd name="T108" fmla="*/ 33 w 33"/>
                <a:gd name="T109" fmla="*/ 48 h 64"/>
                <a:gd name="T110" fmla="*/ 33 w 33"/>
                <a:gd name="T111" fmla="*/ 4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3" h="64">
                  <a:moveTo>
                    <a:pt x="33" y="43"/>
                  </a:moveTo>
                  <a:lnTo>
                    <a:pt x="33" y="43"/>
                  </a:lnTo>
                  <a:lnTo>
                    <a:pt x="33" y="41"/>
                  </a:lnTo>
                  <a:lnTo>
                    <a:pt x="33" y="41"/>
                  </a:lnTo>
                  <a:lnTo>
                    <a:pt x="33" y="38"/>
                  </a:lnTo>
                  <a:lnTo>
                    <a:pt x="33" y="38"/>
                  </a:lnTo>
                  <a:lnTo>
                    <a:pt x="31" y="38"/>
                  </a:lnTo>
                  <a:lnTo>
                    <a:pt x="28" y="38"/>
                  </a:lnTo>
                  <a:lnTo>
                    <a:pt x="28" y="38"/>
                  </a:lnTo>
                  <a:lnTo>
                    <a:pt x="28" y="36"/>
                  </a:lnTo>
                  <a:lnTo>
                    <a:pt x="26" y="36"/>
                  </a:lnTo>
                  <a:lnTo>
                    <a:pt x="26" y="33"/>
                  </a:lnTo>
                  <a:lnTo>
                    <a:pt x="23" y="31"/>
                  </a:lnTo>
                  <a:lnTo>
                    <a:pt x="23" y="28"/>
                  </a:lnTo>
                  <a:lnTo>
                    <a:pt x="23" y="28"/>
                  </a:lnTo>
                  <a:lnTo>
                    <a:pt x="23" y="26"/>
                  </a:lnTo>
                  <a:lnTo>
                    <a:pt x="23" y="23"/>
                  </a:lnTo>
                  <a:lnTo>
                    <a:pt x="23" y="23"/>
                  </a:lnTo>
                  <a:lnTo>
                    <a:pt x="23" y="23"/>
                  </a:lnTo>
                  <a:lnTo>
                    <a:pt x="23" y="20"/>
                  </a:lnTo>
                  <a:lnTo>
                    <a:pt x="23" y="18"/>
                  </a:lnTo>
                  <a:lnTo>
                    <a:pt x="26" y="18"/>
                  </a:lnTo>
                  <a:lnTo>
                    <a:pt x="26" y="15"/>
                  </a:lnTo>
                  <a:lnTo>
                    <a:pt x="26" y="13"/>
                  </a:lnTo>
                  <a:lnTo>
                    <a:pt x="23" y="10"/>
                  </a:lnTo>
                  <a:lnTo>
                    <a:pt x="23" y="10"/>
                  </a:lnTo>
                  <a:lnTo>
                    <a:pt x="20" y="8"/>
                  </a:lnTo>
                  <a:lnTo>
                    <a:pt x="20" y="8"/>
                  </a:lnTo>
                  <a:lnTo>
                    <a:pt x="18" y="8"/>
                  </a:lnTo>
                  <a:lnTo>
                    <a:pt x="18" y="5"/>
                  </a:lnTo>
                  <a:lnTo>
                    <a:pt x="15" y="3"/>
                  </a:lnTo>
                  <a:lnTo>
                    <a:pt x="15" y="3"/>
                  </a:lnTo>
                  <a:lnTo>
                    <a:pt x="15" y="3"/>
                  </a:lnTo>
                  <a:lnTo>
                    <a:pt x="13" y="3"/>
                  </a:lnTo>
                  <a:lnTo>
                    <a:pt x="10" y="3"/>
                  </a:lnTo>
                  <a:lnTo>
                    <a:pt x="10" y="3"/>
                  </a:lnTo>
                  <a:lnTo>
                    <a:pt x="10" y="3"/>
                  </a:lnTo>
                  <a:lnTo>
                    <a:pt x="8" y="3"/>
                  </a:lnTo>
                  <a:lnTo>
                    <a:pt x="8" y="0"/>
                  </a:lnTo>
                  <a:lnTo>
                    <a:pt x="8" y="0"/>
                  </a:lnTo>
                  <a:lnTo>
                    <a:pt x="8" y="0"/>
                  </a:lnTo>
                  <a:lnTo>
                    <a:pt x="8" y="0"/>
                  </a:lnTo>
                  <a:lnTo>
                    <a:pt x="5" y="3"/>
                  </a:lnTo>
                  <a:lnTo>
                    <a:pt x="5" y="3"/>
                  </a:lnTo>
                  <a:lnTo>
                    <a:pt x="3" y="5"/>
                  </a:lnTo>
                  <a:lnTo>
                    <a:pt x="3" y="8"/>
                  </a:lnTo>
                  <a:lnTo>
                    <a:pt x="3" y="8"/>
                  </a:lnTo>
                  <a:lnTo>
                    <a:pt x="0" y="10"/>
                  </a:lnTo>
                  <a:lnTo>
                    <a:pt x="3" y="10"/>
                  </a:lnTo>
                  <a:lnTo>
                    <a:pt x="3" y="13"/>
                  </a:lnTo>
                  <a:lnTo>
                    <a:pt x="3" y="13"/>
                  </a:lnTo>
                  <a:lnTo>
                    <a:pt x="3" y="15"/>
                  </a:lnTo>
                  <a:lnTo>
                    <a:pt x="3" y="15"/>
                  </a:lnTo>
                  <a:lnTo>
                    <a:pt x="3" y="18"/>
                  </a:lnTo>
                  <a:lnTo>
                    <a:pt x="5" y="18"/>
                  </a:lnTo>
                  <a:lnTo>
                    <a:pt x="5" y="18"/>
                  </a:lnTo>
                  <a:lnTo>
                    <a:pt x="8" y="23"/>
                  </a:lnTo>
                  <a:lnTo>
                    <a:pt x="5" y="23"/>
                  </a:lnTo>
                  <a:lnTo>
                    <a:pt x="5" y="23"/>
                  </a:lnTo>
                  <a:lnTo>
                    <a:pt x="5" y="28"/>
                  </a:lnTo>
                  <a:lnTo>
                    <a:pt x="5" y="28"/>
                  </a:lnTo>
                  <a:lnTo>
                    <a:pt x="5" y="31"/>
                  </a:lnTo>
                  <a:lnTo>
                    <a:pt x="5" y="33"/>
                  </a:lnTo>
                  <a:lnTo>
                    <a:pt x="5" y="38"/>
                  </a:lnTo>
                  <a:lnTo>
                    <a:pt x="3" y="41"/>
                  </a:lnTo>
                  <a:lnTo>
                    <a:pt x="3" y="43"/>
                  </a:lnTo>
                  <a:lnTo>
                    <a:pt x="3" y="46"/>
                  </a:lnTo>
                  <a:lnTo>
                    <a:pt x="5" y="48"/>
                  </a:lnTo>
                  <a:lnTo>
                    <a:pt x="5" y="48"/>
                  </a:lnTo>
                  <a:lnTo>
                    <a:pt x="5" y="51"/>
                  </a:lnTo>
                  <a:lnTo>
                    <a:pt x="5" y="51"/>
                  </a:lnTo>
                  <a:lnTo>
                    <a:pt x="3" y="48"/>
                  </a:lnTo>
                  <a:lnTo>
                    <a:pt x="3" y="48"/>
                  </a:lnTo>
                  <a:lnTo>
                    <a:pt x="3" y="51"/>
                  </a:lnTo>
                  <a:lnTo>
                    <a:pt x="5" y="54"/>
                  </a:lnTo>
                  <a:lnTo>
                    <a:pt x="5" y="54"/>
                  </a:lnTo>
                  <a:lnTo>
                    <a:pt x="13" y="59"/>
                  </a:lnTo>
                  <a:lnTo>
                    <a:pt x="15" y="59"/>
                  </a:lnTo>
                  <a:lnTo>
                    <a:pt x="15" y="61"/>
                  </a:lnTo>
                  <a:lnTo>
                    <a:pt x="15" y="64"/>
                  </a:lnTo>
                  <a:lnTo>
                    <a:pt x="15" y="64"/>
                  </a:lnTo>
                  <a:lnTo>
                    <a:pt x="18" y="64"/>
                  </a:lnTo>
                  <a:lnTo>
                    <a:pt x="18" y="64"/>
                  </a:lnTo>
                  <a:lnTo>
                    <a:pt x="20" y="64"/>
                  </a:lnTo>
                  <a:lnTo>
                    <a:pt x="20" y="64"/>
                  </a:lnTo>
                  <a:lnTo>
                    <a:pt x="20" y="64"/>
                  </a:lnTo>
                  <a:lnTo>
                    <a:pt x="20" y="64"/>
                  </a:lnTo>
                  <a:lnTo>
                    <a:pt x="20" y="61"/>
                  </a:lnTo>
                  <a:lnTo>
                    <a:pt x="20" y="61"/>
                  </a:lnTo>
                  <a:lnTo>
                    <a:pt x="23" y="61"/>
                  </a:lnTo>
                  <a:lnTo>
                    <a:pt x="23" y="61"/>
                  </a:lnTo>
                  <a:lnTo>
                    <a:pt x="23" y="61"/>
                  </a:lnTo>
                  <a:lnTo>
                    <a:pt x="23" y="59"/>
                  </a:lnTo>
                  <a:lnTo>
                    <a:pt x="20" y="59"/>
                  </a:lnTo>
                  <a:lnTo>
                    <a:pt x="20" y="59"/>
                  </a:lnTo>
                  <a:lnTo>
                    <a:pt x="23" y="56"/>
                  </a:lnTo>
                  <a:lnTo>
                    <a:pt x="23" y="59"/>
                  </a:lnTo>
                  <a:lnTo>
                    <a:pt x="23" y="59"/>
                  </a:lnTo>
                  <a:lnTo>
                    <a:pt x="23" y="56"/>
                  </a:lnTo>
                  <a:lnTo>
                    <a:pt x="26" y="56"/>
                  </a:lnTo>
                  <a:lnTo>
                    <a:pt x="28" y="56"/>
                  </a:lnTo>
                  <a:lnTo>
                    <a:pt x="28" y="56"/>
                  </a:lnTo>
                  <a:lnTo>
                    <a:pt x="28" y="56"/>
                  </a:lnTo>
                  <a:lnTo>
                    <a:pt x="28" y="54"/>
                  </a:lnTo>
                  <a:lnTo>
                    <a:pt x="28" y="51"/>
                  </a:lnTo>
                  <a:lnTo>
                    <a:pt x="28" y="51"/>
                  </a:lnTo>
                  <a:lnTo>
                    <a:pt x="31" y="51"/>
                  </a:lnTo>
                  <a:lnTo>
                    <a:pt x="31" y="48"/>
                  </a:lnTo>
                  <a:lnTo>
                    <a:pt x="31" y="48"/>
                  </a:lnTo>
                  <a:lnTo>
                    <a:pt x="33" y="48"/>
                  </a:lnTo>
                  <a:lnTo>
                    <a:pt x="33" y="46"/>
                  </a:lnTo>
                  <a:lnTo>
                    <a:pt x="33" y="46"/>
                  </a:lnTo>
                  <a:lnTo>
                    <a:pt x="33" y="43"/>
                  </a:lnTo>
                  <a:close/>
                </a:path>
              </a:pathLst>
            </a:custGeom>
            <a:solidFill>
              <a:schemeClr val="bg2">
                <a:lumMod val="60000"/>
                <a:lumOff val="40000"/>
              </a:schemeClr>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424" name="Freeform 2046">
              <a:extLst>
                <a:ext uri="{FF2B5EF4-FFF2-40B4-BE49-F238E27FC236}">
                  <a16:creationId xmlns:a16="http://schemas.microsoft.com/office/drawing/2014/main" id="{4DDEC36A-DA0F-864D-9878-C4B111B881E4}"/>
                </a:ext>
              </a:extLst>
            </p:cNvPr>
            <p:cNvSpPr>
              <a:spLocks noEditPoints="1"/>
            </p:cNvSpPr>
            <p:nvPr/>
          </p:nvSpPr>
          <p:spPr bwMode="auto">
            <a:xfrm>
              <a:off x="6192558" y="1586343"/>
              <a:ext cx="29443" cy="13086"/>
            </a:xfrm>
            <a:custGeom>
              <a:avLst/>
              <a:gdLst>
                <a:gd name="T0" fmla="*/ 18 w 18"/>
                <a:gd name="T1" fmla="*/ 8 h 8"/>
                <a:gd name="T2" fmla="*/ 15 w 18"/>
                <a:gd name="T3" fmla="*/ 5 h 8"/>
                <a:gd name="T4" fmla="*/ 15 w 18"/>
                <a:gd name="T5" fmla="*/ 8 h 8"/>
                <a:gd name="T6" fmla="*/ 15 w 18"/>
                <a:gd name="T7" fmla="*/ 8 h 8"/>
                <a:gd name="T8" fmla="*/ 15 w 18"/>
                <a:gd name="T9" fmla="*/ 8 h 8"/>
                <a:gd name="T10" fmla="*/ 15 w 18"/>
                <a:gd name="T11" fmla="*/ 8 h 8"/>
                <a:gd name="T12" fmla="*/ 18 w 18"/>
                <a:gd name="T13" fmla="*/ 8 h 8"/>
                <a:gd name="T14" fmla="*/ 18 w 18"/>
                <a:gd name="T15" fmla="*/ 8 h 8"/>
                <a:gd name="T16" fmla="*/ 18 w 18"/>
                <a:gd name="T17" fmla="*/ 8 h 8"/>
                <a:gd name="T18" fmla="*/ 18 w 18"/>
                <a:gd name="T19" fmla="*/ 8 h 8"/>
                <a:gd name="T20" fmla="*/ 2 w 18"/>
                <a:gd name="T21" fmla="*/ 3 h 8"/>
                <a:gd name="T22" fmla="*/ 0 w 18"/>
                <a:gd name="T23" fmla="*/ 3 h 8"/>
                <a:gd name="T24" fmla="*/ 0 w 18"/>
                <a:gd name="T25" fmla="*/ 5 h 8"/>
                <a:gd name="T26" fmla="*/ 0 w 18"/>
                <a:gd name="T27" fmla="*/ 5 h 8"/>
                <a:gd name="T28" fmla="*/ 2 w 18"/>
                <a:gd name="T29" fmla="*/ 5 h 8"/>
                <a:gd name="T30" fmla="*/ 2 w 18"/>
                <a:gd name="T31" fmla="*/ 5 h 8"/>
                <a:gd name="T32" fmla="*/ 2 w 18"/>
                <a:gd name="T33" fmla="*/ 5 h 8"/>
                <a:gd name="T34" fmla="*/ 2 w 18"/>
                <a:gd name="T35" fmla="*/ 5 h 8"/>
                <a:gd name="T36" fmla="*/ 2 w 18"/>
                <a:gd name="T37" fmla="*/ 5 h 8"/>
                <a:gd name="T38" fmla="*/ 2 w 18"/>
                <a:gd name="T39" fmla="*/ 3 h 8"/>
                <a:gd name="T40" fmla="*/ 10 w 18"/>
                <a:gd name="T41" fmla="*/ 3 h 8"/>
                <a:gd name="T42" fmla="*/ 10 w 18"/>
                <a:gd name="T43" fmla="*/ 3 h 8"/>
                <a:gd name="T44" fmla="*/ 10 w 18"/>
                <a:gd name="T45" fmla="*/ 0 h 8"/>
                <a:gd name="T46" fmla="*/ 7 w 18"/>
                <a:gd name="T47" fmla="*/ 0 h 8"/>
                <a:gd name="T48" fmla="*/ 7 w 18"/>
                <a:gd name="T49" fmla="*/ 0 h 8"/>
                <a:gd name="T50" fmla="*/ 7 w 18"/>
                <a:gd name="T51" fmla="*/ 0 h 8"/>
                <a:gd name="T52" fmla="*/ 7 w 18"/>
                <a:gd name="T53" fmla="*/ 0 h 8"/>
                <a:gd name="T54" fmla="*/ 7 w 18"/>
                <a:gd name="T55" fmla="*/ 0 h 8"/>
                <a:gd name="T56" fmla="*/ 5 w 18"/>
                <a:gd name="T57" fmla="*/ 0 h 8"/>
                <a:gd name="T58" fmla="*/ 5 w 18"/>
                <a:gd name="T59" fmla="*/ 0 h 8"/>
                <a:gd name="T60" fmla="*/ 5 w 18"/>
                <a:gd name="T61" fmla="*/ 0 h 8"/>
                <a:gd name="T62" fmla="*/ 5 w 18"/>
                <a:gd name="T63" fmla="*/ 0 h 8"/>
                <a:gd name="T64" fmla="*/ 5 w 18"/>
                <a:gd name="T65" fmla="*/ 3 h 8"/>
                <a:gd name="T66" fmla="*/ 5 w 18"/>
                <a:gd name="T67" fmla="*/ 3 h 8"/>
                <a:gd name="T68" fmla="*/ 5 w 18"/>
                <a:gd name="T69" fmla="*/ 3 h 8"/>
                <a:gd name="T70" fmla="*/ 5 w 18"/>
                <a:gd name="T71" fmla="*/ 3 h 8"/>
                <a:gd name="T72" fmla="*/ 5 w 18"/>
                <a:gd name="T73" fmla="*/ 3 h 8"/>
                <a:gd name="T74" fmla="*/ 5 w 18"/>
                <a:gd name="T75" fmla="*/ 3 h 8"/>
                <a:gd name="T76" fmla="*/ 2 w 18"/>
                <a:gd name="T77" fmla="*/ 3 h 8"/>
                <a:gd name="T78" fmla="*/ 2 w 18"/>
                <a:gd name="T79" fmla="*/ 3 h 8"/>
                <a:gd name="T80" fmla="*/ 5 w 18"/>
                <a:gd name="T81" fmla="*/ 5 h 8"/>
                <a:gd name="T82" fmla="*/ 5 w 18"/>
                <a:gd name="T83" fmla="*/ 5 h 8"/>
                <a:gd name="T84" fmla="*/ 10 w 18"/>
                <a:gd name="T85" fmla="*/ 5 h 8"/>
                <a:gd name="T86" fmla="*/ 10 w 18"/>
                <a:gd name="T87" fmla="*/ 5 h 8"/>
                <a:gd name="T88" fmla="*/ 10 w 18"/>
                <a:gd name="T89" fmla="*/ 5 h 8"/>
                <a:gd name="T90" fmla="*/ 10 w 18"/>
                <a:gd name="T91" fmla="*/ 5 h 8"/>
                <a:gd name="T92" fmla="*/ 10 w 18"/>
                <a:gd name="T93" fmla="*/ 3 h 8"/>
                <a:gd name="T94" fmla="*/ 10 w 18"/>
                <a:gd name="T95" fmla="*/ 5 h 8"/>
                <a:gd name="T96" fmla="*/ 12 w 18"/>
                <a:gd name="T97" fmla="*/ 5 h 8"/>
                <a:gd name="T98" fmla="*/ 12 w 18"/>
                <a:gd name="T99" fmla="*/ 3 h 8"/>
                <a:gd name="T100" fmla="*/ 12 w 18"/>
                <a:gd name="T101" fmla="*/ 3 h 8"/>
                <a:gd name="T102" fmla="*/ 10 w 18"/>
                <a:gd name="T103" fmla="*/ 3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 h="8">
                  <a:moveTo>
                    <a:pt x="18" y="8"/>
                  </a:moveTo>
                  <a:lnTo>
                    <a:pt x="15" y="5"/>
                  </a:lnTo>
                  <a:lnTo>
                    <a:pt x="15" y="8"/>
                  </a:lnTo>
                  <a:lnTo>
                    <a:pt x="15" y="8"/>
                  </a:lnTo>
                  <a:lnTo>
                    <a:pt x="15" y="8"/>
                  </a:lnTo>
                  <a:lnTo>
                    <a:pt x="15" y="8"/>
                  </a:lnTo>
                  <a:lnTo>
                    <a:pt x="18" y="8"/>
                  </a:lnTo>
                  <a:lnTo>
                    <a:pt x="18" y="8"/>
                  </a:lnTo>
                  <a:lnTo>
                    <a:pt x="18" y="8"/>
                  </a:lnTo>
                  <a:lnTo>
                    <a:pt x="18" y="8"/>
                  </a:lnTo>
                  <a:close/>
                  <a:moveTo>
                    <a:pt x="2" y="3"/>
                  </a:moveTo>
                  <a:lnTo>
                    <a:pt x="0" y="3"/>
                  </a:lnTo>
                  <a:lnTo>
                    <a:pt x="0" y="5"/>
                  </a:lnTo>
                  <a:lnTo>
                    <a:pt x="0" y="5"/>
                  </a:lnTo>
                  <a:lnTo>
                    <a:pt x="2" y="5"/>
                  </a:lnTo>
                  <a:lnTo>
                    <a:pt x="2" y="5"/>
                  </a:lnTo>
                  <a:lnTo>
                    <a:pt x="2" y="5"/>
                  </a:lnTo>
                  <a:lnTo>
                    <a:pt x="2" y="5"/>
                  </a:lnTo>
                  <a:lnTo>
                    <a:pt x="2" y="5"/>
                  </a:lnTo>
                  <a:lnTo>
                    <a:pt x="2" y="3"/>
                  </a:lnTo>
                  <a:close/>
                  <a:moveTo>
                    <a:pt x="10" y="3"/>
                  </a:moveTo>
                  <a:lnTo>
                    <a:pt x="10" y="3"/>
                  </a:lnTo>
                  <a:lnTo>
                    <a:pt x="10" y="0"/>
                  </a:lnTo>
                  <a:lnTo>
                    <a:pt x="7" y="0"/>
                  </a:lnTo>
                  <a:lnTo>
                    <a:pt x="7" y="0"/>
                  </a:lnTo>
                  <a:lnTo>
                    <a:pt x="7" y="0"/>
                  </a:lnTo>
                  <a:lnTo>
                    <a:pt x="7" y="0"/>
                  </a:lnTo>
                  <a:lnTo>
                    <a:pt x="7" y="0"/>
                  </a:lnTo>
                  <a:lnTo>
                    <a:pt x="5" y="0"/>
                  </a:lnTo>
                  <a:lnTo>
                    <a:pt x="5" y="0"/>
                  </a:lnTo>
                  <a:lnTo>
                    <a:pt x="5" y="0"/>
                  </a:lnTo>
                  <a:lnTo>
                    <a:pt x="5" y="0"/>
                  </a:lnTo>
                  <a:lnTo>
                    <a:pt x="5" y="3"/>
                  </a:lnTo>
                  <a:lnTo>
                    <a:pt x="5" y="3"/>
                  </a:lnTo>
                  <a:lnTo>
                    <a:pt x="5" y="3"/>
                  </a:lnTo>
                  <a:lnTo>
                    <a:pt x="5" y="3"/>
                  </a:lnTo>
                  <a:lnTo>
                    <a:pt x="5" y="3"/>
                  </a:lnTo>
                  <a:lnTo>
                    <a:pt x="5" y="3"/>
                  </a:lnTo>
                  <a:lnTo>
                    <a:pt x="2" y="3"/>
                  </a:lnTo>
                  <a:lnTo>
                    <a:pt x="2" y="3"/>
                  </a:lnTo>
                  <a:lnTo>
                    <a:pt x="5" y="5"/>
                  </a:lnTo>
                  <a:lnTo>
                    <a:pt x="5" y="5"/>
                  </a:lnTo>
                  <a:lnTo>
                    <a:pt x="10" y="5"/>
                  </a:lnTo>
                  <a:lnTo>
                    <a:pt x="10" y="5"/>
                  </a:lnTo>
                  <a:lnTo>
                    <a:pt x="10" y="5"/>
                  </a:lnTo>
                  <a:lnTo>
                    <a:pt x="10" y="5"/>
                  </a:lnTo>
                  <a:lnTo>
                    <a:pt x="10" y="3"/>
                  </a:lnTo>
                  <a:lnTo>
                    <a:pt x="10" y="5"/>
                  </a:lnTo>
                  <a:lnTo>
                    <a:pt x="12" y="5"/>
                  </a:lnTo>
                  <a:lnTo>
                    <a:pt x="12" y="3"/>
                  </a:lnTo>
                  <a:lnTo>
                    <a:pt x="12" y="3"/>
                  </a:lnTo>
                  <a:lnTo>
                    <a:pt x="10" y="3"/>
                  </a:lnTo>
                  <a:close/>
                </a:path>
              </a:pathLst>
            </a:custGeom>
            <a:grp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sp>
          <p:nvSpPr>
            <p:cNvPr id="425" name="Freeform 2047">
              <a:extLst>
                <a:ext uri="{FF2B5EF4-FFF2-40B4-BE49-F238E27FC236}">
                  <a16:creationId xmlns:a16="http://schemas.microsoft.com/office/drawing/2014/main" id="{76671DA9-5F0E-BA4E-8D6D-D535DF99C9E5}"/>
                </a:ext>
              </a:extLst>
            </p:cNvPr>
            <p:cNvSpPr>
              <a:spLocks/>
            </p:cNvSpPr>
            <p:nvPr/>
          </p:nvSpPr>
          <p:spPr bwMode="auto">
            <a:xfrm>
              <a:off x="7509325" y="2369860"/>
              <a:ext cx="420385" cy="340233"/>
            </a:xfrm>
            <a:custGeom>
              <a:avLst/>
              <a:gdLst>
                <a:gd name="T0" fmla="*/ 247 w 257"/>
                <a:gd name="T1" fmla="*/ 25 h 208"/>
                <a:gd name="T2" fmla="*/ 235 w 257"/>
                <a:gd name="T3" fmla="*/ 28 h 208"/>
                <a:gd name="T4" fmla="*/ 235 w 257"/>
                <a:gd name="T5" fmla="*/ 23 h 208"/>
                <a:gd name="T6" fmla="*/ 217 w 257"/>
                <a:gd name="T7" fmla="*/ 33 h 208"/>
                <a:gd name="T8" fmla="*/ 199 w 257"/>
                <a:gd name="T9" fmla="*/ 40 h 208"/>
                <a:gd name="T10" fmla="*/ 194 w 257"/>
                <a:gd name="T11" fmla="*/ 15 h 208"/>
                <a:gd name="T12" fmla="*/ 186 w 257"/>
                <a:gd name="T13" fmla="*/ 12 h 208"/>
                <a:gd name="T14" fmla="*/ 173 w 257"/>
                <a:gd name="T15" fmla="*/ 2 h 208"/>
                <a:gd name="T16" fmla="*/ 168 w 257"/>
                <a:gd name="T17" fmla="*/ 15 h 208"/>
                <a:gd name="T18" fmla="*/ 161 w 257"/>
                <a:gd name="T19" fmla="*/ 20 h 208"/>
                <a:gd name="T20" fmla="*/ 156 w 257"/>
                <a:gd name="T21" fmla="*/ 30 h 208"/>
                <a:gd name="T22" fmla="*/ 145 w 257"/>
                <a:gd name="T23" fmla="*/ 25 h 208"/>
                <a:gd name="T24" fmla="*/ 140 w 257"/>
                <a:gd name="T25" fmla="*/ 28 h 208"/>
                <a:gd name="T26" fmla="*/ 133 w 257"/>
                <a:gd name="T27" fmla="*/ 35 h 208"/>
                <a:gd name="T28" fmla="*/ 122 w 257"/>
                <a:gd name="T29" fmla="*/ 28 h 208"/>
                <a:gd name="T30" fmla="*/ 107 w 257"/>
                <a:gd name="T31" fmla="*/ 25 h 208"/>
                <a:gd name="T32" fmla="*/ 84 w 257"/>
                <a:gd name="T33" fmla="*/ 20 h 208"/>
                <a:gd name="T34" fmla="*/ 71 w 257"/>
                <a:gd name="T35" fmla="*/ 30 h 208"/>
                <a:gd name="T36" fmla="*/ 66 w 257"/>
                <a:gd name="T37" fmla="*/ 48 h 208"/>
                <a:gd name="T38" fmla="*/ 59 w 257"/>
                <a:gd name="T39" fmla="*/ 56 h 208"/>
                <a:gd name="T40" fmla="*/ 43 w 257"/>
                <a:gd name="T41" fmla="*/ 61 h 208"/>
                <a:gd name="T42" fmla="*/ 43 w 257"/>
                <a:gd name="T43" fmla="*/ 71 h 208"/>
                <a:gd name="T44" fmla="*/ 33 w 257"/>
                <a:gd name="T45" fmla="*/ 73 h 208"/>
                <a:gd name="T46" fmla="*/ 23 w 257"/>
                <a:gd name="T47" fmla="*/ 68 h 208"/>
                <a:gd name="T48" fmla="*/ 10 w 257"/>
                <a:gd name="T49" fmla="*/ 66 h 208"/>
                <a:gd name="T50" fmla="*/ 8 w 257"/>
                <a:gd name="T51" fmla="*/ 73 h 208"/>
                <a:gd name="T52" fmla="*/ 8 w 257"/>
                <a:gd name="T53" fmla="*/ 81 h 208"/>
                <a:gd name="T54" fmla="*/ 5 w 257"/>
                <a:gd name="T55" fmla="*/ 89 h 208"/>
                <a:gd name="T56" fmla="*/ 5 w 257"/>
                <a:gd name="T57" fmla="*/ 94 h 208"/>
                <a:gd name="T58" fmla="*/ 3 w 257"/>
                <a:gd name="T59" fmla="*/ 112 h 208"/>
                <a:gd name="T60" fmla="*/ 8 w 257"/>
                <a:gd name="T61" fmla="*/ 117 h 208"/>
                <a:gd name="T62" fmla="*/ 13 w 257"/>
                <a:gd name="T63" fmla="*/ 142 h 208"/>
                <a:gd name="T64" fmla="*/ 15 w 257"/>
                <a:gd name="T65" fmla="*/ 160 h 208"/>
                <a:gd name="T66" fmla="*/ 36 w 257"/>
                <a:gd name="T67" fmla="*/ 175 h 208"/>
                <a:gd name="T68" fmla="*/ 46 w 257"/>
                <a:gd name="T69" fmla="*/ 203 h 208"/>
                <a:gd name="T70" fmla="*/ 87 w 257"/>
                <a:gd name="T71" fmla="*/ 206 h 208"/>
                <a:gd name="T72" fmla="*/ 105 w 257"/>
                <a:gd name="T73" fmla="*/ 203 h 208"/>
                <a:gd name="T74" fmla="*/ 127 w 257"/>
                <a:gd name="T75" fmla="*/ 196 h 208"/>
                <a:gd name="T76" fmla="*/ 125 w 257"/>
                <a:gd name="T77" fmla="*/ 180 h 208"/>
                <a:gd name="T78" fmla="*/ 130 w 257"/>
                <a:gd name="T79" fmla="*/ 168 h 208"/>
                <a:gd name="T80" fmla="*/ 148 w 257"/>
                <a:gd name="T81" fmla="*/ 165 h 208"/>
                <a:gd name="T82" fmla="*/ 145 w 257"/>
                <a:gd name="T83" fmla="*/ 157 h 208"/>
                <a:gd name="T84" fmla="*/ 161 w 257"/>
                <a:gd name="T85" fmla="*/ 155 h 208"/>
                <a:gd name="T86" fmla="*/ 171 w 257"/>
                <a:gd name="T87" fmla="*/ 155 h 208"/>
                <a:gd name="T88" fmla="*/ 176 w 257"/>
                <a:gd name="T89" fmla="*/ 135 h 208"/>
                <a:gd name="T90" fmla="*/ 184 w 257"/>
                <a:gd name="T91" fmla="*/ 122 h 208"/>
                <a:gd name="T92" fmla="*/ 178 w 257"/>
                <a:gd name="T93" fmla="*/ 104 h 208"/>
                <a:gd name="T94" fmla="*/ 199 w 257"/>
                <a:gd name="T95" fmla="*/ 104 h 208"/>
                <a:gd name="T96" fmla="*/ 199 w 257"/>
                <a:gd name="T97" fmla="*/ 91 h 208"/>
                <a:gd name="T98" fmla="*/ 204 w 257"/>
                <a:gd name="T99" fmla="*/ 81 h 208"/>
                <a:gd name="T100" fmla="*/ 206 w 257"/>
                <a:gd name="T101" fmla="*/ 73 h 208"/>
                <a:gd name="T102" fmla="*/ 204 w 257"/>
                <a:gd name="T103" fmla="*/ 66 h 208"/>
                <a:gd name="T104" fmla="*/ 196 w 257"/>
                <a:gd name="T105" fmla="*/ 53 h 208"/>
                <a:gd name="T106" fmla="*/ 204 w 257"/>
                <a:gd name="T107" fmla="*/ 45 h 208"/>
                <a:gd name="T108" fmla="*/ 217 w 257"/>
                <a:gd name="T109" fmla="*/ 38 h 208"/>
                <a:gd name="T110" fmla="*/ 240 w 257"/>
                <a:gd name="T111" fmla="*/ 35 h 208"/>
                <a:gd name="T112" fmla="*/ 252 w 257"/>
                <a:gd name="T113" fmla="*/ 33 h 208"/>
                <a:gd name="T114" fmla="*/ 255 w 257"/>
                <a:gd name="T115" fmla="*/ 28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57" h="208">
                  <a:moveTo>
                    <a:pt x="257" y="28"/>
                  </a:moveTo>
                  <a:lnTo>
                    <a:pt x="257" y="28"/>
                  </a:lnTo>
                  <a:lnTo>
                    <a:pt x="255" y="25"/>
                  </a:lnTo>
                  <a:lnTo>
                    <a:pt x="252" y="25"/>
                  </a:lnTo>
                  <a:lnTo>
                    <a:pt x="250" y="25"/>
                  </a:lnTo>
                  <a:lnTo>
                    <a:pt x="250" y="25"/>
                  </a:lnTo>
                  <a:lnTo>
                    <a:pt x="247" y="25"/>
                  </a:lnTo>
                  <a:lnTo>
                    <a:pt x="245" y="25"/>
                  </a:lnTo>
                  <a:lnTo>
                    <a:pt x="245" y="25"/>
                  </a:lnTo>
                  <a:lnTo>
                    <a:pt x="245" y="25"/>
                  </a:lnTo>
                  <a:lnTo>
                    <a:pt x="242" y="25"/>
                  </a:lnTo>
                  <a:lnTo>
                    <a:pt x="240" y="28"/>
                  </a:lnTo>
                  <a:lnTo>
                    <a:pt x="237" y="28"/>
                  </a:lnTo>
                  <a:lnTo>
                    <a:pt x="235" y="28"/>
                  </a:lnTo>
                  <a:lnTo>
                    <a:pt x="235" y="28"/>
                  </a:lnTo>
                  <a:lnTo>
                    <a:pt x="235" y="28"/>
                  </a:lnTo>
                  <a:lnTo>
                    <a:pt x="237" y="25"/>
                  </a:lnTo>
                  <a:lnTo>
                    <a:pt x="237" y="25"/>
                  </a:lnTo>
                  <a:lnTo>
                    <a:pt x="235" y="25"/>
                  </a:lnTo>
                  <a:lnTo>
                    <a:pt x="235" y="23"/>
                  </a:lnTo>
                  <a:lnTo>
                    <a:pt x="235" y="23"/>
                  </a:lnTo>
                  <a:lnTo>
                    <a:pt x="232" y="23"/>
                  </a:lnTo>
                  <a:lnTo>
                    <a:pt x="232" y="23"/>
                  </a:lnTo>
                  <a:lnTo>
                    <a:pt x="229" y="23"/>
                  </a:lnTo>
                  <a:lnTo>
                    <a:pt x="227" y="25"/>
                  </a:lnTo>
                  <a:lnTo>
                    <a:pt x="222" y="28"/>
                  </a:lnTo>
                  <a:lnTo>
                    <a:pt x="219" y="30"/>
                  </a:lnTo>
                  <a:lnTo>
                    <a:pt x="217" y="33"/>
                  </a:lnTo>
                  <a:lnTo>
                    <a:pt x="212" y="35"/>
                  </a:lnTo>
                  <a:lnTo>
                    <a:pt x="209" y="35"/>
                  </a:lnTo>
                  <a:lnTo>
                    <a:pt x="206" y="38"/>
                  </a:lnTo>
                  <a:lnTo>
                    <a:pt x="204" y="40"/>
                  </a:lnTo>
                  <a:lnTo>
                    <a:pt x="201" y="40"/>
                  </a:lnTo>
                  <a:lnTo>
                    <a:pt x="201" y="40"/>
                  </a:lnTo>
                  <a:lnTo>
                    <a:pt x="199" y="40"/>
                  </a:lnTo>
                  <a:lnTo>
                    <a:pt x="196" y="38"/>
                  </a:lnTo>
                  <a:lnTo>
                    <a:pt x="196" y="33"/>
                  </a:lnTo>
                  <a:lnTo>
                    <a:pt x="194" y="30"/>
                  </a:lnTo>
                  <a:lnTo>
                    <a:pt x="194" y="28"/>
                  </a:lnTo>
                  <a:lnTo>
                    <a:pt x="194" y="23"/>
                  </a:lnTo>
                  <a:lnTo>
                    <a:pt x="194" y="20"/>
                  </a:lnTo>
                  <a:lnTo>
                    <a:pt x="194" y="15"/>
                  </a:lnTo>
                  <a:lnTo>
                    <a:pt x="194" y="15"/>
                  </a:lnTo>
                  <a:lnTo>
                    <a:pt x="194" y="12"/>
                  </a:lnTo>
                  <a:lnTo>
                    <a:pt x="191" y="12"/>
                  </a:lnTo>
                  <a:lnTo>
                    <a:pt x="191" y="12"/>
                  </a:lnTo>
                  <a:lnTo>
                    <a:pt x="189" y="12"/>
                  </a:lnTo>
                  <a:lnTo>
                    <a:pt x="189" y="12"/>
                  </a:lnTo>
                  <a:lnTo>
                    <a:pt x="186" y="12"/>
                  </a:lnTo>
                  <a:lnTo>
                    <a:pt x="186" y="10"/>
                  </a:lnTo>
                  <a:lnTo>
                    <a:pt x="186" y="7"/>
                  </a:lnTo>
                  <a:lnTo>
                    <a:pt x="184" y="5"/>
                  </a:lnTo>
                  <a:lnTo>
                    <a:pt x="181" y="2"/>
                  </a:lnTo>
                  <a:lnTo>
                    <a:pt x="176" y="0"/>
                  </a:lnTo>
                  <a:lnTo>
                    <a:pt x="173" y="0"/>
                  </a:lnTo>
                  <a:lnTo>
                    <a:pt x="173" y="2"/>
                  </a:lnTo>
                  <a:lnTo>
                    <a:pt x="171" y="7"/>
                  </a:lnTo>
                  <a:lnTo>
                    <a:pt x="171" y="10"/>
                  </a:lnTo>
                  <a:lnTo>
                    <a:pt x="168" y="10"/>
                  </a:lnTo>
                  <a:lnTo>
                    <a:pt x="168" y="12"/>
                  </a:lnTo>
                  <a:lnTo>
                    <a:pt x="168" y="12"/>
                  </a:lnTo>
                  <a:lnTo>
                    <a:pt x="168" y="12"/>
                  </a:lnTo>
                  <a:lnTo>
                    <a:pt x="168" y="15"/>
                  </a:lnTo>
                  <a:lnTo>
                    <a:pt x="168" y="17"/>
                  </a:lnTo>
                  <a:lnTo>
                    <a:pt x="168" y="20"/>
                  </a:lnTo>
                  <a:lnTo>
                    <a:pt x="168" y="20"/>
                  </a:lnTo>
                  <a:lnTo>
                    <a:pt x="166" y="20"/>
                  </a:lnTo>
                  <a:lnTo>
                    <a:pt x="166" y="20"/>
                  </a:lnTo>
                  <a:lnTo>
                    <a:pt x="163" y="20"/>
                  </a:lnTo>
                  <a:lnTo>
                    <a:pt x="161" y="20"/>
                  </a:lnTo>
                  <a:lnTo>
                    <a:pt x="158" y="20"/>
                  </a:lnTo>
                  <a:lnTo>
                    <a:pt x="156" y="20"/>
                  </a:lnTo>
                  <a:lnTo>
                    <a:pt x="156" y="23"/>
                  </a:lnTo>
                  <a:lnTo>
                    <a:pt x="156" y="25"/>
                  </a:lnTo>
                  <a:lnTo>
                    <a:pt x="156" y="28"/>
                  </a:lnTo>
                  <a:lnTo>
                    <a:pt x="156" y="28"/>
                  </a:lnTo>
                  <a:lnTo>
                    <a:pt x="156" y="30"/>
                  </a:lnTo>
                  <a:lnTo>
                    <a:pt x="153" y="30"/>
                  </a:lnTo>
                  <a:lnTo>
                    <a:pt x="153" y="30"/>
                  </a:lnTo>
                  <a:lnTo>
                    <a:pt x="150" y="30"/>
                  </a:lnTo>
                  <a:lnTo>
                    <a:pt x="148" y="28"/>
                  </a:lnTo>
                  <a:lnTo>
                    <a:pt x="148" y="25"/>
                  </a:lnTo>
                  <a:lnTo>
                    <a:pt x="145" y="25"/>
                  </a:lnTo>
                  <a:lnTo>
                    <a:pt x="145" y="25"/>
                  </a:lnTo>
                  <a:lnTo>
                    <a:pt x="145" y="25"/>
                  </a:lnTo>
                  <a:lnTo>
                    <a:pt x="145" y="28"/>
                  </a:lnTo>
                  <a:lnTo>
                    <a:pt x="145" y="28"/>
                  </a:lnTo>
                  <a:lnTo>
                    <a:pt x="143" y="28"/>
                  </a:lnTo>
                  <a:lnTo>
                    <a:pt x="143" y="28"/>
                  </a:lnTo>
                  <a:lnTo>
                    <a:pt x="143" y="28"/>
                  </a:lnTo>
                  <a:lnTo>
                    <a:pt x="140" y="28"/>
                  </a:lnTo>
                  <a:lnTo>
                    <a:pt x="140" y="30"/>
                  </a:lnTo>
                  <a:lnTo>
                    <a:pt x="138" y="30"/>
                  </a:lnTo>
                  <a:lnTo>
                    <a:pt x="135" y="33"/>
                  </a:lnTo>
                  <a:lnTo>
                    <a:pt x="135" y="33"/>
                  </a:lnTo>
                  <a:lnTo>
                    <a:pt x="135" y="33"/>
                  </a:lnTo>
                  <a:lnTo>
                    <a:pt x="135" y="33"/>
                  </a:lnTo>
                  <a:lnTo>
                    <a:pt x="133" y="35"/>
                  </a:lnTo>
                  <a:lnTo>
                    <a:pt x="130" y="35"/>
                  </a:lnTo>
                  <a:lnTo>
                    <a:pt x="127" y="33"/>
                  </a:lnTo>
                  <a:lnTo>
                    <a:pt x="125" y="30"/>
                  </a:lnTo>
                  <a:lnTo>
                    <a:pt x="125" y="30"/>
                  </a:lnTo>
                  <a:lnTo>
                    <a:pt x="125" y="30"/>
                  </a:lnTo>
                  <a:lnTo>
                    <a:pt x="122" y="28"/>
                  </a:lnTo>
                  <a:lnTo>
                    <a:pt x="122" y="28"/>
                  </a:lnTo>
                  <a:lnTo>
                    <a:pt x="120" y="28"/>
                  </a:lnTo>
                  <a:lnTo>
                    <a:pt x="120" y="28"/>
                  </a:lnTo>
                  <a:lnTo>
                    <a:pt x="117" y="28"/>
                  </a:lnTo>
                  <a:lnTo>
                    <a:pt x="117" y="28"/>
                  </a:lnTo>
                  <a:lnTo>
                    <a:pt x="115" y="28"/>
                  </a:lnTo>
                  <a:lnTo>
                    <a:pt x="112" y="25"/>
                  </a:lnTo>
                  <a:lnTo>
                    <a:pt x="107" y="25"/>
                  </a:lnTo>
                  <a:lnTo>
                    <a:pt x="102" y="25"/>
                  </a:lnTo>
                  <a:lnTo>
                    <a:pt x="99" y="25"/>
                  </a:lnTo>
                  <a:lnTo>
                    <a:pt x="97" y="25"/>
                  </a:lnTo>
                  <a:lnTo>
                    <a:pt x="92" y="25"/>
                  </a:lnTo>
                  <a:lnTo>
                    <a:pt x="89" y="23"/>
                  </a:lnTo>
                  <a:lnTo>
                    <a:pt x="87" y="20"/>
                  </a:lnTo>
                  <a:lnTo>
                    <a:pt x="84" y="20"/>
                  </a:lnTo>
                  <a:lnTo>
                    <a:pt x="84" y="23"/>
                  </a:lnTo>
                  <a:lnTo>
                    <a:pt x="84" y="23"/>
                  </a:lnTo>
                  <a:lnTo>
                    <a:pt x="84" y="25"/>
                  </a:lnTo>
                  <a:lnTo>
                    <a:pt x="84" y="28"/>
                  </a:lnTo>
                  <a:lnTo>
                    <a:pt x="79" y="28"/>
                  </a:lnTo>
                  <a:lnTo>
                    <a:pt x="74" y="28"/>
                  </a:lnTo>
                  <a:lnTo>
                    <a:pt x="71" y="30"/>
                  </a:lnTo>
                  <a:lnTo>
                    <a:pt x="69" y="30"/>
                  </a:lnTo>
                  <a:lnTo>
                    <a:pt x="69" y="33"/>
                  </a:lnTo>
                  <a:lnTo>
                    <a:pt x="69" y="35"/>
                  </a:lnTo>
                  <a:lnTo>
                    <a:pt x="69" y="40"/>
                  </a:lnTo>
                  <a:lnTo>
                    <a:pt x="69" y="43"/>
                  </a:lnTo>
                  <a:lnTo>
                    <a:pt x="69" y="48"/>
                  </a:lnTo>
                  <a:lnTo>
                    <a:pt x="66" y="48"/>
                  </a:lnTo>
                  <a:lnTo>
                    <a:pt x="66" y="51"/>
                  </a:lnTo>
                  <a:lnTo>
                    <a:pt x="61" y="53"/>
                  </a:lnTo>
                  <a:lnTo>
                    <a:pt x="61" y="53"/>
                  </a:lnTo>
                  <a:lnTo>
                    <a:pt x="61" y="56"/>
                  </a:lnTo>
                  <a:lnTo>
                    <a:pt x="61" y="56"/>
                  </a:lnTo>
                  <a:lnTo>
                    <a:pt x="59" y="56"/>
                  </a:lnTo>
                  <a:lnTo>
                    <a:pt x="59" y="56"/>
                  </a:lnTo>
                  <a:lnTo>
                    <a:pt x="56" y="56"/>
                  </a:lnTo>
                  <a:lnTo>
                    <a:pt x="54" y="58"/>
                  </a:lnTo>
                  <a:lnTo>
                    <a:pt x="51" y="58"/>
                  </a:lnTo>
                  <a:lnTo>
                    <a:pt x="46" y="61"/>
                  </a:lnTo>
                  <a:lnTo>
                    <a:pt x="43" y="61"/>
                  </a:lnTo>
                  <a:lnTo>
                    <a:pt x="43" y="61"/>
                  </a:lnTo>
                  <a:lnTo>
                    <a:pt x="43" y="61"/>
                  </a:lnTo>
                  <a:lnTo>
                    <a:pt x="43" y="63"/>
                  </a:lnTo>
                  <a:lnTo>
                    <a:pt x="43" y="63"/>
                  </a:lnTo>
                  <a:lnTo>
                    <a:pt x="46" y="63"/>
                  </a:lnTo>
                  <a:lnTo>
                    <a:pt x="43" y="66"/>
                  </a:lnTo>
                  <a:lnTo>
                    <a:pt x="43" y="66"/>
                  </a:lnTo>
                  <a:lnTo>
                    <a:pt x="43" y="71"/>
                  </a:lnTo>
                  <a:lnTo>
                    <a:pt x="43" y="71"/>
                  </a:lnTo>
                  <a:lnTo>
                    <a:pt x="41" y="71"/>
                  </a:lnTo>
                  <a:lnTo>
                    <a:pt x="38" y="73"/>
                  </a:lnTo>
                  <a:lnTo>
                    <a:pt x="38" y="73"/>
                  </a:lnTo>
                  <a:lnTo>
                    <a:pt x="36" y="73"/>
                  </a:lnTo>
                  <a:lnTo>
                    <a:pt x="36" y="73"/>
                  </a:lnTo>
                  <a:lnTo>
                    <a:pt x="33" y="73"/>
                  </a:lnTo>
                  <a:lnTo>
                    <a:pt x="33" y="73"/>
                  </a:lnTo>
                  <a:lnTo>
                    <a:pt x="31" y="76"/>
                  </a:lnTo>
                  <a:lnTo>
                    <a:pt x="31" y="76"/>
                  </a:lnTo>
                  <a:lnTo>
                    <a:pt x="28" y="73"/>
                  </a:lnTo>
                  <a:lnTo>
                    <a:pt x="28" y="73"/>
                  </a:lnTo>
                  <a:lnTo>
                    <a:pt x="26" y="71"/>
                  </a:lnTo>
                  <a:lnTo>
                    <a:pt x="23" y="71"/>
                  </a:lnTo>
                  <a:lnTo>
                    <a:pt x="23" y="68"/>
                  </a:lnTo>
                  <a:lnTo>
                    <a:pt x="20" y="71"/>
                  </a:lnTo>
                  <a:lnTo>
                    <a:pt x="18" y="71"/>
                  </a:lnTo>
                  <a:lnTo>
                    <a:pt x="18" y="71"/>
                  </a:lnTo>
                  <a:lnTo>
                    <a:pt x="15" y="68"/>
                  </a:lnTo>
                  <a:lnTo>
                    <a:pt x="13" y="68"/>
                  </a:lnTo>
                  <a:lnTo>
                    <a:pt x="10" y="66"/>
                  </a:lnTo>
                  <a:lnTo>
                    <a:pt x="10" y="66"/>
                  </a:lnTo>
                  <a:lnTo>
                    <a:pt x="10" y="66"/>
                  </a:lnTo>
                  <a:lnTo>
                    <a:pt x="10" y="68"/>
                  </a:lnTo>
                  <a:lnTo>
                    <a:pt x="10" y="68"/>
                  </a:lnTo>
                  <a:lnTo>
                    <a:pt x="10" y="68"/>
                  </a:lnTo>
                  <a:lnTo>
                    <a:pt x="10" y="71"/>
                  </a:lnTo>
                  <a:lnTo>
                    <a:pt x="8" y="71"/>
                  </a:lnTo>
                  <a:lnTo>
                    <a:pt x="8" y="73"/>
                  </a:lnTo>
                  <a:lnTo>
                    <a:pt x="8" y="73"/>
                  </a:lnTo>
                  <a:lnTo>
                    <a:pt x="8" y="73"/>
                  </a:lnTo>
                  <a:lnTo>
                    <a:pt x="8" y="76"/>
                  </a:lnTo>
                  <a:lnTo>
                    <a:pt x="8" y="76"/>
                  </a:lnTo>
                  <a:lnTo>
                    <a:pt x="10" y="79"/>
                  </a:lnTo>
                  <a:lnTo>
                    <a:pt x="8" y="79"/>
                  </a:lnTo>
                  <a:lnTo>
                    <a:pt x="8" y="81"/>
                  </a:lnTo>
                  <a:lnTo>
                    <a:pt x="8" y="81"/>
                  </a:lnTo>
                  <a:lnTo>
                    <a:pt x="8" y="84"/>
                  </a:lnTo>
                  <a:lnTo>
                    <a:pt x="8" y="84"/>
                  </a:lnTo>
                  <a:lnTo>
                    <a:pt x="8" y="86"/>
                  </a:lnTo>
                  <a:lnTo>
                    <a:pt x="8" y="86"/>
                  </a:lnTo>
                  <a:lnTo>
                    <a:pt x="8" y="89"/>
                  </a:lnTo>
                  <a:lnTo>
                    <a:pt x="5" y="89"/>
                  </a:lnTo>
                  <a:lnTo>
                    <a:pt x="5" y="89"/>
                  </a:lnTo>
                  <a:lnTo>
                    <a:pt x="5" y="91"/>
                  </a:lnTo>
                  <a:lnTo>
                    <a:pt x="3" y="91"/>
                  </a:lnTo>
                  <a:lnTo>
                    <a:pt x="3" y="91"/>
                  </a:lnTo>
                  <a:lnTo>
                    <a:pt x="3" y="91"/>
                  </a:lnTo>
                  <a:lnTo>
                    <a:pt x="5" y="91"/>
                  </a:lnTo>
                  <a:lnTo>
                    <a:pt x="5" y="94"/>
                  </a:lnTo>
                  <a:lnTo>
                    <a:pt x="8" y="96"/>
                  </a:lnTo>
                  <a:lnTo>
                    <a:pt x="3" y="96"/>
                  </a:lnTo>
                  <a:lnTo>
                    <a:pt x="3" y="99"/>
                  </a:lnTo>
                  <a:lnTo>
                    <a:pt x="0" y="101"/>
                  </a:lnTo>
                  <a:lnTo>
                    <a:pt x="3" y="107"/>
                  </a:lnTo>
                  <a:lnTo>
                    <a:pt x="3" y="109"/>
                  </a:lnTo>
                  <a:lnTo>
                    <a:pt x="3" y="112"/>
                  </a:lnTo>
                  <a:lnTo>
                    <a:pt x="3" y="112"/>
                  </a:lnTo>
                  <a:lnTo>
                    <a:pt x="5" y="112"/>
                  </a:lnTo>
                  <a:lnTo>
                    <a:pt x="8" y="112"/>
                  </a:lnTo>
                  <a:lnTo>
                    <a:pt x="10" y="114"/>
                  </a:lnTo>
                  <a:lnTo>
                    <a:pt x="10" y="114"/>
                  </a:lnTo>
                  <a:lnTo>
                    <a:pt x="10" y="114"/>
                  </a:lnTo>
                  <a:lnTo>
                    <a:pt x="8" y="117"/>
                  </a:lnTo>
                  <a:lnTo>
                    <a:pt x="8" y="119"/>
                  </a:lnTo>
                  <a:lnTo>
                    <a:pt x="5" y="122"/>
                  </a:lnTo>
                  <a:lnTo>
                    <a:pt x="5" y="124"/>
                  </a:lnTo>
                  <a:lnTo>
                    <a:pt x="5" y="127"/>
                  </a:lnTo>
                  <a:lnTo>
                    <a:pt x="8" y="129"/>
                  </a:lnTo>
                  <a:lnTo>
                    <a:pt x="10" y="135"/>
                  </a:lnTo>
                  <a:lnTo>
                    <a:pt x="13" y="142"/>
                  </a:lnTo>
                  <a:lnTo>
                    <a:pt x="13" y="145"/>
                  </a:lnTo>
                  <a:lnTo>
                    <a:pt x="13" y="150"/>
                  </a:lnTo>
                  <a:lnTo>
                    <a:pt x="13" y="150"/>
                  </a:lnTo>
                  <a:lnTo>
                    <a:pt x="15" y="155"/>
                  </a:lnTo>
                  <a:lnTo>
                    <a:pt x="15" y="155"/>
                  </a:lnTo>
                  <a:lnTo>
                    <a:pt x="15" y="160"/>
                  </a:lnTo>
                  <a:lnTo>
                    <a:pt x="15" y="160"/>
                  </a:lnTo>
                  <a:lnTo>
                    <a:pt x="20" y="160"/>
                  </a:lnTo>
                  <a:lnTo>
                    <a:pt x="26" y="163"/>
                  </a:lnTo>
                  <a:lnTo>
                    <a:pt x="33" y="163"/>
                  </a:lnTo>
                  <a:lnTo>
                    <a:pt x="33" y="165"/>
                  </a:lnTo>
                  <a:lnTo>
                    <a:pt x="36" y="170"/>
                  </a:lnTo>
                  <a:lnTo>
                    <a:pt x="36" y="173"/>
                  </a:lnTo>
                  <a:lnTo>
                    <a:pt x="36" y="175"/>
                  </a:lnTo>
                  <a:lnTo>
                    <a:pt x="33" y="180"/>
                  </a:lnTo>
                  <a:lnTo>
                    <a:pt x="28" y="185"/>
                  </a:lnTo>
                  <a:lnTo>
                    <a:pt x="26" y="191"/>
                  </a:lnTo>
                  <a:lnTo>
                    <a:pt x="20" y="196"/>
                  </a:lnTo>
                  <a:lnTo>
                    <a:pt x="28" y="198"/>
                  </a:lnTo>
                  <a:lnTo>
                    <a:pt x="36" y="201"/>
                  </a:lnTo>
                  <a:lnTo>
                    <a:pt x="46" y="203"/>
                  </a:lnTo>
                  <a:lnTo>
                    <a:pt x="51" y="206"/>
                  </a:lnTo>
                  <a:lnTo>
                    <a:pt x="54" y="206"/>
                  </a:lnTo>
                  <a:lnTo>
                    <a:pt x="74" y="206"/>
                  </a:lnTo>
                  <a:lnTo>
                    <a:pt x="84" y="206"/>
                  </a:lnTo>
                  <a:lnTo>
                    <a:pt x="87" y="208"/>
                  </a:lnTo>
                  <a:lnTo>
                    <a:pt x="87" y="206"/>
                  </a:lnTo>
                  <a:lnTo>
                    <a:pt x="87" y="206"/>
                  </a:lnTo>
                  <a:lnTo>
                    <a:pt x="89" y="206"/>
                  </a:lnTo>
                  <a:lnTo>
                    <a:pt x="92" y="203"/>
                  </a:lnTo>
                  <a:lnTo>
                    <a:pt x="94" y="203"/>
                  </a:lnTo>
                  <a:lnTo>
                    <a:pt x="97" y="203"/>
                  </a:lnTo>
                  <a:lnTo>
                    <a:pt x="99" y="203"/>
                  </a:lnTo>
                  <a:lnTo>
                    <a:pt x="102" y="203"/>
                  </a:lnTo>
                  <a:lnTo>
                    <a:pt x="105" y="203"/>
                  </a:lnTo>
                  <a:lnTo>
                    <a:pt x="107" y="203"/>
                  </a:lnTo>
                  <a:lnTo>
                    <a:pt x="112" y="201"/>
                  </a:lnTo>
                  <a:lnTo>
                    <a:pt x="115" y="201"/>
                  </a:lnTo>
                  <a:lnTo>
                    <a:pt x="120" y="198"/>
                  </a:lnTo>
                  <a:lnTo>
                    <a:pt x="125" y="198"/>
                  </a:lnTo>
                  <a:lnTo>
                    <a:pt x="125" y="196"/>
                  </a:lnTo>
                  <a:lnTo>
                    <a:pt x="127" y="196"/>
                  </a:lnTo>
                  <a:lnTo>
                    <a:pt x="127" y="193"/>
                  </a:lnTo>
                  <a:lnTo>
                    <a:pt x="125" y="193"/>
                  </a:lnTo>
                  <a:lnTo>
                    <a:pt x="125" y="191"/>
                  </a:lnTo>
                  <a:lnTo>
                    <a:pt x="125" y="188"/>
                  </a:lnTo>
                  <a:lnTo>
                    <a:pt x="125" y="185"/>
                  </a:lnTo>
                  <a:lnTo>
                    <a:pt x="125" y="183"/>
                  </a:lnTo>
                  <a:lnTo>
                    <a:pt x="125" y="180"/>
                  </a:lnTo>
                  <a:lnTo>
                    <a:pt x="125" y="175"/>
                  </a:lnTo>
                  <a:lnTo>
                    <a:pt x="125" y="173"/>
                  </a:lnTo>
                  <a:lnTo>
                    <a:pt x="127" y="173"/>
                  </a:lnTo>
                  <a:lnTo>
                    <a:pt x="127" y="170"/>
                  </a:lnTo>
                  <a:lnTo>
                    <a:pt x="127" y="170"/>
                  </a:lnTo>
                  <a:lnTo>
                    <a:pt x="130" y="170"/>
                  </a:lnTo>
                  <a:lnTo>
                    <a:pt x="130" y="168"/>
                  </a:lnTo>
                  <a:lnTo>
                    <a:pt x="133" y="165"/>
                  </a:lnTo>
                  <a:lnTo>
                    <a:pt x="133" y="165"/>
                  </a:lnTo>
                  <a:lnTo>
                    <a:pt x="135" y="165"/>
                  </a:lnTo>
                  <a:lnTo>
                    <a:pt x="138" y="165"/>
                  </a:lnTo>
                  <a:lnTo>
                    <a:pt x="140" y="165"/>
                  </a:lnTo>
                  <a:lnTo>
                    <a:pt x="145" y="165"/>
                  </a:lnTo>
                  <a:lnTo>
                    <a:pt x="148" y="165"/>
                  </a:lnTo>
                  <a:lnTo>
                    <a:pt x="148" y="165"/>
                  </a:lnTo>
                  <a:lnTo>
                    <a:pt x="150" y="163"/>
                  </a:lnTo>
                  <a:lnTo>
                    <a:pt x="148" y="163"/>
                  </a:lnTo>
                  <a:lnTo>
                    <a:pt x="148" y="163"/>
                  </a:lnTo>
                  <a:lnTo>
                    <a:pt x="145" y="160"/>
                  </a:lnTo>
                  <a:lnTo>
                    <a:pt x="145" y="160"/>
                  </a:lnTo>
                  <a:lnTo>
                    <a:pt x="145" y="157"/>
                  </a:lnTo>
                  <a:lnTo>
                    <a:pt x="148" y="157"/>
                  </a:lnTo>
                  <a:lnTo>
                    <a:pt x="153" y="155"/>
                  </a:lnTo>
                  <a:lnTo>
                    <a:pt x="156" y="155"/>
                  </a:lnTo>
                  <a:lnTo>
                    <a:pt x="156" y="152"/>
                  </a:lnTo>
                  <a:lnTo>
                    <a:pt x="156" y="152"/>
                  </a:lnTo>
                  <a:lnTo>
                    <a:pt x="158" y="152"/>
                  </a:lnTo>
                  <a:lnTo>
                    <a:pt x="161" y="155"/>
                  </a:lnTo>
                  <a:lnTo>
                    <a:pt x="163" y="152"/>
                  </a:lnTo>
                  <a:lnTo>
                    <a:pt x="163" y="152"/>
                  </a:lnTo>
                  <a:lnTo>
                    <a:pt x="166" y="155"/>
                  </a:lnTo>
                  <a:lnTo>
                    <a:pt x="166" y="155"/>
                  </a:lnTo>
                  <a:lnTo>
                    <a:pt x="168" y="157"/>
                  </a:lnTo>
                  <a:lnTo>
                    <a:pt x="171" y="157"/>
                  </a:lnTo>
                  <a:lnTo>
                    <a:pt x="171" y="155"/>
                  </a:lnTo>
                  <a:lnTo>
                    <a:pt x="173" y="155"/>
                  </a:lnTo>
                  <a:lnTo>
                    <a:pt x="176" y="152"/>
                  </a:lnTo>
                  <a:lnTo>
                    <a:pt x="176" y="150"/>
                  </a:lnTo>
                  <a:lnTo>
                    <a:pt x="176" y="142"/>
                  </a:lnTo>
                  <a:lnTo>
                    <a:pt x="173" y="140"/>
                  </a:lnTo>
                  <a:lnTo>
                    <a:pt x="173" y="137"/>
                  </a:lnTo>
                  <a:lnTo>
                    <a:pt x="176" y="135"/>
                  </a:lnTo>
                  <a:lnTo>
                    <a:pt x="176" y="132"/>
                  </a:lnTo>
                  <a:lnTo>
                    <a:pt x="176" y="132"/>
                  </a:lnTo>
                  <a:lnTo>
                    <a:pt x="176" y="129"/>
                  </a:lnTo>
                  <a:lnTo>
                    <a:pt x="176" y="124"/>
                  </a:lnTo>
                  <a:lnTo>
                    <a:pt x="178" y="124"/>
                  </a:lnTo>
                  <a:lnTo>
                    <a:pt x="181" y="124"/>
                  </a:lnTo>
                  <a:lnTo>
                    <a:pt x="184" y="122"/>
                  </a:lnTo>
                  <a:lnTo>
                    <a:pt x="186" y="122"/>
                  </a:lnTo>
                  <a:lnTo>
                    <a:pt x="189" y="119"/>
                  </a:lnTo>
                  <a:lnTo>
                    <a:pt x="189" y="117"/>
                  </a:lnTo>
                  <a:lnTo>
                    <a:pt x="189" y="114"/>
                  </a:lnTo>
                  <a:lnTo>
                    <a:pt x="186" y="112"/>
                  </a:lnTo>
                  <a:lnTo>
                    <a:pt x="184" y="109"/>
                  </a:lnTo>
                  <a:lnTo>
                    <a:pt x="178" y="104"/>
                  </a:lnTo>
                  <a:lnTo>
                    <a:pt x="178" y="101"/>
                  </a:lnTo>
                  <a:lnTo>
                    <a:pt x="181" y="101"/>
                  </a:lnTo>
                  <a:lnTo>
                    <a:pt x="186" y="104"/>
                  </a:lnTo>
                  <a:lnTo>
                    <a:pt x="189" y="104"/>
                  </a:lnTo>
                  <a:lnTo>
                    <a:pt x="189" y="104"/>
                  </a:lnTo>
                  <a:lnTo>
                    <a:pt x="194" y="104"/>
                  </a:lnTo>
                  <a:lnTo>
                    <a:pt x="199" y="104"/>
                  </a:lnTo>
                  <a:lnTo>
                    <a:pt x="201" y="101"/>
                  </a:lnTo>
                  <a:lnTo>
                    <a:pt x="201" y="99"/>
                  </a:lnTo>
                  <a:lnTo>
                    <a:pt x="201" y="99"/>
                  </a:lnTo>
                  <a:lnTo>
                    <a:pt x="201" y="96"/>
                  </a:lnTo>
                  <a:lnTo>
                    <a:pt x="201" y="94"/>
                  </a:lnTo>
                  <a:lnTo>
                    <a:pt x="199" y="94"/>
                  </a:lnTo>
                  <a:lnTo>
                    <a:pt x="199" y="91"/>
                  </a:lnTo>
                  <a:lnTo>
                    <a:pt x="199" y="91"/>
                  </a:lnTo>
                  <a:lnTo>
                    <a:pt x="199" y="91"/>
                  </a:lnTo>
                  <a:lnTo>
                    <a:pt x="199" y="89"/>
                  </a:lnTo>
                  <a:lnTo>
                    <a:pt x="199" y="86"/>
                  </a:lnTo>
                  <a:lnTo>
                    <a:pt x="201" y="86"/>
                  </a:lnTo>
                  <a:lnTo>
                    <a:pt x="201" y="84"/>
                  </a:lnTo>
                  <a:lnTo>
                    <a:pt x="204" y="81"/>
                  </a:lnTo>
                  <a:lnTo>
                    <a:pt x="204" y="81"/>
                  </a:lnTo>
                  <a:lnTo>
                    <a:pt x="206" y="79"/>
                  </a:lnTo>
                  <a:lnTo>
                    <a:pt x="206" y="79"/>
                  </a:lnTo>
                  <a:lnTo>
                    <a:pt x="206" y="76"/>
                  </a:lnTo>
                  <a:lnTo>
                    <a:pt x="206" y="76"/>
                  </a:lnTo>
                  <a:lnTo>
                    <a:pt x="206" y="76"/>
                  </a:lnTo>
                  <a:lnTo>
                    <a:pt x="206" y="73"/>
                  </a:lnTo>
                  <a:lnTo>
                    <a:pt x="204" y="73"/>
                  </a:lnTo>
                  <a:lnTo>
                    <a:pt x="204" y="73"/>
                  </a:lnTo>
                  <a:lnTo>
                    <a:pt x="206" y="71"/>
                  </a:lnTo>
                  <a:lnTo>
                    <a:pt x="206" y="71"/>
                  </a:lnTo>
                  <a:lnTo>
                    <a:pt x="204" y="68"/>
                  </a:lnTo>
                  <a:lnTo>
                    <a:pt x="204" y="68"/>
                  </a:lnTo>
                  <a:lnTo>
                    <a:pt x="204" y="66"/>
                  </a:lnTo>
                  <a:lnTo>
                    <a:pt x="201" y="63"/>
                  </a:lnTo>
                  <a:lnTo>
                    <a:pt x="201" y="61"/>
                  </a:lnTo>
                  <a:lnTo>
                    <a:pt x="199" y="61"/>
                  </a:lnTo>
                  <a:lnTo>
                    <a:pt x="199" y="58"/>
                  </a:lnTo>
                  <a:lnTo>
                    <a:pt x="196" y="56"/>
                  </a:lnTo>
                  <a:lnTo>
                    <a:pt x="194" y="56"/>
                  </a:lnTo>
                  <a:lnTo>
                    <a:pt x="196" y="53"/>
                  </a:lnTo>
                  <a:lnTo>
                    <a:pt x="196" y="53"/>
                  </a:lnTo>
                  <a:lnTo>
                    <a:pt x="199" y="51"/>
                  </a:lnTo>
                  <a:lnTo>
                    <a:pt x="199" y="48"/>
                  </a:lnTo>
                  <a:lnTo>
                    <a:pt x="201" y="48"/>
                  </a:lnTo>
                  <a:lnTo>
                    <a:pt x="204" y="48"/>
                  </a:lnTo>
                  <a:lnTo>
                    <a:pt x="204" y="48"/>
                  </a:lnTo>
                  <a:lnTo>
                    <a:pt x="204" y="45"/>
                  </a:lnTo>
                  <a:lnTo>
                    <a:pt x="206" y="45"/>
                  </a:lnTo>
                  <a:lnTo>
                    <a:pt x="209" y="43"/>
                  </a:lnTo>
                  <a:lnTo>
                    <a:pt x="209" y="40"/>
                  </a:lnTo>
                  <a:lnTo>
                    <a:pt x="212" y="40"/>
                  </a:lnTo>
                  <a:lnTo>
                    <a:pt x="212" y="40"/>
                  </a:lnTo>
                  <a:lnTo>
                    <a:pt x="214" y="40"/>
                  </a:lnTo>
                  <a:lnTo>
                    <a:pt x="217" y="38"/>
                  </a:lnTo>
                  <a:lnTo>
                    <a:pt x="217" y="38"/>
                  </a:lnTo>
                  <a:lnTo>
                    <a:pt x="222" y="38"/>
                  </a:lnTo>
                  <a:lnTo>
                    <a:pt x="224" y="38"/>
                  </a:lnTo>
                  <a:lnTo>
                    <a:pt x="227" y="38"/>
                  </a:lnTo>
                  <a:lnTo>
                    <a:pt x="232" y="35"/>
                  </a:lnTo>
                  <a:lnTo>
                    <a:pt x="240" y="35"/>
                  </a:lnTo>
                  <a:lnTo>
                    <a:pt x="240" y="35"/>
                  </a:lnTo>
                  <a:lnTo>
                    <a:pt x="242" y="38"/>
                  </a:lnTo>
                  <a:lnTo>
                    <a:pt x="245" y="38"/>
                  </a:lnTo>
                  <a:lnTo>
                    <a:pt x="245" y="38"/>
                  </a:lnTo>
                  <a:lnTo>
                    <a:pt x="247" y="35"/>
                  </a:lnTo>
                  <a:lnTo>
                    <a:pt x="252" y="35"/>
                  </a:lnTo>
                  <a:lnTo>
                    <a:pt x="252" y="33"/>
                  </a:lnTo>
                  <a:lnTo>
                    <a:pt x="252" y="33"/>
                  </a:lnTo>
                  <a:lnTo>
                    <a:pt x="252" y="33"/>
                  </a:lnTo>
                  <a:lnTo>
                    <a:pt x="250" y="30"/>
                  </a:lnTo>
                  <a:lnTo>
                    <a:pt x="250" y="30"/>
                  </a:lnTo>
                  <a:lnTo>
                    <a:pt x="252" y="28"/>
                  </a:lnTo>
                  <a:lnTo>
                    <a:pt x="255" y="28"/>
                  </a:lnTo>
                  <a:lnTo>
                    <a:pt x="255" y="28"/>
                  </a:lnTo>
                  <a:lnTo>
                    <a:pt x="255" y="28"/>
                  </a:lnTo>
                  <a:lnTo>
                    <a:pt x="255" y="28"/>
                  </a:lnTo>
                  <a:lnTo>
                    <a:pt x="257" y="28"/>
                  </a:lnTo>
                  <a:lnTo>
                    <a:pt x="257" y="28"/>
                  </a:lnTo>
                  <a:lnTo>
                    <a:pt x="257" y="28"/>
                  </a:lnTo>
                  <a:close/>
                </a:path>
              </a:pathLst>
            </a:custGeom>
            <a:solidFill>
              <a:srgbClr val="FFC000"/>
            </a:solidFill>
            <a:ln w="6350">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1218956" rtl="0" eaLnBrk="1" fontAlgn="auto" latinLnBrk="0" hangingPunct="1">
                <a:lnSpc>
                  <a:spcPct val="100000"/>
                </a:lnSpc>
                <a:spcBef>
                  <a:spcPts val="0"/>
                </a:spcBef>
                <a:spcAft>
                  <a:spcPts val="0"/>
                </a:spcAft>
                <a:buClrTx/>
                <a:buSzTx/>
                <a:buFontTx/>
                <a:buNone/>
                <a:tabLst/>
                <a:defRPr/>
              </a:pPr>
              <a:endParaRPr kumimoji="0" lang="en-IN" sz="24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439" name="Group 438">
            <a:extLst>
              <a:ext uri="{FF2B5EF4-FFF2-40B4-BE49-F238E27FC236}">
                <a16:creationId xmlns:a16="http://schemas.microsoft.com/office/drawing/2014/main" id="{60A41536-E4E9-9241-BB6B-BAA9A6B9B6C4}"/>
              </a:ext>
            </a:extLst>
          </p:cNvPr>
          <p:cNvGrpSpPr/>
          <p:nvPr/>
        </p:nvGrpSpPr>
        <p:grpSpPr>
          <a:xfrm>
            <a:off x="323571" y="5007274"/>
            <a:ext cx="3713259" cy="1321487"/>
            <a:chOff x="374370" y="5369236"/>
            <a:chExt cx="3713259" cy="1321486"/>
          </a:xfrm>
        </p:grpSpPr>
        <p:sp>
          <p:nvSpPr>
            <p:cNvPr id="7" name="Up Arrow 16">
              <a:extLst>
                <a:ext uri="{FF2B5EF4-FFF2-40B4-BE49-F238E27FC236}">
                  <a16:creationId xmlns:a16="http://schemas.microsoft.com/office/drawing/2014/main" id="{F60B7E2A-638F-4DF9-9F99-4BDCF6251CCD}"/>
                </a:ext>
              </a:extLst>
            </p:cNvPr>
            <p:cNvSpPr/>
            <p:nvPr/>
          </p:nvSpPr>
          <p:spPr>
            <a:xfrm>
              <a:off x="374370" y="5369236"/>
              <a:ext cx="3713259" cy="1321486"/>
            </a:xfrm>
            <a:prstGeom prst="upArrow">
              <a:avLst>
                <a:gd name="adj1" fmla="val 100000"/>
                <a:gd name="adj2" fmla="val 37204"/>
              </a:avLst>
            </a:prstGeom>
            <a:solidFill>
              <a:srgbClr val="E8206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14400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FFFFFF"/>
                  </a:solidFill>
                  <a:effectLst/>
                  <a:uLnTx/>
                  <a:uFillTx/>
                  <a:latin typeface="Arial"/>
                  <a:ea typeface="+mn-ea"/>
                  <a:cs typeface="+mn-cs"/>
                </a:rPr>
                <a:t>Health system strengthening </a:t>
              </a:r>
              <a:br>
                <a:rPr kumimoji="0" lang="en-GB" sz="1800" b="1" i="0" u="none" strike="noStrike" kern="1200" cap="none" spc="0" normalizeH="0" baseline="0" noProof="0">
                  <a:ln>
                    <a:noFill/>
                  </a:ln>
                  <a:solidFill>
                    <a:srgbClr val="FFFFFF"/>
                  </a:solidFill>
                  <a:effectLst/>
                  <a:uLnTx/>
                  <a:uFillTx/>
                  <a:latin typeface="Arial"/>
                  <a:ea typeface="+mn-ea"/>
                  <a:cs typeface="+mn-cs"/>
                </a:rPr>
              </a:br>
              <a:r>
                <a:rPr kumimoji="0" lang="en-GB" sz="1800" b="1" i="0" u="none" strike="noStrike" kern="1200" cap="none" spc="0" normalizeH="0" baseline="0" noProof="0">
                  <a:ln>
                    <a:noFill/>
                  </a:ln>
                  <a:solidFill>
                    <a:srgbClr val="FFFFFF"/>
                  </a:solidFill>
                  <a:effectLst/>
                  <a:uLnTx/>
                  <a:uFillTx/>
                  <a:latin typeface="Arial"/>
                  <a:ea typeface="+mn-ea"/>
                  <a:cs typeface="+mn-cs"/>
                </a:rPr>
                <a:t>support ($2.4B*)</a:t>
              </a:r>
            </a:p>
          </p:txBody>
        </p:sp>
        <p:pic>
          <p:nvPicPr>
            <p:cNvPr id="427" name="Graphic 426" descr="Medical">
              <a:extLst>
                <a:ext uri="{FF2B5EF4-FFF2-40B4-BE49-F238E27FC236}">
                  <a16:creationId xmlns:a16="http://schemas.microsoft.com/office/drawing/2014/main" id="{C29F9569-E5D4-9647-A127-DB1527D3BDD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036439" y="5484489"/>
              <a:ext cx="389117" cy="389117"/>
            </a:xfrm>
            <a:prstGeom prst="rect">
              <a:avLst/>
            </a:prstGeom>
          </p:spPr>
        </p:pic>
        <p:pic>
          <p:nvPicPr>
            <p:cNvPr id="433" name="Graphic 432" descr="Open hand">
              <a:extLst>
                <a:ext uri="{FF2B5EF4-FFF2-40B4-BE49-F238E27FC236}">
                  <a16:creationId xmlns:a16="http://schemas.microsoft.com/office/drawing/2014/main" id="{262F0494-E840-334F-A8F9-FFD749404AF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964563" y="5665114"/>
              <a:ext cx="532871" cy="532871"/>
            </a:xfrm>
            <a:prstGeom prst="rect">
              <a:avLst/>
            </a:prstGeom>
          </p:spPr>
        </p:pic>
      </p:grpSp>
      <p:grpSp>
        <p:nvGrpSpPr>
          <p:cNvPr id="438" name="Group 437">
            <a:extLst>
              <a:ext uri="{FF2B5EF4-FFF2-40B4-BE49-F238E27FC236}">
                <a16:creationId xmlns:a16="http://schemas.microsoft.com/office/drawing/2014/main" id="{F30D60CB-AFF3-1D4F-B7AE-2D6D4B84E272}"/>
              </a:ext>
            </a:extLst>
          </p:cNvPr>
          <p:cNvGrpSpPr/>
          <p:nvPr/>
        </p:nvGrpSpPr>
        <p:grpSpPr>
          <a:xfrm>
            <a:off x="4036171" y="4663614"/>
            <a:ext cx="4142632" cy="1665147"/>
            <a:chOff x="4086971" y="5029201"/>
            <a:chExt cx="4142632" cy="1665146"/>
          </a:xfrm>
        </p:grpSpPr>
        <p:sp>
          <p:nvSpPr>
            <p:cNvPr id="12" name="Up Arrow 13">
              <a:extLst>
                <a:ext uri="{FF2B5EF4-FFF2-40B4-BE49-F238E27FC236}">
                  <a16:creationId xmlns:a16="http://schemas.microsoft.com/office/drawing/2014/main" id="{C1715EB1-8FDC-4879-9B6D-6E7595A6717F}"/>
                </a:ext>
              </a:extLst>
            </p:cNvPr>
            <p:cNvSpPr/>
            <p:nvPr/>
          </p:nvSpPr>
          <p:spPr>
            <a:xfrm>
              <a:off x="4086971" y="5029201"/>
              <a:ext cx="4142632" cy="1665146"/>
            </a:xfrm>
            <a:prstGeom prst="upArrow">
              <a:avLst>
                <a:gd name="adj1" fmla="val 100000"/>
                <a:gd name="adj2" fmla="val 50344"/>
              </a:avLst>
            </a:prstGeom>
            <a:solidFill>
              <a:srgbClr val="9F409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0000" tIns="0" bIns="14400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FFFFFF"/>
                  </a:solidFill>
                  <a:effectLst/>
                  <a:uLnTx/>
                  <a:uFillTx/>
                  <a:latin typeface="Arial"/>
                  <a:ea typeface="+mn-ea"/>
                  <a:cs typeface="+mn-cs"/>
                </a:rPr>
                <a:t>Vaccine</a:t>
              </a:r>
              <a:br>
                <a:rPr kumimoji="0" lang="en-GB" sz="1800" b="1" i="0" u="none" strike="noStrike" kern="1200" cap="none" spc="0" normalizeH="0" baseline="0" noProof="0">
                  <a:ln>
                    <a:noFill/>
                  </a:ln>
                  <a:solidFill>
                    <a:srgbClr val="FFFFFF"/>
                  </a:solidFill>
                  <a:effectLst/>
                  <a:uLnTx/>
                  <a:uFillTx/>
                  <a:latin typeface="Arial"/>
                  <a:ea typeface="+mn-ea"/>
                  <a:cs typeface="+mn-cs"/>
                </a:rPr>
              </a:br>
              <a:r>
                <a:rPr kumimoji="0" lang="en-GB" sz="1800" b="1" i="0" u="none" strike="noStrike" kern="1200" cap="none" spc="0" normalizeH="0" baseline="0" noProof="0">
                  <a:ln>
                    <a:noFill/>
                  </a:ln>
                  <a:solidFill>
                    <a:srgbClr val="FFFFFF"/>
                  </a:solidFill>
                  <a:effectLst/>
                  <a:uLnTx/>
                  <a:uFillTx/>
                  <a:latin typeface="Arial"/>
                  <a:ea typeface="+mn-ea"/>
                  <a:cs typeface="+mn-cs"/>
                </a:rPr>
                <a:t>support ($5.3B*)</a:t>
              </a:r>
            </a:p>
          </p:txBody>
        </p:sp>
        <p:pic>
          <p:nvPicPr>
            <p:cNvPr id="429" name="Graphic 428" descr="Needle">
              <a:extLst>
                <a:ext uri="{FF2B5EF4-FFF2-40B4-BE49-F238E27FC236}">
                  <a16:creationId xmlns:a16="http://schemas.microsoft.com/office/drawing/2014/main" id="{150CAE3B-0AAE-3248-B510-BD266976F53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10800000">
              <a:off x="5979761" y="5371799"/>
              <a:ext cx="352372" cy="352372"/>
            </a:xfrm>
            <a:prstGeom prst="rect">
              <a:avLst/>
            </a:prstGeom>
          </p:spPr>
        </p:pic>
        <p:pic>
          <p:nvPicPr>
            <p:cNvPr id="435" name="Graphic 434" descr="Open hand">
              <a:extLst>
                <a:ext uri="{FF2B5EF4-FFF2-40B4-BE49-F238E27FC236}">
                  <a16:creationId xmlns:a16="http://schemas.microsoft.com/office/drawing/2014/main" id="{65E48117-668F-994E-9D4E-3C07B8E802C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888302" y="5519237"/>
              <a:ext cx="532871" cy="532871"/>
            </a:xfrm>
            <a:prstGeom prst="rect">
              <a:avLst/>
            </a:prstGeom>
          </p:spPr>
        </p:pic>
      </p:grpSp>
      <p:grpSp>
        <p:nvGrpSpPr>
          <p:cNvPr id="440" name="Group 439">
            <a:extLst>
              <a:ext uri="{FF2B5EF4-FFF2-40B4-BE49-F238E27FC236}">
                <a16:creationId xmlns:a16="http://schemas.microsoft.com/office/drawing/2014/main" id="{2E2BE628-EF17-8141-8F68-A978ED8A46AC}"/>
              </a:ext>
            </a:extLst>
          </p:cNvPr>
          <p:cNvGrpSpPr/>
          <p:nvPr/>
        </p:nvGrpSpPr>
        <p:grpSpPr>
          <a:xfrm>
            <a:off x="8186753" y="5009839"/>
            <a:ext cx="3665551" cy="1321487"/>
            <a:chOff x="8237551" y="5371800"/>
            <a:chExt cx="3665551" cy="1321486"/>
          </a:xfrm>
        </p:grpSpPr>
        <p:sp>
          <p:nvSpPr>
            <p:cNvPr id="15" name="Up Arrow 37">
              <a:extLst>
                <a:ext uri="{FF2B5EF4-FFF2-40B4-BE49-F238E27FC236}">
                  <a16:creationId xmlns:a16="http://schemas.microsoft.com/office/drawing/2014/main" id="{9B67565F-39B3-48B0-B50B-90CFAD1CC044}"/>
                </a:ext>
              </a:extLst>
            </p:cNvPr>
            <p:cNvSpPr/>
            <p:nvPr/>
          </p:nvSpPr>
          <p:spPr>
            <a:xfrm>
              <a:off x="8237551" y="5371800"/>
              <a:ext cx="3665551" cy="1321486"/>
            </a:xfrm>
            <a:prstGeom prst="upArrow">
              <a:avLst>
                <a:gd name="adj1" fmla="val 100000"/>
                <a:gd name="adj2" fmla="val 37204"/>
              </a:avLst>
            </a:prstGeom>
            <a:solidFill>
              <a:schemeClr val="tx2"/>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14400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FFFFFF"/>
                  </a:solidFill>
                  <a:effectLst/>
                  <a:uLnTx/>
                  <a:uFillTx/>
                  <a:latin typeface="Arial"/>
                  <a:ea typeface="+mn-ea"/>
                  <a:cs typeface="+mn-cs"/>
                </a:rPr>
                <a:t>Technical</a:t>
              </a:r>
              <a:br>
                <a:rPr kumimoji="0" lang="en-GB" sz="1800" b="1" i="0" u="none" strike="noStrike" kern="1200" cap="none" spc="0" normalizeH="0" baseline="0" noProof="0">
                  <a:ln>
                    <a:noFill/>
                  </a:ln>
                  <a:solidFill>
                    <a:srgbClr val="FFFFFF"/>
                  </a:solidFill>
                  <a:effectLst/>
                  <a:uLnTx/>
                  <a:uFillTx/>
                  <a:latin typeface="Arial"/>
                  <a:ea typeface="+mn-ea"/>
                  <a:cs typeface="+mn-cs"/>
                </a:rPr>
              </a:br>
              <a:r>
                <a:rPr kumimoji="0" lang="en-GB" sz="1800" b="1" i="0" u="none" strike="noStrike" kern="1200" cap="none" spc="0" normalizeH="0" baseline="0" noProof="0">
                  <a:ln>
                    <a:noFill/>
                  </a:ln>
                  <a:solidFill>
                    <a:srgbClr val="FFFFFF"/>
                  </a:solidFill>
                  <a:effectLst/>
                  <a:uLnTx/>
                  <a:uFillTx/>
                  <a:latin typeface="Arial"/>
                  <a:ea typeface="+mn-ea"/>
                  <a:cs typeface="+mn-cs"/>
                </a:rPr>
                <a:t>assistance ($1.2B*)</a:t>
              </a:r>
            </a:p>
          </p:txBody>
        </p:sp>
        <p:pic>
          <p:nvPicPr>
            <p:cNvPr id="431" name="Graphic 430" descr="Gears">
              <a:extLst>
                <a:ext uri="{FF2B5EF4-FFF2-40B4-BE49-F238E27FC236}">
                  <a16:creationId xmlns:a16="http://schemas.microsoft.com/office/drawing/2014/main" id="{187C6B5B-0555-EF4C-B034-5E60B198BD2D}"/>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893228" y="5519237"/>
              <a:ext cx="352372" cy="352372"/>
            </a:xfrm>
            <a:prstGeom prst="rect">
              <a:avLst/>
            </a:prstGeom>
          </p:spPr>
        </p:pic>
        <p:pic>
          <p:nvPicPr>
            <p:cNvPr id="437" name="Graphic 436" descr="Open hand">
              <a:extLst>
                <a:ext uri="{FF2B5EF4-FFF2-40B4-BE49-F238E27FC236}">
                  <a16:creationId xmlns:a16="http://schemas.microsoft.com/office/drawing/2014/main" id="{F1DD4F31-CFDC-C241-AA33-5264463C693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801350" y="5665114"/>
              <a:ext cx="532871" cy="532871"/>
            </a:xfrm>
            <a:prstGeom prst="rect">
              <a:avLst/>
            </a:prstGeom>
          </p:spPr>
        </p:pic>
      </p:grpSp>
      <p:sp>
        <p:nvSpPr>
          <p:cNvPr id="5" name="TextBox 4">
            <a:extLst>
              <a:ext uri="{FF2B5EF4-FFF2-40B4-BE49-F238E27FC236}">
                <a16:creationId xmlns:a16="http://schemas.microsoft.com/office/drawing/2014/main" id="{75A2225F-0D95-F1A4-095E-40B1A0ACBABC}"/>
              </a:ext>
            </a:extLst>
          </p:cNvPr>
          <p:cNvSpPr txBox="1"/>
          <p:nvPr/>
        </p:nvSpPr>
        <p:spPr>
          <a:xfrm>
            <a:off x="644427" y="6366326"/>
            <a:ext cx="4222438"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343434"/>
                </a:solidFill>
                <a:effectLst/>
                <a:uLnTx/>
                <a:uFillTx/>
                <a:latin typeface="Arial"/>
                <a:ea typeface="+mn-ea"/>
                <a:cs typeface="+mn-cs"/>
              </a:rPr>
              <a:t>*2021-2025 forecast expenditure excluding COVAX support</a:t>
            </a:r>
          </a:p>
        </p:txBody>
      </p:sp>
      <p:sp>
        <p:nvSpPr>
          <p:cNvPr id="6" name="TextBox 5">
            <a:extLst>
              <a:ext uri="{FF2B5EF4-FFF2-40B4-BE49-F238E27FC236}">
                <a16:creationId xmlns:a16="http://schemas.microsoft.com/office/drawing/2014/main" id="{3C68F299-634F-4A5C-4607-F89E44B836D9}"/>
              </a:ext>
            </a:extLst>
          </p:cNvPr>
          <p:cNvSpPr txBox="1"/>
          <p:nvPr/>
        </p:nvSpPr>
        <p:spPr>
          <a:xfrm>
            <a:off x="417876" y="2462138"/>
            <a:ext cx="1901192" cy="230832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400" b="1" i="0" u="none" strike="noStrike" kern="1200" cap="none" spc="0" normalizeH="0" baseline="0" noProof="0">
                <a:ln>
                  <a:noFill/>
                </a:ln>
                <a:solidFill>
                  <a:srgbClr val="005CB9"/>
                </a:solidFill>
                <a:effectLst/>
                <a:uLnTx/>
                <a:uFillTx/>
                <a:latin typeface="Arial"/>
                <a:ea typeface="+mn-ea"/>
                <a:cs typeface="+mn-cs"/>
              </a:rPr>
              <a:t>54</a:t>
            </a:r>
            <a:r>
              <a:rPr kumimoji="0" lang="en-GB" sz="2400" b="1" i="0" u="none" strike="noStrike" kern="1200" cap="none" spc="0" normalizeH="0" baseline="0" noProof="0">
                <a:ln>
                  <a:noFill/>
                </a:ln>
                <a:solidFill>
                  <a:srgbClr val="005CB9"/>
                </a:solidFill>
                <a:effectLst/>
                <a:uLnTx/>
                <a:uFillTx/>
                <a:latin typeface="Arial"/>
                <a:ea typeface="+mn-ea"/>
                <a:cs typeface="+mn-cs"/>
              </a:rPr>
              <a:t> </a:t>
            </a:r>
            <a:r>
              <a:rPr kumimoji="0" lang="en-GB" sz="2000" b="1" i="0" u="none" strike="noStrike" kern="1200" cap="none" spc="0" normalizeH="0" baseline="0" noProof="0">
                <a:ln>
                  <a:noFill/>
                </a:ln>
                <a:solidFill>
                  <a:srgbClr val="005CB9"/>
                </a:solidFill>
                <a:effectLst/>
                <a:uLnTx/>
                <a:uFillTx/>
                <a:latin typeface="Arial"/>
                <a:ea typeface="+mn-ea"/>
                <a:cs typeface="+mn-cs"/>
              </a:rPr>
              <a:t>countries eligible for new Gavi support in 2023</a:t>
            </a:r>
            <a:endParaRPr kumimoji="0" lang="en-GB" sz="2400" b="1" i="0" u="none" strike="noStrike" kern="1200" cap="none" spc="0" normalizeH="0" baseline="0" noProof="0">
              <a:ln>
                <a:noFill/>
              </a:ln>
              <a:solidFill>
                <a:srgbClr val="005CB9"/>
              </a:solidFill>
              <a:effectLst/>
              <a:uLnTx/>
              <a:uFillTx/>
              <a:latin typeface="Arial"/>
              <a:ea typeface="+mn-ea"/>
              <a:cs typeface="+mn-cs"/>
            </a:endParaRPr>
          </a:p>
        </p:txBody>
      </p:sp>
    </p:spTree>
    <p:extLst>
      <p:ext uri="{BB962C8B-B14F-4D97-AF65-F5344CB8AC3E}">
        <p14:creationId xmlns:p14="http://schemas.microsoft.com/office/powerpoint/2010/main" val="140675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439"/>
                                        </p:tgtEl>
                                        <p:attrNameLst>
                                          <p:attrName>style.visibility</p:attrName>
                                        </p:attrNameLst>
                                      </p:cBhvr>
                                      <p:to>
                                        <p:strVal val="visible"/>
                                      </p:to>
                                    </p:set>
                                    <p:animEffect transition="in" filter="wipe(down)">
                                      <p:cBhvr>
                                        <p:cTn id="7" dur="500"/>
                                        <p:tgtEl>
                                          <p:spTgt spid="439"/>
                                        </p:tgtEl>
                                      </p:cBhvr>
                                    </p:animEffect>
                                  </p:childTnLst>
                                </p:cTn>
                              </p:par>
                            </p:childTnLst>
                          </p:cTn>
                        </p:par>
                        <p:par>
                          <p:cTn id="8" fill="hold">
                            <p:stCondLst>
                              <p:cond delay="500"/>
                            </p:stCondLst>
                            <p:childTnLst>
                              <p:par>
                                <p:cTn id="9" presetID="22" presetClass="entr" presetSubtype="4" fill="hold" nodeType="afterEffect">
                                  <p:stCondLst>
                                    <p:cond delay="0"/>
                                  </p:stCondLst>
                                  <p:childTnLst>
                                    <p:set>
                                      <p:cBhvr>
                                        <p:cTn id="10" dur="1" fill="hold">
                                          <p:stCondLst>
                                            <p:cond delay="0"/>
                                          </p:stCondLst>
                                        </p:cTn>
                                        <p:tgtEl>
                                          <p:spTgt spid="438"/>
                                        </p:tgtEl>
                                        <p:attrNameLst>
                                          <p:attrName>style.visibility</p:attrName>
                                        </p:attrNameLst>
                                      </p:cBhvr>
                                      <p:to>
                                        <p:strVal val="visible"/>
                                      </p:to>
                                    </p:set>
                                    <p:animEffect transition="in" filter="wipe(down)">
                                      <p:cBhvr>
                                        <p:cTn id="11" dur="500"/>
                                        <p:tgtEl>
                                          <p:spTgt spid="438"/>
                                        </p:tgtEl>
                                      </p:cBhvr>
                                    </p:animEffect>
                                  </p:childTnLst>
                                </p:cTn>
                              </p:par>
                            </p:childTnLst>
                          </p:cTn>
                        </p:par>
                        <p:par>
                          <p:cTn id="12" fill="hold">
                            <p:stCondLst>
                              <p:cond delay="1000"/>
                            </p:stCondLst>
                            <p:childTnLst>
                              <p:par>
                                <p:cTn id="13" presetID="22" presetClass="entr" presetSubtype="4" fill="hold" nodeType="afterEffect">
                                  <p:stCondLst>
                                    <p:cond delay="0"/>
                                  </p:stCondLst>
                                  <p:childTnLst>
                                    <p:set>
                                      <p:cBhvr>
                                        <p:cTn id="14" dur="1" fill="hold">
                                          <p:stCondLst>
                                            <p:cond delay="0"/>
                                          </p:stCondLst>
                                        </p:cTn>
                                        <p:tgtEl>
                                          <p:spTgt spid="440"/>
                                        </p:tgtEl>
                                        <p:attrNameLst>
                                          <p:attrName>style.visibility</p:attrName>
                                        </p:attrNameLst>
                                      </p:cBhvr>
                                      <p:to>
                                        <p:strVal val="visible"/>
                                      </p:to>
                                    </p:set>
                                    <p:animEffect transition="in" filter="wipe(down)">
                                      <p:cBhvr>
                                        <p:cTn id="15" dur="500"/>
                                        <p:tgtEl>
                                          <p:spTgt spid="4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2BE5468-77C1-98E8-19C6-370DD73D967C}"/>
              </a:ext>
            </a:extLst>
          </p:cNvPr>
          <p:cNvSpPr/>
          <p:nvPr/>
        </p:nvSpPr>
        <p:spPr>
          <a:xfrm>
            <a:off x="224117" y="215154"/>
            <a:ext cx="1568824" cy="233081"/>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a:ln>
                <a:noFill/>
              </a:ln>
              <a:solidFill>
                <a:srgbClr val="FFFFFF"/>
              </a:solidFill>
              <a:effectLst/>
              <a:uLnTx/>
              <a:uFillTx/>
              <a:latin typeface="Arial"/>
              <a:ea typeface="+mn-ea"/>
              <a:cs typeface="+mn-cs"/>
            </a:endParaRPr>
          </a:p>
        </p:txBody>
      </p:sp>
      <p:graphicFrame>
        <p:nvGraphicFramePr>
          <p:cNvPr id="57" name="Object 56" hidden="1">
            <a:extLst>
              <a:ext uri="{FF2B5EF4-FFF2-40B4-BE49-F238E27FC236}">
                <a16:creationId xmlns:a16="http://schemas.microsoft.com/office/drawing/2014/main" id="{A41C735F-A21A-6C12-0AFB-0143E4CA1D42}"/>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57" name="Object 56" hidden="1">
                        <a:extLst>
                          <a:ext uri="{FF2B5EF4-FFF2-40B4-BE49-F238E27FC236}">
                            <a16:creationId xmlns:a16="http://schemas.microsoft.com/office/drawing/2014/main" id="{A41C735F-A21A-6C12-0AFB-0143E4CA1D42}"/>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19" name="Rectangle 18">
            <a:extLst>
              <a:ext uri="{FF2B5EF4-FFF2-40B4-BE49-F238E27FC236}">
                <a16:creationId xmlns:a16="http://schemas.microsoft.com/office/drawing/2014/main" id="{A0C8C9D0-97BE-C6C9-0D0A-77E45AB42662}"/>
              </a:ext>
            </a:extLst>
          </p:cNvPr>
          <p:cNvSpPr/>
          <p:nvPr/>
        </p:nvSpPr>
        <p:spPr>
          <a:xfrm>
            <a:off x="521720" y="6096697"/>
            <a:ext cx="11505363" cy="69985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srgbClr val="FFFFFF"/>
                </a:solidFill>
                <a:effectLst/>
                <a:uLnTx/>
                <a:uFillTx/>
                <a:latin typeface="Calibri" panose="020F0502020204030204"/>
                <a:ea typeface="+mn-ea"/>
                <a:cs typeface="+mn-cs"/>
              </a:rPr>
              <a:t>Alte</a:t>
            </a:r>
          </a:p>
        </p:txBody>
      </p:sp>
      <p:sp>
        <p:nvSpPr>
          <p:cNvPr id="14" name="Rectangle: Rounded Corners 13">
            <a:extLst>
              <a:ext uri="{FF2B5EF4-FFF2-40B4-BE49-F238E27FC236}">
                <a16:creationId xmlns:a16="http://schemas.microsoft.com/office/drawing/2014/main" id="{31703369-EBD3-007E-9B66-19B50B654E10}"/>
              </a:ext>
            </a:extLst>
          </p:cNvPr>
          <p:cNvSpPr/>
          <p:nvPr/>
        </p:nvSpPr>
        <p:spPr>
          <a:xfrm>
            <a:off x="521720" y="1266092"/>
            <a:ext cx="11154344" cy="4783016"/>
          </a:xfrm>
          <a:prstGeom prst="roundRect">
            <a:avLst>
              <a:gd name="adj" fmla="val 5913"/>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15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3E9B6E"/>
              </a:solidFill>
              <a:effectLst/>
              <a:uLnTx/>
              <a:uFillTx/>
              <a:latin typeface="Arial" panose="020B0604020202020204" pitchFamily="34" charset="0"/>
              <a:ea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51CA13B6-F65F-CCD0-6D36-EF87E99A7E19}"/>
              </a:ext>
            </a:extLst>
          </p:cNvPr>
          <p:cNvSpPr>
            <a:spLocks noGrp="1"/>
          </p:cNvSpPr>
          <p:nvPr>
            <p:ph type="title"/>
          </p:nvPr>
        </p:nvSpPr>
        <p:spPr>
          <a:xfrm>
            <a:off x="416056" y="318069"/>
            <a:ext cx="11154344" cy="592779"/>
          </a:xfrm>
        </p:spPr>
        <p:txBody>
          <a:bodyPr vert="horz">
            <a:noAutofit/>
          </a:bodyPr>
          <a:lstStyle/>
          <a:p>
            <a:r>
              <a:rPr lang="en-GB" sz="2800"/>
              <a:t>Gavi’s eligibility, transition, co-financing policy and MICS approach</a:t>
            </a:r>
          </a:p>
        </p:txBody>
      </p:sp>
      <p:sp>
        <p:nvSpPr>
          <p:cNvPr id="17" name="Arrow: Right 16">
            <a:extLst>
              <a:ext uri="{FF2B5EF4-FFF2-40B4-BE49-F238E27FC236}">
                <a16:creationId xmlns:a16="http://schemas.microsoft.com/office/drawing/2014/main" id="{975C071E-FF95-FF99-1AE8-39C9CC7A2DBA}"/>
              </a:ext>
            </a:extLst>
          </p:cNvPr>
          <p:cNvSpPr/>
          <p:nvPr/>
        </p:nvSpPr>
        <p:spPr>
          <a:xfrm>
            <a:off x="7365389" y="3516761"/>
            <a:ext cx="544772" cy="896551"/>
          </a:xfrm>
          <a:prstGeom prst="rightArrow">
            <a:avLst/>
          </a:prstGeom>
          <a:gradFill flip="none" rotWithShape="1">
            <a:gsLst>
              <a:gs pos="0">
                <a:schemeClr val="accent5"/>
              </a:gs>
              <a:gs pos="50000">
                <a:schemeClr val="accent5">
                  <a:tint val="44500"/>
                  <a:satMod val="160000"/>
                </a:schemeClr>
              </a:gs>
              <a:gs pos="100000">
                <a:schemeClr val="accent1"/>
              </a:gs>
            </a:gsLst>
            <a:lin ang="108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4" name="TextBox 63">
            <a:extLst>
              <a:ext uri="{FF2B5EF4-FFF2-40B4-BE49-F238E27FC236}">
                <a16:creationId xmlns:a16="http://schemas.microsoft.com/office/drawing/2014/main" id="{9A758302-03C3-4D72-E355-6D63B0594FFF}"/>
              </a:ext>
            </a:extLst>
          </p:cNvPr>
          <p:cNvSpPr txBox="1"/>
          <p:nvPr/>
        </p:nvSpPr>
        <p:spPr>
          <a:xfrm rot="16200000">
            <a:off x="-1144503" y="3695194"/>
            <a:ext cx="4150667" cy="400110"/>
          </a:xfrm>
          <a:prstGeom prst="rect">
            <a:avLst/>
          </a:prstGeom>
          <a:noFill/>
        </p:spPr>
        <p:txBody>
          <a:bodyPr wrap="square" lIns="36000" rIns="36000" rtlCol="0">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Vaccines </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co-financing level</a:t>
            </a:r>
            <a:endParaRPr kumimoji="0" lang="en-GB" sz="600" b="1"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endParaRPr>
          </a:p>
        </p:txBody>
      </p:sp>
      <p:sp>
        <p:nvSpPr>
          <p:cNvPr id="71" name="TextBox 70">
            <a:extLst>
              <a:ext uri="{FF2B5EF4-FFF2-40B4-BE49-F238E27FC236}">
                <a16:creationId xmlns:a16="http://schemas.microsoft.com/office/drawing/2014/main" id="{D44DC1CD-CE17-75B9-7315-A9D9CF50C959}"/>
              </a:ext>
            </a:extLst>
          </p:cNvPr>
          <p:cNvSpPr txBox="1"/>
          <p:nvPr/>
        </p:nvSpPr>
        <p:spPr>
          <a:xfrm>
            <a:off x="6398883" y="2455732"/>
            <a:ext cx="1467420" cy="461665"/>
          </a:xfrm>
          <a:prstGeom prst="rect">
            <a:avLst/>
          </a:prstGeom>
          <a:noFill/>
        </p:spPr>
        <p:txBody>
          <a:bodyPr wrap="square" lIns="36000" rIns="36000"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02E5D"/>
                </a:solidFill>
                <a:effectLst/>
                <a:uLnTx/>
                <a:uFillTx/>
                <a:latin typeface="Arial" panose="020B0604020202020204" pitchFamily="34" charset="0"/>
                <a:ea typeface="+mn-ea"/>
                <a:cs typeface="Arial" panose="020B0604020202020204" pitchFamily="34" charset="0"/>
              </a:rPr>
              <a:t>Fully</a:t>
            </a:r>
          </a:p>
          <a:p>
            <a:pPr marL="0" marR="0" lvl="0" indent="0" algn="l" defTabSz="457189"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02E5D"/>
                </a:solidFill>
                <a:effectLst/>
                <a:uLnTx/>
                <a:uFillTx/>
                <a:latin typeface="Arial" panose="020B0604020202020204" pitchFamily="34" charset="0"/>
                <a:ea typeface="+mn-ea"/>
                <a:cs typeface="Arial" panose="020B0604020202020204" pitchFamily="34" charset="0"/>
              </a:rPr>
              <a:t>self-financing</a:t>
            </a:r>
            <a:endParaRPr kumimoji="0" lang="en-GB" sz="900" b="1" i="0" u="none" strike="noStrike" kern="1200" cap="none" spc="0" normalizeH="0" baseline="0" noProof="0">
              <a:ln>
                <a:noFill/>
              </a:ln>
              <a:solidFill>
                <a:srgbClr val="002E5D"/>
              </a:solidFill>
              <a:effectLst/>
              <a:uLnTx/>
              <a:uFillTx/>
              <a:latin typeface="Arial" panose="020B0604020202020204" pitchFamily="34" charset="0"/>
              <a:ea typeface="+mn-ea"/>
              <a:cs typeface="Arial" panose="020B0604020202020204" pitchFamily="34" charset="0"/>
            </a:endParaRPr>
          </a:p>
        </p:txBody>
      </p:sp>
      <p:sp>
        <p:nvSpPr>
          <p:cNvPr id="18" name="Rectangle 17">
            <a:extLst>
              <a:ext uri="{FF2B5EF4-FFF2-40B4-BE49-F238E27FC236}">
                <a16:creationId xmlns:a16="http://schemas.microsoft.com/office/drawing/2014/main" id="{F72076CC-AAF5-4033-237A-4F8BDED99CDC}"/>
              </a:ext>
            </a:extLst>
          </p:cNvPr>
          <p:cNvSpPr/>
          <p:nvPr/>
        </p:nvSpPr>
        <p:spPr>
          <a:xfrm>
            <a:off x="5681783" y="3799085"/>
            <a:ext cx="201191" cy="8444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3" name="Rectangle 22">
            <a:extLst>
              <a:ext uri="{FF2B5EF4-FFF2-40B4-BE49-F238E27FC236}">
                <a16:creationId xmlns:a16="http://schemas.microsoft.com/office/drawing/2014/main" id="{4DE5B7D1-6396-C911-189F-3631358A5632}"/>
              </a:ext>
            </a:extLst>
          </p:cNvPr>
          <p:cNvSpPr/>
          <p:nvPr/>
        </p:nvSpPr>
        <p:spPr>
          <a:xfrm>
            <a:off x="5993230" y="3659608"/>
            <a:ext cx="201191" cy="98390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4" name="Rectangle 23">
            <a:extLst>
              <a:ext uri="{FF2B5EF4-FFF2-40B4-BE49-F238E27FC236}">
                <a16:creationId xmlns:a16="http://schemas.microsoft.com/office/drawing/2014/main" id="{3838BF60-D68A-AE10-88A5-9F5E137EFF28}"/>
              </a:ext>
            </a:extLst>
          </p:cNvPr>
          <p:cNvSpPr/>
          <p:nvPr/>
        </p:nvSpPr>
        <p:spPr>
          <a:xfrm>
            <a:off x="6304678" y="3516759"/>
            <a:ext cx="201191" cy="11267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6" name="Rectangle 25">
            <a:extLst>
              <a:ext uri="{FF2B5EF4-FFF2-40B4-BE49-F238E27FC236}">
                <a16:creationId xmlns:a16="http://schemas.microsoft.com/office/drawing/2014/main" id="{C5401C3B-95E2-4260-A2C9-1015E138CE29}"/>
              </a:ext>
            </a:extLst>
          </p:cNvPr>
          <p:cNvSpPr/>
          <p:nvPr/>
        </p:nvSpPr>
        <p:spPr>
          <a:xfrm>
            <a:off x="6616126" y="3377750"/>
            <a:ext cx="201191" cy="126576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7" name="Rectangle 26">
            <a:extLst>
              <a:ext uri="{FF2B5EF4-FFF2-40B4-BE49-F238E27FC236}">
                <a16:creationId xmlns:a16="http://schemas.microsoft.com/office/drawing/2014/main" id="{DE3B201C-354A-9DA6-0E1A-3EA522F9940D}"/>
              </a:ext>
            </a:extLst>
          </p:cNvPr>
          <p:cNvSpPr/>
          <p:nvPr/>
        </p:nvSpPr>
        <p:spPr>
          <a:xfrm>
            <a:off x="6927570" y="3240734"/>
            <a:ext cx="201191" cy="140278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8" name="Rectangle 27">
            <a:extLst>
              <a:ext uri="{FF2B5EF4-FFF2-40B4-BE49-F238E27FC236}">
                <a16:creationId xmlns:a16="http://schemas.microsoft.com/office/drawing/2014/main" id="{E3E90987-9A11-73D4-DCB5-0C0CA38E9493}"/>
              </a:ext>
            </a:extLst>
          </p:cNvPr>
          <p:cNvSpPr/>
          <p:nvPr/>
        </p:nvSpPr>
        <p:spPr>
          <a:xfrm>
            <a:off x="5370335" y="3925065"/>
            <a:ext cx="201191" cy="71845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9" name="Rectangle 28">
            <a:extLst>
              <a:ext uri="{FF2B5EF4-FFF2-40B4-BE49-F238E27FC236}">
                <a16:creationId xmlns:a16="http://schemas.microsoft.com/office/drawing/2014/main" id="{5E3568F1-1A67-9633-1347-4A2EDD074213}"/>
              </a:ext>
            </a:extLst>
          </p:cNvPr>
          <p:cNvSpPr/>
          <p:nvPr/>
        </p:nvSpPr>
        <p:spPr>
          <a:xfrm>
            <a:off x="5058890" y="4056323"/>
            <a:ext cx="201191" cy="5871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0" name="Rectangle 29">
            <a:extLst>
              <a:ext uri="{FF2B5EF4-FFF2-40B4-BE49-F238E27FC236}">
                <a16:creationId xmlns:a16="http://schemas.microsoft.com/office/drawing/2014/main" id="{892C632A-8CE2-7178-1328-5D31A22EDB59}"/>
              </a:ext>
            </a:extLst>
          </p:cNvPr>
          <p:cNvSpPr/>
          <p:nvPr/>
        </p:nvSpPr>
        <p:spPr>
          <a:xfrm>
            <a:off x="4747442" y="4219769"/>
            <a:ext cx="201191" cy="42374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2" name="TextBox 31">
            <a:extLst>
              <a:ext uri="{FF2B5EF4-FFF2-40B4-BE49-F238E27FC236}">
                <a16:creationId xmlns:a16="http://schemas.microsoft.com/office/drawing/2014/main" id="{71DACA6B-FB3C-4227-5BF2-33374A667E77}"/>
              </a:ext>
            </a:extLst>
          </p:cNvPr>
          <p:cNvSpPr txBox="1"/>
          <p:nvPr/>
        </p:nvSpPr>
        <p:spPr>
          <a:xfrm>
            <a:off x="2008328" y="5216636"/>
            <a:ext cx="1883549" cy="534368"/>
          </a:xfrm>
          <a:prstGeom prst="rect">
            <a:avLst/>
          </a:prstGeom>
          <a:noFill/>
        </p:spPr>
        <p:txBody>
          <a:bodyPr wrap="square" lIns="72000" tIns="36000" rIns="72000" bIns="36000" rtlCol="0">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3E9B6E"/>
                </a:solidFill>
                <a:effectLst/>
                <a:uLnTx/>
                <a:uFillTx/>
                <a:latin typeface="Arial" panose="020B0604020202020204" pitchFamily="34" charset="0"/>
                <a:ea typeface="+mn-ea"/>
                <a:cs typeface="Arial" panose="020B0604020202020204" pitchFamily="34" charset="0"/>
              </a:rPr>
              <a:t>Low-income </a:t>
            </a:r>
            <a:br>
              <a:rPr kumimoji="0" lang="en-GB" sz="1000" b="1" i="0" u="none" strike="noStrike" kern="1200" cap="none" spc="0" normalizeH="0" baseline="0" noProof="0" dirty="0">
                <a:ln>
                  <a:noFill/>
                </a:ln>
                <a:solidFill>
                  <a:srgbClr val="3E9B6E"/>
                </a:solidFill>
                <a:effectLst/>
                <a:uLnTx/>
                <a:uFillTx/>
                <a:latin typeface="Arial" panose="020B0604020202020204" pitchFamily="34" charset="0"/>
                <a:ea typeface="+mn-ea"/>
                <a:cs typeface="Arial" panose="020B0604020202020204" pitchFamily="34" charset="0"/>
              </a:rPr>
            </a:br>
            <a:r>
              <a:rPr kumimoji="0" lang="en-GB" sz="1000" b="1" i="0" u="none" strike="noStrike" kern="1200" cap="none" spc="0" normalizeH="0" baseline="0" noProof="0" dirty="0">
                <a:ln>
                  <a:noFill/>
                </a:ln>
                <a:solidFill>
                  <a:srgbClr val="3E9B6E"/>
                </a:solidFill>
                <a:effectLst/>
                <a:uLnTx/>
                <a:uFillTx/>
                <a:latin typeface="Arial" panose="020B0604020202020204" pitchFamily="34" charset="0"/>
                <a:ea typeface="+mn-ea"/>
                <a:cs typeface="Arial" panose="020B0604020202020204" pitchFamily="34" charset="0"/>
              </a:rPr>
              <a:t>country threshold:</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3E9B6E"/>
                </a:solidFill>
                <a:effectLst/>
                <a:uLnTx/>
                <a:uFillTx/>
                <a:latin typeface="Arial" panose="020B0604020202020204" pitchFamily="34" charset="0"/>
                <a:ea typeface="+mn-ea"/>
                <a:cs typeface="Arial" panose="020B0604020202020204" pitchFamily="34" charset="0"/>
              </a:rPr>
              <a:t>US$ 1,085 GNI per capita</a:t>
            </a:r>
          </a:p>
        </p:txBody>
      </p:sp>
      <p:sp>
        <p:nvSpPr>
          <p:cNvPr id="37" name="TextBox 36">
            <a:extLst>
              <a:ext uri="{FF2B5EF4-FFF2-40B4-BE49-F238E27FC236}">
                <a16:creationId xmlns:a16="http://schemas.microsoft.com/office/drawing/2014/main" id="{5810DD43-3FCF-EA69-B672-8BF253C8A997}"/>
              </a:ext>
            </a:extLst>
          </p:cNvPr>
          <p:cNvSpPr txBox="1"/>
          <p:nvPr/>
        </p:nvSpPr>
        <p:spPr>
          <a:xfrm>
            <a:off x="2980324" y="1610393"/>
            <a:ext cx="1701267" cy="266951"/>
          </a:xfrm>
          <a:prstGeom prst="homePlate">
            <a:avLst/>
          </a:prstGeom>
          <a:noFill/>
        </p:spPr>
        <p:txBody>
          <a:bodyPr vert="horz" lIns="144000" tIns="36000" rIns="144000" bIns="36000" rtlCol="0" anchor="ctr" anchorCtr="0">
            <a:noAutofit/>
          </a:bodyPr>
          <a:lstStyle>
            <a:defPPr>
              <a:defRPr lang="en-US"/>
            </a:defPPr>
            <a:lvl1pPr indent="0" defTabSz="913286">
              <a:lnSpc>
                <a:spcPct val="110000"/>
              </a:lnSpc>
              <a:spcBef>
                <a:spcPts val="0"/>
              </a:spcBef>
              <a:spcAft>
                <a:spcPts val="900"/>
              </a:spcAft>
              <a:buFont typeface="Arial" pitchFamily="34" charset="0"/>
              <a:buNone/>
              <a:defRPr sz="1400" b="1">
                <a:solidFill>
                  <a:schemeClr val="bg1"/>
                </a:solidFill>
              </a:defRPr>
            </a:lvl1pPr>
            <a:lvl2pPr marL="142702" indent="0" defTabSz="913286">
              <a:lnSpc>
                <a:spcPct val="100000"/>
              </a:lnSpc>
              <a:spcBef>
                <a:spcPts val="300"/>
              </a:spcBef>
              <a:buFont typeface="Arial" pitchFamily="34" charset="0"/>
              <a:buNone/>
              <a:defRPr sz="1600" b="1">
                <a:solidFill>
                  <a:schemeClr val="tx2"/>
                </a:solidFill>
              </a:defRPr>
            </a:lvl2pPr>
            <a:lvl3pPr marL="143826" indent="107869" defTabSz="913286">
              <a:lnSpc>
                <a:spcPct val="100000"/>
              </a:lnSpc>
              <a:spcBef>
                <a:spcPts val="300"/>
              </a:spcBef>
              <a:buSzPct val="100000"/>
              <a:buFont typeface="Arial" pitchFamily="34" charset="0"/>
              <a:buChar char="•"/>
              <a:defRPr sz="1400" b="1">
                <a:solidFill>
                  <a:schemeClr val="tx2"/>
                </a:solidFill>
              </a:defRPr>
            </a:lvl3pPr>
            <a:lvl4pPr marL="359559" indent="0" defTabSz="913286">
              <a:lnSpc>
                <a:spcPct val="100000"/>
              </a:lnSpc>
              <a:spcBef>
                <a:spcPts val="300"/>
              </a:spcBef>
              <a:buSzPct val="100000"/>
              <a:buFont typeface="Arial" pitchFamily="34" charset="0"/>
              <a:buNone/>
              <a:defRPr sz="1400" baseline="0">
                <a:solidFill>
                  <a:schemeClr val="tx2"/>
                </a:solidFill>
              </a:defRPr>
            </a:lvl4pPr>
            <a:lvl5pPr marL="503386" indent="107869" defTabSz="913286">
              <a:lnSpc>
                <a:spcPct val="100000"/>
              </a:lnSpc>
              <a:spcBef>
                <a:spcPts val="300"/>
              </a:spcBef>
              <a:buSzPct val="100000"/>
              <a:buFont typeface="Arial" pitchFamily="34" charset="0"/>
              <a:buChar char="•"/>
              <a:defRPr sz="1200">
                <a:solidFill>
                  <a:schemeClr val="tx2"/>
                </a:solidFill>
              </a:defRPr>
            </a:lvl5pPr>
            <a:lvl6pPr marL="2511538" indent="-228322" defTabSz="913286">
              <a:spcBef>
                <a:spcPct val="20000"/>
              </a:spcBef>
              <a:buFont typeface="Arial" pitchFamily="34" charset="0"/>
              <a:buChar char="•"/>
              <a:defRPr sz="2000"/>
            </a:lvl6pPr>
            <a:lvl7pPr marL="2968181" indent="-228322" defTabSz="913286">
              <a:spcBef>
                <a:spcPct val="20000"/>
              </a:spcBef>
              <a:buFont typeface="Arial" pitchFamily="34" charset="0"/>
              <a:buChar char="•"/>
              <a:defRPr sz="2000"/>
            </a:lvl7pPr>
            <a:lvl8pPr marL="3424825" indent="-228322" defTabSz="913286">
              <a:spcBef>
                <a:spcPct val="20000"/>
              </a:spcBef>
              <a:buFont typeface="Arial" pitchFamily="34" charset="0"/>
              <a:buChar char="•"/>
              <a:defRPr sz="2000"/>
            </a:lvl8pPr>
            <a:lvl9pPr marL="3881467" indent="-228322" defTabSz="913286">
              <a:spcBef>
                <a:spcPct val="20000"/>
              </a:spcBef>
              <a:buFont typeface="Arial" pitchFamily="34" charset="0"/>
              <a:buChar char="•"/>
              <a:defRPr sz="2000"/>
            </a:lvl9pPr>
          </a:lstStyle>
          <a:p>
            <a:pPr marL="0" marR="0" lvl="0" indent="0" algn="ctr" defTabSz="913264" rtl="0" eaLnBrk="1" fontAlgn="auto" latinLnBrk="0" hangingPunct="1">
              <a:lnSpc>
                <a:spcPct val="110000"/>
              </a:lnSpc>
              <a:spcBef>
                <a:spcPts val="0"/>
              </a:spcBef>
              <a:spcAft>
                <a:spcPts val="900"/>
              </a:spcAft>
              <a:buClrTx/>
              <a:buSzTx/>
              <a:buFont typeface="Arial" pitchFamily="34" charset="0"/>
              <a:buNone/>
              <a:tabLst/>
              <a:defRPr/>
            </a:pPr>
            <a:r>
              <a:rPr kumimoji="0" lang="en-GB" sz="1600" b="1" i="0" u="none" strike="noStrike" kern="1200" cap="none" spc="0" normalizeH="0" baseline="0" noProof="0">
                <a:ln>
                  <a:noFill/>
                </a:ln>
                <a:solidFill>
                  <a:srgbClr val="3E9B6E"/>
                </a:solidFill>
                <a:effectLst/>
                <a:uLnTx/>
                <a:uFillTx/>
                <a:latin typeface="Arial" panose="020B0604020202020204" pitchFamily="34" charset="0"/>
                <a:ea typeface="+mn-ea"/>
                <a:cs typeface="Arial" panose="020B0604020202020204" pitchFamily="34" charset="0"/>
              </a:rPr>
              <a:t>Preparatory </a:t>
            </a:r>
            <a:br>
              <a:rPr kumimoji="0" lang="en-GB" sz="1600" b="1" i="0" u="none" strike="noStrike" kern="1200" cap="none" spc="0" normalizeH="0" baseline="0" noProof="0">
                <a:ln>
                  <a:noFill/>
                </a:ln>
                <a:solidFill>
                  <a:srgbClr val="3E9B6E"/>
                </a:solidFill>
                <a:effectLst/>
                <a:uLnTx/>
                <a:uFillTx/>
                <a:latin typeface="Arial" panose="020B0604020202020204" pitchFamily="34" charset="0"/>
                <a:ea typeface="+mn-ea"/>
                <a:cs typeface="Arial" panose="020B0604020202020204" pitchFamily="34" charset="0"/>
              </a:rPr>
            </a:br>
            <a:r>
              <a:rPr kumimoji="0" lang="en-GB" sz="1600" b="1" i="0" u="none" strike="noStrike" kern="1200" cap="none" spc="0" normalizeH="0" baseline="0" noProof="0">
                <a:ln>
                  <a:noFill/>
                </a:ln>
                <a:solidFill>
                  <a:srgbClr val="3E9B6E"/>
                </a:solidFill>
                <a:effectLst/>
                <a:uLnTx/>
                <a:uFillTx/>
                <a:latin typeface="Arial" panose="020B0604020202020204" pitchFamily="34" charset="0"/>
                <a:ea typeface="+mn-ea"/>
                <a:cs typeface="Arial" panose="020B0604020202020204" pitchFamily="34" charset="0"/>
              </a:rPr>
              <a:t>transition</a:t>
            </a:r>
          </a:p>
        </p:txBody>
      </p:sp>
      <p:sp>
        <p:nvSpPr>
          <p:cNvPr id="38" name="TextBox 37">
            <a:extLst>
              <a:ext uri="{FF2B5EF4-FFF2-40B4-BE49-F238E27FC236}">
                <a16:creationId xmlns:a16="http://schemas.microsoft.com/office/drawing/2014/main" id="{E25C7F62-0EB5-E8A1-40DB-E7FDD8EE71E4}"/>
              </a:ext>
            </a:extLst>
          </p:cNvPr>
          <p:cNvSpPr txBox="1"/>
          <p:nvPr/>
        </p:nvSpPr>
        <p:spPr>
          <a:xfrm>
            <a:off x="3830957" y="5216637"/>
            <a:ext cx="2372619" cy="688256"/>
          </a:xfrm>
          <a:prstGeom prst="rect">
            <a:avLst/>
          </a:prstGeom>
          <a:noFill/>
        </p:spPr>
        <p:txBody>
          <a:bodyPr wrap="square" lIns="72000" tIns="36000" rIns="72000" bIns="36000" rtlCol="0">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83BD00"/>
                </a:solidFill>
                <a:effectLst/>
                <a:uLnTx/>
                <a:uFillTx/>
                <a:latin typeface="Arial" panose="020B0604020202020204" pitchFamily="34" charset="0"/>
                <a:ea typeface="+mn-ea"/>
                <a:cs typeface="Arial" panose="020B0604020202020204" pitchFamily="34" charset="0"/>
              </a:rPr>
              <a:t>Eligibility threshold:</a:t>
            </a:r>
            <a:br>
              <a:rPr kumimoji="0" lang="en-GB" sz="1000" b="1" i="0" u="none" strike="noStrike" kern="1200" cap="none" spc="0" normalizeH="0" baseline="0" noProof="0">
                <a:ln>
                  <a:noFill/>
                </a:ln>
                <a:solidFill>
                  <a:srgbClr val="83BD00"/>
                </a:solidFill>
                <a:effectLst/>
                <a:uLnTx/>
                <a:uFillTx/>
                <a:latin typeface="Arial" panose="020B0604020202020204" pitchFamily="34" charset="0"/>
                <a:ea typeface="+mn-ea"/>
                <a:cs typeface="Arial" panose="020B0604020202020204" pitchFamily="34" charset="0"/>
              </a:rPr>
            </a:br>
            <a:r>
              <a:rPr kumimoji="0" lang="en-GB" sz="1000" b="0" i="0" u="none" strike="noStrike" kern="1200" cap="none" spc="0" normalizeH="0" baseline="0" noProof="0">
                <a:ln>
                  <a:noFill/>
                </a:ln>
                <a:solidFill>
                  <a:srgbClr val="83BD00"/>
                </a:solidFill>
                <a:effectLst/>
                <a:uLnTx/>
                <a:uFillTx/>
                <a:latin typeface="Arial" panose="020B0604020202020204" pitchFamily="34" charset="0"/>
                <a:ea typeface="+mn-ea"/>
                <a:cs typeface="Arial" panose="020B0604020202020204" pitchFamily="34" charset="0"/>
              </a:rPr>
              <a:t>US $ 1,730</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83BD00"/>
                </a:solidFill>
                <a:effectLst/>
                <a:uLnTx/>
                <a:uFillTx/>
                <a:latin typeface="Arial" panose="020B0604020202020204" pitchFamily="34" charset="0"/>
                <a:ea typeface="+mn-ea"/>
                <a:cs typeface="Arial" panose="020B0604020202020204" pitchFamily="34" charset="0"/>
              </a:rPr>
              <a:t>GNI per capita and co-financing at least 35% vaccines</a:t>
            </a:r>
          </a:p>
        </p:txBody>
      </p:sp>
      <p:sp>
        <p:nvSpPr>
          <p:cNvPr id="40" name="Text Placeholder 3">
            <a:extLst>
              <a:ext uri="{FF2B5EF4-FFF2-40B4-BE49-F238E27FC236}">
                <a16:creationId xmlns:a16="http://schemas.microsoft.com/office/drawing/2014/main" id="{24198B4C-B08C-26A9-72FF-93FE0231C5BC}"/>
              </a:ext>
            </a:extLst>
          </p:cNvPr>
          <p:cNvSpPr txBox="1">
            <a:spLocks/>
          </p:cNvSpPr>
          <p:nvPr/>
        </p:nvSpPr>
        <p:spPr bwMode="gray">
          <a:xfrm>
            <a:off x="5592263" y="1821058"/>
            <a:ext cx="1558868" cy="443735"/>
          </a:xfrm>
          <a:prstGeom prst="rect">
            <a:avLst/>
          </a:prstGeom>
          <a:noFill/>
        </p:spPr>
        <p:txBody>
          <a:bodyPr vert="horz" lIns="108000" tIns="36000" rIns="0" bIns="36000" rtlCol="0" anchor="t" anchorCtr="0">
            <a:noAutofit/>
          </a:bodyPr>
          <a:lstStyle>
            <a:lvl1pPr marL="0" indent="0" algn="l" defTabSz="913286" rtl="0" eaLnBrk="1" latinLnBrk="0" hangingPunct="1">
              <a:lnSpc>
                <a:spcPct val="110000"/>
              </a:lnSpc>
              <a:spcBef>
                <a:spcPts val="0"/>
              </a:spcBef>
              <a:spcAft>
                <a:spcPts val="900"/>
              </a:spcAft>
              <a:buFont typeface="Arial" pitchFamily="34" charset="0"/>
              <a:buNone/>
              <a:defRPr sz="2000" b="1" kern="1200">
                <a:solidFill>
                  <a:schemeClr val="accent4"/>
                </a:solidFill>
                <a:latin typeface="+mn-lt"/>
                <a:ea typeface="+mn-ea"/>
                <a:cs typeface="+mn-cs"/>
              </a:defRPr>
            </a:lvl1pPr>
            <a:lvl2pPr marL="142702" indent="0" algn="l" defTabSz="913286" rtl="0" eaLnBrk="1" latinLnBrk="0" hangingPunct="1">
              <a:lnSpc>
                <a:spcPct val="100000"/>
              </a:lnSpc>
              <a:spcBef>
                <a:spcPts val="300"/>
              </a:spcBef>
              <a:buFont typeface="Arial" pitchFamily="34" charset="0"/>
              <a:buNone/>
              <a:defRPr sz="1600" b="1" kern="1200">
                <a:solidFill>
                  <a:schemeClr val="tx2"/>
                </a:solidFill>
                <a:latin typeface="+mn-lt"/>
                <a:ea typeface="+mn-ea"/>
                <a:cs typeface="+mn-cs"/>
              </a:defRPr>
            </a:lvl2pPr>
            <a:lvl3pPr marL="143826" indent="107869" algn="l" defTabSz="913286" rtl="0" eaLnBrk="1" latinLnBrk="0" hangingPunct="1">
              <a:lnSpc>
                <a:spcPct val="100000"/>
              </a:lnSpc>
              <a:spcBef>
                <a:spcPts val="300"/>
              </a:spcBef>
              <a:buSzPct val="100000"/>
              <a:buFont typeface="Arial" pitchFamily="34" charset="0"/>
              <a:buChar char="•"/>
              <a:defRPr sz="1400" b="1" kern="1200">
                <a:solidFill>
                  <a:schemeClr val="tx2"/>
                </a:solidFill>
                <a:latin typeface="+mn-lt"/>
                <a:ea typeface="+mn-ea"/>
                <a:cs typeface="+mn-cs"/>
              </a:defRPr>
            </a:lvl3pPr>
            <a:lvl4pPr marL="359559" indent="0" algn="l" defTabSz="913286" rtl="0" eaLnBrk="1" latinLnBrk="0" hangingPunct="1">
              <a:lnSpc>
                <a:spcPct val="100000"/>
              </a:lnSpc>
              <a:spcBef>
                <a:spcPts val="300"/>
              </a:spcBef>
              <a:buSzPct val="100000"/>
              <a:buFont typeface="Arial" pitchFamily="34" charset="0"/>
              <a:buNone/>
              <a:defRPr sz="1400" kern="1200" baseline="0">
                <a:solidFill>
                  <a:schemeClr val="tx2"/>
                </a:solidFill>
                <a:latin typeface="+mn-lt"/>
                <a:ea typeface="+mn-ea"/>
                <a:cs typeface="+mn-cs"/>
              </a:defRPr>
            </a:lvl4pPr>
            <a:lvl5pPr marL="503386" indent="107869" algn="l" defTabSz="913286" rtl="0" eaLnBrk="1" latinLnBrk="0" hangingPunct="1">
              <a:lnSpc>
                <a:spcPct val="100000"/>
              </a:lnSpc>
              <a:spcBef>
                <a:spcPts val="300"/>
              </a:spcBef>
              <a:buSzPct val="100000"/>
              <a:buFont typeface="Arial" pitchFamily="34" charset="0"/>
              <a:buChar char="•"/>
              <a:defRPr sz="1200" kern="1200">
                <a:solidFill>
                  <a:schemeClr val="tx2"/>
                </a:solidFill>
                <a:latin typeface="+mn-lt"/>
                <a:ea typeface="+mn-ea"/>
                <a:cs typeface="+mn-cs"/>
              </a:defRPr>
            </a:lvl5pPr>
            <a:lvl6pPr marL="2511538" indent="-228322" algn="l" defTabSz="91328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8181" indent="-228322" algn="l" defTabSz="91328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4825" indent="-228322" algn="l" defTabSz="91328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1467" indent="-228322" algn="l" defTabSz="91328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3264" rtl="0" eaLnBrk="1" fontAlgn="auto" latinLnBrk="0" hangingPunct="1">
              <a:lnSpc>
                <a:spcPct val="110000"/>
              </a:lnSpc>
              <a:spcBef>
                <a:spcPts val="0"/>
              </a:spcBef>
              <a:spcAft>
                <a:spcPts val="900"/>
              </a:spcAft>
              <a:buClrTx/>
              <a:buSzTx/>
              <a:buFont typeface="Arial" pitchFamily="34" charset="0"/>
              <a:buNone/>
              <a:tabLst/>
              <a:defRPr/>
            </a:pPr>
            <a:endParaRPr kumimoji="0" lang="en-GB" sz="1300" b="0" i="0" u="none" strike="noStrike" kern="1200" cap="none" spc="0" normalizeH="0" baseline="0" noProof="0">
              <a:ln>
                <a:noFill/>
              </a:ln>
              <a:solidFill>
                <a:srgbClr val="D86117"/>
              </a:solidFill>
              <a:effectLst/>
              <a:uLnTx/>
              <a:uFillTx/>
              <a:latin typeface="Arial" panose="020B0604020202020204" pitchFamily="34" charset="0"/>
              <a:ea typeface="+mn-ea"/>
              <a:cs typeface="Arial" panose="020B0604020202020204" pitchFamily="34" charset="0"/>
            </a:endParaRPr>
          </a:p>
        </p:txBody>
      </p:sp>
      <p:sp>
        <p:nvSpPr>
          <p:cNvPr id="41" name="TextBox 40">
            <a:extLst>
              <a:ext uri="{FF2B5EF4-FFF2-40B4-BE49-F238E27FC236}">
                <a16:creationId xmlns:a16="http://schemas.microsoft.com/office/drawing/2014/main" id="{73F633F5-9047-E639-5ABF-109ED6F47E19}"/>
              </a:ext>
            </a:extLst>
          </p:cNvPr>
          <p:cNvSpPr txBox="1"/>
          <p:nvPr/>
        </p:nvSpPr>
        <p:spPr>
          <a:xfrm>
            <a:off x="4660130" y="1610393"/>
            <a:ext cx="2528612" cy="266951"/>
          </a:xfrm>
          <a:prstGeom prst="homePlate">
            <a:avLst/>
          </a:prstGeom>
          <a:noFill/>
        </p:spPr>
        <p:txBody>
          <a:bodyPr vert="horz" lIns="108000" tIns="36000" rIns="0" bIns="36000" rtlCol="0" anchor="ctr" anchorCtr="0">
            <a:noAutofit/>
          </a:bodyPr>
          <a:lstStyle>
            <a:defPPr>
              <a:defRPr lang="en-US"/>
            </a:defPPr>
            <a:lvl1pPr indent="0" defTabSz="913286">
              <a:lnSpc>
                <a:spcPct val="110000"/>
              </a:lnSpc>
              <a:spcBef>
                <a:spcPts val="0"/>
              </a:spcBef>
              <a:spcAft>
                <a:spcPts val="900"/>
              </a:spcAft>
              <a:buFont typeface="Arial" pitchFamily="34" charset="0"/>
              <a:buNone/>
              <a:defRPr sz="1400" b="1">
                <a:solidFill>
                  <a:schemeClr val="bg1"/>
                </a:solidFill>
              </a:defRPr>
            </a:lvl1pPr>
            <a:lvl2pPr marL="142702" indent="0" defTabSz="913286">
              <a:lnSpc>
                <a:spcPct val="100000"/>
              </a:lnSpc>
              <a:spcBef>
                <a:spcPts val="300"/>
              </a:spcBef>
              <a:buFont typeface="Arial" pitchFamily="34" charset="0"/>
              <a:buNone/>
              <a:defRPr sz="1600" b="1">
                <a:solidFill>
                  <a:schemeClr val="tx2"/>
                </a:solidFill>
              </a:defRPr>
            </a:lvl2pPr>
            <a:lvl3pPr marL="143826" indent="107869" defTabSz="913286">
              <a:lnSpc>
                <a:spcPct val="100000"/>
              </a:lnSpc>
              <a:spcBef>
                <a:spcPts val="300"/>
              </a:spcBef>
              <a:buSzPct val="100000"/>
              <a:buFont typeface="Arial" pitchFamily="34" charset="0"/>
              <a:buChar char="•"/>
              <a:defRPr sz="1400" b="1">
                <a:solidFill>
                  <a:schemeClr val="tx2"/>
                </a:solidFill>
              </a:defRPr>
            </a:lvl3pPr>
            <a:lvl4pPr marL="359559" indent="0" defTabSz="913286">
              <a:lnSpc>
                <a:spcPct val="100000"/>
              </a:lnSpc>
              <a:spcBef>
                <a:spcPts val="300"/>
              </a:spcBef>
              <a:buSzPct val="100000"/>
              <a:buFont typeface="Arial" pitchFamily="34" charset="0"/>
              <a:buNone/>
              <a:defRPr sz="1400" baseline="0">
                <a:solidFill>
                  <a:schemeClr val="tx2"/>
                </a:solidFill>
              </a:defRPr>
            </a:lvl4pPr>
            <a:lvl5pPr marL="503386" indent="107869" defTabSz="913286">
              <a:lnSpc>
                <a:spcPct val="100000"/>
              </a:lnSpc>
              <a:spcBef>
                <a:spcPts val="300"/>
              </a:spcBef>
              <a:buSzPct val="100000"/>
              <a:buFont typeface="Arial" pitchFamily="34" charset="0"/>
              <a:buChar char="•"/>
              <a:defRPr sz="1200">
                <a:solidFill>
                  <a:schemeClr val="tx2"/>
                </a:solidFill>
              </a:defRPr>
            </a:lvl5pPr>
            <a:lvl6pPr marL="2511538" indent="-228322" defTabSz="913286">
              <a:spcBef>
                <a:spcPct val="20000"/>
              </a:spcBef>
              <a:buFont typeface="Arial" pitchFamily="34" charset="0"/>
              <a:buChar char="•"/>
              <a:defRPr sz="2000"/>
            </a:lvl6pPr>
            <a:lvl7pPr marL="2968181" indent="-228322" defTabSz="913286">
              <a:spcBef>
                <a:spcPct val="20000"/>
              </a:spcBef>
              <a:buFont typeface="Arial" pitchFamily="34" charset="0"/>
              <a:buChar char="•"/>
              <a:defRPr sz="2000"/>
            </a:lvl7pPr>
            <a:lvl8pPr marL="3424825" indent="-228322" defTabSz="913286">
              <a:spcBef>
                <a:spcPct val="20000"/>
              </a:spcBef>
              <a:buFont typeface="Arial" pitchFamily="34" charset="0"/>
              <a:buChar char="•"/>
              <a:defRPr sz="2000"/>
            </a:lvl8pPr>
            <a:lvl9pPr marL="3881467" indent="-228322" defTabSz="913286">
              <a:spcBef>
                <a:spcPct val="20000"/>
              </a:spcBef>
              <a:buFont typeface="Arial" pitchFamily="34" charset="0"/>
              <a:buChar char="•"/>
              <a:defRPr sz="2000"/>
            </a:lvl9pPr>
          </a:lstStyle>
          <a:p>
            <a:pPr marL="0" marR="0" lvl="0" indent="0" algn="ctr" defTabSz="913264" rtl="0" eaLnBrk="1" fontAlgn="auto" latinLnBrk="0" hangingPunct="1">
              <a:lnSpc>
                <a:spcPct val="110000"/>
              </a:lnSpc>
              <a:spcBef>
                <a:spcPts val="0"/>
              </a:spcBef>
              <a:spcAft>
                <a:spcPts val="900"/>
              </a:spcAft>
              <a:buClrTx/>
              <a:buSzTx/>
              <a:buFont typeface="Arial" pitchFamily="34" charset="0"/>
              <a:buNone/>
              <a:tabLst/>
              <a:defRPr/>
            </a:pPr>
            <a:r>
              <a:rPr kumimoji="0" lang="en-GB" sz="1600" b="1" i="0" u="none" strike="noStrike" kern="1200" cap="none" spc="0" normalizeH="0" baseline="0" noProof="0">
                <a:ln>
                  <a:noFill/>
                </a:ln>
                <a:solidFill>
                  <a:srgbClr val="83BD00"/>
                </a:solidFill>
                <a:effectLst/>
                <a:uLnTx/>
                <a:uFillTx/>
                <a:latin typeface="Arial" panose="020B0604020202020204" pitchFamily="34" charset="0"/>
                <a:ea typeface="+mn-ea"/>
                <a:cs typeface="Arial" panose="020B0604020202020204" pitchFamily="34" charset="0"/>
              </a:rPr>
              <a:t>Accelerated </a:t>
            </a:r>
            <a:br>
              <a:rPr kumimoji="0" lang="en-GB" sz="1600" b="1" i="0" u="none" strike="noStrike" kern="1200" cap="none" spc="0" normalizeH="0" baseline="0" noProof="0">
                <a:ln>
                  <a:noFill/>
                </a:ln>
                <a:solidFill>
                  <a:srgbClr val="83BD00"/>
                </a:solidFill>
                <a:effectLst/>
                <a:uLnTx/>
                <a:uFillTx/>
                <a:latin typeface="Arial" panose="020B0604020202020204" pitchFamily="34" charset="0"/>
                <a:ea typeface="+mn-ea"/>
                <a:cs typeface="Arial" panose="020B0604020202020204" pitchFamily="34" charset="0"/>
              </a:rPr>
            </a:br>
            <a:r>
              <a:rPr kumimoji="0" lang="en-GB" sz="1600" b="1" i="0" u="none" strike="noStrike" kern="1200" cap="none" spc="0" normalizeH="0" baseline="0" noProof="0">
                <a:ln>
                  <a:noFill/>
                </a:ln>
                <a:solidFill>
                  <a:srgbClr val="83BD00"/>
                </a:solidFill>
                <a:effectLst/>
                <a:uLnTx/>
                <a:uFillTx/>
                <a:latin typeface="Arial" panose="020B0604020202020204" pitchFamily="34" charset="0"/>
                <a:ea typeface="+mn-ea"/>
                <a:cs typeface="Arial" panose="020B0604020202020204" pitchFamily="34" charset="0"/>
              </a:rPr>
              <a:t>transition</a:t>
            </a:r>
          </a:p>
        </p:txBody>
      </p:sp>
      <p:sp>
        <p:nvSpPr>
          <p:cNvPr id="42" name="TextBox 41">
            <a:extLst>
              <a:ext uri="{FF2B5EF4-FFF2-40B4-BE49-F238E27FC236}">
                <a16:creationId xmlns:a16="http://schemas.microsoft.com/office/drawing/2014/main" id="{E89C3854-1050-F391-37DE-F3EF6E421C11}"/>
              </a:ext>
            </a:extLst>
          </p:cNvPr>
          <p:cNvSpPr txBox="1"/>
          <p:nvPr/>
        </p:nvSpPr>
        <p:spPr>
          <a:xfrm>
            <a:off x="4662659" y="4752683"/>
            <a:ext cx="2519059" cy="276999"/>
          </a:xfrm>
          <a:prstGeom prst="rect">
            <a:avLst/>
          </a:prstGeom>
          <a:noFill/>
        </p:spPr>
        <p:txBody>
          <a:bodyPr wrap="square" rtlCol="0" anchor="ctr">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43434"/>
                </a:solidFill>
                <a:effectLst/>
                <a:uLnTx/>
                <a:uFillTx/>
                <a:latin typeface="Arial" panose="020B0604020202020204" pitchFamily="34" charset="0"/>
                <a:ea typeface="+mn-ea"/>
                <a:cs typeface="Arial" panose="020B0604020202020204" pitchFamily="34" charset="0"/>
              </a:rPr>
              <a:t>8 years</a:t>
            </a:r>
          </a:p>
        </p:txBody>
      </p:sp>
      <p:sp>
        <p:nvSpPr>
          <p:cNvPr id="43" name="Rectangle 42">
            <a:extLst>
              <a:ext uri="{FF2B5EF4-FFF2-40B4-BE49-F238E27FC236}">
                <a16:creationId xmlns:a16="http://schemas.microsoft.com/office/drawing/2014/main" id="{FFCDDB40-902D-0262-9F10-A73E810A86FB}"/>
              </a:ext>
            </a:extLst>
          </p:cNvPr>
          <p:cNvSpPr/>
          <p:nvPr/>
        </p:nvSpPr>
        <p:spPr>
          <a:xfrm>
            <a:off x="3728034" y="4402953"/>
            <a:ext cx="201191" cy="24981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5" name="Rectangle 44">
            <a:extLst>
              <a:ext uri="{FF2B5EF4-FFF2-40B4-BE49-F238E27FC236}">
                <a16:creationId xmlns:a16="http://schemas.microsoft.com/office/drawing/2014/main" id="{1CA66116-6D6D-81AD-E8FC-7A1ECF7AFA29}"/>
              </a:ext>
            </a:extLst>
          </p:cNvPr>
          <p:cNvSpPr/>
          <p:nvPr/>
        </p:nvSpPr>
        <p:spPr>
          <a:xfrm>
            <a:off x="4054806" y="4353905"/>
            <a:ext cx="201191" cy="28866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8" name="Rectangle 47">
            <a:extLst>
              <a:ext uri="{FF2B5EF4-FFF2-40B4-BE49-F238E27FC236}">
                <a16:creationId xmlns:a16="http://schemas.microsoft.com/office/drawing/2014/main" id="{7C0FA208-B6B1-361C-DD9D-3CABCA1B16C4}"/>
              </a:ext>
            </a:extLst>
          </p:cNvPr>
          <p:cNvSpPr/>
          <p:nvPr/>
        </p:nvSpPr>
        <p:spPr>
          <a:xfrm>
            <a:off x="4381577" y="4291746"/>
            <a:ext cx="201191" cy="35082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9" name="Rectangle 48">
            <a:extLst>
              <a:ext uri="{FF2B5EF4-FFF2-40B4-BE49-F238E27FC236}">
                <a16:creationId xmlns:a16="http://schemas.microsoft.com/office/drawing/2014/main" id="{9FBAF221-34FF-CD2A-E244-C07F7EA153A3}"/>
              </a:ext>
            </a:extLst>
          </p:cNvPr>
          <p:cNvSpPr/>
          <p:nvPr/>
        </p:nvSpPr>
        <p:spPr>
          <a:xfrm>
            <a:off x="3401262" y="4444065"/>
            <a:ext cx="201191" cy="20869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50" name="Rectangle 49">
            <a:extLst>
              <a:ext uri="{FF2B5EF4-FFF2-40B4-BE49-F238E27FC236}">
                <a16:creationId xmlns:a16="http://schemas.microsoft.com/office/drawing/2014/main" id="{1F5DF81F-A729-235E-93F6-53CA15393F44}"/>
              </a:ext>
            </a:extLst>
          </p:cNvPr>
          <p:cNvSpPr/>
          <p:nvPr/>
        </p:nvSpPr>
        <p:spPr>
          <a:xfrm>
            <a:off x="3074490" y="4459033"/>
            <a:ext cx="201191" cy="19373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nvGrpSpPr>
          <p:cNvPr id="51" name="Group 50">
            <a:extLst>
              <a:ext uri="{FF2B5EF4-FFF2-40B4-BE49-F238E27FC236}">
                <a16:creationId xmlns:a16="http://schemas.microsoft.com/office/drawing/2014/main" id="{C94447C4-511D-7A70-0B18-9D055FB3C666}"/>
              </a:ext>
            </a:extLst>
          </p:cNvPr>
          <p:cNvGrpSpPr/>
          <p:nvPr/>
        </p:nvGrpSpPr>
        <p:grpSpPr>
          <a:xfrm>
            <a:off x="1388016" y="4470179"/>
            <a:ext cx="1488897" cy="169491"/>
            <a:chOff x="1346649" y="5080757"/>
            <a:chExt cx="1769468" cy="228569"/>
          </a:xfrm>
          <a:solidFill>
            <a:schemeClr val="bg2"/>
          </a:solidFill>
        </p:grpSpPr>
        <p:sp>
          <p:nvSpPr>
            <p:cNvPr id="99" name="Rectangle 98">
              <a:extLst>
                <a:ext uri="{FF2B5EF4-FFF2-40B4-BE49-F238E27FC236}">
                  <a16:creationId xmlns:a16="http://schemas.microsoft.com/office/drawing/2014/main" id="{AA0A06C7-F138-C49F-D93C-2A17C90F0599}"/>
                </a:ext>
              </a:extLst>
            </p:cNvPr>
            <p:cNvSpPr/>
            <p:nvPr/>
          </p:nvSpPr>
          <p:spPr>
            <a:xfrm>
              <a:off x="1729240" y="5080757"/>
              <a:ext cx="239104" cy="22856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00" name="Rectangle 99">
              <a:extLst>
                <a:ext uri="{FF2B5EF4-FFF2-40B4-BE49-F238E27FC236}">
                  <a16:creationId xmlns:a16="http://schemas.microsoft.com/office/drawing/2014/main" id="{E2031718-1630-E88F-9159-CA806F52F7AE}"/>
                </a:ext>
              </a:extLst>
            </p:cNvPr>
            <p:cNvSpPr/>
            <p:nvPr/>
          </p:nvSpPr>
          <p:spPr>
            <a:xfrm>
              <a:off x="2111831" y="5080757"/>
              <a:ext cx="239104" cy="22856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01" name="Rectangle 100">
              <a:extLst>
                <a:ext uri="{FF2B5EF4-FFF2-40B4-BE49-F238E27FC236}">
                  <a16:creationId xmlns:a16="http://schemas.microsoft.com/office/drawing/2014/main" id="{F8311D0A-A5DE-DDB0-1B57-05915755452B}"/>
                </a:ext>
              </a:extLst>
            </p:cNvPr>
            <p:cNvSpPr/>
            <p:nvPr/>
          </p:nvSpPr>
          <p:spPr>
            <a:xfrm>
              <a:off x="2494422" y="5080757"/>
              <a:ext cx="239104" cy="22856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02" name="Rectangle 101">
              <a:extLst>
                <a:ext uri="{FF2B5EF4-FFF2-40B4-BE49-F238E27FC236}">
                  <a16:creationId xmlns:a16="http://schemas.microsoft.com/office/drawing/2014/main" id="{84286F8A-F808-8CE0-137A-8AC119747B82}"/>
                </a:ext>
              </a:extLst>
            </p:cNvPr>
            <p:cNvSpPr/>
            <p:nvPr/>
          </p:nvSpPr>
          <p:spPr>
            <a:xfrm>
              <a:off x="2877013" y="5080757"/>
              <a:ext cx="239104" cy="22856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03" name="Rectangle 102">
              <a:extLst>
                <a:ext uri="{FF2B5EF4-FFF2-40B4-BE49-F238E27FC236}">
                  <a16:creationId xmlns:a16="http://schemas.microsoft.com/office/drawing/2014/main" id="{1D1A8CF5-565D-DDBB-1704-F4DE85BAA6DE}"/>
                </a:ext>
              </a:extLst>
            </p:cNvPr>
            <p:cNvSpPr/>
            <p:nvPr/>
          </p:nvSpPr>
          <p:spPr>
            <a:xfrm>
              <a:off x="1346649" y="5080757"/>
              <a:ext cx="239104" cy="22856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sp>
        <p:nvSpPr>
          <p:cNvPr id="53" name="TextBox 52">
            <a:extLst>
              <a:ext uri="{FF2B5EF4-FFF2-40B4-BE49-F238E27FC236}">
                <a16:creationId xmlns:a16="http://schemas.microsoft.com/office/drawing/2014/main" id="{ED77627A-057D-5593-70D4-410C7B3AE063}"/>
              </a:ext>
            </a:extLst>
          </p:cNvPr>
          <p:cNvSpPr txBox="1"/>
          <p:nvPr/>
        </p:nvSpPr>
        <p:spPr>
          <a:xfrm>
            <a:off x="1175018" y="1561503"/>
            <a:ext cx="1805305" cy="364727"/>
          </a:xfrm>
          <a:prstGeom prst="homePlate">
            <a:avLst/>
          </a:prstGeom>
          <a:noFill/>
        </p:spPr>
        <p:txBody>
          <a:bodyPr vert="horz" lIns="108000" tIns="36000" rIns="36000" bIns="36000" rtlCol="0" anchor="ctr" anchorCtr="0">
            <a:noAutofit/>
          </a:bodyPr>
          <a:lstStyle>
            <a:lvl1pPr indent="0" defTabSz="913286">
              <a:lnSpc>
                <a:spcPct val="110000"/>
              </a:lnSpc>
              <a:spcBef>
                <a:spcPts val="0"/>
              </a:spcBef>
              <a:spcAft>
                <a:spcPts val="900"/>
              </a:spcAft>
              <a:buFont typeface="Arial" pitchFamily="34" charset="0"/>
              <a:buNone/>
              <a:defRPr sz="1400" b="1">
                <a:solidFill>
                  <a:schemeClr val="bg1"/>
                </a:solidFill>
              </a:defRPr>
            </a:lvl1pPr>
            <a:lvl2pPr marL="142702" indent="0" defTabSz="913286">
              <a:lnSpc>
                <a:spcPct val="100000"/>
              </a:lnSpc>
              <a:spcBef>
                <a:spcPts val="300"/>
              </a:spcBef>
              <a:buFont typeface="Arial" pitchFamily="34" charset="0"/>
              <a:buNone/>
              <a:defRPr sz="1600" b="1">
                <a:solidFill>
                  <a:schemeClr val="tx2"/>
                </a:solidFill>
              </a:defRPr>
            </a:lvl2pPr>
            <a:lvl3pPr marL="143826" indent="107869" defTabSz="913286">
              <a:lnSpc>
                <a:spcPct val="100000"/>
              </a:lnSpc>
              <a:spcBef>
                <a:spcPts val="300"/>
              </a:spcBef>
              <a:buSzPct val="100000"/>
              <a:buFont typeface="Arial" pitchFamily="34" charset="0"/>
              <a:buChar char="•"/>
              <a:defRPr sz="1400" b="1">
                <a:solidFill>
                  <a:schemeClr val="tx2"/>
                </a:solidFill>
              </a:defRPr>
            </a:lvl3pPr>
            <a:lvl4pPr marL="359559" indent="0" defTabSz="913286">
              <a:lnSpc>
                <a:spcPct val="100000"/>
              </a:lnSpc>
              <a:spcBef>
                <a:spcPts val="300"/>
              </a:spcBef>
              <a:buSzPct val="100000"/>
              <a:buFont typeface="Arial" pitchFamily="34" charset="0"/>
              <a:buNone/>
              <a:defRPr sz="1400" baseline="0">
                <a:solidFill>
                  <a:schemeClr val="tx2"/>
                </a:solidFill>
              </a:defRPr>
            </a:lvl4pPr>
            <a:lvl5pPr marL="503386" indent="107869" defTabSz="913286">
              <a:lnSpc>
                <a:spcPct val="100000"/>
              </a:lnSpc>
              <a:spcBef>
                <a:spcPts val="300"/>
              </a:spcBef>
              <a:buSzPct val="100000"/>
              <a:buFont typeface="Arial" pitchFamily="34" charset="0"/>
              <a:buChar char="•"/>
              <a:defRPr sz="1200">
                <a:solidFill>
                  <a:schemeClr val="tx2"/>
                </a:solidFill>
              </a:defRPr>
            </a:lvl5pPr>
            <a:lvl6pPr marL="2511538" indent="-228322" defTabSz="913286">
              <a:spcBef>
                <a:spcPct val="20000"/>
              </a:spcBef>
              <a:buFont typeface="Arial" pitchFamily="34" charset="0"/>
              <a:buChar char="•"/>
              <a:defRPr sz="2000"/>
            </a:lvl6pPr>
            <a:lvl7pPr marL="2968181" indent="-228322" defTabSz="913286">
              <a:spcBef>
                <a:spcPct val="20000"/>
              </a:spcBef>
              <a:buFont typeface="Arial" pitchFamily="34" charset="0"/>
              <a:buChar char="•"/>
              <a:defRPr sz="2000"/>
            </a:lvl7pPr>
            <a:lvl8pPr marL="3424825" indent="-228322" defTabSz="913286">
              <a:spcBef>
                <a:spcPct val="20000"/>
              </a:spcBef>
              <a:buFont typeface="Arial" pitchFamily="34" charset="0"/>
              <a:buChar char="•"/>
              <a:defRPr sz="2000"/>
            </a:lvl8pPr>
            <a:lvl9pPr marL="3881467" indent="-228322" defTabSz="913286">
              <a:spcBef>
                <a:spcPct val="20000"/>
              </a:spcBef>
              <a:buFont typeface="Arial" pitchFamily="34" charset="0"/>
              <a:buChar char="•"/>
              <a:defRPr sz="2000"/>
            </a:lvl9pPr>
          </a:lstStyle>
          <a:p>
            <a:pPr marL="0" marR="0" lvl="0" indent="0" algn="ctr" defTabSz="913264" rtl="0" eaLnBrk="1" fontAlgn="auto" latinLnBrk="0" hangingPunct="1">
              <a:lnSpc>
                <a:spcPct val="110000"/>
              </a:lnSpc>
              <a:spcBef>
                <a:spcPts val="0"/>
              </a:spcBef>
              <a:spcAft>
                <a:spcPts val="900"/>
              </a:spcAft>
              <a:buClrTx/>
              <a:buSzTx/>
              <a:buFont typeface="Arial" pitchFamily="34" charset="0"/>
              <a:buNone/>
              <a:tabLst/>
              <a:defRPr/>
            </a:pPr>
            <a:r>
              <a:rPr kumimoji="0" lang="en-GB" sz="1600" b="1" i="0" u="none" strike="noStrike" kern="1200" cap="none" spc="0" normalizeH="0" baseline="0" noProof="0">
                <a:ln>
                  <a:noFill/>
                </a:ln>
                <a:solidFill>
                  <a:srgbClr val="00A1DF"/>
                </a:solidFill>
                <a:effectLst/>
                <a:uLnTx/>
                <a:uFillTx/>
                <a:latin typeface="Arial" panose="020B0604020202020204" pitchFamily="34" charset="0"/>
                <a:ea typeface="+mn-ea"/>
                <a:cs typeface="Arial" panose="020B0604020202020204" pitchFamily="34" charset="0"/>
              </a:rPr>
              <a:t>Initial </a:t>
            </a:r>
            <a:br>
              <a:rPr kumimoji="0" lang="en-GB" sz="1600" b="1" i="0" u="none" strike="noStrike" kern="1200" cap="none" spc="0" normalizeH="0" baseline="0" noProof="0">
                <a:ln>
                  <a:noFill/>
                </a:ln>
                <a:solidFill>
                  <a:srgbClr val="00A1DF"/>
                </a:solidFill>
                <a:effectLst/>
                <a:uLnTx/>
                <a:uFillTx/>
                <a:latin typeface="Arial" panose="020B0604020202020204" pitchFamily="34" charset="0"/>
                <a:ea typeface="+mn-ea"/>
                <a:cs typeface="Arial" panose="020B0604020202020204" pitchFamily="34" charset="0"/>
              </a:rPr>
            </a:br>
            <a:r>
              <a:rPr kumimoji="0" lang="en-GB" sz="1600" b="1" i="0" u="none" strike="noStrike" kern="1200" cap="none" spc="0" normalizeH="0" baseline="0" noProof="0">
                <a:ln>
                  <a:noFill/>
                </a:ln>
                <a:solidFill>
                  <a:srgbClr val="00A1DF"/>
                </a:solidFill>
                <a:effectLst/>
                <a:uLnTx/>
                <a:uFillTx/>
                <a:latin typeface="Arial" panose="020B0604020202020204" pitchFamily="34" charset="0"/>
                <a:ea typeface="+mn-ea"/>
                <a:cs typeface="Arial" panose="020B0604020202020204" pitchFamily="34" charset="0"/>
              </a:rPr>
              <a:t>self-financing</a:t>
            </a:r>
          </a:p>
        </p:txBody>
      </p:sp>
      <p:sp>
        <p:nvSpPr>
          <p:cNvPr id="54" name="Rectangle 53">
            <a:extLst>
              <a:ext uri="{FF2B5EF4-FFF2-40B4-BE49-F238E27FC236}">
                <a16:creationId xmlns:a16="http://schemas.microsoft.com/office/drawing/2014/main" id="{BAC7C906-3F1C-EF94-C5A7-24766187D459}"/>
              </a:ext>
            </a:extLst>
          </p:cNvPr>
          <p:cNvSpPr/>
          <p:nvPr/>
        </p:nvSpPr>
        <p:spPr>
          <a:xfrm>
            <a:off x="1215454" y="1819916"/>
            <a:ext cx="1966121" cy="307777"/>
          </a:xfrm>
          <a:prstGeom prst="rect">
            <a:avLst/>
          </a:prstGeom>
          <a:noFill/>
        </p:spPr>
        <p:txBody>
          <a:bodyPr wrap="square">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B1469F"/>
              </a:solidFill>
              <a:effectLst/>
              <a:uLnTx/>
              <a:uFillTx/>
              <a:latin typeface="Arial" panose="020B0604020202020204" pitchFamily="34" charset="0"/>
              <a:ea typeface="+mn-ea"/>
              <a:cs typeface="Arial" panose="020B0604020202020204" pitchFamily="34" charset="0"/>
            </a:endParaRPr>
          </a:p>
        </p:txBody>
      </p:sp>
      <p:sp>
        <p:nvSpPr>
          <p:cNvPr id="55" name="TextBox 54">
            <a:extLst>
              <a:ext uri="{FF2B5EF4-FFF2-40B4-BE49-F238E27FC236}">
                <a16:creationId xmlns:a16="http://schemas.microsoft.com/office/drawing/2014/main" id="{1B6485DF-49D7-4CE9-23BA-63C29EAA4D76}"/>
              </a:ext>
            </a:extLst>
          </p:cNvPr>
          <p:cNvSpPr txBox="1"/>
          <p:nvPr/>
        </p:nvSpPr>
        <p:spPr>
          <a:xfrm>
            <a:off x="2977574" y="4721128"/>
            <a:ext cx="1687831" cy="461665"/>
          </a:xfrm>
          <a:prstGeom prst="rect">
            <a:avLst/>
          </a:prstGeom>
          <a:noFill/>
        </p:spPr>
        <p:txBody>
          <a:bodyPr wrap="square" lIns="36000" rIns="36000" rtlCol="0">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43434"/>
                </a:solidFill>
                <a:effectLst/>
                <a:uLnTx/>
                <a:uFillTx/>
                <a:latin typeface="Arial" panose="020B0604020202020204" pitchFamily="34" charset="0"/>
                <a:ea typeface="+mn-ea"/>
                <a:cs typeface="Arial" panose="020B0604020202020204" pitchFamily="34" charset="0"/>
              </a:rPr>
              <a:t>Variable</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43434"/>
                </a:solidFill>
                <a:effectLst/>
                <a:uLnTx/>
                <a:uFillTx/>
                <a:latin typeface="Arial" panose="020B0604020202020204" pitchFamily="34" charset="0"/>
                <a:ea typeface="+mn-ea"/>
                <a:cs typeface="Arial" panose="020B0604020202020204" pitchFamily="34" charset="0"/>
              </a:rPr>
              <a:t>duration</a:t>
            </a:r>
            <a:endParaRPr kumimoji="0" lang="en-GB" sz="900" b="1" i="0" u="none" strike="noStrike" kern="1200" cap="none" spc="0" normalizeH="0" baseline="0" noProof="0">
              <a:ln>
                <a:noFill/>
              </a:ln>
              <a:solidFill>
                <a:srgbClr val="343434"/>
              </a:solidFill>
              <a:effectLst/>
              <a:uLnTx/>
              <a:uFillTx/>
              <a:latin typeface="Arial" panose="020B0604020202020204" pitchFamily="34" charset="0"/>
              <a:ea typeface="+mn-ea"/>
              <a:cs typeface="Arial" panose="020B0604020202020204" pitchFamily="34" charset="0"/>
            </a:endParaRPr>
          </a:p>
        </p:txBody>
      </p:sp>
      <p:sp>
        <p:nvSpPr>
          <p:cNvPr id="56" name="TextBox 55">
            <a:extLst>
              <a:ext uri="{FF2B5EF4-FFF2-40B4-BE49-F238E27FC236}">
                <a16:creationId xmlns:a16="http://schemas.microsoft.com/office/drawing/2014/main" id="{01EBF844-0204-7B14-4029-FBA4018F8201}"/>
              </a:ext>
            </a:extLst>
          </p:cNvPr>
          <p:cNvSpPr txBox="1"/>
          <p:nvPr/>
        </p:nvSpPr>
        <p:spPr>
          <a:xfrm>
            <a:off x="1351830" y="4721128"/>
            <a:ext cx="1628492" cy="461665"/>
          </a:xfrm>
          <a:prstGeom prst="rect">
            <a:avLst/>
          </a:prstGeom>
          <a:noFill/>
        </p:spPr>
        <p:txBody>
          <a:bodyPr wrap="square" lIns="36000" rIns="36000" rtlCol="0">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43434"/>
                </a:solidFill>
                <a:effectLst/>
                <a:uLnTx/>
                <a:uFillTx/>
                <a:latin typeface="Arial" panose="020B0604020202020204" pitchFamily="34" charset="0"/>
                <a:ea typeface="+mn-ea"/>
                <a:cs typeface="Arial" panose="020B0604020202020204" pitchFamily="34" charset="0"/>
              </a:rPr>
              <a:t>Variable </a:t>
            </a:r>
            <a:br>
              <a:rPr kumimoji="0" lang="en-GB" sz="1200" b="1" i="0" u="none" strike="noStrike" kern="1200" cap="none" spc="0" normalizeH="0" baseline="0" noProof="0">
                <a:ln>
                  <a:noFill/>
                </a:ln>
                <a:solidFill>
                  <a:srgbClr val="343434"/>
                </a:solidFill>
                <a:effectLst/>
                <a:uLnTx/>
                <a:uFillTx/>
                <a:latin typeface="Arial" panose="020B0604020202020204" pitchFamily="34" charset="0"/>
                <a:ea typeface="+mn-ea"/>
                <a:cs typeface="Arial" panose="020B0604020202020204" pitchFamily="34" charset="0"/>
              </a:rPr>
            </a:br>
            <a:r>
              <a:rPr kumimoji="0" lang="en-GB" sz="1200" b="1" i="0" u="none" strike="noStrike" kern="1200" cap="none" spc="0" normalizeH="0" baseline="0" noProof="0">
                <a:ln>
                  <a:noFill/>
                </a:ln>
                <a:solidFill>
                  <a:srgbClr val="343434"/>
                </a:solidFill>
                <a:effectLst/>
                <a:uLnTx/>
                <a:uFillTx/>
                <a:latin typeface="Arial" panose="020B0604020202020204" pitchFamily="34" charset="0"/>
                <a:ea typeface="+mn-ea"/>
                <a:cs typeface="Arial" panose="020B0604020202020204" pitchFamily="34" charset="0"/>
              </a:rPr>
              <a:t>duration</a:t>
            </a:r>
            <a:endParaRPr kumimoji="0" lang="en-GB" sz="900" b="1" i="0" u="none" strike="noStrike" kern="1200" cap="none" spc="0" normalizeH="0" baseline="0" noProof="0">
              <a:ln>
                <a:noFill/>
              </a:ln>
              <a:solidFill>
                <a:srgbClr val="343434"/>
              </a:solidFill>
              <a:effectLst/>
              <a:uLnTx/>
              <a:uFillTx/>
              <a:latin typeface="Arial" panose="020B0604020202020204" pitchFamily="34" charset="0"/>
              <a:ea typeface="+mn-ea"/>
              <a:cs typeface="Arial" panose="020B0604020202020204" pitchFamily="34" charset="0"/>
            </a:endParaRPr>
          </a:p>
        </p:txBody>
      </p:sp>
      <p:cxnSp>
        <p:nvCxnSpPr>
          <p:cNvPr id="58" name="Straight Connector 57">
            <a:extLst>
              <a:ext uri="{FF2B5EF4-FFF2-40B4-BE49-F238E27FC236}">
                <a16:creationId xmlns:a16="http://schemas.microsoft.com/office/drawing/2014/main" id="{085FB78D-09C9-7710-89E8-62F2AD5469E6}"/>
              </a:ext>
            </a:extLst>
          </p:cNvPr>
          <p:cNvCxnSpPr>
            <a:cxnSpLocks/>
          </p:cNvCxnSpPr>
          <p:nvPr/>
        </p:nvCxnSpPr>
        <p:spPr>
          <a:xfrm>
            <a:off x="2977575" y="1591912"/>
            <a:ext cx="0" cy="3531189"/>
          </a:xfrm>
          <a:prstGeom prst="line">
            <a:avLst/>
          </a:prstGeom>
          <a:ln w="25400">
            <a:solidFill>
              <a:schemeClr val="accent2"/>
            </a:solidFill>
            <a:prstDash val="dash"/>
            <a:tailEnd type="oval" w="lg" len="lg"/>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F3DA2010-3DA5-BE81-68BC-ED3D78243DA4}"/>
              </a:ext>
            </a:extLst>
          </p:cNvPr>
          <p:cNvCxnSpPr>
            <a:cxnSpLocks/>
          </p:cNvCxnSpPr>
          <p:nvPr/>
        </p:nvCxnSpPr>
        <p:spPr>
          <a:xfrm>
            <a:off x="4665406" y="1591912"/>
            <a:ext cx="3935" cy="3531189"/>
          </a:xfrm>
          <a:prstGeom prst="line">
            <a:avLst/>
          </a:prstGeom>
          <a:ln w="25400">
            <a:solidFill>
              <a:schemeClr val="accent1"/>
            </a:solidFill>
            <a:prstDash val="dash"/>
            <a:tailEnd type="oval" w="lg" len="lg"/>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84F1C36C-F554-0C93-9F1F-4C39C2FB006D}"/>
              </a:ext>
            </a:extLst>
          </p:cNvPr>
          <p:cNvSpPr txBox="1"/>
          <p:nvPr/>
        </p:nvSpPr>
        <p:spPr>
          <a:xfrm>
            <a:off x="1133807" y="2306524"/>
            <a:ext cx="1025973" cy="176027"/>
          </a:xfrm>
          <a:prstGeom prst="rect">
            <a:avLst/>
          </a:prstGeom>
          <a:noFill/>
        </p:spPr>
        <p:txBody>
          <a:bodyPr vert="horz" lIns="0" tIns="0" rIns="0" bIns="0" rtlCol="0" anchor="ctr" anchorCtr="0">
            <a:noAutofit/>
          </a:bodyPr>
          <a:lstStyle>
            <a:lvl1pPr indent="0" defTabSz="913286">
              <a:lnSpc>
                <a:spcPct val="110000"/>
              </a:lnSpc>
              <a:spcBef>
                <a:spcPts val="0"/>
              </a:spcBef>
              <a:spcAft>
                <a:spcPts val="900"/>
              </a:spcAft>
              <a:buFont typeface="Arial" pitchFamily="34" charset="0"/>
              <a:buNone/>
              <a:defRPr sz="1400" b="1">
                <a:solidFill>
                  <a:schemeClr val="bg1"/>
                </a:solidFill>
              </a:defRPr>
            </a:lvl1pPr>
            <a:lvl2pPr marL="142702" indent="0" defTabSz="913286">
              <a:lnSpc>
                <a:spcPct val="100000"/>
              </a:lnSpc>
              <a:spcBef>
                <a:spcPts val="300"/>
              </a:spcBef>
              <a:buFont typeface="Arial" pitchFamily="34" charset="0"/>
              <a:buNone/>
              <a:defRPr sz="1600" b="1">
                <a:solidFill>
                  <a:schemeClr val="tx2"/>
                </a:solidFill>
              </a:defRPr>
            </a:lvl2pPr>
            <a:lvl3pPr marL="143826" indent="107869" defTabSz="913286">
              <a:lnSpc>
                <a:spcPct val="100000"/>
              </a:lnSpc>
              <a:spcBef>
                <a:spcPts val="300"/>
              </a:spcBef>
              <a:buSzPct val="100000"/>
              <a:buFont typeface="Arial" pitchFamily="34" charset="0"/>
              <a:buChar char="•"/>
              <a:defRPr sz="1400" b="1">
                <a:solidFill>
                  <a:schemeClr val="tx2"/>
                </a:solidFill>
              </a:defRPr>
            </a:lvl3pPr>
            <a:lvl4pPr marL="359559" indent="0" defTabSz="913286">
              <a:lnSpc>
                <a:spcPct val="100000"/>
              </a:lnSpc>
              <a:spcBef>
                <a:spcPts val="300"/>
              </a:spcBef>
              <a:buSzPct val="100000"/>
              <a:buFont typeface="Arial" pitchFamily="34" charset="0"/>
              <a:buNone/>
              <a:defRPr sz="1400" baseline="0">
                <a:solidFill>
                  <a:schemeClr val="tx2"/>
                </a:solidFill>
              </a:defRPr>
            </a:lvl4pPr>
            <a:lvl5pPr marL="503386" indent="107869" defTabSz="913286">
              <a:lnSpc>
                <a:spcPct val="100000"/>
              </a:lnSpc>
              <a:spcBef>
                <a:spcPts val="300"/>
              </a:spcBef>
              <a:buSzPct val="100000"/>
              <a:buFont typeface="Arial" pitchFamily="34" charset="0"/>
              <a:buChar char="•"/>
              <a:defRPr sz="1200">
                <a:solidFill>
                  <a:schemeClr val="tx2"/>
                </a:solidFill>
              </a:defRPr>
            </a:lvl5pPr>
            <a:lvl6pPr marL="2511538" indent="-228322" defTabSz="913286">
              <a:spcBef>
                <a:spcPct val="20000"/>
              </a:spcBef>
              <a:buFont typeface="Arial" pitchFamily="34" charset="0"/>
              <a:buChar char="•"/>
              <a:defRPr sz="2000"/>
            </a:lvl6pPr>
            <a:lvl7pPr marL="2968181" indent="-228322" defTabSz="913286">
              <a:spcBef>
                <a:spcPct val="20000"/>
              </a:spcBef>
              <a:buFont typeface="Arial" pitchFamily="34" charset="0"/>
              <a:buChar char="•"/>
              <a:defRPr sz="2000"/>
            </a:lvl7pPr>
            <a:lvl8pPr marL="3424825" indent="-228322" defTabSz="913286">
              <a:spcBef>
                <a:spcPct val="20000"/>
              </a:spcBef>
              <a:buFont typeface="Arial" pitchFamily="34" charset="0"/>
              <a:buChar char="•"/>
              <a:defRPr sz="2000"/>
            </a:lvl8pPr>
            <a:lvl9pPr marL="3881467" indent="-228322" defTabSz="913286">
              <a:spcBef>
                <a:spcPct val="20000"/>
              </a:spcBef>
              <a:buFont typeface="Arial" pitchFamily="34" charset="0"/>
              <a:buChar char="•"/>
              <a:defRPr sz="2000"/>
            </a:lvl9pPr>
          </a:lstStyle>
          <a:p>
            <a:pPr marL="0" marR="0" lvl="0" indent="0" algn="l" defTabSz="913264" rtl="0" eaLnBrk="1" fontAlgn="auto" latinLnBrk="0" hangingPunct="1">
              <a:lnSpc>
                <a:spcPct val="110000"/>
              </a:lnSpc>
              <a:spcBef>
                <a:spcPts val="0"/>
              </a:spcBef>
              <a:spcAft>
                <a:spcPts val="900"/>
              </a:spcAft>
              <a:buClrTx/>
              <a:buSzTx/>
              <a:buFont typeface="Arial" pitchFamily="34" charset="0"/>
              <a:buNone/>
              <a:tabLst/>
              <a:defRPr/>
            </a:pPr>
            <a:r>
              <a:rPr kumimoji="0" lang="en-GB" sz="1100" b="1" i="0" u="none" strike="noStrike" kern="1200" cap="none" spc="0" normalizeH="0" baseline="0" noProof="0">
                <a:ln>
                  <a:noFill/>
                </a:ln>
                <a:solidFill>
                  <a:srgbClr val="005CB9">
                    <a:lumMod val="50000"/>
                  </a:srgbClr>
                </a:solidFill>
                <a:effectLst/>
                <a:uLnTx/>
                <a:uFillTx/>
                <a:latin typeface="Arial"/>
                <a:ea typeface="+mn-ea"/>
                <a:cs typeface="+mn-cs"/>
              </a:rPr>
              <a:t>Vaccine price</a:t>
            </a:r>
          </a:p>
        </p:txBody>
      </p:sp>
      <p:cxnSp>
        <p:nvCxnSpPr>
          <p:cNvPr id="62" name="Straight Connector 61">
            <a:extLst>
              <a:ext uri="{FF2B5EF4-FFF2-40B4-BE49-F238E27FC236}">
                <a16:creationId xmlns:a16="http://schemas.microsoft.com/office/drawing/2014/main" id="{32E7B57D-D3DF-A415-2298-35DEF5CB3F97}"/>
              </a:ext>
            </a:extLst>
          </p:cNvPr>
          <p:cNvCxnSpPr>
            <a:cxnSpLocks/>
          </p:cNvCxnSpPr>
          <p:nvPr/>
        </p:nvCxnSpPr>
        <p:spPr>
          <a:xfrm>
            <a:off x="1169745" y="3029201"/>
            <a:ext cx="6008248" cy="1759"/>
          </a:xfrm>
          <a:prstGeom prst="line">
            <a:avLst/>
          </a:prstGeom>
          <a:ln w="12700">
            <a:solidFill>
              <a:srgbClr val="002E5D"/>
            </a:solidFill>
            <a:prstDash val="dash"/>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CDB90A5B-46D7-C23B-FE70-D4BD3876AF47}"/>
              </a:ext>
            </a:extLst>
          </p:cNvPr>
          <p:cNvCxnSpPr>
            <a:cxnSpLocks/>
          </p:cNvCxnSpPr>
          <p:nvPr/>
        </p:nvCxnSpPr>
        <p:spPr>
          <a:xfrm flipH="1" flipV="1">
            <a:off x="1178108" y="2986030"/>
            <a:ext cx="23005" cy="1763441"/>
          </a:xfrm>
          <a:prstGeom prst="straightConnector1">
            <a:avLst/>
          </a:prstGeom>
          <a:ln w="31750">
            <a:solidFill>
              <a:schemeClr val="bg1">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5" name="TextBox 64">
            <a:extLst>
              <a:ext uri="{FF2B5EF4-FFF2-40B4-BE49-F238E27FC236}">
                <a16:creationId xmlns:a16="http://schemas.microsoft.com/office/drawing/2014/main" id="{D9DA13BE-4095-DFCB-705B-753C742ABF78}"/>
              </a:ext>
            </a:extLst>
          </p:cNvPr>
          <p:cNvSpPr txBox="1"/>
          <p:nvPr/>
        </p:nvSpPr>
        <p:spPr>
          <a:xfrm>
            <a:off x="629650" y="2845952"/>
            <a:ext cx="633703" cy="276999"/>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2E5D"/>
                </a:solidFill>
                <a:effectLst/>
                <a:uLnTx/>
                <a:uFillTx/>
                <a:latin typeface="Calibri" panose="020F0502020204030204"/>
                <a:ea typeface="+mn-ea"/>
                <a:cs typeface="+mn-cs"/>
              </a:rPr>
              <a:t>100%</a:t>
            </a:r>
          </a:p>
        </p:txBody>
      </p:sp>
      <p:sp>
        <p:nvSpPr>
          <p:cNvPr id="66" name="Freeform 6">
            <a:extLst>
              <a:ext uri="{FF2B5EF4-FFF2-40B4-BE49-F238E27FC236}">
                <a16:creationId xmlns:a16="http://schemas.microsoft.com/office/drawing/2014/main" id="{514BE1A4-5068-701C-1165-FBE9BFE70963}"/>
              </a:ext>
            </a:extLst>
          </p:cNvPr>
          <p:cNvSpPr/>
          <p:nvPr/>
        </p:nvSpPr>
        <p:spPr>
          <a:xfrm>
            <a:off x="1239159" y="2194039"/>
            <a:ext cx="6034568" cy="850915"/>
          </a:xfrm>
          <a:custGeom>
            <a:avLst/>
            <a:gdLst>
              <a:gd name="connsiteX0" fmla="*/ 0 w 9020432"/>
              <a:gd name="connsiteY0" fmla="*/ 0 h 1087395"/>
              <a:gd name="connsiteX1" fmla="*/ 2504303 w 9020432"/>
              <a:gd name="connsiteY1" fmla="*/ 82378 h 1087395"/>
              <a:gd name="connsiteX2" fmla="*/ 5338119 w 9020432"/>
              <a:gd name="connsiteY2" fmla="*/ 815546 h 1087395"/>
              <a:gd name="connsiteX3" fmla="*/ 9020432 w 9020432"/>
              <a:gd name="connsiteY3" fmla="*/ 1087395 h 1087395"/>
              <a:gd name="connsiteX0" fmla="*/ 0 w 9020432"/>
              <a:gd name="connsiteY0" fmla="*/ 0 h 1087395"/>
              <a:gd name="connsiteX1" fmla="*/ 2504303 w 9020432"/>
              <a:gd name="connsiteY1" fmla="*/ 82378 h 1087395"/>
              <a:gd name="connsiteX2" fmla="*/ 5338119 w 9020432"/>
              <a:gd name="connsiteY2" fmla="*/ 815546 h 1087395"/>
              <a:gd name="connsiteX3" fmla="*/ 9020432 w 9020432"/>
              <a:gd name="connsiteY3" fmla="*/ 1087395 h 1087395"/>
              <a:gd name="connsiteX0" fmla="*/ 0 w 9020432"/>
              <a:gd name="connsiteY0" fmla="*/ 11884 h 1099279"/>
              <a:gd name="connsiteX1" fmla="*/ 2504303 w 9020432"/>
              <a:gd name="connsiteY1" fmla="*/ 94262 h 1099279"/>
              <a:gd name="connsiteX2" fmla="*/ 5338119 w 9020432"/>
              <a:gd name="connsiteY2" fmla="*/ 827430 h 1099279"/>
              <a:gd name="connsiteX3" fmla="*/ 9020432 w 9020432"/>
              <a:gd name="connsiteY3" fmla="*/ 1099279 h 1099279"/>
              <a:gd name="connsiteX0" fmla="*/ 0 w 9020432"/>
              <a:gd name="connsiteY0" fmla="*/ 0 h 1087395"/>
              <a:gd name="connsiteX1" fmla="*/ 2487827 w 9020432"/>
              <a:gd name="connsiteY1" fmla="*/ 164756 h 1087395"/>
              <a:gd name="connsiteX2" fmla="*/ 5338119 w 9020432"/>
              <a:gd name="connsiteY2" fmla="*/ 815546 h 1087395"/>
              <a:gd name="connsiteX3" fmla="*/ 9020432 w 9020432"/>
              <a:gd name="connsiteY3" fmla="*/ 1087395 h 1087395"/>
              <a:gd name="connsiteX0" fmla="*/ 0 w 9020432"/>
              <a:gd name="connsiteY0" fmla="*/ 0 h 1087395"/>
              <a:gd name="connsiteX1" fmla="*/ 2487827 w 9020432"/>
              <a:gd name="connsiteY1" fmla="*/ 164756 h 1087395"/>
              <a:gd name="connsiteX2" fmla="*/ 5338119 w 9020432"/>
              <a:gd name="connsiteY2" fmla="*/ 815546 h 1087395"/>
              <a:gd name="connsiteX3" fmla="*/ 9020432 w 9020432"/>
              <a:gd name="connsiteY3" fmla="*/ 1087395 h 1087395"/>
              <a:gd name="connsiteX0" fmla="*/ 0 w 9020432"/>
              <a:gd name="connsiteY0" fmla="*/ 0 h 1087395"/>
              <a:gd name="connsiteX1" fmla="*/ 2487827 w 9020432"/>
              <a:gd name="connsiteY1" fmla="*/ 164756 h 1087395"/>
              <a:gd name="connsiteX2" fmla="*/ 5338119 w 9020432"/>
              <a:gd name="connsiteY2" fmla="*/ 815546 h 1087395"/>
              <a:gd name="connsiteX3" fmla="*/ 9020432 w 9020432"/>
              <a:gd name="connsiteY3" fmla="*/ 1087395 h 1087395"/>
              <a:gd name="connsiteX0" fmla="*/ 0 w 9020432"/>
              <a:gd name="connsiteY0" fmla="*/ 0 h 1087395"/>
              <a:gd name="connsiteX1" fmla="*/ 2487827 w 9020432"/>
              <a:gd name="connsiteY1" fmla="*/ 164756 h 1087395"/>
              <a:gd name="connsiteX2" fmla="*/ 5338119 w 9020432"/>
              <a:gd name="connsiteY2" fmla="*/ 749643 h 1087395"/>
              <a:gd name="connsiteX3" fmla="*/ 9020432 w 9020432"/>
              <a:gd name="connsiteY3" fmla="*/ 1087395 h 1087395"/>
              <a:gd name="connsiteX0" fmla="*/ 0 w 9020432"/>
              <a:gd name="connsiteY0" fmla="*/ 0 h 1087395"/>
              <a:gd name="connsiteX1" fmla="*/ 2487827 w 9020432"/>
              <a:gd name="connsiteY1" fmla="*/ 164756 h 1087395"/>
              <a:gd name="connsiteX2" fmla="*/ 5338119 w 9020432"/>
              <a:gd name="connsiteY2" fmla="*/ 815546 h 1087395"/>
              <a:gd name="connsiteX3" fmla="*/ 9020432 w 9020432"/>
              <a:gd name="connsiteY3" fmla="*/ 1087395 h 1087395"/>
              <a:gd name="connsiteX0" fmla="*/ 0 w 9020432"/>
              <a:gd name="connsiteY0" fmla="*/ 0 h 1087395"/>
              <a:gd name="connsiteX1" fmla="*/ 2430162 w 9020432"/>
              <a:gd name="connsiteY1" fmla="*/ 189469 h 1087395"/>
              <a:gd name="connsiteX2" fmla="*/ 5338119 w 9020432"/>
              <a:gd name="connsiteY2" fmla="*/ 815546 h 1087395"/>
              <a:gd name="connsiteX3" fmla="*/ 9020432 w 9020432"/>
              <a:gd name="connsiteY3" fmla="*/ 1087395 h 1087395"/>
              <a:gd name="connsiteX0" fmla="*/ 0 w 9020432"/>
              <a:gd name="connsiteY0" fmla="*/ 0 h 1087395"/>
              <a:gd name="connsiteX1" fmla="*/ 2430162 w 9020432"/>
              <a:gd name="connsiteY1" fmla="*/ 189469 h 1087395"/>
              <a:gd name="connsiteX2" fmla="*/ 5338119 w 9020432"/>
              <a:gd name="connsiteY2" fmla="*/ 815546 h 1087395"/>
              <a:gd name="connsiteX3" fmla="*/ 9020432 w 9020432"/>
              <a:gd name="connsiteY3" fmla="*/ 1087395 h 1087395"/>
              <a:gd name="connsiteX0" fmla="*/ 0 w 9020432"/>
              <a:gd name="connsiteY0" fmla="*/ 0 h 1087395"/>
              <a:gd name="connsiteX1" fmla="*/ 2430162 w 9020432"/>
              <a:gd name="connsiteY1" fmla="*/ 189469 h 1087395"/>
              <a:gd name="connsiteX2" fmla="*/ 5338119 w 9020432"/>
              <a:gd name="connsiteY2" fmla="*/ 815546 h 1087395"/>
              <a:gd name="connsiteX3" fmla="*/ 9020432 w 9020432"/>
              <a:gd name="connsiteY3" fmla="*/ 1087395 h 1087395"/>
              <a:gd name="connsiteX0" fmla="*/ 0 w 9020432"/>
              <a:gd name="connsiteY0" fmla="*/ 0 h 1087395"/>
              <a:gd name="connsiteX1" fmla="*/ 2430162 w 9020432"/>
              <a:gd name="connsiteY1" fmla="*/ 189469 h 1087395"/>
              <a:gd name="connsiteX2" fmla="*/ 5338119 w 9020432"/>
              <a:gd name="connsiteY2" fmla="*/ 815546 h 1087395"/>
              <a:gd name="connsiteX3" fmla="*/ 9020432 w 9020432"/>
              <a:gd name="connsiteY3" fmla="*/ 1087395 h 1087395"/>
              <a:gd name="connsiteX0" fmla="*/ 0 w 9020432"/>
              <a:gd name="connsiteY0" fmla="*/ 0 h 1087395"/>
              <a:gd name="connsiteX1" fmla="*/ 2430162 w 9020432"/>
              <a:gd name="connsiteY1" fmla="*/ 189469 h 1087395"/>
              <a:gd name="connsiteX2" fmla="*/ 5338119 w 9020432"/>
              <a:gd name="connsiteY2" fmla="*/ 815546 h 1087395"/>
              <a:gd name="connsiteX3" fmla="*/ 9020432 w 9020432"/>
              <a:gd name="connsiteY3" fmla="*/ 1087395 h 1087395"/>
              <a:gd name="connsiteX0" fmla="*/ 0 w 9012194"/>
              <a:gd name="connsiteY0" fmla="*/ 0 h 1112108"/>
              <a:gd name="connsiteX1" fmla="*/ 2430162 w 9012194"/>
              <a:gd name="connsiteY1" fmla="*/ 189469 h 1112108"/>
              <a:gd name="connsiteX2" fmla="*/ 5338119 w 9012194"/>
              <a:gd name="connsiteY2" fmla="*/ 815546 h 1112108"/>
              <a:gd name="connsiteX3" fmla="*/ 9012194 w 9012194"/>
              <a:gd name="connsiteY3" fmla="*/ 1112108 h 1112108"/>
              <a:gd name="connsiteX0" fmla="*/ 0 w 9012194"/>
              <a:gd name="connsiteY0" fmla="*/ 0 h 1112108"/>
              <a:gd name="connsiteX1" fmla="*/ 2430162 w 9012194"/>
              <a:gd name="connsiteY1" fmla="*/ 189469 h 1112108"/>
              <a:gd name="connsiteX2" fmla="*/ 5305167 w 9012194"/>
              <a:gd name="connsiteY2" fmla="*/ 634314 h 1112108"/>
              <a:gd name="connsiteX3" fmla="*/ 9012194 w 9012194"/>
              <a:gd name="connsiteY3" fmla="*/ 1112108 h 1112108"/>
              <a:gd name="connsiteX0" fmla="*/ 0 w 9012194"/>
              <a:gd name="connsiteY0" fmla="*/ 0 h 1112108"/>
              <a:gd name="connsiteX1" fmla="*/ 2430162 w 9012194"/>
              <a:gd name="connsiteY1" fmla="*/ 189469 h 1112108"/>
              <a:gd name="connsiteX2" fmla="*/ 5305167 w 9012194"/>
              <a:gd name="connsiteY2" fmla="*/ 634314 h 1112108"/>
              <a:gd name="connsiteX3" fmla="*/ 9012194 w 9012194"/>
              <a:gd name="connsiteY3" fmla="*/ 1112108 h 1112108"/>
              <a:gd name="connsiteX0" fmla="*/ 0 w 9003956"/>
              <a:gd name="connsiteY0" fmla="*/ 0 h 930876"/>
              <a:gd name="connsiteX1" fmla="*/ 2430162 w 9003956"/>
              <a:gd name="connsiteY1" fmla="*/ 189469 h 930876"/>
              <a:gd name="connsiteX2" fmla="*/ 5305167 w 9003956"/>
              <a:gd name="connsiteY2" fmla="*/ 634314 h 930876"/>
              <a:gd name="connsiteX3" fmla="*/ 9003956 w 9003956"/>
              <a:gd name="connsiteY3" fmla="*/ 930876 h 930876"/>
              <a:gd name="connsiteX0" fmla="*/ 0 w 9003956"/>
              <a:gd name="connsiteY0" fmla="*/ 0 h 930876"/>
              <a:gd name="connsiteX1" fmla="*/ 2430162 w 9003956"/>
              <a:gd name="connsiteY1" fmla="*/ 189469 h 930876"/>
              <a:gd name="connsiteX2" fmla="*/ 5305167 w 9003956"/>
              <a:gd name="connsiteY2" fmla="*/ 634314 h 930876"/>
              <a:gd name="connsiteX3" fmla="*/ 9003956 w 9003956"/>
              <a:gd name="connsiteY3" fmla="*/ 930876 h 930876"/>
              <a:gd name="connsiteX0" fmla="*/ 0 w 8997606"/>
              <a:gd name="connsiteY0" fmla="*/ 43005 h 764331"/>
              <a:gd name="connsiteX1" fmla="*/ 2423812 w 8997606"/>
              <a:gd name="connsiteY1" fmla="*/ 22924 h 764331"/>
              <a:gd name="connsiteX2" fmla="*/ 5298817 w 8997606"/>
              <a:gd name="connsiteY2" fmla="*/ 467769 h 764331"/>
              <a:gd name="connsiteX3" fmla="*/ 8997606 w 8997606"/>
              <a:gd name="connsiteY3" fmla="*/ 764331 h 764331"/>
              <a:gd name="connsiteX0" fmla="*/ 0 w 8997606"/>
              <a:gd name="connsiteY0" fmla="*/ 0 h 721326"/>
              <a:gd name="connsiteX1" fmla="*/ 2430162 w 8997606"/>
              <a:gd name="connsiteY1" fmla="*/ 132319 h 721326"/>
              <a:gd name="connsiteX2" fmla="*/ 5298817 w 8997606"/>
              <a:gd name="connsiteY2" fmla="*/ 424764 h 721326"/>
              <a:gd name="connsiteX3" fmla="*/ 8997606 w 8997606"/>
              <a:gd name="connsiteY3" fmla="*/ 721326 h 721326"/>
              <a:gd name="connsiteX0" fmla="*/ 0 w 8997606"/>
              <a:gd name="connsiteY0" fmla="*/ 0 h 721326"/>
              <a:gd name="connsiteX1" fmla="*/ 2430162 w 8997606"/>
              <a:gd name="connsiteY1" fmla="*/ 132319 h 721326"/>
              <a:gd name="connsiteX2" fmla="*/ 5298817 w 8997606"/>
              <a:gd name="connsiteY2" fmla="*/ 424764 h 721326"/>
              <a:gd name="connsiteX3" fmla="*/ 8997606 w 8997606"/>
              <a:gd name="connsiteY3" fmla="*/ 721326 h 721326"/>
              <a:gd name="connsiteX0" fmla="*/ 0 w 8997606"/>
              <a:gd name="connsiteY0" fmla="*/ 0 h 721326"/>
              <a:gd name="connsiteX1" fmla="*/ 2442862 w 8997606"/>
              <a:gd name="connsiteY1" fmla="*/ 221219 h 721326"/>
              <a:gd name="connsiteX2" fmla="*/ 5298817 w 8997606"/>
              <a:gd name="connsiteY2" fmla="*/ 424764 h 721326"/>
              <a:gd name="connsiteX3" fmla="*/ 8997606 w 8997606"/>
              <a:gd name="connsiteY3" fmla="*/ 721326 h 721326"/>
              <a:gd name="connsiteX0" fmla="*/ 0 w 8997606"/>
              <a:gd name="connsiteY0" fmla="*/ 0 h 721326"/>
              <a:gd name="connsiteX1" fmla="*/ 3446162 w 8997606"/>
              <a:gd name="connsiteY1" fmla="*/ 303769 h 721326"/>
              <a:gd name="connsiteX2" fmla="*/ 5298817 w 8997606"/>
              <a:gd name="connsiteY2" fmla="*/ 424764 h 721326"/>
              <a:gd name="connsiteX3" fmla="*/ 8997606 w 8997606"/>
              <a:gd name="connsiteY3" fmla="*/ 721326 h 721326"/>
              <a:gd name="connsiteX0" fmla="*/ 0 w 8997606"/>
              <a:gd name="connsiteY0" fmla="*/ 0 h 721326"/>
              <a:gd name="connsiteX1" fmla="*/ 3446162 w 8997606"/>
              <a:gd name="connsiteY1" fmla="*/ 303769 h 721326"/>
              <a:gd name="connsiteX2" fmla="*/ 5298817 w 8997606"/>
              <a:gd name="connsiteY2" fmla="*/ 424764 h 721326"/>
              <a:gd name="connsiteX3" fmla="*/ 8997606 w 8997606"/>
              <a:gd name="connsiteY3" fmla="*/ 721326 h 721326"/>
              <a:gd name="connsiteX0" fmla="*/ 0 w 8997606"/>
              <a:gd name="connsiteY0" fmla="*/ 0 h 721326"/>
              <a:gd name="connsiteX1" fmla="*/ 3446162 w 8997606"/>
              <a:gd name="connsiteY1" fmla="*/ 303769 h 721326"/>
              <a:gd name="connsiteX2" fmla="*/ 6137017 w 8997606"/>
              <a:gd name="connsiteY2" fmla="*/ 577164 h 721326"/>
              <a:gd name="connsiteX3" fmla="*/ 8997606 w 8997606"/>
              <a:gd name="connsiteY3" fmla="*/ 721326 h 721326"/>
              <a:gd name="connsiteX0" fmla="*/ 0 w 8997606"/>
              <a:gd name="connsiteY0" fmla="*/ 0 h 721326"/>
              <a:gd name="connsiteX1" fmla="*/ 3446162 w 8997606"/>
              <a:gd name="connsiteY1" fmla="*/ 303769 h 721326"/>
              <a:gd name="connsiteX2" fmla="*/ 6137017 w 8997606"/>
              <a:gd name="connsiteY2" fmla="*/ 577164 h 721326"/>
              <a:gd name="connsiteX3" fmla="*/ 8997606 w 8997606"/>
              <a:gd name="connsiteY3" fmla="*/ 721326 h 721326"/>
              <a:gd name="connsiteX0" fmla="*/ 0 w 8997606"/>
              <a:gd name="connsiteY0" fmla="*/ 0 h 721326"/>
              <a:gd name="connsiteX1" fmla="*/ 3446162 w 8997606"/>
              <a:gd name="connsiteY1" fmla="*/ 303769 h 721326"/>
              <a:gd name="connsiteX2" fmla="*/ 6137017 w 8997606"/>
              <a:gd name="connsiteY2" fmla="*/ 577164 h 721326"/>
              <a:gd name="connsiteX3" fmla="*/ 8997606 w 8997606"/>
              <a:gd name="connsiteY3" fmla="*/ 721326 h 721326"/>
              <a:gd name="connsiteX0" fmla="*/ 0 w 8997606"/>
              <a:gd name="connsiteY0" fmla="*/ 0 h 745398"/>
              <a:gd name="connsiteX1" fmla="*/ 3446162 w 8997606"/>
              <a:gd name="connsiteY1" fmla="*/ 303769 h 745398"/>
              <a:gd name="connsiteX2" fmla="*/ 6181467 w 8997606"/>
              <a:gd name="connsiteY2" fmla="*/ 723214 h 745398"/>
              <a:gd name="connsiteX3" fmla="*/ 8997606 w 8997606"/>
              <a:gd name="connsiteY3" fmla="*/ 721326 h 745398"/>
              <a:gd name="connsiteX0" fmla="*/ 0 w 8997606"/>
              <a:gd name="connsiteY0" fmla="*/ 0 h 721326"/>
              <a:gd name="connsiteX1" fmla="*/ 3446162 w 8997606"/>
              <a:gd name="connsiteY1" fmla="*/ 303769 h 721326"/>
              <a:gd name="connsiteX2" fmla="*/ 6213217 w 8997606"/>
              <a:gd name="connsiteY2" fmla="*/ 685114 h 721326"/>
              <a:gd name="connsiteX3" fmla="*/ 8997606 w 8997606"/>
              <a:gd name="connsiteY3" fmla="*/ 721326 h 721326"/>
              <a:gd name="connsiteX0" fmla="*/ 0 w 8997606"/>
              <a:gd name="connsiteY0" fmla="*/ 0 h 822926"/>
              <a:gd name="connsiteX1" fmla="*/ 3446162 w 8997606"/>
              <a:gd name="connsiteY1" fmla="*/ 303769 h 822926"/>
              <a:gd name="connsiteX2" fmla="*/ 6213217 w 8997606"/>
              <a:gd name="connsiteY2" fmla="*/ 685114 h 822926"/>
              <a:gd name="connsiteX3" fmla="*/ 8997606 w 8997606"/>
              <a:gd name="connsiteY3" fmla="*/ 822926 h 822926"/>
              <a:gd name="connsiteX0" fmla="*/ 0 w 8997606"/>
              <a:gd name="connsiteY0" fmla="*/ 0 h 822926"/>
              <a:gd name="connsiteX1" fmla="*/ 3446162 w 8997606"/>
              <a:gd name="connsiteY1" fmla="*/ 303769 h 822926"/>
              <a:gd name="connsiteX2" fmla="*/ 6213217 w 8997606"/>
              <a:gd name="connsiteY2" fmla="*/ 685114 h 822926"/>
              <a:gd name="connsiteX3" fmla="*/ 8997606 w 8997606"/>
              <a:gd name="connsiteY3" fmla="*/ 822926 h 822926"/>
              <a:gd name="connsiteX0" fmla="*/ 0 w 9169486"/>
              <a:gd name="connsiteY0" fmla="*/ 0 h 836677"/>
              <a:gd name="connsiteX1" fmla="*/ 3446162 w 9169486"/>
              <a:gd name="connsiteY1" fmla="*/ 303769 h 836677"/>
              <a:gd name="connsiteX2" fmla="*/ 6213217 w 9169486"/>
              <a:gd name="connsiteY2" fmla="*/ 685114 h 836677"/>
              <a:gd name="connsiteX3" fmla="*/ 9169486 w 9169486"/>
              <a:gd name="connsiteY3" fmla="*/ 836677 h 836677"/>
              <a:gd name="connsiteX0" fmla="*/ 0 w 9404512"/>
              <a:gd name="connsiteY0" fmla="*/ 0 h 839936"/>
              <a:gd name="connsiteX1" fmla="*/ 3446162 w 9404512"/>
              <a:gd name="connsiteY1" fmla="*/ 303769 h 839936"/>
              <a:gd name="connsiteX2" fmla="*/ 6213217 w 9404512"/>
              <a:gd name="connsiteY2" fmla="*/ 685114 h 839936"/>
              <a:gd name="connsiteX3" fmla="*/ 9169486 w 9404512"/>
              <a:gd name="connsiteY3" fmla="*/ 836677 h 839936"/>
              <a:gd name="connsiteX4" fmla="*/ 9223145 w 9404512"/>
              <a:gd name="connsiteY4" fmla="*/ 788048 h 839936"/>
              <a:gd name="connsiteX0" fmla="*/ 0 w 13322645"/>
              <a:gd name="connsiteY0" fmla="*/ 0 h 867732"/>
              <a:gd name="connsiteX1" fmla="*/ 3446162 w 13322645"/>
              <a:gd name="connsiteY1" fmla="*/ 303769 h 867732"/>
              <a:gd name="connsiteX2" fmla="*/ 6213217 w 13322645"/>
              <a:gd name="connsiteY2" fmla="*/ 685114 h 867732"/>
              <a:gd name="connsiteX3" fmla="*/ 9169486 w 13322645"/>
              <a:gd name="connsiteY3" fmla="*/ 836677 h 867732"/>
              <a:gd name="connsiteX4" fmla="*/ 13322645 w 13322645"/>
              <a:gd name="connsiteY4" fmla="*/ 865119 h 8677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22645" h="867732">
                <a:moveTo>
                  <a:pt x="0" y="0"/>
                </a:moveTo>
                <a:cubicBezTo>
                  <a:pt x="834768" y="27459"/>
                  <a:pt x="2436026" y="113383"/>
                  <a:pt x="3446162" y="303769"/>
                </a:cubicBezTo>
                <a:cubicBezTo>
                  <a:pt x="4456298" y="494155"/>
                  <a:pt x="5259330" y="596296"/>
                  <a:pt x="6213217" y="685114"/>
                </a:cubicBezTo>
                <a:cubicBezTo>
                  <a:pt x="7167104" y="773932"/>
                  <a:pt x="7936556" y="787250"/>
                  <a:pt x="9169486" y="836677"/>
                </a:cubicBezTo>
                <a:cubicBezTo>
                  <a:pt x="9671141" y="853833"/>
                  <a:pt x="13311466" y="875250"/>
                  <a:pt x="13322645" y="865119"/>
                </a:cubicBezTo>
              </a:path>
            </a:pathLst>
          </a:custGeom>
          <a:ln w="25400">
            <a:solidFill>
              <a:schemeClr val="tx2">
                <a:lumMod val="50000"/>
              </a:schemeClr>
            </a:solidFill>
            <a:prstDash val="dash"/>
            <a:tailEnd type="oval" w="lg" len="lg"/>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cxnSp>
        <p:nvCxnSpPr>
          <p:cNvPr id="73" name="Straight Connector 72">
            <a:extLst>
              <a:ext uri="{FF2B5EF4-FFF2-40B4-BE49-F238E27FC236}">
                <a16:creationId xmlns:a16="http://schemas.microsoft.com/office/drawing/2014/main" id="{6D024C67-559E-446A-98A3-556A6BB27C1C}"/>
              </a:ext>
            </a:extLst>
          </p:cNvPr>
          <p:cNvCxnSpPr>
            <a:cxnSpLocks/>
          </p:cNvCxnSpPr>
          <p:nvPr/>
        </p:nvCxnSpPr>
        <p:spPr>
          <a:xfrm>
            <a:off x="1215454" y="4691826"/>
            <a:ext cx="6341311" cy="609"/>
          </a:xfrm>
          <a:prstGeom prst="line">
            <a:avLst/>
          </a:prstGeom>
          <a:ln w="31750">
            <a:solidFill>
              <a:schemeClr val="bg1">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8" name="Text Placeholder 3">
            <a:extLst>
              <a:ext uri="{FF2B5EF4-FFF2-40B4-BE49-F238E27FC236}">
                <a16:creationId xmlns:a16="http://schemas.microsoft.com/office/drawing/2014/main" id="{7B14F9A4-C601-0751-CABA-2A6CF5014F88}"/>
              </a:ext>
            </a:extLst>
          </p:cNvPr>
          <p:cNvSpPr txBox="1">
            <a:spLocks/>
          </p:cNvSpPr>
          <p:nvPr/>
        </p:nvSpPr>
        <p:spPr bwMode="gray">
          <a:xfrm>
            <a:off x="8261727" y="1892987"/>
            <a:ext cx="1457312" cy="443735"/>
          </a:xfrm>
          <a:prstGeom prst="rect">
            <a:avLst/>
          </a:prstGeom>
          <a:noFill/>
        </p:spPr>
        <p:txBody>
          <a:bodyPr vert="horz" lIns="108000" tIns="36000" rIns="36000" bIns="36000" rtlCol="0" anchor="t" anchorCtr="0">
            <a:noAutofit/>
          </a:bodyPr>
          <a:lstStyle>
            <a:lvl1pPr marL="0" indent="0" algn="l" defTabSz="913286" rtl="0" eaLnBrk="1" latinLnBrk="0" hangingPunct="1">
              <a:lnSpc>
                <a:spcPct val="110000"/>
              </a:lnSpc>
              <a:spcBef>
                <a:spcPts val="0"/>
              </a:spcBef>
              <a:spcAft>
                <a:spcPts val="900"/>
              </a:spcAft>
              <a:buFont typeface="Arial" pitchFamily="34" charset="0"/>
              <a:buNone/>
              <a:defRPr sz="2000" b="1" kern="1200">
                <a:solidFill>
                  <a:schemeClr val="accent4"/>
                </a:solidFill>
                <a:latin typeface="+mn-lt"/>
                <a:ea typeface="+mn-ea"/>
                <a:cs typeface="+mn-cs"/>
              </a:defRPr>
            </a:lvl1pPr>
            <a:lvl2pPr marL="142702" indent="0" algn="l" defTabSz="913286" rtl="0" eaLnBrk="1" latinLnBrk="0" hangingPunct="1">
              <a:lnSpc>
                <a:spcPct val="100000"/>
              </a:lnSpc>
              <a:spcBef>
                <a:spcPts val="300"/>
              </a:spcBef>
              <a:buFont typeface="Arial" pitchFamily="34" charset="0"/>
              <a:buNone/>
              <a:defRPr sz="1600" b="1" kern="1200">
                <a:solidFill>
                  <a:schemeClr val="tx2"/>
                </a:solidFill>
                <a:latin typeface="+mn-lt"/>
                <a:ea typeface="+mn-ea"/>
                <a:cs typeface="+mn-cs"/>
              </a:defRPr>
            </a:lvl2pPr>
            <a:lvl3pPr marL="143826" indent="107869" algn="l" defTabSz="913286" rtl="0" eaLnBrk="1" latinLnBrk="0" hangingPunct="1">
              <a:lnSpc>
                <a:spcPct val="100000"/>
              </a:lnSpc>
              <a:spcBef>
                <a:spcPts val="300"/>
              </a:spcBef>
              <a:buSzPct val="100000"/>
              <a:buFont typeface="Arial" pitchFamily="34" charset="0"/>
              <a:buChar char="•"/>
              <a:defRPr sz="1400" b="1" kern="1200">
                <a:solidFill>
                  <a:schemeClr val="tx2"/>
                </a:solidFill>
                <a:latin typeface="+mn-lt"/>
                <a:ea typeface="+mn-ea"/>
                <a:cs typeface="+mn-cs"/>
              </a:defRPr>
            </a:lvl3pPr>
            <a:lvl4pPr marL="359559" indent="0" algn="l" defTabSz="913286" rtl="0" eaLnBrk="1" latinLnBrk="0" hangingPunct="1">
              <a:lnSpc>
                <a:spcPct val="100000"/>
              </a:lnSpc>
              <a:spcBef>
                <a:spcPts val="300"/>
              </a:spcBef>
              <a:buSzPct val="100000"/>
              <a:buFont typeface="Arial" pitchFamily="34" charset="0"/>
              <a:buNone/>
              <a:defRPr sz="1400" kern="1200" baseline="0">
                <a:solidFill>
                  <a:schemeClr val="tx2"/>
                </a:solidFill>
                <a:latin typeface="+mn-lt"/>
                <a:ea typeface="+mn-ea"/>
                <a:cs typeface="+mn-cs"/>
              </a:defRPr>
            </a:lvl4pPr>
            <a:lvl5pPr marL="503386" indent="107869" algn="l" defTabSz="913286" rtl="0" eaLnBrk="1" latinLnBrk="0" hangingPunct="1">
              <a:lnSpc>
                <a:spcPct val="100000"/>
              </a:lnSpc>
              <a:spcBef>
                <a:spcPts val="300"/>
              </a:spcBef>
              <a:buSzPct val="100000"/>
              <a:buFont typeface="Arial" pitchFamily="34" charset="0"/>
              <a:buChar char="•"/>
              <a:defRPr sz="1200" kern="1200">
                <a:solidFill>
                  <a:schemeClr val="tx2"/>
                </a:solidFill>
                <a:latin typeface="+mn-lt"/>
                <a:ea typeface="+mn-ea"/>
                <a:cs typeface="+mn-cs"/>
              </a:defRPr>
            </a:lvl5pPr>
            <a:lvl6pPr marL="2511538" indent="-228322" algn="l" defTabSz="91328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8181" indent="-228322" algn="l" defTabSz="91328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4825" indent="-228322" algn="l" defTabSz="91328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1467" indent="-228322" algn="l" defTabSz="913286"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3264" rtl="0" eaLnBrk="1" fontAlgn="auto" latinLnBrk="0" hangingPunct="1">
              <a:lnSpc>
                <a:spcPct val="110000"/>
              </a:lnSpc>
              <a:spcBef>
                <a:spcPts val="0"/>
              </a:spcBef>
              <a:spcAft>
                <a:spcPts val="900"/>
              </a:spcAft>
              <a:buClrTx/>
              <a:buSzTx/>
              <a:buFont typeface="Arial" pitchFamily="34" charset="0"/>
              <a:buNone/>
              <a:tabLst/>
              <a:defRPr/>
            </a:pPr>
            <a:endParaRPr kumimoji="0" lang="en-GB" sz="1300" b="0" i="0" u="none" strike="noStrike" kern="1200" cap="none" spc="0" normalizeH="0" baseline="0" noProof="0">
              <a:ln>
                <a:noFill/>
              </a:ln>
              <a:solidFill>
                <a:srgbClr val="008000"/>
              </a:solidFill>
              <a:effectLst/>
              <a:uLnTx/>
              <a:uFillTx/>
              <a:latin typeface="Arial" panose="020B0604020202020204" pitchFamily="34" charset="0"/>
              <a:ea typeface="+mn-ea"/>
              <a:cs typeface="Arial" panose="020B0604020202020204" pitchFamily="34" charset="0"/>
            </a:endParaRPr>
          </a:p>
        </p:txBody>
      </p:sp>
      <p:sp>
        <p:nvSpPr>
          <p:cNvPr id="69" name="TextBox 68">
            <a:extLst>
              <a:ext uri="{FF2B5EF4-FFF2-40B4-BE49-F238E27FC236}">
                <a16:creationId xmlns:a16="http://schemas.microsoft.com/office/drawing/2014/main" id="{2C6041DB-9F0D-6632-2E74-7955D26E7F5C}"/>
              </a:ext>
            </a:extLst>
          </p:cNvPr>
          <p:cNvSpPr txBox="1"/>
          <p:nvPr/>
        </p:nvSpPr>
        <p:spPr>
          <a:xfrm>
            <a:off x="8027322" y="2858157"/>
            <a:ext cx="1274823" cy="219033"/>
          </a:xfrm>
          <a:prstGeom prst="homePlate">
            <a:avLst/>
          </a:prstGeom>
          <a:noFill/>
        </p:spPr>
        <p:txBody>
          <a:bodyPr vert="horz" lIns="108000" tIns="36000" rIns="36000" bIns="36000" rtlCol="0" anchor="ctr" anchorCtr="0">
            <a:noAutofit/>
          </a:bodyPr>
          <a:lstStyle>
            <a:defPPr>
              <a:defRPr lang="en-US"/>
            </a:defPPr>
            <a:lvl1pPr indent="0" defTabSz="913286">
              <a:lnSpc>
                <a:spcPct val="110000"/>
              </a:lnSpc>
              <a:spcBef>
                <a:spcPts val="0"/>
              </a:spcBef>
              <a:spcAft>
                <a:spcPts val="900"/>
              </a:spcAft>
              <a:buFont typeface="Arial" pitchFamily="34" charset="0"/>
              <a:buNone/>
              <a:defRPr sz="1400" b="1">
                <a:solidFill>
                  <a:schemeClr val="bg1"/>
                </a:solidFill>
              </a:defRPr>
            </a:lvl1pPr>
            <a:lvl2pPr marL="142702" indent="0" defTabSz="913286">
              <a:lnSpc>
                <a:spcPct val="100000"/>
              </a:lnSpc>
              <a:spcBef>
                <a:spcPts val="300"/>
              </a:spcBef>
              <a:buFont typeface="Arial" pitchFamily="34" charset="0"/>
              <a:buNone/>
              <a:defRPr sz="1600" b="1">
                <a:solidFill>
                  <a:schemeClr val="tx2"/>
                </a:solidFill>
              </a:defRPr>
            </a:lvl2pPr>
            <a:lvl3pPr marL="143826" indent="107869" defTabSz="913286">
              <a:lnSpc>
                <a:spcPct val="100000"/>
              </a:lnSpc>
              <a:spcBef>
                <a:spcPts val="300"/>
              </a:spcBef>
              <a:buSzPct val="100000"/>
              <a:buFont typeface="Arial" pitchFamily="34" charset="0"/>
              <a:buChar char="•"/>
              <a:defRPr sz="1400" b="1">
                <a:solidFill>
                  <a:schemeClr val="tx2"/>
                </a:solidFill>
              </a:defRPr>
            </a:lvl3pPr>
            <a:lvl4pPr marL="359559" indent="0" defTabSz="913286">
              <a:lnSpc>
                <a:spcPct val="100000"/>
              </a:lnSpc>
              <a:spcBef>
                <a:spcPts val="300"/>
              </a:spcBef>
              <a:buSzPct val="100000"/>
              <a:buFont typeface="Arial" pitchFamily="34" charset="0"/>
              <a:buNone/>
              <a:defRPr sz="1400" baseline="0">
                <a:solidFill>
                  <a:schemeClr val="tx2"/>
                </a:solidFill>
              </a:defRPr>
            </a:lvl4pPr>
            <a:lvl5pPr marL="503386" indent="107869" defTabSz="913286">
              <a:lnSpc>
                <a:spcPct val="100000"/>
              </a:lnSpc>
              <a:spcBef>
                <a:spcPts val="300"/>
              </a:spcBef>
              <a:buSzPct val="100000"/>
              <a:buFont typeface="Arial" pitchFamily="34" charset="0"/>
              <a:buChar char="•"/>
              <a:defRPr sz="1200">
                <a:solidFill>
                  <a:schemeClr val="tx2"/>
                </a:solidFill>
              </a:defRPr>
            </a:lvl5pPr>
            <a:lvl6pPr marL="2511538" indent="-228322" defTabSz="913286">
              <a:spcBef>
                <a:spcPct val="20000"/>
              </a:spcBef>
              <a:buFont typeface="Arial" pitchFamily="34" charset="0"/>
              <a:buChar char="•"/>
              <a:defRPr sz="2000"/>
            </a:lvl6pPr>
            <a:lvl7pPr marL="2968181" indent="-228322" defTabSz="913286">
              <a:spcBef>
                <a:spcPct val="20000"/>
              </a:spcBef>
              <a:buFont typeface="Arial" pitchFamily="34" charset="0"/>
              <a:buChar char="•"/>
              <a:defRPr sz="2000"/>
            </a:lvl7pPr>
            <a:lvl8pPr marL="3424825" indent="-228322" defTabSz="913286">
              <a:spcBef>
                <a:spcPct val="20000"/>
              </a:spcBef>
              <a:buFont typeface="Arial" pitchFamily="34" charset="0"/>
              <a:buChar char="•"/>
              <a:defRPr sz="2000"/>
            </a:lvl8pPr>
            <a:lvl9pPr marL="3881467" indent="-228322" defTabSz="913286">
              <a:spcBef>
                <a:spcPct val="20000"/>
              </a:spcBef>
              <a:buFont typeface="Arial" pitchFamily="34" charset="0"/>
              <a:buChar char="•"/>
              <a:defRPr sz="2000"/>
            </a:lvl9pPr>
          </a:lstStyle>
          <a:p>
            <a:pPr marL="0" marR="0" lvl="0" indent="0" algn="ctr" defTabSz="913264" rtl="0" eaLnBrk="1" fontAlgn="auto" latinLnBrk="0" hangingPunct="1">
              <a:lnSpc>
                <a:spcPct val="110000"/>
              </a:lnSpc>
              <a:spcBef>
                <a:spcPts val="0"/>
              </a:spcBef>
              <a:spcAft>
                <a:spcPts val="900"/>
              </a:spcAft>
              <a:buClrTx/>
              <a:buSzTx/>
              <a:buFont typeface="Arial" pitchFamily="34" charset="0"/>
              <a:buNone/>
              <a:tabLst/>
              <a:defRPr/>
            </a:pPr>
            <a:r>
              <a:rPr kumimoji="0" lang="en-GB" sz="1100" b="1" i="0" u="none" strike="noStrike" kern="1200" cap="none" spc="0" normalizeH="0" baseline="0" noProof="0">
                <a:ln>
                  <a:noFill/>
                </a:ln>
                <a:solidFill>
                  <a:srgbClr val="F8A623"/>
                </a:solidFill>
                <a:effectLst/>
                <a:uLnTx/>
                <a:uFillTx/>
                <a:latin typeface="Arial" panose="020B0604020202020204" pitchFamily="34" charset="0"/>
                <a:ea typeface="+mn-ea"/>
                <a:cs typeface="Arial" panose="020B0604020202020204" pitchFamily="34" charset="0"/>
              </a:rPr>
              <a:t>Former Gavi-eligible</a:t>
            </a:r>
          </a:p>
        </p:txBody>
      </p:sp>
      <p:sp>
        <p:nvSpPr>
          <p:cNvPr id="70" name="TextBox 69">
            <a:extLst>
              <a:ext uri="{FF2B5EF4-FFF2-40B4-BE49-F238E27FC236}">
                <a16:creationId xmlns:a16="http://schemas.microsoft.com/office/drawing/2014/main" id="{098ABEE3-1B24-B9C7-2785-33645A75B09D}"/>
              </a:ext>
            </a:extLst>
          </p:cNvPr>
          <p:cNvSpPr txBox="1"/>
          <p:nvPr/>
        </p:nvSpPr>
        <p:spPr>
          <a:xfrm>
            <a:off x="9932269" y="5235559"/>
            <a:ext cx="1839291" cy="534368"/>
          </a:xfrm>
          <a:prstGeom prst="rect">
            <a:avLst/>
          </a:prstGeom>
          <a:noFill/>
        </p:spPr>
        <p:txBody>
          <a:bodyPr wrap="square" lIns="72000" tIns="36000" rIns="72000" bIns="36000" rtlCol="0">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A7650"/>
                </a:solidFill>
                <a:effectLst/>
                <a:uLnTx/>
                <a:uFillTx/>
                <a:latin typeface="Arial" panose="020B0604020202020204" pitchFamily="34" charset="0"/>
                <a:ea typeface="+mn-ea"/>
                <a:cs typeface="Arial" panose="020B0604020202020204" pitchFamily="34" charset="0"/>
              </a:rPr>
              <a:t>E</a:t>
            </a:r>
            <a:r>
              <a:rPr kumimoji="0" lang="en-GB" sz="1000" b="1" i="0" u="none" strike="noStrike" kern="1200" cap="none" spc="0" normalizeH="0" baseline="0" noProof="0" err="1">
                <a:ln>
                  <a:noFill/>
                </a:ln>
                <a:solidFill>
                  <a:srgbClr val="FA7650"/>
                </a:solidFill>
                <a:effectLst/>
                <a:uLnTx/>
                <a:uFillTx/>
                <a:latin typeface="Arial" panose="020B0604020202020204" pitchFamily="34" charset="0"/>
                <a:ea typeface="+mn-ea"/>
                <a:cs typeface="Arial" panose="020B0604020202020204" pitchFamily="34" charset="0"/>
              </a:rPr>
              <a:t>ligibility</a:t>
            </a:r>
            <a:r>
              <a:rPr kumimoji="0" lang="en-GB" sz="1000" b="1" i="0" u="none" strike="noStrike" kern="1200" cap="none" spc="0" normalizeH="0" baseline="0" noProof="0">
                <a:ln>
                  <a:noFill/>
                </a:ln>
                <a:solidFill>
                  <a:srgbClr val="FA7650"/>
                </a:solidFill>
                <a:effectLst/>
                <a:uLnTx/>
                <a:uFillTx/>
                <a:latin typeface="Arial" panose="020B0604020202020204" pitchFamily="34" charset="0"/>
                <a:ea typeface="+mn-ea"/>
                <a:cs typeface="Arial" panose="020B0604020202020204" pitchFamily="34" charset="0"/>
              </a:rPr>
              <a:t> threshold: </a:t>
            </a:r>
            <a:br>
              <a:rPr kumimoji="0" lang="en-GB" sz="1000" b="1" i="0" u="none" strike="noStrike" kern="1200" cap="none" spc="0" normalizeH="0" baseline="0" noProof="0">
                <a:ln>
                  <a:noFill/>
                </a:ln>
                <a:solidFill>
                  <a:srgbClr val="FA7650"/>
                </a:solidFill>
                <a:effectLst/>
                <a:uLnTx/>
                <a:uFillTx/>
                <a:latin typeface="Arial" panose="020B0604020202020204" pitchFamily="34" charset="0"/>
                <a:ea typeface="+mn-ea"/>
                <a:cs typeface="Arial" panose="020B0604020202020204" pitchFamily="34" charset="0"/>
              </a:rPr>
            </a:br>
            <a:r>
              <a:rPr kumimoji="0" lang="en-GB" sz="1000" b="0" i="0" u="none" strike="noStrike" kern="1200" cap="none" spc="0" normalizeH="0" baseline="0" noProof="0">
                <a:ln>
                  <a:noFill/>
                </a:ln>
                <a:solidFill>
                  <a:srgbClr val="FA7650"/>
                </a:solidFill>
                <a:effectLst/>
                <a:uLnTx/>
                <a:uFillTx/>
                <a:latin typeface="Arial" panose="020B0604020202020204" pitchFamily="34" charset="0"/>
                <a:ea typeface="+mn-ea"/>
                <a:cs typeface="Arial" panose="020B0604020202020204" pitchFamily="34" charset="0"/>
              </a:rPr>
              <a:t>LMICs and /or </a:t>
            </a:r>
            <a:br>
              <a:rPr kumimoji="0" lang="en-GB" sz="1000" b="0" i="0" u="none" strike="noStrike" kern="1200" cap="none" spc="0" normalizeH="0" baseline="0" noProof="0">
                <a:ln>
                  <a:noFill/>
                </a:ln>
                <a:solidFill>
                  <a:srgbClr val="FA7650"/>
                </a:solidFill>
                <a:effectLst/>
                <a:uLnTx/>
                <a:uFillTx/>
                <a:latin typeface="Arial" panose="020B0604020202020204" pitchFamily="34" charset="0"/>
                <a:ea typeface="+mn-ea"/>
                <a:cs typeface="Arial" panose="020B0604020202020204" pitchFamily="34" charset="0"/>
              </a:rPr>
            </a:br>
            <a:r>
              <a:rPr kumimoji="0" lang="en-GB" sz="1000" b="0" i="0" u="none" strike="noStrike" kern="1200" cap="none" spc="0" normalizeH="0" baseline="0" noProof="0">
                <a:ln>
                  <a:noFill/>
                </a:ln>
                <a:solidFill>
                  <a:srgbClr val="FA7650"/>
                </a:solidFill>
                <a:effectLst/>
                <a:uLnTx/>
                <a:uFillTx/>
                <a:latin typeface="Arial" panose="020B0604020202020204" pitchFamily="34" charset="0"/>
                <a:ea typeface="+mn-ea"/>
                <a:cs typeface="Arial" panose="020B0604020202020204" pitchFamily="34" charset="0"/>
              </a:rPr>
              <a:t>non IDA-eligible</a:t>
            </a:r>
          </a:p>
        </p:txBody>
      </p:sp>
      <p:sp>
        <p:nvSpPr>
          <p:cNvPr id="72" name="TextBox 71">
            <a:extLst>
              <a:ext uri="{FF2B5EF4-FFF2-40B4-BE49-F238E27FC236}">
                <a16:creationId xmlns:a16="http://schemas.microsoft.com/office/drawing/2014/main" id="{A48D91EE-788F-E94E-D3A8-03A3BD0483D4}"/>
              </a:ext>
            </a:extLst>
          </p:cNvPr>
          <p:cNvSpPr txBox="1"/>
          <p:nvPr/>
        </p:nvSpPr>
        <p:spPr>
          <a:xfrm>
            <a:off x="9221544" y="2834767"/>
            <a:ext cx="1648875" cy="266952"/>
          </a:xfrm>
          <a:prstGeom prst="homePlate">
            <a:avLst/>
          </a:prstGeom>
          <a:noFill/>
        </p:spPr>
        <p:txBody>
          <a:bodyPr vert="horz" lIns="108000" tIns="36000" rIns="36000" bIns="36000" rtlCol="0" anchor="ctr" anchorCtr="0">
            <a:noAutofit/>
          </a:bodyPr>
          <a:lstStyle>
            <a:defPPr>
              <a:defRPr lang="en-US"/>
            </a:defPPr>
            <a:lvl1pPr indent="0" defTabSz="913286">
              <a:lnSpc>
                <a:spcPct val="110000"/>
              </a:lnSpc>
              <a:spcBef>
                <a:spcPts val="0"/>
              </a:spcBef>
              <a:spcAft>
                <a:spcPts val="900"/>
              </a:spcAft>
              <a:buFont typeface="Arial" pitchFamily="34" charset="0"/>
              <a:buNone/>
              <a:defRPr sz="1400" b="1">
                <a:solidFill>
                  <a:schemeClr val="bg1"/>
                </a:solidFill>
              </a:defRPr>
            </a:lvl1pPr>
            <a:lvl2pPr marL="142702" indent="0" defTabSz="913286">
              <a:lnSpc>
                <a:spcPct val="100000"/>
              </a:lnSpc>
              <a:spcBef>
                <a:spcPts val="300"/>
              </a:spcBef>
              <a:buFont typeface="Arial" pitchFamily="34" charset="0"/>
              <a:buNone/>
              <a:defRPr sz="1600" b="1">
                <a:solidFill>
                  <a:schemeClr val="tx2"/>
                </a:solidFill>
              </a:defRPr>
            </a:lvl2pPr>
            <a:lvl3pPr marL="143826" indent="107869" defTabSz="913286">
              <a:lnSpc>
                <a:spcPct val="100000"/>
              </a:lnSpc>
              <a:spcBef>
                <a:spcPts val="300"/>
              </a:spcBef>
              <a:buSzPct val="100000"/>
              <a:buFont typeface="Arial" pitchFamily="34" charset="0"/>
              <a:buChar char="•"/>
              <a:defRPr sz="1400" b="1">
                <a:solidFill>
                  <a:schemeClr val="tx2"/>
                </a:solidFill>
              </a:defRPr>
            </a:lvl3pPr>
            <a:lvl4pPr marL="359559" indent="0" defTabSz="913286">
              <a:lnSpc>
                <a:spcPct val="100000"/>
              </a:lnSpc>
              <a:spcBef>
                <a:spcPts val="300"/>
              </a:spcBef>
              <a:buSzPct val="100000"/>
              <a:buFont typeface="Arial" pitchFamily="34" charset="0"/>
              <a:buNone/>
              <a:defRPr sz="1400" baseline="0">
                <a:solidFill>
                  <a:schemeClr val="tx2"/>
                </a:solidFill>
              </a:defRPr>
            </a:lvl4pPr>
            <a:lvl5pPr marL="503386" indent="107869" defTabSz="913286">
              <a:lnSpc>
                <a:spcPct val="100000"/>
              </a:lnSpc>
              <a:spcBef>
                <a:spcPts val="300"/>
              </a:spcBef>
              <a:buSzPct val="100000"/>
              <a:buFont typeface="Arial" pitchFamily="34" charset="0"/>
              <a:buChar char="•"/>
              <a:defRPr sz="1200">
                <a:solidFill>
                  <a:schemeClr val="tx2"/>
                </a:solidFill>
              </a:defRPr>
            </a:lvl5pPr>
            <a:lvl6pPr marL="2511538" indent="-228322" defTabSz="913286">
              <a:spcBef>
                <a:spcPct val="20000"/>
              </a:spcBef>
              <a:buFont typeface="Arial" pitchFamily="34" charset="0"/>
              <a:buChar char="•"/>
              <a:defRPr sz="2000"/>
            </a:lvl6pPr>
            <a:lvl7pPr marL="2968181" indent="-228322" defTabSz="913286">
              <a:spcBef>
                <a:spcPct val="20000"/>
              </a:spcBef>
              <a:buFont typeface="Arial" pitchFamily="34" charset="0"/>
              <a:buChar char="•"/>
              <a:defRPr sz="2000"/>
            </a:lvl7pPr>
            <a:lvl8pPr marL="3424825" indent="-228322" defTabSz="913286">
              <a:spcBef>
                <a:spcPct val="20000"/>
              </a:spcBef>
              <a:buFont typeface="Arial" pitchFamily="34" charset="0"/>
              <a:buChar char="•"/>
              <a:defRPr sz="2000"/>
            </a:lvl8pPr>
            <a:lvl9pPr marL="3881467" indent="-228322" defTabSz="913286">
              <a:spcBef>
                <a:spcPct val="20000"/>
              </a:spcBef>
              <a:buFont typeface="Arial" pitchFamily="34" charset="0"/>
              <a:buChar char="•"/>
              <a:defRPr sz="2000"/>
            </a:lvl9pPr>
          </a:lstStyle>
          <a:p>
            <a:pPr marL="0" marR="0" lvl="0" indent="0" algn="ctr" defTabSz="913264" rtl="0" eaLnBrk="1" fontAlgn="auto" latinLnBrk="0" hangingPunct="1">
              <a:lnSpc>
                <a:spcPct val="110000"/>
              </a:lnSpc>
              <a:spcBef>
                <a:spcPts val="0"/>
              </a:spcBef>
              <a:spcAft>
                <a:spcPts val="900"/>
              </a:spcAft>
              <a:buClrTx/>
              <a:buSzTx/>
              <a:buFont typeface="Arial" pitchFamily="34" charset="0"/>
              <a:buNone/>
              <a:tabLst/>
              <a:defRPr/>
            </a:pPr>
            <a:r>
              <a:rPr kumimoji="0" lang="en-GB" sz="1100" b="1" i="0" u="none" strike="noStrike" kern="1200" cap="none" spc="0" normalizeH="0" baseline="0" noProof="0">
                <a:ln>
                  <a:noFill/>
                </a:ln>
                <a:solidFill>
                  <a:srgbClr val="FED141"/>
                </a:solidFill>
                <a:effectLst/>
                <a:uLnTx/>
                <a:uFillTx/>
                <a:latin typeface="Arial" panose="020B0604020202020204" pitchFamily="34" charset="0"/>
                <a:ea typeface="+mn-ea"/>
                <a:cs typeface="Arial" panose="020B0604020202020204" pitchFamily="34" charset="0"/>
              </a:rPr>
              <a:t>Never Gavi-eligible (LMICs)</a:t>
            </a:r>
          </a:p>
        </p:txBody>
      </p:sp>
      <p:sp>
        <p:nvSpPr>
          <p:cNvPr id="74" name="TextBox 73">
            <a:extLst>
              <a:ext uri="{FF2B5EF4-FFF2-40B4-BE49-F238E27FC236}">
                <a16:creationId xmlns:a16="http://schemas.microsoft.com/office/drawing/2014/main" id="{34A51EA5-16DB-3C6A-9F43-0D7BF4334E96}"/>
              </a:ext>
            </a:extLst>
          </p:cNvPr>
          <p:cNvSpPr txBox="1"/>
          <p:nvPr/>
        </p:nvSpPr>
        <p:spPr>
          <a:xfrm>
            <a:off x="7869171" y="1574590"/>
            <a:ext cx="2790131" cy="584775"/>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s-419" sz="1600" b="1" i="0" u="none" strike="noStrike" kern="1200" cap="none" spc="0" normalizeH="0" baseline="0" noProof="0">
                <a:ln>
                  <a:noFill/>
                </a:ln>
                <a:solidFill>
                  <a:srgbClr val="FA7650"/>
                </a:solidFill>
                <a:effectLst/>
                <a:uLnTx/>
                <a:uFillTx/>
                <a:latin typeface="Arial" panose="020B0604020202020204" pitchFamily="34" charset="0"/>
                <a:ea typeface="+mn-ea"/>
                <a:cs typeface="Arial" panose="020B0604020202020204" pitchFamily="34" charset="0"/>
              </a:rPr>
              <a:t>Middle Income Countries Approach</a:t>
            </a:r>
            <a:r>
              <a:rPr kumimoji="0" lang="es-419" sz="1600" b="1" i="0" u="none" strike="noStrike" kern="1200" cap="none" spc="0" normalizeH="0" baseline="30000" noProof="0">
                <a:ln>
                  <a:noFill/>
                </a:ln>
                <a:solidFill>
                  <a:srgbClr val="FA7650"/>
                </a:solidFill>
                <a:effectLst/>
                <a:uLnTx/>
                <a:uFillTx/>
                <a:latin typeface="Arial" panose="020B0604020202020204" pitchFamily="34" charset="0"/>
                <a:ea typeface="+mn-ea"/>
                <a:cs typeface="Arial" panose="020B0604020202020204" pitchFamily="34" charset="0"/>
              </a:rPr>
              <a:t>1</a:t>
            </a:r>
          </a:p>
        </p:txBody>
      </p:sp>
      <p:cxnSp>
        <p:nvCxnSpPr>
          <p:cNvPr id="75" name="Straight Connector 74">
            <a:extLst>
              <a:ext uri="{FF2B5EF4-FFF2-40B4-BE49-F238E27FC236}">
                <a16:creationId xmlns:a16="http://schemas.microsoft.com/office/drawing/2014/main" id="{ED90CB09-51E8-CDD7-9E02-2B35EC1B2DF1}"/>
              </a:ext>
            </a:extLst>
          </p:cNvPr>
          <p:cNvCxnSpPr>
            <a:cxnSpLocks/>
          </p:cNvCxnSpPr>
          <p:nvPr/>
        </p:nvCxnSpPr>
        <p:spPr>
          <a:xfrm>
            <a:off x="7925334" y="4689995"/>
            <a:ext cx="2885831" cy="2440"/>
          </a:xfrm>
          <a:prstGeom prst="line">
            <a:avLst/>
          </a:prstGeom>
          <a:ln w="31750">
            <a:solidFill>
              <a:schemeClr val="bg1">
                <a:lumMod val="50000"/>
              </a:schemeClr>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nvGrpSpPr>
          <p:cNvPr id="76" name="Group 75">
            <a:extLst>
              <a:ext uri="{FF2B5EF4-FFF2-40B4-BE49-F238E27FC236}">
                <a16:creationId xmlns:a16="http://schemas.microsoft.com/office/drawing/2014/main" id="{12B2EF11-A573-750E-5FF5-954471F208C6}"/>
              </a:ext>
            </a:extLst>
          </p:cNvPr>
          <p:cNvGrpSpPr/>
          <p:nvPr/>
        </p:nvGrpSpPr>
        <p:grpSpPr>
          <a:xfrm>
            <a:off x="7988280" y="3239499"/>
            <a:ext cx="1093361" cy="1379779"/>
            <a:chOff x="9051288" y="2809823"/>
            <a:chExt cx="1963420" cy="2179435"/>
          </a:xfrm>
        </p:grpSpPr>
        <p:sp>
          <p:nvSpPr>
            <p:cNvPr id="94" name="Rectangle 93">
              <a:extLst>
                <a:ext uri="{FF2B5EF4-FFF2-40B4-BE49-F238E27FC236}">
                  <a16:creationId xmlns:a16="http://schemas.microsoft.com/office/drawing/2014/main" id="{B213420A-7258-6065-9354-68A8D9488C67}"/>
                </a:ext>
              </a:extLst>
            </p:cNvPr>
            <p:cNvSpPr/>
            <p:nvPr/>
          </p:nvSpPr>
          <p:spPr>
            <a:xfrm>
              <a:off x="9051288" y="2809823"/>
              <a:ext cx="277592" cy="217943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95" name="Rectangle 94">
              <a:extLst>
                <a:ext uri="{FF2B5EF4-FFF2-40B4-BE49-F238E27FC236}">
                  <a16:creationId xmlns:a16="http://schemas.microsoft.com/office/drawing/2014/main" id="{8C78BB61-0B1A-BEFA-B8C9-9F683B2CD994}"/>
                </a:ext>
              </a:extLst>
            </p:cNvPr>
            <p:cNvSpPr/>
            <p:nvPr/>
          </p:nvSpPr>
          <p:spPr>
            <a:xfrm>
              <a:off x="9476102" y="2809823"/>
              <a:ext cx="272624" cy="217943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96" name="Rectangle 95">
              <a:extLst>
                <a:ext uri="{FF2B5EF4-FFF2-40B4-BE49-F238E27FC236}">
                  <a16:creationId xmlns:a16="http://schemas.microsoft.com/office/drawing/2014/main" id="{30B5EF62-5CFA-B8BE-3B4C-C225281EB29C}"/>
                </a:ext>
              </a:extLst>
            </p:cNvPr>
            <p:cNvSpPr/>
            <p:nvPr/>
          </p:nvSpPr>
          <p:spPr>
            <a:xfrm>
              <a:off x="9900915" y="2809823"/>
              <a:ext cx="272626" cy="217943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97" name="Rectangle 96">
              <a:extLst>
                <a:ext uri="{FF2B5EF4-FFF2-40B4-BE49-F238E27FC236}">
                  <a16:creationId xmlns:a16="http://schemas.microsoft.com/office/drawing/2014/main" id="{242394B4-2153-2686-EC19-CA247172FB7A}"/>
                </a:ext>
              </a:extLst>
            </p:cNvPr>
            <p:cNvSpPr/>
            <p:nvPr/>
          </p:nvSpPr>
          <p:spPr>
            <a:xfrm>
              <a:off x="10325730" y="2809823"/>
              <a:ext cx="272625" cy="217943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98" name="Rectangle 97">
              <a:extLst>
                <a:ext uri="{FF2B5EF4-FFF2-40B4-BE49-F238E27FC236}">
                  <a16:creationId xmlns:a16="http://schemas.microsoft.com/office/drawing/2014/main" id="{8C1ECD3F-9EEF-F04D-DA35-3524556E6165}"/>
                </a:ext>
              </a:extLst>
            </p:cNvPr>
            <p:cNvSpPr/>
            <p:nvPr/>
          </p:nvSpPr>
          <p:spPr>
            <a:xfrm>
              <a:off x="10742083" y="2809823"/>
              <a:ext cx="272625" cy="217943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grpSp>
        <p:nvGrpSpPr>
          <p:cNvPr id="77" name="Group 76">
            <a:extLst>
              <a:ext uri="{FF2B5EF4-FFF2-40B4-BE49-F238E27FC236}">
                <a16:creationId xmlns:a16="http://schemas.microsoft.com/office/drawing/2014/main" id="{B3E7571C-C8F8-D1DA-BE77-6CB382B1AF3E}"/>
              </a:ext>
            </a:extLst>
          </p:cNvPr>
          <p:cNvGrpSpPr/>
          <p:nvPr/>
        </p:nvGrpSpPr>
        <p:grpSpPr>
          <a:xfrm>
            <a:off x="9403384" y="3242143"/>
            <a:ext cx="1128635" cy="1359711"/>
            <a:chOff x="11160979" y="3355872"/>
            <a:chExt cx="1956785" cy="1624247"/>
          </a:xfrm>
          <a:solidFill>
            <a:schemeClr val="accent6"/>
          </a:solidFill>
        </p:grpSpPr>
        <p:sp>
          <p:nvSpPr>
            <p:cNvPr id="86" name="Rectangle 85">
              <a:extLst>
                <a:ext uri="{FF2B5EF4-FFF2-40B4-BE49-F238E27FC236}">
                  <a16:creationId xmlns:a16="http://schemas.microsoft.com/office/drawing/2014/main" id="{32B3B212-6D60-6BA7-61D6-EAC93811CBA5}"/>
                </a:ext>
              </a:extLst>
            </p:cNvPr>
            <p:cNvSpPr/>
            <p:nvPr/>
          </p:nvSpPr>
          <p:spPr>
            <a:xfrm>
              <a:off x="11160979" y="3355872"/>
              <a:ext cx="277592" cy="162424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87" name="Rectangle 86">
              <a:extLst>
                <a:ext uri="{FF2B5EF4-FFF2-40B4-BE49-F238E27FC236}">
                  <a16:creationId xmlns:a16="http://schemas.microsoft.com/office/drawing/2014/main" id="{011398EB-209A-8E0F-280B-F6E4EE987E56}"/>
                </a:ext>
              </a:extLst>
            </p:cNvPr>
            <p:cNvSpPr/>
            <p:nvPr/>
          </p:nvSpPr>
          <p:spPr>
            <a:xfrm>
              <a:off x="11582300" y="3355874"/>
              <a:ext cx="277592" cy="162424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88" name="Rectangle 87">
              <a:extLst>
                <a:ext uri="{FF2B5EF4-FFF2-40B4-BE49-F238E27FC236}">
                  <a16:creationId xmlns:a16="http://schemas.microsoft.com/office/drawing/2014/main" id="{C29BC772-5495-4A40-D041-50FA751E1969}"/>
                </a:ext>
              </a:extLst>
            </p:cNvPr>
            <p:cNvSpPr/>
            <p:nvPr/>
          </p:nvSpPr>
          <p:spPr>
            <a:xfrm>
              <a:off x="12002581" y="3355875"/>
              <a:ext cx="277592" cy="162424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92" name="Rectangle 91">
              <a:extLst>
                <a:ext uri="{FF2B5EF4-FFF2-40B4-BE49-F238E27FC236}">
                  <a16:creationId xmlns:a16="http://schemas.microsoft.com/office/drawing/2014/main" id="{1727F2C9-E85D-03A2-EDAF-D458068B235A}"/>
                </a:ext>
              </a:extLst>
            </p:cNvPr>
            <p:cNvSpPr/>
            <p:nvPr/>
          </p:nvSpPr>
          <p:spPr>
            <a:xfrm>
              <a:off x="12423819" y="3355875"/>
              <a:ext cx="277592" cy="162424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93" name="Rectangle 92">
              <a:extLst>
                <a:ext uri="{FF2B5EF4-FFF2-40B4-BE49-F238E27FC236}">
                  <a16:creationId xmlns:a16="http://schemas.microsoft.com/office/drawing/2014/main" id="{E7EA1DAB-7312-EA76-2217-A057A5C14C93}"/>
                </a:ext>
              </a:extLst>
            </p:cNvPr>
            <p:cNvSpPr/>
            <p:nvPr/>
          </p:nvSpPr>
          <p:spPr>
            <a:xfrm>
              <a:off x="12840172" y="3355875"/>
              <a:ext cx="277592" cy="162424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cxnSp>
        <p:nvCxnSpPr>
          <p:cNvPr id="78" name="Straight Connector 77">
            <a:extLst>
              <a:ext uri="{FF2B5EF4-FFF2-40B4-BE49-F238E27FC236}">
                <a16:creationId xmlns:a16="http://schemas.microsoft.com/office/drawing/2014/main" id="{C3E90D1A-4926-0941-E251-8D3AAE928E25}"/>
              </a:ext>
            </a:extLst>
          </p:cNvPr>
          <p:cNvCxnSpPr>
            <a:cxnSpLocks/>
          </p:cNvCxnSpPr>
          <p:nvPr/>
        </p:nvCxnSpPr>
        <p:spPr>
          <a:xfrm>
            <a:off x="10852555" y="1819915"/>
            <a:ext cx="32332" cy="3275220"/>
          </a:xfrm>
          <a:prstGeom prst="line">
            <a:avLst/>
          </a:prstGeom>
          <a:ln w="25400">
            <a:solidFill>
              <a:schemeClr val="accent4"/>
            </a:solidFill>
            <a:prstDash val="dash"/>
            <a:tailEnd type="oval" w="lg" len="lg"/>
          </a:ln>
        </p:spPr>
        <p:style>
          <a:lnRef idx="1">
            <a:schemeClr val="accent1"/>
          </a:lnRef>
          <a:fillRef idx="0">
            <a:schemeClr val="accent1"/>
          </a:fillRef>
          <a:effectRef idx="0">
            <a:schemeClr val="accent1"/>
          </a:effectRef>
          <a:fontRef idx="minor">
            <a:schemeClr val="tx1"/>
          </a:fontRef>
        </p:style>
      </p:cxnSp>
      <p:sp>
        <p:nvSpPr>
          <p:cNvPr id="79" name="TextBox 78">
            <a:extLst>
              <a:ext uri="{FF2B5EF4-FFF2-40B4-BE49-F238E27FC236}">
                <a16:creationId xmlns:a16="http://schemas.microsoft.com/office/drawing/2014/main" id="{21CF0D8C-9B7D-D391-2B67-4F15E20F6FB0}"/>
              </a:ext>
            </a:extLst>
          </p:cNvPr>
          <p:cNvSpPr txBox="1"/>
          <p:nvPr/>
        </p:nvSpPr>
        <p:spPr>
          <a:xfrm>
            <a:off x="8537316" y="4721128"/>
            <a:ext cx="1819749" cy="276999"/>
          </a:xfrm>
          <a:prstGeom prst="rect">
            <a:avLst/>
          </a:prstGeom>
          <a:noFill/>
        </p:spPr>
        <p:txBody>
          <a:bodyPr wrap="square" rtlCol="0" anchor="ctr">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343434"/>
                </a:solidFill>
                <a:effectLst/>
                <a:uLnTx/>
                <a:uFillTx/>
                <a:latin typeface="Arial" panose="020B0604020202020204" pitchFamily="34" charset="0"/>
                <a:ea typeface="+mn-ea"/>
                <a:cs typeface="Arial" panose="020B0604020202020204" pitchFamily="34" charset="0"/>
              </a:rPr>
              <a:t>Until 2025</a:t>
            </a:r>
          </a:p>
        </p:txBody>
      </p:sp>
      <p:sp>
        <p:nvSpPr>
          <p:cNvPr id="81" name="Rectangle 80">
            <a:extLst>
              <a:ext uri="{FF2B5EF4-FFF2-40B4-BE49-F238E27FC236}">
                <a16:creationId xmlns:a16="http://schemas.microsoft.com/office/drawing/2014/main" id="{BBF5DCDB-99F7-8420-1E5F-C4D6B6E558BF}"/>
              </a:ext>
            </a:extLst>
          </p:cNvPr>
          <p:cNvSpPr/>
          <p:nvPr/>
        </p:nvSpPr>
        <p:spPr>
          <a:xfrm>
            <a:off x="9173448" y="3238001"/>
            <a:ext cx="151816" cy="137977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82" name="Rectangle 81">
            <a:extLst>
              <a:ext uri="{FF2B5EF4-FFF2-40B4-BE49-F238E27FC236}">
                <a16:creationId xmlns:a16="http://schemas.microsoft.com/office/drawing/2014/main" id="{64568F5F-FC81-9EB1-449E-DCB1A265189B}"/>
              </a:ext>
            </a:extLst>
          </p:cNvPr>
          <p:cNvSpPr/>
          <p:nvPr/>
        </p:nvSpPr>
        <p:spPr>
          <a:xfrm>
            <a:off x="10618287" y="3242143"/>
            <a:ext cx="160109" cy="135970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84" name="TextBox 83">
            <a:extLst>
              <a:ext uri="{FF2B5EF4-FFF2-40B4-BE49-F238E27FC236}">
                <a16:creationId xmlns:a16="http://schemas.microsoft.com/office/drawing/2014/main" id="{D57A66F8-2285-684B-78BD-9C17C8B56712}"/>
              </a:ext>
            </a:extLst>
          </p:cNvPr>
          <p:cNvSpPr txBox="1"/>
          <p:nvPr/>
        </p:nvSpPr>
        <p:spPr>
          <a:xfrm rot="16200000">
            <a:off x="9695251" y="3552635"/>
            <a:ext cx="2701264" cy="226591"/>
          </a:xfrm>
          <a:prstGeom prst="rect">
            <a:avLst/>
          </a:prstGeom>
          <a:noFill/>
        </p:spPr>
        <p:txBody>
          <a:bodyPr wrap="square" lIns="72000" tIns="36000" rIns="72000" bIns="36000" rtlCol="0">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A7650"/>
                </a:solidFill>
                <a:effectLst/>
                <a:uLnTx/>
                <a:uFillTx/>
                <a:latin typeface="Arial" panose="020B0604020202020204" pitchFamily="34" charset="0"/>
                <a:ea typeface="+mn-ea"/>
                <a:cs typeface="Arial" panose="020B0604020202020204" pitchFamily="34" charset="0"/>
              </a:rPr>
              <a:t>End of Gavi support</a:t>
            </a:r>
          </a:p>
        </p:txBody>
      </p:sp>
      <p:sp>
        <p:nvSpPr>
          <p:cNvPr id="6" name="TextBox 5">
            <a:extLst>
              <a:ext uri="{FF2B5EF4-FFF2-40B4-BE49-F238E27FC236}">
                <a16:creationId xmlns:a16="http://schemas.microsoft.com/office/drawing/2014/main" id="{C8CA62D6-DDA6-8919-8F70-38D641974E57}"/>
              </a:ext>
            </a:extLst>
          </p:cNvPr>
          <p:cNvSpPr txBox="1"/>
          <p:nvPr/>
        </p:nvSpPr>
        <p:spPr>
          <a:xfrm>
            <a:off x="7883503" y="4985185"/>
            <a:ext cx="2568128" cy="415755"/>
          </a:xfrm>
          <a:prstGeom prst="rect">
            <a:avLst/>
          </a:prstGeom>
          <a:noFill/>
        </p:spPr>
        <p:txBody>
          <a:bodyPr wrap="square" rtlCol="0">
            <a:spAutoFit/>
          </a:bodyPr>
          <a:lstStyle/>
          <a:p>
            <a:pPr marL="228594" marR="0" lvl="0" indent="-228594" algn="l" defTabSz="914377" rtl="0" eaLnBrk="1" fontAlgn="auto" latinLnBrk="0" hangingPunct="1">
              <a:lnSpc>
                <a:spcPct val="100000"/>
              </a:lnSpc>
              <a:spcBef>
                <a:spcPts val="0"/>
              </a:spcBef>
              <a:spcAft>
                <a:spcPts val="0"/>
              </a:spcAft>
              <a:buClrTx/>
              <a:buSzTx/>
              <a:buFontTx/>
              <a:buAutoNum type="arabicPeriod"/>
              <a:tabLst/>
              <a:defRPr/>
            </a:pPr>
            <a:r>
              <a:rPr kumimoji="0" lang="en-GB" sz="1051" b="0" i="1" u="none" strike="noStrike" kern="1200" cap="none" spc="0" normalizeH="0" baseline="0" noProof="0">
                <a:ln>
                  <a:noFill/>
                </a:ln>
                <a:solidFill>
                  <a:srgbClr val="FA7650"/>
                </a:solidFill>
                <a:effectLst/>
                <a:uLnTx/>
                <a:uFillTx/>
                <a:latin typeface="Arial" panose="020B0604020202020204" pitchFamily="34" charset="0"/>
                <a:ea typeface="Arial" panose="020B0604020202020204" pitchFamily="34" charset="0"/>
                <a:cs typeface="Arial" panose="020B0604020202020204" pitchFamily="34" charset="0"/>
              </a:rPr>
              <a:t>Catalytic and time-bound support </a:t>
            </a:r>
            <a:br>
              <a:rPr kumimoji="0" lang="en-GB" sz="1051" b="0" i="1" u="none" strike="noStrike" kern="1200" cap="none" spc="0" normalizeH="0" baseline="0" noProof="0">
                <a:ln>
                  <a:noFill/>
                </a:ln>
                <a:solidFill>
                  <a:srgbClr val="FA7650"/>
                </a:solidFill>
                <a:effectLst/>
                <a:uLnTx/>
                <a:uFillTx/>
                <a:latin typeface="Arial" panose="020B0604020202020204" pitchFamily="34" charset="0"/>
                <a:ea typeface="Arial" panose="020B0604020202020204" pitchFamily="34" charset="0"/>
                <a:cs typeface="Arial" panose="020B0604020202020204" pitchFamily="34" charset="0"/>
              </a:rPr>
            </a:br>
            <a:r>
              <a:rPr kumimoji="0" lang="en-GB" sz="1051" b="0" i="1" u="none" strike="noStrike" kern="1200" cap="none" spc="0" normalizeH="0" baseline="0" noProof="0">
                <a:ln>
                  <a:noFill/>
                </a:ln>
                <a:solidFill>
                  <a:srgbClr val="FA7650"/>
                </a:solidFill>
                <a:effectLst/>
                <a:uLnTx/>
                <a:uFillTx/>
                <a:latin typeface="Arial" panose="020B0604020202020204" pitchFamily="34" charset="0"/>
                <a:ea typeface="Arial" panose="020B0604020202020204" pitchFamily="34" charset="0"/>
                <a:cs typeface="Arial" panose="020B0604020202020204" pitchFamily="34" charset="0"/>
              </a:rPr>
              <a:t>to </a:t>
            </a:r>
            <a:r>
              <a:rPr kumimoji="0" lang="en-US" sz="1051" b="0" i="1" u="none" strike="noStrike" kern="1200" cap="none" spc="0" normalizeH="0" baseline="0" noProof="0">
                <a:ln>
                  <a:noFill/>
                </a:ln>
                <a:solidFill>
                  <a:srgbClr val="FA7650"/>
                </a:solidFill>
                <a:effectLst/>
                <a:uLnTx/>
                <a:uFillTx/>
                <a:latin typeface="Arial" panose="020B0604020202020204" pitchFamily="34" charset="0"/>
                <a:ea typeface="Arial" panose="020B0604020202020204" pitchFamily="34" charset="0"/>
                <a:cs typeface="Arial" panose="020B0604020202020204" pitchFamily="34" charset="0"/>
              </a:rPr>
              <a:t>Former and Never Gavi LMICs</a:t>
            </a:r>
          </a:p>
        </p:txBody>
      </p:sp>
      <p:sp>
        <p:nvSpPr>
          <p:cNvPr id="3" name="Rectangle 2">
            <a:extLst>
              <a:ext uri="{FF2B5EF4-FFF2-40B4-BE49-F238E27FC236}">
                <a16:creationId xmlns:a16="http://schemas.microsoft.com/office/drawing/2014/main" id="{98DD944C-5E5C-A154-1E17-326B59EA55C1}"/>
              </a:ext>
            </a:extLst>
          </p:cNvPr>
          <p:cNvSpPr/>
          <p:nvPr/>
        </p:nvSpPr>
        <p:spPr>
          <a:xfrm>
            <a:off x="1192308" y="6078068"/>
            <a:ext cx="1748117" cy="349627"/>
          </a:xfrm>
          <a:prstGeom prst="rect">
            <a:avLst/>
          </a:prstGeom>
          <a:solidFill>
            <a:schemeClr val="bg2"/>
          </a:solidFill>
          <a:ln>
            <a:solidFill>
              <a:schemeClr val="bg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a:ln>
                  <a:noFill/>
                </a:ln>
                <a:solidFill>
                  <a:srgbClr val="FFFFFF"/>
                </a:solidFill>
                <a:effectLst/>
                <a:uLnTx/>
                <a:uFillTx/>
                <a:latin typeface="Arial"/>
                <a:ea typeface="+mn-ea"/>
                <a:cs typeface="+mn-cs"/>
              </a:rPr>
              <a:t>0.20 cents per dose</a:t>
            </a:r>
          </a:p>
        </p:txBody>
      </p:sp>
      <p:sp>
        <p:nvSpPr>
          <p:cNvPr id="4" name="Rectangle 3">
            <a:extLst>
              <a:ext uri="{FF2B5EF4-FFF2-40B4-BE49-F238E27FC236}">
                <a16:creationId xmlns:a16="http://schemas.microsoft.com/office/drawing/2014/main" id="{8D4372D1-B6B3-3B80-D4A3-B50F3D5844D8}"/>
              </a:ext>
            </a:extLst>
          </p:cNvPr>
          <p:cNvSpPr/>
          <p:nvPr/>
        </p:nvSpPr>
        <p:spPr>
          <a:xfrm>
            <a:off x="3012141" y="6078073"/>
            <a:ext cx="1712259" cy="349623"/>
          </a:xfrm>
          <a:prstGeom prst="rect">
            <a:avLst/>
          </a:prstGeom>
          <a:solidFill>
            <a:schemeClr val="accent2"/>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a:ln>
                  <a:noFill/>
                </a:ln>
                <a:solidFill>
                  <a:srgbClr val="FFFFFF"/>
                </a:solidFill>
                <a:effectLst/>
                <a:uLnTx/>
                <a:uFillTx/>
                <a:latin typeface="Arial"/>
                <a:ea typeface="+mn-ea"/>
                <a:cs typeface="+mn-cs"/>
              </a:rPr>
              <a:t>15% increase of portfolio</a:t>
            </a:r>
          </a:p>
        </p:txBody>
      </p:sp>
      <p:sp>
        <p:nvSpPr>
          <p:cNvPr id="7" name="Rectangle 6">
            <a:extLst>
              <a:ext uri="{FF2B5EF4-FFF2-40B4-BE49-F238E27FC236}">
                <a16:creationId xmlns:a16="http://schemas.microsoft.com/office/drawing/2014/main" id="{49A586BE-94B9-48F2-D293-EA20C4C1A4D8}"/>
              </a:ext>
            </a:extLst>
          </p:cNvPr>
          <p:cNvSpPr/>
          <p:nvPr/>
        </p:nvSpPr>
        <p:spPr>
          <a:xfrm>
            <a:off x="4787151" y="6069107"/>
            <a:ext cx="2474261" cy="358588"/>
          </a:xfrm>
          <a:prstGeom prst="rect">
            <a:avLst/>
          </a:prstGeom>
          <a:solidFill>
            <a:schemeClr val="accent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067" b="0" i="0" u="none" strike="noStrike" kern="1200" cap="none" spc="0" normalizeH="0" baseline="0" noProof="0">
                <a:ln>
                  <a:noFill/>
                </a:ln>
                <a:solidFill>
                  <a:srgbClr val="FFFFFF"/>
                </a:solidFill>
                <a:effectLst/>
                <a:uLnTx/>
                <a:uFillTx/>
                <a:latin typeface="Arial"/>
                <a:ea typeface="+mn-ea"/>
                <a:cs typeface="+mn-cs"/>
              </a:rPr>
              <a:t>Linear increase over 8 years</a:t>
            </a:r>
          </a:p>
        </p:txBody>
      </p:sp>
      <p:sp>
        <p:nvSpPr>
          <p:cNvPr id="8" name="TextBox 7">
            <a:extLst>
              <a:ext uri="{FF2B5EF4-FFF2-40B4-BE49-F238E27FC236}">
                <a16:creationId xmlns:a16="http://schemas.microsoft.com/office/drawing/2014/main" id="{2752E69E-A901-D3AD-5619-65EC16370FC6}"/>
              </a:ext>
            </a:extLst>
          </p:cNvPr>
          <p:cNvSpPr txBox="1"/>
          <p:nvPr/>
        </p:nvSpPr>
        <p:spPr>
          <a:xfrm>
            <a:off x="206189" y="5710520"/>
            <a:ext cx="1697901" cy="307777"/>
          </a:xfrm>
          <a:prstGeom prst="rect">
            <a:avLst/>
          </a:prstGeom>
          <a:noFill/>
          <a:ln>
            <a:solidFill>
              <a:schemeClr val="tx1"/>
            </a:solidFill>
          </a:ln>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a:ln>
                  <a:noFill/>
                </a:ln>
                <a:solidFill>
                  <a:srgbClr val="343434"/>
                </a:solidFill>
                <a:effectLst/>
                <a:uLnTx/>
                <a:uFillTx/>
                <a:latin typeface="Arial"/>
                <a:ea typeface="+mn-ea"/>
                <a:cs typeface="+mn-cs"/>
              </a:rPr>
              <a:t>Co-financing policy</a:t>
            </a:r>
          </a:p>
        </p:txBody>
      </p:sp>
      <p:sp>
        <p:nvSpPr>
          <p:cNvPr id="9" name="Footer Placeholder 8">
            <a:extLst>
              <a:ext uri="{FF2B5EF4-FFF2-40B4-BE49-F238E27FC236}">
                <a16:creationId xmlns:a16="http://schemas.microsoft.com/office/drawing/2014/main" id="{5F02022B-E3E0-2887-D546-E045950B995B}"/>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343434"/>
                </a:solidFill>
                <a:effectLst/>
                <a:uLnTx/>
                <a:uFillTx/>
                <a:latin typeface="Arial"/>
                <a:ea typeface="+mn-ea"/>
                <a:cs typeface="+mn-cs"/>
              </a:rPr>
              <a:t>GNN webinar on rabies 6 May 2024</a:t>
            </a:r>
            <a:endParaRPr kumimoji="0" lang="en-GB" sz="800" b="0" i="0" u="none" strike="noStrike" kern="1200" cap="none" spc="0" normalizeH="0" baseline="0" noProof="0">
              <a:ln>
                <a:noFill/>
              </a:ln>
              <a:solidFill>
                <a:srgbClr val="343434"/>
              </a:solidFill>
              <a:effectLst/>
              <a:uLnTx/>
              <a:uFillTx/>
              <a:latin typeface="Arial"/>
              <a:ea typeface="+mn-ea"/>
              <a:cs typeface="+mn-cs"/>
            </a:endParaRPr>
          </a:p>
        </p:txBody>
      </p:sp>
      <p:sp>
        <p:nvSpPr>
          <p:cNvPr id="10" name="Slide Number Placeholder 9">
            <a:extLst>
              <a:ext uri="{FF2B5EF4-FFF2-40B4-BE49-F238E27FC236}">
                <a16:creationId xmlns:a16="http://schemas.microsoft.com/office/drawing/2014/main" id="{AA075D97-CFCF-8DAE-9691-3635E89010E7}"/>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B746B08-255A-2748-8A21-40BE94A17FD1}" type="slidenum">
              <a:rPr kumimoji="0" lang="en-GB" sz="800" b="1" i="0" u="none" strike="noStrike" kern="1200" cap="none" spc="0" normalizeH="0" baseline="0" noProof="0" smtClean="0">
                <a:ln>
                  <a:noFill/>
                </a:ln>
                <a:solidFill>
                  <a:srgbClr val="343434">
                    <a:lumMod val="50000"/>
                    <a:lumOff val="50000"/>
                  </a:srgbClr>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6</a:t>
            </a:fld>
            <a:endParaRPr kumimoji="0" lang="en-GB" sz="800" b="1" i="0" u="none" strike="noStrike" kern="1200" cap="none" spc="0" normalizeH="0" baseline="0" noProof="0">
              <a:ln>
                <a:noFill/>
              </a:ln>
              <a:solidFill>
                <a:srgbClr val="343434">
                  <a:lumMod val="50000"/>
                  <a:lumOff val="50000"/>
                </a:srgbClr>
              </a:solidFill>
              <a:effectLst/>
              <a:uLnTx/>
              <a:uFillTx/>
              <a:latin typeface="Arial"/>
              <a:ea typeface="+mn-ea"/>
              <a:cs typeface="+mn-cs"/>
            </a:endParaRPr>
          </a:p>
        </p:txBody>
      </p:sp>
    </p:spTree>
    <p:custDataLst>
      <p:tags r:id="rId1"/>
    </p:custDataLst>
    <p:extLst>
      <p:ext uri="{BB962C8B-B14F-4D97-AF65-F5344CB8AC3E}">
        <p14:creationId xmlns:p14="http://schemas.microsoft.com/office/powerpoint/2010/main" val="253470644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D0936B7-01C1-DC4C-7D32-053B5DCE4454}"/>
              </a:ext>
            </a:extLst>
          </p:cNvPr>
          <p:cNvSpPr>
            <a:spLocks noGrp="1"/>
          </p:cNvSpPr>
          <p:nvPr>
            <p:ph type="title"/>
          </p:nvPr>
        </p:nvSpPr>
        <p:spPr>
          <a:xfrm>
            <a:off x="531132" y="22859"/>
            <a:ext cx="11154344" cy="343847"/>
          </a:xfrm>
        </p:spPr>
        <p:txBody>
          <a:bodyPr>
            <a:normAutofit fontScale="90000"/>
          </a:bodyPr>
          <a:lstStyle/>
          <a:p>
            <a:r>
              <a:rPr lang="en-US" dirty="0"/>
              <a:t>Eligibility for Gavi support</a:t>
            </a:r>
          </a:p>
        </p:txBody>
      </p:sp>
      <p:sp>
        <p:nvSpPr>
          <p:cNvPr id="5" name="Text Placeholder 4">
            <a:extLst>
              <a:ext uri="{FF2B5EF4-FFF2-40B4-BE49-F238E27FC236}">
                <a16:creationId xmlns:a16="http://schemas.microsoft.com/office/drawing/2014/main" id="{804E57AF-43EE-58A5-952D-34144247438C}"/>
              </a:ext>
            </a:extLst>
          </p:cNvPr>
          <p:cNvSpPr>
            <a:spLocks noGrp="1"/>
          </p:cNvSpPr>
          <p:nvPr>
            <p:ph type="body" sz="quarter" idx="14"/>
          </p:nvPr>
        </p:nvSpPr>
        <p:spPr>
          <a:xfrm>
            <a:off x="515939" y="520658"/>
            <a:ext cx="3495194" cy="343847"/>
          </a:xfrm>
        </p:spPr>
        <p:txBody>
          <a:bodyPr>
            <a:normAutofit fontScale="70000" lnSpcReduction="20000"/>
          </a:bodyPr>
          <a:lstStyle/>
          <a:p>
            <a:r>
              <a:rPr lang="en-US" dirty="0"/>
              <a:t>Initial self-financing</a:t>
            </a:r>
          </a:p>
          <a:p>
            <a:endParaRPr lang="en-US" dirty="0"/>
          </a:p>
        </p:txBody>
      </p:sp>
      <p:sp>
        <p:nvSpPr>
          <p:cNvPr id="6" name="Text Placeholder 5">
            <a:extLst>
              <a:ext uri="{FF2B5EF4-FFF2-40B4-BE49-F238E27FC236}">
                <a16:creationId xmlns:a16="http://schemas.microsoft.com/office/drawing/2014/main" id="{2E6E08AC-A2D6-A2F9-61F4-F351E8514C9F}"/>
              </a:ext>
            </a:extLst>
          </p:cNvPr>
          <p:cNvSpPr>
            <a:spLocks noGrp="1"/>
          </p:cNvSpPr>
          <p:nvPr>
            <p:ph type="body" sz="quarter" idx="15"/>
          </p:nvPr>
        </p:nvSpPr>
        <p:spPr>
          <a:xfrm>
            <a:off x="4380334" y="520658"/>
            <a:ext cx="3495194" cy="343847"/>
          </a:xfrm>
        </p:spPr>
        <p:txBody>
          <a:bodyPr/>
          <a:lstStyle/>
          <a:p>
            <a:r>
              <a:rPr lang="en-US" dirty="0"/>
              <a:t>Preparatory transition phase</a:t>
            </a:r>
          </a:p>
        </p:txBody>
      </p:sp>
      <p:sp>
        <p:nvSpPr>
          <p:cNvPr id="7" name="Text Placeholder 6">
            <a:extLst>
              <a:ext uri="{FF2B5EF4-FFF2-40B4-BE49-F238E27FC236}">
                <a16:creationId xmlns:a16="http://schemas.microsoft.com/office/drawing/2014/main" id="{57175CEB-17AD-404C-6FE7-462BD6B82444}"/>
              </a:ext>
            </a:extLst>
          </p:cNvPr>
          <p:cNvSpPr>
            <a:spLocks noGrp="1"/>
          </p:cNvSpPr>
          <p:nvPr>
            <p:ph type="body" idx="16"/>
          </p:nvPr>
        </p:nvSpPr>
        <p:spPr>
          <a:xfrm>
            <a:off x="4395527" y="909836"/>
            <a:ext cx="3485283" cy="5322287"/>
          </a:xfrm>
        </p:spPr>
        <p:txBody>
          <a:bodyPr>
            <a:normAutofit fontScale="77500" lnSpcReduction="20000"/>
          </a:bodyPr>
          <a:lstStyle/>
          <a:p>
            <a:pPr>
              <a:buClr>
                <a:srgbClr val="FFC000"/>
              </a:buClr>
              <a:buFont typeface="Wingdings" panose="05000000000000000000" pitchFamily="2" charset="2"/>
              <a:buChar char="§"/>
            </a:pPr>
            <a:r>
              <a:rPr lang="en-US" dirty="0"/>
              <a:t>Benin</a:t>
            </a:r>
          </a:p>
          <a:p>
            <a:pPr>
              <a:buClr>
                <a:srgbClr val="FFC000"/>
              </a:buClr>
              <a:buFont typeface="Wingdings" panose="05000000000000000000" pitchFamily="2" charset="2"/>
              <a:buChar char="§"/>
            </a:pPr>
            <a:r>
              <a:rPr lang="en-US" dirty="0"/>
              <a:t>Cambodia</a:t>
            </a:r>
          </a:p>
          <a:p>
            <a:pPr>
              <a:buClr>
                <a:srgbClr val="FFC000"/>
              </a:buClr>
              <a:buFont typeface="Wingdings" panose="05000000000000000000" pitchFamily="2" charset="2"/>
              <a:buChar char="§"/>
            </a:pPr>
            <a:r>
              <a:rPr lang="en-US" dirty="0"/>
              <a:t>Cameroon</a:t>
            </a:r>
          </a:p>
          <a:p>
            <a:pPr>
              <a:buClr>
                <a:srgbClr val="FFC000"/>
              </a:buClr>
              <a:buFont typeface="Wingdings" panose="05000000000000000000" pitchFamily="2" charset="2"/>
              <a:buChar char="§"/>
            </a:pPr>
            <a:r>
              <a:rPr lang="en-US" dirty="0"/>
              <a:t>Comoros</a:t>
            </a:r>
          </a:p>
          <a:p>
            <a:pPr>
              <a:buClr>
                <a:srgbClr val="FFC000"/>
              </a:buClr>
              <a:buFont typeface="Wingdings" panose="05000000000000000000" pitchFamily="2" charset="2"/>
              <a:buChar char="§"/>
            </a:pPr>
            <a:r>
              <a:rPr lang="en-US" dirty="0"/>
              <a:t>Congo</a:t>
            </a:r>
          </a:p>
          <a:p>
            <a:pPr>
              <a:buClr>
                <a:srgbClr val="FFC000"/>
              </a:buClr>
              <a:buFont typeface="Wingdings" panose="05000000000000000000" pitchFamily="2" charset="2"/>
              <a:buChar char="§"/>
            </a:pPr>
            <a:r>
              <a:rPr lang="en-US" dirty="0"/>
              <a:t>Haiti</a:t>
            </a:r>
          </a:p>
          <a:p>
            <a:pPr>
              <a:buClr>
                <a:srgbClr val="FFC000"/>
              </a:buClr>
              <a:buFont typeface="Wingdings" panose="05000000000000000000" pitchFamily="2" charset="2"/>
              <a:buChar char="§"/>
            </a:pPr>
            <a:r>
              <a:rPr lang="en-US" dirty="0"/>
              <a:t>Kyrgyzstan</a:t>
            </a:r>
          </a:p>
          <a:p>
            <a:pPr>
              <a:buClr>
                <a:srgbClr val="FFC000"/>
              </a:buClr>
              <a:buFont typeface="Wingdings" panose="05000000000000000000" pitchFamily="2" charset="2"/>
              <a:buChar char="§"/>
            </a:pPr>
            <a:r>
              <a:rPr lang="en-US" dirty="0"/>
              <a:t>Lesotho</a:t>
            </a:r>
          </a:p>
          <a:p>
            <a:pPr>
              <a:buClr>
                <a:srgbClr val="FFC000"/>
              </a:buClr>
              <a:buFont typeface="Wingdings" panose="05000000000000000000" pitchFamily="2" charset="2"/>
              <a:buChar char="§"/>
            </a:pPr>
            <a:r>
              <a:rPr lang="en-US" dirty="0"/>
              <a:t>Mauritania</a:t>
            </a:r>
          </a:p>
          <a:p>
            <a:pPr>
              <a:buClr>
                <a:srgbClr val="FFC000"/>
              </a:buClr>
              <a:buFont typeface="Wingdings" panose="05000000000000000000" pitchFamily="2" charset="2"/>
              <a:buChar char="§"/>
            </a:pPr>
            <a:r>
              <a:rPr lang="en-US" dirty="0"/>
              <a:t>Myanmar</a:t>
            </a:r>
          </a:p>
          <a:p>
            <a:pPr>
              <a:buClr>
                <a:srgbClr val="FFC000"/>
              </a:buClr>
              <a:buFont typeface="Wingdings" panose="05000000000000000000" pitchFamily="2" charset="2"/>
              <a:buChar char="§"/>
            </a:pPr>
            <a:r>
              <a:rPr lang="en-US" dirty="0"/>
              <a:t>Nepal</a:t>
            </a:r>
          </a:p>
          <a:p>
            <a:pPr>
              <a:buClr>
                <a:srgbClr val="FFC000"/>
              </a:buClr>
              <a:buFont typeface="Wingdings" panose="05000000000000000000" pitchFamily="2" charset="2"/>
              <a:buChar char="§"/>
            </a:pPr>
            <a:r>
              <a:rPr lang="en-US" dirty="0"/>
              <a:t>Pakistan</a:t>
            </a:r>
          </a:p>
          <a:p>
            <a:pPr>
              <a:buClr>
                <a:srgbClr val="FFC000"/>
              </a:buClr>
              <a:buFont typeface="Wingdings" panose="05000000000000000000" pitchFamily="2" charset="2"/>
              <a:buChar char="§"/>
            </a:pPr>
            <a:r>
              <a:rPr lang="en-US" dirty="0"/>
              <a:t>Senegal</a:t>
            </a:r>
          </a:p>
          <a:p>
            <a:pPr>
              <a:buClr>
                <a:srgbClr val="FFC000"/>
              </a:buClr>
              <a:buFont typeface="Wingdings" panose="05000000000000000000" pitchFamily="2" charset="2"/>
              <a:buChar char="§"/>
            </a:pPr>
            <a:r>
              <a:rPr lang="en-US" dirty="0"/>
              <a:t>Tajikistan</a:t>
            </a:r>
          </a:p>
          <a:p>
            <a:pPr>
              <a:buClr>
                <a:srgbClr val="FFC000"/>
              </a:buClr>
              <a:buFont typeface="Wingdings" panose="05000000000000000000" pitchFamily="2" charset="2"/>
              <a:buChar char="§"/>
            </a:pPr>
            <a:r>
              <a:rPr lang="en-US" dirty="0"/>
              <a:t>UR Tanzania</a:t>
            </a:r>
          </a:p>
          <a:p>
            <a:pPr>
              <a:buClr>
                <a:srgbClr val="FFC000"/>
              </a:buClr>
              <a:buFont typeface="Wingdings" panose="05000000000000000000" pitchFamily="2" charset="2"/>
              <a:buChar char="§"/>
            </a:pPr>
            <a:r>
              <a:rPr lang="en-US" dirty="0"/>
              <a:t>Zimbabwe</a:t>
            </a:r>
          </a:p>
        </p:txBody>
      </p:sp>
      <p:sp>
        <p:nvSpPr>
          <p:cNvPr id="8" name="Text Placeholder 7">
            <a:extLst>
              <a:ext uri="{FF2B5EF4-FFF2-40B4-BE49-F238E27FC236}">
                <a16:creationId xmlns:a16="http://schemas.microsoft.com/office/drawing/2014/main" id="{1161E0A7-5D2B-A444-649F-C1CCEFE91FA9}"/>
              </a:ext>
            </a:extLst>
          </p:cNvPr>
          <p:cNvSpPr>
            <a:spLocks noGrp="1"/>
          </p:cNvSpPr>
          <p:nvPr>
            <p:ph type="body" sz="quarter" idx="17"/>
          </p:nvPr>
        </p:nvSpPr>
        <p:spPr>
          <a:xfrm>
            <a:off x="8169806" y="520658"/>
            <a:ext cx="3495194" cy="343847"/>
          </a:xfrm>
        </p:spPr>
        <p:txBody>
          <a:bodyPr/>
          <a:lstStyle/>
          <a:p>
            <a:r>
              <a:rPr lang="en-US" dirty="0"/>
              <a:t>Accelerated transition phase</a:t>
            </a:r>
          </a:p>
        </p:txBody>
      </p:sp>
      <p:sp>
        <p:nvSpPr>
          <p:cNvPr id="9" name="Text Placeholder 8">
            <a:extLst>
              <a:ext uri="{FF2B5EF4-FFF2-40B4-BE49-F238E27FC236}">
                <a16:creationId xmlns:a16="http://schemas.microsoft.com/office/drawing/2014/main" id="{9C98D3C0-28EE-0540-42EB-3F45C6E1EB7D}"/>
              </a:ext>
            </a:extLst>
          </p:cNvPr>
          <p:cNvSpPr>
            <a:spLocks noGrp="1"/>
          </p:cNvSpPr>
          <p:nvPr>
            <p:ph type="body" idx="18"/>
          </p:nvPr>
        </p:nvSpPr>
        <p:spPr>
          <a:xfrm>
            <a:off x="8184999" y="909837"/>
            <a:ext cx="3485283" cy="5322286"/>
          </a:xfrm>
        </p:spPr>
        <p:txBody>
          <a:bodyPr/>
          <a:lstStyle/>
          <a:p>
            <a:pPr>
              <a:buClr>
                <a:schemeClr val="accent5"/>
              </a:buClr>
              <a:buFont typeface="Wingdings" panose="05000000000000000000" pitchFamily="2" charset="2"/>
              <a:buChar char="§"/>
            </a:pPr>
            <a:r>
              <a:rPr lang="en-US" dirty="0"/>
              <a:t>Bangladesh</a:t>
            </a:r>
          </a:p>
          <a:p>
            <a:pPr>
              <a:buClr>
                <a:schemeClr val="accent5"/>
              </a:buClr>
              <a:buFont typeface="Wingdings" panose="05000000000000000000" pitchFamily="2" charset="2"/>
              <a:buChar char="§"/>
            </a:pPr>
            <a:r>
              <a:rPr lang="en-US" dirty="0"/>
              <a:t>Côte d'Ivoire</a:t>
            </a:r>
          </a:p>
          <a:p>
            <a:pPr>
              <a:buClr>
                <a:schemeClr val="accent5"/>
              </a:buClr>
              <a:buFont typeface="Wingdings" panose="05000000000000000000" pitchFamily="2" charset="2"/>
              <a:buChar char="§"/>
            </a:pPr>
            <a:r>
              <a:rPr lang="en-US" dirty="0"/>
              <a:t>Djibouti</a:t>
            </a:r>
          </a:p>
          <a:p>
            <a:pPr>
              <a:buClr>
                <a:schemeClr val="accent5"/>
              </a:buClr>
              <a:buFont typeface="Wingdings" panose="05000000000000000000" pitchFamily="2" charset="2"/>
              <a:buChar char="§"/>
            </a:pPr>
            <a:r>
              <a:rPr lang="en-US" dirty="0"/>
              <a:t>Ghana</a:t>
            </a:r>
          </a:p>
          <a:p>
            <a:pPr>
              <a:buClr>
                <a:schemeClr val="accent5"/>
              </a:buClr>
              <a:buFont typeface="Wingdings" panose="05000000000000000000" pitchFamily="2" charset="2"/>
              <a:buChar char="§"/>
            </a:pPr>
            <a:r>
              <a:rPr lang="en-US" dirty="0"/>
              <a:t>Kenya</a:t>
            </a:r>
          </a:p>
          <a:p>
            <a:pPr>
              <a:buClr>
                <a:schemeClr val="accent5"/>
              </a:buClr>
              <a:buFont typeface="Wingdings" panose="05000000000000000000" pitchFamily="2" charset="2"/>
              <a:buChar char="§"/>
            </a:pPr>
            <a:r>
              <a:rPr lang="en-US" dirty="0"/>
              <a:t>Lao People’s Democratic Republic</a:t>
            </a:r>
          </a:p>
          <a:p>
            <a:pPr>
              <a:buClr>
                <a:schemeClr val="accent5"/>
              </a:buClr>
              <a:buFont typeface="Wingdings" panose="05000000000000000000" pitchFamily="2" charset="2"/>
              <a:buChar char="§"/>
            </a:pPr>
            <a:r>
              <a:rPr lang="en-US" dirty="0"/>
              <a:t>Nigeria</a:t>
            </a:r>
          </a:p>
          <a:p>
            <a:pPr>
              <a:buClr>
                <a:schemeClr val="accent5"/>
              </a:buClr>
              <a:buFont typeface="Wingdings" panose="05000000000000000000" pitchFamily="2" charset="2"/>
              <a:buChar char="§"/>
            </a:pPr>
            <a:r>
              <a:rPr lang="en-US" dirty="0"/>
              <a:t>Papua New Guinea</a:t>
            </a:r>
          </a:p>
          <a:p>
            <a:pPr>
              <a:buClr>
                <a:schemeClr val="accent5"/>
              </a:buClr>
              <a:buFont typeface="Wingdings" panose="05000000000000000000" pitchFamily="2" charset="2"/>
              <a:buChar char="§"/>
            </a:pPr>
            <a:r>
              <a:rPr lang="en-US" dirty="0"/>
              <a:t>Sao Tome and Principe</a:t>
            </a:r>
          </a:p>
          <a:p>
            <a:pPr>
              <a:buClr>
                <a:schemeClr val="accent5"/>
              </a:buClr>
              <a:buFont typeface="Wingdings" panose="05000000000000000000" pitchFamily="2" charset="2"/>
              <a:buChar char="§"/>
            </a:pPr>
            <a:r>
              <a:rPr lang="en-US" dirty="0"/>
              <a:t>Solomon Islands</a:t>
            </a:r>
          </a:p>
        </p:txBody>
      </p:sp>
      <p:pic>
        <p:nvPicPr>
          <p:cNvPr id="22" name="Picture 21">
            <a:extLst>
              <a:ext uri="{FF2B5EF4-FFF2-40B4-BE49-F238E27FC236}">
                <a16:creationId xmlns:a16="http://schemas.microsoft.com/office/drawing/2014/main" id="{D0940795-9EA4-DDB9-9A02-B8DDA6183DAE}"/>
              </a:ext>
            </a:extLst>
          </p:cNvPr>
          <p:cNvPicPr>
            <a:picLocks noChangeAspect="1"/>
          </p:cNvPicPr>
          <p:nvPr/>
        </p:nvPicPr>
        <p:blipFill>
          <a:blip r:embed="rId3"/>
          <a:stretch>
            <a:fillRect/>
          </a:stretch>
        </p:blipFill>
        <p:spPr>
          <a:xfrm>
            <a:off x="527000" y="697791"/>
            <a:ext cx="2649682" cy="5746376"/>
          </a:xfrm>
          <a:prstGeom prst="rect">
            <a:avLst/>
          </a:prstGeom>
        </p:spPr>
      </p:pic>
      <p:sp>
        <p:nvSpPr>
          <p:cNvPr id="23" name="TextBox 22">
            <a:extLst>
              <a:ext uri="{FF2B5EF4-FFF2-40B4-BE49-F238E27FC236}">
                <a16:creationId xmlns:a16="http://schemas.microsoft.com/office/drawing/2014/main" id="{8F56BAA4-63D6-E620-3318-DE27EAFA28EE}"/>
              </a:ext>
            </a:extLst>
          </p:cNvPr>
          <p:cNvSpPr txBox="1"/>
          <p:nvPr/>
        </p:nvSpPr>
        <p:spPr>
          <a:xfrm>
            <a:off x="2955009" y="6405921"/>
            <a:ext cx="5841279"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hlinkClick r:id="rId4"/>
              </a:rPr>
              <a:t>https://www.gavi.org/types-support/sustainability/eligibility</a:t>
            </a:r>
            <a:endParaRPr kumimoji="0" lang="en-US"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
        <p:nvSpPr>
          <p:cNvPr id="2" name="Footer Placeholder 1">
            <a:extLst>
              <a:ext uri="{FF2B5EF4-FFF2-40B4-BE49-F238E27FC236}">
                <a16:creationId xmlns:a16="http://schemas.microsoft.com/office/drawing/2014/main" id="{865FE8D8-AC72-7B73-84E6-FC38393B3757}"/>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tint val="75000"/>
                  </a:srgbClr>
                </a:solidFill>
                <a:effectLst/>
                <a:uLnTx/>
                <a:uFillTx/>
                <a:latin typeface="Arial" panose="020B0604020202020204" pitchFamily="34" charset="0"/>
                <a:ea typeface="+mn-ea"/>
                <a:cs typeface="Arial" panose="020B0604020202020204" pitchFamily="34" charset="0"/>
              </a:rPr>
              <a:t>GNN webinar on rabies 6 May 2024</a:t>
            </a:r>
            <a:endParaRPr kumimoji="0" lang="en-GB" sz="800" b="0" i="0" u="none" strike="noStrike" kern="1200" cap="none" spc="0" normalizeH="0" baseline="0" noProof="0">
              <a:ln>
                <a:noFill/>
              </a:ln>
              <a:solidFill>
                <a:srgbClr val="000000">
                  <a:tint val="75000"/>
                </a:srgbClr>
              </a:solidFill>
              <a:effectLst/>
              <a:uLnTx/>
              <a:uFillTx/>
              <a:latin typeface="Arial" panose="020B0604020202020204" pitchFamily="34" charset="0"/>
              <a:ea typeface="+mn-ea"/>
              <a:cs typeface="Arial" panose="020B0604020202020204" pitchFamily="34" charset="0"/>
            </a:endParaRPr>
          </a:p>
        </p:txBody>
      </p:sp>
      <p:sp>
        <p:nvSpPr>
          <p:cNvPr id="4" name="Slide Number Placeholder 3">
            <a:extLst>
              <a:ext uri="{FF2B5EF4-FFF2-40B4-BE49-F238E27FC236}">
                <a16:creationId xmlns:a16="http://schemas.microsoft.com/office/drawing/2014/main" id="{2ADC99BD-743D-E24D-0754-03A39949035B}"/>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B746B08-255A-2748-8A21-40BE94A17FD1}" type="slidenum">
              <a:rPr kumimoji="0" lang="en-GB" sz="800" b="0" i="0" u="none" strike="noStrike" kern="1200" cap="none" spc="0" normalizeH="0" baseline="0" noProof="0" smtClean="0">
                <a:ln>
                  <a:noFill/>
                </a:ln>
                <a:solidFill>
                  <a:srgbClr val="000000">
                    <a:lumMod val="50000"/>
                    <a:lumOff val="50000"/>
                  </a:srgbClr>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7</a:t>
            </a:fld>
            <a:endParaRPr kumimoji="0" lang="en-GB" sz="800" b="0" i="0" u="none" strike="noStrike" kern="1200" cap="none" spc="0" normalizeH="0" baseline="0" noProof="0">
              <a:ln>
                <a:noFill/>
              </a:ln>
              <a:solidFill>
                <a:srgbClr val="000000">
                  <a:lumMod val="50000"/>
                  <a:lumOff val="50000"/>
                </a:srgb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76278309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B6F71AE-24D5-F964-C3E5-2529011C2692}"/>
              </a:ext>
            </a:extLst>
          </p:cNvPr>
          <p:cNvSpPr>
            <a:spLocks noGrp="1"/>
          </p:cNvSpPr>
          <p:nvPr>
            <p:ph type="body" sz="quarter" idx="12"/>
          </p:nvPr>
        </p:nvSpPr>
        <p:spPr>
          <a:xfrm>
            <a:off x="6653214" y="2843359"/>
            <a:ext cx="5012580" cy="2476786"/>
          </a:xfrm>
        </p:spPr>
        <p:txBody>
          <a:bodyPr vert="horz" lIns="0" tIns="0" rIns="0" bIns="0" rtlCol="0">
            <a:normAutofit fontScale="77500" lnSpcReduction="20000"/>
          </a:bodyPr>
          <a:lstStyle/>
          <a:p>
            <a:pPr>
              <a:lnSpc>
                <a:spcPct val="120000"/>
              </a:lnSpc>
            </a:pPr>
            <a:r>
              <a:rPr lang="en-US" sz="5400" b="0">
                <a:latin typeface="Arial"/>
                <a:cs typeface="Arial"/>
              </a:rPr>
              <a:t>Application process overview &amp; key Gavi guidelines</a:t>
            </a:r>
          </a:p>
        </p:txBody>
      </p:sp>
      <p:sp>
        <p:nvSpPr>
          <p:cNvPr id="10" name="Text Placeholder 3">
            <a:extLst>
              <a:ext uri="{FF2B5EF4-FFF2-40B4-BE49-F238E27FC236}">
                <a16:creationId xmlns:a16="http://schemas.microsoft.com/office/drawing/2014/main" id="{0E35110E-E916-B6FF-28E4-ED07753D5561}"/>
              </a:ext>
            </a:extLst>
          </p:cNvPr>
          <p:cNvSpPr>
            <a:spLocks noGrp="1"/>
          </p:cNvSpPr>
          <p:nvPr>
            <p:ph type="body" sz="quarter" idx="14"/>
          </p:nvPr>
        </p:nvSpPr>
        <p:spPr>
          <a:xfrm>
            <a:off x="515938" y="1963923"/>
            <a:ext cx="5064591" cy="3104603"/>
          </a:xfrm>
        </p:spPr>
        <p:txBody>
          <a:bodyPr/>
          <a:lstStyle/>
          <a:p>
            <a:r>
              <a:rPr lang="en-US" dirty="0"/>
              <a:t>2</a:t>
            </a:r>
          </a:p>
        </p:txBody>
      </p:sp>
    </p:spTree>
    <p:extLst>
      <p:ext uri="{BB962C8B-B14F-4D97-AF65-F5344CB8AC3E}">
        <p14:creationId xmlns:p14="http://schemas.microsoft.com/office/powerpoint/2010/main" val="31236811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B5C0A8D2-A8C7-2B89-3F62-66B64252DB2E}"/>
              </a:ext>
            </a:extLst>
          </p:cNvPr>
          <p:cNvSpPr/>
          <p:nvPr/>
        </p:nvSpPr>
        <p:spPr>
          <a:xfrm>
            <a:off x="251353" y="5850035"/>
            <a:ext cx="11924599" cy="10079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aphicFrame>
        <p:nvGraphicFramePr>
          <p:cNvPr id="4" name="Object 3" hidden="1">
            <a:extLst>
              <a:ext uri="{FF2B5EF4-FFF2-40B4-BE49-F238E27FC236}">
                <a16:creationId xmlns:a16="http://schemas.microsoft.com/office/drawing/2014/main" id="{CA4E5419-5ECF-239E-352C-C6F27F800CB0}"/>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5" progId="TCLayout.ActiveDocument.1">
                  <p:embed/>
                </p:oleObj>
              </mc:Choice>
              <mc:Fallback>
                <p:oleObj name="think-cell Slide" r:id="rId4" imgW="306" imgH="305" progId="TCLayout.ActiveDocument.1">
                  <p:embed/>
                  <p:pic>
                    <p:nvPicPr>
                      <p:cNvPr id="4" name="Object 3" hidden="1">
                        <a:extLst>
                          <a:ext uri="{FF2B5EF4-FFF2-40B4-BE49-F238E27FC236}">
                            <a16:creationId xmlns:a16="http://schemas.microsoft.com/office/drawing/2014/main" id="{CA4E5419-5ECF-239E-352C-C6F27F800CB0}"/>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C602FAC7-C791-3D4E-7BAA-82E5755BF4D7}"/>
              </a:ext>
            </a:extLst>
          </p:cNvPr>
          <p:cNvSpPr>
            <a:spLocks noGrp="1"/>
          </p:cNvSpPr>
          <p:nvPr>
            <p:ph type="body" idx="13"/>
          </p:nvPr>
        </p:nvSpPr>
        <p:spPr>
          <a:xfrm>
            <a:off x="406053" y="1092975"/>
            <a:ext cx="4660468" cy="825424"/>
          </a:xfrm>
        </p:spPr>
        <p:txBody>
          <a:bodyPr>
            <a:noAutofit/>
          </a:bodyPr>
          <a:lstStyle/>
          <a:p>
            <a:r>
              <a:rPr lang="en-US" sz="1800"/>
              <a:t>Gavi.org </a:t>
            </a:r>
            <a:r>
              <a:rPr lang="en-US" sz="1800">
                <a:sym typeface="Wingdings" panose="05000000000000000000" pitchFamily="2" charset="2"/>
              </a:rPr>
              <a:t> Programmes &amp; Impact  How our support works  </a:t>
            </a:r>
            <a:r>
              <a:rPr lang="en-US" sz="1800">
                <a:sym typeface="Wingdings" panose="05000000000000000000" pitchFamily="2" charset="2"/>
                <a:hlinkClick r:id="rId6"/>
              </a:rPr>
              <a:t>Gavi Support Guidelines</a:t>
            </a:r>
            <a:endParaRPr lang="en-US" sz="1800">
              <a:sym typeface="Wingdings" panose="05000000000000000000" pitchFamily="2" charset="2"/>
            </a:endParaRPr>
          </a:p>
        </p:txBody>
      </p:sp>
      <p:pic>
        <p:nvPicPr>
          <p:cNvPr id="5" name="Picture 4">
            <a:extLst>
              <a:ext uri="{FF2B5EF4-FFF2-40B4-BE49-F238E27FC236}">
                <a16:creationId xmlns:a16="http://schemas.microsoft.com/office/drawing/2014/main" id="{5413C361-C5B4-7C83-07C1-7169F6C3F853}"/>
              </a:ext>
            </a:extLst>
          </p:cNvPr>
          <p:cNvPicPr>
            <a:picLocks noChangeAspect="1"/>
          </p:cNvPicPr>
          <p:nvPr/>
        </p:nvPicPr>
        <p:blipFill rotWithShape="1">
          <a:blip r:embed="rId7"/>
          <a:srcRect l="6729" t="19242" r="886" b="19938"/>
          <a:stretch/>
        </p:blipFill>
        <p:spPr>
          <a:xfrm>
            <a:off x="5226435" y="-84240"/>
            <a:ext cx="7133303" cy="2002639"/>
          </a:xfrm>
          <a:prstGeom prst="roundRect">
            <a:avLst/>
          </a:prstGeom>
        </p:spPr>
      </p:pic>
      <p:sp>
        <p:nvSpPr>
          <p:cNvPr id="6" name="Title 2">
            <a:extLst>
              <a:ext uri="{FF2B5EF4-FFF2-40B4-BE49-F238E27FC236}">
                <a16:creationId xmlns:a16="http://schemas.microsoft.com/office/drawing/2014/main" id="{038F2825-2900-5D55-B818-C8A71E33F421}"/>
              </a:ext>
            </a:extLst>
          </p:cNvPr>
          <p:cNvSpPr>
            <a:spLocks noGrp="1"/>
          </p:cNvSpPr>
          <p:nvPr>
            <p:ph type="title"/>
          </p:nvPr>
        </p:nvSpPr>
        <p:spPr>
          <a:xfrm>
            <a:off x="406056" y="324301"/>
            <a:ext cx="4660466" cy="592779"/>
          </a:xfrm>
        </p:spPr>
        <p:txBody>
          <a:bodyPr vert="horz"/>
          <a:lstStyle/>
          <a:p>
            <a:r>
              <a:rPr lang="en-US"/>
              <a:t>Gavi guidelines</a:t>
            </a:r>
          </a:p>
        </p:txBody>
      </p:sp>
      <p:pic>
        <p:nvPicPr>
          <p:cNvPr id="8" name="Picture 7">
            <a:extLst>
              <a:ext uri="{FF2B5EF4-FFF2-40B4-BE49-F238E27FC236}">
                <a16:creationId xmlns:a16="http://schemas.microsoft.com/office/drawing/2014/main" id="{85DB4796-B902-F9E3-7B94-48712EBB049F}"/>
              </a:ext>
            </a:extLst>
          </p:cNvPr>
          <p:cNvPicPr>
            <a:picLocks noChangeAspect="1"/>
          </p:cNvPicPr>
          <p:nvPr/>
        </p:nvPicPr>
        <p:blipFill>
          <a:blip r:embed="rId8"/>
          <a:stretch>
            <a:fillRect/>
          </a:stretch>
        </p:blipFill>
        <p:spPr>
          <a:xfrm>
            <a:off x="884920" y="3718820"/>
            <a:ext cx="1518305" cy="2154580"/>
          </a:xfrm>
          <a:prstGeom prst="rect">
            <a:avLst/>
          </a:prstGeom>
          <a:ln>
            <a:noFill/>
          </a:ln>
          <a:effectLst>
            <a:outerShdw blurRad="292100" dist="139700" dir="2700000" algn="tl" rotWithShape="0">
              <a:srgbClr val="333333">
                <a:alpha val="65000"/>
              </a:srgbClr>
            </a:outerShdw>
          </a:effectLst>
        </p:spPr>
      </p:pic>
      <p:pic>
        <p:nvPicPr>
          <p:cNvPr id="10" name="Picture 9">
            <a:extLst>
              <a:ext uri="{FF2B5EF4-FFF2-40B4-BE49-F238E27FC236}">
                <a16:creationId xmlns:a16="http://schemas.microsoft.com/office/drawing/2014/main" id="{C9947302-0070-E112-B1AD-2279AA5F8280}"/>
              </a:ext>
            </a:extLst>
          </p:cNvPr>
          <p:cNvPicPr>
            <a:picLocks noChangeAspect="1"/>
          </p:cNvPicPr>
          <p:nvPr/>
        </p:nvPicPr>
        <p:blipFill>
          <a:blip r:embed="rId9"/>
          <a:stretch>
            <a:fillRect/>
          </a:stretch>
        </p:blipFill>
        <p:spPr>
          <a:xfrm>
            <a:off x="9404462" y="3718820"/>
            <a:ext cx="1446697" cy="2027156"/>
          </a:xfrm>
          <a:prstGeom prst="rect">
            <a:avLst/>
          </a:prstGeom>
          <a:ln>
            <a:noFill/>
          </a:ln>
          <a:effectLst>
            <a:outerShdw blurRad="292100" dist="139700" dir="2700000" algn="tl" rotWithShape="0">
              <a:srgbClr val="333333">
                <a:alpha val="65000"/>
              </a:srgbClr>
            </a:outerShdw>
          </a:effectLst>
        </p:spPr>
      </p:pic>
      <p:pic>
        <p:nvPicPr>
          <p:cNvPr id="12" name="Picture 11">
            <a:extLst>
              <a:ext uri="{FF2B5EF4-FFF2-40B4-BE49-F238E27FC236}">
                <a16:creationId xmlns:a16="http://schemas.microsoft.com/office/drawing/2014/main" id="{CA208368-CA8C-7C4A-3526-A6E62F157328}"/>
              </a:ext>
            </a:extLst>
          </p:cNvPr>
          <p:cNvPicPr>
            <a:picLocks noChangeAspect="1"/>
          </p:cNvPicPr>
          <p:nvPr/>
        </p:nvPicPr>
        <p:blipFill>
          <a:blip r:embed="rId10"/>
          <a:stretch>
            <a:fillRect/>
          </a:stretch>
        </p:blipFill>
        <p:spPr>
          <a:xfrm>
            <a:off x="3394554" y="3718820"/>
            <a:ext cx="2009058" cy="1481876"/>
          </a:xfrm>
          <a:prstGeom prst="rect">
            <a:avLst/>
          </a:prstGeom>
          <a:ln>
            <a:noFill/>
          </a:ln>
          <a:effectLst>
            <a:outerShdw blurRad="292100" dist="139700" dir="2700000" algn="tl" rotWithShape="0">
              <a:srgbClr val="333333">
                <a:alpha val="65000"/>
              </a:srgbClr>
            </a:outerShdw>
          </a:effectLst>
        </p:spPr>
      </p:pic>
      <p:sp>
        <p:nvSpPr>
          <p:cNvPr id="11" name="TextBox 10">
            <a:extLst>
              <a:ext uri="{FF2B5EF4-FFF2-40B4-BE49-F238E27FC236}">
                <a16:creationId xmlns:a16="http://schemas.microsoft.com/office/drawing/2014/main" id="{17D8209B-3A80-CB32-2EDF-0CA0DA72C5EB}"/>
              </a:ext>
            </a:extLst>
          </p:cNvPr>
          <p:cNvSpPr txBox="1"/>
          <p:nvPr/>
        </p:nvSpPr>
        <p:spPr>
          <a:xfrm>
            <a:off x="519799" y="2891501"/>
            <a:ext cx="2248547" cy="678134"/>
          </a:xfrm>
          <a:prstGeom prst="rect">
            <a:avLst/>
          </a:prstGeom>
          <a:noFill/>
        </p:spPr>
        <p:txBody>
          <a:bodyPr wrap="square">
            <a:spAutoFit/>
          </a:bodyPr>
          <a:lstStyle/>
          <a:p>
            <a:pPr marL="0" marR="0" lvl="0" indent="0" algn="ctr" defTabSz="914377" rtl="0" eaLnBrk="1" fontAlgn="auto" latinLnBrk="0" hangingPunct="1">
              <a:lnSpc>
                <a:spcPct val="110000"/>
              </a:lnSpc>
              <a:spcBef>
                <a:spcPts val="0"/>
              </a:spcBef>
              <a:spcAft>
                <a:spcPts val="900"/>
              </a:spcAft>
              <a:buClr>
                <a:srgbClr val="00A1DF"/>
              </a:buClr>
              <a:buSzTx/>
              <a:buFontTx/>
              <a:buNone/>
              <a:tabLst/>
              <a:defRPr/>
            </a:pPr>
            <a:r>
              <a:rPr kumimoji="0" lang="en-US" sz="1800" b="0" i="0" u="none" strike="noStrike" kern="1200" cap="none" spc="0" normalizeH="0" baseline="0" noProof="0">
                <a:ln>
                  <a:noFill/>
                </a:ln>
                <a:solidFill>
                  <a:srgbClr val="005CB9">
                    <a:lumMod val="50000"/>
                  </a:srgbClr>
                </a:solidFill>
                <a:effectLst/>
                <a:uLnTx/>
                <a:uFillTx/>
                <a:latin typeface="Arial" panose="020B0604020202020204" pitchFamily="34" charset="0"/>
                <a:ea typeface="+mn-ea"/>
                <a:cs typeface="Arial" panose="020B0604020202020204" pitchFamily="34" charset="0"/>
                <a:sym typeface="Wingdings" panose="05000000000000000000" pitchFamily="2" charset="2"/>
                <a:hlinkClick r:id="rId11"/>
              </a:rPr>
              <a:t>Application Process Guidelines</a:t>
            </a:r>
            <a:endParaRPr kumimoji="0" lang="en-US" sz="1800" b="0" i="0" u="none" strike="noStrike" kern="1200" cap="none" spc="0" normalizeH="0" baseline="0" noProof="0">
              <a:ln>
                <a:noFill/>
              </a:ln>
              <a:solidFill>
                <a:srgbClr val="005CB9">
                  <a:lumMod val="50000"/>
                </a:srgbClr>
              </a:solidFill>
              <a:effectLst/>
              <a:uLnTx/>
              <a:uFillTx/>
              <a:latin typeface="Arial" panose="020B0604020202020204" pitchFamily="34" charset="0"/>
              <a:ea typeface="+mn-ea"/>
              <a:cs typeface="Arial" panose="020B0604020202020204" pitchFamily="34" charset="0"/>
              <a:sym typeface="Wingdings" panose="05000000000000000000" pitchFamily="2" charset="2"/>
            </a:endParaRPr>
          </a:p>
        </p:txBody>
      </p:sp>
      <p:sp>
        <p:nvSpPr>
          <p:cNvPr id="16" name="TextBox 15">
            <a:extLst>
              <a:ext uri="{FF2B5EF4-FFF2-40B4-BE49-F238E27FC236}">
                <a16:creationId xmlns:a16="http://schemas.microsoft.com/office/drawing/2014/main" id="{C90B1ADB-A50C-2AB8-B8BD-D6396A664993}"/>
              </a:ext>
            </a:extLst>
          </p:cNvPr>
          <p:cNvSpPr txBox="1"/>
          <p:nvPr/>
        </p:nvSpPr>
        <p:spPr>
          <a:xfrm>
            <a:off x="2816055" y="2950479"/>
            <a:ext cx="3090193" cy="678134"/>
          </a:xfrm>
          <a:prstGeom prst="rect">
            <a:avLst/>
          </a:prstGeom>
          <a:noFill/>
        </p:spPr>
        <p:txBody>
          <a:bodyPr wrap="square">
            <a:spAutoFit/>
          </a:bodyPr>
          <a:lstStyle/>
          <a:p>
            <a:pPr marL="0" marR="0" lvl="0" indent="0" algn="ctr" defTabSz="914377" rtl="0" eaLnBrk="1" fontAlgn="auto" latinLnBrk="0" hangingPunct="1">
              <a:lnSpc>
                <a:spcPct val="110000"/>
              </a:lnSpc>
              <a:spcBef>
                <a:spcPts val="0"/>
              </a:spcBef>
              <a:spcAft>
                <a:spcPts val="900"/>
              </a:spcAft>
              <a:buClr>
                <a:srgbClr val="00A1DF"/>
              </a:buClr>
              <a:buSzTx/>
              <a:buFontTx/>
              <a:buNone/>
              <a:tabLst/>
              <a:defRPr/>
            </a:pPr>
            <a:r>
              <a:rPr kumimoji="0" lang="en-US" sz="1800" b="0" i="0" u="none" strike="noStrike" kern="1200" cap="none" spc="0" normalizeH="0" baseline="0" noProof="0">
                <a:ln>
                  <a:noFill/>
                </a:ln>
                <a:solidFill>
                  <a:srgbClr val="005CB9">
                    <a:lumMod val="50000"/>
                  </a:srgbClr>
                </a:solidFill>
                <a:effectLst/>
                <a:uLnTx/>
                <a:uFillTx/>
                <a:latin typeface="Arial" panose="020B0604020202020204" pitchFamily="34" charset="0"/>
                <a:ea typeface="+mn-ea"/>
                <a:cs typeface="Arial" panose="020B0604020202020204" pitchFamily="34" charset="0"/>
                <a:sym typeface="Wingdings" panose="05000000000000000000" pitchFamily="2" charset="2"/>
                <a:hlinkClick r:id="rId12"/>
              </a:rPr>
              <a:t>Programme Funding Guidelines</a:t>
            </a:r>
            <a:endParaRPr kumimoji="0" lang="en-US" sz="1800" b="0" i="0" u="none" strike="noStrike" kern="1200" cap="none" spc="0" normalizeH="0" baseline="0" noProof="0">
              <a:ln>
                <a:noFill/>
              </a:ln>
              <a:solidFill>
                <a:srgbClr val="005CB9">
                  <a:lumMod val="50000"/>
                </a:srgbClr>
              </a:solidFill>
              <a:effectLst/>
              <a:uLnTx/>
              <a:uFillTx/>
              <a:latin typeface="Arial" panose="020B0604020202020204" pitchFamily="34" charset="0"/>
              <a:ea typeface="+mn-ea"/>
              <a:cs typeface="Arial" panose="020B0604020202020204" pitchFamily="34" charset="0"/>
            </a:endParaRPr>
          </a:p>
        </p:txBody>
      </p:sp>
      <p:sp>
        <p:nvSpPr>
          <p:cNvPr id="18" name="TextBox 17">
            <a:extLst>
              <a:ext uri="{FF2B5EF4-FFF2-40B4-BE49-F238E27FC236}">
                <a16:creationId xmlns:a16="http://schemas.microsoft.com/office/drawing/2014/main" id="{91DCCB63-C738-D521-1C7C-12EA84AEC1D9}"/>
              </a:ext>
            </a:extLst>
          </p:cNvPr>
          <p:cNvSpPr txBox="1"/>
          <p:nvPr/>
        </p:nvSpPr>
        <p:spPr>
          <a:xfrm>
            <a:off x="5953957" y="2950479"/>
            <a:ext cx="2900158" cy="678134"/>
          </a:xfrm>
          <a:prstGeom prst="rect">
            <a:avLst/>
          </a:prstGeom>
          <a:noFill/>
        </p:spPr>
        <p:txBody>
          <a:bodyPr wrap="square">
            <a:spAutoFit/>
          </a:bodyPr>
          <a:lstStyle/>
          <a:p>
            <a:pPr marL="0" marR="0" lvl="0" indent="0" algn="ctr" defTabSz="914377" rtl="0" eaLnBrk="1" fontAlgn="auto" latinLnBrk="0" hangingPunct="1">
              <a:lnSpc>
                <a:spcPct val="110000"/>
              </a:lnSpc>
              <a:spcBef>
                <a:spcPts val="0"/>
              </a:spcBef>
              <a:spcAft>
                <a:spcPts val="900"/>
              </a:spcAft>
              <a:buClr>
                <a:srgbClr val="00A1DF"/>
              </a:buClr>
              <a:buSzTx/>
              <a:buFontTx/>
              <a:buNone/>
              <a:tabLst/>
              <a:defRPr/>
            </a:pPr>
            <a:r>
              <a:rPr kumimoji="0" lang="en-US" sz="1800" b="0" i="0" u="none" strike="noStrike" kern="1200" cap="none" spc="0" normalizeH="0" baseline="0" noProof="0">
                <a:ln>
                  <a:noFill/>
                </a:ln>
                <a:solidFill>
                  <a:srgbClr val="005CB9">
                    <a:lumMod val="50000"/>
                  </a:srgbClr>
                </a:solidFill>
                <a:effectLst/>
                <a:uLnTx/>
                <a:uFillTx/>
                <a:latin typeface="Arial" panose="020B0604020202020204" pitchFamily="34" charset="0"/>
                <a:ea typeface="+mn-ea"/>
                <a:cs typeface="Arial" panose="020B0604020202020204" pitchFamily="34" charset="0"/>
                <a:sym typeface="Wingdings" panose="05000000000000000000" pitchFamily="2" charset="2"/>
                <a:hlinkClick r:id="rId13"/>
              </a:rPr>
              <a:t>Vaccine Funding Guidelines</a:t>
            </a:r>
            <a:endParaRPr kumimoji="0" lang="en-US" sz="1800" b="0" i="0" u="none" strike="noStrike" kern="1200" cap="none" spc="0" normalizeH="0" baseline="0" noProof="0">
              <a:ln>
                <a:noFill/>
              </a:ln>
              <a:solidFill>
                <a:srgbClr val="005CB9">
                  <a:lumMod val="50000"/>
                </a:srgbClr>
              </a:solidFill>
              <a:effectLst/>
              <a:uLnTx/>
              <a:uFillTx/>
              <a:latin typeface="Arial" panose="020B0604020202020204" pitchFamily="34" charset="0"/>
              <a:ea typeface="+mn-ea"/>
              <a:cs typeface="Arial" panose="020B0604020202020204" pitchFamily="34" charset="0"/>
              <a:sym typeface="Wingdings" panose="05000000000000000000" pitchFamily="2" charset="2"/>
              <a:hlinkClick r:id="rId14"/>
            </a:endParaRPr>
          </a:p>
        </p:txBody>
      </p:sp>
      <p:sp>
        <p:nvSpPr>
          <p:cNvPr id="20" name="TextBox 19">
            <a:extLst>
              <a:ext uri="{FF2B5EF4-FFF2-40B4-BE49-F238E27FC236}">
                <a16:creationId xmlns:a16="http://schemas.microsoft.com/office/drawing/2014/main" id="{D579FD06-CBFE-CAB4-890A-E0B322CBE7B7}"/>
              </a:ext>
            </a:extLst>
          </p:cNvPr>
          <p:cNvSpPr txBox="1"/>
          <p:nvPr/>
        </p:nvSpPr>
        <p:spPr>
          <a:xfrm>
            <a:off x="8901823" y="2950478"/>
            <a:ext cx="2451977" cy="678134"/>
          </a:xfrm>
          <a:prstGeom prst="rect">
            <a:avLst/>
          </a:prstGeom>
          <a:noFill/>
        </p:spPr>
        <p:txBody>
          <a:bodyPr wrap="square">
            <a:spAutoFit/>
          </a:bodyPr>
          <a:lstStyle/>
          <a:p>
            <a:pPr marL="0" marR="0" lvl="0" indent="0" algn="ctr" defTabSz="914377" rtl="0" eaLnBrk="1" fontAlgn="auto" latinLnBrk="0" hangingPunct="1">
              <a:lnSpc>
                <a:spcPct val="110000"/>
              </a:lnSpc>
              <a:spcBef>
                <a:spcPts val="0"/>
              </a:spcBef>
              <a:spcAft>
                <a:spcPts val="900"/>
              </a:spcAft>
              <a:buClr>
                <a:srgbClr val="00A1DF"/>
              </a:buClr>
              <a:buSzTx/>
              <a:buFontTx/>
              <a:buNone/>
              <a:tabLst/>
              <a:defRPr/>
            </a:pPr>
            <a:r>
              <a:rPr kumimoji="0" lang="en-US" sz="1800" b="0" i="0" u="none" strike="noStrike" kern="1200" cap="none" spc="0" normalizeH="0" baseline="0" noProof="0">
                <a:ln>
                  <a:noFill/>
                </a:ln>
                <a:solidFill>
                  <a:srgbClr val="005CB9">
                    <a:lumMod val="50000"/>
                  </a:srgbClr>
                </a:solidFill>
                <a:effectLst/>
                <a:uLnTx/>
                <a:uFillTx/>
                <a:latin typeface="Arial" panose="020B0604020202020204" pitchFamily="34" charset="0"/>
                <a:ea typeface="+mn-ea"/>
                <a:cs typeface="Arial" panose="020B0604020202020204" pitchFamily="34" charset="0"/>
                <a:sym typeface="Wingdings" panose="05000000000000000000" pitchFamily="2" charset="2"/>
                <a:hlinkClick r:id="rId14"/>
              </a:rPr>
              <a:t>Budget Eligibility Guide</a:t>
            </a:r>
            <a:endParaRPr kumimoji="0" lang="en-US" sz="1800" b="0" i="0" u="none" strike="noStrike" kern="1200" cap="none" spc="0" normalizeH="0" baseline="0" noProof="0">
              <a:ln>
                <a:noFill/>
              </a:ln>
              <a:solidFill>
                <a:srgbClr val="005CB9">
                  <a:lumMod val="50000"/>
                </a:srgbClr>
              </a:solidFill>
              <a:effectLst/>
              <a:uLnTx/>
              <a:uFillTx/>
              <a:latin typeface="Arial" panose="020B0604020202020204" pitchFamily="34" charset="0"/>
              <a:ea typeface="+mn-ea"/>
              <a:cs typeface="Arial" panose="020B0604020202020204" pitchFamily="34" charset="0"/>
              <a:sym typeface="Wingdings" panose="05000000000000000000" pitchFamily="2" charset="2"/>
            </a:endParaRPr>
          </a:p>
        </p:txBody>
      </p:sp>
      <p:pic>
        <p:nvPicPr>
          <p:cNvPr id="21" name="Picture 20">
            <a:extLst>
              <a:ext uri="{FF2B5EF4-FFF2-40B4-BE49-F238E27FC236}">
                <a16:creationId xmlns:a16="http://schemas.microsoft.com/office/drawing/2014/main" id="{27B699B8-AEAE-B37B-2BE6-100F8852E9AF}"/>
              </a:ext>
            </a:extLst>
          </p:cNvPr>
          <p:cNvPicPr>
            <a:picLocks noChangeAspect="1"/>
          </p:cNvPicPr>
          <p:nvPr/>
        </p:nvPicPr>
        <p:blipFill rotWithShape="1">
          <a:blip r:embed="rId15"/>
          <a:srcRect l="1693" t="620"/>
          <a:stretch/>
        </p:blipFill>
        <p:spPr>
          <a:xfrm>
            <a:off x="6625951" y="3718820"/>
            <a:ext cx="1556171" cy="2027156"/>
          </a:xfrm>
          <a:prstGeom prst="rect">
            <a:avLst/>
          </a:prstGeom>
          <a:ln>
            <a:noFill/>
          </a:ln>
          <a:effectLst>
            <a:outerShdw blurRad="190500" algn="tl" rotWithShape="0">
              <a:srgbClr val="000000">
                <a:alpha val="70000"/>
              </a:srgbClr>
            </a:outerShdw>
          </a:effectLst>
        </p:spPr>
      </p:pic>
      <p:sp>
        <p:nvSpPr>
          <p:cNvPr id="25" name="TextBox 24">
            <a:extLst>
              <a:ext uri="{FF2B5EF4-FFF2-40B4-BE49-F238E27FC236}">
                <a16:creationId xmlns:a16="http://schemas.microsoft.com/office/drawing/2014/main" id="{0E5BBF2A-AF0C-7314-45B6-8B2537248727}"/>
              </a:ext>
            </a:extLst>
          </p:cNvPr>
          <p:cNvSpPr txBox="1"/>
          <p:nvPr/>
        </p:nvSpPr>
        <p:spPr>
          <a:xfrm>
            <a:off x="662444" y="6020161"/>
            <a:ext cx="1963255" cy="738664"/>
          </a:xfrm>
          <a:prstGeom prst="rect">
            <a:avLst/>
          </a:prstGeom>
          <a:noFill/>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srgbClr val="00A1DF"/>
                </a:solidFill>
                <a:effectLst/>
                <a:uLnTx/>
                <a:uFillTx/>
                <a:latin typeface="Arial" panose="020B0604020202020204" pitchFamily="34" charset="0"/>
                <a:ea typeface="+mn-ea"/>
                <a:cs typeface="Arial" panose="020B0604020202020204" pitchFamily="34" charset="0"/>
                <a:hlinkClick r:id="rId16">
                  <a:extLst>
                    <a:ext uri="{A12FA001-AC4F-418D-AE19-62706E023703}">
                      <ahyp:hlinkClr xmlns:ahyp="http://schemas.microsoft.com/office/drawing/2018/hyperlinkcolor" val="tx"/>
                    </a:ext>
                  </a:extLst>
                </a:hlinkClick>
              </a:rPr>
              <a:t>Directives pour le processus de demande de Gavi</a:t>
            </a:r>
            <a:endParaRPr kumimoji="0" lang="en-US" sz="1400" b="0" i="0" u="none" strike="noStrike" kern="1200" cap="none" spc="0" normalizeH="0" baseline="0" noProof="0">
              <a:ln>
                <a:noFill/>
              </a:ln>
              <a:solidFill>
                <a:srgbClr val="00A1DF"/>
              </a:solidFill>
              <a:effectLst/>
              <a:uLnTx/>
              <a:uFillTx/>
              <a:latin typeface="Arial" panose="020B0604020202020204" pitchFamily="34" charset="0"/>
              <a:ea typeface="+mn-ea"/>
              <a:cs typeface="Arial" panose="020B0604020202020204" pitchFamily="34" charset="0"/>
            </a:endParaRPr>
          </a:p>
        </p:txBody>
      </p:sp>
      <p:sp>
        <p:nvSpPr>
          <p:cNvPr id="27" name="TextBox 26">
            <a:extLst>
              <a:ext uri="{FF2B5EF4-FFF2-40B4-BE49-F238E27FC236}">
                <a16:creationId xmlns:a16="http://schemas.microsoft.com/office/drawing/2014/main" id="{195AB111-F2F2-5AD0-7F8F-026ED2853FF4}"/>
              </a:ext>
            </a:extLst>
          </p:cNvPr>
          <p:cNvSpPr txBox="1"/>
          <p:nvPr/>
        </p:nvSpPr>
        <p:spPr>
          <a:xfrm>
            <a:off x="9145564" y="6092407"/>
            <a:ext cx="1964495" cy="523220"/>
          </a:xfrm>
          <a:prstGeom prst="rect">
            <a:avLst/>
          </a:prstGeom>
          <a:noFill/>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srgbClr val="00A1DF"/>
                </a:solidFill>
                <a:effectLst/>
                <a:uLnTx/>
                <a:uFillTx/>
                <a:latin typeface="Arial" panose="020B0604020202020204" pitchFamily="34" charset="0"/>
                <a:ea typeface="+mn-ea"/>
                <a:cs typeface="Arial" panose="020B0604020202020204" pitchFamily="34" charset="0"/>
                <a:hlinkClick r:id="rId17">
                  <a:extLst>
                    <a:ext uri="{A12FA001-AC4F-418D-AE19-62706E023703}">
                      <ahyp:hlinkClr xmlns:ahyp="http://schemas.microsoft.com/office/drawing/2018/hyperlinkcolor" val="tx"/>
                    </a:ext>
                  </a:extLst>
                </a:hlinkClick>
              </a:rPr>
              <a:t>Guide d'éligibilité budgétaire de Gavi</a:t>
            </a:r>
            <a:endParaRPr kumimoji="0" lang="en-US" sz="1400" b="0" i="0" u="none" strike="noStrike" kern="1200" cap="none" spc="0" normalizeH="0" baseline="0" noProof="0">
              <a:ln>
                <a:noFill/>
              </a:ln>
              <a:solidFill>
                <a:srgbClr val="00A1DF"/>
              </a:solidFill>
              <a:effectLst/>
              <a:uLnTx/>
              <a:uFillTx/>
              <a:latin typeface="Arial" panose="020B0604020202020204" pitchFamily="34" charset="0"/>
              <a:ea typeface="+mn-ea"/>
              <a:cs typeface="Arial" panose="020B0604020202020204" pitchFamily="34" charset="0"/>
            </a:endParaRPr>
          </a:p>
        </p:txBody>
      </p:sp>
      <p:sp>
        <p:nvSpPr>
          <p:cNvPr id="29" name="TextBox 28">
            <a:extLst>
              <a:ext uri="{FF2B5EF4-FFF2-40B4-BE49-F238E27FC236}">
                <a16:creationId xmlns:a16="http://schemas.microsoft.com/office/drawing/2014/main" id="{EE4CCA5E-90EB-874B-722E-D28F99945A68}"/>
              </a:ext>
            </a:extLst>
          </p:cNvPr>
          <p:cNvSpPr txBox="1"/>
          <p:nvPr/>
        </p:nvSpPr>
        <p:spPr>
          <a:xfrm>
            <a:off x="3275043" y="6053579"/>
            <a:ext cx="2172215" cy="738664"/>
          </a:xfrm>
          <a:prstGeom prst="rect">
            <a:avLst/>
          </a:prstGeom>
          <a:noFill/>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srgbClr val="0070BA"/>
                </a:solidFill>
                <a:effectLst/>
                <a:uLnTx/>
                <a:uFillTx/>
                <a:latin typeface="Arial" panose="020B0604020202020204" pitchFamily="34" charset="0"/>
                <a:ea typeface="+mn-ea"/>
                <a:cs typeface="Arial" panose="020B0604020202020204" pitchFamily="34" charset="0"/>
                <a:hlinkClick r:id="rId18"/>
              </a:rPr>
              <a:t>Directives de financement du programme Gavi</a:t>
            </a: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1" name="TextBox 30">
            <a:extLst>
              <a:ext uri="{FF2B5EF4-FFF2-40B4-BE49-F238E27FC236}">
                <a16:creationId xmlns:a16="http://schemas.microsoft.com/office/drawing/2014/main" id="{61396764-5B13-A695-B37F-6F6D887331E0}"/>
              </a:ext>
            </a:extLst>
          </p:cNvPr>
          <p:cNvSpPr txBox="1"/>
          <p:nvPr/>
        </p:nvSpPr>
        <p:spPr>
          <a:xfrm>
            <a:off x="6316805" y="5944361"/>
            <a:ext cx="2174463" cy="738664"/>
          </a:xfrm>
          <a:prstGeom prst="rect">
            <a:avLst/>
          </a:prstGeom>
          <a:noFill/>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a:ln>
                  <a:noFill/>
                </a:ln>
                <a:solidFill>
                  <a:srgbClr val="0070BA"/>
                </a:solidFill>
                <a:effectLst/>
                <a:uLnTx/>
                <a:uFillTx/>
                <a:latin typeface="Arial" panose="020B0604020202020204" pitchFamily="34" charset="0"/>
                <a:ea typeface="+mn-ea"/>
                <a:cs typeface="Arial" panose="020B0604020202020204" pitchFamily="34" charset="0"/>
                <a:hlinkClick r:id="rId19"/>
              </a:rPr>
              <a:t>Directives de Gavi pour le financement du soutien aux vaccins</a:t>
            </a:r>
            <a:endParaRPr kumimoji="0" lang="en-US" sz="1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 name="Footer Placeholder 1">
            <a:extLst>
              <a:ext uri="{FF2B5EF4-FFF2-40B4-BE49-F238E27FC236}">
                <a16:creationId xmlns:a16="http://schemas.microsoft.com/office/drawing/2014/main" id="{67576F0A-EA5A-9781-55AD-267E9B231446}"/>
              </a:ext>
            </a:extLst>
          </p:cNvPr>
          <p:cNvSpPr>
            <a:spLocks noGrp="1"/>
          </p:cNvSpPr>
          <p:nvPr>
            <p:ph type="ftr" sz="quarter" idx="11"/>
          </p:nvPr>
        </p:nvSpPr>
        <p:spPr>
          <a:xfrm>
            <a:off x="721454" y="6709327"/>
            <a:ext cx="4114800" cy="13652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tint val="75000"/>
                  </a:srgbClr>
                </a:solidFill>
                <a:effectLst/>
                <a:uLnTx/>
                <a:uFillTx/>
                <a:latin typeface="Arial" panose="020B0604020202020204" pitchFamily="34" charset="0"/>
                <a:ea typeface="+mn-ea"/>
                <a:cs typeface="Arial" panose="020B0604020202020204" pitchFamily="34" charset="0"/>
              </a:rPr>
              <a:t>GNN webinar on rabies 6 May 2024</a:t>
            </a:r>
            <a:endParaRPr kumimoji="0" lang="en-GB" sz="800" b="0" i="0" u="none" strike="noStrike" kern="1200" cap="none" spc="0" normalizeH="0" baseline="0" noProof="0" dirty="0">
              <a:ln>
                <a:noFill/>
              </a:ln>
              <a:solidFill>
                <a:srgbClr val="000000">
                  <a:tint val="75000"/>
                </a:srgbClr>
              </a:solidFill>
              <a:effectLst/>
              <a:uLnTx/>
              <a:uFillTx/>
              <a:latin typeface="Arial" panose="020B0604020202020204" pitchFamily="34" charset="0"/>
              <a:ea typeface="+mn-ea"/>
              <a:cs typeface="Arial" panose="020B0604020202020204" pitchFamily="34" charset="0"/>
            </a:endParaRPr>
          </a:p>
        </p:txBody>
      </p:sp>
      <p:sp>
        <p:nvSpPr>
          <p:cNvPr id="7" name="Slide Number Placeholder 6">
            <a:extLst>
              <a:ext uri="{FF2B5EF4-FFF2-40B4-BE49-F238E27FC236}">
                <a16:creationId xmlns:a16="http://schemas.microsoft.com/office/drawing/2014/main" id="{20B2F47E-B051-9DF7-1B60-69C805C25434}"/>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B746B08-255A-2748-8A21-40BE94A17FD1}" type="slidenum">
              <a:rPr kumimoji="0" lang="en-GB" sz="800" b="0" i="0" u="none" strike="noStrike" kern="1200" cap="none" spc="0" normalizeH="0" baseline="0" noProof="0" smtClean="0">
                <a:ln>
                  <a:noFill/>
                </a:ln>
                <a:solidFill>
                  <a:srgbClr val="000000">
                    <a:lumMod val="50000"/>
                    <a:lumOff val="50000"/>
                  </a:srgbClr>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9</a:t>
            </a:fld>
            <a:endParaRPr kumimoji="0" lang="en-GB" sz="800" b="0" i="0" u="none" strike="noStrike" kern="1200" cap="none" spc="0" normalizeH="0" baseline="0" noProof="0">
              <a:ln>
                <a:noFill/>
              </a:ln>
              <a:solidFill>
                <a:srgbClr val="000000">
                  <a:lumMod val="50000"/>
                  <a:lumOff val="50000"/>
                </a:srgb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417178749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9">
            <a:extLst>
              <a:ext uri="{FF2B5EF4-FFF2-40B4-BE49-F238E27FC236}">
                <a16:creationId xmlns:a16="http://schemas.microsoft.com/office/drawing/2014/main" id="{434D7A0A-CF27-4F38-A080-69686CDE573B}"/>
              </a:ext>
            </a:extLst>
          </p:cNvPr>
          <p:cNvSpPr txBox="1">
            <a:spLocks/>
          </p:cNvSpPr>
          <p:nvPr/>
        </p:nvSpPr>
        <p:spPr>
          <a:xfrm>
            <a:off x="628650" y="365126"/>
            <a:ext cx="11150974" cy="132556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en-GB"/>
          </a:p>
        </p:txBody>
      </p:sp>
      <p:sp>
        <p:nvSpPr>
          <p:cNvPr id="13" name="Google Shape;166;p9">
            <a:extLst>
              <a:ext uri="{FF2B5EF4-FFF2-40B4-BE49-F238E27FC236}">
                <a16:creationId xmlns:a16="http://schemas.microsoft.com/office/drawing/2014/main" id="{23FBDEBF-F38F-4873-904A-64222B8F816F}"/>
              </a:ext>
            </a:extLst>
          </p:cNvPr>
          <p:cNvSpPr/>
          <p:nvPr/>
        </p:nvSpPr>
        <p:spPr>
          <a:xfrm>
            <a:off x="108137" y="239315"/>
            <a:ext cx="12192000" cy="1181100"/>
          </a:xfrm>
          <a:prstGeom prst="rect">
            <a:avLst/>
          </a:prstGeom>
        </p:spPr>
        <p:txBody>
          <a:bodyPr vert="horz" lIns="91440" tIns="45720" rIns="91440" bIns="45720" rtlCol="0" anchor="ctr">
            <a:noAutofit/>
          </a:bodyPr>
          <a:lstStyle/>
          <a:p>
            <a:pPr>
              <a:lnSpc>
                <a:spcPct val="90000"/>
              </a:lnSpc>
              <a:spcBef>
                <a:spcPct val="0"/>
              </a:spcBef>
            </a:pPr>
            <a:r>
              <a:rPr lang="en-US" sz="4000" dirty="0">
                <a:latin typeface="+mj-lt"/>
                <a:ea typeface="+mj-ea"/>
                <a:cs typeface="+mj-cs"/>
                <a:sym typeface="Arial"/>
              </a:rPr>
              <a:t>“Zero by 30” </a:t>
            </a:r>
            <a:r>
              <a:rPr lang="en-US" sz="4000" dirty="0">
                <a:latin typeface="+mj-lt"/>
                <a:ea typeface="+mj-ea"/>
                <a:cs typeface="+mj-cs"/>
              </a:rPr>
              <a:t>is a coordinated strategy to act using </a:t>
            </a:r>
            <a:r>
              <a:rPr lang="en-US" sz="4000" dirty="0">
                <a:latin typeface="+mj-lt"/>
                <a:ea typeface="+mj-ea"/>
                <a:cs typeface="+mj-cs"/>
                <a:sym typeface="Arial"/>
              </a:rPr>
              <a:t>a three-pronged approach </a:t>
            </a:r>
            <a:endParaRPr sz="4000" dirty="0">
              <a:latin typeface="+mj-lt"/>
              <a:ea typeface="+mj-ea"/>
              <a:cs typeface="+mj-cs"/>
            </a:endParaRPr>
          </a:p>
        </p:txBody>
      </p:sp>
      <p:pic>
        <p:nvPicPr>
          <p:cNvPr id="12" name="Picture 11">
            <a:extLst>
              <a:ext uri="{FF2B5EF4-FFF2-40B4-BE49-F238E27FC236}">
                <a16:creationId xmlns:a16="http://schemas.microsoft.com/office/drawing/2014/main" id="{4F4B2117-48A4-A98E-FD15-2CFBD1700E3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2689" y="6288609"/>
            <a:ext cx="1588170" cy="500605"/>
          </a:xfrm>
          <a:prstGeom prst="rect">
            <a:avLst/>
          </a:prstGeom>
        </p:spPr>
      </p:pic>
      <p:grpSp>
        <p:nvGrpSpPr>
          <p:cNvPr id="14" name="Group 13">
            <a:extLst>
              <a:ext uri="{FF2B5EF4-FFF2-40B4-BE49-F238E27FC236}">
                <a16:creationId xmlns:a16="http://schemas.microsoft.com/office/drawing/2014/main" id="{EDD44CE3-1FB2-02BB-8139-593A96814C8F}"/>
              </a:ext>
            </a:extLst>
          </p:cNvPr>
          <p:cNvGrpSpPr/>
          <p:nvPr/>
        </p:nvGrpSpPr>
        <p:grpSpPr>
          <a:xfrm>
            <a:off x="375031" y="2236106"/>
            <a:ext cx="3503944" cy="3236812"/>
            <a:chOff x="7651321" y="2236106"/>
            <a:chExt cx="2462107" cy="2274402"/>
          </a:xfrm>
        </p:grpSpPr>
        <p:pic>
          <p:nvPicPr>
            <p:cNvPr id="15" name="Picture 14">
              <a:extLst>
                <a:ext uri="{FF2B5EF4-FFF2-40B4-BE49-F238E27FC236}">
                  <a16:creationId xmlns:a16="http://schemas.microsoft.com/office/drawing/2014/main" id="{669829EB-C89E-C935-C2F8-952F75053088}"/>
                </a:ext>
              </a:extLst>
            </p:cNvPr>
            <p:cNvPicPr>
              <a:picLocks noChangeAspect="1"/>
            </p:cNvPicPr>
            <p:nvPr/>
          </p:nvPicPr>
          <p:blipFill>
            <a:blip r:embed="rId4"/>
            <a:stretch>
              <a:fillRect/>
            </a:stretch>
          </p:blipFill>
          <p:spPr>
            <a:xfrm>
              <a:off x="7651321" y="2884125"/>
              <a:ext cx="2462107" cy="1626383"/>
            </a:xfrm>
            <a:prstGeom prst="rect">
              <a:avLst/>
            </a:prstGeom>
          </p:spPr>
        </p:pic>
        <p:sp>
          <p:nvSpPr>
            <p:cNvPr id="21" name="Rectangle 20">
              <a:extLst>
                <a:ext uri="{FF2B5EF4-FFF2-40B4-BE49-F238E27FC236}">
                  <a16:creationId xmlns:a16="http://schemas.microsoft.com/office/drawing/2014/main" id="{C5157335-5635-82BC-96FE-D1CBFA3420EE}"/>
                </a:ext>
              </a:extLst>
            </p:cNvPr>
            <p:cNvSpPr/>
            <p:nvPr/>
          </p:nvSpPr>
          <p:spPr>
            <a:xfrm>
              <a:off x="7951810" y="2236106"/>
              <a:ext cx="1861130" cy="281144"/>
            </a:xfrm>
            <a:prstGeom prst="rect">
              <a:avLst/>
            </a:prstGeom>
          </p:spPr>
          <p:txBody>
            <a:bodyPr wrap="square">
              <a:spAutoFit/>
            </a:bodyPr>
            <a:lstStyle/>
            <a:p>
              <a:pPr algn="ctr" defTabSz="844083">
                <a:spcBef>
                  <a:spcPct val="20000"/>
                </a:spcBef>
                <a:buClr>
                  <a:srgbClr val="629DD1"/>
                </a:buClr>
                <a:buSzPct val="85000"/>
                <a:defRPr/>
              </a:pPr>
              <a:r>
                <a:rPr lang="en-AU" sz="2000" b="1">
                  <a:solidFill>
                    <a:prstClr val="black"/>
                  </a:solidFill>
                  <a:latin typeface="Calibri Light" panose="020F0302020204030204" pitchFamily="34" charset="0"/>
                  <a:cs typeface="Calibri Light" panose="020F0302020204030204" pitchFamily="34" charset="0"/>
                </a:rPr>
                <a:t>Timely care </a:t>
              </a:r>
            </a:p>
          </p:txBody>
        </p:sp>
      </p:grpSp>
      <p:grpSp>
        <p:nvGrpSpPr>
          <p:cNvPr id="23" name="Group 22">
            <a:extLst>
              <a:ext uri="{FF2B5EF4-FFF2-40B4-BE49-F238E27FC236}">
                <a16:creationId xmlns:a16="http://schemas.microsoft.com/office/drawing/2014/main" id="{59E6113D-27A4-AF86-4C0D-3350A1AF0D8F}"/>
              </a:ext>
            </a:extLst>
          </p:cNvPr>
          <p:cNvGrpSpPr/>
          <p:nvPr/>
        </p:nvGrpSpPr>
        <p:grpSpPr>
          <a:xfrm>
            <a:off x="8424212" y="2236106"/>
            <a:ext cx="3503944" cy="3214372"/>
            <a:chOff x="2388619" y="2258546"/>
            <a:chExt cx="2462107" cy="2258634"/>
          </a:xfrm>
        </p:grpSpPr>
        <p:pic>
          <p:nvPicPr>
            <p:cNvPr id="24" name="Picture 23">
              <a:extLst>
                <a:ext uri="{FF2B5EF4-FFF2-40B4-BE49-F238E27FC236}">
                  <a16:creationId xmlns:a16="http://schemas.microsoft.com/office/drawing/2014/main" id="{A3B38866-5592-6490-43F3-AF2937601755}"/>
                </a:ext>
              </a:extLst>
            </p:cNvPr>
            <p:cNvPicPr>
              <a:picLocks noChangeAspect="1"/>
            </p:cNvPicPr>
            <p:nvPr/>
          </p:nvPicPr>
          <p:blipFill rotWithShape="1">
            <a:blip r:embed="rId5"/>
            <a:srcRect l="25916" t="18341" r="34254" b="34886"/>
            <a:stretch/>
          </p:blipFill>
          <p:spPr>
            <a:xfrm>
              <a:off x="2388619" y="2890797"/>
              <a:ext cx="2462107" cy="1626383"/>
            </a:xfrm>
            <a:prstGeom prst="rect">
              <a:avLst/>
            </a:prstGeom>
          </p:spPr>
        </p:pic>
        <p:sp>
          <p:nvSpPr>
            <p:cNvPr id="25" name="Rectangle 24">
              <a:extLst>
                <a:ext uri="{FF2B5EF4-FFF2-40B4-BE49-F238E27FC236}">
                  <a16:creationId xmlns:a16="http://schemas.microsoft.com/office/drawing/2014/main" id="{56D2D11D-455C-1C66-9247-439D00F874D0}"/>
                </a:ext>
              </a:extLst>
            </p:cNvPr>
            <p:cNvSpPr/>
            <p:nvPr/>
          </p:nvSpPr>
          <p:spPr>
            <a:xfrm>
              <a:off x="2708022" y="2258546"/>
              <a:ext cx="1866183" cy="540661"/>
            </a:xfrm>
            <a:prstGeom prst="rect">
              <a:avLst/>
            </a:prstGeom>
          </p:spPr>
          <p:txBody>
            <a:bodyPr wrap="none">
              <a:spAutoFit/>
            </a:bodyPr>
            <a:lstStyle/>
            <a:p>
              <a:pPr algn="ctr" defTabSz="844083">
                <a:spcBef>
                  <a:spcPct val="20000"/>
                </a:spcBef>
                <a:buClr>
                  <a:srgbClr val="629DD1"/>
                </a:buClr>
                <a:buSzPct val="85000"/>
                <a:defRPr/>
              </a:pPr>
              <a:r>
                <a:rPr lang="en-AU" sz="2000" b="1">
                  <a:solidFill>
                    <a:prstClr val="black"/>
                  </a:solidFill>
                  <a:latin typeface="Calibri Light" panose="020F0302020204030204" pitchFamily="34" charset="0"/>
                  <a:cs typeface="Calibri Light" panose="020F0302020204030204" pitchFamily="34" charset="0"/>
                </a:rPr>
                <a:t>Awareness &amp; </a:t>
              </a:r>
            </a:p>
            <a:p>
              <a:pPr algn="ctr" defTabSz="844083">
                <a:spcBef>
                  <a:spcPct val="20000"/>
                </a:spcBef>
                <a:buClr>
                  <a:srgbClr val="629DD1"/>
                </a:buClr>
                <a:buSzPct val="85000"/>
                <a:defRPr/>
              </a:pPr>
              <a:r>
                <a:rPr lang="en-AU" sz="2000" b="1">
                  <a:solidFill>
                    <a:prstClr val="black"/>
                  </a:solidFill>
                  <a:latin typeface="Calibri Light" panose="020F0302020204030204" pitchFamily="34" charset="0"/>
                  <a:cs typeface="Calibri Light" panose="020F0302020204030204" pitchFamily="34" charset="0"/>
                </a:rPr>
                <a:t>community engagement</a:t>
              </a:r>
            </a:p>
          </p:txBody>
        </p:sp>
      </p:grpSp>
      <p:grpSp>
        <p:nvGrpSpPr>
          <p:cNvPr id="26" name="Group 25">
            <a:extLst>
              <a:ext uri="{FF2B5EF4-FFF2-40B4-BE49-F238E27FC236}">
                <a16:creationId xmlns:a16="http://schemas.microsoft.com/office/drawing/2014/main" id="{4D131F93-5320-3150-A943-51BDEC06449B}"/>
              </a:ext>
            </a:extLst>
          </p:cNvPr>
          <p:cNvGrpSpPr/>
          <p:nvPr/>
        </p:nvGrpSpPr>
        <p:grpSpPr>
          <a:xfrm>
            <a:off x="4333721" y="2236106"/>
            <a:ext cx="3524560" cy="3236812"/>
            <a:chOff x="5012557" y="2236106"/>
            <a:chExt cx="2476593" cy="2274402"/>
          </a:xfrm>
        </p:grpSpPr>
        <p:sp>
          <p:nvSpPr>
            <p:cNvPr id="27" name="Content Placeholder 3">
              <a:extLst>
                <a:ext uri="{FF2B5EF4-FFF2-40B4-BE49-F238E27FC236}">
                  <a16:creationId xmlns:a16="http://schemas.microsoft.com/office/drawing/2014/main" id="{5D95115E-F0FE-8FE0-A590-610AAD40F189}"/>
                </a:ext>
              </a:extLst>
            </p:cNvPr>
            <p:cNvSpPr txBox="1">
              <a:spLocks/>
            </p:cNvSpPr>
            <p:nvPr/>
          </p:nvSpPr>
          <p:spPr>
            <a:xfrm>
              <a:off x="5090683" y="2236106"/>
              <a:ext cx="2222103" cy="648019"/>
            </a:xfrm>
            <a:prstGeom prst="rect">
              <a:avLst/>
            </a:prstGeom>
          </p:spPr>
          <p:txBody>
            <a:bodyPr>
              <a:norm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None/>
              </a:pPr>
              <a:r>
                <a:rPr lang="en-AU" sz="2000" b="1">
                  <a:latin typeface="Calibri Light" panose="020F0302020204030204" pitchFamily="34" charset="0"/>
                  <a:cs typeface="Calibri Light" panose="020F0302020204030204" pitchFamily="34" charset="0"/>
                </a:rPr>
                <a:t>Dog vaccination &amp; dog population management</a:t>
              </a:r>
            </a:p>
          </p:txBody>
        </p:sp>
        <p:pic>
          <p:nvPicPr>
            <p:cNvPr id="28" name="Picture 4" descr="\\WIMS.who.int\HQ\GVA11\Home\SUSLOVITCHV\Desktop\Rabies Pictures\Vaccinating dog.jpg">
              <a:extLst>
                <a:ext uri="{FF2B5EF4-FFF2-40B4-BE49-F238E27FC236}">
                  <a16:creationId xmlns:a16="http://schemas.microsoft.com/office/drawing/2014/main" id="{6EC35366-1092-8907-2F7D-8A2DCEF391D5}"/>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4519" t="45986" r="1087" b="10727"/>
            <a:stretch/>
          </p:blipFill>
          <p:spPr bwMode="auto">
            <a:xfrm>
              <a:off x="5012557" y="2886336"/>
              <a:ext cx="2476593" cy="1624172"/>
            </a:xfrm>
            <a:prstGeom prst="rect">
              <a:avLst/>
            </a:prstGeom>
            <a:noFill/>
            <a:extLst>
              <a:ext uri="{909E8E84-426E-40DD-AFC4-6F175D3DCCD1}">
                <a14:hiddenFill xmlns:a14="http://schemas.microsoft.com/office/drawing/2010/main">
                  <a:solidFill>
                    <a:srgbClr val="FFFFFF"/>
                  </a:solidFill>
                </a14:hiddenFill>
              </a:ext>
            </a:extLst>
          </p:spPr>
        </p:pic>
      </p:grpSp>
      <p:sp>
        <p:nvSpPr>
          <p:cNvPr id="3" name="TextBox 2">
            <a:extLst>
              <a:ext uri="{FF2B5EF4-FFF2-40B4-BE49-F238E27FC236}">
                <a16:creationId xmlns:a16="http://schemas.microsoft.com/office/drawing/2014/main" id="{102CD865-0EC4-EBCB-35A1-2626CE870530}"/>
              </a:ext>
            </a:extLst>
          </p:cNvPr>
          <p:cNvSpPr txBox="1"/>
          <p:nvPr/>
        </p:nvSpPr>
        <p:spPr>
          <a:xfrm>
            <a:off x="5715937" y="6434275"/>
            <a:ext cx="7270232" cy="276999"/>
          </a:xfrm>
          <a:prstGeom prst="rect">
            <a:avLst/>
          </a:prstGeom>
          <a:noFill/>
        </p:spPr>
        <p:txBody>
          <a:bodyPr wrap="square">
            <a:spAutoFit/>
          </a:bodyPr>
          <a:lstStyle/>
          <a:p>
            <a:r>
              <a:rPr lang="en-US" sz="1200">
                <a:latin typeface="Arial" panose="020B0604020202020204" pitchFamily="34" charset="0"/>
                <a:cs typeface="Arial" panose="020B0604020202020204" pitchFamily="34" charset="0"/>
                <a:hlinkClick r:id="rId7"/>
              </a:rPr>
              <a:t>Zero by 30: the global strategic plan to end human deaths from dog-mediated rabies by 2030</a:t>
            </a:r>
            <a:r>
              <a:rPr lang="en-US" sz="1200">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237870972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FEE3E0-6275-3C9E-3E2F-9F7983B3A729}"/>
              </a:ext>
            </a:extLst>
          </p:cNvPr>
          <p:cNvSpPr>
            <a:spLocks noGrp="1"/>
          </p:cNvSpPr>
          <p:nvPr>
            <p:ph type="title"/>
          </p:nvPr>
        </p:nvSpPr>
        <p:spPr/>
        <p:txBody>
          <a:bodyPr/>
          <a:lstStyle/>
          <a:p>
            <a:r>
              <a:rPr lang="en-US"/>
              <a:t>Application Submission Process</a:t>
            </a:r>
          </a:p>
        </p:txBody>
      </p:sp>
      <p:sp>
        <p:nvSpPr>
          <p:cNvPr id="4" name="Slide Number Placeholder 3">
            <a:extLst>
              <a:ext uri="{FF2B5EF4-FFF2-40B4-BE49-F238E27FC236}">
                <a16:creationId xmlns:a16="http://schemas.microsoft.com/office/drawing/2014/main" id="{4F88F936-8ACD-7FCF-7059-F8D29415FC7D}"/>
              </a:ext>
            </a:extLst>
          </p:cNvPr>
          <p:cNvSpPr>
            <a:spLocks noGrp="1"/>
          </p:cNvSpPr>
          <p:nvPr>
            <p:ph type="sldNum" sz="quarter" idx="12"/>
          </p:nvPr>
        </p:nvSpPr>
        <p:spPr>
          <a:xfrm>
            <a:off x="521719" y="6373268"/>
            <a:ext cx="261630" cy="13652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B746B08-255A-2748-8A21-40BE94A17FD1}" type="slidenum">
              <a:rPr kumimoji="0" lang="en-GB" sz="800" b="0" i="0" u="none" strike="noStrike" kern="1200" cap="none" spc="0" normalizeH="0" baseline="0" noProof="0" smtClean="0">
                <a:ln>
                  <a:noFill/>
                </a:ln>
                <a:solidFill>
                  <a:srgbClr val="000000">
                    <a:lumMod val="50000"/>
                    <a:lumOff val="50000"/>
                  </a:srgbClr>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0</a:t>
            </a:fld>
            <a:endParaRPr kumimoji="0" lang="en-GB" sz="800" b="0" i="0" u="none" strike="noStrike" kern="1200" cap="none" spc="0" normalizeH="0" baseline="0" noProof="0">
              <a:ln>
                <a:noFill/>
              </a:ln>
              <a:solidFill>
                <a:srgbClr val="000000">
                  <a:lumMod val="50000"/>
                  <a:lumOff val="50000"/>
                </a:srgbClr>
              </a:solidFill>
              <a:effectLst/>
              <a:uLnTx/>
              <a:uFillTx/>
              <a:latin typeface="Arial" panose="020B0604020202020204" pitchFamily="34" charset="0"/>
              <a:ea typeface="+mn-ea"/>
              <a:cs typeface="Arial" panose="020B0604020202020204" pitchFamily="34" charset="0"/>
            </a:endParaRPr>
          </a:p>
        </p:txBody>
      </p:sp>
      <p:pic>
        <p:nvPicPr>
          <p:cNvPr id="2052" name="Picture 4" descr="work Icon 1427948">
            <a:extLst>
              <a:ext uri="{FF2B5EF4-FFF2-40B4-BE49-F238E27FC236}">
                <a16:creationId xmlns:a16="http://schemas.microsoft.com/office/drawing/2014/main" id="{0147A8D6-C800-3947-6570-C1E3A58027DF}"/>
              </a:ext>
            </a:extLst>
          </p:cNvPr>
          <p:cNvPicPr>
            <a:picLocks noChangeAspect="1" noChangeArrowheads="1"/>
          </p:cNvPicPr>
          <p:nvPr/>
        </p:nvPicPr>
        <p:blipFill>
          <a:blip r:embed="rId2">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434083" y="2947967"/>
            <a:ext cx="1053215" cy="1053215"/>
          </a:xfrm>
          <a:prstGeom prst="rect">
            <a:avLst/>
          </a:prstGeom>
          <a:noFill/>
          <a:extLst>
            <a:ext uri="{909E8E84-426E-40DD-AFC4-6F175D3DCCD1}">
              <a14:hiddenFill xmlns:a14="http://schemas.microsoft.com/office/drawing/2010/main">
                <a:solidFill>
                  <a:srgbClr val="FFFFFF"/>
                </a:solidFill>
              </a14:hiddenFill>
            </a:ext>
          </a:extLst>
        </p:spPr>
      </p:pic>
      <p:sp>
        <p:nvSpPr>
          <p:cNvPr id="62" name="TextBox 61">
            <a:extLst>
              <a:ext uri="{FF2B5EF4-FFF2-40B4-BE49-F238E27FC236}">
                <a16:creationId xmlns:a16="http://schemas.microsoft.com/office/drawing/2014/main" id="{9FACEDDE-09BF-1A0C-F1DF-63999CF46A22}"/>
              </a:ext>
            </a:extLst>
          </p:cNvPr>
          <p:cNvSpPr txBox="1"/>
          <p:nvPr/>
        </p:nvSpPr>
        <p:spPr>
          <a:xfrm>
            <a:off x="4876769" y="3983090"/>
            <a:ext cx="2323072"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lumMod val="75000"/>
                    <a:lumOff val="25000"/>
                  </a:srgbClr>
                </a:solidFill>
                <a:effectLst/>
                <a:uLnTx/>
                <a:uFillTx/>
                <a:latin typeface="Arial"/>
                <a:ea typeface="+mn-ea"/>
                <a:cs typeface="+mn-cs"/>
              </a:rPr>
              <a:t>Gavi Country and technical teams and partners check application completeness and comprehensiveness.</a:t>
            </a:r>
          </a:p>
        </p:txBody>
      </p:sp>
      <p:sp>
        <p:nvSpPr>
          <p:cNvPr id="63" name="Arrow: Chevron 62">
            <a:extLst>
              <a:ext uri="{FF2B5EF4-FFF2-40B4-BE49-F238E27FC236}">
                <a16:creationId xmlns:a16="http://schemas.microsoft.com/office/drawing/2014/main" id="{88F6E297-3425-CE1D-128C-3C2BDDB61BCA}"/>
              </a:ext>
            </a:extLst>
          </p:cNvPr>
          <p:cNvSpPr/>
          <p:nvPr/>
        </p:nvSpPr>
        <p:spPr>
          <a:xfrm>
            <a:off x="1599712" y="1812699"/>
            <a:ext cx="2681827" cy="552728"/>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048" name="Arrow: Chevron 2047">
            <a:extLst>
              <a:ext uri="{FF2B5EF4-FFF2-40B4-BE49-F238E27FC236}">
                <a16:creationId xmlns:a16="http://schemas.microsoft.com/office/drawing/2014/main" id="{AA44B738-BD7E-4811-B820-6585045E50EE}"/>
              </a:ext>
            </a:extLst>
          </p:cNvPr>
          <p:cNvSpPr/>
          <p:nvPr/>
        </p:nvSpPr>
        <p:spPr>
          <a:xfrm>
            <a:off x="4093169" y="1795713"/>
            <a:ext cx="2681827" cy="552728"/>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049" name="Arrow: Chevron 2048">
            <a:extLst>
              <a:ext uri="{FF2B5EF4-FFF2-40B4-BE49-F238E27FC236}">
                <a16:creationId xmlns:a16="http://schemas.microsoft.com/office/drawing/2014/main" id="{7C8598C3-EE22-40F6-1E1F-A19EC7184127}"/>
              </a:ext>
            </a:extLst>
          </p:cNvPr>
          <p:cNvSpPr/>
          <p:nvPr/>
        </p:nvSpPr>
        <p:spPr>
          <a:xfrm>
            <a:off x="6586626" y="1795713"/>
            <a:ext cx="2681827" cy="552728"/>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pic>
        <p:nvPicPr>
          <p:cNvPr id="2060" name="Picture 2059">
            <a:extLst>
              <a:ext uri="{FF2B5EF4-FFF2-40B4-BE49-F238E27FC236}">
                <a16:creationId xmlns:a16="http://schemas.microsoft.com/office/drawing/2014/main" id="{F719ED87-AD6B-636E-51D5-C9F0E5597B51}"/>
              </a:ext>
            </a:extLst>
          </p:cNvPr>
          <p:cNvPicPr>
            <a:picLocks noChangeAspect="1"/>
          </p:cNvPicPr>
          <p:nvPr/>
        </p:nvPicPr>
        <p:blipFill>
          <a:blip r:embed="rId3"/>
          <a:stretch>
            <a:fillRect/>
          </a:stretch>
        </p:blipFill>
        <p:spPr>
          <a:xfrm>
            <a:off x="348573" y="2651411"/>
            <a:ext cx="4412980" cy="2168050"/>
          </a:xfrm>
          <a:prstGeom prst="rect">
            <a:avLst/>
          </a:prstGeom>
        </p:spPr>
      </p:pic>
      <p:sp>
        <p:nvSpPr>
          <p:cNvPr id="2061" name="TextBox 2060">
            <a:extLst>
              <a:ext uri="{FF2B5EF4-FFF2-40B4-BE49-F238E27FC236}">
                <a16:creationId xmlns:a16="http://schemas.microsoft.com/office/drawing/2014/main" id="{79365549-A904-8E6F-8BEE-3DE24A3A1DF7}"/>
              </a:ext>
            </a:extLst>
          </p:cNvPr>
          <p:cNvSpPr txBox="1"/>
          <p:nvPr/>
        </p:nvSpPr>
        <p:spPr>
          <a:xfrm>
            <a:off x="1682678" y="1942662"/>
            <a:ext cx="2323072"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Submission to Gavi</a:t>
            </a:r>
          </a:p>
        </p:txBody>
      </p:sp>
      <p:sp>
        <p:nvSpPr>
          <p:cNvPr id="2062" name="TextBox 2061">
            <a:extLst>
              <a:ext uri="{FF2B5EF4-FFF2-40B4-BE49-F238E27FC236}">
                <a16:creationId xmlns:a16="http://schemas.microsoft.com/office/drawing/2014/main" id="{7667CA29-7DF3-679E-AD7E-5FA56E5E8090}"/>
              </a:ext>
            </a:extLst>
          </p:cNvPr>
          <p:cNvSpPr txBox="1"/>
          <p:nvPr/>
        </p:nvSpPr>
        <p:spPr>
          <a:xfrm>
            <a:off x="4304859" y="1925676"/>
            <a:ext cx="2323072"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Pre-screening</a:t>
            </a:r>
          </a:p>
        </p:txBody>
      </p:sp>
      <p:sp>
        <p:nvSpPr>
          <p:cNvPr id="2063" name="TextBox 2062">
            <a:extLst>
              <a:ext uri="{FF2B5EF4-FFF2-40B4-BE49-F238E27FC236}">
                <a16:creationId xmlns:a16="http://schemas.microsoft.com/office/drawing/2014/main" id="{95141C4B-6492-DF99-0FC7-56B8445E6642}"/>
              </a:ext>
            </a:extLst>
          </p:cNvPr>
          <p:cNvSpPr txBox="1"/>
          <p:nvPr/>
        </p:nvSpPr>
        <p:spPr>
          <a:xfrm>
            <a:off x="6724060" y="1891898"/>
            <a:ext cx="2323072"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IRC Review</a:t>
            </a:r>
          </a:p>
        </p:txBody>
      </p:sp>
      <p:sp>
        <p:nvSpPr>
          <p:cNvPr id="2064" name="Arrow: Chevron 2063">
            <a:extLst>
              <a:ext uri="{FF2B5EF4-FFF2-40B4-BE49-F238E27FC236}">
                <a16:creationId xmlns:a16="http://schemas.microsoft.com/office/drawing/2014/main" id="{E999ACDD-D588-D53C-CB0B-D4691D7C86FD}"/>
              </a:ext>
            </a:extLst>
          </p:cNvPr>
          <p:cNvSpPr/>
          <p:nvPr/>
        </p:nvSpPr>
        <p:spPr>
          <a:xfrm>
            <a:off x="9080083" y="1795713"/>
            <a:ext cx="2681827" cy="552728"/>
          </a:xfrm>
          <a:prstGeom prst="chevr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065" name="TextBox 2064">
            <a:extLst>
              <a:ext uri="{FF2B5EF4-FFF2-40B4-BE49-F238E27FC236}">
                <a16:creationId xmlns:a16="http://schemas.microsoft.com/office/drawing/2014/main" id="{D3E82E1F-98DD-E104-158F-34851C909305}"/>
              </a:ext>
            </a:extLst>
          </p:cNvPr>
          <p:cNvSpPr txBox="1"/>
          <p:nvPr/>
        </p:nvSpPr>
        <p:spPr>
          <a:xfrm>
            <a:off x="9217517" y="1891898"/>
            <a:ext cx="2323072"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FFFFF"/>
                </a:solidFill>
                <a:effectLst/>
                <a:uLnTx/>
                <a:uFillTx/>
                <a:latin typeface="Arial"/>
                <a:ea typeface="+mn-ea"/>
                <a:cs typeface="+mn-cs"/>
              </a:rPr>
              <a:t>Issue Resolution</a:t>
            </a:r>
          </a:p>
        </p:txBody>
      </p:sp>
      <p:pic>
        <p:nvPicPr>
          <p:cNvPr id="2066" name="Picture 6" descr="checklist Icon 1727212">
            <a:extLst>
              <a:ext uri="{FF2B5EF4-FFF2-40B4-BE49-F238E27FC236}">
                <a16:creationId xmlns:a16="http://schemas.microsoft.com/office/drawing/2014/main" id="{EA079C4D-34E7-E4F4-24AD-3C969CA91912}"/>
              </a:ext>
            </a:extLst>
          </p:cNvPr>
          <p:cNvPicPr>
            <a:picLocks noChangeAspect="1" noChangeArrowheads="1"/>
          </p:cNvPicPr>
          <p:nvPr/>
        </p:nvPicPr>
        <p:blipFill>
          <a:blip r:embed="rId4">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748334" y="2947967"/>
            <a:ext cx="1512177" cy="1512177"/>
          </a:xfrm>
          <a:prstGeom prst="rect">
            <a:avLst/>
          </a:prstGeom>
          <a:noFill/>
          <a:extLst>
            <a:ext uri="{909E8E84-426E-40DD-AFC4-6F175D3DCCD1}">
              <a14:hiddenFill xmlns:a14="http://schemas.microsoft.com/office/drawing/2010/main">
                <a:solidFill>
                  <a:srgbClr val="FFFFFF"/>
                </a:solidFill>
              </a14:hiddenFill>
            </a:ext>
          </a:extLst>
        </p:spPr>
      </p:pic>
      <p:pic>
        <p:nvPicPr>
          <p:cNvPr id="2067" name="Picture 38" descr="discussion Icon 3495226">
            <a:extLst>
              <a:ext uri="{FF2B5EF4-FFF2-40B4-BE49-F238E27FC236}">
                <a16:creationId xmlns:a16="http://schemas.microsoft.com/office/drawing/2014/main" id="{EA08A933-1F0C-4DA0-60A2-331C0304410B}"/>
              </a:ext>
            </a:extLst>
          </p:cNvPr>
          <p:cNvPicPr>
            <a:picLocks noChangeAspect="1" noChangeArrowheads="1"/>
          </p:cNvPicPr>
          <p:nvPr/>
        </p:nvPicPr>
        <p:blipFill>
          <a:blip r:embed="rId5">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252644" y="2919469"/>
            <a:ext cx="1299675" cy="1299675"/>
          </a:xfrm>
          <a:prstGeom prst="rect">
            <a:avLst/>
          </a:prstGeom>
          <a:noFill/>
          <a:extLst>
            <a:ext uri="{909E8E84-426E-40DD-AFC4-6F175D3DCCD1}">
              <a14:hiddenFill xmlns:a14="http://schemas.microsoft.com/office/drawing/2010/main">
                <a:solidFill>
                  <a:srgbClr val="FFFFFF"/>
                </a:solidFill>
              </a14:hiddenFill>
            </a:ext>
          </a:extLst>
        </p:spPr>
      </p:pic>
      <p:pic>
        <p:nvPicPr>
          <p:cNvPr id="2068" name="Graphic 2067" descr="Arrow: Straight with solid fill">
            <a:extLst>
              <a:ext uri="{FF2B5EF4-FFF2-40B4-BE49-F238E27FC236}">
                <a16:creationId xmlns:a16="http://schemas.microsoft.com/office/drawing/2014/main" id="{E3127B39-BE4A-F4E9-ECFF-F98A2F1368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0800000">
            <a:off x="6545114" y="3159008"/>
            <a:ext cx="534912" cy="534912"/>
          </a:xfrm>
          <a:prstGeom prst="rect">
            <a:avLst/>
          </a:prstGeom>
        </p:spPr>
      </p:pic>
      <p:pic>
        <p:nvPicPr>
          <p:cNvPr id="2069" name="Graphic 2068" descr="Arrow: Straight with solid fill">
            <a:extLst>
              <a:ext uri="{FF2B5EF4-FFF2-40B4-BE49-F238E27FC236}">
                <a16:creationId xmlns:a16="http://schemas.microsoft.com/office/drawing/2014/main" id="{1CE3E857-ECB4-0570-E7A8-9F3EA31BAD7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0800000">
            <a:off x="4609314" y="3185612"/>
            <a:ext cx="534912" cy="534912"/>
          </a:xfrm>
          <a:prstGeom prst="rect">
            <a:avLst/>
          </a:prstGeom>
        </p:spPr>
      </p:pic>
      <p:pic>
        <p:nvPicPr>
          <p:cNvPr id="2070" name="Graphic 2069" descr="Arrow: Straight with solid fill">
            <a:extLst>
              <a:ext uri="{FF2B5EF4-FFF2-40B4-BE49-F238E27FC236}">
                <a16:creationId xmlns:a16="http://schemas.microsoft.com/office/drawing/2014/main" id="{552A05D6-427B-7D93-7C99-1E7DD1B4FBD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0800000">
            <a:off x="8822983" y="3210114"/>
            <a:ext cx="534912" cy="534912"/>
          </a:xfrm>
          <a:prstGeom prst="rect">
            <a:avLst/>
          </a:prstGeom>
        </p:spPr>
      </p:pic>
      <p:sp>
        <p:nvSpPr>
          <p:cNvPr id="2072" name="TextBox 2071">
            <a:extLst>
              <a:ext uri="{FF2B5EF4-FFF2-40B4-BE49-F238E27FC236}">
                <a16:creationId xmlns:a16="http://schemas.microsoft.com/office/drawing/2014/main" id="{611E8846-006A-342A-C9FF-DBCAAF988F9E}"/>
              </a:ext>
            </a:extLst>
          </p:cNvPr>
          <p:cNvSpPr txBox="1"/>
          <p:nvPr/>
        </p:nvSpPr>
        <p:spPr>
          <a:xfrm>
            <a:off x="9232225" y="4602276"/>
            <a:ext cx="2544393" cy="120032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0000">
                    <a:lumMod val="75000"/>
                    <a:lumOff val="25000"/>
                  </a:srgbClr>
                </a:solidFill>
                <a:effectLst/>
                <a:uLnTx/>
                <a:uFillTx/>
                <a:latin typeface="Arial"/>
                <a:ea typeface="+mn-ea"/>
                <a:cs typeface="+mn-cs"/>
              </a:rPr>
              <a:t>Applications recommended for approval usually contain ‘issues to be addressed’ which need to be clarified before the grant can move forward. This process is called Issue Resolution. </a:t>
            </a:r>
            <a:endParaRPr kumimoji="0" lang="en-US" sz="1200" b="0" i="0" u="none" strike="noStrike" kern="1200" cap="none" spc="0" normalizeH="0" baseline="0" noProof="0">
              <a:ln>
                <a:noFill/>
              </a:ln>
              <a:solidFill>
                <a:srgbClr val="000000">
                  <a:lumMod val="75000"/>
                  <a:lumOff val="25000"/>
                </a:srgbClr>
              </a:solidFill>
              <a:effectLst/>
              <a:uLnTx/>
              <a:uFillTx/>
              <a:latin typeface="Calibri" panose="020F0502020204030204"/>
              <a:ea typeface="+mn-ea"/>
              <a:cs typeface="+mn-cs"/>
            </a:endParaRPr>
          </a:p>
        </p:txBody>
      </p:sp>
      <p:sp>
        <p:nvSpPr>
          <p:cNvPr id="3" name="Footer Placeholder 2">
            <a:extLst>
              <a:ext uri="{FF2B5EF4-FFF2-40B4-BE49-F238E27FC236}">
                <a16:creationId xmlns:a16="http://schemas.microsoft.com/office/drawing/2014/main" id="{C0F7080F-1D49-014A-D2ED-FC4D67F80463}"/>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tint val="75000"/>
                  </a:srgbClr>
                </a:solidFill>
                <a:effectLst/>
                <a:uLnTx/>
                <a:uFillTx/>
                <a:latin typeface="Arial" panose="020B0604020202020204" pitchFamily="34" charset="0"/>
                <a:ea typeface="+mn-ea"/>
                <a:cs typeface="Arial" panose="020B0604020202020204" pitchFamily="34" charset="0"/>
              </a:rPr>
              <a:t>GNN webinar on rabies 6 May 2024</a:t>
            </a:r>
            <a:endParaRPr kumimoji="0" lang="en-GB" sz="800" b="0" i="0" u="none" strike="noStrike" kern="1200" cap="none" spc="0" normalizeH="0" baseline="0" noProof="0">
              <a:ln>
                <a:noFill/>
              </a:ln>
              <a:solidFill>
                <a:srgbClr val="000000">
                  <a:tint val="75000"/>
                </a:srgb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90619614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E6BCD6-F139-396A-2F49-9D970E1B31FD}"/>
              </a:ext>
            </a:extLst>
          </p:cNvPr>
          <p:cNvSpPr>
            <a:spLocks noGrp="1"/>
          </p:cNvSpPr>
          <p:nvPr>
            <p:ph type="title"/>
          </p:nvPr>
        </p:nvSpPr>
        <p:spPr/>
        <p:txBody>
          <a:bodyPr/>
          <a:lstStyle/>
          <a:p>
            <a:r>
              <a:rPr lang="en-US" dirty="0"/>
              <a:t>Independent Review Committee (IRC) Overview</a:t>
            </a:r>
          </a:p>
        </p:txBody>
      </p:sp>
      <p:sp>
        <p:nvSpPr>
          <p:cNvPr id="3" name="Text Placeholder 2">
            <a:extLst>
              <a:ext uri="{FF2B5EF4-FFF2-40B4-BE49-F238E27FC236}">
                <a16:creationId xmlns:a16="http://schemas.microsoft.com/office/drawing/2014/main" id="{54D9F84D-794A-ED39-7145-737A5B7590DA}"/>
              </a:ext>
            </a:extLst>
          </p:cNvPr>
          <p:cNvSpPr>
            <a:spLocks noGrp="1"/>
          </p:cNvSpPr>
          <p:nvPr>
            <p:ph type="body" idx="13"/>
          </p:nvPr>
        </p:nvSpPr>
        <p:spPr>
          <a:xfrm>
            <a:off x="531133" y="961078"/>
            <a:ext cx="5844953" cy="5066860"/>
          </a:xfrm>
        </p:spPr>
        <p:txBody>
          <a:bodyPr>
            <a:normAutofit fontScale="92500" lnSpcReduction="20000"/>
          </a:bodyPr>
          <a:lstStyle/>
          <a:p>
            <a:pPr>
              <a:spcAft>
                <a:spcPts val="0"/>
              </a:spcAft>
            </a:pPr>
            <a:endParaRPr lang="en-US" dirty="0"/>
          </a:p>
          <a:p>
            <a:pPr marL="342900" indent="-342900">
              <a:spcAft>
                <a:spcPts val="0"/>
              </a:spcAft>
              <a:buFont typeface="Arial" panose="020B0604020202020204" pitchFamily="34" charset="0"/>
              <a:buChar char="•"/>
            </a:pPr>
            <a:r>
              <a:rPr lang="en-US" dirty="0"/>
              <a:t>The IRC is established by the Board to serve as an </a:t>
            </a:r>
            <a:r>
              <a:rPr lang="en-US" b="1" dirty="0"/>
              <a:t>independent, impartial group of experts seeking to guarantee the integrity and consistency of an open and transparent funding process.</a:t>
            </a:r>
          </a:p>
          <a:p>
            <a:pPr marL="342900" indent="-342900">
              <a:spcAft>
                <a:spcPts val="0"/>
              </a:spcAft>
              <a:buFont typeface="Arial" panose="020B0604020202020204" pitchFamily="34" charset="0"/>
              <a:buChar char="•"/>
            </a:pPr>
            <a:endParaRPr lang="en-US" dirty="0"/>
          </a:p>
          <a:p>
            <a:pPr marL="342900" indent="-342900">
              <a:spcAft>
                <a:spcPts val="0"/>
              </a:spcAft>
              <a:buFont typeface="Arial" panose="020B0604020202020204" pitchFamily="34" charset="0"/>
              <a:buChar char="•"/>
            </a:pPr>
            <a:r>
              <a:rPr lang="en-US" dirty="0"/>
              <a:t>The IRC reviews </a:t>
            </a:r>
            <a:r>
              <a:rPr lang="en-US" b="1" dirty="0"/>
              <a:t>all requests for new funding</a:t>
            </a:r>
            <a:endParaRPr lang="en-US" dirty="0"/>
          </a:p>
          <a:p>
            <a:pPr marL="342900" indent="-342900">
              <a:spcAft>
                <a:spcPts val="0"/>
              </a:spcAft>
              <a:buFont typeface="Arial" panose="020B0604020202020204" pitchFamily="34" charset="0"/>
              <a:buChar char="•"/>
            </a:pPr>
            <a:endParaRPr lang="en-US" dirty="0"/>
          </a:p>
          <a:p>
            <a:pPr marL="342900" indent="-342900">
              <a:spcAft>
                <a:spcPts val="0"/>
              </a:spcAft>
              <a:buFont typeface="Arial" panose="020B0604020202020204" pitchFamily="34" charset="0"/>
              <a:buChar char="•"/>
            </a:pPr>
            <a:r>
              <a:rPr lang="en-US" dirty="0"/>
              <a:t>Composed of a wide range of experts in public health, epidemiology, relevant vaccines and diseases, finance and economics, supply chain, equity, fragile settings, etc. </a:t>
            </a:r>
          </a:p>
          <a:p>
            <a:pPr marL="342900" indent="-342900">
              <a:spcAft>
                <a:spcPts val="0"/>
              </a:spcAft>
              <a:buFont typeface="Arial" panose="020B0604020202020204" pitchFamily="34" charset="0"/>
              <a:buChar char="•"/>
            </a:pPr>
            <a:endParaRPr lang="en-US" dirty="0"/>
          </a:p>
          <a:p>
            <a:pPr marL="342900" indent="-342900">
              <a:spcAft>
                <a:spcPts val="0"/>
              </a:spcAft>
              <a:buFont typeface="Arial" panose="020B0604020202020204" pitchFamily="34" charset="0"/>
              <a:buChar char="•"/>
            </a:pPr>
            <a:r>
              <a:rPr lang="en-US" dirty="0"/>
              <a:t>The </a:t>
            </a:r>
            <a:r>
              <a:rPr lang="en-US" b="1" dirty="0"/>
              <a:t>IRC pool of experts </a:t>
            </a:r>
            <a:r>
              <a:rPr lang="en-US" dirty="0"/>
              <a:t>currently consists of 99 members from across the globe: 38% from Africa, 31% from Europe, 21% from North America, and 3% from Asia; 38% of members are from Gavi-eligible countries.</a:t>
            </a:r>
          </a:p>
          <a:p>
            <a:endParaRPr lang="en-US" dirty="0"/>
          </a:p>
        </p:txBody>
      </p:sp>
      <p:sp>
        <p:nvSpPr>
          <p:cNvPr id="4" name="Slide Number Placeholder 3">
            <a:extLst>
              <a:ext uri="{FF2B5EF4-FFF2-40B4-BE49-F238E27FC236}">
                <a16:creationId xmlns:a16="http://schemas.microsoft.com/office/drawing/2014/main" id="{6A892E8A-1CC1-DDC5-BE54-2886EF9A29BF}"/>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B746B08-255A-2748-8A21-40BE94A17FD1}" type="slidenum">
              <a:rPr kumimoji="0" lang="en-GB" sz="800" b="0" i="0" u="none" strike="noStrike" kern="1200" cap="none" spc="0" normalizeH="0" baseline="0" noProof="0" smtClean="0">
                <a:ln>
                  <a:noFill/>
                </a:ln>
                <a:solidFill>
                  <a:srgbClr val="000000">
                    <a:lumMod val="50000"/>
                    <a:lumOff val="50000"/>
                  </a:srgbClr>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1</a:t>
            </a:fld>
            <a:endParaRPr kumimoji="0" lang="en-GB" sz="800" b="0" i="0" u="none" strike="noStrike" kern="1200" cap="none" spc="0" normalizeH="0" baseline="0" noProof="0">
              <a:ln>
                <a:noFill/>
              </a:ln>
              <a:solidFill>
                <a:srgbClr val="000000">
                  <a:lumMod val="50000"/>
                  <a:lumOff val="50000"/>
                </a:srgbClr>
              </a:solidFill>
              <a:effectLst/>
              <a:uLnTx/>
              <a:uFillTx/>
              <a:latin typeface="Arial" panose="020B0604020202020204" pitchFamily="34" charset="0"/>
              <a:ea typeface="+mn-ea"/>
              <a:cs typeface="Arial" panose="020B0604020202020204" pitchFamily="34" charset="0"/>
            </a:endParaRPr>
          </a:p>
        </p:txBody>
      </p:sp>
      <p:sp>
        <p:nvSpPr>
          <p:cNvPr id="10" name="TextBox 9">
            <a:extLst>
              <a:ext uri="{FF2B5EF4-FFF2-40B4-BE49-F238E27FC236}">
                <a16:creationId xmlns:a16="http://schemas.microsoft.com/office/drawing/2014/main" id="{FA9E1D40-FF69-98B7-C958-8DB6A7E23F3B}"/>
              </a:ext>
            </a:extLst>
          </p:cNvPr>
          <p:cNvSpPr txBox="1"/>
          <p:nvPr/>
        </p:nvSpPr>
        <p:spPr>
          <a:xfrm>
            <a:off x="7290486" y="1409486"/>
            <a:ext cx="3767739" cy="404663"/>
          </a:xfrm>
          <a:prstGeom prst="rect">
            <a:avLst/>
          </a:prstGeom>
          <a:noFill/>
        </p:spPr>
        <p:txBody>
          <a:bodyPr wrap="square">
            <a:spAutoFit/>
          </a:bodyPr>
          <a:lstStyle/>
          <a:p>
            <a:pPr marL="0" marR="0" lvl="0" indent="0" algn="ctr" defTabSz="914400" rtl="0" eaLnBrk="1" fontAlgn="auto" latinLnBrk="0" hangingPunct="1">
              <a:lnSpc>
                <a:spcPct val="110000"/>
              </a:lnSpc>
              <a:spcBef>
                <a:spcPts val="0"/>
              </a:spcBef>
              <a:spcAft>
                <a:spcPts val="1200"/>
              </a:spcAft>
              <a:buClr>
                <a:srgbClr val="00A1DF"/>
              </a:buClr>
              <a:buSzTx/>
              <a:buFont typeface="Arial" panose="020B0604020202020204" pitchFamily="34" charset="0"/>
              <a:buNone/>
              <a:tabLst/>
              <a:defRPr/>
            </a:pPr>
            <a:r>
              <a:rPr kumimoji="0" lang="en-US" sz="2000" b="1" i="0" u="none" strike="noStrike" kern="1200" cap="none" spc="0" normalizeH="0" baseline="0" noProof="0" dirty="0">
                <a:ln>
                  <a:noFill/>
                </a:ln>
                <a:solidFill>
                  <a:srgbClr val="005CB9">
                    <a:lumMod val="50000"/>
                  </a:srgbClr>
                </a:solidFill>
                <a:effectLst/>
                <a:uLnTx/>
                <a:uFillTx/>
                <a:latin typeface="Arial" panose="020B0604020202020204" pitchFamily="34" charset="0"/>
                <a:ea typeface="+mn-ea"/>
                <a:cs typeface="Arial" panose="020B0604020202020204" pitchFamily="34" charset="0"/>
              </a:rPr>
              <a:t>2024 IRC Review Rounds</a:t>
            </a:r>
          </a:p>
        </p:txBody>
      </p:sp>
      <p:pic>
        <p:nvPicPr>
          <p:cNvPr id="7" name="Picture 6">
            <a:extLst>
              <a:ext uri="{FF2B5EF4-FFF2-40B4-BE49-F238E27FC236}">
                <a16:creationId xmlns:a16="http://schemas.microsoft.com/office/drawing/2014/main" id="{B6B9A4E1-D82D-3D51-FB2E-0EA652FA2BDB}"/>
              </a:ext>
            </a:extLst>
          </p:cNvPr>
          <p:cNvPicPr>
            <a:picLocks noChangeAspect="1"/>
          </p:cNvPicPr>
          <p:nvPr/>
        </p:nvPicPr>
        <p:blipFill>
          <a:blip r:embed="rId2"/>
          <a:stretch>
            <a:fillRect/>
          </a:stretch>
        </p:blipFill>
        <p:spPr>
          <a:xfrm>
            <a:off x="6363418" y="1923357"/>
            <a:ext cx="5621874" cy="2429561"/>
          </a:xfrm>
          <a:prstGeom prst="rect">
            <a:avLst/>
          </a:prstGeom>
        </p:spPr>
      </p:pic>
      <p:sp>
        <p:nvSpPr>
          <p:cNvPr id="5" name="Footer Placeholder 4">
            <a:extLst>
              <a:ext uri="{FF2B5EF4-FFF2-40B4-BE49-F238E27FC236}">
                <a16:creationId xmlns:a16="http://schemas.microsoft.com/office/drawing/2014/main" id="{E65497BA-AF0C-0A73-8C2C-86005DB226C4}"/>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tint val="75000"/>
                  </a:srgbClr>
                </a:solidFill>
                <a:effectLst/>
                <a:uLnTx/>
                <a:uFillTx/>
                <a:latin typeface="Arial" panose="020B0604020202020204" pitchFamily="34" charset="0"/>
                <a:ea typeface="+mn-ea"/>
                <a:cs typeface="Arial" panose="020B0604020202020204" pitchFamily="34" charset="0"/>
              </a:rPr>
              <a:t>GNN webinar on rabies 6 May 2024</a:t>
            </a:r>
            <a:endParaRPr kumimoji="0" lang="en-GB" sz="800" b="0" i="0" u="none" strike="noStrike" kern="1200" cap="none" spc="0" normalizeH="0" baseline="0" noProof="0">
              <a:ln>
                <a:noFill/>
              </a:ln>
              <a:solidFill>
                <a:srgbClr val="000000">
                  <a:tint val="75000"/>
                </a:srgb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427384938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B6F71AE-24D5-F964-C3E5-2529011C2692}"/>
              </a:ext>
            </a:extLst>
          </p:cNvPr>
          <p:cNvSpPr>
            <a:spLocks noGrp="1"/>
          </p:cNvSpPr>
          <p:nvPr>
            <p:ph type="body" sz="quarter" idx="12"/>
          </p:nvPr>
        </p:nvSpPr>
        <p:spPr>
          <a:xfrm>
            <a:off x="6653214" y="2460171"/>
            <a:ext cx="5012580" cy="2859974"/>
          </a:xfrm>
        </p:spPr>
        <p:txBody>
          <a:bodyPr vert="horz" lIns="0" tIns="0" rIns="0" bIns="0" rtlCol="0">
            <a:normAutofit lnSpcReduction="10000"/>
          </a:bodyPr>
          <a:lstStyle/>
          <a:p>
            <a:pPr>
              <a:lnSpc>
                <a:spcPct val="100000"/>
              </a:lnSpc>
            </a:pPr>
            <a:r>
              <a:rPr lang="en-US" sz="5000" b="0">
                <a:latin typeface="Arial"/>
                <a:cs typeface="Arial"/>
              </a:rPr>
              <a:t>Gavi Rabies Vaccine programme support </a:t>
            </a:r>
            <a:endParaRPr lang="en-US" sz="5000" b="0"/>
          </a:p>
        </p:txBody>
      </p:sp>
      <p:sp>
        <p:nvSpPr>
          <p:cNvPr id="10" name="Text Placeholder 3">
            <a:extLst>
              <a:ext uri="{FF2B5EF4-FFF2-40B4-BE49-F238E27FC236}">
                <a16:creationId xmlns:a16="http://schemas.microsoft.com/office/drawing/2014/main" id="{0E35110E-E916-B6FF-28E4-ED07753D5561}"/>
              </a:ext>
            </a:extLst>
          </p:cNvPr>
          <p:cNvSpPr>
            <a:spLocks noGrp="1"/>
          </p:cNvSpPr>
          <p:nvPr>
            <p:ph type="body" sz="quarter" idx="14"/>
          </p:nvPr>
        </p:nvSpPr>
        <p:spPr>
          <a:xfrm>
            <a:off x="515938" y="1963923"/>
            <a:ext cx="5064591" cy="3104603"/>
          </a:xfrm>
        </p:spPr>
        <p:txBody>
          <a:bodyPr/>
          <a:lstStyle/>
          <a:p>
            <a:r>
              <a:rPr lang="en-US" dirty="0"/>
              <a:t>3</a:t>
            </a:r>
          </a:p>
        </p:txBody>
      </p:sp>
    </p:spTree>
    <p:extLst>
      <p:ext uri="{BB962C8B-B14F-4D97-AF65-F5344CB8AC3E}">
        <p14:creationId xmlns:p14="http://schemas.microsoft.com/office/powerpoint/2010/main" val="17452405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54C3C778-7A06-4EF9-4A93-CC962465B77D}"/>
              </a:ext>
            </a:extLst>
          </p:cNvPr>
          <p:cNvSpPr>
            <a:spLocks noGrp="1"/>
          </p:cNvSpPr>
          <p:nvPr>
            <p:ph type="title"/>
          </p:nvPr>
        </p:nvSpPr>
        <p:spPr>
          <a:xfrm>
            <a:off x="5885895" y="2569180"/>
            <a:ext cx="5581149" cy="859820"/>
          </a:xfrm>
        </p:spPr>
        <p:txBody>
          <a:bodyPr>
            <a:normAutofit/>
          </a:bodyPr>
          <a:lstStyle/>
          <a:p>
            <a:r>
              <a:rPr lang="en-US" sz="3200" dirty="0"/>
              <a:t>Vaccine Funding Guidelines</a:t>
            </a:r>
          </a:p>
        </p:txBody>
      </p:sp>
      <p:sp>
        <p:nvSpPr>
          <p:cNvPr id="4" name="Slide Number Placeholder 3">
            <a:extLst>
              <a:ext uri="{FF2B5EF4-FFF2-40B4-BE49-F238E27FC236}">
                <a16:creationId xmlns:a16="http://schemas.microsoft.com/office/drawing/2014/main" id="{B14434D2-ADC8-8CBA-9F11-8D722E2BA468}"/>
              </a:ext>
            </a:extLst>
          </p:cNvPr>
          <p:cNvSpPr>
            <a:spLocks noGrp="1"/>
          </p:cNvSpPr>
          <p:nvPr>
            <p:ph type="sldNum" sz="quarter" idx="12"/>
          </p:nvPr>
        </p:nvSpPr>
        <p:spPr bwMode="gray">
          <a:xfrm>
            <a:off x="515937" y="5924517"/>
            <a:ext cx="261630" cy="136526"/>
          </a:xfrm>
          <a:prstGeom prst="rect">
            <a:avLst/>
          </a:prstGeom>
        </p:spPr>
        <p:txBody>
          <a:bodyPr vert="horz" lIns="0" tIns="21600" rIns="0" bIns="0" rtlCol="0" anchor="t" anchorCtr="0">
            <a:noAutofit/>
          </a:bodyPr>
          <a:lstStyle>
            <a:defPPr>
              <a:defRPr lang="en-US"/>
            </a:defPPr>
            <a:lvl1pPr marL="0" algn="l" defTabSz="914400" rtl="0" eaLnBrk="1" latinLnBrk="0" hangingPunct="1">
              <a:defRPr sz="1200" b="1"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733122C9-A0B9-462F-8757-0847AD287B63}" type="slidenum">
              <a:rPr kumimoji="0" lang="en-GB" sz="1200" b="1"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3</a:t>
            </a:fld>
            <a:endParaRPr kumimoji="0" sz="1200" b="1" i="0" u="none" strike="noStrike" kern="1200" cap="none" spc="0" normalizeH="0" baseline="0" noProof="0">
              <a:ln>
                <a:noFill/>
              </a:ln>
              <a:solidFill>
                <a:srgbClr val="000000"/>
              </a:solidFill>
              <a:effectLst/>
              <a:uLnTx/>
              <a:uFillTx/>
              <a:latin typeface="Calibri" panose="020F0502020204030204"/>
              <a:ea typeface="+mn-ea"/>
              <a:cs typeface="+mn-cs"/>
            </a:endParaRPr>
          </a:p>
        </p:txBody>
      </p:sp>
      <p:pic>
        <p:nvPicPr>
          <p:cNvPr id="6" name="Picture 5">
            <a:extLst>
              <a:ext uri="{FF2B5EF4-FFF2-40B4-BE49-F238E27FC236}">
                <a16:creationId xmlns:a16="http://schemas.microsoft.com/office/drawing/2014/main" id="{EF755390-E326-91DF-32D9-F4A48A009B1B}"/>
              </a:ext>
            </a:extLst>
          </p:cNvPr>
          <p:cNvPicPr>
            <a:picLocks noChangeAspect="1"/>
          </p:cNvPicPr>
          <p:nvPr/>
        </p:nvPicPr>
        <p:blipFill rotWithShape="1">
          <a:blip r:embed="rId3"/>
          <a:srcRect b="10438"/>
          <a:stretch/>
        </p:blipFill>
        <p:spPr>
          <a:xfrm>
            <a:off x="195309" y="0"/>
            <a:ext cx="5096956" cy="6287538"/>
          </a:xfrm>
          <a:prstGeom prst="rect">
            <a:avLst/>
          </a:prstGeom>
        </p:spPr>
      </p:pic>
      <p:sp>
        <p:nvSpPr>
          <p:cNvPr id="7" name="Oval 6">
            <a:extLst>
              <a:ext uri="{FF2B5EF4-FFF2-40B4-BE49-F238E27FC236}">
                <a16:creationId xmlns:a16="http://schemas.microsoft.com/office/drawing/2014/main" id="{B3320492-C272-AEE3-CBAB-9E902A909E26}"/>
              </a:ext>
            </a:extLst>
          </p:cNvPr>
          <p:cNvSpPr/>
          <p:nvPr/>
        </p:nvSpPr>
        <p:spPr>
          <a:xfrm>
            <a:off x="320627" y="4651900"/>
            <a:ext cx="4971637" cy="258904"/>
          </a:xfrm>
          <a:prstGeom prst="ellipse">
            <a:avLst/>
          </a:prstGeom>
          <a:solidFill>
            <a:schemeClr val="accent1">
              <a:alpha val="0"/>
            </a:schemeClr>
          </a:solidFill>
          <a:ln w="3492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Footer Placeholder 1">
            <a:extLst>
              <a:ext uri="{FF2B5EF4-FFF2-40B4-BE49-F238E27FC236}">
                <a16:creationId xmlns:a16="http://schemas.microsoft.com/office/drawing/2014/main" id="{EBD0FA10-9498-2B44-8F30-5B1CDCDBAABC}"/>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tint val="75000"/>
                  </a:srgbClr>
                </a:solidFill>
                <a:effectLst/>
                <a:uLnTx/>
                <a:uFillTx/>
                <a:latin typeface="Arial" panose="020B0604020202020204" pitchFamily="34" charset="0"/>
                <a:ea typeface="+mn-ea"/>
                <a:cs typeface="Arial" panose="020B0604020202020204" pitchFamily="34" charset="0"/>
              </a:rPr>
              <a:t>GNN webinar on rabies 6 May 2024</a:t>
            </a:r>
            <a:endParaRPr kumimoji="0" lang="en-GB" sz="800" b="0" i="0" u="none" strike="noStrike" kern="1200" cap="none" spc="0" normalizeH="0" baseline="0" noProof="0">
              <a:ln>
                <a:noFill/>
              </a:ln>
              <a:solidFill>
                <a:srgbClr val="000000">
                  <a:tint val="75000"/>
                </a:srgb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76390791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55D3FA-5600-AD68-B7C1-114EB8524D42}"/>
              </a:ext>
            </a:extLst>
          </p:cNvPr>
          <p:cNvSpPr>
            <a:spLocks noGrp="1"/>
          </p:cNvSpPr>
          <p:nvPr>
            <p:ph type="title"/>
          </p:nvPr>
        </p:nvSpPr>
        <p:spPr/>
        <p:txBody>
          <a:bodyPr>
            <a:normAutofit/>
          </a:bodyPr>
          <a:lstStyle/>
          <a:p>
            <a:r>
              <a:rPr lang="en-GB" sz="2800"/>
              <a:t>Programme overview</a:t>
            </a:r>
          </a:p>
        </p:txBody>
      </p:sp>
      <p:sp>
        <p:nvSpPr>
          <p:cNvPr id="10" name="Rectangle 9">
            <a:extLst>
              <a:ext uri="{FF2B5EF4-FFF2-40B4-BE49-F238E27FC236}">
                <a16:creationId xmlns:a16="http://schemas.microsoft.com/office/drawing/2014/main" id="{B445282D-414D-EB3C-F66C-CCF4BD5A79D3}"/>
              </a:ext>
            </a:extLst>
          </p:cNvPr>
          <p:cNvSpPr/>
          <p:nvPr/>
        </p:nvSpPr>
        <p:spPr>
          <a:xfrm>
            <a:off x="482667" y="982000"/>
            <a:ext cx="1548280" cy="5295882"/>
          </a:xfrm>
          <a:prstGeom prst="rect">
            <a:avLst/>
          </a:prstGeom>
          <a:solidFill>
            <a:schemeClr val="tx2">
              <a:lumMod val="20000"/>
              <a:lumOff val="80000"/>
            </a:schemeClr>
          </a:solidFill>
          <a:ln>
            <a:solidFill>
              <a:schemeClr val="tx2">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21" name="Group 20">
            <a:extLst>
              <a:ext uri="{FF2B5EF4-FFF2-40B4-BE49-F238E27FC236}">
                <a16:creationId xmlns:a16="http://schemas.microsoft.com/office/drawing/2014/main" id="{C4B8E3FD-443B-1F13-DD85-DF78D815E3DD}"/>
              </a:ext>
            </a:extLst>
          </p:cNvPr>
          <p:cNvGrpSpPr/>
          <p:nvPr/>
        </p:nvGrpSpPr>
        <p:grpSpPr>
          <a:xfrm>
            <a:off x="1017081" y="3320390"/>
            <a:ext cx="454525" cy="454525"/>
            <a:chOff x="956441" y="1399516"/>
            <a:chExt cx="592778" cy="592778"/>
          </a:xfrm>
        </p:grpSpPr>
        <p:sp>
          <p:nvSpPr>
            <p:cNvPr id="12" name="Oval 11">
              <a:extLst>
                <a:ext uri="{FF2B5EF4-FFF2-40B4-BE49-F238E27FC236}">
                  <a16:creationId xmlns:a16="http://schemas.microsoft.com/office/drawing/2014/main" id="{0708B148-02E0-AF14-A48E-D45A762E6559}"/>
                </a:ext>
              </a:extLst>
            </p:cNvPr>
            <p:cNvSpPr/>
            <p:nvPr/>
          </p:nvSpPr>
          <p:spPr>
            <a:xfrm>
              <a:off x="956441" y="1399516"/>
              <a:ext cx="592778" cy="592778"/>
            </a:xfrm>
            <a:prstGeom prst="ellipse">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3" name="Graphic 12" descr="Needle outline">
              <a:extLst>
                <a:ext uri="{FF2B5EF4-FFF2-40B4-BE49-F238E27FC236}">
                  <a16:creationId xmlns:a16="http://schemas.microsoft.com/office/drawing/2014/main" id="{B38C7DF2-35E1-76C6-EA24-B7E6CC041CE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14248" y="1487884"/>
              <a:ext cx="456528" cy="456528"/>
            </a:xfrm>
            <a:prstGeom prst="rect">
              <a:avLst/>
            </a:prstGeom>
          </p:spPr>
        </p:pic>
      </p:grpSp>
      <p:sp>
        <p:nvSpPr>
          <p:cNvPr id="22" name="TextBox 21">
            <a:extLst>
              <a:ext uri="{FF2B5EF4-FFF2-40B4-BE49-F238E27FC236}">
                <a16:creationId xmlns:a16="http://schemas.microsoft.com/office/drawing/2014/main" id="{9397C675-EAEA-45BF-FC1D-6479FADDBE00}"/>
              </a:ext>
            </a:extLst>
          </p:cNvPr>
          <p:cNvSpPr txBox="1"/>
          <p:nvPr/>
        </p:nvSpPr>
        <p:spPr>
          <a:xfrm>
            <a:off x="636697" y="3795837"/>
            <a:ext cx="124022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rPr>
              <a:t>Available support</a:t>
            </a:r>
          </a:p>
        </p:txBody>
      </p:sp>
      <p:sp>
        <p:nvSpPr>
          <p:cNvPr id="3" name="TextBox 2">
            <a:extLst>
              <a:ext uri="{FF2B5EF4-FFF2-40B4-BE49-F238E27FC236}">
                <a16:creationId xmlns:a16="http://schemas.microsoft.com/office/drawing/2014/main" id="{C732A8DA-C24D-0A3B-6C33-F84BED692166}"/>
              </a:ext>
            </a:extLst>
          </p:cNvPr>
          <p:cNvSpPr txBox="1"/>
          <p:nvPr/>
        </p:nvSpPr>
        <p:spPr>
          <a:xfrm>
            <a:off x="2030947" y="1530363"/>
            <a:ext cx="9700117" cy="3715569"/>
          </a:xfrm>
          <a:prstGeom prst="rect">
            <a:avLst/>
          </a:prstGeom>
          <a:noFill/>
        </p:spPr>
        <p:txBody>
          <a:bodyPr wrap="square">
            <a:spAutoFit/>
          </a:bodyPr>
          <a:lstStyle/>
          <a:p>
            <a:pPr marL="342900" marR="0" lvl="0" indent="-342900" algn="l" defTabSz="914400" rtl="0" eaLnBrk="1" fontAlgn="auto" latinLnBrk="0" hangingPunct="1">
              <a:lnSpc>
                <a:spcPct val="107000"/>
              </a:lnSpc>
              <a:spcBef>
                <a:spcPts val="1000"/>
              </a:spcBef>
              <a:spcAft>
                <a:spcPts val="0"/>
              </a:spcAft>
              <a:buClrTx/>
              <a:buSzTx/>
              <a:buFont typeface="Symbol" panose="05050102010706020507" pitchFamily="18" charset="2"/>
              <a:buChar char=""/>
              <a:tabLst/>
              <a:defRPr/>
            </a:pPr>
            <a:r>
              <a:rPr kumimoji="0" lang="en-US" sz="1800" b="1" i="0" u="none" strike="noStrike" kern="1200" cap="none" spc="0" normalizeH="0" baseline="0" noProof="0">
                <a:ln>
                  <a:noFill/>
                </a:ln>
                <a:solidFill>
                  <a:srgbClr val="002060"/>
                </a:solidFill>
                <a:effectLst/>
                <a:uLnTx/>
                <a:uFillTx/>
                <a:latin typeface="Arial" panose="020B0604020202020204" pitchFamily="34" charset="0"/>
                <a:ea typeface="Calibri" panose="020F0502020204030204" pitchFamily="34" charset="0"/>
                <a:cs typeface="Arial" panose="020B0604020202020204" pitchFamily="34" charset="0"/>
              </a:rPr>
              <a:t>Incremental support </a:t>
            </a:r>
            <a:r>
              <a:rPr kumimoji="0" lang="en-US" sz="1800" b="0" i="0" u="none" strike="noStrike" kern="1200" cap="none" spc="0" normalizeH="0" baseline="0" noProof="0">
                <a:ln>
                  <a:noFill/>
                </a:ln>
                <a:solidFill>
                  <a:srgbClr val="002060"/>
                </a:solidFill>
                <a:effectLst/>
                <a:uLnTx/>
                <a:uFillTx/>
                <a:latin typeface="Arial" panose="020B0604020202020204" pitchFamily="34" charset="0"/>
                <a:ea typeface="Calibri" panose="020F0502020204030204" pitchFamily="34" charset="0"/>
                <a:cs typeface="Arial" panose="020B0604020202020204" pitchFamily="34" charset="0"/>
              </a:rPr>
              <a:t>(in addition to existing domestic funding) to help reinforce and strengthen countries’ existing rabies programmes. </a:t>
            </a:r>
          </a:p>
          <a:p>
            <a:pPr marL="342900" marR="0" lvl="0" indent="-342900" algn="l" defTabSz="914400" rtl="0" eaLnBrk="1" fontAlgn="auto" latinLnBrk="0" hangingPunct="1">
              <a:lnSpc>
                <a:spcPct val="107000"/>
              </a:lnSpc>
              <a:spcBef>
                <a:spcPts val="1000"/>
              </a:spcBef>
              <a:spcAft>
                <a:spcPts val="0"/>
              </a:spcAft>
              <a:buClrTx/>
              <a:buSzTx/>
              <a:buFont typeface="Symbol" panose="05050102010706020507" pitchFamily="18" charset="2"/>
              <a:buChar char=""/>
              <a:tabLst/>
              <a:defRPr/>
            </a:pPr>
            <a:r>
              <a:rPr kumimoji="0" lang="en-US" sz="1800" b="1" i="0" u="none" strike="noStrike" kern="1200" cap="none" spc="0" normalizeH="0" baseline="0" noProof="0">
                <a:ln>
                  <a:noFill/>
                </a:ln>
                <a:solidFill>
                  <a:srgbClr val="002060"/>
                </a:solidFill>
                <a:effectLst/>
                <a:uLnTx/>
                <a:uFillTx/>
                <a:latin typeface="Arial" panose="020B0604020202020204" pitchFamily="34" charset="0"/>
                <a:ea typeface="Calibri" panose="020F0502020204030204" pitchFamily="34" charset="0"/>
                <a:cs typeface="Arial" panose="020B0604020202020204" pitchFamily="34" charset="0"/>
              </a:rPr>
              <a:t>Vaccine procurement and associated supplies (e.g., injection safety devices); </a:t>
            </a:r>
            <a:r>
              <a:rPr kumimoji="0" lang="en-US" sz="1800" b="0" i="0" u="none" strike="noStrike" kern="1200" cap="none" spc="0" normalizeH="0" baseline="0" noProof="0">
                <a:ln>
                  <a:noFill/>
                </a:ln>
                <a:solidFill>
                  <a:srgbClr val="002060"/>
                </a:solidFill>
                <a:effectLst/>
                <a:uLnTx/>
                <a:uFillTx/>
                <a:latin typeface="Arial" panose="020B0604020202020204" pitchFamily="34" charset="0"/>
                <a:ea typeface="Calibri" panose="020F0502020204030204" pitchFamily="34" charset="0"/>
                <a:cs typeface="Arial" panose="020B0604020202020204" pitchFamily="34" charset="0"/>
              </a:rPr>
              <a:t>No support for Prep or rabies immune globulin (RIG)</a:t>
            </a:r>
          </a:p>
          <a:p>
            <a:pPr marL="342900" marR="0" lvl="0" indent="-342900" algn="l" defTabSz="914400" rtl="0" eaLnBrk="1" fontAlgn="auto" latinLnBrk="0" hangingPunct="1">
              <a:lnSpc>
                <a:spcPct val="107000"/>
              </a:lnSpc>
              <a:spcBef>
                <a:spcPts val="1000"/>
              </a:spcBef>
              <a:spcAft>
                <a:spcPts val="0"/>
              </a:spcAft>
              <a:buClrTx/>
              <a:buSzTx/>
              <a:buFont typeface="Symbol" panose="05050102010706020507" pitchFamily="18" charset="2"/>
              <a:buChar char=""/>
              <a:tabLst/>
              <a:defRPr/>
            </a:pPr>
            <a:r>
              <a:rPr kumimoji="0" lang="en-US" sz="1800" b="1" i="0" u="none" strike="noStrike" kern="1200" cap="none" spc="0" normalizeH="0" baseline="0" noProof="0">
                <a:ln>
                  <a:noFill/>
                </a:ln>
                <a:solidFill>
                  <a:srgbClr val="002060"/>
                </a:solidFill>
                <a:effectLst/>
                <a:uLnTx/>
                <a:uFillTx/>
                <a:latin typeface="Arial" panose="020B0604020202020204" pitchFamily="34" charset="0"/>
                <a:ea typeface="Calibri" panose="020F0502020204030204" pitchFamily="34" charset="0"/>
                <a:cs typeface="Arial" panose="020B0604020202020204" pitchFamily="34" charset="0"/>
              </a:rPr>
              <a:t>Vaccine Introduction Grants (VIGs): </a:t>
            </a:r>
            <a:r>
              <a:rPr kumimoji="0" lang="en-US" sz="1800" b="0" i="0" u="none" strike="noStrike" kern="1200" cap="none" spc="0" normalizeH="0" baseline="0" noProof="0">
                <a:ln>
                  <a:noFill/>
                </a:ln>
                <a:solidFill>
                  <a:srgbClr val="002060"/>
                </a:solidFill>
                <a:effectLst/>
                <a:uLnTx/>
                <a:uFillTx/>
                <a:latin typeface="Arial" panose="020B0604020202020204" pitchFamily="34" charset="0"/>
                <a:ea typeface="Calibri" panose="020F0502020204030204" pitchFamily="34" charset="0"/>
                <a:cs typeface="Arial" panose="020B0604020202020204" pitchFamily="34" charset="0"/>
              </a:rPr>
              <a:t>Financial support for activities to facilitate the introduction of the rabies PEP vaccine </a:t>
            </a:r>
          </a:p>
          <a:p>
            <a:pPr marL="342900" marR="0" lvl="0" indent="-342900" algn="l" defTabSz="914400" rtl="0" eaLnBrk="1" fontAlgn="auto" latinLnBrk="0" hangingPunct="1">
              <a:lnSpc>
                <a:spcPct val="107000"/>
              </a:lnSpc>
              <a:spcBef>
                <a:spcPts val="1000"/>
              </a:spcBef>
              <a:spcAft>
                <a:spcPts val="0"/>
              </a:spcAft>
              <a:buClrTx/>
              <a:buSzTx/>
              <a:buFont typeface="Symbol" panose="05050102010706020507" pitchFamily="18" charset="2"/>
              <a:buChar char=""/>
              <a:tabLst/>
              <a:defRPr/>
            </a:pPr>
            <a:r>
              <a:rPr kumimoji="0" lang="en-US" sz="1800" b="1" i="0" u="none" strike="noStrike" kern="1200" cap="none" spc="0" normalizeH="0" baseline="0" noProof="0">
                <a:ln>
                  <a:noFill/>
                </a:ln>
                <a:solidFill>
                  <a:srgbClr val="002060"/>
                </a:solidFill>
                <a:effectLst/>
                <a:uLnTx/>
                <a:uFillTx/>
                <a:latin typeface="Arial" panose="020B0604020202020204" pitchFamily="34" charset="0"/>
                <a:ea typeface="Calibri" panose="020F0502020204030204" pitchFamily="34" charset="0"/>
                <a:cs typeface="Arial" panose="020B0604020202020204" pitchFamily="34" charset="0"/>
              </a:rPr>
              <a:t>Other Gavi support – </a:t>
            </a:r>
            <a:r>
              <a:rPr kumimoji="0" lang="en-US" sz="1800" b="0" i="0" u="none" strike="noStrike" kern="1200" cap="none" spc="0" normalizeH="0" baseline="0" noProof="0">
                <a:ln>
                  <a:noFill/>
                </a:ln>
                <a:solidFill>
                  <a:srgbClr val="002060"/>
                </a:solidFill>
                <a:effectLst/>
                <a:uLnTx/>
                <a:uFillTx/>
                <a:latin typeface="Arial" panose="020B0604020202020204" pitchFamily="34" charset="0"/>
                <a:ea typeface="Calibri" panose="020F0502020204030204" pitchFamily="34" charset="0"/>
                <a:cs typeface="Arial" panose="020B0604020202020204" pitchFamily="34" charset="0"/>
              </a:rPr>
              <a:t>The rabies PEP vaccine will be introduced with a non-traditional schedule across all age groups. Countries are encouraged to utilise the full range of Gavi support including HSS grants (within the existing ceiling after accounting for other programmatic priorities), TCA and, where applicable, EAF to support the establishment and strengthening of platforms for delivery of these vaccines.</a:t>
            </a:r>
          </a:p>
        </p:txBody>
      </p:sp>
      <p:sp>
        <p:nvSpPr>
          <p:cNvPr id="4" name="Footer Placeholder 3">
            <a:extLst>
              <a:ext uri="{FF2B5EF4-FFF2-40B4-BE49-F238E27FC236}">
                <a16:creationId xmlns:a16="http://schemas.microsoft.com/office/drawing/2014/main" id="{E74B8D29-345D-1DD0-8F82-2D06B58D6D1C}"/>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tint val="75000"/>
                  </a:srgbClr>
                </a:solidFill>
                <a:effectLst/>
                <a:uLnTx/>
                <a:uFillTx/>
                <a:latin typeface="Arial" panose="020B0604020202020204" pitchFamily="34" charset="0"/>
                <a:ea typeface="+mn-ea"/>
                <a:cs typeface="Arial" panose="020B0604020202020204" pitchFamily="34" charset="0"/>
              </a:rPr>
              <a:t>GNN webinar on rabies 6 May 2024</a:t>
            </a:r>
            <a:endParaRPr kumimoji="0" lang="en-GB" sz="800" b="0" i="0" u="none" strike="noStrike" kern="1200" cap="none" spc="0" normalizeH="0" baseline="0" noProof="0">
              <a:ln>
                <a:noFill/>
              </a:ln>
              <a:solidFill>
                <a:srgbClr val="000000">
                  <a:tint val="75000"/>
                </a:srgbClr>
              </a:solidFill>
              <a:effectLst/>
              <a:uLnTx/>
              <a:uFillTx/>
              <a:latin typeface="Arial" panose="020B0604020202020204" pitchFamily="34" charset="0"/>
              <a:ea typeface="+mn-ea"/>
              <a:cs typeface="Arial" panose="020B0604020202020204" pitchFamily="34" charset="0"/>
            </a:endParaRPr>
          </a:p>
        </p:txBody>
      </p:sp>
      <p:sp>
        <p:nvSpPr>
          <p:cNvPr id="5" name="Slide Number Placeholder 4">
            <a:extLst>
              <a:ext uri="{FF2B5EF4-FFF2-40B4-BE49-F238E27FC236}">
                <a16:creationId xmlns:a16="http://schemas.microsoft.com/office/drawing/2014/main" id="{21280ED5-3289-9965-855E-F7C2F1914F96}"/>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B746B08-255A-2748-8A21-40BE94A17FD1}" type="slidenum">
              <a:rPr kumimoji="0" lang="en-GB" sz="800" b="0" i="0" u="none" strike="noStrike" kern="1200" cap="none" spc="0" normalizeH="0" baseline="0" noProof="0" smtClean="0">
                <a:ln>
                  <a:noFill/>
                </a:ln>
                <a:solidFill>
                  <a:srgbClr val="000000">
                    <a:lumMod val="50000"/>
                    <a:lumOff val="50000"/>
                  </a:srgbClr>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4</a:t>
            </a:fld>
            <a:endParaRPr kumimoji="0" lang="en-GB" sz="800" b="0" i="0" u="none" strike="noStrike" kern="1200" cap="none" spc="0" normalizeH="0" baseline="0" noProof="0">
              <a:ln>
                <a:noFill/>
              </a:ln>
              <a:solidFill>
                <a:srgbClr val="000000">
                  <a:lumMod val="50000"/>
                  <a:lumOff val="50000"/>
                </a:srgb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29489647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A65D98-C7B3-136A-06A4-3653F689B2BE}"/>
              </a:ext>
            </a:extLst>
          </p:cNvPr>
          <p:cNvSpPr>
            <a:spLocks noGrp="1"/>
          </p:cNvSpPr>
          <p:nvPr>
            <p:ph type="title"/>
          </p:nvPr>
        </p:nvSpPr>
        <p:spPr/>
        <p:txBody>
          <a:bodyPr>
            <a:normAutofit/>
          </a:bodyPr>
          <a:lstStyle/>
          <a:p>
            <a:r>
              <a:rPr lang="en-US" sz="2800"/>
              <a:t>Key programmatic considerations</a:t>
            </a:r>
          </a:p>
        </p:txBody>
      </p:sp>
      <p:sp>
        <p:nvSpPr>
          <p:cNvPr id="3" name="Text Placeholder 2">
            <a:extLst>
              <a:ext uri="{FF2B5EF4-FFF2-40B4-BE49-F238E27FC236}">
                <a16:creationId xmlns:a16="http://schemas.microsoft.com/office/drawing/2014/main" id="{A2D30D87-80FB-C3E1-754E-CAB00ACDF7B4}"/>
              </a:ext>
            </a:extLst>
          </p:cNvPr>
          <p:cNvSpPr>
            <a:spLocks noGrp="1"/>
          </p:cNvSpPr>
          <p:nvPr>
            <p:ph type="body" idx="13"/>
          </p:nvPr>
        </p:nvSpPr>
        <p:spPr>
          <a:xfrm>
            <a:off x="426128" y="1260629"/>
            <a:ext cx="11249935" cy="4652806"/>
          </a:xfrm>
        </p:spPr>
        <p:txBody>
          <a:bodyPr>
            <a:normAutofit/>
          </a:bodyPr>
          <a:lstStyle/>
          <a:p>
            <a:pPr marL="342900" indent="-342900" algn="just">
              <a:buFont typeface="Arial" panose="020B0604020202020204" pitchFamily="34" charset="0"/>
              <a:buChar char="•"/>
            </a:pPr>
            <a:r>
              <a:rPr lang="en-US" sz="1900" b="1" dirty="0"/>
              <a:t>Country decision for vaccine introduction: </a:t>
            </a:r>
            <a:r>
              <a:rPr lang="en-US" sz="1900" dirty="0"/>
              <a:t>applications must provide a confirmation of the country’s decision to introduce the rabies PEP vaccine - </a:t>
            </a:r>
            <a:r>
              <a:rPr lang="en-US" sz="1900" b="1" dirty="0"/>
              <a:t>Minister of Health or delegated authority </a:t>
            </a:r>
            <a:r>
              <a:rPr lang="en-US" sz="1900" dirty="0"/>
              <a:t>signoff, minutes of the </a:t>
            </a:r>
            <a:r>
              <a:rPr lang="en-US" sz="1900" b="1" dirty="0"/>
              <a:t>National Immunization Technical Advisory Group (NITAG) </a:t>
            </a:r>
            <a:r>
              <a:rPr lang="en-US" sz="1900" dirty="0"/>
              <a:t>&amp; </a:t>
            </a:r>
            <a:r>
              <a:rPr lang="en-US" sz="1900" b="1" dirty="0"/>
              <a:t>immunisation Inter-agency Coordination Committee (ICC)</a:t>
            </a:r>
            <a:r>
              <a:rPr lang="en-US" sz="1900" dirty="0"/>
              <a:t> meeting, or any other policy body in the country that made the recommendation for rabies vaccine introduction</a:t>
            </a:r>
          </a:p>
          <a:p>
            <a:pPr marL="342900" indent="-342900" algn="just">
              <a:buFont typeface="Arial" panose="020B0604020202020204" pitchFamily="34" charset="0"/>
              <a:buChar char="•"/>
            </a:pPr>
            <a:endParaRPr lang="en-US" sz="1900" dirty="0"/>
          </a:p>
          <a:p>
            <a:pPr marL="342900" indent="-342900" algn="just">
              <a:buFont typeface="Arial" panose="020B0604020202020204" pitchFamily="34" charset="0"/>
              <a:buChar char="•"/>
            </a:pPr>
            <a:r>
              <a:rPr lang="en-US" sz="1900" b="1" dirty="0"/>
              <a:t>Target population and dose estimation</a:t>
            </a:r>
            <a:r>
              <a:rPr lang="en-US" sz="1900" dirty="0"/>
              <a:t>: vaccine targets all age groups and is given post-exposure (after dog bite) – potential challenges with defining targets and dose estimation</a:t>
            </a:r>
          </a:p>
          <a:p>
            <a:pPr marL="342900" indent="-342900" algn="just">
              <a:buFont typeface="Arial" panose="020B0604020202020204" pitchFamily="34" charset="0"/>
              <a:buChar char="•"/>
            </a:pPr>
            <a:endParaRPr lang="en-US" sz="1900" dirty="0"/>
          </a:p>
          <a:p>
            <a:pPr marL="342900" indent="-342900" algn="just">
              <a:buFont typeface="Arial" panose="020B0604020202020204" pitchFamily="34" charset="0"/>
              <a:buChar char="•"/>
            </a:pPr>
            <a:r>
              <a:rPr lang="en-ZW" sz="1900" b="1" dirty="0">
                <a:effectLst/>
                <a:ea typeface="Calibri" panose="020F0502020204030204" pitchFamily="34" charset="0"/>
              </a:rPr>
              <a:t>Vaccine delivery schedules:</a:t>
            </a:r>
            <a:r>
              <a:rPr lang="en-ZW" sz="1900" dirty="0">
                <a:effectLst/>
                <a:ea typeface="Calibri" panose="020F0502020204030204" pitchFamily="34" charset="0"/>
              </a:rPr>
              <a:t> </a:t>
            </a:r>
            <a:r>
              <a:rPr lang="en-US" sz="1900" dirty="0">
                <a:effectLst/>
                <a:ea typeface="Calibri" panose="020F0502020204030204" pitchFamily="34" charset="0"/>
              </a:rPr>
              <a:t>Countries are strongly encouraged to transition from IM to ID schedules and use Gavi VIGs support for this including for relevant training of healthcare workers (HCWs). Countries are required to submit their detailed training plans as part of their HRVIP.</a:t>
            </a:r>
            <a:endParaRPr lang="en-ZW" sz="1900" dirty="0">
              <a:effectLst/>
              <a:ea typeface="Calibri" panose="020F0502020204030204" pitchFamily="34" charset="0"/>
            </a:endParaRPr>
          </a:p>
          <a:p>
            <a:pPr marL="342900" indent="-342900" algn="just">
              <a:buFont typeface="Arial" panose="020B0604020202020204" pitchFamily="34" charset="0"/>
              <a:buChar char="•"/>
            </a:pPr>
            <a:endParaRPr lang="en-US" sz="1400" dirty="0"/>
          </a:p>
          <a:p>
            <a:pPr marL="342900" indent="-342900">
              <a:buFont typeface="Arial" panose="020B0604020202020204" pitchFamily="34" charset="0"/>
              <a:buChar char="•"/>
            </a:pPr>
            <a:endParaRPr lang="en-US" dirty="0"/>
          </a:p>
        </p:txBody>
      </p:sp>
      <p:sp>
        <p:nvSpPr>
          <p:cNvPr id="4" name="Slide Number Placeholder 3">
            <a:extLst>
              <a:ext uri="{FF2B5EF4-FFF2-40B4-BE49-F238E27FC236}">
                <a16:creationId xmlns:a16="http://schemas.microsoft.com/office/drawing/2014/main" id="{5FE58505-458F-8FB7-0F51-124C15B91F1A}"/>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B746B08-255A-2748-8A21-40BE94A17FD1}" type="slidenum">
              <a:rPr kumimoji="0" lang="en-GB" sz="800" b="0" i="0" u="none" strike="noStrike" kern="1200" cap="none" spc="0" normalizeH="0" baseline="0" noProof="0" smtClean="0">
                <a:ln>
                  <a:noFill/>
                </a:ln>
                <a:solidFill>
                  <a:srgbClr val="000000">
                    <a:lumMod val="50000"/>
                    <a:lumOff val="50000"/>
                  </a:srgbClr>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5</a:t>
            </a:fld>
            <a:endParaRPr kumimoji="0" lang="en-GB" sz="800" b="0" i="0" u="none" strike="noStrike" kern="1200" cap="none" spc="0" normalizeH="0" baseline="0" noProof="0">
              <a:ln>
                <a:noFill/>
              </a:ln>
              <a:solidFill>
                <a:srgbClr val="000000">
                  <a:lumMod val="50000"/>
                  <a:lumOff val="50000"/>
                </a:srgbClr>
              </a:solidFill>
              <a:effectLst/>
              <a:uLnTx/>
              <a:uFillTx/>
              <a:latin typeface="Arial" panose="020B0604020202020204" pitchFamily="34" charset="0"/>
              <a:ea typeface="+mn-ea"/>
              <a:cs typeface="Arial" panose="020B0604020202020204" pitchFamily="34" charset="0"/>
            </a:endParaRPr>
          </a:p>
        </p:txBody>
      </p:sp>
      <p:sp>
        <p:nvSpPr>
          <p:cNvPr id="5" name="Footer Placeholder 4">
            <a:extLst>
              <a:ext uri="{FF2B5EF4-FFF2-40B4-BE49-F238E27FC236}">
                <a16:creationId xmlns:a16="http://schemas.microsoft.com/office/drawing/2014/main" id="{BB62A8CF-DCEE-6E16-52D8-F70E4B43363A}"/>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tint val="75000"/>
                  </a:srgbClr>
                </a:solidFill>
                <a:effectLst/>
                <a:uLnTx/>
                <a:uFillTx/>
                <a:latin typeface="Arial" panose="020B0604020202020204" pitchFamily="34" charset="0"/>
                <a:ea typeface="+mn-ea"/>
                <a:cs typeface="Arial" panose="020B0604020202020204" pitchFamily="34" charset="0"/>
              </a:rPr>
              <a:t>GNN webinar on rabies 6 May 2024</a:t>
            </a:r>
            <a:endParaRPr kumimoji="0" lang="en-GB" sz="800" b="0" i="0" u="none" strike="noStrike" kern="1200" cap="none" spc="0" normalizeH="0" baseline="0" noProof="0">
              <a:ln>
                <a:noFill/>
              </a:ln>
              <a:solidFill>
                <a:srgbClr val="000000">
                  <a:tint val="75000"/>
                </a:srgb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57671739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A65D98-C7B3-136A-06A4-3653F689B2BE}"/>
              </a:ext>
            </a:extLst>
          </p:cNvPr>
          <p:cNvSpPr>
            <a:spLocks noGrp="1"/>
          </p:cNvSpPr>
          <p:nvPr>
            <p:ph type="title"/>
          </p:nvPr>
        </p:nvSpPr>
        <p:spPr/>
        <p:txBody>
          <a:bodyPr>
            <a:normAutofit/>
          </a:bodyPr>
          <a:lstStyle/>
          <a:p>
            <a:r>
              <a:rPr lang="en-US" sz="2800"/>
              <a:t>Key programmatic considerations</a:t>
            </a:r>
          </a:p>
        </p:txBody>
      </p:sp>
      <p:sp>
        <p:nvSpPr>
          <p:cNvPr id="3" name="Text Placeholder 2">
            <a:extLst>
              <a:ext uri="{FF2B5EF4-FFF2-40B4-BE49-F238E27FC236}">
                <a16:creationId xmlns:a16="http://schemas.microsoft.com/office/drawing/2014/main" id="{A2D30D87-80FB-C3E1-754E-CAB00ACDF7B4}"/>
              </a:ext>
            </a:extLst>
          </p:cNvPr>
          <p:cNvSpPr>
            <a:spLocks noGrp="1"/>
          </p:cNvSpPr>
          <p:nvPr>
            <p:ph type="body" idx="13"/>
          </p:nvPr>
        </p:nvSpPr>
        <p:spPr>
          <a:xfrm>
            <a:off x="515937" y="961078"/>
            <a:ext cx="11160126" cy="4952357"/>
          </a:xfrm>
        </p:spPr>
        <p:txBody>
          <a:bodyPr>
            <a:normAutofit/>
          </a:bodyPr>
          <a:lstStyle/>
          <a:p>
            <a:pPr marL="342900" marR="0" lvl="0" indent="-342900" algn="just" defTabSz="914400" rtl="0" eaLnBrk="1" fontAlgn="auto" latinLnBrk="0" hangingPunct="1">
              <a:lnSpc>
                <a:spcPct val="110000"/>
              </a:lnSpc>
              <a:spcBef>
                <a:spcPts val="0"/>
              </a:spcBef>
              <a:spcAft>
                <a:spcPts val="1200"/>
              </a:spcAft>
              <a:buClr>
                <a:srgbClr val="00A1DF"/>
              </a:buClr>
              <a:buSzTx/>
              <a:buFont typeface="Arial" panose="020B0604020202020204" pitchFamily="34" charset="0"/>
              <a:buChar char="•"/>
              <a:tabLst/>
              <a:defRPr/>
            </a:pPr>
            <a:r>
              <a:rPr kumimoji="0" lang="en-US" sz="1900" b="1" i="0" u="none" strike="noStrike" kern="1200" cap="none" spc="0" normalizeH="0" baseline="0" noProof="0" dirty="0">
                <a:ln>
                  <a:noFill/>
                </a:ln>
                <a:solidFill>
                  <a:srgbClr val="005CB9">
                    <a:lumMod val="50000"/>
                  </a:srgbClr>
                </a:solidFill>
                <a:effectLst/>
                <a:uLnTx/>
                <a:uFillTx/>
                <a:latin typeface="Arial" panose="020B0604020202020204" pitchFamily="34" charset="0"/>
                <a:ea typeface="+mn-ea"/>
                <a:cs typeface="Arial" panose="020B0604020202020204" pitchFamily="34" charset="0"/>
              </a:rPr>
              <a:t>Comprehensive rabies control</a:t>
            </a:r>
            <a:r>
              <a:rPr kumimoji="0" lang="en-US" sz="1900" b="0" i="0" u="none" strike="noStrike" kern="1200" cap="none" spc="0" normalizeH="0" baseline="0" noProof="0" dirty="0">
                <a:ln>
                  <a:noFill/>
                </a:ln>
                <a:solidFill>
                  <a:srgbClr val="005CB9">
                    <a:lumMod val="50000"/>
                  </a:srgbClr>
                </a:solidFill>
                <a:effectLst/>
                <a:uLnTx/>
                <a:uFillTx/>
                <a:latin typeface="Arial" panose="020B0604020202020204" pitchFamily="34" charset="0"/>
                <a:ea typeface="+mn-ea"/>
                <a:cs typeface="Arial" panose="020B0604020202020204" pitchFamily="34" charset="0"/>
              </a:rPr>
              <a:t>: vaccination plan should be based on the </a:t>
            </a:r>
            <a:r>
              <a:rPr kumimoji="0" lang="en-US" sz="1900" b="1" i="0" u="none" strike="noStrike" kern="1200" cap="none" spc="0" normalizeH="0" baseline="0" noProof="0" dirty="0">
                <a:ln>
                  <a:noFill/>
                </a:ln>
                <a:solidFill>
                  <a:srgbClr val="005CB9">
                    <a:lumMod val="50000"/>
                  </a:srgbClr>
                </a:solidFill>
                <a:effectLst/>
                <a:uLnTx/>
                <a:uFillTx/>
                <a:latin typeface="Arial" panose="020B0604020202020204" pitchFamily="34" charset="0"/>
                <a:ea typeface="+mn-ea"/>
                <a:cs typeface="Arial" panose="020B0604020202020204" pitchFamily="34" charset="0"/>
              </a:rPr>
              <a:t>national rabies control strategic plan</a:t>
            </a:r>
            <a:r>
              <a:rPr kumimoji="0" lang="en-US" sz="1900" b="0" i="0" u="none" strike="noStrike" kern="1200" cap="none" spc="0" normalizeH="0" baseline="0" noProof="0" dirty="0">
                <a:ln>
                  <a:noFill/>
                </a:ln>
                <a:solidFill>
                  <a:srgbClr val="005CB9">
                    <a:lumMod val="50000"/>
                  </a:srgbClr>
                </a:solidFill>
                <a:effectLst/>
                <a:uLnTx/>
                <a:uFillTx/>
                <a:latin typeface="Arial" panose="020B0604020202020204" pitchFamily="34" charset="0"/>
                <a:ea typeface="+mn-ea"/>
                <a:cs typeface="Arial" panose="020B0604020202020204" pitchFamily="34" charset="0"/>
              </a:rPr>
              <a:t>, which demonstrates complementary multi-sectoral rabies control activities, including collaboration with dog rabies control services</a:t>
            </a:r>
          </a:p>
          <a:p>
            <a:pPr marL="342900" indent="-342900" algn="just">
              <a:buFont typeface="Arial" panose="020B0604020202020204" pitchFamily="34" charset="0"/>
              <a:buChar char="•"/>
            </a:pPr>
            <a:r>
              <a:rPr lang="en-US" sz="1800" b="1" dirty="0"/>
              <a:t>Service integration: </a:t>
            </a:r>
            <a:r>
              <a:rPr lang="en-US" sz="1800" dirty="0"/>
              <a:t>Need for stronger integration with primary health care services (PHC).</a:t>
            </a:r>
          </a:p>
          <a:p>
            <a:pPr marL="342900" indent="-342900" algn="just">
              <a:buFont typeface="Arial" panose="020B0604020202020204" pitchFamily="34" charset="0"/>
              <a:buChar char="•"/>
            </a:pPr>
            <a:r>
              <a:rPr lang="en-US" sz="1800" b="1" dirty="0"/>
              <a:t>Strengthened surveillance: </a:t>
            </a:r>
            <a:r>
              <a:rPr lang="en-US" sz="1800" dirty="0"/>
              <a:t>It is strongly encouraged that countries implement IBCM to enhance quality data collection of </a:t>
            </a:r>
            <a:r>
              <a:rPr lang="en-US" sz="1800" b="1" dirty="0">
                <a:hlinkClick r:id="rId2"/>
              </a:rPr>
              <a:t>minimum data elements</a:t>
            </a:r>
            <a:r>
              <a:rPr lang="en-US" sz="1800" dirty="0">
                <a:hlinkClick r:id="rId2"/>
              </a:rPr>
              <a:t> </a:t>
            </a:r>
            <a:r>
              <a:rPr lang="en-US" sz="1800" dirty="0"/>
              <a:t>for monitoring and evaluation of national rabies control programmes</a:t>
            </a:r>
          </a:p>
          <a:p>
            <a:pPr marL="342900" indent="-342900" algn="just">
              <a:buFont typeface="Arial" panose="020B0604020202020204" pitchFamily="34" charset="0"/>
              <a:buChar char="•"/>
            </a:pPr>
            <a:r>
              <a:rPr lang="en-US" sz="1800" b="1" dirty="0"/>
              <a:t>Current rabies PEP vaccination programme: </a:t>
            </a:r>
            <a:r>
              <a:rPr lang="en-US" sz="1800" dirty="0"/>
              <a:t>Countries are required to provide a description of their current human rabies vaccination programme that includes the domestic funding committed towards the programme. Gavi support being incremental will not displace existing domestic funding.</a:t>
            </a:r>
          </a:p>
          <a:p>
            <a:pPr marL="342900" indent="-342900" algn="just">
              <a:buFont typeface="Arial" panose="020B0604020202020204" pitchFamily="34" charset="0"/>
              <a:buChar char="•"/>
            </a:pPr>
            <a:r>
              <a:rPr lang="en-US" sz="1800" b="1" dirty="0"/>
              <a:t>Equity considerations</a:t>
            </a:r>
            <a:r>
              <a:rPr lang="en-US" sz="1800" dirty="0"/>
              <a:t>: Country applications are required to describe how equitable access, including for example gender-responsive programme design, to the rabies vaccine will be addressed.</a:t>
            </a:r>
          </a:p>
        </p:txBody>
      </p:sp>
      <p:sp>
        <p:nvSpPr>
          <p:cNvPr id="4" name="Slide Number Placeholder 3">
            <a:extLst>
              <a:ext uri="{FF2B5EF4-FFF2-40B4-BE49-F238E27FC236}">
                <a16:creationId xmlns:a16="http://schemas.microsoft.com/office/drawing/2014/main" id="{5FE58505-458F-8FB7-0F51-124C15B91F1A}"/>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B746B08-255A-2748-8A21-40BE94A17FD1}" type="slidenum">
              <a:rPr kumimoji="0" lang="en-GB" sz="800" b="0" i="0" u="none" strike="noStrike" kern="1200" cap="none" spc="0" normalizeH="0" baseline="0" noProof="0" smtClean="0">
                <a:ln>
                  <a:noFill/>
                </a:ln>
                <a:solidFill>
                  <a:srgbClr val="000000">
                    <a:lumMod val="50000"/>
                    <a:lumOff val="50000"/>
                  </a:srgbClr>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6</a:t>
            </a:fld>
            <a:endParaRPr kumimoji="0" lang="en-GB" sz="800" b="0" i="0" u="none" strike="noStrike" kern="1200" cap="none" spc="0" normalizeH="0" baseline="0" noProof="0">
              <a:ln>
                <a:noFill/>
              </a:ln>
              <a:solidFill>
                <a:srgbClr val="000000">
                  <a:lumMod val="50000"/>
                  <a:lumOff val="50000"/>
                </a:srgbClr>
              </a:solidFill>
              <a:effectLst/>
              <a:uLnTx/>
              <a:uFillTx/>
              <a:latin typeface="Arial" panose="020B0604020202020204" pitchFamily="34" charset="0"/>
              <a:ea typeface="+mn-ea"/>
              <a:cs typeface="Arial" panose="020B0604020202020204" pitchFamily="34" charset="0"/>
            </a:endParaRPr>
          </a:p>
        </p:txBody>
      </p:sp>
      <p:sp>
        <p:nvSpPr>
          <p:cNvPr id="5" name="Footer Placeholder 4">
            <a:extLst>
              <a:ext uri="{FF2B5EF4-FFF2-40B4-BE49-F238E27FC236}">
                <a16:creationId xmlns:a16="http://schemas.microsoft.com/office/drawing/2014/main" id="{BB62A8CF-DCEE-6E16-52D8-F70E4B43363A}"/>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tint val="75000"/>
                  </a:srgbClr>
                </a:solidFill>
                <a:effectLst/>
                <a:uLnTx/>
                <a:uFillTx/>
                <a:latin typeface="Arial" panose="020B0604020202020204" pitchFamily="34" charset="0"/>
                <a:ea typeface="+mn-ea"/>
                <a:cs typeface="Arial" panose="020B0604020202020204" pitchFamily="34" charset="0"/>
              </a:rPr>
              <a:t>GNN webinar on rabies 6 May 2024</a:t>
            </a:r>
            <a:endParaRPr kumimoji="0" lang="en-GB" sz="800" b="0" i="0" u="none" strike="noStrike" kern="1200" cap="none" spc="0" normalizeH="0" baseline="0" noProof="0">
              <a:ln>
                <a:noFill/>
              </a:ln>
              <a:solidFill>
                <a:srgbClr val="000000">
                  <a:tint val="75000"/>
                </a:srgbClr>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03475402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DAD2C5-F8E5-57D2-9043-7F6EAAF60506}"/>
              </a:ext>
            </a:extLst>
          </p:cNvPr>
          <p:cNvSpPr>
            <a:spLocks noGrp="1"/>
          </p:cNvSpPr>
          <p:nvPr>
            <p:ph type="title"/>
          </p:nvPr>
        </p:nvSpPr>
        <p:spPr>
          <a:xfrm>
            <a:off x="521719" y="368300"/>
            <a:ext cx="11154344" cy="592778"/>
          </a:xfrm>
        </p:spPr>
        <p:txBody>
          <a:bodyPr anchor="t">
            <a:normAutofit/>
          </a:bodyPr>
          <a:lstStyle/>
          <a:p>
            <a:r>
              <a:rPr lang="en-US" dirty="0"/>
              <a:t>Next steps</a:t>
            </a:r>
          </a:p>
        </p:txBody>
      </p:sp>
      <p:sp>
        <p:nvSpPr>
          <p:cNvPr id="4" name="Slide Number Placeholder 3">
            <a:extLst>
              <a:ext uri="{FF2B5EF4-FFF2-40B4-BE49-F238E27FC236}">
                <a16:creationId xmlns:a16="http://schemas.microsoft.com/office/drawing/2014/main" id="{25ED0680-9C58-7999-342D-02DC0E9E502D}"/>
              </a:ext>
            </a:extLst>
          </p:cNvPr>
          <p:cNvSpPr>
            <a:spLocks noGrp="1"/>
          </p:cNvSpPr>
          <p:nvPr>
            <p:ph type="sldNum" sz="quarter" idx="12"/>
          </p:nvPr>
        </p:nvSpPr>
        <p:spPr>
          <a:xfrm>
            <a:off x="515937" y="6353142"/>
            <a:ext cx="261630" cy="136526"/>
          </a:xfrm>
        </p:spPr>
        <p:txBody>
          <a:bodyPr anchor="b">
            <a:norm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fld id="{AB746B08-255A-2748-8A21-40BE94A17FD1}" type="slidenum">
              <a:rPr kumimoji="0" lang="en-GB" sz="800" b="0" i="0" u="none" strike="noStrike" kern="1200" cap="none" spc="0" normalizeH="0" baseline="0" noProof="0" smtClean="0">
                <a:ln>
                  <a:noFill/>
                </a:ln>
                <a:solidFill>
                  <a:srgbClr val="000000">
                    <a:lumMod val="50000"/>
                    <a:lumOff val="50000"/>
                  </a:srgbClr>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600"/>
                </a:spcAft>
                <a:buClrTx/>
                <a:buSzTx/>
                <a:buFontTx/>
                <a:buNone/>
                <a:tabLst/>
                <a:defRPr/>
              </a:pPr>
              <a:t>57</a:t>
            </a:fld>
            <a:endParaRPr kumimoji="0" lang="en-GB" sz="800" b="0" i="0" u="none" strike="noStrike" kern="1200" cap="none" spc="0" normalizeH="0" baseline="0" noProof="0">
              <a:ln>
                <a:noFill/>
              </a:ln>
              <a:solidFill>
                <a:srgbClr val="000000">
                  <a:lumMod val="50000"/>
                  <a:lumOff val="50000"/>
                </a:srgbClr>
              </a:solidFill>
              <a:effectLst/>
              <a:uLnTx/>
              <a:uFillTx/>
              <a:latin typeface="Arial" panose="020B0604020202020204" pitchFamily="34" charset="0"/>
              <a:ea typeface="+mn-ea"/>
              <a:cs typeface="Arial" panose="020B0604020202020204" pitchFamily="34" charset="0"/>
            </a:endParaRPr>
          </a:p>
        </p:txBody>
      </p:sp>
      <p:sp>
        <p:nvSpPr>
          <p:cNvPr id="5" name="Footer Placeholder 4">
            <a:extLst>
              <a:ext uri="{FF2B5EF4-FFF2-40B4-BE49-F238E27FC236}">
                <a16:creationId xmlns:a16="http://schemas.microsoft.com/office/drawing/2014/main" id="{77A5C5F6-0EF0-2460-54B4-178369E4F31E}"/>
              </a:ext>
            </a:extLst>
          </p:cNvPr>
          <p:cNvSpPr>
            <a:spLocks noGrp="1"/>
          </p:cNvSpPr>
          <p:nvPr>
            <p:ph type="ftr" sz="quarter" idx="11"/>
          </p:nvPr>
        </p:nvSpPr>
        <p:spPr>
          <a:xfrm>
            <a:off x="777567" y="6353142"/>
            <a:ext cx="4114800" cy="136526"/>
          </a:xfrm>
        </p:spPr>
        <p:txBody>
          <a:bodyPr anchor="b">
            <a:norm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800" b="0" i="0" u="none" strike="noStrike" kern="1200" cap="none" spc="0" normalizeH="0" baseline="0" noProof="0">
                <a:ln>
                  <a:noFill/>
                </a:ln>
                <a:solidFill>
                  <a:srgbClr val="000000">
                    <a:tint val="75000"/>
                  </a:srgbClr>
                </a:solidFill>
                <a:effectLst/>
                <a:uLnTx/>
                <a:uFillTx/>
                <a:latin typeface="Arial" panose="020B0604020202020204" pitchFamily="34" charset="0"/>
                <a:ea typeface="+mn-ea"/>
                <a:cs typeface="Arial" panose="020B0604020202020204" pitchFamily="34" charset="0"/>
              </a:rPr>
              <a:t>GNN webinar on rabies 6 May 2024</a:t>
            </a:r>
            <a:endParaRPr kumimoji="0" lang="en-GB" sz="800" b="0" i="0" u="none" strike="noStrike" kern="1200" cap="none" spc="0" normalizeH="0" baseline="0" noProof="0">
              <a:ln>
                <a:noFill/>
              </a:ln>
              <a:solidFill>
                <a:srgbClr val="000000">
                  <a:tint val="75000"/>
                </a:srgbClr>
              </a:solidFill>
              <a:effectLst/>
              <a:uLnTx/>
              <a:uFillTx/>
              <a:latin typeface="Arial" panose="020B0604020202020204" pitchFamily="34" charset="0"/>
              <a:ea typeface="+mn-ea"/>
              <a:cs typeface="Arial" panose="020B0604020202020204" pitchFamily="34" charset="0"/>
            </a:endParaRPr>
          </a:p>
        </p:txBody>
      </p:sp>
      <p:graphicFrame>
        <p:nvGraphicFramePr>
          <p:cNvPr id="10" name="Text Placeholder 2">
            <a:extLst>
              <a:ext uri="{FF2B5EF4-FFF2-40B4-BE49-F238E27FC236}">
                <a16:creationId xmlns:a16="http://schemas.microsoft.com/office/drawing/2014/main" id="{504D0BC4-F47D-486E-78A8-044CFFB13B27}"/>
              </a:ext>
            </a:extLst>
          </p:cNvPr>
          <p:cNvGraphicFramePr/>
          <p:nvPr/>
        </p:nvGraphicFramePr>
        <p:xfrm>
          <a:off x="521719" y="1127465"/>
          <a:ext cx="11147994" cy="478597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20115772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951CDE-4970-F241-9084-848D8B074B0C}"/>
              </a:ext>
            </a:extLst>
          </p:cNvPr>
          <p:cNvSpPr>
            <a:spLocks noGrp="1"/>
          </p:cNvSpPr>
          <p:nvPr>
            <p:ph type="title"/>
          </p:nvPr>
        </p:nvSpPr>
        <p:spPr>
          <a:xfrm>
            <a:off x="356257" y="2161494"/>
            <a:ext cx="11154344" cy="984885"/>
          </a:xfrm>
        </p:spPr>
        <p:txBody>
          <a:bodyPr/>
          <a:lstStyle/>
          <a:p>
            <a:r>
              <a:rPr lang="en-GB" dirty="0"/>
              <a:t>Thank you</a:t>
            </a:r>
          </a:p>
        </p:txBody>
      </p:sp>
      <p:sp>
        <p:nvSpPr>
          <p:cNvPr id="3" name="TextBox 2">
            <a:extLst>
              <a:ext uri="{FF2B5EF4-FFF2-40B4-BE49-F238E27FC236}">
                <a16:creationId xmlns:a16="http://schemas.microsoft.com/office/drawing/2014/main" id="{CFBFB9B0-50FA-D42B-2055-8ADF03A10E9F}"/>
              </a:ext>
            </a:extLst>
          </p:cNvPr>
          <p:cNvSpPr txBox="1"/>
          <p:nvPr/>
        </p:nvSpPr>
        <p:spPr>
          <a:xfrm>
            <a:off x="356257" y="5488705"/>
            <a:ext cx="10985571" cy="58477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Sharp Grotesk"/>
                <a:ea typeface="+mn-ea"/>
                <a:cs typeface="+mn-cs"/>
              </a:rPr>
              <a:t>Gavi Funding &amp; Processes Briefing Series - </a:t>
            </a:r>
            <a:r>
              <a:rPr kumimoji="0" lang="en-US" sz="1600" b="0" i="0" u="none" strike="noStrike" kern="1200" cap="none" spc="0" normalizeH="0" baseline="0" noProof="0" dirty="0">
                <a:ln>
                  <a:noFill/>
                </a:ln>
                <a:solidFill>
                  <a:srgbClr val="1A1918"/>
                </a:solidFill>
                <a:effectLst/>
                <a:uLnTx/>
                <a:uFillTx/>
                <a:latin typeface="Sharp Grotesk"/>
                <a:ea typeface="+mn-ea"/>
                <a:cs typeface="+mn-cs"/>
                <a:hlinkClick r:id="rId2"/>
              </a:rPr>
              <a:t>https://www.dropbox.com/sh/8n1582v3h87shsn/AADpxANn8uM2IYKjBVAaMzuna?dl=0</a:t>
            </a:r>
            <a:endParaRPr kumimoji="0" lang="en-US" sz="1600" b="0" i="0" u="none" strike="noStrike" kern="1200" cap="none" spc="0" normalizeH="0" baseline="0" noProof="0" dirty="0">
              <a:ln>
                <a:noFill/>
              </a:ln>
              <a:solidFill>
                <a:srgbClr val="1A1918"/>
              </a:solidFill>
              <a:effectLst/>
              <a:uLnTx/>
              <a:uFillTx/>
              <a:latin typeface="Sharp Grotesk"/>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0219567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E478F222-F977-9449-96CA-720320AF462C}"/>
              </a:ext>
            </a:extLst>
          </p:cNvPr>
          <p:cNvGrpSpPr/>
          <p:nvPr/>
        </p:nvGrpSpPr>
        <p:grpSpPr>
          <a:xfrm>
            <a:off x="369779" y="2281488"/>
            <a:ext cx="11452437" cy="3701293"/>
            <a:chOff x="411715" y="2168687"/>
            <a:chExt cx="11452437" cy="3701293"/>
          </a:xfrm>
        </p:grpSpPr>
        <p:pic>
          <p:nvPicPr>
            <p:cNvPr id="6" name="Picture 5">
              <a:extLst>
                <a:ext uri="{FF2B5EF4-FFF2-40B4-BE49-F238E27FC236}">
                  <a16:creationId xmlns:a16="http://schemas.microsoft.com/office/drawing/2014/main" id="{9180AD4D-3BDD-8477-7A1D-BB15B8ED31E6}"/>
                </a:ext>
              </a:extLst>
            </p:cNvPr>
            <p:cNvPicPr>
              <a:picLocks noChangeAspect="1"/>
            </p:cNvPicPr>
            <p:nvPr/>
          </p:nvPicPr>
          <p:blipFill>
            <a:blip r:embed="rId2"/>
            <a:stretch>
              <a:fillRect/>
            </a:stretch>
          </p:blipFill>
          <p:spPr>
            <a:xfrm>
              <a:off x="411715" y="2168687"/>
              <a:ext cx="11368569" cy="3364971"/>
            </a:xfrm>
            <a:prstGeom prst="rect">
              <a:avLst/>
            </a:prstGeom>
          </p:spPr>
        </p:pic>
        <p:pic>
          <p:nvPicPr>
            <p:cNvPr id="7" name="Picture 6">
              <a:extLst>
                <a:ext uri="{FF2B5EF4-FFF2-40B4-BE49-F238E27FC236}">
                  <a16:creationId xmlns:a16="http://schemas.microsoft.com/office/drawing/2014/main" id="{E184CE95-932C-CA84-62CA-819879CB0E96}"/>
                </a:ext>
              </a:extLst>
            </p:cNvPr>
            <p:cNvPicPr>
              <a:picLocks noChangeAspect="1"/>
            </p:cNvPicPr>
            <p:nvPr/>
          </p:nvPicPr>
          <p:blipFill>
            <a:blip r:embed="rId3"/>
            <a:stretch>
              <a:fillRect/>
            </a:stretch>
          </p:blipFill>
          <p:spPr>
            <a:xfrm>
              <a:off x="857238" y="5445427"/>
              <a:ext cx="11006914" cy="424553"/>
            </a:xfrm>
            <a:prstGeom prst="rect">
              <a:avLst/>
            </a:prstGeom>
          </p:spPr>
        </p:pic>
        <p:sp>
          <p:nvSpPr>
            <p:cNvPr id="8" name="Rectangle 7">
              <a:extLst>
                <a:ext uri="{FF2B5EF4-FFF2-40B4-BE49-F238E27FC236}">
                  <a16:creationId xmlns:a16="http://schemas.microsoft.com/office/drawing/2014/main" id="{15055EF3-B57C-EE10-4A54-960FB71882BB}"/>
                </a:ext>
              </a:extLst>
            </p:cNvPr>
            <p:cNvSpPr/>
            <p:nvPr/>
          </p:nvSpPr>
          <p:spPr>
            <a:xfrm>
              <a:off x="5037221" y="4607692"/>
              <a:ext cx="2646948" cy="654111"/>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n>
                  <a:solidFill>
                    <a:schemeClr val="bg1"/>
                  </a:solidFill>
                </a:ln>
                <a:solidFill>
                  <a:schemeClr val="bg1"/>
                </a:solidFill>
              </a:endParaRPr>
            </a:p>
          </p:txBody>
        </p:sp>
      </p:grpSp>
      <p:sp>
        <p:nvSpPr>
          <p:cNvPr id="9" name="TextBox 8">
            <a:extLst>
              <a:ext uri="{FF2B5EF4-FFF2-40B4-BE49-F238E27FC236}">
                <a16:creationId xmlns:a16="http://schemas.microsoft.com/office/drawing/2014/main" id="{64771E4F-06F2-846B-2DD3-63A633A76E16}"/>
              </a:ext>
            </a:extLst>
          </p:cNvPr>
          <p:cNvSpPr txBox="1"/>
          <p:nvPr/>
        </p:nvSpPr>
        <p:spPr>
          <a:xfrm>
            <a:off x="527239" y="1697754"/>
            <a:ext cx="11053647" cy="400110"/>
          </a:xfrm>
          <a:prstGeom prst="rect">
            <a:avLst/>
          </a:prstGeom>
          <a:noFill/>
        </p:spPr>
        <p:txBody>
          <a:bodyPr wrap="square" rtlCol="0">
            <a:spAutoFit/>
          </a:bodyPr>
          <a:lstStyle/>
          <a:p>
            <a:pPr algn="ctr">
              <a:spcBef>
                <a:spcPts val="600"/>
              </a:spcBef>
            </a:pPr>
            <a:r>
              <a:rPr lang="en-GB" sz="2000">
                <a:solidFill>
                  <a:srgbClr val="C00000"/>
                </a:solidFill>
                <a:latin typeface="Arial" panose="020B0604020202020204" pitchFamily="34" charset="0"/>
                <a:cs typeface="Arial" panose="020B0604020202020204" pitchFamily="34" charset="0"/>
              </a:rPr>
              <a:t>Status quo &gt; </a:t>
            </a:r>
            <a:r>
              <a:rPr lang="en-GB" sz="2000">
                <a:solidFill>
                  <a:schemeClr val="accent6"/>
                </a:solidFill>
                <a:latin typeface="Arial" panose="020B0604020202020204" pitchFamily="34" charset="0"/>
                <a:cs typeface="Arial" panose="020B0604020202020204" pitchFamily="34" charset="0"/>
              </a:rPr>
              <a:t>Increased access to human vaccine &gt; </a:t>
            </a:r>
            <a:r>
              <a:rPr lang="en-GB" sz="2000">
                <a:solidFill>
                  <a:srgbClr val="1E7FB8"/>
                </a:solidFill>
                <a:latin typeface="Arial" panose="020B0604020202020204" pitchFamily="34" charset="0"/>
                <a:cs typeface="Arial" panose="020B0604020202020204" pitchFamily="34" charset="0"/>
              </a:rPr>
              <a:t>Increased access to human and dog vaccine</a:t>
            </a:r>
          </a:p>
        </p:txBody>
      </p:sp>
      <p:sp>
        <p:nvSpPr>
          <p:cNvPr id="10" name="TextBox 9">
            <a:extLst>
              <a:ext uri="{FF2B5EF4-FFF2-40B4-BE49-F238E27FC236}">
                <a16:creationId xmlns:a16="http://schemas.microsoft.com/office/drawing/2014/main" id="{670EE963-262F-FE66-7C34-B9A5E4245FCE}"/>
              </a:ext>
            </a:extLst>
          </p:cNvPr>
          <p:cNvSpPr txBox="1"/>
          <p:nvPr/>
        </p:nvSpPr>
        <p:spPr>
          <a:xfrm>
            <a:off x="4796589" y="6457709"/>
            <a:ext cx="7260054" cy="276999"/>
          </a:xfrm>
          <a:prstGeom prst="rect">
            <a:avLst/>
          </a:prstGeom>
          <a:noFill/>
        </p:spPr>
        <p:txBody>
          <a:bodyPr wrap="square">
            <a:spAutoFit/>
          </a:bodyPr>
          <a:lstStyle/>
          <a:p>
            <a:pPr algn="r"/>
            <a:r>
              <a:rPr lang="en-US" sz="1200" b="0" i="0">
                <a:effectLst/>
                <a:latin typeface="Arial" panose="020B0604020202020204" pitchFamily="34" charset="0"/>
                <a:cs typeface="Arial" panose="020B0604020202020204" pitchFamily="34" charset="0"/>
                <a:hlinkClick r:id="rId4"/>
              </a:rPr>
              <a:t>The potential effect of improved provision of rabies post-exposure prophylaxis in Gavi-eligible countries</a:t>
            </a:r>
            <a:endParaRPr lang="en-US" sz="1200" b="0" i="0">
              <a:effectLst/>
              <a:latin typeface="Arial" panose="020B0604020202020204" pitchFamily="34" charset="0"/>
              <a:cs typeface="Arial" panose="020B0604020202020204" pitchFamily="34" charset="0"/>
            </a:endParaRPr>
          </a:p>
        </p:txBody>
      </p:sp>
      <p:sp>
        <p:nvSpPr>
          <p:cNvPr id="11" name="TextBox 10">
            <a:extLst>
              <a:ext uri="{FF2B5EF4-FFF2-40B4-BE49-F238E27FC236}">
                <a16:creationId xmlns:a16="http://schemas.microsoft.com/office/drawing/2014/main" id="{F83EBC7C-8958-E7A1-0463-5FFD73606227}"/>
              </a:ext>
            </a:extLst>
          </p:cNvPr>
          <p:cNvSpPr txBox="1"/>
          <p:nvPr/>
        </p:nvSpPr>
        <p:spPr>
          <a:xfrm>
            <a:off x="67677" y="131690"/>
            <a:ext cx="12056643" cy="1200329"/>
          </a:xfrm>
          <a:prstGeom prst="rect">
            <a:avLst/>
          </a:prstGeom>
        </p:spPr>
        <p:txBody>
          <a:bodyPr vert="horz" lIns="91440" tIns="45720" rIns="91440" bIns="45720" rtlCol="0" anchor="ctr">
            <a:noAutofit/>
          </a:bodyPr>
          <a:lstStyle>
            <a:defPPr>
              <a:defRPr lang="en-US"/>
            </a:defPPr>
            <a:lvl1pPr>
              <a:lnSpc>
                <a:spcPct val="90000"/>
              </a:lnSpc>
              <a:spcBef>
                <a:spcPct val="0"/>
              </a:spcBef>
              <a:defRPr sz="4000" b="1">
                <a:latin typeface="+mj-lt"/>
                <a:ea typeface="+mj-ea"/>
                <a:cs typeface="+mj-cs"/>
              </a:defRPr>
            </a:lvl1pPr>
          </a:lstStyle>
          <a:p>
            <a:r>
              <a:rPr lang="en-US" b="0"/>
              <a:t>Improving the availability and affordability of human vaccines is crucial</a:t>
            </a:r>
            <a:endParaRPr lang="en-GB" b="0"/>
          </a:p>
        </p:txBody>
      </p:sp>
      <p:pic>
        <p:nvPicPr>
          <p:cNvPr id="2" name="Picture 1">
            <a:extLst>
              <a:ext uri="{FF2B5EF4-FFF2-40B4-BE49-F238E27FC236}">
                <a16:creationId xmlns:a16="http://schemas.microsoft.com/office/drawing/2014/main" id="{62BE2212-22E0-D414-6798-2B888CC10A4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52689" y="6288609"/>
            <a:ext cx="1588170" cy="500605"/>
          </a:xfrm>
          <a:prstGeom prst="rect">
            <a:avLst/>
          </a:prstGeom>
        </p:spPr>
      </p:pic>
    </p:spTree>
    <p:extLst>
      <p:ext uri="{BB962C8B-B14F-4D97-AF65-F5344CB8AC3E}">
        <p14:creationId xmlns:p14="http://schemas.microsoft.com/office/powerpoint/2010/main" val="312440849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80646D7D-EC71-4023-8B8B-2DB20EB0AEE0}"/>
              </a:ext>
            </a:extLst>
          </p:cNvPr>
          <p:cNvSpPr>
            <a:spLocks noGrp="1"/>
          </p:cNvSpPr>
          <p:nvPr>
            <p:ph type="body" idx="1"/>
          </p:nvPr>
        </p:nvSpPr>
        <p:spPr>
          <a:xfrm>
            <a:off x="235242" y="1397256"/>
            <a:ext cx="2186083" cy="823912"/>
          </a:xfrm>
        </p:spPr>
        <p:txBody>
          <a:bodyPr vert="horz" lIns="91440" tIns="45720" rIns="91440" bIns="45720" rtlCol="0" anchor="ctr">
            <a:normAutofit fontScale="30000" lnSpcReduction="20000"/>
          </a:bodyPr>
          <a:lstStyle/>
          <a:p>
            <a:pPr>
              <a:spcBef>
                <a:spcPct val="0"/>
              </a:spcBef>
              <a:spcAft>
                <a:spcPts val="600"/>
              </a:spcAft>
            </a:pPr>
            <a:r>
              <a:rPr lang="en-US" sz="4800" dirty="0">
                <a:latin typeface="+mj-lt"/>
                <a:ea typeface="+mj-ea"/>
                <a:cs typeface="+mj-cs"/>
              </a:rPr>
              <a:t>Expert Report on Rabies 2018 </a:t>
            </a:r>
          </a:p>
          <a:p>
            <a:pPr>
              <a:spcBef>
                <a:spcPct val="0"/>
              </a:spcBef>
            </a:pPr>
            <a:r>
              <a:rPr lang="en-US" sz="2700" b="0" dirty="0">
                <a:ea typeface="+mn-lt"/>
                <a:cs typeface="+mn-lt"/>
                <a:hlinkClick r:id="rId3"/>
              </a:rPr>
              <a:t>WHO Expert Consultation on Rabies: WHO TRS N°1012 Third report</a:t>
            </a:r>
            <a:endParaRPr lang="en-US" dirty="0">
              <a:ea typeface="+mj-ea"/>
              <a:cs typeface="+mj-cs"/>
            </a:endParaRPr>
          </a:p>
        </p:txBody>
      </p:sp>
      <p:sp>
        <p:nvSpPr>
          <p:cNvPr id="11" name="Text Placeholder 10">
            <a:extLst>
              <a:ext uri="{FF2B5EF4-FFF2-40B4-BE49-F238E27FC236}">
                <a16:creationId xmlns:a16="http://schemas.microsoft.com/office/drawing/2014/main" id="{3FE19A02-52FE-422D-9A76-9DC21A77803F}"/>
              </a:ext>
            </a:extLst>
          </p:cNvPr>
          <p:cNvSpPr>
            <a:spLocks noGrp="1"/>
          </p:cNvSpPr>
          <p:nvPr>
            <p:ph type="body" sz="quarter" idx="3"/>
          </p:nvPr>
        </p:nvSpPr>
        <p:spPr>
          <a:xfrm>
            <a:off x="2548569" y="2415165"/>
            <a:ext cx="2514793" cy="823912"/>
          </a:xfrm>
        </p:spPr>
        <p:txBody>
          <a:bodyPr vert="horz" lIns="91440" tIns="45720" rIns="91440" bIns="45720" rtlCol="0" anchor="ctr">
            <a:normAutofit fontScale="30000" lnSpcReduction="20000"/>
          </a:bodyPr>
          <a:lstStyle/>
          <a:p>
            <a:pPr>
              <a:spcBef>
                <a:spcPct val="0"/>
              </a:spcBef>
              <a:spcAft>
                <a:spcPts val="600"/>
              </a:spcAft>
            </a:pPr>
            <a:r>
              <a:rPr lang="en-US" sz="4800">
                <a:latin typeface="+mj-lt"/>
                <a:ea typeface="+mj-ea"/>
                <a:cs typeface="+mj-cs"/>
              </a:rPr>
              <a:t>Rabies vaccines: WHO position paper, April 2018</a:t>
            </a:r>
          </a:p>
          <a:p>
            <a:pPr>
              <a:spcBef>
                <a:spcPct val="0"/>
              </a:spcBef>
            </a:pPr>
            <a:r>
              <a:rPr lang="en-US" sz="2700" b="0">
                <a:ea typeface="+mn-lt"/>
                <a:cs typeface="+mn-lt"/>
                <a:hlinkClick r:id="rId4"/>
              </a:rPr>
              <a:t>NZDs and OH - Rabies vaccines WHO position paper – April 2018.pdf - All Documents (sharepoint.com)</a:t>
            </a:r>
            <a:endParaRPr lang="en-US">
              <a:ea typeface="+mj-ea"/>
              <a:cs typeface="+mj-cs"/>
            </a:endParaRPr>
          </a:p>
        </p:txBody>
      </p:sp>
      <p:pic>
        <p:nvPicPr>
          <p:cNvPr id="15" name="Picture 4" descr="Image result for trs 1012">
            <a:extLst>
              <a:ext uri="{FF2B5EF4-FFF2-40B4-BE49-F238E27FC236}">
                <a16:creationId xmlns:a16="http://schemas.microsoft.com/office/drawing/2014/main" id="{67B0AAF4-14D6-454E-863E-53183D8D544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35243" y="2220979"/>
            <a:ext cx="2186083" cy="3091746"/>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a:extLst>
              <a:ext uri="{FF2B5EF4-FFF2-40B4-BE49-F238E27FC236}">
                <a16:creationId xmlns:a16="http://schemas.microsoft.com/office/drawing/2014/main" id="{8133DD4E-1918-459A-85E1-B054ADFFD159}"/>
              </a:ext>
            </a:extLst>
          </p:cNvPr>
          <p:cNvPicPr>
            <a:picLocks noChangeAspect="1"/>
          </p:cNvPicPr>
          <p:nvPr/>
        </p:nvPicPr>
        <p:blipFill>
          <a:blip r:embed="rId6"/>
          <a:stretch>
            <a:fillRect/>
          </a:stretch>
        </p:blipFill>
        <p:spPr>
          <a:xfrm>
            <a:off x="2652284" y="3354097"/>
            <a:ext cx="2146666" cy="3113013"/>
          </a:xfrm>
          <a:prstGeom prst="rect">
            <a:avLst/>
          </a:prstGeom>
          <a:ln w="6350">
            <a:solidFill>
              <a:schemeClr val="tx1"/>
            </a:solidFill>
          </a:ln>
        </p:spPr>
      </p:pic>
      <p:pic>
        <p:nvPicPr>
          <p:cNvPr id="20" name="Picture 19">
            <a:extLst>
              <a:ext uri="{FF2B5EF4-FFF2-40B4-BE49-F238E27FC236}">
                <a16:creationId xmlns:a16="http://schemas.microsoft.com/office/drawing/2014/main" id="{D228BBB0-A1F1-4FAA-8660-4E207B87BEA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52689" y="6288609"/>
            <a:ext cx="1588170" cy="500605"/>
          </a:xfrm>
          <a:prstGeom prst="rect">
            <a:avLst/>
          </a:prstGeom>
        </p:spPr>
      </p:pic>
      <p:sp>
        <p:nvSpPr>
          <p:cNvPr id="2" name="TextBox 1">
            <a:extLst>
              <a:ext uri="{FF2B5EF4-FFF2-40B4-BE49-F238E27FC236}">
                <a16:creationId xmlns:a16="http://schemas.microsoft.com/office/drawing/2014/main" id="{EE8E2FEA-5F50-AD7A-8A56-02AE0687DFBD}"/>
              </a:ext>
            </a:extLst>
          </p:cNvPr>
          <p:cNvSpPr txBox="1"/>
          <p:nvPr/>
        </p:nvSpPr>
        <p:spPr>
          <a:xfrm>
            <a:off x="235242" y="196927"/>
            <a:ext cx="12056643" cy="1200329"/>
          </a:xfrm>
          <a:prstGeom prst="rect">
            <a:avLst/>
          </a:prstGeom>
        </p:spPr>
        <p:txBody>
          <a:bodyPr vert="horz" lIns="91440" tIns="45720" rIns="91440" bIns="45720" rtlCol="0" anchor="ctr">
            <a:noAutofit/>
          </a:bodyPr>
          <a:lstStyle>
            <a:defPPr>
              <a:defRPr lang="en-US"/>
            </a:defPPr>
            <a:lvl1pPr>
              <a:lnSpc>
                <a:spcPct val="90000"/>
              </a:lnSpc>
              <a:spcBef>
                <a:spcPct val="0"/>
              </a:spcBef>
              <a:defRPr sz="4000" b="1">
                <a:latin typeface="+mj-lt"/>
                <a:ea typeface="+mj-ea"/>
                <a:cs typeface="+mj-cs"/>
              </a:defRPr>
            </a:lvl1pPr>
          </a:lstStyle>
          <a:p>
            <a:r>
              <a:rPr lang="en-US" b="0"/>
              <a:t>WHO guidelines for Post-exposure Prophylaxis (PEP) and Pre-exposure Prophylaxis (</a:t>
            </a:r>
            <a:r>
              <a:rPr lang="en-US" b="0" err="1"/>
              <a:t>PrEP</a:t>
            </a:r>
            <a:r>
              <a:rPr lang="en-US" b="0"/>
              <a:t>) recommendations</a:t>
            </a:r>
            <a:endParaRPr lang="en-GB" b="0"/>
          </a:p>
        </p:txBody>
      </p:sp>
      <p:sp>
        <p:nvSpPr>
          <p:cNvPr id="16" name="Rectangle 15">
            <a:extLst>
              <a:ext uri="{FF2B5EF4-FFF2-40B4-BE49-F238E27FC236}">
                <a16:creationId xmlns:a16="http://schemas.microsoft.com/office/drawing/2014/main" id="{D3D532C9-FAED-91C5-7450-BD2480A1477C}"/>
              </a:ext>
            </a:extLst>
          </p:cNvPr>
          <p:cNvSpPr/>
          <p:nvPr/>
        </p:nvSpPr>
        <p:spPr>
          <a:xfrm>
            <a:off x="9424851" y="5668640"/>
            <a:ext cx="2457975" cy="360478"/>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TextBox 20">
            <a:extLst>
              <a:ext uri="{FF2B5EF4-FFF2-40B4-BE49-F238E27FC236}">
                <a16:creationId xmlns:a16="http://schemas.microsoft.com/office/drawing/2014/main" id="{106EE88B-1C46-6B34-1B8E-567F5182C5C2}"/>
              </a:ext>
            </a:extLst>
          </p:cNvPr>
          <p:cNvSpPr txBox="1"/>
          <p:nvPr/>
        </p:nvSpPr>
        <p:spPr>
          <a:xfrm>
            <a:off x="5103554" y="2317382"/>
            <a:ext cx="6556865" cy="430887"/>
          </a:xfrm>
          <a:prstGeom prst="rect">
            <a:avLst/>
          </a:prstGeom>
          <a:noFill/>
          <a:ln>
            <a:solidFill>
              <a:schemeClr val="tx1"/>
            </a:solidFill>
          </a:ln>
        </p:spPr>
        <p:txBody>
          <a:bodyPr wrap="square" rtlCol="0">
            <a:spAutoFit/>
          </a:bodyPr>
          <a:lstStyle/>
          <a:p>
            <a:r>
              <a:rPr lang="en-US" sz="2200"/>
              <a:t>PEP requires vaccines and rabies immunoglobulin (RIG)</a:t>
            </a:r>
            <a:endParaRPr lang="en-GB" sz="2200"/>
          </a:p>
        </p:txBody>
      </p:sp>
      <p:grpSp>
        <p:nvGrpSpPr>
          <p:cNvPr id="24" name="Group 23">
            <a:extLst>
              <a:ext uri="{FF2B5EF4-FFF2-40B4-BE49-F238E27FC236}">
                <a16:creationId xmlns:a16="http://schemas.microsoft.com/office/drawing/2014/main" id="{71A0BF4E-65E7-0F93-6840-99860F7B578E}"/>
              </a:ext>
            </a:extLst>
          </p:cNvPr>
          <p:cNvGrpSpPr/>
          <p:nvPr/>
        </p:nvGrpSpPr>
        <p:grpSpPr>
          <a:xfrm>
            <a:off x="5181150" y="2780777"/>
            <a:ext cx="6401671" cy="3248341"/>
            <a:chOff x="5029908" y="2841748"/>
            <a:chExt cx="6401671" cy="3248341"/>
          </a:xfrm>
        </p:grpSpPr>
        <p:grpSp>
          <p:nvGrpSpPr>
            <p:cNvPr id="14" name="Group 13">
              <a:extLst>
                <a:ext uri="{FF2B5EF4-FFF2-40B4-BE49-F238E27FC236}">
                  <a16:creationId xmlns:a16="http://schemas.microsoft.com/office/drawing/2014/main" id="{A944027B-1E85-6ABD-DE60-A56256FF7CF4}"/>
                </a:ext>
              </a:extLst>
            </p:cNvPr>
            <p:cNvGrpSpPr/>
            <p:nvPr/>
          </p:nvGrpSpPr>
          <p:grpSpPr>
            <a:xfrm>
              <a:off x="5029908" y="2841748"/>
              <a:ext cx="6401671" cy="3248341"/>
              <a:chOff x="5334526" y="2153954"/>
              <a:chExt cx="6401671" cy="3094570"/>
            </a:xfrm>
          </p:grpSpPr>
          <p:pic>
            <p:nvPicPr>
              <p:cNvPr id="8" name="Picture 7">
                <a:extLst>
                  <a:ext uri="{FF2B5EF4-FFF2-40B4-BE49-F238E27FC236}">
                    <a16:creationId xmlns:a16="http://schemas.microsoft.com/office/drawing/2014/main" id="{BE6A99B7-85CA-BFC9-B293-0A6B9E82A12B}"/>
                  </a:ext>
                </a:extLst>
              </p:cNvPr>
              <p:cNvPicPr>
                <a:picLocks noChangeAspect="1"/>
              </p:cNvPicPr>
              <p:nvPr/>
            </p:nvPicPr>
            <p:blipFill rotWithShape="1">
              <a:blip r:embed="rId8"/>
              <a:srcRect l="2097" r="4299"/>
              <a:stretch/>
            </p:blipFill>
            <p:spPr>
              <a:xfrm>
                <a:off x="5334526" y="2153954"/>
                <a:ext cx="6401671" cy="3094570"/>
              </a:xfrm>
              <a:prstGeom prst="rect">
                <a:avLst/>
              </a:prstGeom>
            </p:spPr>
          </p:pic>
          <p:sp>
            <p:nvSpPr>
              <p:cNvPr id="10" name="TextBox 9">
                <a:extLst>
                  <a:ext uri="{FF2B5EF4-FFF2-40B4-BE49-F238E27FC236}">
                    <a16:creationId xmlns:a16="http://schemas.microsoft.com/office/drawing/2014/main" id="{3DB01EF0-8765-0800-FDB7-85E693560BC9}"/>
                  </a:ext>
                </a:extLst>
              </p:cNvPr>
              <p:cNvSpPr txBox="1"/>
              <p:nvPr/>
            </p:nvSpPr>
            <p:spPr>
              <a:xfrm>
                <a:off x="10754685" y="4163642"/>
                <a:ext cx="981512" cy="584775"/>
              </a:xfrm>
              <a:prstGeom prst="rect">
                <a:avLst/>
              </a:prstGeom>
              <a:solidFill>
                <a:schemeClr val="bg1"/>
              </a:solidFill>
              <a:ln w="12700">
                <a:solidFill>
                  <a:schemeClr val="bg1">
                    <a:lumMod val="75000"/>
                  </a:schemeClr>
                </a:solidFill>
              </a:ln>
            </p:spPr>
            <p:txBody>
              <a:bodyPr wrap="square" rtlCol="0">
                <a:spAutoFit/>
              </a:bodyPr>
              <a:lstStyle/>
              <a:p>
                <a:pPr algn="ctr"/>
                <a:endParaRPr lang="en-US" sz="1000">
                  <a:solidFill>
                    <a:srgbClr val="FF6600"/>
                  </a:solidFill>
                </a:endParaRPr>
              </a:p>
              <a:p>
                <a:pPr algn="ctr"/>
                <a:r>
                  <a:rPr lang="en-US" sz="1300">
                    <a:solidFill>
                      <a:srgbClr val="FF6600"/>
                    </a:solidFill>
                  </a:rPr>
                  <a:t>      RIG    </a:t>
                </a:r>
                <a:endParaRPr lang="en-GB" sz="1300">
                  <a:solidFill>
                    <a:srgbClr val="FF6600"/>
                  </a:solidFill>
                </a:endParaRPr>
              </a:p>
              <a:p>
                <a:pPr algn="ctr"/>
                <a:endParaRPr lang="en-US" sz="900">
                  <a:solidFill>
                    <a:srgbClr val="FF6600"/>
                  </a:solidFill>
                </a:endParaRPr>
              </a:p>
            </p:txBody>
          </p:sp>
          <p:pic>
            <p:nvPicPr>
              <p:cNvPr id="13" name="Graphic 12" descr="Needle with solid fill">
                <a:extLst>
                  <a:ext uri="{FF2B5EF4-FFF2-40B4-BE49-F238E27FC236}">
                    <a16:creationId xmlns:a16="http://schemas.microsoft.com/office/drawing/2014/main" id="{F00D39C2-9E14-1D17-3D13-E4B4298EEB1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rot="9100785">
                <a:off x="10739921" y="4233828"/>
                <a:ext cx="437072" cy="437072"/>
              </a:xfrm>
              <a:prstGeom prst="rect">
                <a:avLst/>
              </a:prstGeom>
            </p:spPr>
          </p:pic>
        </p:grpSp>
        <p:sp>
          <p:nvSpPr>
            <p:cNvPr id="3" name="Rectangle 2">
              <a:extLst>
                <a:ext uri="{FF2B5EF4-FFF2-40B4-BE49-F238E27FC236}">
                  <a16:creationId xmlns:a16="http://schemas.microsoft.com/office/drawing/2014/main" id="{AD19EDFE-13E5-86AA-C03C-028CAEF24E7F}"/>
                </a:ext>
              </a:extLst>
            </p:cNvPr>
            <p:cNvSpPr/>
            <p:nvPr/>
          </p:nvSpPr>
          <p:spPr>
            <a:xfrm>
              <a:off x="8314262" y="3051980"/>
              <a:ext cx="581108" cy="25245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E0CEA46E-7426-FBB9-F9D2-87DC833FA21C}"/>
                </a:ext>
              </a:extLst>
            </p:cNvPr>
            <p:cNvSpPr txBox="1"/>
            <p:nvPr/>
          </p:nvSpPr>
          <p:spPr>
            <a:xfrm>
              <a:off x="6402425" y="3312208"/>
              <a:ext cx="1154483" cy="246221"/>
            </a:xfrm>
            <a:prstGeom prst="rect">
              <a:avLst/>
            </a:prstGeom>
            <a:noFill/>
          </p:spPr>
          <p:txBody>
            <a:bodyPr wrap="none" rtlCol="0">
              <a:spAutoFit/>
            </a:bodyPr>
            <a:lstStyle/>
            <a:p>
              <a:r>
                <a:rPr lang="en-US" sz="1000" i="1" dirty="0">
                  <a:latin typeface="Arial" panose="020B0604020202020204" pitchFamily="34" charset="0"/>
                  <a:cs typeface="Arial" panose="020B0604020202020204" pitchFamily="34" charset="0"/>
                </a:rPr>
                <a:t>Not an exposure </a:t>
              </a:r>
            </a:p>
          </p:txBody>
        </p:sp>
        <p:sp>
          <p:nvSpPr>
            <p:cNvPr id="6" name="TextBox 5">
              <a:extLst>
                <a:ext uri="{FF2B5EF4-FFF2-40B4-BE49-F238E27FC236}">
                  <a16:creationId xmlns:a16="http://schemas.microsoft.com/office/drawing/2014/main" id="{8819F0C9-CD10-6AD3-4318-207F6C71D0DE}"/>
                </a:ext>
              </a:extLst>
            </p:cNvPr>
            <p:cNvSpPr txBox="1"/>
            <p:nvPr/>
          </p:nvSpPr>
          <p:spPr>
            <a:xfrm>
              <a:off x="6402425" y="5277643"/>
              <a:ext cx="1183337" cy="246221"/>
            </a:xfrm>
            <a:prstGeom prst="rect">
              <a:avLst/>
            </a:prstGeom>
            <a:noFill/>
          </p:spPr>
          <p:txBody>
            <a:bodyPr wrap="none" rtlCol="0">
              <a:spAutoFit/>
            </a:bodyPr>
            <a:lstStyle/>
            <a:p>
              <a:r>
                <a:rPr lang="en-US" sz="1000" i="1" dirty="0">
                  <a:latin typeface="Arial" panose="020B0604020202020204" pitchFamily="34" charset="0"/>
                  <a:cs typeface="Arial" panose="020B0604020202020204" pitchFamily="34" charset="0"/>
                </a:rPr>
                <a:t>Severe exposure </a:t>
              </a:r>
            </a:p>
          </p:txBody>
        </p:sp>
        <p:sp>
          <p:nvSpPr>
            <p:cNvPr id="7" name="TextBox 6">
              <a:extLst>
                <a:ext uri="{FF2B5EF4-FFF2-40B4-BE49-F238E27FC236}">
                  <a16:creationId xmlns:a16="http://schemas.microsoft.com/office/drawing/2014/main" id="{AB85C1EF-46A2-DA86-6CD6-183A53F1BD46}"/>
                </a:ext>
              </a:extLst>
            </p:cNvPr>
            <p:cNvSpPr txBox="1"/>
            <p:nvPr/>
          </p:nvSpPr>
          <p:spPr>
            <a:xfrm>
              <a:off x="6416851" y="4221262"/>
              <a:ext cx="758541" cy="246221"/>
            </a:xfrm>
            <a:prstGeom prst="rect">
              <a:avLst/>
            </a:prstGeom>
            <a:noFill/>
          </p:spPr>
          <p:txBody>
            <a:bodyPr wrap="none" rtlCol="0">
              <a:spAutoFit/>
            </a:bodyPr>
            <a:lstStyle/>
            <a:p>
              <a:r>
                <a:rPr lang="en-US" sz="1000" i="1" dirty="0">
                  <a:latin typeface="Arial" panose="020B0604020202020204" pitchFamily="34" charset="0"/>
                  <a:cs typeface="Arial" panose="020B0604020202020204" pitchFamily="34" charset="0"/>
                </a:rPr>
                <a:t>Exposure </a:t>
              </a:r>
            </a:p>
          </p:txBody>
        </p:sp>
        <p:sp>
          <p:nvSpPr>
            <p:cNvPr id="23" name="Rectangle 22">
              <a:extLst>
                <a:ext uri="{FF2B5EF4-FFF2-40B4-BE49-F238E27FC236}">
                  <a16:creationId xmlns:a16="http://schemas.microsoft.com/office/drawing/2014/main" id="{0FA4B00F-4254-4507-E182-53C3F4EBF51A}"/>
                </a:ext>
              </a:extLst>
            </p:cNvPr>
            <p:cNvSpPr/>
            <p:nvPr/>
          </p:nvSpPr>
          <p:spPr>
            <a:xfrm>
              <a:off x="9072438" y="5581816"/>
              <a:ext cx="2226365" cy="43088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18239089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40C2AE-3F24-5949-23AC-6EAF976F0D68}"/>
              </a:ext>
            </a:extLst>
          </p:cNvPr>
          <p:cNvSpPr>
            <a:spLocks noGrp="1"/>
          </p:cNvSpPr>
          <p:nvPr>
            <p:ph type="title"/>
          </p:nvPr>
        </p:nvSpPr>
        <p:spPr>
          <a:xfrm>
            <a:off x="147734" y="-218037"/>
            <a:ext cx="10753725" cy="1554163"/>
          </a:xfrm>
        </p:spPr>
        <p:txBody>
          <a:bodyPr/>
          <a:lstStyle/>
          <a:p>
            <a:r>
              <a:rPr lang="en-US" sz="4000"/>
              <a:t>Rabies</a:t>
            </a:r>
            <a:r>
              <a:rPr lang="en-US"/>
              <a:t> PEP administration decision tree</a:t>
            </a:r>
          </a:p>
        </p:txBody>
      </p:sp>
      <p:sp>
        <p:nvSpPr>
          <p:cNvPr id="3" name="Content Placeholder 2">
            <a:extLst>
              <a:ext uri="{FF2B5EF4-FFF2-40B4-BE49-F238E27FC236}">
                <a16:creationId xmlns:a16="http://schemas.microsoft.com/office/drawing/2014/main" id="{4F986579-330C-1651-60AF-458F6D36966D}"/>
              </a:ext>
            </a:extLst>
          </p:cNvPr>
          <p:cNvSpPr>
            <a:spLocks noGrp="1"/>
          </p:cNvSpPr>
          <p:nvPr>
            <p:ph idx="1"/>
          </p:nvPr>
        </p:nvSpPr>
        <p:spPr/>
        <p:txBody>
          <a:bodyPr/>
          <a:lstStyle/>
          <a:p>
            <a:endParaRPr lang="en-US"/>
          </a:p>
        </p:txBody>
      </p:sp>
      <p:sp>
        <p:nvSpPr>
          <p:cNvPr id="4" name="Footer Placeholder 3">
            <a:extLst>
              <a:ext uri="{FF2B5EF4-FFF2-40B4-BE49-F238E27FC236}">
                <a16:creationId xmlns:a16="http://schemas.microsoft.com/office/drawing/2014/main" id="{51058039-7E2F-B816-20DE-2EB53BBE3EE1}"/>
              </a:ext>
            </a:extLst>
          </p:cNvPr>
          <p:cNvSpPr>
            <a:spLocks noGrp="1"/>
          </p:cNvSpPr>
          <p:nvPr>
            <p:ph type="ftr" sz="quarter" idx="11"/>
          </p:nvPr>
        </p:nvSpPr>
        <p:spPr/>
        <p:txBody>
          <a:bodyPr/>
          <a:lstStyle/>
          <a:p>
            <a:endParaRPr lang="en-AU"/>
          </a:p>
        </p:txBody>
      </p:sp>
      <p:sp>
        <p:nvSpPr>
          <p:cNvPr id="5" name="Slide Number Placeholder 4">
            <a:extLst>
              <a:ext uri="{FF2B5EF4-FFF2-40B4-BE49-F238E27FC236}">
                <a16:creationId xmlns:a16="http://schemas.microsoft.com/office/drawing/2014/main" id="{5588EC91-7610-221C-A240-D83BE9C7FD53}"/>
              </a:ext>
            </a:extLst>
          </p:cNvPr>
          <p:cNvSpPr>
            <a:spLocks noGrp="1"/>
          </p:cNvSpPr>
          <p:nvPr>
            <p:ph type="sldNum" sz="quarter" idx="12"/>
          </p:nvPr>
        </p:nvSpPr>
        <p:spPr/>
        <p:txBody>
          <a:bodyPr/>
          <a:lstStyle/>
          <a:p>
            <a:fld id="{33ECF85F-2FE6-4C40-9C0D-695BD934DCA6}" type="slidenum">
              <a:rPr lang="en-AU" smtClean="0"/>
              <a:t>8</a:t>
            </a:fld>
            <a:endParaRPr lang="en-AU"/>
          </a:p>
        </p:txBody>
      </p:sp>
      <p:pic>
        <p:nvPicPr>
          <p:cNvPr id="7" name="Picture 6">
            <a:extLst>
              <a:ext uri="{FF2B5EF4-FFF2-40B4-BE49-F238E27FC236}">
                <a16:creationId xmlns:a16="http://schemas.microsoft.com/office/drawing/2014/main" id="{2B94F61E-09A9-48AB-5160-A6090D3A43CD}"/>
              </a:ext>
            </a:extLst>
          </p:cNvPr>
          <p:cNvPicPr>
            <a:picLocks noChangeAspect="1"/>
          </p:cNvPicPr>
          <p:nvPr/>
        </p:nvPicPr>
        <p:blipFill>
          <a:blip r:embed="rId2"/>
          <a:stretch>
            <a:fillRect/>
          </a:stretch>
        </p:blipFill>
        <p:spPr>
          <a:xfrm>
            <a:off x="838200" y="763326"/>
            <a:ext cx="10134379" cy="6105548"/>
          </a:xfrm>
          <a:prstGeom prst="rect">
            <a:avLst/>
          </a:prstGeom>
        </p:spPr>
      </p:pic>
      <p:pic>
        <p:nvPicPr>
          <p:cNvPr id="9" name="Picture 8">
            <a:extLst>
              <a:ext uri="{FF2B5EF4-FFF2-40B4-BE49-F238E27FC236}">
                <a16:creationId xmlns:a16="http://schemas.microsoft.com/office/drawing/2014/main" id="{8A70DEC6-D7D0-59C6-7F0A-D0DE718A5729}"/>
              </a:ext>
            </a:extLst>
          </p:cNvPr>
          <p:cNvPicPr>
            <a:picLocks noChangeAspect="1"/>
          </p:cNvPicPr>
          <p:nvPr/>
        </p:nvPicPr>
        <p:blipFill>
          <a:blip r:embed="rId3"/>
          <a:stretch>
            <a:fillRect/>
          </a:stretch>
        </p:blipFill>
        <p:spPr>
          <a:xfrm>
            <a:off x="11210944" y="5891947"/>
            <a:ext cx="904201" cy="904201"/>
          </a:xfrm>
          <a:prstGeom prst="rect">
            <a:avLst/>
          </a:prstGeom>
        </p:spPr>
      </p:pic>
      <p:pic>
        <p:nvPicPr>
          <p:cNvPr id="11" name="Picture 10">
            <a:extLst>
              <a:ext uri="{FF2B5EF4-FFF2-40B4-BE49-F238E27FC236}">
                <a16:creationId xmlns:a16="http://schemas.microsoft.com/office/drawing/2014/main" id="{CFFF616E-4EE1-C95B-B7D9-831179AE99F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52689" y="6288609"/>
            <a:ext cx="1588170" cy="500605"/>
          </a:xfrm>
          <a:prstGeom prst="rect">
            <a:avLst/>
          </a:prstGeom>
        </p:spPr>
      </p:pic>
    </p:spTree>
    <p:extLst>
      <p:ext uri="{BB962C8B-B14F-4D97-AF65-F5344CB8AC3E}">
        <p14:creationId xmlns:p14="http://schemas.microsoft.com/office/powerpoint/2010/main" val="27365933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330"/>
        <p:cNvGrpSpPr/>
        <p:nvPr/>
      </p:nvGrpSpPr>
      <p:grpSpPr>
        <a:xfrm>
          <a:off x="0" y="0"/>
          <a:ext cx="0" cy="0"/>
          <a:chOff x="0" y="0"/>
          <a:chExt cx="0" cy="0"/>
        </a:xfrm>
      </p:grpSpPr>
      <p:sp>
        <p:nvSpPr>
          <p:cNvPr id="333" name="Google Shape;333;p12"/>
          <p:cNvSpPr txBox="1"/>
          <p:nvPr/>
        </p:nvSpPr>
        <p:spPr>
          <a:xfrm>
            <a:off x="1674474" y="1571101"/>
            <a:ext cx="525171" cy="410351"/>
          </a:xfrm>
          <a:prstGeom prst="rect">
            <a:avLst/>
          </a:prstGeom>
          <a:no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2800" b="1">
              <a:solidFill>
                <a:srgbClr val="222A35"/>
              </a:solidFill>
              <a:latin typeface="Arial"/>
              <a:ea typeface="Arial"/>
              <a:cs typeface="Arial"/>
              <a:sym typeface="Arial"/>
            </a:endParaRPr>
          </a:p>
        </p:txBody>
      </p:sp>
      <p:grpSp>
        <p:nvGrpSpPr>
          <p:cNvPr id="3" name="Group 2">
            <a:extLst>
              <a:ext uri="{FF2B5EF4-FFF2-40B4-BE49-F238E27FC236}">
                <a16:creationId xmlns:a16="http://schemas.microsoft.com/office/drawing/2014/main" id="{078B5A84-7C22-C9C4-7244-54D4DC6B3DD9}"/>
              </a:ext>
            </a:extLst>
          </p:cNvPr>
          <p:cNvGrpSpPr/>
          <p:nvPr/>
        </p:nvGrpSpPr>
        <p:grpSpPr>
          <a:xfrm>
            <a:off x="6627303" y="1171551"/>
            <a:ext cx="5073534" cy="5570290"/>
            <a:chOff x="6282882" y="1003207"/>
            <a:chExt cx="5135580" cy="5578317"/>
          </a:xfrm>
        </p:grpSpPr>
        <p:pic>
          <p:nvPicPr>
            <p:cNvPr id="334" name="Google Shape;334;p12"/>
            <p:cNvPicPr preferRelativeResize="0"/>
            <p:nvPr/>
          </p:nvPicPr>
          <p:blipFill rotWithShape="1">
            <a:blip r:embed="rId3">
              <a:alphaModFix/>
            </a:blip>
            <a:srcRect t="7164" b="23362"/>
            <a:stretch/>
          </p:blipFill>
          <p:spPr>
            <a:xfrm>
              <a:off x="6282882" y="1003207"/>
              <a:ext cx="5135580" cy="4798359"/>
            </a:xfrm>
            <a:prstGeom prst="rect">
              <a:avLst/>
            </a:prstGeom>
            <a:noFill/>
            <a:ln>
              <a:noFill/>
            </a:ln>
          </p:spPr>
        </p:pic>
        <p:sp>
          <p:nvSpPr>
            <p:cNvPr id="336" name="Google Shape;336;p12"/>
            <p:cNvSpPr txBox="1"/>
            <p:nvPr/>
          </p:nvSpPr>
          <p:spPr>
            <a:xfrm>
              <a:off x="6524581" y="5614826"/>
              <a:ext cx="3124950" cy="966698"/>
            </a:xfrm>
            <a:prstGeom prst="rect">
              <a:avLst/>
            </a:prstGeom>
            <a:no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rgbClr val="222A35"/>
                </a:solidFill>
                <a:latin typeface="Arial"/>
                <a:ea typeface="Arial"/>
                <a:cs typeface="Arial"/>
                <a:sym typeface="Arial"/>
              </a:endParaRPr>
            </a:p>
          </p:txBody>
        </p:sp>
        <p:pic>
          <p:nvPicPr>
            <p:cNvPr id="337" name="Google Shape;337;p12"/>
            <p:cNvPicPr preferRelativeResize="0"/>
            <p:nvPr/>
          </p:nvPicPr>
          <p:blipFill rotWithShape="1">
            <a:blip r:embed="rId4">
              <a:alphaModFix/>
            </a:blip>
            <a:srcRect/>
            <a:stretch/>
          </p:blipFill>
          <p:spPr>
            <a:xfrm>
              <a:off x="6293409" y="5653747"/>
              <a:ext cx="1566897" cy="147819"/>
            </a:xfrm>
            <a:prstGeom prst="rect">
              <a:avLst/>
            </a:prstGeom>
            <a:noFill/>
            <a:ln>
              <a:noFill/>
            </a:ln>
          </p:spPr>
        </p:pic>
      </p:grpSp>
      <p:sp>
        <p:nvSpPr>
          <p:cNvPr id="338" name="Google Shape;338;p12"/>
          <p:cNvSpPr txBox="1"/>
          <p:nvPr/>
        </p:nvSpPr>
        <p:spPr>
          <a:xfrm>
            <a:off x="491163" y="1223982"/>
            <a:ext cx="5884469" cy="4955162"/>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GB" sz="2000">
                <a:latin typeface="Arial"/>
                <a:ea typeface="Arial"/>
                <a:cs typeface="Arial"/>
                <a:sym typeface="Arial"/>
              </a:rPr>
              <a:t>Intra-dermal (ID) = in the skin</a:t>
            </a:r>
          </a:p>
          <a:p>
            <a:pPr marL="0" marR="0" lvl="0" indent="0" algn="l" rtl="0">
              <a:lnSpc>
                <a:spcPct val="100000"/>
              </a:lnSpc>
              <a:spcBef>
                <a:spcPts val="0"/>
              </a:spcBef>
              <a:spcAft>
                <a:spcPts val="0"/>
              </a:spcAft>
              <a:buNone/>
            </a:pPr>
            <a:r>
              <a:rPr lang="en-GB">
                <a:solidFill>
                  <a:srgbClr val="222A35"/>
                </a:solidFill>
                <a:latin typeface="Arial"/>
                <a:ea typeface="Arial"/>
                <a:cs typeface="Arial"/>
                <a:sym typeface="Arial"/>
              </a:rPr>
              <a:t>1 </a:t>
            </a:r>
            <a:r>
              <a:rPr lang="en-GB">
                <a:solidFill>
                  <a:srgbClr val="222A35"/>
                </a:solidFill>
                <a:latin typeface="Arial"/>
                <a:cs typeface="Arial"/>
                <a:sym typeface="Arial"/>
              </a:rPr>
              <a:t>dose = </a:t>
            </a:r>
            <a:r>
              <a:rPr lang="en-GB">
                <a:solidFill>
                  <a:srgbClr val="222A35"/>
                </a:solidFill>
                <a:latin typeface="Arial"/>
                <a:cs typeface="Arial"/>
              </a:rPr>
              <a:t>0.1 mL of vaccine</a:t>
            </a:r>
          </a:p>
          <a:p>
            <a:pPr marL="0" marR="0" lvl="0" indent="0" algn="l" rtl="0">
              <a:lnSpc>
                <a:spcPct val="100000"/>
              </a:lnSpc>
              <a:spcBef>
                <a:spcPts val="0"/>
              </a:spcBef>
              <a:spcAft>
                <a:spcPts val="0"/>
              </a:spcAft>
              <a:buNone/>
            </a:pPr>
            <a:endParaRPr lang="en-GB" sz="2000">
              <a:solidFill>
                <a:srgbClr val="222A35"/>
              </a:solidFill>
              <a:latin typeface="Arial"/>
              <a:cs typeface="Arial"/>
            </a:endParaRPr>
          </a:p>
          <a:p>
            <a:r>
              <a:rPr lang="en-US" sz="2000">
                <a:latin typeface="Arial"/>
                <a:cs typeface="Arial"/>
                <a:sym typeface="Arial"/>
              </a:rPr>
              <a:t>Intra-muscular (IM) = in the muscle</a:t>
            </a:r>
            <a:endParaRPr lang="en-US" sz="2000">
              <a:latin typeface="Arial"/>
              <a:cs typeface="Arial"/>
            </a:endParaRPr>
          </a:p>
          <a:p>
            <a:r>
              <a:rPr lang="en-GB">
                <a:solidFill>
                  <a:srgbClr val="222A35"/>
                </a:solidFill>
                <a:latin typeface="Arial"/>
                <a:cs typeface="Arial"/>
                <a:sym typeface="Arial"/>
              </a:rPr>
              <a:t>1 dose = 1 entire vial (which is </a:t>
            </a:r>
            <a:r>
              <a:rPr lang="en-GB">
                <a:solidFill>
                  <a:srgbClr val="222A35"/>
                </a:solidFill>
                <a:latin typeface="Arial"/>
                <a:cs typeface="Arial"/>
              </a:rPr>
              <a:t>0.5 mL or 1.0 mL of vaccine, depending on the product)</a:t>
            </a:r>
          </a:p>
          <a:p>
            <a:endParaRPr lang="en-GB" sz="2000">
              <a:solidFill>
                <a:srgbClr val="222A35"/>
              </a:solidFill>
              <a:latin typeface="Arial"/>
              <a:cs typeface="Arial"/>
            </a:endParaRPr>
          </a:p>
          <a:p>
            <a:pPr marL="177800" marR="0" lvl="0" indent="-177800" algn="l" rtl="0">
              <a:lnSpc>
                <a:spcPct val="100000"/>
              </a:lnSpc>
              <a:spcAft>
                <a:spcPts val="0"/>
              </a:spcAft>
              <a:buClr>
                <a:srgbClr val="222A35"/>
              </a:buClr>
              <a:buSzPts val="2000"/>
              <a:buFont typeface="Arial"/>
              <a:buChar char="•"/>
            </a:pPr>
            <a:r>
              <a:rPr lang="en-US">
                <a:solidFill>
                  <a:srgbClr val="222A35"/>
                </a:solidFill>
                <a:latin typeface="Arial"/>
                <a:ea typeface="Arial"/>
                <a:cs typeface="Arial"/>
                <a:sym typeface="Arial"/>
              </a:rPr>
              <a:t>All WHO pre-qualified vaccines can be administered by either route</a:t>
            </a:r>
            <a:endParaRPr lang="en-US"/>
          </a:p>
          <a:p>
            <a:pPr marL="177800" marR="0" lvl="0" indent="-50800" algn="l" rtl="0">
              <a:lnSpc>
                <a:spcPct val="100000"/>
              </a:lnSpc>
              <a:spcAft>
                <a:spcPts val="0"/>
              </a:spcAft>
              <a:buClr>
                <a:schemeClr val="dk1"/>
              </a:buClr>
              <a:buSzPts val="2000"/>
              <a:buFont typeface="Arial"/>
              <a:buNone/>
            </a:pPr>
            <a:endParaRPr lang="en-US" sz="2000">
              <a:solidFill>
                <a:srgbClr val="222A35"/>
              </a:solidFill>
              <a:latin typeface="Arial"/>
              <a:ea typeface="Arial"/>
              <a:cs typeface="Arial"/>
              <a:sym typeface="Arial"/>
            </a:endParaRPr>
          </a:p>
          <a:p>
            <a:pPr marL="177800" marR="0" lvl="0" indent="-177800" algn="l" rtl="0">
              <a:lnSpc>
                <a:spcPct val="100000"/>
              </a:lnSpc>
              <a:spcAft>
                <a:spcPts val="0"/>
              </a:spcAft>
              <a:buClr>
                <a:srgbClr val="222A35"/>
              </a:buClr>
              <a:buSzPts val="2000"/>
              <a:buFont typeface="Arial"/>
              <a:buChar char="•"/>
            </a:pPr>
            <a:r>
              <a:rPr lang="en-US">
                <a:solidFill>
                  <a:srgbClr val="222A35"/>
                </a:solidFill>
                <a:latin typeface="Arial"/>
                <a:ea typeface="Arial"/>
                <a:cs typeface="Arial"/>
                <a:sym typeface="Arial"/>
              </a:rPr>
              <a:t>The injection sites for ID and IM are the same</a:t>
            </a:r>
            <a:endParaRPr lang="en-US"/>
          </a:p>
          <a:p>
            <a:pPr marL="180975" marR="0" lvl="0" indent="-53975" algn="l" rtl="0">
              <a:lnSpc>
                <a:spcPct val="100000"/>
              </a:lnSpc>
              <a:spcAft>
                <a:spcPts val="0"/>
              </a:spcAft>
              <a:buClr>
                <a:schemeClr val="dk1"/>
              </a:buClr>
              <a:buSzPts val="2000"/>
              <a:buFont typeface="Arial"/>
              <a:buNone/>
            </a:pPr>
            <a:endParaRPr lang="en-US" sz="2000">
              <a:solidFill>
                <a:srgbClr val="222A35"/>
              </a:solidFill>
              <a:latin typeface="Arial"/>
              <a:ea typeface="Arial"/>
              <a:cs typeface="Arial"/>
              <a:sym typeface="Arial"/>
            </a:endParaRPr>
          </a:p>
          <a:p>
            <a:pPr marL="180975" marR="0" lvl="0" indent="-180975" algn="l" rtl="0">
              <a:lnSpc>
                <a:spcPct val="100000"/>
              </a:lnSpc>
              <a:spcAft>
                <a:spcPts val="0"/>
              </a:spcAft>
              <a:buClr>
                <a:srgbClr val="222A35"/>
              </a:buClr>
              <a:buSzPts val="2000"/>
              <a:buFont typeface="Arial"/>
              <a:buChar char="•"/>
            </a:pPr>
            <a:r>
              <a:rPr lang="en-US">
                <a:solidFill>
                  <a:srgbClr val="222A35"/>
                </a:solidFill>
                <a:latin typeface="Arial"/>
                <a:ea typeface="Arial"/>
                <a:cs typeface="Arial"/>
                <a:sym typeface="Arial"/>
              </a:rPr>
              <a:t>For ID, opened vials can be used up to 8 hours </a:t>
            </a:r>
            <a:br>
              <a:rPr lang="en-US">
                <a:solidFill>
                  <a:srgbClr val="222A35"/>
                </a:solidFill>
                <a:latin typeface="Arial"/>
                <a:ea typeface="Arial"/>
                <a:cs typeface="Arial"/>
                <a:sym typeface="Arial"/>
              </a:rPr>
            </a:br>
            <a:r>
              <a:rPr lang="en-US" sz="1400">
                <a:solidFill>
                  <a:srgbClr val="222A35"/>
                </a:solidFill>
                <a:latin typeface="Arial"/>
                <a:ea typeface="Arial"/>
                <a:cs typeface="Arial"/>
                <a:sym typeface="Arial"/>
              </a:rPr>
              <a:t>(</a:t>
            </a:r>
            <a:r>
              <a:rPr lang="en-US" sz="1400">
                <a:hlinkClick r:id="rId5"/>
              </a:rPr>
              <a:t>WHO policy on the use of opened multi-dose vaccine vials</a:t>
            </a:r>
            <a:r>
              <a:rPr lang="en-US" sz="1400"/>
              <a:t>)</a:t>
            </a:r>
            <a:br>
              <a:rPr lang="en-US"/>
            </a:br>
            <a:endParaRPr lang="en-US" sz="2000">
              <a:solidFill>
                <a:srgbClr val="222A35"/>
              </a:solidFill>
              <a:latin typeface="Arial"/>
              <a:cs typeface="Arial"/>
              <a:sym typeface="Arial"/>
            </a:endParaRPr>
          </a:p>
          <a:p>
            <a:pPr marL="180975" marR="0" lvl="0" indent="-180975" algn="l" rtl="0">
              <a:lnSpc>
                <a:spcPct val="100000"/>
              </a:lnSpc>
              <a:spcAft>
                <a:spcPts val="0"/>
              </a:spcAft>
              <a:buClr>
                <a:srgbClr val="222A35"/>
              </a:buClr>
              <a:buSzPts val="2000"/>
              <a:buFont typeface="Arial"/>
              <a:buChar char="•"/>
            </a:pPr>
            <a:r>
              <a:rPr lang="en-US">
                <a:latin typeface="Arial"/>
                <a:cs typeface="Arial"/>
                <a:sym typeface="Arial"/>
              </a:rPr>
              <a:t>ID administration is simple to perform, if health care providers are adequately trained </a:t>
            </a:r>
            <a:endParaRPr lang="en-US"/>
          </a:p>
        </p:txBody>
      </p:sp>
      <p:sp>
        <p:nvSpPr>
          <p:cNvPr id="2" name="TextBox 1">
            <a:extLst>
              <a:ext uri="{FF2B5EF4-FFF2-40B4-BE49-F238E27FC236}">
                <a16:creationId xmlns:a16="http://schemas.microsoft.com/office/drawing/2014/main" id="{65F60B09-5E1E-6564-5D44-646C4A49BDA3}"/>
              </a:ext>
            </a:extLst>
          </p:cNvPr>
          <p:cNvSpPr txBox="1"/>
          <p:nvPr/>
        </p:nvSpPr>
        <p:spPr>
          <a:xfrm>
            <a:off x="113251" y="300924"/>
            <a:ext cx="11965497" cy="461665"/>
          </a:xfrm>
          <a:prstGeom prst="rect">
            <a:avLst/>
          </a:prstGeom>
        </p:spPr>
        <p:txBody>
          <a:bodyPr vert="horz" lIns="91440" tIns="45720" rIns="91440" bIns="45720" rtlCol="0" anchor="ctr">
            <a:noAutofit/>
          </a:bodyPr>
          <a:lstStyle>
            <a:lvl1pPr>
              <a:lnSpc>
                <a:spcPct val="90000"/>
              </a:lnSpc>
              <a:spcBef>
                <a:spcPct val="0"/>
              </a:spcBef>
              <a:buNone/>
              <a:defRPr sz="4000">
                <a:latin typeface="+mj-lt"/>
                <a:ea typeface="+mj-ea"/>
                <a:cs typeface="+mj-cs"/>
              </a:defRPr>
            </a:lvl1pPr>
          </a:lstStyle>
          <a:p>
            <a:r>
              <a:rPr lang="en-US" sz="3800" err="1"/>
              <a:t>PrEP</a:t>
            </a:r>
            <a:r>
              <a:rPr lang="en-US" sz="3800"/>
              <a:t> and PEP can be given intra-dermally or intra-muscularly</a:t>
            </a:r>
            <a:endParaRPr lang="en-GB" sz="3800"/>
          </a:p>
        </p:txBody>
      </p:sp>
      <p:sp>
        <p:nvSpPr>
          <p:cNvPr id="4" name="TextBox 3">
            <a:extLst>
              <a:ext uri="{FF2B5EF4-FFF2-40B4-BE49-F238E27FC236}">
                <a16:creationId xmlns:a16="http://schemas.microsoft.com/office/drawing/2014/main" id="{9C8AB6A0-EB93-FE38-701A-1BAB96355921}"/>
              </a:ext>
            </a:extLst>
          </p:cNvPr>
          <p:cNvSpPr txBox="1"/>
          <p:nvPr/>
        </p:nvSpPr>
        <p:spPr>
          <a:xfrm>
            <a:off x="6185940" y="6078052"/>
            <a:ext cx="6189270" cy="338554"/>
          </a:xfrm>
          <a:prstGeom prst="rect">
            <a:avLst/>
          </a:prstGeom>
          <a:noFill/>
        </p:spPr>
        <p:txBody>
          <a:bodyPr wrap="square" rtlCol="0">
            <a:spAutoFit/>
          </a:bodyPr>
          <a:lstStyle/>
          <a:p>
            <a:pPr algn="ctr"/>
            <a:r>
              <a:rPr lang="en-US" sz="1600" b="1" i="0" u="none" strike="noStrike">
                <a:effectLst/>
                <a:latin typeface="Arial" panose="020B0604020202020204" pitchFamily="34" charset="0"/>
              </a:rPr>
              <a:t>! Do not </a:t>
            </a:r>
            <a:r>
              <a:rPr lang="en-US" sz="1600" b="1">
                <a:latin typeface="Arial" panose="020B0604020202020204" pitchFamily="34" charset="0"/>
              </a:rPr>
              <a:t>inject vaccine </a:t>
            </a:r>
            <a:r>
              <a:rPr lang="en-US" sz="1600" b="1" i="0" u="none" strike="noStrike">
                <a:effectLst/>
                <a:latin typeface="Arial" panose="020B0604020202020204" pitchFamily="34" charset="0"/>
              </a:rPr>
              <a:t>in the gluteal region !</a:t>
            </a:r>
            <a:endParaRPr lang="en-US" sz="1600" b="1">
              <a:effectLst/>
            </a:endParaRPr>
          </a:p>
        </p:txBody>
      </p:sp>
      <p:pic>
        <p:nvPicPr>
          <p:cNvPr id="5" name="Picture 4">
            <a:extLst>
              <a:ext uri="{FF2B5EF4-FFF2-40B4-BE49-F238E27FC236}">
                <a16:creationId xmlns:a16="http://schemas.microsoft.com/office/drawing/2014/main" id="{272574A5-3E6C-B45D-FBF1-67992FFFC27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52689" y="6288609"/>
            <a:ext cx="1588170" cy="500605"/>
          </a:xfrm>
          <a:prstGeom prst="rect">
            <a:avLst/>
          </a:prstGeom>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BTFPLAYOUTENABLED" val="1"/>
  <p:tag name="BTFPLAYOUTCOLUMNS" val="1"/>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ntent">
  <a:themeElements>
    <a:clrScheme name="Template Ppt 2016">
      <a:dk1>
        <a:srgbClr val="000000"/>
      </a:dk1>
      <a:lt1>
        <a:srgbClr val="FFFFFF"/>
      </a:lt1>
      <a:dk2>
        <a:srgbClr val="000000"/>
      </a:dk2>
      <a:lt2>
        <a:srgbClr val="808080"/>
      </a:lt2>
      <a:accent1>
        <a:srgbClr val="A50021"/>
      </a:accent1>
      <a:accent2>
        <a:srgbClr val="636463"/>
      </a:accent2>
      <a:accent3>
        <a:srgbClr val="676F91"/>
      </a:accent3>
      <a:accent4>
        <a:srgbClr val="A3AD90"/>
      </a:accent4>
      <a:accent5>
        <a:srgbClr val="769091"/>
      </a:accent5>
      <a:accent6>
        <a:srgbClr val="D2AD86"/>
      </a:accent6>
      <a:hlink>
        <a:srgbClr val="0070C0"/>
      </a:hlink>
      <a:folHlink>
        <a:srgbClr val="0070C0"/>
      </a:folHlink>
    </a:clrScheme>
    <a:fontScheme name="Template Ppt 2016">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vert="horz" wrap="square" lIns="91440" tIns="45720" rIns="91440" bIns="45720" numCol="1" anchor="t" anchorCtr="0" compatLnSpc="1">
        <a:prstTxWarp prst="textNoShape">
          <a:avLst/>
        </a:prstTxWarp>
      </a:bodyPr>
      <a:lstStyle>
        <a:defPPr>
          <a:defRPr kern="0" dirty="0" smtClean="0"/>
        </a:defPPr>
      </a:lstStyle>
    </a:txDef>
  </a:objectDefaults>
  <a:extraClrSchemeLst>
    <a:extraClrScheme>
      <a:clrScheme name="Modèle par défau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odèle par défau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odèle par défau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odèle par défau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odèle par défau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odèle par défau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odèle par défau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odèle par défau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odèle par défau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odèle par défau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odèle par défau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odèle par défau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3_Gavi – Titles, Sections, End Slides">
  <a:themeElements>
    <a:clrScheme name="Gavi Palette 1">
      <a:dk1>
        <a:srgbClr val="000000"/>
      </a:dk1>
      <a:lt1>
        <a:srgbClr val="FFFFFF"/>
      </a:lt1>
      <a:dk2>
        <a:srgbClr val="005CB9"/>
      </a:dk2>
      <a:lt2>
        <a:srgbClr val="00A1DF"/>
      </a:lt2>
      <a:accent1>
        <a:srgbClr val="83BD00"/>
      </a:accent1>
      <a:accent2>
        <a:srgbClr val="3E9B6E"/>
      </a:accent2>
      <a:accent3>
        <a:srgbClr val="E24A3F"/>
      </a:accent3>
      <a:accent4>
        <a:srgbClr val="FA7650"/>
      </a:accent4>
      <a:accent5>
        <a:srgbClr val="F8A623"/>
      </a:accent5>
      <a:accent6>
        <a:srgbClr val="FED141"/>
      </a:accent6>
      <a:hlink>
        <a:srgbClr val="00A1DF"/>
      </a:hlink>
      <a:folHlink>
        <a:srgbClr val="005CB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GAVI_PPT_Full template" id="{99C43E16-FF9C-1849-AF03-F58742B6D3E6}" vid="{2B276190-5DD2-7F4B-9F0E-8F3BFCF15372}"/>
    </a:ext>
  </a:extLst>
</a:theme>
</file>

<file path=ppt/theme/theme11.xml><?xml version="1.0" encoding="utf-8"?>
<a:theme xmlns:a="http://schemas.openxmlformats.org/drawingml/2006/main" name="3_Gavi ppt template_blank 16-9">
  <a:themeElements>
    <a:clrScheme name="GAVI PRIMARY COLOURS">
      <a:dk1>
        <a:srgbClr val="343434"/>
      </a:dk1>
      <a:lt1>
        <a:srgbClr val="FFFFFF"/>
      </a:lt1>
      <a:dk2>
        <a:srgbClr val="81B900"/>
      </a:dk2>
      <a:lt2>
        <a:srgbClr val="878787"/>
      </a:lt2>
      <a:accent1>
        <a:srgbClr val="005CB9"/>
      </a:accent1>
      <a:accent2>
        <a:srgbClr val="00A1DF"/>
      </a:accent2>
      <a:accent3>
        <a:srgbClr val="95D600"/>
      </a:accent3>
      <a:accent4>
        <a:srgbClr val="A51890"/>
      </a:accent4>
      <a:accent5>
        <a:srgbClr val="CE0F69"/>
      </a:accent5>
      <a:accent6>
        <a:srgbClr val="D50032"/>
      </a:accent6>
      <a:hlink>
        <a:srgbClr val="343434"/>
      </a:hlink>
      <a:folHlink>
        <a:srgbClr val="343434"/>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CHOLERA">
      <a:srgbClr val="AF5C37"/>
    </a:custClr>
    <a:custClr name="HEPB">
      <a:srgbClr val="D50032"/>
    </a:custClr>
    <a:custClr name="HPV">
      <a:srgbClr val="F59BBB"/>
    </a:custClr>
    <a:custClr name="IPV INJECTABLE POLIO">
      <a:srgbClr val="CEDC00"/>
    </a:custClr>
    <a:custClr name="JAPANESE ENCEPHALITIS">
      <a:srgbClr val="B288B9"/>
    </a:custClr>
    <a:custClr name="MEASLES">
      <a:srgbClr val="41B6E6"/>
    </a:custClr>
    <a:custClr name="MEASLES 2 DOSE">
      <a:srgbClr val="0097A9"/>
    </a:custClr>
    <a:custClr name="MEASLES RUBELLA">
      <a:srgbClr val="005A70"/>
    </a:custClr>
    <a:custClr name="MENINGITIS A">
      <a:srgbClr val="009639"/>
    </a:custClr>
    <a:custClr name="PENTA">
      <a:srgbClr val="653279"/>
    </a:custClr>
    <a:custClr name="PNEUMO">
      <a:srgbClr val="0033A0"/>
    </a:custClr>
    <a:custClr name="ROTAVIRUS">
      <a:srgbClr val="D86018"/>
    </a:custClr>
    <a:custClr name="YELLOW FEVER">
      <a:srgbClr val="EAAA00"/>
    </a:custClr>
    <a:custClr name="DENGUE">
      <a:srgbClr val="C6C6C5"/>
    </a:custClr>
    <a:custClr name="MALARIA">
      <a:srgbClr val="A7A7A7"/>
    </a:custClr>
    <a:custClr name="MATERNAL FLU">
      <a:srgbClr val="878786"/>
    </a:custClr>
    <a:custClr name="RABIES">
      <a:srgbClr val="636362"/>
    </a:custClr>
  </a:custClrLst>
  <a:extLst>
    <a:ext uri="{05A4C25C-085E-4340-85A3-A5531E510DB2}">
      <thm15:themeFamily xmlns:thm15="http://schemas.microsoft.com/office/thememl/2012/main" name="Gavi ppt template_blank_16-9" id="{5252CE5A-EDD1-CC42-BE57-3A7140D09C48}" vid="{09588364-F374-7941-AE62-2AA3243E0807}"/>
    </a:ext>
  </a:extLst>
</a:theme>
</file>

<file path=ppt/theme/theme12.xml><?xml version="1.0" encoding="utf-8"?>
<a:theme xmlns:a="http://schemas.openxmlformats.org/drawingml/2006/main" name="1_Gavi ppt template_blank 16-9">
  <a:themeElements>
    <a:clrScheme name="GAVI PRIMARY COLOURS">
      <a:dk1>
        <a:srgbClr val="343434"/>
      </a:dk1>
      <a:lt1>
        <a:srgbClr val="FFFFFF"/>
      </a:lt1>
      <a:dk2>
        <a:srgbClr val="81B900"/>
      </a:dk2>
      <a:lt2>
        <a:srgbClr val="878787"/>
      </a:lt2>
      <a:accent1>
        <a:srgbClr val="005CB9"/>
      </a:accent1>
      <a:accent2>
        <a:srgbClr val="00A1DF"/>
      </a:accent2>
      <a:accent3>
        <a:srgbClr val="95D600"/>
      </a:accent3>
      <a:accent4>
        <a:srgbClr val="A51890"/>
      </a:accent4>
      <a:accent5>
        <a:srgbClr val="CE0F69"/>
      </a:accent5>
      <a:accent6>
        <a:srgbClr val="D50032"/>
      </a:accent6>
      <a:hlink>
        <a:srgbClr val="343434"/>
      </a:hlink>
      <a:folHlink>
        <a:srgbClr val="343434"/>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CHOLERA">
      <a:srgbClr val="AF5C37"/>
    </a:custClr>
    <a:custClr name="HEPB">
      <a:srgbClr val="D50032"/>
    </a:custClr>
    <a:custClr name="HPV">
      <a:srgbClr val="F59BBB"/>
    </a:custClr>
    <a:custClr name="IPV INJECTABLE POLIO">
      <a:srgbClr val="CEDC00"/>
    </a:custClr>
    <a:custClr name="JAPANESE ENCEPHALITIS">
      <a:srgbClr val="B288B9"/>
    </a:custClr>
    <a:custClr name="MEASLES">
      <a:srgbClr val="41B6E6"/>
    </a:custClr>
    <a:custClr name="MEASLES 2 DOSE">
      <a:srgbClr val="0097A9"/>
    </a:custClr>
    <a:custClr name="MEASLES RUBELLA">
      <a:srgbClr val="005A70"/>
    </a:custClr>
    <a:custClr name="MENINGITIS A">
      <a:srgbClr val="009639"/>
    </a:custClr>
    <a:custClr name="PENTA">
      <a:srgbClr val="653279"/>
    </a:custClr>
    <a:custClr name="PNEUMO">
      <a:srgbClr val="0033A0"/>
    </a:custClr>
    <a:custClr name="ROTAVIRUS">
      <a:srgbClr val="D86018"/>
    </a:custClr>
    <a:custClr name="YELLOW FEVER">
      <a:srgbClr val="EAAA00"/>
    </a:custClr>
    <a:custClr name="DENGUE">
      <a:srgbClr val="C6C6C5"/>
    </a:custClr>
    <a:custClr name="MALARIA">
      <a:srgbClr val="A7A7A7"/>
    </a:custClr>
    <a:custClr name="MATERNAL FLU">
      <a:srgbClr val="878786"/>
    </a:custClr>
    <a:custClr name="RABIES">
      <a:srgbClr val="636362"/>
    </a:custClr>
  </a:custClrLst>
  <a:extLst>
    <a:ext uri="{05A4C25C-085E-4340-85A3-A5531E510DB2}">
      <thm15:themeFamily xmlns:thm15="http://schemas.microsoft.com/office/thememl/2012/main" name="Gavi ppt template_blank_16-9" id="{DEBBE98C-C3E5-984B-BC10-1E92A94DEDF8}" vid="{2886559F-29FB-714C-86BD-EB166E1AAC82}"/>
    </a:ext>
  </a:extLst>
</a:theme>
</file>

<file path=ppt/theme/theme13.xml><?xml version="1.0" encoding="utf-8"?>
<a:theme xmlns:a="http://schemas.openxmlformats.org/drawingml/2006/main" name="1_Gavi – Body Slides">
  <a:themeElements>
    <a:clrScheme name="Gavi Palette 1">
      <a:dk1>
        <a:srgbClr val="000000"/>
      </a:dk1>
      <a:lt1>
        <a:srgbClr val="FFFFFF"/>
      </a:lt1>
      <a:dk2>
        <a:srgbClr val="005CB9"/>
      </a:dk2>
      <a:lt2>
        <a:srgbClr val="00A1DF"/>
      </a:lt2>
      <a:accent1>
        <a:srgbClr val="83BD00"/>
      </a:accent1>
      <a:accent2>
        <a:srgbClr val="3E9B6E"/>
      </a:accent2>
      <a:accent3>
        <a:srgbClr val="E24A3F"/>
      </a:accent3>
      <a:accent4>
        <a:srgbClr val="FA7650"/>
      </a:accent4>
      <a:accent5>
        <a:srgbClr val="F8A623"/>
      </a:accent5>
      <a:accent6>
        <a:srgbClr val="FED141"/>
      </a:accent6>
      <a:hlink>
        <a:srgbClr val="00A1DF"/>
      </a:hlink>
      <a:folHlink>
        <a:srgbClr val="005CB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GAVI_PPT_Full template" id="{99C43E16-FF9C-1849-AF03-F58742B6D3E6}" vid="{2567E646-D828-574A-82B0-C553FAD81028}"/>
    </a:ext>
  </a:extLst>
</a:theme>
</file>

<file path=ppt/theme/theme14.xml><?xml version="1.0" encoding="utf-8"?>
<a:theme xmlns:a="http://schemas.openxmlformats.org/drawingml/2006/main" name="4_Gavi – Titles, Sections, End Slides">
  <a:themeElements>
    <a:clrScheme name="Gavi Palette 1">
      <a:dk1>
        <a:srgbClr val="000000"/>
      </a:dk1>
      <a:lt1>
        <a:srgbClr val="FFFFFF"/>
      </a:lt1>
      <a:dk2>
        <a:srgbClr val="005CB9"/>
      </a:dk2>
      <a:lt2>
        <a:srgbClr val="00A1DF"/>
      </a:lt2>
      <a:accent1>
        <a:srgbClr val="83BD00"/>
      </a:accent1>
      <a:accent2>
        <a:srgbClr val="3E9B6E"/>
      </a:accent2>
      <a:accent3>
        <a:srgbClr val="E24A3F"/>
      </a:accent3>
      <a:accent4>
        <a:srgbClr val="FA7650"/>
      </a:accent4>
      <a:accent5>
        <a:srgbClr val="F8A623"/>
      </a:accent5>
      <a:accent6>
        <a:srgbClr val="FED141"/>
      </a:accent6>
      <a:hlink>
        <a:srgbClr val="00A1DF"/>
      </a:hlink>
      <a:folHlink>
        <a:srgbClr val="005CB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GAVI_PPT_Full template" id="{99C43E16-FF9C-1849-AF03-F58742B6D3E6}" vid="{2B276190-5DD2-7F4B-9F0E-8F3BFCF15372}"/>
    </a:ext>
  </a:extLst>
</a:theme>
</file>

<file path=ppt/theme/theme15.xml><?xml version="1.0" encoding="utf-8"?>
<a:theme xmlns:a="http://schemas.openxmlformats.org/drawingml/2006/main" name="2_Gavi – Body Slides">
  <a:themeElements>
    <a:clrScheme name="Gavi Palette 1">
      <a:dk1>
        <a:srgbClr val="000000"/>
      </a:dk1>
      <a:lt1>
        <a:srgbClr val="FFFFFF"/>
      </a:lt1>
      <a:dk2>
        <a:srgbClr val="005CB9"/>
      </a:dk2>
      <a:lt2>
        <a:srgbClr val="00A1DF"/>
      </a:lt2>
      <a:accent1>
        <a:srgbClr val="83BD00"/>
      </a:accent1>
      <a:accent2>
        <a:srgbClr val="3E9B6E"/>
      </a:accent2>
      <a:accent3>
        <a:srgbClr val="E24A3F"/>
      </a:accent3>
      <a:accent4>
        <a:srgbClr val="FA7650"/>
      </a:accent4>
      <a:accent5>
        <a:srgbClr val="F8A623"/>
      </a:accent5>
      <a:accent6>
        <a:srgbClr val="FED141"/>
      </a:accent6>
      <a:hlink>
        <a:srgbClr val="00A1DF"/>
      </a:hlink>
      <a:folHlink>
        <a:srgbClr val="005CB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GAVI_PPT_Full template" id="{99C43E16-FF9C-1849-AF03-F58742B6D3E6}" vid="{2567E646-D828-574A-82B0-C553FAD81028}"/>
    </a:ext>
  </a:extLst>
</a:theme>
</file>

<file path=ppt/theme/theme16.xml><?xml version="1.0" encoding="utf-8"?>
<a:theme xmlns:a="http://schemas.openxmlformats.org/drawingml/2006/main" name="5_Gavi – Body Slides">
  <a:themeElements>
    <a:clrScheme name="Gavi Palette 1">
      <a:dk1>
        <a:srgbClr val="000000"/>
      </a:dk1>
      <a:lt1>
        <a:srgbClr val="FFFFFF"/>
      </a:lt1>
      <a:dk2>
        <a:srgbClr val="005CB9"/>
      </a:dk2>
      <a:lt2>
        <a:srgbClr val="00A1DF"/>
      </a:lt2>
      <a:accent1>
        <a:srgbClr val="83BD00"/>
      </a:accent1>
      <a:accent2>
        <a:srgbClr val="3E9B6E"/>
      </a:accent2>
      <a:accent3>
        <a:srgbClr val="E24A3F"/>
      </a:accent3>
      <a:accent4>
        <a:srgbClr val="FA7650"/>
      </a:accent4>
      <a:accent5>
        <a:srgbClr val="F8A623"/>
      </a:accent5>
      <a:accent6>
        <a:srgbClr val="FED141"/>
      </a:accent6>
      <a:hlink>
        <a:srgbClr val="00A1DF"/>
      </a:hlink>
      <a:folHlink>
        <a:srgbClr val="005CB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GAVI_PPT_Full template" id="{99C43E16-FF9C-1849-AF03-F58742B6D3E6}" vid="{2567E646-D828-574A-82B0-C553FAD81028}"/>
    </a:ext>
  </a:extLst>
</a:theme>
</file>

<file path=ppt/theme/theme1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Gavi – Body Slides">
  <a:themeElements>
    <a:clrScheme name="Gavi Palette 1">
      <a:dk1>
        <a:srgbClr val="000000"/>
      </a:dk1>
      <a:lt1>
        <a:srgbClr val="FFFFFF"/>
      </a:lt1>
      <a:dk2>
        <a:srgbClr val="005CB9"/>
      </a:dk2>
      <a:lt2>
        <a:srgbClr val="00A1DF"/>
      </a:lt2>
      <a:accent1>
        <a:srgbClr val="83BD00"/>
      </a:accent1>
      <a:accent2>
        <a:srgbClr val="3E9B6E"/>
      </a:accent2>
      <a:accent3>
        <a:srgbClr val="E24A3F"/>
      </a:accent3>
      <a:accent4>
        <a:srgbClr val="FA7650"/>
      </a:accent4>
      <a:accent5>
        <a:srgbClr val="F8A623"/>
      </a:accent5>
      <a:accent6>
        <a:srgbClr val="FED141"/>
      </a:accent6>
      <a:hlink>
        <a:srgbClr val="00A1DF"/>
      </a:hlink>
      <a:folHlink>
        <a:srgbClr val="005CB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GAVI_PPT_Full template" id="{99C43E16-FF9C-1849-AF03-F58742B6D3E6}" vid="{2567E646-D828-574A-82B0-C553FAD81028}"/>
    </a:ext>
  </a:extLst>
</a:theme>
</file>

<file path=ppt/theme/theme4.xml><?xml version="1.0" encoding="utf-8"?>
<a:theme xmlns:a="http://schemas.openxmlformats.org/drawingml/2006/main" name="2_Gavi ppt template_blank 16-9">
  <a:themeElements>
    <a:clrScheme name="GAVI PRIMARY COLOURS">
      <a:dk1>
        <a:srgbClr val="343434"/>
      </a:dk1>
      <a:lt1>
        <a:srgbClr val="FFFFFF"/>
      </a:lt1>
      <a:dk2>
        <a:srgbClr val="81B900"/>
      </a:dk2>
      <a:lt2>
        <a:srgbClr val="878787"/>
      </a:lt2>
      <a:accent1>
        <a:srgbClr val="005CB9"/>
      </a:accent1>
      <a:accent2>
        <a:srgbClr val="00A1DF"/>
      </a:accent2>
      <a:accent3>
        <a:srgbClr val="95D600"/>
      </a:accent3>
      <a:accent4>
        <a:srgbClr val="A51890"/>
      </a:accent4>
      <a:accent5>
        <a:srgbClr val="CE0F69"/>
      </a:accent5>
      <a:accent6>
        <a:srgbClr val="D50032"/>
      </a:accent6>
      <a:hlink>
        <a:srgbClr val="343434"/>
      </a:hlink>
      <a:folHlink>
        <a:srgbClr val="343434"/>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CHOLERA">
      <a:srgbClr val="AF5C37"/>
    </a:custClr>
    <a:custClr name="HEPB">
      <a:srgbClr val="D50032"/>
    </a:custClr>
    <a:custClr name="HPV">
      <a:srgbClr val="F59BBB"/>
    </a:custClr>
    <a:custClr name="IPV INJECTABLE POLIO">
      <a:srgbClr val="CEDC00"/>
    </a:custClr>
    <a:custClr name="JAPANESE ENCEPHALITIS">
      <a:srgbClr val="B288B9"/>
    </a:custClr>
    <a:custClr name="MEASLES">
      <a:srgbClr val="41B6E6"/>
    </a:custClr>
    <a:custClr name="MEASLES 2 DOSE">
      <a:srgbClr val="0097A9"/>
    </a:custClr>
    <a:custClr name="MEASLES RUBELLA">
      <a:srgbClr val="005A70"/>
    </a:custClr>
    <a:custClr name="MENINGITIS A">
      <a:srgbClr val="009639"/>
    </a:custClr>
    <a:custClr name="PENTA">
      <a:srgbClr val="653279"/>
    </a:custClr>
    <a:custClr name="PNEUMO">
      <a:srgbClr val="0033A0"/>
    </a:custClr>
    <a:custClr name="ROTAVIRUS">
      <a:srgbClr val="D86018"/>
    </a:custClr>
    <a:custClr name="YELLOW FEVER">
      <a:srgbClr val="EAAA00"/>
    </a:custClr>
    <a:custClr name="DENGUE">
      <a:srgbClr val="C6C6C5"/>
    </a:custClr>
    <a:custClr name="MALARIA">
      <a:srgbClr val="A7A7A7"/>
    </a:custClr>
    <a:custClr name="MATERNAL FLU">
      <a:srgbClr val="878786"/>
    </a:custClr>
    <a:custClr name="RABIES">
      <a:srgbClr val="636362"/>
    </a:custClr>
  </a:custClrLst>
  <a:extLst>
    <a:ext uri="{05A4C25C-085E-4340-85A3-A5531E510DB2}">
      <thm15:themeFamily xmlns:thm15="http://schemas.microsoft.com/office/thememl/2012/main" name="Gavi ppt template_blank_16-9" id="{5252CE5A-EDD1-CC42-BE57-3A7140D09C48}" vid="{09588364-F374-7941-AE62-2AA3243E0807}"/>
    </a:ext>
  </a:extLst>
</a:theme>
</file>

<file path=ppt/theme/theme5.xml><?xml version="1.0" encoding="utf-8"?>
<a:theme xmlns:a="http://schemas.openxmlformats.org/drawingml/2006/main" name="Gavi ppt template_blank 16-9">
  <a:themeElements>
    <a:clrScheme name="GAVI PRIMARY COLOURS">
      <a:dk1>
        <a:srgbClr val="343434"/>
      </a:dk1>
      <a:lt1>
        <a:srgbClr val="FFFFFF"/>
      </a:lt1>
      <a:dk2>
        <a:srgbClr val="81B900"/>
      </a:dk2>
      <a:lt2>
        <a:srgbClr val="878787"/>
      </a:lt2>
      <a:accent1>
        <a:srgbClr val="005CB9"/>
      </a:accent1>
      <a:accent2>
        <a:srgbClr val="00A1DF"/>
      </a:accent2>
      <a:accent3>
        <a:srgbClr val="95D600"/>
      </a:accent3>
      <a:accent4>
        <a:srgbClr val="A51890"/>
      </a:accent4>
      <a:accent5>
        <a:srgbClr val="CE0F69"/>
      </a:accent5>
      <a:accent6>
        <a:srgbClr val="D50032"/>
      </a:accent6>
      <a:hlink>
        <a:srgbClr val="343434"/>
      </a:hlink>
      <a:folHlink>
        <a:srgbClr val="343434"/>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CHOLERA">
      <a:srgbClr val="AF5C37"/>
    </a:custClr>
    <a:custClr name="HEPB">
      <a:srgbClr val="D50032"/>
    </a:custClr>
    <a:custClr name="HPV">
      <a:srgbClr val="F59BBB"/>
    </a:custClr>
    <a:custClr name="IPV INJECTABLE POLIO">
      <a:srgbClr val="CEDC00"/>
    </a:custClr>
    <a:custClr name="JAPANESE ENCEPHALITIS">
      <a:srgbClr val="B288B9"/>
    </a:custClr>
    <a:custClr name="MEASLES">
      <a:srgbClr val="41B6E6"/>
    </a:custClr>
    <a:custClr name="MEASLES 2 DOSE">
      <a:srgbClr val="0097A9"/>
    </a:custClr>
    <a:custClr name="MEASLES RUBELLA">
      <a:srgbClr val="005A70"/>
    </a:custClr>
    <a:custClr name="MENINGITIS A">
      <a:srgbClr val="009639"/>
    </a:custClr>
    <a:custClr name="PENTA">
      <a:srgbClr val="653279"/>
    </a:custClr>
    <a:custClr name="PNEUMO">
      <a:srgbClr val="0033A0"/>
    </a:custClr>
    <a:custClr name="ROTAVIRUS">
      <a:srgbClr val="D86018"/>
    </a:custClr>
    <a:custClr name="YELLOW FEVER">
      <a:srgbClr val="EAAA00"/>
    </a:custClr>
    <a:custClr name="DENGUE">
      <a:srgbClr val="C6C6C5"/>
    </a:custClr>
    <a:custClr name="MALARIA">
      <a:srgbClr val="A7A7A7"/>
    </a:custClr>
    <a:custClr name="MATERNAL FLU">
      <a:srgbClr val="878786"/>
    </a:custClr>
    <a:custClr name="RABIES">
      <a:srgbClr val="636362"/>
    </a:custClr>
  </a:custClrLst>
  <a:extLst>
    <a:ext uri="{05A4C25C-085E-4340-85A3-A5531E510DB2}">
      <thm15:themeFamily xmlns:thm15="http://schemas.microsoft.com/office/thememl/2012/main" name="Gavi ppt template_blank_16-9" id="{DEBBE98C-C3E5-984B-BC10-1E92A94DEDF8}" vid="{2886559F-29FB-714C-86BD-EB166E1AAC82}"/>
    </a:ext>
  </a:extLst>
</a:theme>
</file>

<file path=ppt/theme/theme6.xml><?xml version="1.0" encoding="utf-8"?>
<a:theme xmlns:a="http://schemas.openxmlformats.org/drawingml/2006/main" name="3_Gavi – Body Slides">
  <a:themeElements>
    <a:clrScheme name="Gavi Palette 1">
      <a:dk1>
        <a:srgbClr val="000000"/>
      </a:dk1>
      <a:lt1>
        <a:srgbClr val="FFFFFF"/>
      </a:lt1>
      <a:dk2>
        <a:srgbClr val="005CB9"/>
      </a:dk2>
      <a:lt2>
        <a:srgbClr val="00A1DF"/>
      </a:lt2>
      <a:accent1>
        <a:srgbClr val="83BD00"/>
      </a:accent1>
      <a:accent2>
        <a:srgbClr val="3E9B6E"/>
      </a:accent2>
      <a:accent3>
        <a:srgbClr val="E24A3F"/>
      </a:accent3>
      <a:accent4>
        <a:srgbClr val="FA7650"/>
      </a:accent4>
      <a:accent5>
        <a:srgbClr val="F8A623"/>
      </a:accent5>
      <a:accent6>
        <a:srgbClr val="FED141"/>
      </a:accent6>
      <a:hlink>
        <a:srgbClr val="00A1DF"/>
      </a:hlink>
      <a:folHlink>
        <a:srgbClr val="005CB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GAVI_PPT_Full template" id="{99C43E16-FF9C-1849-AF03-F58742B6D3E6}" vid="{2567E646-D828-574A-82B0-C553FAD81028}"/>
    </a:ext>
  </a:extLst>
</a:theme>
</file>

<file path=ppt/theme/theme7.xml><?xml version="1.0" encoding="utf-8"?>
<a:theme xmlns:a="http://schemas.openxmlformats.org/drawingml/2006/main" name="4_Gavi – Body Slides">
  <a:themeElements>
    <a:clrScheme name="Gavi Palette 1">
      <a:dk1>
        <a:srgbClr val="000000"/>
      </a:dk1>
      <a:lt1>
        <a:srgbClr val="FFFFFF"/>
      </a:lt1>
      <a:dk2>
        <a:srgbClr val="005CB9"/>
      </a:dk2>
      <a:lt2>
        <a:srgbClr val="00A1DF"/>
      </a:lt2>
      <a:accent1>
        <a:srgbClr val="83BD00"/>
      </a:accent1>
      <a:accent2>
        <a:srgbClr val="3E9B6E"/>
      </a:accent2>
      <a:accent3>
        <a:srgbClr val="E24A3F"/>
      </a:accent3>
      <a:accent4>
        <a:srgbClr val="FA7650"/>
      </a:accent4>
      <a:accent5>
        <a:srgbClr val="F8A623"/>
      </a:accent5>
      <a:accent6>
        <a:srgbClr val="FED141"/>
      </a:accent6>
      <a:hlink>
        <a:srgbClr val="00A1DF"/>
      </a:hlink>
      <a:folHlink>
        <a:srgbClr val="005CB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GAVI_PPT_Full template" id="{99C43E16-FF9C-1849-AF03-F58742B6D3E6}" vid="{2567E646-D828-574A-82B0-C553FAD81028}"/>
    </a:ext>
  </a:extLst>
</a:theme>
</file>

<file path=ppt/theme/theme8.xml><?xml version="1.0" encoding="utf-8"?>
<a:theme xmlns:a="http://schemas.openxmlformats.org/drawingml/2006/main" name="Crop">
  <a:themeElements>
    <a:clrScheme name="Crop">
      <a:dk1>
        <a:sysClr val="windowText" lastClr="000000"/>
      </a:dk1>
      <a:lt1>
        <a:sysClr val="window" lastClr="FFFFFF"/>
      </a:lt1>
      <a:dk2>
        <a:srgbClr val="191B0E"/>
      </a:dk2>
      <a:lt2>
        <a:srgbClr val="EFEDE3"/>
      </a:lt2>
      <a:accent1>
        <a:srgbClr val="8C8D86"/>
      </a:accent1>
      <a:accent2>
        <a:srgbClr val="E6C069"/>
      </a:accent2>
      <a:accent3>
        <a:srgbClr val="897B61"/>
      </a:accent3>
      <a:accent4>
        <a:srgbClr val="8DAB8E"/>
      </a:accent4>
      <a:accent5>
        <a:srgbClr val="77A2BB"/>
      </a:accent5>
      <a:accent6>
        <a:srgbClr val="E28394"/>
      </a:accent6>
      <a:hlink>
        <a:srgbClr val="77A2BB"/>
      </a:hlink>
      <a:folHlink>
        <a:srgbClr val="957A99"/>
      </a:folHlink>
    </a:clrScheme>
    <a:fontScheme name="Crop">
      <a:majorFont>
        <a:latin typeface="Franklin Gothic Book" panose="020B0503020102020204"/>
        <a:ea typeface=""/>
        <a:cs typeface=""/>
        <a:font script="Jpan" typeface="メイリオ"/>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Franklin Gothic Book" panose="020B0503020102020204"/>
        <a:ea typeface=""/>
        <a:cs typeface=""/>
        <a:font script="Jpan" typeface="メイリオ"/>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Crop">
      <a:fillStyleLst>
        <a:solidFill>
          <a:schemeClr val="phClr"/>
        </a:solidFill>
        <a:gradFill rotWithShape="1">
          <a:gsLst>
            <a:gs pos="0">
              <a:schemeClr val="phClr">
                <a:tint val="67000"/>
                <a:satMod val="105000"/>
                <a:lumMod val="110000"/>
              </a:schemeClr>
            </a:gs>
            <a:gs pos="50000">
              <a:schemeClr val="phClr">
                <a:tint val="73000"/>
                <a:satMod val="103000"/>
                <a:lumMod val="105000"/>
              </a:schemeClr>
            </a:gs>
            <a:gs pos="100000">
              <a:schemeClr val="phClr">
                <a:tint val="81000"/>
                <a:satMod val="109000"/>
                <a:lumMod val="105000"/>
              </a:schemeClr>
            </a:gs>
          </a:gsLst>
          <a:lin ang="5400000" scaled="0"/>
        </a:gradFill>
        <a:gradFill rotWithShape="1">
          <a:gsLst>
            <a:gs pos="0">
              <a:schemeClr val="phClr">
                <a:tint val="94000"/>
                <a:satMod val="103000"/>
                <a:lumMod val="102000"/>
              </a:schemeClr>
            </a:gs>
            <a:gs pos="50000">
              <a:schemeClr val="phClr">
                <a:shade val="100000"/>
                <a:satMod val="110000"/>
                <a:lumMod val="100000"/>
              </a:schemeClr>
            </a:gs>
            <a:gs pos="100000">
              <a:schemeClr val="phClr">
                <a:shade val="78000"/>
                <a:satMod val="120000"/>
                <a:lumMod val="99000"/>
              </a:schemeClr>
            </a:gs>
          </a:gsLst>
          <a:lin ang="5400000" scaled="0"/>
        </a:gradFill>
      </a:fillStyleLst>
      <a:lnStyleLst>
        <a:ln w="6350" cap="flat" cmpd="sng" algn="in">
          <a:solidFill>
            <a:schemeClr val="phClr"/>
          </a:solidFill>
          <a:prstDash val="solid"/>
        </a:ln>
        <a:ln w="34925" cap="flat" cmpd="sng" algn="in">
          <a:solidFill>
            <a:schemeClr val="phClr"/>
          </a:solidFill>
          <a:prstDash val="solid"/>
        </a:ln>
        <a:ln w="19050" cap="flat" cmpd="sng" algn="in">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35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hade val="98000"/>
                <a:satMod val="150000"/>
                <a:lumMod val="102000"/>
              </a:schemeClr>
            </a:gs>
            <a:gs pos="50000">
              <a:schemeClr val="phClr">
                <a:tint val="98000"/>
                <a:shade val="90000"/>
                <a:satMod val="13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rop" id="{EC9488ED-E761-4D60-9AC4-764D1FE2C171}" vid="{CE19780C-D67D-4C13-9DE9-A52BC3BA51B4}"/>
    </a:ext>
  </a:extLst>
</a:theme>
</file>

<file path=ppt/theme/theme9.xml><?xml version="1.0" encoding="utf-8"?>
<a:theme xmlns:a="http://schemas.openxmlformats.org/drawingml/2006/main" name="1_Gavi – Titles, Sections, End Slides">
  <a:themeElements>
    <a:clrScheme name="Gavi Palette 1">
      <a:dk1>
        <a:srgbClr val="000000"/>
      </a:dk1>
      <a:lt1>
        <a:srgbClr val="FFFFFF"/>
      </a:lt1>
      <a:dk2>
        <a:srgbClr val="005CB9"/>
      </a:dk2>
      <a:lt2>
        <a:srgbClr val="00A1DF"/>
      </a:lt2>
      <a:accent1>
        <a:srgbClr val="83BD00"/>
      </a:accent1>
      <a:accent2>
        <a:srgbClr val="3E9B6E"/>
      </a:accent2>
      <a:accent3>
        <a:srgbClr val="E24A3F"/>
      </a:accent3>
      <a:accent4>
        <a:srgbClr val="FA7650"/>
      </a:accent4>
      <a:accent5>
        <a:srgbClr val="F8A623"/>
      </a:accent5>
      <a:accent6>
        <a:srgbClr val="FED141"/>
      </a:accent6>
      <a:hlink>
        <a:srgbClr val="00A1DF"/>
      </a:hlink>
      <a:folHlink>
        <a:srgbClr val="005CB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GAVI_PPT_Full template" id="{99C43E16-FF9C-1849-AF03-F58742B6D3E6}" vid="{2B276190-5DD2-7F4B-9F0E-8F3BFCF15372}"/>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EF633D573A37E748B5711E085CA839C1" ma:contentTypeVersion="18" ma:contentTypeDescription="Create a new document." ma:contentTypeScope="" ma:versionID="2948c919179b04b62d5aeefe3ea76823">
  <xsd:schema xmlns:xsd="http://www.w3.org/2001/XMLSchema" xmlns:xs="http://www.w3.org/2001/XMLSchema" xmlns:p="http://schemas.microsoft.com/office/2006/metadata/properties" xmlns:ns2="8a3a4255-6eae-4a06-9706-bf2d1132ac65" xmlns:ns3="bbf1994b-767e-44a1-93ea-593a2c62d4b6" targetNamespace="http://schemas.microsoft.com/office/2006/metadata/properties" ma:root="true" ma:fieldsID="7972f77eb53bd6afbdfc14135f91a31c" ns2:_="" ns3:_="">
    <xsd:import namespace="8a3a4255-6eae-4a06-9706-bf2d1132ac65"/>
    <xsd:import namespace="bbf1994b-767e-44a1-93ea-593a2c62d4b6"/>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LengthInSeconds" minOccurs="0"/>
                <xsd:element ref="ns3:SharedWithUsers" minOccurs="0"/>
                <xsd:element ref="ns3:SharedWithDetails" minOccurs="0"/>
                <xsd:element ref="ns2:MediaServiceLocation"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a3a4255-6eae-4a06-9706-bf2d1132ac6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LengthInSeconds" ma:index="17"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aa4eac88-8ae6-4a96-90c7-97bc93c844ef"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bbf1994b-767e-44a1-93ea-593a2c62d4b6"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c0411161-f117-4be2-ac85-b59c0086fa67}" ma:internalName="TaxCatchAll" ma:showField="CatchAllData" ma:web="bbf1994b-767e-44a1-93ea-593a2c62d4b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8a3a4255-6eae-4a06-9706-bf2d1132ac65">
      <Terms xmlns="http://schemas.microsoft.com/office/infopath/2007/PartnerControls"/>
    </lcf76f155ced4ddcb4097134ff3c332f>
    <TaxCatchAll xmlns="bbf1994b-767e-44a1-93ea-593a2c62d4b6" xsi:nil="true"/>
    <SharedWithUsers xmlns="bbf1994b-767e-44a1-93ea-593a2c62d4b6">
      <UserInfo>
        <DisplayName>HENAFF, Louise</DisplayName>
        <AccountId>63</AccountId>
        <AccountType/>
      </UserInfo>
    </SharedWithUsers>
  </documentManagement>
</p:properties>
</file>

<file path=customXml/itemProps1.xml><?xml version="1.0" encoding="utf-8"?>
<ds:datastoreItem xmlns:ds="http://schemas.openxmlformats.org/officeDocument/2006/customXml" ds:itemID="{670154B6-66D7-4457-B4F4-28BCBDF7AA63}">
  <ds:schemaRefs>
    <ds:schemaRef ds:uri="http://schemas.microsoft.com/sharepoint/v3/contenttype/forms"/>
  </ds:schemaRefs>
</ds:datastoreItem>
</file>

<file path=customXml/itemProps2.xml><?xml version="1.0" encoding="utf-8"?>
<ds:datastoreItem xmlns:ds="http://schemas.openxmlformats.org/officeDocument/2006/customXml" ds:itemID="{CA0B94C0-CCD9-4037-8D25-867775870F3A}">
  <ds:schemaRefs>
    <ds:schemaRef ds:uri="8a3a4255-6eae-4a06-9706-bf2d1132ac65"/>
    <ds:schemaRef ds:uri="bbf1994b-767e-44a1-93ea-593a2c62d4b6"/>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67EEF372-B38A-4300-A063-92072F1AA89C}">
  <ds:schemaRefs>
    <ds:schemaRef ds:uri="http://purl.org/dc/elements/1.1/"/>
    <ds:schemaRef ds:uri="8a3a4255-6eae-4a06-9706-bf2d1132ac65"/>
    <ds:schemaRef ds:uri="http://schemas.openxmlformats.org/package/2006/metadata/core-properties"/>
    <ds:schemaRef ds:uri="http://purl.org/dc/terms/"/>
    <ds:schemaRef ds:uri="bbf1994b-767e-44a1-93ea-593a2c62d4b6"/>
    <ds:schemaRef ds:uri="http://schemas.microsoft.com/office/2006/documentManagement/types"/>
    <ds:schemaRef ds:uri="http://schemas.microsoft.com/office/2006/metadata/properties"/>
    <ds:schemaRef ds:uri="http://schemas.microsoft.com/office/infopath/2007/PartnerControl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344</TotalTime>
  <Words>3827</Words>
  <Application>Microsoft Office PowerPoint</Application>
  <PresentationFormat>Widescreen</PresentationFormat>
  <Paragraphs>630</Paragraphs>
  <Slides>58</Slides>
  <Notes>24</Notes>
  <HiddenSlides>1</HiddenSlides>
  <MMClips>0</MMClips>
  <ScaleCrop>false</ScaleCrop>
  <HeadingPairs>
    <vt:vector size="8" baseType="variant">
      <vt:variant>
        <vt:lpstr>Fonts Used</vt:lpstr>
      </vt:variant>
      <vt:variant>
        <vt:i4>17</vt:i4>
      </vt:variant>
      <vt:variant>
        <vt:lpstr>Theme</vt:lpstr>
      </vt:variant>
      <vt:variant>
        <vt:i4>16</vt:i4>
      </vt:variant>
      <vt:variant>
        <vt:lpstr>Embedded OLE Servers</vt:lpstr>
      </vt:variant>
      <vt:variant>
        <vt:i4>1</vt:i4>
      </vt:variant>
      <vt:variant>
        <vt:lpstr>Slide Titles</vt:lpstr>
      </vt:variant>
      <vt:variant>
        <vt:i4>58</vt:i4>
      </vt:variant>
    </vt:vector>
  </HeadingPairs>
  <TitlesOfParts>
    <vt:vector size="92" baseType="lpstr">
      <vt:lpstr>Aptos Narrow</vt:lpstr>
      <vt:lpstr>Arial</vt:lpstr>
      <vt:lpstr>Arial Narrow</vt:lpstr>
      <vt:lpstr>Calibri</vt:lpstr>
      <vt:lpstr>Calibri Light</vt:lpstr>
      <vt:lpstr>Cambria</vt:lpstr>
      <vt:lpstr>Century Gothic</vt:lpstr>
      <vt:lpstr>Franklin Gothic Book</vt:lpstr>
      <vt:lpstr>Frutiger Roman</vt:lpstr>
      <vt:lpstr>Lato Light</vt:lpstr>
      <vt:lpstr>MyriadPro</vt:lpstr>
      <vt:lpstr>Open Sans Light</vt:lpstr>
      <vt:lpstr>Poppins</vt:lpstr>
      <vt:lpstr>Segoe UI</vt:lpstr>
      <vt:lpstr>Sharp Grotesk</vt:lpstr>
      <vt:lpstr>Symbol</vt:lpstr>
      <vt:lpstr>Wingdings</vt:lpstr>
      <vt:lpstr>Content</vt:lpstr>
      <vt:lpstr>Office Theme</vt:lpstr>
      <vt:lpstr>Gavi – Body Slides</vt:lpstr>
      <vt:lpstr>2_Gavi ppt template_blank 16-9</vt:lpstr>
      <vt:lpstr>Gavi ppt template_blank 16-9</vt:lpstr>
      <vt:lpstr>3_Gavi – Body Slides</vt:lpstr>
      <vt:lpstr>4_Gavi – Body Slides</vt:lpstr>
      <vt:lpstr>Crop</vt:lpstr>
      <vt:lpstr>1_Gavi – Titles, Sections, End Slides</vt:lpstr>
      <vt:lpstr>3_Gavi – Titles, Sections, End Slides</vt:lpstr>
      <vt:lpstr>3_Gavi ppt template_blank 16-9</vt:lpstr>
      <vt:lpstr>1_Gavi ppt template_blank 16-9</vt:lpstr>
      <vt:lpstr>1_Gavi – Body Slides</vt:lpstr>
      <vt:lpstr>4_Gavi – Titles, Sections, End Slides</vt:lpstr>
      <vt:lpstr>2_Gavi – Body Slides</vt:lpstr>
      <vt:lpstr>5_Gavi – Body Slides</vt:lpstr>
      <vt:lpstr>think-cell Slide</vt:lpstr>
      <vt:lpstr>GNN webinar, 6 May 2024 Reaching zero human deaths from dog-mediated rabies by 2030</vt:lpstr>
      <vt:lpstr>Rabies is a neglected, vaccine-preventable disease An indicator for impact on inequity and One Health </vt:lpstr>
      <vt:lpstr>Rabies is transmitted via infectious saliva </vt:lpstr>
      <vt:lpstr>Rabies is fatal once clinical signs appear </vt:lpstr>
      <vt:lpstr>PowerPoint Presentation</vt:lpstr>
      <vt:lpstr>PowerPoint Presentation</vt:lpstr>
      <vt:lpstr>PowerPoint Presentation</vt:lpstr>
      <vt:lpstr>Rabies PEP administration decision tree</vt:lpstr>
      <vt:lpstr>PowerPoint Presentation</vt:lpstr>
      <vt:lpstr>PowerPoint Presentation</vt:lpstr>
      <vt:lpstr>PowerPoint Presentation</vt:lpstr>
      <vt:lpstr>PowerPoint Presentation</vt:lpstr>
      <vt:lpstr>PowerPoint Presentation</vt:lpstr>
      <vt:lpstr>Thank you!</vt:lpstr>
      <vt:lpstr>SAGE recommendations on rabies  immunization from Pakistan’s perspective</vt:lpstr>
      <vt:lpstr>Population 240m</vt:lpstr>
      <vt:lpstr>PowerPoint Presentation</vt:lpstr>
      <vt:lpstr>PowerPoint Presentation</vt:lpstr>
      <vt:lpstr>ANIMAL BITE VICTIMS AT THE INDUS HOSPITAL Karachi </vt:lpstr>
      <vt:lpstr>PowerPoint Presentation</vt:lpstr>
      <vt:lpstr>PowerPoint Presentation</vt:lpstr>
      <vt:lpstr>PowerPoint Presentation</vt:lpstr>
      <vt:lpstr>Rabies Vaccine</vt:lpstr>
      <vt:lpstr>Rabies Immunoglobulin </vt:lpstr>
      <vt:lpstr>PowerPoint Presentation</vt:lpstr>
      <vt:lpstr>Strategic Advisory Group of Experts (SAGE) Working Group on rabies vaccines and rabies immunoglobulins established July 2016 - June 2017  </vt:lpstr>
      <vt:lpstr>PowerPoint Presentation</vt:lpstr>
      <vt:lpstr>PowerPoint Presentation</vt:lpstr>
      <vt:lpstr>PowerPoint Presentation</vt:lpstr>
      <vt:lpstr>PowerPoint Presentation</vt:lpstr>
      <vt:lpstr>Plans for 2024</vt:lpstr>
      <vt:lpstr>3 day Hands-on Pep Training For Health Care Providers</vt:lpstr>
      <vt:lpstr>HCWs trained to…..</vt:lpstr>
      <vt:lpstr>Rabies PEP Centers through Indus Hospital and Health Network  2021-22 </vt:lpstr>
      <vt:lpstr>Signing of MoU Sindh Health Ministry with IHHN</vt:lpstr>
      <vt:lpstr>EPI and NITAG in Pakistan   </vt:lpstr>
      <vt:lpstr>Public awarenss/education</vt:lpstr>
      <vt:lpstr>PowerPoint Presentation</vt:lpstr>
      <vt:lpstr>What Pakistan needs to improve PEP  </vt:lpstr>
      <vt:lpstr>PowerPoint Presentation</vt:lpstr>
      <vt:lpstr>PowerPoint Presentation</vt:lpstr>
      <vt:lpstr>Gavi human rabies PEP  vaccine programme</vt:lpstr>
      <vt:lpstr>PowerPoint Presentation</vt:lpstr>
      <vt:lpstr>Vaccine Alliance partners</vt:lpstr>
      <vt:lpstr>How Gavi supports countries: three key financing levers</vt:lpstr>
      <vt:lpstr>Gavi’s eligibility, transition, co-financing policy and MICS approach</vt:lpstr>
      <vt:lpstr>Eligibility for Gavi support</vt:lpstr>
      <vt:lpstr>PowerPoint Presentation</vt:lpstr>
      <vt:lpstr>Gavi guidelines</vt:lpstr>
      <vt:lpstr>Application Submission Process</vt:lpstr>
      <vt:lpstr>Independent Review Committee (IRC) Overview</vt:lpstr>
      <vt:lpstr>PowerPoint Presentation</vt:lpstr>
      <vt:lpstr>Vaccine Funding Guidelines</vt:lpstr>
      <vt:lpstr>Programme overview</vt:lpstr>
      <vt:lpstr>Key programmatic considerations</vt:lpstr>
      <vt:lpstr>Key programmatic considerations</vt:lpstr>
      <vt:lpstr>Next steps</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ne-Health Webinar World Rabies Day 2020 | 28 September Bernadette ABELA-RIDDER</dc:title>
  <dc:creator>ABELA-RIDDER, Bernadette</dc:creator>
  <cp:lastModifiedBy>HENAFF, Louise</cp:lastModifiedBy>
  <cp:revision>5</cp:revision>
  <dcterms:created xsi:type="dcterms:W3CDTF">2020-09-27T17:25:24Z</dcterms:created>
  <dcterms:modified xsi:type="dcterms:W3CDTF">2024-12-09T16:17: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F633D573A37E748B5711E085CA839C1</vt:lpwstr>
  </property>
  <property fmtid="{D5CDD505-2E9C-101B-9397-08002B2CF9AE}" pid="3" name="MSIP_Label_7b94a7b8-f06c-4dfe-bdcc-9b548fd58c31_Enabled">
    <vt:lpwstr>true</vt:lpwstr>
  </property>
  <property fmtid="{D5CDD505-2E9C-101B-9397-08002B2CF9AE}" pid="4" name="MSIP_Label_7b94a7b8-f06c-4dfe-bdcc-9b548fd58c31_SetDate">
    <vt:lpwstr>2024-03-14T15:48:32Z</vt:lpwstr>
  </property>
  <property fmtid="{D5CDD505-2E9C-101B-9397-08002B2CF9AE}" pid="5" name="MSIP_Label_7b94a7b8-f06c-4dfe-bdcc-9b548fd58c31_Method">
    <vt:lpwstr>Privileged</vt:lpwstr>
  </property>
  <property fmtid="{D5CDD505-2E9C-101B-9397-08002B2CF9AE}" pid="6" name="MSIP_Label_7b94a7b8-f06c-4dfe-bdcc-9b548fd58c31_Name">
    <vt:lpwstr>7b94a7b8-f06c-4dfe-bdcc-9b548fd58c31</vt:lpwstr>
  </property>
  <property fmtid="{D5CDD505-2E9C-101B-9397-08002B2CF9AE}" pid="7" name="MSIP_Label_7b94a7b8-f06c-4dfe-bdcc-9b548fd58c31_SiteId">
    <vt:lpwstr>9ce70869-60db-44fd-abe8-d2767077fc8f</vt:lpwstr>
  </property>
  <property fmtid="{D5CDD505-2E9C-101B-9397-08002B2CF9AE}" pid="8" name="MSIP_Label_7b94a7b8-f06c-4dfe-bdcc-9b548fd58c31_ActionId">
    <vt:lpwstr>b87fd054-8324-4959-a02f-74827c2a1664</vt:lpwstr>
  </property>
  <property fmtid="{D5CDD505-2E9C-101B-9397-08002B2CF9AE}" pid="9" name="MSIP_Label_7b94a7b8-f06c-4dfe-bdcc-9b548fd58c31_ContentBits">
    <vt:lpwstr>0</vt:lpwstr>
  </property>
  <property fmtid="{D5CDD505-2E9C-101B-9397-08002B2CF9AE}" pid="10" name="MediaServiceImageTags">
    <vt:lpwstr/>
  </property>
</Properties>
</file>